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1.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3.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7.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32" r:id="rId56"/>
    <p:sldMasterId id="2147485058" r:id="rId57"/>
    <p:sldMasterId id="2147485074" r:id="rId58"/>
    <p:sldMasterId id="2147485086" r:id="rId59"/>
    <p:sldMasterId id="2147485099" r:id="rId60"/>
    <p:sldMasterId id="2147485120" r:id="rId61"/>
    <p:sldMasterId id="2147485141" r:id="rId62"/>
  </p:sldMasterIdLst>
  <p:notesMasterIdLst>
    <p:notesMasterId r:id="rId148"/>
  </p:notesMasterIdLst>
  <p:handoutMasterIdLst>
    <p:handoutMasterId r:id="rId149"/>
  </p:handoutMasterIdLst>
  <p:sldIdLst>
    <p:sldId id="2147483639" r:id="rId63"/>
    <p:sldId id="326" r:id="rId64"/>
    <p:sldId id="314" r:id="rId65"/>
    <p:sldId id="266" r:id="rId66"/>
    <p:sldId id="2147483632" r:id="rId67"/>
    <p:sldId id="2147483634" r:id="rId68"/>
    <p:sldId id="265" r:id="rId69"/>
    <p:sldId id="267" r:id="rId70"/>
    <p:sldId id="2147483571" r:id="rId71"/>
    <p:sldId id="2147483567" r:id="rId72"/>
    <p:sldId id="264" r:id="rId73"/>
    <p:sldId id="309" r:id="rId74"/>
    <p:sldId id="2147483539" r:id="rId75"/>
    <p:sldId id="2147483594" r:id="rId76"/>
    <p:sldId id="2147483640" r:id="rId77"/>
    <p:sldId id="2147483642" r:id="rId78"/>
    <p:sldId id="2147483641" r:id="rId79"/>
    <p:sldId id="295" r:id="rId80"/>
    <p:sldId id="297" r:id="rId81"/>
    <p:sldId id="298" r:id="rId82"/>
    <p:sldId id="299" r:id="rId83"/>
    <p:sldId id="300" r:id="rId84"/>
    <p:sldId id="301" r:id="rId85"/>
    <p:sldId id="302" r:id="rId86"/>
    <p:sldId id="303" r:id="rId87"/>
    <p:sldId id="304" r:id="rId88"/>
    <p:sldId id="305" r:id="rId89"/>
    <p:sldId id="306" r:id="rId90"/>
    <p:sldId id="307" r:id="rId91"/>
    <p:sldId id="308" r:id="rId92"/>
    <p:sldId id="310" r:id="rId93"/>
    <p:sldId id="268" r:id="rId94"/>
    <p:sldId id="269" r:id="rId95"/>
    <p:sldId id="270" r:id="rId96"/>
    <p:sldId id="271" r:id="rId97"/>
    <p:sldId id="272" r:id="rId98"/>
    <p:sldId id="259" r:id="rId99"/>
    <p:sldId id="2147483643" r:id="rId100"/>
    <p:sldId id="277" r:id="rId101"/>
    <p:sldId id="278" r:id="rId102"/>
    <p:sldId id="279" r:id="rId103"/>
    <p:sldId id="280" r:id="rId104"/>
    <p:sldId id="281" r:id="rId105"/>
    <p:sldId id="282" r:id="rId106"/>
    <p:sldId id="283" r:id="rId107"/>
    <p:sldId id="284" r:id="rId108"/>
    <p:sldId id="285" r:id="rId109"/>
    <p:sldId id="286" r:id="rId110"/>
    <p:sldId id="287" r:id="rId111"/>
    <p:sldId id="288" r:id="rId112"/>
    <p:sldId id="289" r:id="rId113"/>
    <p:sldId id="290" r:id="rId114"/>
    <p:sldId id="291" r:id="rId115"/>
    <p:sldId id="292" r:id="rId116"/>
    <p:sldId id="293" r:id="rId117"/>
    <p:sldId id="296" r:id="rId118"/>
    <p:sldId id="2147483558" r:id="rId119"/>
    <p:sldId id="274" r:id="rId120"/>
    <p:sldId id="273" r:id="rId121"/>
    <p:sldId id="2147483559" r:id="rId122"/>
    <p:sldId id="260" r:id="rId123"/>
    <p:sldId id="2147483644" r:id="rId124"/>
    <p:sldId id="294" r:id="rId125"/>
    <p:sldId id="275" r:id="rId126"/>
    <p:sldId id="353" r:id="rId127"/>
    <p:sldId id="2147480145" r:id="rId128"/>
    <p:sldId id="2147480146" r:id="rId129"/>
    <p:sldId id="2147480147" r:id="rId130"/>
    <p:sldId id="2147480148" r:id="rId131"/>
    <p:sldId id="2147480149" r:id="rId132"/>
    <p:sldId id="2147480150" r:id="rId133"/>
    <p:sldId id="354" r:id="rId134"/>
    <p:sldId id="2147471834" r:id="rId135"/>
    <p:sldId id="355" r:id="rId136"/>
    <p:sldId id="356" r:id="rId137"/>
    <p:sldId id="357" r:id="rId138"/>
    <p:sldId id="358" r:id="rId139"/>
    <p:sldId id="2147471833" r:id="rId140"/>
    <p:sldId id="2147483560" r:id="rId141"/>
    <p:sldId id="261" r:id="rId142"/>
    <p:sldId id="276" r:id="rId143"/>
    <p:sldId id="2147483561" r:id="rId144"/>
    <p:sldId id="262" r:id="rId145"/>
    <p:sldId id="263" r:id="rId146"/>
    <p:sldId id="320" r:id="rId147"/>
  </p:sldIdLst>
  <p:sldSz cx="12192000" cy="6858000"/>
  <p:notesSz cx="7772400" cy="10058400"/>
  <p:custDataLst>
    <p:tags r:id="rId150"/>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0432FF"/>
    <a:srgbClr val="FF40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77" autoAdjust="0"/>
    <p:restoredTop sz="96301" autoAdjust="0"/>
  </p:normalViewPr>
  <p:slideViewPr>
    <p:cSldViewPr>
      <p:cViewPr varScale="1">
        <p:scale>
          <a:sx n="123" d="100"/>
          <a:sy n="123" d="100"/>
        </p:scale>
        <p:origin x="528" y="184"/>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55.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 Target="slides/slide1.xml"/><Relationship Id="rId84" Type="http://schemas.openxmlformats.org/officeDocument/2006/relationships/slide" Target="slides/slide22.xml"/><Relationship Id="rId138" Type="http://schemas.openxmlformats.org/officeDocument/2006/relationships/slide" Target="slides/slide76.xml"/><Relationship Id="rId107" Type="http://schemas.openxmlformats.org/officeDocument/2006/relationships/slide" Target="slides/slide45.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 Target="slides/slide12.xml"/><Relationship Id="rId128" Type="http://schemas.openxmlformats.org/officeDocument/2006/relationships/slide" Target="slides/slide66.xml"/><Relationship Id="rId149" Type="http://schemas.openxmlformats.org/officeDocument/2006/relationships/handoutMaster" Target="handoutMasters/handoutMaster1.xml"/><Relationship Id="rId5" Type="http://schemas.openxmlformats.org/officeDocument/2006/relationships/customXml" Target="../customXml/item5.xml"/><Relationship Id="rId95" Type="http://schemas.openxmlformats.org/officeDocument/2006/relationships/slide" Target="slides/slide3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2.xml"/><Relationship Id="rId69" Type="http://schemas.openxmlformats.org/officeDocument/2006/relationships/slide" Target="slides/slide7.xml"/><Relationship Id="rId113" Type="http://schemas.openxmlformats.org/officeDocument/2006/relationships/slide" Target="slides/slide51.xml"/><Relationship Id="rId118" Type="http://schemas.openxmlformats.org/officeDocument/2006/relationships/slide" Target="slides/slide56.xml"/><Relationship Id="rId134" Type="http://schemas.openxmlformats.org/officeDocument/2006/relationships/slide" Target="slides/slide72.xml"/><Relationship Id="rId139" Type="http://schemas.openxmlformats.org/officeDocument/2006/relationships/slide" Target="slides/slide77.xml"/><Relationship Id="rId80" Type="http://schemas.openxmlformats.org/officeDocument/2006/relationships/slide" Target="slides/slide18.xml"/><Relationship Id="rId85" Type="http://schemas.openxmlformats.org/officeDocument/2006/relationships/slide" Target="slides/slide23.xml"/><Relationship Id="rId150" Type="http://schemas.openxmlformats.org/officeDocument/2006/relationships/tags" Target="tags/tag1.xml"/><Relationship Id="rId155" Type="http://schemas.openxmlformats.org/officeDocument/2006/relationships/tableStyles" Target="tableStyles.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41.xml"/><Relationship Id="rId108" Type="http://schemas.openxmlformats.org/officeDocument/2006/relationships/slide" Target="slides/slide46.xml"/><Relationship Id="rId124" Type="http://schemas.openxmlformats.org/officeDocument/2006/relationships/slide" Target="slides/slide62.xml"/><Relationship Id="rId129" Type="http://schemas.openxmlformats.org/officeDocument/2006/relationships/slide" Target="slides/slide67.xml"/><Relationship Id="rId54" Type="http://schemas.openxmlformats.org/officeDocument/2006/relationships/slideMaster" Target="slideMasters/slideMaster6.xml"/><Relationship Id="rId70" Type="http://schemas.openxmlformats.org/officeDocument/2006/relationships/slide" Target="slides/slide8.xml"/><Relationship Id="rId75" Type="http://schemas.openxmlformats.org/officeDocument/2006/relationships/slide" Target="slides/slide13.xml"/><Relationship Id="rId91" Type="http://schemas.openxmlformats.org/officeDocument/2006/relationships/slide" Target="slides/slide29.xml"/><Relationship Id="rId96" Type="http://schemas.openxmlformats.org/officeDocument/2006/relationships/slide" Target="slides/slide34.xml"/><Relationship Id="rId140" Type="http://schemas.openxmlformats.org/officeDocument/2006/relationships/slide" Target="slides/slide78.xml"/><Relationship Id="rId145"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52.xml"/><Relationship Id="rId119" Type="http://schemas.openxmlformats.org/officeDocument/2006/relationships/slide" Target="slides/slide57.xml"/><Relationship Id="rId44" Type="http://schemas.openxmlformats.org/officeDocument/2006/relationships/customXml" Target="../customXml/item44.xml"/><Relationship Id="rId60" Type="http://schemas.openxmlformats.org/officeDocument/2006/relationships/slideMaster" Target="slideMasters/slideMaster12.xml"/><Relationship Id="rId65" Type="http://schemas.openxmlformats.org/officeDocument/2006/relationships/slide" Target="slides/slide3.xml"/><Relationship Id="rId81" Type="http://schemas.openxmlformats.org/officeDocument/2006/relationships/slide" Target="slides/slide19.xml"/><Relationship Id="rId86" Type="http://schemas.openxmlformats.org/officeDocument/2006/relationships/slide" Target="slides/slide24.xml"/><Relationship Id="rId130" Type="http://schemas.openxmlformats.org/officeDocument/2006/relationships/slide" Target="slides/slide68.xml"/><Relationship Id="rId135" Type="http://schemas.openxmlformats.org/officeDocument/2006/relationships/slide" Target="slides/slide73.xml"/><Relationship Id="rId151" Type="http://schemas.openxmlformats.org/officeDocument/2006/relationships/commentAuthors" Target="commentAuthors.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7.xml"/><Relationship Id="rId34" Type="http://schemas.openxmlformats.org/officeDocument/2006/relationships/customXml" Target="../customXml/item34.xml"/><Relationship Id="rId50" Type="http://schemas.openxmlformats.org/officeDocument/2006/relationships/slideMaster" Target="slideMasters/slideMaster2.xml"/><Relationship Id="rId55" Type="http://schemas.openxmlformats.org/officeDocument/2006/relationships/slideMaster" Target="slideMasters/slideMaster7.xml"/><Relationship Id="rId76" Type="http://schemas.openxmlformats.org/officeDocument/2006/relationships/slide" Target="slides/slide14.xml"/><Relationship Id="rId97" Type="http://schemas.openxmlformats.org/officeDocument/2006/relationships/slide" Target="slides/slide35.xml"/><Relationship Id="rId104" Type="http://schemas.openxmlformats.org/officeDocument/2006/relationships/slide" Target="slides/slide42.xml"/><Relationship Id="rId120" Type="http://schemas.openxmlformats.org/officeDocument/2006/relationships/slide" Target="slides/slide58.xml"/><Relationship Id="rId125" Type="http://schemas.openxmlformats.org/officeDocument/2006/relationships/slide" Target="slides/slide63.xml"/><Relationship Id="rId141" Type="http://schemas.openxmlformats.org/officeDocument/2006/relationships/slide" Target="slides/slide79.xml"/><Relationship Id="rId146" Type="http://schemas.openxmlformats.org/officeDocument/2006/relationships/slide" Target="slides/slide84.xml"/><Relationship Id="rId7" Type="http://schemas.openxmlformats.org/officeDocument/2006/relationships/customXml" Target="../customXml/item7.xml"/><Relationship Id="rId71" Type="http://schemas.openxmlformats.org/officeDocument/2006/relationships/slide" Target="slides/slide9.xml"/><Relationship Id="rId92" Type="http://schemas.openxmlformats.org/officeDocument/2006/relationships/slide" Target="slides/slide3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4.xml"/><Relationship Id="rId87" Type="http://schemas.openxmlformats.org/officeDocument/2006/relationships/slide" Target="slides/slide25.xml"/><Relationship Id="rId110" Type="http://schemas.openxmlformats.org/officeDocument/2006/relationships/slide" Target="slides/slide48.xml"/><Relationship Id="rId115" Type="http://schemas.openxmlformats.org/officeDocument/2006/relationships/slide" Target="slides/slide53.xml"/><Relationship Id="rId131" Type="http://schemas.openxmlformats.org/officeDocument/2006/relationships/slide" Target="slides/slide69.xml"/><Relationship Id="rId136" Type="http://schemas.openxmlformats.org/officeDocument/2006/relationships/slide" Target="slides/slide74.xml"/><Relationship Id="rId61" Type="http://schemas.openxmlformats.org/officeDocument/2006/relationships/slideMaster" Target="slideMasters/slideMaster13.xml"/><Relationship Id="rId82" Type="http://schemas.openxmlformats.org/officeDocument/2006/relationships/slide" Target="slides/slide20.xml"/><Relationship Id="rId152" Type="http://schemas.openxmlformats.org/officeDocument/2006/relationships/presProps" Target="presProps.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 Target="slides/slide15.xml"/><Relationship Id="rId100" Type="http://schemas.openxmlformats.org/officeDocument/2006/relationships/slide" Target="slides/slide38.xml"/><Relationship Id="rId105" Type="http://schemas.openxmlformats.org/officeDocument/2006/relationships/slide" Target="slides/slide43.xml"/><Relationship Id="rId126" Type="http://schemas.openxmlformats.org/officeDocument/2006/relationships/slide" Target="slides/slide64.xml"/><Relationship Id="rId147" Type="http://schemas.openxmlformats.org/officeDocument/2006/relationships/slide" Target="slides/slide85.xml"/><Relationship Id="rId8" Type="http://schemas.openxmlformats.org/officeDocument/2006/relationships/customXml" Target="../customXml/item8.xml"/><Relationship Id="rId51" Type="http://schemas.openxmlformats.org/officeDocument/2006/relationships/slideMaster" Target="slideMasters/slideMaster3.xml"/><Relationship Id="rId72" Type="http://schemas.openxmlformats.org/officeDocument/2006/relationships/slide" Target="slides/slide10.xml"/><Relationship Id="rId93" Type="http://schemas.openxmlformats.org/officeDocument/2006/relationships/slide" Target="slides/slide31.xml"/><Relationship Id="rId98" Type="http://schemas.openxmlformats.org/officeDocument/2006/relationships/slide" Target="slides/slide36.xml"/><Relationship Id="rId121" Type="http://schemas.openxmlformats.org/officeDocument/2006/relationships/slide" Target="slides/slide59.xml"/><Relationship Id="rId142"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5.xml"/><Relationship Id="rId116" Type="http://schemas.openxmlformats.org/officeDocument/2006/relationships/slide" Target="slides/slide54.xml"/><Relationship Id="rId137" Type="http://schemas.openxmlformats.org/officeDocument/2006/relationships/slide" Target="slides/slide75.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21.xml"/><Relationship Id="rId88" Type="http://schemas.openxmlformats.org/officeDocument/2006/relationships/slide" Target="slides/slide26.xml"/><Relationship Id="rId111" Type="http://schemas.openxmlformats.org/officeDocument/2006/relationships/slide" Target="slides/slide49.xml"/><Relationship Id="rId132" Type="http://schemas.openxmlformats.org/officeDocument/2006/relationships/slide" Target="slides/slide70.xml"/><Relationship Id="rId153" Type="http://schemas.openxmlformats.org/officeDocument/2006/relationships/viewProps" Target="viewProps.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44.xml"/><Relationship Id="rId127" Type="http://schemas.openxmlformats.org/officeDocument/2006/relationships/slide" Target="slides/slide65.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 Target="slides/slide11.xml"/><Relationship Id="rId78" Type="http://schemas.openxmlformats.org/officeDocument/2006/relationships/slide" Target="slides/slide16.xml"/><Relationship Id="rId94" Type="http://schemas.openxmlformats.org/officeDocument/2006/relationships/slide" Target="slides/slide32.xml"/><Relationship Id="rId99" Type="http://schemas.openxmlformats.org/officeDocument/2006/relationships/slide" Target="slides/slide37.xml"/><Relationship Id="rId101" Type="http://schemas.openxmlformats.org/officeDocument/2006/relationships/slide" Target="slides/slide39.xml"/><Relationship Id="rId122" Type="http://schemas.openxmlformats.org/officeDocument/2006/relationships/slide" Target="slides/slide60.xml"/><Relationship Id="rId143" Type="http://schemas.openxmlformats.org/officeDocument/2006/relationships/slide" Target="slides/slide81.xml"/><Relationship Id="rId148"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 Target="slides/slide6.xml"/><Relationship Id="rId89" Type="http://schemas.openxmlformats.org/officeDocument/2006/relationships/slide" Target="slides/slide27.xml"/><Relationship Id="rId112" Type="http://schemas.openxmlformats.org/officeDocument/2006/relationships/slide" Target="slides/slide50.xml"/><Relationship Id="rId133" Type="http://schemas.openxmlformats.org/officeDocument/2006/relationships/slide" Target="slides/slide71.xml"/><Relationship Id="rId154" Type="http://schemas.openxmlformats.org/officeDocument/2006/relationships/theme" Target="theme/theme1.xml"/><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17.xml"/><Relationship Id="rId102" Type="http://schemas.openxmlformats.org/officeDocument/2006/relationships/slide" Target="slides/slide40.xml"/><Relationship Id="rId123" Type="http://schemas.openxmlformats.org/officeDocument/2006/relationships/slide" Target="slides/slide61.xml"/><Relationship Id="rId144" Type="http://schemas.openxmlformats.org/officeDocument/2006/relationships/slide" Target="slides/slide82.xml"/><Relationship Id="rId90"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68837740369618"/>
          <c:y val="3.200687162496408E-2"/>
          <c:w val="0.84852081435541638"/>
          <c:h val="0.81273372921419273"/>
        </c:manualLayout>
      </c:layout>
      <c:barChart>
        <c:barDir val="col"/>
        <c:grouping val="stacked"/>
        <c:varyColors val="0"/>
        <c:ser>
          <c:idx val="0"/>
          <c:order val="0"/>
          <c:tx>
            <c:strRef>
              <c:f>Sheet1!$B$1</c:f>
              <c:strCache>
                <c:ptCount val="1"/>
                <c:pt idx="0">
                  <c:v>Column 1</c:v>
                </c:pt>
              </c:strCache>
            </c:strRef>
          </c:tx>
          <c:spPr>
            <a:solidFill>
              <a:schemeClr val="accent1"/>
            </a:solidFill>
            <a:ln>
              <a:noFill/>
            </a:ln>
            <a:effectLst/>
          </c:spPr>
          <c:invertIfNegative val="0"/>
          <c:dLbls>
            <c:delete val="1"/>
          </c:dLbls>
          <c:cat>
            <c:strRef>
              <c:f>Sheet1!$A$2:$A$5</c:f>
              <c:strCache>
                <c:ptCount val="3"/>
                <c:pt idx="0">
                  <c:v>Localized</c:v>
                </c:pt>
                <c:pt idx="1">
                  <c:v>mAPMS</c:v>
                </c:pt>
                <c:pt idx="2">
                  <c:v>mAPMR</c:v>
                </c:pt>
              </c:strCache>
            </c:strRef>
          </c:cat>
          <c:val>
            <c:numRef>
              <c:f>Sheet1!$B$2:$B$5</c:f>
              <c:numCache>
                <c:formatCode>0%</c:formatCode>
                <c:ptCount val="4"/>
                <c:pt idx="0">
                  <c:v>0.25</c:v>
                </c:pt>
                <c:pt idx="1">
                  <c:v>0.4</c:v>
                </c:pt>
                <c:pt idx="2">
                  <c:v>0.5</c:v>
                </c:pt>
              </c:numCache>
            </c:numRef>
          </c:val>
          <c:extLst>
            <c:ext xmlns:c16="http://schemas.microsoft.com/office/drawing/2014/chart" uri="{C3380CC4-5D6E-409C-BE32-E72D297353CC}">
              <c16:uniqueId val="{00000000-0EA2-4A32-98A9-10676C13E5EF}"/>
            </c:ext>
          </c:extLst>
        </c:ser>
        <c:dLbls>
          <c:dLblPos val="ctr"/>
          <c:showLegendKey val="0"/>
          <c:showVal val="1"/>
          <c:showCatName val="0"/>
          <c:showSerName val="0"/>
          <c:showPercent val="0"/>
          <c:showBubbleSize val="0"/>
        </c:dLbls>
        <c:gapWidth val="150"/>
        <c:overlap val="100"/>
        <c:axId val="28887727"/>
        <c:axId val="28897807"/>
      </c:barChart>
      <c:catAx>
        <c:axId val="28887727"/>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Prostate</a:t>
                </a:r>
                <a:r>
                  <a:rPr lang="en-US" baseline="0" dirty="0"/>
                  <a:t> Cancer Disease State</a:t>
                </a:r>
                <a:endParaRPr lang="en-US"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897807"/>
        <c:crosses val="autoZero"/>
        <c:auto val="1"/>
        <c:lblAlgn val="ctr"/>
        <c:lblOffset val="100"/>
        <c:noMultiLvlLbl val="0"/>
      </c:catAx>
      <c:valAx>
        <c:axId val="28897807"/>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Percent PTEN Deficient</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8877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644C-490A-81AF-B187C874AC72}"/>
              </c:ext>
            </c:extLst>
          </c:dPt>
          <c:dPt>
            <c:idx val="1"/>
            <c:bubble3D val="0"/>
            <c:spPr>
              <a:solidFill>
                <a:schemeClr val="accent3"/>
              </a:solidFill>
              <a:ln w="19050">
                <a:noFill/>
              </a:ln>
              <a:effectLst/>
            </c:spPr>
            <c:extLst>
              <c:ext xmlns:c16="http://schemas.microsoft.com/office/drawing/2014/chart" uri="{C3380CC4-5D6E-409C-BE32-E72D297353CC}">
                <c16:uniqueId val="{00000003-644C-490A-81AF-B187C874AC72}"/>
              </c:ext>
            </c:extLst>
          </c:dPt>
          <c:dPt>
            <c:idx val="2"/>
            <c:bubble3D val="0"/>
            <c:spPr>
              <a:solidFill>
                <a:srgbClr val="3C1053"/>
              </a:solidFill>
              <a:ln w="19050">
                <a:noFill/>
              </a:ln>
              <a:effectLst/>
            </c:spPr>
            <c:extLst>
              <c:ext xmlns:c16="http://schemas.microsoft.com/office/drawing/2014/chart" uri="{C3380CC4-5D6E-409C-BE32-E72D297353CC}">
                <c16:uniqueId val="{00000005-644C-490A-81AF-B187C874AC72}"/>
              </c:ext>
            </c:extLst>
          </c:dPt>
          <c:dPt>
            <c:idx val="3"/>
            <c:bubble3D val="0"/>
            <c:spPr>
              <a:solidFill>
                <a:schemeClr val="accent4">
                  <a:alpha val="69804"/>
                </a:schemeClr>
              </a:solidFill>
              <a:ln w="19050">
                <a:noFill/>
              </a:ln>
              <a:effectLst/>
            </c:spPr>
            <c:extLst>
              <c:ext xmlns:c16="http://schemas.microsoft.com/office/drawing/2014/chart" uri="{C3380CC4-5D6E-409C-BE32-E72D297353CC}">
                <c16:uniqueId val="{00000007-644C-490A-81AF-B187C874AC72}"/>
              </c:ext>
            </c:extLst>
          </c:dPt>
          <c:dPt>
            <c:idx val="4"/>
            <c:bubble3D val="0"/>
            <c:spPr>
              <a:solidFill>
                <a:schemeClr val="bg1">
                  <a:lumMod val="85000"/>
                </a:schemeClr>
              </a:solidFill>
              <a:ln w="19050">
                <a:noFill/>
              </a:ln>
              <a:effectLst/>
            </c:spPr>
            <c:extLst>
              <c:ext xmlns:c16="http://schemas.microsoft.com/office/drawing/2014/chart" uri="{C3380CC4-5D6E-409C-BE32-E72D297353CC}">
                <c16:uniqueId val="{00000009-644C-490A-81AF-B187C874AC72}"/>
              </c:ext>
            </c:extLst>
          </c:dPt>
          <c:dLbls>
            <c:dLbl>
              <c:idx val="0"/>
              <c:tx>
                <c:rich>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fld id="{378424BB-54A6-4E99-9FF6-0A01683D08B2}" type="VALUE">
                      <a:rPr lang="en-US" smtClean="0"/>
                      <a:pPr>
                        <a:defRPr b="1">
                          <a:solidFill>
                            <a:srgbClr val="000000"/>
                          </a:solidFill>
                        </a:defRPr>
                      </a:pPr>
                      <a:t>[VALUE]</a:t>
                    </a:fld>
                    <a:r>
                      <a:rPr lang="en-US"/>
                      <a:t>%</a:t>
                    </a:r>
                  </a:p>
                </c:rich>
              </c:tx>
              <c:spPr>
                <a:noFill/>
                <a:ln>
                  <a:solidFill>
                    <a:srgbClr val="FF0000"/>
                  </a:solid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44C-490A-81AF-B187C874AC72}"/>
                </c:ext>
              </c:extLst>
            </c:dLbl>
            <c:dLbl>
              <c:idx val="1"/>
              <c:tx>
                <c:rich>
                  <a:bodyPr/>
                  <a:lstStyle/>
                  <a:p>
                    <a:fld id="{1C757839-4FBC-409D-A640-CEA91AD9D57C}"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44C-490A-81AF-B187C874AC72}"/>
                </c:ext>
              </c:extLst>
            </c:dLbl>
            <c:dLbl>
              <c:idx val="2"/>
              <c:tx>
                <c:rich>
                  <a:bodyPr/>
                  <a:lstStyle/>
                  <a:p>
                    <a:fld id="{4A004EF5-14C5-4615-B846-EF4C1DA60826}"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44C-490A-81AF-B187C874AC72}"/>
                </c:ext>
              </c:extLst>
            </c:dLbl>
            <c:dLbl>
              <c:idx val="3"/>
              <c:tx>
                <c:rich>
                  <a:bodyPr/>
                  <a:lstStyle/>
                  <a:p>
                    <a:fld id="{6C067B07-2D8A-4043-A5DC-0D0587944879}"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44C-490A-81AF-B187C874AC72}"/>
                </c:ext>
              </c:extLst>
            </c:dLbl>
            <c:dLbl>
              <c:idx val="4"/>
              <c:layout>
                <c:manualLayout>
                  <c:x val="7.2346064814814759E-2"/>
                  <c:y val="-0.24215043290043289"/>
                </c:manualLayout>
              </c:layout>
              <c:tx>
                <c:rich>
                  <a:bodyPr/>
                  <a:lstStyle/>
                  <a:p>
                    <a:fld id="{74A7F8EC-5EBF-4908-A718-FE336D1717CC}"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44C-490A-81AF-B187C874AC7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TEN only</c:v>
                </c:pt>
                <c:pt idx="1">
                  <c:v>AKT1 only</c:v>
                </c:pt>
                <c:pt idx="2">
                  <c:v>PIK3CA only</c:v>
                </c:pt>
                <c:pt idx="3">
                  <c:v>PTEN + PIK3CA</c:v>
                </c:pt>
                <c:pt idx="4">
                  <c:v>Non-altered</c:v>
                </c:pt>
              </c:strCache>
            </c:strRef>
          </c:cat>
          <c:val>
            <c:numRef>
              <c:f>Sheet1!$B$2:$B$6</c:f>
              <c:numCache>
                <c:formatCode>General</c:formatCode>
                <c:ptCount val="5"/>
                <c:pt idx="0">
                  <c:v>22.6</c:v>
                </c:pt>
                <c:pt idx="1">
                  <c:v>0.2</c:v>
                </c:pt>
                <c:pt idx="2">
                  <c:v>2.1</c:v>
                </c:pt>
                <c:pt idx="3">
                  <c:v>0.7</c:v>
                </c:pt>
                <c:pt idx="4">
                  <c:v>74.3</c:v>
                </c:pt>
              </c:numCache>
            </c:numRef>
          </c:val>
          <c:extLst>
            <c:ext xmlns:c16="http://schemas.microsoft.com/office/drawing/2014/chart" uri="{C3380CC4-5D6E-409C-BE32-E72D297353CC}">
              <c16:uniqueId val="{00000008-644C-490A-81AF-B187C874AC7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6.0096142471202589E-2"/>
          <c:y val="0.799744373052654"/>
          <c:w val="0.86538464086450617"/>
          <c:h val="0.17585225262040038"/>
        </c:manualLayout>
      </c:layout>
      <c:overlay val="0"/>
      <c:spPr>
        <a:noFill/>
        <a:ln>
          <a:noFill/>
        </a:ln>
        <a:effectLst/>
      </c:spPr>
      <c:txPr>
        <a:bodyPr rot="0" spcFirstLastPara="1" vertOverflow="ellipsis" vert="horz" wrap="square" anchor="ctr" anchorCtr="1"/>
        <a:lstStyle/>
        <a:p>
          <a:pPr>
            <a:defRPr lang="en-GB" sz="1197" b="1" i="0" u="none" strike="noStrike" kern="1200" baseline="0">
              <a:solidFill>
                <a:schemeClr val="tx1">
                  <a:lumMod val="50000"/>
                </a:schemeClr>
              </a:solidFill>
              <a:latin typeface="Arial" panose="020B06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C7A4-4935-A714-90C6C9BBD06A}"/>
              </c:ext>
            </c:extLst>
          </c:dPt>
          <c:dPt>
            <c:idx val="1"/>
            <c:bubble3D val="0"/>
            <c:spPr>
              <a:solidFill>
                <a:schemeClr val="accent3"/>
              </a:solidFill>
              <a:ln w="19050">
                <a:noFill/>
              </a:ln>
              <a:effectLst/>
            </c:spPr>
            <c:extLst>
              <c:ext xmlns:c16="http://schemas.microsoft.com/office/drawing/2014/chart" uri="{C3380CC4-5D6E-409C-BE32-E72D297353CC}">
                <c16:uniqueId val="{00000003-C7A4-4935-A714-90C6C9BBD06A}"/>
              </c:ext>
            </c:extLst>
          </c:dPt>
          <c:dPt>
            <c:idx val="2"/>
            <c:bubble3D val="0"/>
            <c:spPr>
              <a:solidFill>
                <a:srgbClr val="3C1053"/>
              </a:solidFill>
              <a:ln w="19050">
                <a:noFill/>
              </a:ln>
              <a:effectLst/>
            </c:spPr>
            <c:extLst>
              <c:ext xmlns:c16="http://schemas.microsoft.com/office/drawing/2014/chart" uri="{C3380CC4-5D6E-409C-BE32-E72D297353CC}">
                <c16:uniqueId val="{00000005-C7A4-4935-A714-90C6C9BBD06A}"/>
              </c:ext>
            </c:extLst>
          </c:dPt>
          <c:dPt>
            <c:idx val="3"/>
            <c:bubble3D val="0"/>
            <c:spPr>
              <a:solidFill>
                <a:schemeClr val="accent4">
                  <a:alpha val="69804"/>
                </a:schemeClr>
              </a:solidFill>
              <a:ln w="19050">
                <a:noFill/>
              </a:ln>
              <a:effectLst/>
            </c:spPr>
            <c:extLst>
              <c:ext xmlns:c16="http://schemas.microsoft.com/office/drawing/2014/chart" uri="{C3380CC4-5D6E-409C-BE32-E72D297353CC}">
                <c16:uniqueId val="{00000007-C7A4-4935-A714-90C6C9BBD06A}"/>
              </c:ext>
            </c:extLst>
          </c:dPt>
          <c:dPt>
            <c:idx val="4"/>
            <c:bubble3D val="0"/>
            <c:spPr>
              <a:solidFill>
                <a:schemeClr val="bg1">
                  <a:lumMod val="85000"/>
                </a:schemeClr>
              </a:solidFill>
              <a:ln w="19050">
                <a:noFill/>
              </a:ln>
              <a:effectLst/>
            </c:spPr>
            <c:extLst>
              <c:ext xmlns:c16="http://schemas.microsoft.com/office/drawing/2014/chart" uri="{C3380CC4-5D6E-409C-BE32-E72D297353CC}">
                <c16:uniqueId val="{00000009-C7A4-4935-A714-90C6C9BBD06A}"/>
              </c:ext>
            </c:extLst>
          </c:dPt>
          <c:dLbls>
            <c:dLbl>
              <c:idx val="0"/>
              <c:layout>
                <c:manualLayout>
                  <c:x val="-3.131179374019652E-2"/>
                  <c:y val="-1.5295195450043783E-2"/>
                </c:manualLayout>
              </c:layout>
              <c:tx>
                <c:rich>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fld id="{30362300-1798-41C9-A539-6D0748A9D83E}" type="VALUE">
                      <a:rPr lang="en-US" smtClean="0"/>
                      <a:pPr>
                        <a:defRPr b="1">
                          <a:solidFill>
                            <a:srgbClr val="000000"/>
                          </a:solidFill>
                        </a:defRPr>
                      </a:pPr>
                      <a:t>[VALUE]</a:t>
                    </a:fld>
                    <a:r>
                      <a:rPr lang="en-US"/>
                      <a:t>%</a:t>
                    </a:r>
                  </a:p>
                </c:rich>
              </c:tx>
              <c:spPr>
                <a:noFill/>
                <a:ln>
                  <a:solidFill>
                    <a:srgbClr val="FF0000"/>
                  </a:solid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7A4-4935-A714-90C6C9BBD06A}"/>
                </c:ext>
              </c:extLst>
            </c:dLbl>
            <c:dLbl>
              <c:idx val="1"/>
              <c:tx>
                <c:rich>
                  <a:bodyPr/>
                  <a:lstStyle/>
                  <a:p>
                    <a:fld id="{55BEF383-66C5-4A7C-B12C-DEE8F0CC9107}"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7A4-4935-A714-90C6C9BBD06A}"/>
                </c:ext>
              </c:extLst>
            </c:dLbl>
            <c:dLbl>
              <c:idx val="2"/>
              <c:layout>
                <c:manualLayout>
                  <c:x val="3.0770601851851744E-2"/>
                  <c:y val="-1.8391774891774893E-2"/>
                </c:manualLayout>
              </c:layout>
              <c:tx>
                <c:rich>
                  <a:bodyPr/>
                  <a:lstStyle/>
                  <a:p>
                    <a:fld id="{C92F16A2-AEC0-4B09-A3C8-30A7FC4288D5}" type="VALUE">
                      <a:rPr lang="en-US" smtClean="0"/>
                      <a:pPr/>
                      <a:t>[VALUE]</a:t>
                    </a:fld>
                    <a:r>
                      <a:rPr lang="en-US"/>
                      <a:t>.0%</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7A4-4935-A714-90C6C9BBD06A}"/>
                </c:ext>
              </c:extLst>
            </c:dLbl>
            <c:dLbl>
              <c:idx val="3"/>
              <c:layout>
                <c:manualLayout>
                  <c:x val="-5.3263888888888892E-4"/>
                  <c:y val="-1.0595598845598846E-2"/>
                </c:manualLayout>
              </c:layout>
              <c:tx>
                <c:rich>
                  <a:bodyPr/>
                  <a:lstStyle/>
                  <a:p>
                    <a:fld id="{9473006F-8E59-4E39-8E47-27CF65773058}"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7A4-4935-A714-90C6C9BBD06A}"/>
                </c:ext>
              </c:extLst>
            </c:dLbl>
            <c:dLbl>
              <c:idx val="4"/>
              <c:layout>
                <c:manualLayout>
                  <c:x val="0.14352129629629629"/>
                  <c:y val="1.4738455988455988E-2"/>
                </c:manualLayout>
              </c:layout>
              <c:tx>
                <c:rich>
                  <a:bodyPr/>
                  <a:lstStyle/>
                  <a:p>
                    <a:fld id="{02869A0E-06ED-4CE3-8936-29E1959EE294}"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7A4-4935-A714-90C6C9BBD06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TEN only</c:v>
                </c:pt>
                <c:pt idx="1">
                  <c:v>AKT1 only</c:v>
                </c:pt>
                <c:pt idx="2">
                  <c:v>PIK3CA only</c:v>
                </c:pt>
                <c:pt idx="3">
                  <c:v>PTEN + PIK3CA</c:v>
                </c:pt>
                <c:pt idx="4">
                  <c:v>Non-altered</c:v>
                </c:pt>
              </c:strCache>
            </c:strRef>
          </c:cat>
          <c:val>
            <c:numRef>
              <c:f>Sheet1!$B$2:$B$6</c:f>
              <c:numCache>
                <c:formatCode>General</c:formatCode>
                <c:ptCount val="5"/>
                <c:pt idx="0">
                  <c:v>5.9</c:v>
                </c:pt>
                <c:pt idx="1">
                  <c:v>5.0999999999999996</c:v>
                </c:pt>
                <c:pt idx="2">
                  <c:v>31</c:v>
                </c:pt>
                <c:pt idx="3">
                  <c:v>1.1000000000000001</c:v>
                </c:pt>
                <c:pt idx="4">
                  <c:v>56.9</c:v>
                </c:pt>
              </c:numCache>
            </c:numRef>
          </c:val>
          <c:extLst>
            <c:ext xmlns:c16="http://schemas.microsoft.com/office/drawing/2014/chart" uri="{C3380CC4-5D6E-409C-BE32-E72D297353CC}">
              <c16:uniqueId val="{0000000A-C7A4-4935-A714-90C6C9BBD06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6.0096142471202589E-2"/>
          <c:y val="0.79853587510903312"/>
          <c:w val="0.88557675545564141"/>
          <c:h val="0.17496174345252055"/>
        </c:manualLayout>
      </c:layout>
      <c:overlay val="0"/>
      <c:spPr>
        <a:noFill/>
        <a:ln>
          <a:noFill/>
        </a:ln>
        <a:effectLst/>
      </c:spPr>
      <c:txPr>
        <a:bodyPr rot="0" spcFirstLastPara="1" vertOverflow="ellipsis" vert="horz" wrap="square" anchor="ctr" anchorCtr="1"/>
        <a:lstStyle/>
        <a:p>
          <a:pPr>
            <a:defRPr lang="en-GB" sz="1197" b="1" i="0" u="none" strike="noStrike" kern="1200" baseline="0">
              <a:solidFill>
                <a:schemeClr val="tx1">
                  <a:lumMod val="50000"/>
                </a:schemeClr>
              </a:solidFill>
              <a:latin typeface="Arial" panose="020B06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82757414828125"/>
          <c:y val="0.18812662337662336"/>
          <c:w val="0.25827006201648989"/>
          <c:h val="0.590411976911977"/>
        </c:manualLayout>
      </c:layout>
      <c:pie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08B-4C1C-A260-AA0A072B334F}"/>
              </c:ext>
            </c:extLst>
          </c:dPt>
          <c:dPt>
            <c:idx val="1"/>
            <c:bubble3D val="0"/>
            <c:spPr>
              <a:solidFill>
                <a:schemeClr val="accent3"/>
              </a:solidFill>
              <a:ln w="19050">
                <a:noFill/>
              </a:ln>
              <a:effectLst/>
            </c:spPr>
            <c:extLst>
              <c:ext xmlns:c16="http://schemas.microsoft.com/office/drawing/2014/chart" uri="{C3380CC4-5D6E-409C-BE32-E72D297353CC}">
                <c16:uniqueId val="{00000003-F08B-4C1C-A260-AA0A072B334F}"/>
              </c:ext>
            </c:extLst>
          </c:dPt>
          <c:dPt>
            <c:idx val="2"/>
            <c:bubble3D val="0"/>
            <c:spPr>
              <a:solidFill>
                <a:srgbClr val="3C1053"/>
              </a:solidFill>
              <a:ln w="19050">
                <a:noFill/>
              </a:ln>
              <a:effectLst/>
            </c:spPr>
            <c:extLst>
              <c:ext xmlns:c16="http://schemas.microsoft.com/office/drawing/2014/chart" uri="{C3380CC4-5D6E-409C-BE32-E72D297353CC}">
                <c16:uniqueId val="{00000005-F08B-4C1C-A260-AA0A072B334F}"/>
              </c:ext>
            </c:extLst>
          </c:dPt>
          <c:dPt>
            <c:idx val="3"/>
            <c:bubble3D val="0"/>
            <c:spPr>
              <a:solidFill>
                <a:schemeClr val="accent4">
                  <a:alpha val="69804"/>
                </a:schemeClr>
              </a:solidFill>
              <a:ln w="19050">
                <a:noFill/>
              </a:ln>
              <a:effectLst/>
            </c:spPr>
            <c:extLst>
              <c:ext xmlns:c16="http://schemas.microsoft.com/office/drawing/2014/chart" uri="{C3380CC4-5D6E-409C-BE32-E72D297353CC}">
                <c16:uniqueId val="{00000007-F08B-4C1C-A260-AA0A072B334F}"/>
              </c:ext>
            </c:extLst>
          </c:dPt>
          <c:dPt>
            <c:idx val="4"/>
            <c:bubble3D val="0"/>
            <c:spPr>
              <a:solidFill>
                <a:schemeClr val="bg1">
                  <a:lumMod val="85000"/>
                </a:schemeClr>
              </a:solidFill>
              <a:ln w="19050">
                <a:noFill/>
              </a:ln>
              <a:effectLst/>
            </c:spPr>
            <c:extLst>
              <c:ext xmlns:c16="http://schemas.microsoft.com/office/drawing/2014/chart" uri="{C3380CC4-5D6E-409C-BE32-E72D297353CC}">
                <c16:uniqueId val="{00000009-F08B-4C1C-A260-AA0A072B334F}"/>
              </c:ext>
            </c:extLst>
          </c:dPt>
          <c:dLbls>
            <c:dLbl>
              <c:idx val="0"/>
              <c:tx>
                <c:rich>
                  <a:bodyPr/>
                  <a:lstStyle/>
                  <a:p>
                    <a:fld id="{8C2711D3-5CD7-4E62-A0B8-5F67A3E51916}"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08B-4C1C-A260-AA0A072B334F}"/>
                </c:ext>
              </c:extLst>
            </c:dLbl>
            <c:dLbl>
              <c:idx val="1"/>
              <c:tx>
                <c:rich>
                  <a:bodyPr/>
                  <a:lstStyle/>
                  <a:p>
                    <a:fld id="{E19DCF42-2358-4CBC-85BF-EB2581DFB7D8}"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08B-4C1C-A260-AA0A072B334F}"/>
                </c:ext>
              </c:extLst>
            </c:dLbl>
            <c:dLbl>
              <c:idx val="2"/>
              <c:layout>
                <c:manualLayout>
                  <c:x val="-1.5724617566077195E-2"/>
                  <c:y val="2.2667717501741114E-2"/>
                </c:manualLayout>
              </c:layout>
              <c:tx>
                <c:rich>
                  <a:bodyPr/>
                  <a:lstStyle/>
                  <a:p>
                    <a:fld id="{E1609A88-2D18-4514-8C32-196269C2D3D7}"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08B-4C1C-A260-AA0A072B334F}"/>
                </c:ext>
              </c:extLst>
            </c:dLbl>
            <c:dLbl>
              <c:idx val="3"/>
              <c:layout>
                <c:manualLayout>
                  <c:x val="-1.7729592702249273E-4"/>
                  <c:y val="-1.4065656565656566E-2"/>
                </c:manualLayout>
              </c:layout>
              <c:tx>
                <c:rich>
                  <a:bodyPr/>
                  <a:lstStyle/>
                  <a:p>
                    <a:fld id="{9E8C2F26-82DD-4B9F-96A0-56A7084E8172}"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08B-4C1C-A260-AA0A072B334F}"/>
                </c:ext>
              </c:extLst>
            </c:dLbl>
            <c:dLbl>
              <c:idx val="4"/>
              <c:layout>
                <c:manualLayout>
                  <c:x val="-6.4359934279133975E-3"/>
                  <c:y val="-6.0858609092954083E-2"/>
                </c:manualLayout>
              </c:layout>
              <c:tx>
                <c:rich>
                  <a:bodyPr/>
                  <a:lstStyle/>
                  <a:p>
                    <a:fld id="{79C6D75D-7562-418C-9E94-25FAA3367FFD}" type="VALUE">
                      <a:rPr lang="en-US" smtClean="0"/>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08B-4C1C-A260-AA0A072B334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Homozygous deletion</c:v>
                </c:pt>
                <c:pt idx="1">
                  <c:v>Truncating</c:v>
                </c:pt>
                <c:pt idx="2">
                  <c:v>Splice</c:v>
                </c:pt>
                <c:pt idx="3">
                  <c:v>Missense</c:v>
                </c:pt>
                <c:pt idx="4">
                  <c:v>Fusion</c:v>
                </c:pt>
              </c:strCache>
            </c:strRef>
          </c:cat>
          <c:val>
            <c:numRef>
              <c:f>Sheet1!$B$2:$B$6</c:f>
              <c:numCache>
                <c:formatCode>General</c:formatCode>
                <c:ptCount val="5"/>
                <c:pt idx="0">
                  <c:v>57</c:v>
                </c:pt>
                <c:pt idx="1">
                  <c:v>32</c:v>
                </c:pt>
                <c:pt idx="2">
                  <c:v>5</c:v>
                </c:pt>
                <c:pt idx="3">
                  <c:v>3</c:v>
                </c:pt>
                <c:pt idx="4">
                  <c:v>3</c:v>
                </c:pt>
              </c:numCache>
            </c:numRef>
          </c:val>
          <c:extLst>
            <c:ext xmlns:c16="http://schemas.microsoft.com/office/drawing/2014/chart" uri="{C3380CC4-5D6E-409C-BE32-E72D297353CC}">
              <c16:uniqueId val="{0000000A-F08B-4C1C-A260-AA0A072B334F}"/>
            </c:ext>
          </c:extLst>
        </c:ser>
        <c:dLbls>
          <c:dLblPos val="bestFit"/>
          <c:showLegendKey val="0"/>
          <c:showVal val="1"/>
          <c:showCatName val="0"/>
          <c:showSerName val="0"/>
          <c:showPercent val="0"/>
          <c:showBubbleSize val="0"/>
          <c:showLeaderLines val="1"/>
        </c:dLbls>
        <c:firstSliceAng val="252"/>
      </c:pieChart>
      <c:spPr>
        <a:noFill/>
        <a:ln>
          <a:noFill/>
        </a:ln>
        <a:effectLst/>
      </c:spPr>
    </c:plotArea>
    <c:legend>
      <c:legendPos val="r"/>
      <c:legendEntry>
        <c:idx val="0"/>
        <c:txPr>
          <a:bodyPr rot="0" spcFirstLastPara="1" vertOverflow="ellipsis" vert="horz" wrap="square" anchor="ctr" anchorCtr="1"/>
          <a:lstStyle/>
          <a:p>
            <a:pPr>
              <a:defRPr lang="en-GB" sz="1100" b="1" i="0" u="none" strike="noStrike" kern="1200" baseline="0">
                <a:solidFill>
                  <a:schemeClr val="tx1">
                    <a:lumMod val="50000"/>
                  </a:schemeClr>
                </a:solidFill>
                <a:latin typeface="Arial" panose="020B0604020202020204" pitchFamily="34" charset="0"/>
                <a:ea typeface="+mn-ea"/>
                <a:cs typeface="+mn-cs"/>
              </a:defRPr>
            </a:pPr>
            <a:endParaRPr lang="en-US"/>
          </a:p>
        </c:txPr>
      </c:legendEntry>
      <c:layout>
        <c:manualLayout>
          <c:xMode val="edge"/>
          <c:yMode val="edge"/>
          <c:x val="0.6572243508303246"/>
          <c:y val="0.18358529690947745"/>
          <c:w val="0.27513597552615521"/>
          <c:h val="0.6658399704245489"/>
        </c:manualLayout>
      </c:layout>
      <c:overlay val="0"/>
      <c:spPr>
        <a:noFill/>
        <a:ln>
          <a:noFill/>
        </a:ln>
        <a:effectLst/>
      </c:spPr>
      <c:txPr>
        <a:bodyPr rot="0" spcFirstLastPara="1" vertOverflow="ellipsis" vert="horz" wrap="square" anchor="ctr" anchorCtr="1"/>
        <a:lstStyle/>
        <a:p>
          <a:pPr>
            <a:defRPr lang="en-GB" sz="1100" b="1" i="0" u="none" strike="noStrike" kern="1200" baseline="0">
              <a:solidFill>
                <a:schemeClr val="tx1">
                  <a:lumMod val="50000"/>
                </a:schemeClr>
              </a:solidFill>
              <a:latin typeface="Arial" panose="020B06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svg"/><Relationship Id="rId1" Type="http://schemas.openxmlformats.org/officeDocument/2006/relationships/image" Target="../media/image174.png"/><Relationship Id="rId6" Type="http://schemas.openxmlformats.org/officeDocument/2006/relationships/image" Target="../media/image179.svg"/><Relationship Id="rId5" Type="http://schemas.openxmlformats.org/officeDocument/2006/relationships/image" Target="../media/image178.png"/><Relationship Id="rId4" Type="http://schemas.openxmlformats.org/officeDocument/2006/relationships/image" Target="../media/image17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svg"/><Relationship Id="rId1" Type="http://schemas.openxmlformats.org/officeDocument/2006/relationships/image" Target="../media/image174.png"/><Relationship Id="rId6" Type="http://schemas.openxmlformats.org/officeDocument/2006/relationships/image" Target="../media/image179.svg"/><Relationship Id="rId5" Type="http://schemas.openxmlformats.org/officeDocument/2006/relationships/image" Target="../media/image178.png"/><Relationship Id="rId4" Type="http://schemas.openxmlformats.org/officeDocument/2006/relationships/image" Target="../media/image17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84D64A-CC54-4CB9-B8FA-11286E4978F0}" type="doc">
      <dgm:prSet loTypeId="urn:microsoft.com/office/officeart/2018/5/layout/IconLeafLabelList" loCatId="icon" qsTypeId="urn:microsoft.com/office/officeart/2005/8/quickstyle/simple1" qsCatId="simple" csTypeId="urn:microsoft.com/office/officeart/2005/8/colors/accent1_2" csCatId="accent1" phldr="1"/>
      <dgm:spPr/>
      <dgm:t>
        <a:bodyPr/>
        <a:lstStyle/>
        <a:p>
          <a:endParaRPr lang="en-US"/>
        </a:p>
      </dgm:t>
    </dgm:pt>
    <dgm:pt modelId="{CB1CAF8E-6445-4CF0-9616-52E9E0CDA38E}">
      <dgm:prSet custT="1"/>
      <dgm:spPr/>
      <dgm:t>
        <a:bodyPr/>
        <a:lstStyle/>
        <a:p>
          <a:pPr>
            <a:defRPr cap="all"/>
          </a:pPr>
          <a:r>
            <a:rPr lang="en-US" sz="1600" dirty="0"/>
            <a:t>BEFORE INITIATING TREATMENT WITH CAPIVASERTIB, TEST FG LEVELS, HBA1C, AND OPTIMIZE FG</a:t>
          </a:r>
        </a:p>
      </dgm:t>
    </dgm:pt>
    <dgm:pt modelId="{96B133E2-D94B-465B-BACC-464E4709F9DE}" type="parTrans" cxnId="{EB5FF7F8-6AEA-477E-A0DC-0432A11BDF17}">
      <dgm:prSet/>
      <dgm:spPr/>
      <dgm:t>
        <a:bodyPr/>
        <a:lstStyle/>
        <a:p>
          <a:endParaRPr lang="en-US"/>
        </a:p>
      </dgm:t>
    </dgm:pt>
    <dgm:pt modelId="{2F1B37A2-6D02-4CA3-BE4A-AAC7C61C5844}" type="sibTrans" cxnId="{EB5FF7F8-6AEA-477E-A0DC-0432A11BDF17}">
      <dgm:prSet phldrT="1" phldr="0"/>
      <dgm:spPr/>
      <dgm:t>
        <a:bodyPr/>
        <a:lstStyle/>
        <a:p>
          <a:endParaRPr lang="en-US"/>
        </a:p>
      </dgm:t>
    </dgm:pt>
    <dgm:pt modelId="{88EFBB7C-09DA-479D-888B-0EC3AC71E002}">
      <dgm:prSet custT="1"/>
      <dgm:spPr/>
      <dgm:t>
        <a:bodyPr/>
        <a:lstStyle/>
        <a:p>
          <a:pPr>
            <a:defRPr cap="all"/>
          </a:pPr>
          <a:r>
            <a:rPr lang="en-US" sz="1600" dirty="0"/>
            <a:t>AFTER INITIATING CAPIVASERTIB, MONITOR FG LEVELS ON DAY 3 OR 4 OF THE DOSING WEEK DURING WEEKS 1, 2, 4, 6, AND 8, THEN MONTHLY WHILE ON TREATMENT</a:t>
          </a:r>
        </a:p>
      </dgm:t>
    </dgm:pt>
    <dgm:pt modelId="{9C8C11A0-AFE5-48E3-A3CB-1D4EF23B2AAE}" type="parTrans" cxnId="{2630DCB7-046D-4338-BB44-D14EA85341F9}">
      <dgm:prSet/>
      <dgm:spPr/>
      <dgm:t>
        <a:bodyPr/>
        <a:lstStyle/>
        <a:p>
          <a:endParaRPr lang="en-US"/>
        </a:p>
      </dgm:t>
    </dgm:pt>
    <dgm:pt modelId="{603DFA91-ECAE-411F-A890-14A32B1708E5}" type="sibTrans" cxnId="{2630DCB7-046D-4338-BB44-D14EA85341F9}">
      <dgm:prSet phldrT="2" phldr="0"/>
      <dgm:spPr/>
      <dgm:t>
        <a:bodyPr/>
        <a:lstStyle/>
        <a:p>
          <a:endParaRPr lang="en-US"/>
        </a:p>
      </dgm:t>
    </dgm:pt>
    <dgm:pt modelId="{C98F3343-98D0-4E30-931D-1C99FDB17259}">
      <dgm:prSet custT="1"/>
      <dgm:spPr/>
      <dgm:t>
        <a:bodyPr/>
        <a:lstStyle/>
        <a:p>
          <a:pPr>
            <a:defRPr cap="all"/>
          </a:pPr>
          <a:r>
            <a:rPr lang="en-US" sz="1600" dirty="0"/>
            <a:t>MONITOR HBA1C Q 3 MONTHS</a:t>
          </a:r>
        </a:p>
      </dgm:t>
    </dgm:pt>
    <dgm:pt modelId="{2F0E5F78-628F-4D0E-901A-858829EB50D4}" type="parTrans" cxnId="{D9BDCB30-0303-4F00-920B-771453159536}">
      <dgm:prSet/>
      <dgm:spPr/>
      <dgm:t>
        <a:bodyPr/>
        <a:lstStyle/>
        <a:p>
          <a:endParaRPr lang="en-US"/>
        </a:p>
      </dgm:t>
    </dgm:pt>
    <dgm:pt modelId="{B5CA33AF-A2C6-45CE-9F49-9016B73DE48A}" type="sibTrans" cxnId="{D9BDCB30-0303-4F00-920B-771453159536}">
      <dgm:prSet phldrT="3" phldr="0"/>
      <dgm:spPr/>
      <dgm:t>
        <a:bodyPr/>
        <a:lstStyle/>
        <a:p>
          <a:endParaRPr lang="en-US"/>
        </a:p>
      </dgm:t>
    </dgm:pt>
    <dgm:pt modelId="{C130DC4E-62B1-4B8C-BEE4-33BC2E469AD7}" type="pres">
      <dgm:prSet presAssocID="{EA84D64A-CC54-4CB9-B8FA-11286E4978F0}" presName="root" presStyleCnt="0">
        <dgm:presLayoutVars>
          <dgm:dir/>
          <dgm:resizeHandles val="exact"/>
        </dgm:presLayoutVars>
      </dgm:prSet>
      <dgm:spPr/>
    </dgm:pt>
    <dgm:pt modelId="{7210C56E-72AC-49A5-A252-B19542E67AA8}" type="pres">
      <dgm:prSet presAssocID="{CB1CAF8E-6445-4CF0-9616-52E9E0CDA38E}" presName="compNode" presStyleCnt="0"/>
      <dgm:spPr/>
    </dgm:pt>
    <dgm:pt modelId="{FB42D886-69FA-42CC-BE87-54CA0DC72613}" type="pres">
      <dgm:prSet presAssocID="{CB1CAF8E-6445-4CF0-9616-52E9E0CDA38E}" presName="iconBgRect" presStyleLbl="bgShp" presStyleIdx="0" presStyleCnt="3" custLinFactNeighborX="-938" custLinFactNeighborY="2839"/>
      <dgm:spPr>
        <a:prstGeom prst="round2DiagRect">
          <a:avLst>
            <a:gd name="adj1" fmla="val 29727"/>
            <a:gd name="adj2" fmla="val 0"/>
          </a:avLst>
        </a:prstGeom>
      </dgm:spPr>
    </dgm:pt>
    <dgm:pt modelId="{4B73DEA8-51C1-4547-945B-1CC3CB46D118}" type="pres">
      <dgm:prSet presAssocID="{CB1CAF8E-6445-4CF0-9616-52E9E0CDA38E}" presName="iconRect" presStyleLbl="node1" presStyleIdx="0" presStyleCnt="3" custLinFactNeighborX="4524" custLinFactNeighborY="-752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24F5E2E4-B49A-4CC4-9657-401C5416D4E8}" type="pres">
      <dgm:prSet presAssocID="{CB1CAF8E-6445-4CF0-9616-52E9E0CDA38E}" presName="spaceRect" presStyleCnt="0"/>
      <dgm:spPr/>
    </dgm:pt>
    <dgm:pt modelId="{E1808F74-BAB1-4620-92DD-DD5A3960EE12}" type="pres">
      <dgm:prSet presAssocID="{CB1CAF8E-6445-4CF0-9616-52E9E0CDA38E}" presName="textRect" presStyleLbl="revTx" presStyleIdx="0" presStyleCnt="3" custLinFactNeighborX="-67161" custLinFactNeighborY="1465">
        <dgm:presLayoutVars>
          <dgm:chMax val="1"/>
          <dgm:chPref val="1"/>
        </dgm:presLayoutVars>
      </dgm:prSet>
      <dgm:spPr/>
    </dgm:pt>
    <dgm:pt modelId="{B254BEA7-5192-4F8B-9B55-86EC179867C2}" type="pres">
      <dgm:prSet presAssocID="{2F1B37A2-6D02-4CA3-BE4A-AAC7C61C5844}" presName="sibTrans" presStyleCnt="0"/>
      <dgm:spPr/>
    </dgm:pt>
    <dgm:pt modelId="{6E1B28BC-B930-4E5E-9963-C46A9B71188F}" type="pres">
      <dgm:prSet presAssocID="{88EFBB7C-09DA-479D-888B-0EC3AC71E002}" presName="compNode" presStyleCnt="0"/>
      <dgm:spPr/>
    </dgm:pt>
    <dgm:pt modelId="{95244548-0ADD-4011-8E1F-C61A53988350}" type="pres">
      <dgm:prSet presAssocID="{88EFBB7C-09DA-479D-888B-0EC3AC71E002}" presName="iconBgRect" presStyleLbl="bgShp" presStyleIdx="1" presStyleCnt="3"/>
      <dgm:spPr>
        <a:prstGeom prst="round2DiagRect">
          <a:avLst>
            <a:gd name="adj1" fmla="val 29727"/>
            <a:gd name="adj2" fmla="val 0"/>
          </a:avLst>
        </a:prstGeom>
      </dgm:spPr>
    </dgm:pt>
    <dgm:pt modelId="{A323BBBC-9B13-4DFF-AF98-EACB2C1CDF19}" type="pres">
      <dgm:prSet presAssocID="{88EFBB7C-09DA-479D-888B-0EC3AC71E002}"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dicine"/>
        </a:ext>
      </dgm:extLst>
    </dgm:pt>
    <dgm:pt modelId="{AA8D56D2-2004-438B-8A8C-EA6707A28AA7}" type="pres">
      <dgm:prSet presAssocID="{88EFBB7C-09DA-479D-888B-0EC3AC71E002}" presName="spaceRect" presStyleCnt="0"/>
      <dgm:spPr/>
    </dgm:pt>
    <dgm:pt modelId="{58296B1A-00D2-4B11-8453-0CD11450A9F5}" type="pres">
      <dgm:prSet presAssocID="{88EFBB7C-09DA-479D-888B-0EC3AC71E002}" presName="textRect" presStyleLbl="revTx" presStyleIdx="1" presStyleCnt="3">
        <dgm:presLayoutVars>
          <dgm:chMax val="1"/>
          <dgm:chPref val="1"/>
        </dgm:presLayoutVars>
      </dgm:prSet>
      <dgm:spPr/>
    </dgm:pt>
    <dgm:pt modelId="{0BE6302B-B7DC-48AE-99BC-39FCF3882FCD}" type="pres">
      <dgm:prSet presAssocID="{603DFA91-ECAE-411F-A890-14A32B1708E5}" presName="sibTrans" presStyleCnt="0"/>
      <dgm:spPr/>
    </dgm:pt>
    <dgm:pt modelId="{71BEBCED-0E80-42A2-985E-140DB8F33904}" type="pres">
      <dgm:prSet presAssocID="{C98F3343-98D0-4E30-931D-1C99FDB17259}" presName="compNode" presStyleCnt="0"/>
      <dgm:spPr/>
    </dgm:pt>
    <dgm:pt modelId="{26A0BEE7-757F-4D80-A9C2-DBC5372ABDB5}" type="pres">
      <dgm:prSet presAssocID="{C98F3343-98D0-4E30-931D-1C99FDB17259}" presName="iconBgRect" presStyleLbl="bgShp" presStyleIdx="2" presStyleCnt="3" custLinFactNeighborX="-3203" custLinFactNeighborY="3370"/>
      <dgm:spPr>
        <a:prstGeom prst="round2DiagRect">
          <a:avLst>
            <a:gd name="adj1" fmla="val 29727"/>
            <a:gd name="adj2" fmla="val 0"/>
          </a:avLst>
        </a:prstGeom>
      </dgm:spPr>
    </dgm:pt>
    <dgm:pt modelId="{C3C5EEE9-0DD8-4938-AF9D-4797AA6755C3}" type="pres">
      <dgm:prSet presAssocID="{C98F3343-98D0-4E30-931D-1C99FDB17259}" presName="iconRect" presStyleLbl="node1" presStyleIdx="2" presStyleCnt="3" custLinFactNeighborX="1662" custLinFactNeighborY="484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 List"/>
        </a:ext>
      </dgm:extLst>
    </dgm:pt>
    <dgm:pt modelId="{FCC4634D-E6F4-458E-824D-33478F3A1F9A}" type="pres">
      <dgm:prSet presAssocID="{C98F3343-98D0-4E30-931D-1C99FDB17259}" presName="spaceRect" presStyleCnt="0"/>
      <dgm:spPr/>
    </dgm:pt>
    <dgm:pt modelId="{83257719-035E-40B2-A1E7-42D713C4BD4B}" type="pres">
      <dgm:prSet presAssocID="{C98F3343-98D0-4E30-931D-1C99FDB17259}" presName="textRect" presStyleLbl="revTx" presStyleIdx="2" presStyleCnt="3" custLinFactX="12392" custLinFactNeighborX="100000" custLinFactNeighborY="960">
        <dgm:presLayoutVars>
          <dgm:chMax val="1"/>
          <dgm:chPref val="1"/>
        </dgm:presLayoutVars>
      </dgm:prSet>
      <dgm:spPr/>
    </dgm:pt>
  </dgm:ptLst>
  <dgm:cxnLst>
    <dgm:cxn modelId="{626E7F2C-45D2-43D3-ABA7-49682A3D942E}" type="presOf" srcId="{CB1CAF8E-6445-4CF0-9616-52E9E0CDA38E}" destId="{E1808F74-BAB1-4620-92DD-DD5A3960EE12}" srcOrd="0" destOrd="0" presId="urn:microsoft.com/office/officeart/2018/5/layout/IconLeafLabelList"/>
    <dgm:cxn modelId="{D9BDCB30-0303-4F00-920B-771453159536}" srcId="{EA84D64A-CC54-4CB9-B8FA-11286E4978F0}" destId="{C98F3343-98D0-4E30-931D-1C99FDB17259}" srcOrd="2" destOrd="0" parTransId="{2F0E5F78-628F-4D0E-901A-858829EB50D4}" sibTransId="{B5CA33AF-A2C6-45CE-9F49-9016B73DE48A}"/>
    <dgm:cxn modelId="{205EA965-7B0E-4864-B59D-6D1F40B412A8}" type="presOf" srcId="{88EFBB7C-09DA-479D-888B-0EC3AC71E002}" destId="{58296B1A-00D2-4B11-8453-0CD11450A9F5}" srcOrd="0" destOrd="0" presId="urn:microsoft.com/office/officeart/2018/5/layout/IconLeafLabelList"/>
    <dgm:cxn modelId="{2630DCB7-046D-4338-BB44-D14EA85341F9}" srcId="{EA84D64A-CC54-4CB9-B8FA-11286E4978F0}" destId="{88EFBB7C-09DA-479D-888B-0EC3AC71E002}" srcOrd="1" destOrd="0" parTransId="{9C8C11A0-AFE5-48E3-A3CB-1D4EF23B2AAE}" sibTransId="{603DFA91-ECAE-411F-A890-14A32B1708E5}"/>
    <dgm:cxn modelId="{E4DCD7F4-3D99-4CA5-B340-97C0F18143BE}" type="presOf" srcId="{EA84D64A-CC54-4CB9-B8FA-11286E4978F0}" destId="{C130DC4E-62B1-4B8C-BEE4-33BC2E469AD7}" srcOrd="0" destOrd="0" presId="urn:microsoft.com/office/officeart/2018/5/layout/IconLeafLabelList"/>
    <dgm:cxn modelId="{65E8A6F7-B940-46C3-913D-8AE49B0648D1}" type="presOf" srcId="{C98F3343-98D0-4E30-931D-1C99FDB17259}" destId="{83257719-035E-40B2-A1E7-42D713C4BD4B}" srcOrd="0" destOrd="0" presId="urn:microsoft.com/office/officeart/2018/5/layout/IconLeafLabelList"/>
    <dgm:cxn modelId="{EB5FF7F8-6AEA-477E-A0DC-0432A11BDF17}" srcId="{EA84D64A-CC54-4CB9-B8FA-11286E4978F0}" destId="{CB1CAF8E-6445-4CF0-9616-52E9E0CDA38E}" srcOrd="0" destOrd="0" parTransId="{96B133E2-D94B-465B-BACC-464E4709F9DE}" sibTransId="{2F1B37A2-6D02-4CA3-BE4A-AAC7C61C5844}"/>
    <dgm:cxn modelId="{599F78A4-7BAE-4639-919A-E2A36EC03FA5}" type="presParOf" srcId="{C130DC4E-62B1-4B8C-BEE4-33BC2E469AD7}" destId="{7210C56E-72AC-49A5-A252-B19542E67AA8}" srcOrd="0" destOrd="0" presId="urn:microsoft.com/office/officeart/2018/5/layout/IconLeafLabelList"/>
    <dgm:cxn modelId="{A0C6AE1A-347A-49D6-94E4-A43E40E44542}" type="presParOf" srcId="{7210C56E-72AC-49A5-A252-B19542E67AA8}" destId="{FB42D886-69FA-42CC-BE87-54CA0DC72613}" srcOrd="0" destOrd="0" presId="urn:microsoft.com/office/officeart/2018/5/layout/IconLeafLabelList"/>
    <dgm:cxn modelId="{8446DACB-0B71-478F-B13D-9899242DB09B}" type="presParOf" srcId="{7210C56E-72AC-49A5-A252-B19542E67AA8}" destId="{4B73DEA8-51C1-4547-945B-1CC3CB46D118}" srcOrd="1" destOrd="0" presId="urn:microsoft.com/office/officeart/2018/5/layout/IconLeafLabelList"/>
    <dgm:cxn modelId="{032D5895-DDFE-4A13-9585-D7CD671907E4}" type="presParOf" srcId="{7210C56E-72AC-49A5-A252-B19542E67AA8}" destId="{24F5E2E4-B49A-4CC4-9657-401C5416D4E8}" srcOrd="2" destOrd="0" presId="urn:microsoft.com/office/officeart/2018/5/layout/IconLeafLabelList"/>
    <dgm:cxn modelId="{F4212AC2-77F3-4DDD-B00D-DAECE3E74850}" type="presParOf" srcId="{7210C56E-72AC-49A5-A252-B19542E67AA8}" destId="{E1808F74-BAB1-4620-92DD-DD5A3960EE12}" srcOrd="3" destOrd="0" presId="urn:microsoft.com/office/officeart/2018/5/layout/IconLeafLabelList"/>
    <dgm:cxn modelId="{C648C939-1912-41E6-8A1D-AFC165491A6D}" type="presParOf" srcId="{C130DC4E-62B1-4B8C-BEE4-33BC2E469AD7}" destId="{B254BEA7-5192-4F8B-9B55-86EC179867C2}" srcOrd="1" destOrd="0" presId="urn:microsoft.com/office/officeart/2018/5/layout/IconLeafLabelList"/>
    <dgm:cxn modelId="{9CD85D3B-28E5-42D0-A503-63418EA3E187}" type="presParOf" srcId="{C130DC4E-62B1-4B8C-BEE4-33BC2E469AD7}" destId="{6E1B28BC-B930-4E5E-9963-C46A9B71188F}" srcOrd="2" destOrd="0" presId="urn:microsoft.com/office/officeart/2018/5/layout/IconLeafLabelList"/>
    <dgm:cxn modelId="{BCF067CF-139D-4162-93DD-D0115320AB1F}" type="presParOf" srcId="{6E1B28BC-B930-4E5E-9963-C46A9B71188F}" destId="{95244548-0ADD-4011-8E1F-C61A53988350}" srcOrd="0" destOrd="0" presId="urn:microsoft.com/office/officeart/2018/5/layout/IconLeafLabelList"/>
    <dgm:cxn modelId="{1C3BAF34-22E1-4649-8688-A96744169309}" type="presParOf" srcId="{6E1B28BC-B930-4E5E-9963-C46A9B71188F}" destId="{A323BBBC-9B13-4DFF-AF98-EACB2C1CDF19}" srcOrd="1" destOrd="0" presId="urn:microsoft.com/office/officeart/2018/5/layout/IconLeafLabelList"/>
    <dgm:cxn modelId="{84EA7B71-604F-4464-ADC4-AEA99BC2D326}" type="presParOf" srcId="{6E1B28BC-B930-4E5E-9963-C46A9B71188F}" destId="{AA8D56D2-2004-438B-8A8C-EA6707A28AA7}" srcOrd="2" destOrd="0" presId="urn:microsoft.com/office/officeart/2018/5/layout/IconLeafLabelList"/>
    <dgm:cxn modelId="{935EAB98-36CC-4F3E-A333-D156A76C7032}" type="presParOf" srcId="{6E1B28BC-B930-4E5E-9963-C46A9B71188F}" destId="{58296B1A-00D2-4B11-8453-0CD11450A9F5}" srcOrd="3" destOrd="0" presId="urn:microsoft.com/office/officeart/2018/5/layout/IconLeafLabelList"/>
    <dgm:cxn modelId="{82E1A84B-29F0-4ECF-B904-3A370024DEC2}" type="presParOf" srcId="{C130DC4E-62B1-4B8C-BEE4-33BC2E469AD7}" destId="{0BE6302B-B7DC-48AE-99BC-39FCF3882FCD}" srcOrd="3" destOrd="0" presId="urn:microsoft.com/office/officeart/2018/5/layout/IconLeafLabelList"/>
    <dgm:cxn modelId="{5D829B83-823C-428D-8ACD-8C0819BE6BC9}" type="presParOf" srcId="{C130DC4E-62B1-4B8C-BEE4-33BC2E469AD7}" destId="{71BEBCED-0E80-42A2-985E-140DB8F33904}" srcOrd="4" destOrd="0" presId="urn:microsoft.com/office/officeart/2018/5/layout/IconLeafLabelList"/>
    <dgm:cxn modelId="{BB34FEDE-3E89-4493-BFA0-80FF18179C16}" type="presParOf" srcId="{71BEBCED-0E80-42A2-985E-140DB8F33904}" destId="{26A0BEE7-757F-4D80-A9C2-DBC5372ABDB5}" srcOrd="0" destOrd="0" presId="urn:microsoft.com/office/officeart/2018/5/layout/IconLeafLabelList"/>
    <dgm:cxn modelId="{368F8B50-D0D4-49DE-B916-AE72BA7243C1}" type="presParOf" srcId="{71BEBCED-0E80-42A2-985E-140DB8F33904}" destId="{C3C5EEE9-0DD8-4938-AF9D-4797AA6755C3}" srcOrd="1" destOrd="0" presId="urn:microsoft.com/office/officeart/2018/5/layout/IconLeafLabelList"/>
    <dgm:cxn modelId="{FD8E899F-1B51-4F4B-9331-14C91B42F439}" type="presParOf" srcId="{71BEBCED-0E80-42A2-985E-140DB8F33904}" destId="{FCC4634D-E6F4-458E-824D-33478F3A1F9A}" srcOrd="2" destOrd="0" presId="urn:microsoft.com/office/officeart/2018/5/layout/IconLeafLabelList"/>
    <dgm:cxn modelId="{04147E6C-2E20-4721-8921-37E44CF08EB8}" type="presParOf" srcId="{71BEBCED-0E80-42A2-985E-140DB8F33904}" destId="{83257719-035E-40B2-A1E7-42D713C4BD4B}"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42D886-69FA-42CC-BE87-54CA0DC72613}">
      <dsp:nvSpPr>
        <dsp:cNvPr id="0" name=""/>
        <dsp:cNvSpPr/>
      </dsp:nvSpPr>
      <dsp:spPr>
        <a:xfrm>
          <a:off x="570152" y="316846"/>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73DEA8-51C1-4547-945B-1CC3CB46D118}">
      <dsp:nvSpPr>
        <dsp:cNvPr id="0" name=""/>
        <dsp:cNvSpPr/>
      </dsp:nvSpPr>
      <dsp:spPr>
        <a:xfrm>
          <a:off x="1021978" y="574220"/>
          <a:ext cx="1043437" cy="10434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808F74-BAB1-4620-92DD-DD5A3960EE12}">
      <dsp:nvSpPr>
        <dsp:cNvPr id="0" name=""/>
        <dsp:cNvSpPr/>
      </dsp:nvSpPr>
      <dsp:spPr>
        <a:xfrm>
          <a:off x="0" y="2671807"/>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BEFORE INITIATING TREATMENT WITH CAPIVASERTIB, TEST FG LEVELS, HBA1C, AND OPTIMIZE FG</a:t>
          </a:r>
        </a:p>
      </dsp:txBody>
      <dsp:txXfrm>
        <a:off x="0" y="2671807"/>
        <a:ext cx="2981250" cy="1473684"/>
      </dsp:txXfrm>
    </dsp:sp>
    <dsp:sp modelId="{95244548-0ADD-4011-8E1F-C61A53988350}">
      <dsp:nvSpPr>
        <dsp:cNvPr id="0" name=""/>
        <dsp:cNvSpPr/>
      </dsp:nvSpPr>
      <dsp:spPr>
        <a:xfrm>
          <a:off x="4090179" y="265217"/>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323BBBC-9B13-4DFF-AF98-EACB2C1CDF19}">
      <dsp:nvSpPr>
        <dsp:cNvPr id="0" name=""/>
        <dsp:cNvSpPr/>
      </dsp:nvSpPr>
      <dsp:spPr>
        <a:xfrm>
          <a:off x="4477741" y="652780"/>
          <a:ext cx="1043437" cy="10434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8296B1A-00D2-4B11-8453-0CD11450A9F5}">
      <dsp:nvSpPr>
        <dsp:cNvPr id="0" name=""/>
        <dsp:cNvSpPr/>
      </dsp:nvSpPr>
      <dsp:spPr>
        <a:xfrm>
          <a:off x="3508835" y="2650217"/>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AFTER INITIATING CAPIVASERTIB, MONITOR FG LEVELS ON DAY 3 OR 4 OF THE DOSING WEEK DURING WEEKS 1, 2, 4, 6, AND 8, THEN MONTHLY WHILE ON TREATMENT</a:t>
          </a:r>
        </a:p>
      </dsp:txBody>
      <dsp:txXfrm>
        <a:off x="3508835" y="2650217"/>
        <a:ext cx="2981250" cy="1473684"/>
      </dsp:txXfrm>
    </dsp:sp>
    <dsp:sp modelId="{26A0BEE7-757F-4D80-A9C2-DBC5372ABDB5}">
      <dsp:nvSpPr>
        <dsp:cNvPr id="0" name=""/>
        <dsp:cNvSpPr/>
      </dsp:nvSpPr>
      <dsp:spPr>
        <a:xfrm>
          <a:off x="7534899" y="326503"/>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C5EEE9-0DD8-4938-AF9D-4797AA6755C3}">
      <dsp:nvSpPr>
        <dsp:cNvPr id="0" name=""/>
        <dsp:cNvSpPr/>
      </dsp:nvSpPr>
      <dsp:spPr>
        <a:xfrm>
          <a:off x="7998052" y="703314"/>
          <a:ext cx="1043437" cy="104343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3257719-035E-40B2-A1E7-42D713C4BD4B}">
      <dsp:nvSpPr>
        <dsp:cNvPr id="0" name=""/>
        <dsp:cNvSpPr/>
      </dsp:nvSpPr>
      <dsp:spPr>
        <a:xfrm>
          <a:off x="7017671" y="2664365"/>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MONITOR HBA1C Q 3 MONTHS</a:t>
          </a:r>
        </a:p>
      </dsp:txBody>
      <dsp:txXfrm>
        <a:off x="7017671" y="2664365"/>
        <a:ext cx="2981250" cy="1473684"/>
      </dsp:txXfrm>
    </dsp:sp>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2/27/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2740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B4344-C774-42F0-BCEA-48451FB75F2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8375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9F07D8-6018-4D8B-B6CF-FB844DBC965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0714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B4344-C774-42F0-BCEA-48451FB75F2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2059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28367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DD8B4-C308-0C05-57F5-2B8CFBF73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B54356-ABE3-89ED-0838-7ED43E6D66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E12A45-95EB-02F0-454D-D0A78E2BF19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77335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9E1CD-0361-4EE6-DC4F-04891F175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F70C7A-C977-2F00-D053-B759A20622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03BD0E-2132-12B8-BBBB-D4732611A3B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07796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69243-A43A-9F23-F9C6-DC0D8D1207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3C535A-3ED9-31EF-F71C-ED00C692E3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C51AA-9425-FE22-2735-D3C5E50DFFD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67909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2994" name="Slide Image Placeholder 1"/>
          <p:cNvSpPr>
            <a:spLocks noGrp="1" noRot="1" noChangeAspect="1" noTextEdit="1"/>
          </p:cNvSpPr>
          <p:nvPr>
            <p:ph type="sldImg"/>
          </p:nvPr>
        </p:nvSpPr>
        <p:spPr>
          <a:ln/>
        </p:spPr>
      </p:sp>
      <p:sp>
        <p:nvSpPr>
          <p:cNvPr id="852995" name="Notes Placeholder 2"/>
          <p:cNvSpPr>
            <a:spLocks noGrp="1"/>
          </p:cNvSpPr>
          <p:nvPr>
            <p:ph type="body" idx="1"/>
          </p:nvPr>
        </p:nvSpPr>
        <p:spPr>
          <a:noFill/>
        </p:spPr>
        <p:txBody>
          <a:bodyPr/>
          <a:lstStyle/>
          <a:p>
            <a:endParaRPr lang="en-US" altLang="fr-FR"/>
          </a:p>
        </p:txBody>
      </p:sp>
      <p:sp>
        <p:nvSpPr>
          <p:cNvPr id="852996" name="Slide Number Placeholder 3"/>
          <p:cNvSpPr>
            <a:spLocks noGrp="1"/>
          </p:cNvSpPr>
          <p:nvPr>
            <p:ph type="sldNum" sz="quarter" idx="5"/>
          </p:nvPr>
        </p:nvSpPr>
        <p:spPr>
          <a:noFill/>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DD9FDE-E9BC-4036-84C4-2102B1157487}" type="slidenum">
              <a:rPr kumimoji="0" lang="en-GB" altLang="fr-FR"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GB" altLang="fr-FR"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600501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75B5D-523F-4C41-19A8-8221454D1E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AF8D30-4572-97CF-D886-D6AA0220A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BAC905-C791-CE2B-0CBC-7373FB4FEB8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4876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FFE17-C54E-F8CB-740E-D7774B258E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384A14-1B65-23CD-CAB5-9575972AF6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655ECB-9EA1-6D36-0DEE-C872C9E9B7D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87525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36302-279F-DD01-79FF-9B899BEA53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1F9B6-86D4-EA12-0961-4269F3DCA0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331963-92BB-206B-1727-0E541D12E04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04516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9844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61048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73084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DAFE9-2F24-1052-7ED8-EECDF656E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58132-37FD-31D1-A962-0F9EE406FC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5DA44-FDDD-81E8-E0D8-01C97ADD77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415606-3457-6F7F-2624-5A1BCCC01130}"/>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4203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BEC6F-8888-0483-E9D1-0C440E2001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FE7D36-CF27-2B5F-81AF-D43E8B814D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FD1982-507B-6FB1-85B4-F357A94A51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49EB366-7EC6-5799-105D-FC09E91190F5}"/>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5528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095D3-2253-FC0F-F998-F64629955E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7CF444-DFBF-CDA0-4F13-9CBFED4754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4D2073-0BD1-E97B-EA6A-63656C9E22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D305E3-BF77-2D39-BF97-ABA0A95D6064}"/>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3526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62D66-5E8B-2633-AF99-1FDE74E004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C9CC80-366F-702F-DFEA-31567CA333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FA57D2-78BA-B983-2D8D-FDD4C8F0A7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478F4E2-5811-4535-91EC-635189C821FA}"/>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816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D1900-1B2E-9B64-C4CE-7A2AEF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DD8796-F5A0-ABEC-D4DF-7D40CBC736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5476E-6340-71CE-B2AF-233A2C06027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1972E6-A31F-7513-448A-2188D29DE0DC}"/>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3071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D1900-1B2E-9B64-C4CE-7A2AEF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DD8796-F5A0-ABEC-D4DF-7D40CBC736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5476E-6340-71CE-B2AF-233A2C06027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1972E6-A31F-7513-448A-2188D29DE0DC}"/>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1641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D880-B2D3-3BEC-670E-4AE07DD1FD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E4AF0-0781-CE15-E50C-F9D38FD4AC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000DA3-6939-E8B7-B7F0-49BAB6BDA6E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815590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3AACC-847F-9F8E-B7EB-F8AE04E837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1BF4FE-F1F6-777D-2F43-D13F42886C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CB1D31-9B3A-D2B5-730E-33DB2BB38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585138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5BDC9-F369-CB6E-25EB-70AA4AB6C4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E83091-8E3F-4689-DA4B-BDEA567D22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197BB6-EF70-0CED-984E-8E7972C7D0C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501592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AE047-A088-E87E-A080-CC8D5A0EF2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5934F4-E081-8258-A631-3A50B6F8B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FAEC7-210A-1438-A29E-1DA3E4003B0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17745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F445B-93B4-CE6D-F0FB-D305A4F2DA37}"/>
            </a:ext>
          </a:extLst>
        </p:cNvPr>
        <p:cNvGrpSpPr/>
        <p:nvPr/>
      </p:nvGrpSpPr>
      <p:grpSpPr>
        <a:xfrm>
          <a:off x="0" y="0"/>
          <a:ext cx="0" cy="0"/>
          <a:chOff x="0" y="0"/>
          <a:chExt cx="0" cy="0"/>
        </a:xfrm>
      </p:grpSpPr>
      <p:sp>
        <p:nvSpPr>
          <p:cNvPr id="10241" name="Slide Image Placeholder 1">
            <a:extLst>
              <a:ext uri="{FF2B5EF4-FFF2-40B4-BE49-F238E27FC236}">
                <a16:creationId xmlns:a16="http://schemas.microsoft.com/office/drawing/2014/main" id="{FC2B484F-5A36-8D1B-4E76-6464882BC536}"/>
              </a:ext>
            </a:extLst>
          </p:cNvPr>
          <p:cNvSpPr>
            <a:spLocks noGrp="1" noRot="1" noChangeAspect="1"/>
          </p:cNvSpPr>
          <p:nvPr>
            <p:ph type="sldImg"/>
          </p:nvPr>
        </p:nvSpPr>
        <p:spPr>
          <a:xfrm>
            <a:off x="381000" y="685800"/>
            <a:ext cx="6096000" cy="3429000"/>
          </a:xfrm>
          <a:solidFill>
            <a:srgbClr val="FFFFFF"/>
          </a:solidFill>
          <a:ln/>
        </p:spPr>
      </p:sp>
      <p:sp>
        <p:nvSpPr>
          <p:cNvPr id="10242" name="Notes Placeholder 2">
            <a:extLst>
              <a:ext uri="{FF2B5EF4-FFF2-40B4-BE49-F238E27FC236}">
                <a16:creationId xmlns:a16="http://schemas.microsoft.com/office/drawing/2014/main" id="{C58E9026-1CA7-427E-AE35-5FC091D24679}"/>
              </a:ext>
            </a:extLst>
          </p:cNvPr>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a:extLst>
              <a:ext uri="{FF2B5EF4-FFF2-40B4-BE49-F238E27FC236}">
                <a16:creationId xmlns:a16="http://schemas.microsoft.com/office/drawing/2014/main" id="{4299DE9E-A542-8863-05F1-DE2B01F1A457}"/>
              </a:ext>
            </a:extLst>
          </p:cNvPr>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57241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5EB1A-F391-697A-EBFA-37BA589990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278F5316-06D9-970D-ED69-869CB1C063F2}"/>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28FDDE3-0327-0733-52D0-F3AC52909A7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739B8B3-730F-BE10-4142-A33E7F27C0C3}"/>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813067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B4344-C774-42F0-BCEA-48451FB75F2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141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B4344-C774-42F0-BCEA-48451FB75F2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2588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26.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2.xml"/><Relationship Id="rId6" Type="http://schemas.openxmlformats.org/officeDocument/2006/relationships/image" Target="../media/image41.jpg"/><Relationship Id="rId5" Type="http://schemas.openxmlformats.org/officeDocument/2006/relationships/image" Target="../media/image40.png"/><Relationship Id="rId4" Type="http://schemas.openxmlformats.org/officeDocument/2006/relationships/image" Target="../media/image39.jp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2.xml"/><Relationship Id="rId4" Type="http://schemas.openxmlformats.org/officeDocument/2006/relationships/image" Target="../media/image43.pn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12.xml"/><Relationship Id="rId5" Type="http://schemas.openxmlformats.org/officeDocument/2006/relationships/image" Target="../media/image43.png"/><Relationship Id="rId4" Type="http://schemas.openxmlformats.org/officeDocument/2006/relationships/image" Target="../media/image48.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2.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2.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2.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7.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Master" Target="../slideMasters/slideMaster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60.png"/></Relationships>
</file>

<file path=ppt/slideLayouts/_rels/slideLayout194.xml.rels><?xml version="1.0" encoding="UTF-8" standalone="yes"?>
<Relationships xmlns="http://schemas.openxmlformats.org/package/2006/relationships"><Relationship Id="rId13" Type="http://schemas.openxmlformats.org/officeDocument/2006/relationships/image" Target="../media/image72.jpg"/><Relationship Id="rId18" Type="http://schemas.openxmlformats.org/officeDocument/2006/relationships/image" Target="../media/image77.jpg"/><Relationship Id="rId26" Type="http://schemas.openxmlformats.org/officeDocument/2006/relationships/image" Target="../media/image85.jpg"/><Relationship Id="rId39" Type="http://schemas.openxmlformats.org/officeDocument/2006/relationships/image" Target="../media/image98.jpg"/><Relationship Id="rId21" Type="http://schemas.openxmlformats.org/officeDocument/2006/relationships/image" Target="../media/image80.jpg"/><Relationship Id="rId34" Type="http://schemas.openxmlformats.org/officeDocument/2006/relationships/image" Target="../media/image93.jpg"/><Relationship Id="rId42" Type="http://schemas.openxmlformats.org/officeDocument/2006/relationships/image" Target="../media/image101.jpg"/><Relationship Id="rId47" Type="http://schemas.openxmlformats.org/officeDocument/2006/relationships/image" Target="../media/image106.jpg"/><Relationship Id="rId50" Type="http://schemas.openxmlformats.org/officeDocument/2006/relationships/image" Target="../media/image109.jpg"/><Relationship Id="rId55" Type="http://schemas.openxmlformats.org/officeDocument/2006/relationships/image" Target="../media/image38.svg"/><Relationship Id="rId7" Type="http://schemas.openxmlformats.org/officeDocument/2006/relationships/image" Target="../media/image66.jpg"/><Relationship Id="rId2" Type="http://schemas.openxmlformats.org/officeDocument/2006/relationships/image" Target="../media/image61.jpg"/><Relationship Id="rId16" Type="http://schemas.openxmlformats.org/officeDocument/2006/relationships/image" Target="../media/image75.jpg"/><Relationship Id="rId29" Type="http://schemas.openxmlformats.org/officeDocument/2006/relationships/image" Target="../media/image88.jpg"/><Relationship Id="rId11" Type="http://schemas.openxmlformats.org/officeDocument/2006/relationships/image" Target="../media/image70.jpg"/><Relationship Id="rId24" Type="http://schemas.openxmlformats.org/officeDocument/2006/relationships/image" Target="../media/image83.jpg"/><Relationship Id="rId32" Type="http://schemas.openxmlformats.org/officeDocument/2006/relationships/image" Target="../media/image91.jpg"/><Relationship Id="rId37" Type="http://schemas.openxmlformats.org/officeDocument/2006/relationships/image" Target="../media/image96.jpg"/><Relationship Id="rId40" Type="http://schemas.openxmlformats.org/officeDocument/2006/relationships/image" Target="../media/image99.jpg"/><Relationship Id="rId45" Type="http://schemas.openxmlformats.org/officeDocument/2006/relationships/image" Target="../media/image104.jpg"/><Relationship Id="rId53" Type="http://schemas.openxmlformats.org/officeDocument/2006/relationships/image" Target="../media/image57.png"/><Relationship Id="rId5" Type="http://schemas.openxmlformats.org/officeDocument/2006/relationships/image" Target="../media/image64.jpg"/><Relationship Id="rId10" Type="http://schemas.openxmlformats.org/officeDocument/2006/relationships/image" Target="../media/image69.jpg"/><Relationship Id="rId19" Type="http://schemas.openxmlformats.org/officeDocument/2006/relationships/image" Target="../media/image78.jpg"/><Relationship Id="rId31" Type="http://schemas.openxmlformats.org/officeDocument/2006/relationships/image" Target="../media/image90.jpg"/><Relationship Id="rId44" Type="http://schemas.openxmlformats.org/officeDocument/2006/relationships/image" Target="../media/image103.jpg"/><Relationship Id="rId52" Type="http://schemas.openxmlformats.org/officeDocument/2006/relationships/image" Target="../media/image111.jpg"/><Relationship Id="rId4" Type="http://schemas.openxmlformats.org/officeDocument/2006/relationships/image" Target="../media/image63.jpg"/><Relationship Id="rId9" Type="http://schemas.openxmlformats.org/officeDocument/2006/relationships/image" Target="../media/image68.jpg"/><Relationship Id="rId14" Type="http://schemas.openxmlformats.org/officeDocument/2006/relationships/image" Target="../media/image73.jpg"/><Relationship Id="rId22" Type="http://schemas.openxmlformats.org/officeDocument/2006/relationships/image" Target="../media/image81.jpg"/><Relationship Id="rId27" Type="http://schemas.openxmlformats.org/officeDocument/2006/relationships/image" Target="../media/image86.jpg"/><Relationship Id="rId30" Type="http://schemas.openxmlformats.org/officeDocument/2006/relationships/image" Target="../media/image89.jpg"/><Relationship Id="rId35" Type="http://schemas.openxmlformats.org/officeDocument/2006/relationships/image" Target="../media/image94.jpg"/><Relationship Id="rId43" Type="http://schemas.openxmlformats.org/officeDocument/2006/relationships/image" Target="../media/image102.jpg"/><Relationship Id="rId48" Type="http://schemas.openxmlformats.org/officeDocument/2006/relationships/image" Target="../media/image107.jpg"/><Relationship Id="rId8" Type="http://schemas.openxmlformats.org/officeDocument/2006/relationships/image" Target="../media/image67.jpg"/><Relationship Id="rId51" Type="http://schemas.openxmlformats.org/officeDocument/2006/relationships/image" Target="../media/image110.jpg"/><Relationship Id="rId3" Type="http://schemas.openxmlformats.org/officeDocument/2006/relationships/image" Target="../media/image62.jpg"/><Relationship Id="rId12" Type="http://schemas.openxmlformats.org/officeDocument/2006/relationships/image" Target="../media/image71.jpg"/><Relationship Id="rId17" Type="http://schemas.openxmlformats.org/officeDocument/2006/relationships/image" Target="../media/image76.jpg"/><Relationship Id="rId25" Type="http://schemas.openxmlformats.org/officeDocument/2006/relationships/image" Target="../media/image84.jpg"/><Relationship Id="rId33" Type="http://schemas.openxmlformats.org/officeDocument/2006/relationships/image" Target="../media/image92.jpg"/><Relationship Id="rId38" Type="http://schemas.openxmlformats.org/officeDocument/2006/relationships/image" Target="../media/image97.jpg"/><Relationship Id="rId46" Type="http://schemas.openxmlformats.org/officeDocument/2006/relationships/image" Target="../media/image105.jpg"/><Relationship Id="rId20" Type="http://schemas.openxmlformats.org/officeDocument/2006/relationships/image" Target="../media/image79.jpg"/><Relationship Id="rId41" Type="http://schemas.openxmlformats.org/officeDocument/2006/relationships/image" Target="../media/image100.jpg"/><Relationship Id="rId54" Type="http://schemas.openxmlformats.org/officeDocument/2006/relationships/image" Target="../media/image37.png"/><Relationship Id="rId1" Type="http://schemas.openxmlformats.org/officeDocument/2006/relationships/slideMaster" Target="../slideMasters/slideMaster12.xml"/><Relationship Id="rId6" Type="http://schemas.openxmlformats.org/officeDocument/2006/relationships/image" Target="../media/image65.jpg"/><Relationship Id="rId15" Type="http://schemas.openxmlformats.org/officeDocument/2006/relationships/image" Target="../media/image74.jpg"/><Relationship Id="rId23" Type="http://schemas.openxmlformats.org/officeDocument/2006/relationships/image" Target="../media/image82.jpg"/><Relationship Id="rId28" Type="http://schemas.openxmlformats.org/officeDocument/2006/relationships/image" Target="../media/image87.jpg"/><Relationship Id="rId36" Type="http://schemas.openxmlformats.org/officeDocument/2006/relationships/image" Target="../media/image95.jpg"/><Relationship Id="rId49" Type="http://schemas.openxmlformats.org/officeDocument/2006/relationships/image" Target="../media/image108.jp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12.xml"/><Relationship Id="rId5" Type="http://schemas.openxmlformats.org/officeDocument/2006/relationships/image" Target="../media/image115.png"/><Relationship Id="rId4" Type="http://schemas.openxmlformats.org/officeDocument/2006/relationships/image" Target="../media/image114.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3.xml"/><Relationship Id="rId6" Type="http://schemas.openxmlformats.org/officeDocument/2006/relationships/image" Target="../media/image41.jpg"/><Relationship Id="rId5" Type="http://schemas.openxmlformats.org/officeDocument/2006/relationships/image" Target="../media/image40.png"/><Relationship Id="rId4" Type="http://schemas.openxmlformats.org/officeDocument/2006/relationships/image" Target="../media/image39.jp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3.xml"/><Relationship Id="rId4" Type="http://schemas.openxmlformats.org/officeDocument/2006/relationships/image" Target="../media/image43.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13.xml"/><Relationship Id="rId5" Type="http://schemas.openxmlformats.org/officeDocument/2006/relationships/image" Target="../media/image43.png"/><Relationship Id="rId4" Type="http://schemas.openxmlformats.org/officeDocument/2006/relationships/image" Target="../media/image48.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3.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3.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3.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3.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2.svg"/><Relationship Id="rId7"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13.xml"/><Relationship Id="rId6" Type="http://schemas.openxmlformats.org/officeDocument/2006/relationships/image" Target="../media/image50.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7.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3.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Master" Target="../slideMasters/slideMaster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60.png"/></Relationships>
</file>

<file path=ppt/slideLayouts/_rels/slideLayout214.xml.rels><?xml version="1.0" encoding="UTF-8" standalone="yes"?>
<Relationships xmlns="http://schemas.openxmlformats.org/package/2006/relationships"><Relationship Id="rId13" Type="http://schemas.openxmlformats.org/officeDocument/2006/relationships/image" Target="../media/image72.jpg"/><Relationship Id="rId18" Type="http://schemas.openxmlformats.org/officeDocument/2006/relationships/image" Target="../media/image77.jpg"/><Relationship Id="rId26" Type="http://schemas.openxmlformats.org/officeDocument/2006/relationships/image" Target="../media/image85.jpg"/><Relationship Id="rId39" Type="http://schemas.openxmlformats.org/officeDocument/2006/relationships/image" Target="../media/image98.jpg"/><Relationship Id="rId21" Type="http://schemas.openxmlformats.org/officeDocument/2006/relationships/image" Target="../media/image80.jpg"/><Relationship Id="rId34" Type="http://schemas.openxmlformats.org/officeDocument/2006/relationships/image" Target="../media/image93.jpg"/><Relationship Id="rId42" Type="http://schemas.openxmlformats.org/officeDocument/2006/relationships/image" Target="../media/image101.jpg"/><Relationship Id="rId47" Type="http://schemas.openxmlformats.org/officeDocument/2006/relationships/image" Target="../media/image106.jpg"/><Relationship Id="rId50" Type="http://schemas.openxmlformats.org/officeDocument/2006/relationships/image" Target="../media/image109.jpg"/><Relationship Id="rId55" Type="http://schemas.openxmlformats.org/officeDocument/2006/relationships/image" Target="../media/image38.svg"/><Relationship Id="rId7" Type="http://schemas.openxmlformats.org/officeDocument/2006/relationships/image" Target="../media/image66.jpg"/><Relationship Id="rId2" Type="http://schemas.openxmlformats.org/officeDocument/2006/relationships/image" Target="../media/image61.jpg"/><Relationship Id="rId16" Type="http://schemas.openxmlformats.org/officeDocument/2006/relationships/image" Target="../media/image75.jpg"/><Relationship Id="rId29" Type="http://schemas.openxmlformats.org/officeDocument/2006/relationships/image" Target="../media/image88.jpg"/><Relationship Id="rId11" Type="http://schemas.openxmlformats.org/officeDocument/2006/relationships/image" Target="../media/image70.jpg"/><Relationship Id="rId24" Type="http://schemas.openxmlformats.org/officeDocument/2006/relationships/image" Target="../media/image83.jpg"/><Relationship Id="rId32" Type="http://schemas.openxmlformats.org/officeDocument/2006/relationships/image" Target="../media/image91.jpg"/><Relationship Id="rId37" Type="http://schemas.openxmlformats.org/officeDocument/2006/relationships/image" Target="../media/image96.jpg"/><Relationship Id="rId40" Type="http://schemas.openxmlformats.org/officeDocument/2006/relationships/image" Target="../media/image99.jpg"/><Relationship Id="rId45" Type="http://schemas.openxmlformats.org/officeDocument/2006/relationships/image" Target="../media/image104.jpg"/><Relationship Id="rId53" Type="http://schemas.openxmlformats.org/officeDocument/2006/relationships/image" Target="../media/image57.png"/><Relationship Id="rId5" Type="http://schemas.openxmlformats.org/officeDocument/2006/relationships/image" Target="../media/image64.jpg"/><Relationship Id="rId10" Type="http://schemas.openxmlformats.org/officeDocument/2006/relationships/image" Target="../media/image69.jpg"/><Relationship Id="rId19" Type="http://schemas.openxmlformats.org/officeDocument/2006/relationships/image" Target="../media/image78.jpg"/><Relationship Id="rId31" Type="http://schemas.openxmlformats.org/officeDocument/2006/relationships/image" Target="../media/image90.jpg"/><Relationship Id="rId44" Type="http://schemas.openxmlformats.org/officeDocument/2006/relationships/image" Target="../media/image103.jpg"/><Relationship Id="rId52" Type="http://schemas.openxmlformats.org/officeDocument/2006/relationships/image" Target="../media/image111.jpg"/><Relationship Id="rId4" Type="http://schemas.openxmlformats.org/officeDocument/2006/relationships/image" Target="../media/image63.jpg"/><Relationship Id="rId9" Type="http://schemas.openxmlformats.org/officeDocument/2006/relationships/image" Target="../media/image68.jpg"/><Relationship Id="rId14" Type="http://schemas.openxmlformats.org/officeDocument/2006/relationships/image" Target="../media/image73.jpg"/><Relationship Id="rId22" Type="http://schemas.openxmlformats.org/officeDocument/2006/relationships/image" Target="../media/image81.jpg"/><Relationship Id="rId27" Type="http://schemas.openxmlformats.org/officeDocument/2006/relationships/image" Target="../media/image86.jpg"/><Relationship Id="rId30" Type="http://schemas.openxmlformats.org/officeDocument/2006/relationships/image" Target="../media/image89.jpg"/><Relationship Id="rId35" Type="http://schemas.openxmlformats.org/officeDocument/2006/relationships/image" Target="../media/image94.jpg"/><Relationship Id="rId43" Type="http://schemas.openxmlformats.org/officeDocument/2006/relationships/image" Target="../media/image102.jpg"/><Relationship Id="rId48" Type="http://schemas.openxmlformats.org/officeDocument/2006/relationships/image" Target="../media/image107.jpg"/><Relationship Id="rId8" Type="http://schemas.openxmlformats.org/officeDocument/2006/relationships/image" Target="../media/image67.jpg"/><Relationship Id="rId51" Type="http://schemas.openxmlformats.org/officeDocument/2006/relationships/image" Target="../media/image110.jpg"/><Relationship Id="rId3" Type="http://schemas.openxmlformats.org/officeDocument/2006/relationships/image" Target="../media/image62.jpg"/><Relationship Id="rId12" Type="http://schemas.openxmlformats.org/officeDocument/2006/relationships/image" Target="../media/image71.jpg"/><Relationship Id="rId17" Type="http://schemas.openxmlformats.org/officeDocument/2006/relationships/image" Target="../media/image76.jpg"/><Relationship Id="rId25" Type="http://schemas.openxmlformats.org/officeDocument/2006/relationships/image" Target="../media/image84.jpg"/><Relationship Id="rId33" Type="http://schemas.openxmlformats.org/officeDocument/2006/relationships/image" Target="../media/image92.jpg"/><Relationship Id="rId38" Type="http://schemas.openxmlformats.org/officeDocument/2006/relationships/image" Target="../media/image97.jpg"/><Relationship Id="rId46" Type="http://schemas.openxmlformats.org/officeDocument/2006/relationships/image" Target="../media/image105.jpg"/><Relationship Id="rId20" Type="http://schemas.openxmlformats.org/officeDocument/2006/relationships/image" Target="../media/image79.jpg"/><Relationship Id="rId41" Type="http://schemas.openxmlformats.org/officeDocument/2006/relationships/image" Target="../media/image100.jpg"/><Relationship Id="rId54" Type="http://schemas.openxmlformats.org/officeDocument/2006/relationships/image" Target="../media/image37.png"/><Relationship Id="rId1" Type="http://schemas.openxmlformats.org/officeDocument/2006/relationships/slideMaster" Target="../slideMasters/slideMaster13.xml"/><Relationship Id="rId6" Type="http://schemas.openxmlformats.org/officeDocument/2006/relationships/image" Target="../media/image65.jpg"/><Relationship Id="rId15" Type="http://schemas.openxmlformats.org/officeDocument/2006/relationships/image" Target="../media/image74.jpg"/><Relationship Id="rId23" Type="http://schemas.openxmlformats.org/officeDocument/2006/relationships/image" Target="../media/image82.jpg"/><Relationship Id="rId28" Type="http://schemas.openxmlformats.org/officeDocument/2006/relationships/image" Target="../media/image87.jpg"/><Relationship Id="rId36" Type="http://schemas.openxmlformats.org/officeDocument/2006/relationships/image" Target="../media/image95.jpg"/><Relationship Id="rId49" Type="http://schemas.openxmlformats.org/officeDocument/2006/relationships/image" Target="../media/image108.jp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13.xml"/><Relationship Id="rId5" Type="http://schemas.openxmlformats.org/officeDocument/2006/relationships/image" Target="../media/image115.png"/><Relationship Id="rId4" Type="http://schemas.openxmlformats.org/officeDocument/2006/relationships/image" Target="../media/image114.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jpg"/><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emf"/><Relationship Id="rId1" Type="http://schemas.openxmlformats.org/officeDocument/2006/relationships/slideMaster" Target="../slideMasters/slideMaster4.xml"/><Relationship Id="rId5" Type="http://schemas.openxmlformats.org/officeDocument/2006/relationships/image" Target="../media/image8.jpg"/><Relationship Id="rId4" Type="http://schemas.openxmlformats.org/officeDocument/2006/relationships/image" Target="../media/image7.jp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5.emf"/><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26.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7/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4FC6A-5687-CA48-7CD7-34F1015D2B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53E73D-DF4F-A3E6-DD5F-6F94ACAD70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9912C2-B515-E3AF-A1E6-4999205F2142}"/>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EB3D02B0-8563-A16C-7E75-DE98949BB7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9426FF-CF29-D832-166B-F4317C0E4AB8}"/>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36032514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40A62-F295-BEED-9341-9904AF9CE6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FEC3E7-1CCF-617A-0904-1AF672EBB7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745644-0B39-6E33-77F9-FFFB6E0DD393}"/>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1AA03BC7-C781-A6BA-322B-0E27108B4C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A68B63-CCF7-AD78-C2A3-F442F921760D}"/>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3334331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C20F7-7D63-4639-30D7-9BB61F5357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11997A-3C09-3394-77E0-38717EFBF7B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FF841F-AA20-F455-F077-4F68EFB60B8D}"/>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5EEF5E90-8423-489B-7E84-8CF02D589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30A9D4-B05E-5EB6-F985-63B69A793C0F}"/>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12045739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760EE-0DB5-1134-78A2-9C2F9C90DB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B39927-38B6-2C07-99E0-099A68F0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A69A9B-440F-BAC7-A776-90112A594B8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3E21E52-CEB4-C57E-C80D-0BFD45EFA7BF}"/>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6" name="Footer Placeholder 5">
            <a:extLst>
              <a:ext uri="{FF2B5EF4-FFF2-40B4-BE49-F238E27FC236}">
                <a16:creationId xmlns:a16="http://schemas.microsoft.com/office/drawing/2014/main" id="{FBB5B91A-9702-5641-FBFB-EFEDDAFC7E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478F82-AE6C-DF1F-D30E-9BA464EFE260}"/>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14561085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8B669-67B8-7E82-E2FC-5DF031F4A74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2B01433-DDB9-BC24-F810-D92C6EF57C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902FD4-4261-F361-9C46-D2319F65B15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46F02E6-14FA-5F1F-6E6F-C845064C67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2430FF-0A53-F73D-D070-93D8F861776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41F098-F161-E755-8EEA-E06610FE70EA}"/>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8" name="Footer Placeholder 7">
            <a:extLst>
              <a:ext uri="{FF2B5EF4-FFF2-40B4-BE49-F238E27FC236}">
                <a16:creationId xmlns:a16="http://schemas.microsoft.com/office/drawing/2014/main" id="{E8AE90AE-59BF-8D31-1F7C-66ECBD9B640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A47AED-697A-22F1-828D-D4D145C9B373}"/>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39574646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27854-100F-9C58-845D-F85E015789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33AE93-F157-1047-0DEC-E6EE7C976963}"/>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4" name="Footer Placeholder 3">
            <a:extLst>
              <a:ext uri="{FF2B5EF4-FFF2-40B4-BE49-F238E27FC236}">
                <a16:creationId xmlns:a16="http://schemas.microsoft.com/office/drawing/2014/main" id="{2A3F23AE-324C-5065-1F5E-575828A8991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113BA98-2533-9B73-FA35-2555E801333F}"/>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25634505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21D113-8CD1-E918-3BAD-C189F6D81AB0}"/>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3" name="Footer Placeholder 2">
            <a:extLst>
              <a:ext uri="{FF2B5EF4-FFF2-40B4-BE49-F238E27FC236}">
                <a16:creationId xmlns:a16="http://schemas.microsoft.com/office/drawing/2014/main" id="{657A4C83-420C-1383-7A95-AE197C8CC7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FFFD54-71E2-E06A-77D2-C052AFCF8C54}"/>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257378921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3104-5747-D235-7FE8-C4D77EDA28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CA2CAA8-3989-B207-6016-BD081DD4EB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34DA332-EBEC-2086-ECE5-57EB78DB3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89A38B-8A66-3890-5EBF-74552E7F9090}"/>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6" name="Footer Placeholder 5">
            <a:extLst>
              <a:ext uri="{FF2B5EF4-FFF2-40B4-BE49-F238E27FC236}">
                <a16:creationId xmlns:a16="http://schemas.microsoft.com/office/drawing/2014/main" id="{1085617C-A3A7-DA79-F850-1C83543CF8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EB99F2-D36B-F3BB-78BC-93D290572C09}"/>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2653207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66404-007F-F5FF-F80F-E2742955D1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5A56FAC-F4AF-4A7C-506D-93A7E4D27E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58A9C7-11C7-C107-4B64-59A86043D0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A04E23-637D-6F32-3D34-069A28EE11CD}"/>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6" name="Footer Placeholder 5">
            <a:extLst>
              <a:ext uri="{FF2B5EF4-FFF2-40B4-BE49-F238E27FC236}">
                <a16:creationId xmlns:a16="http://schemas.microsoft.com/office/drawing/2014/main" id="{060D633F-54D4-F918-5025-76CDC31EA9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FB289D-0F06-EC64-690A-B10A4DBDC082}"/>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40678271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D801D-5901-A587-4CE3-25AD5A9CD6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74FDD2B-E9A5-9078-F99A-44B9F8463A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4E1DDD-A0C5-42AE-AA9B-A27EAC21EFDD}"/>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74A577D4-6478-4857-782E-50DBFD2D64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EB96F8-3191-7623-C870-17823122B05A}"/>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27367505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511057-985B-6172-3C29-A580CD70D4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DF1ED7-F119-25C5-10C3-C3D0A96423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331CEC-0039-6645-E457-42D074B8EA02}"/>
              </a:ext>
            </a:extLst>
          </p:cNvPr>
          <p:cNvSpPr>
            <a:spLocks noGrp="1"/>
          </p:cNvSpPr>
          <p:nvPr>
            <p:ph type="dt" sz="half" idx="10"/>
          </p:nvPr>
        </p:nvSpPr>
        <p:spPr/>
        <p:txBody>
          <a:body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8483F942-816D-1793-DFC7-F5C4731225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109AC9-A18C-7EE4-AD76-3E799D65F65D}"/>
              </a:ext>
            </a:extLst>
          </p:cNvPr>
          <p:cNvSpPr>
            <a:spLocks noGrp="1"/>
          </p:cNvSpPr>
          <p:nvPr>
            <p:ph type="sldNum" sz="quarter" idx="12"/>
          </p:nvPr>
        </p:nvSpPr>
        <p:spPr/>
        <p:txBody>
          <a:bodyPr/>
          <a:lstStyle/>
          <a:p>
            <a:fld id="{E4ECA00D-3A17-4B74-B30C-FAB42913F54B}" type="slidenum">
              <a:rPr lang="en-US" smtClean="0"/>
              <a:t>‹#›</a:t>
            </a:fld>
            <a:endParaRPr lang="en-US"/>
          </a:p>
        </p:txBody>
      </p:sp>
    </p:spTree>
    <p:extLst>
      <p:ext uri="{BB962C8B-B14F-4D97-AF65-F5344CB8AC3E}">
        <p14:creationId xmlns:p14="http://schemas.microsoft.com/office/powerpoint/2010/main" val="16549015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8" y="6249418"/>
            <a:ext cx="680709"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0" y="6483273"/>
            <a:ext cx="10683259"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20282797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8" y="6249418"/>
            <a:ext cx="680709"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0" y="6483273"/>
            <a:ext cx="10683259"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7699512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8" y="6249418"/>
            <a:ext cx="680709"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0" y="6483273"/>
            <a:ext cx="10683259"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26060801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8" y="6249418"/>
            <a:ext cx="680709"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0" y="6483273"/>
            <a:ext cx="10683259"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24170203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Diapositive de gar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9A12BDE-2F5C-47A5-930F-145C619C2D23}" type="datetime1">
              <a:rPr lang="fr-FR" smtClean="0"/>
              <a:pPr/>
              <a:t>27/02/2026</a:t>
            </a:fld>
            <a:endParaRPr lang="fr-FR"/>
          </a:p>
        </p:txBody>
      </p:sp>
      <p:sp>
        <p:nvSpPr>
          <p:cNvPr id="3" name="Espace réservé du pied de page 2"/>
          <p:cNvSpPr>
            <a:spLocks noGrp="1"/>
          </p:cNvSpPr>
          <p:nvPr>
            <p:ph type="ftr" sz="quarter" idx="11"/>
          </p:nvPr>
        </p:nvSpPr>
        <p:spPr/>
        <p:txBody>
          <a:bodyPr/>
          <a:lstStyle/>
          <a:p>
            <a:endParaRPr lang="fr-FR"/>
          </a:p>
        </p:txBody>
      </p:sp>
      <p:pic>
        <p:nvPicPr>
          <p:cNvPr id="4" name="Image 3" descr="COL_LOGO_AVEC_UNICANCER_RVB.png"/>
          <p:cNvPicPr>
            <a:picLocks noChangeAspect="1"/>
          </p:cNvPicPr>
          <p:nvPr userDrawn="1"/>
        </p:nvPicPr>
        <p:blipFill>
          <a:blip r:embed="rId2" cstate="print"/>
          <a:stretch>
            <a:fillRect/>
          </a:stretch>
        </p:blipFill>
        <p:spPr>
          <a:xfrm>
            <a:off x="2141386" y="1700809"/>
            <a:ext cx="7909229" cy="2910076"/>
          </a:xfrm>
          <a:prstGeom prst="rect">
            <a:avLst/>
          </a:prstGeom>
        </p:spPr>
      </p:pic>
    </p:spTree>
    <p:extLst>
      <p:ext uri="{BB962C8B-B14F-4D97-AF65-F5344CB8AC3E}">
        <p14:creationId xmlns:p14="http://schemas.microsoft.com/office/powerpoint/2010/main" val="29742145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8" name="Image 7" descr="Emble_Gris_30.png"/>
          <p:cNvPicPr>
            <a:picLocks noChangeAspect="1"/>
          </p:cNvPicPr>
          <p:nvPr userDrawn="1"/>
        </p:nvPicPr>
        <p:blipFill>
          <a:blip r:embed="rId2" cstate="print"/>
          <a:stretch>
            <a:fillRect/>
          </a:stretch>
        </p:blipFill>
        <p:spPr>
          <a:xfrm>
            <a:off x="5135894" y="0"/>
            <a:ext cx="6854881" cy="6858000"/>
          </a:xfrm>
          <a:prstGeom prst="rect">
            <a:avLst/>
          </a:prstGeom>
        </p:spPr>
      </p:pic>
      <p:sp>
        <p:nvSpPr>
          <p:cNvPr id="2" name="Titre 1"/>
          <p:cNvSpPr>
            <a:spLocks noGrp="1"/>
          </p:cNvSpPr>
          <p:nvPr>
            <p:ph type="ctrTitle"/>
          </p:nvPr>
        </p:nvSpPr>
        <p:spPr>
          <a:xfrm>
            <a:off x="1487488" y="2660915"/>
            <a:ext cx="9790112" cy="1152127"/>
          </a:xfrm>
        </p:spPr>
        <p:txBody>
          <a:bodyPr>
            <a:noAutofit/>
          </a:bodyPr>
          <a:lstStyle>
            <a:lvl1pPr>
              <a:defRPr sz="5333">
                <a:solidFill>
                  <a:schemeClr val="tx1">
                    <a:lumMod val="85000"/>
                    <a:lumOff val="15000"/>
                  </a:schemeClr>
                </a:solidFill>
              </a:defRPr>
            </a:lvl1pPr>
          </a:lstStyle>
          <a:p>
            <a:r>
              <a:rPr lang="fr-FR" dirty="0"/>
              <a:t>Cliquez pour modifier le style du titre</a:t>
            </a:r>
          </a:p>
        </p:txBody>
      </p:sp>
      <p:sp>
        <p:nvSpPr>
          <p:cNvPr id="3" name="Sous-titre 2"/>
          <p:cNvSpPr>
            <a:spLocks noGrp="1"/>
          </p:cNvSpPr>
          <p:nvPr>
            <p:ph type="subTitle" idx="1"/>
          </p:nvPr>
        </p:nvSpPr>
        <p:spPr>
          <a:xfrm>
            <a:off x="1487488" y="4197085"/>
            <a:ext cx="9793088" cy="1344555"/>
          </a:xfrm>
        </p:spPr>
        <p:txBody>
          <a:bodyPr>
            <a:normAutofit/>
          </a:bodyPr>
          <a:lstStyle>
            <a:lvl1pPr marL="0" indent="0" algn="l">
              <a:buNone/>
              <a:defRPr sz="3733">
                <a:solidFill>
                  <a:srgbClr val="B1128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style des sous-titres du masque</a:t>
            </a:r>
          </a:p>
        </p:txBody>
      </p:sp>
      <p:sp>
        <p:nvSpPr>
          <p:cNvPr id="4" name="Espace réservé de la date 3"/>
          <p:cNvSpPr>
            <a:spLocks noGrp="1"/>
          </p:cNvSpPr>
          <p:nvPr>
            <p:ph type="dt" sz="half" idx="10"/>
          </p:nvPr>
        </p:nvSpPr>
        <p:spPr/>
        <p:txBody>
          <a:bodyPr/>
          <a:lstStyle>
            <a:lvl1pPr>
              <a:defRPr sz="1200">
                <a:solidFill>
                  <a:srgbClr val="7B1753"/>
                </a:solidFill>
              </a:defRPr>
            </a:lvl1pPr>
          </a:lstStyle>
          <a:p>
            <a:fld id="{1C6BAD5C-2C02-41B1-96A1-7E17DD2ACD75}" type="datetime1">
              <a:rPr lang="fr-FR" smtClean="0"/>
              <a:pPr/>
              <a:t>27/02/2026</a:t>
            </a:fld>
            <a:endParaRPr lang="fr-FR" dirty="0"/>
          </a:p>
        </p:txBody>
      </p:sp>
      <p:sp>
        <p:nvSpPr>
          <p:cNvPr id="5" name="Espace réservé du pied de page 4"/>
          <p:cNvSpPr>
            <a:spLocks noGrp="1"/>
          </p:cNvSpPr>
          <p:nvPr>
            <p:ph type="ftr" sz="quarter" idx="11"/>
          </p:nvPr>
        </p:nvSpPr>
        <p:spPr/>
        <p:txBody>
          <a:bodyPr/>
          <a:lstStyle>
            <a:lvl1pPr>
              <a:defRPr sz="1200">
                <a:solidFill>
                  <a:srgbClr val="7B1753"/>
                </a:solidFill>
              </a:defRPr>
            </a:lvl1pPr>
          </a:lstStyle>
          <a:p>
            <a:endParaRPr lang="fr-FR" dirty="0"/>
          </a:p>
        </p:txBody>
      </p:sp>
      <p:sp>
        <p:nvSpPr>
          <p:cNvPr id="7" name="Rectangle 6"/>
          <p:cNvSpPr/>
          <p:nvPr userDrawn="1"/>
        </p:nvSpPr>
        <p:spPr>
          <a:xfrm>
            <a:off x="1583499" y="2492896"/>
            <a:ext cx="576064" cy="72008"/>
          </a:xfrm>
          <a:prstGeom prst="rect">
            <a:avLst/>
          </a:prstGeom>
          <a:solidFill>
            <a:srgbClr val="B11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2040498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452671"/>
            <a:ext cx="10972800" cy="480052"/>
          </a:xfrm>
        </p:spPr>
        <p:txBody>
          <a:bodyPr/>
          <a:lstStyle>
            <a:lvl1pPr>
              <a:defRPr>
                <a:solidFill>
                  <a:schemeClr val="tx1">
                    <a:lumMod val="85000"/>
                    <a:lumOff val="15000"/>
                  </a:schemeClr>
                </a:solidFill>
              </a:defRPr>
            </a:lvl1pPr>
          </a:lstStyle>
          <a:p>
            <a:r>
              <a:rPr lang="fr-FR" dirty="0"/>
              <a:t>Cliquez pour modifier le style du titre</a:t>
            </a:r>
          </a:p>
        </p:txBody>
      </p:sp>
      <p:sp>
        <p:nvSpPr>
          <p:cNvPr id="3" name="Espace réservé du contenu 2"/>
          <p:cNvSpPr>
            <a:spLocks noGrp="1"/>
          </p:cNvSpPr>
          <p:nvPr>
            <p:ph idx="1"/>
          </p:nvPr>
        </p:nvSpPr>
        <p:spPr>
          <a:xfrm>
            <a:off x="609600" y="1316766"/>
            <a:ext cx="10972800" cy="4809399"/>
          </a:xfrm>
        </p:spPr>
        <p:txBody>
          <a:bodyPr/>
          <a:lstStyle>
            <a:lvl1pPr>
              <a:defRPr sz="3200"/>
            </a:lvl1pPr>
            <a:lvl2pPr>
              <a:defRPr sz="2400" b="0">
                <a:solidFill>
                  <a:schemeClr val="accent2">
                    <a:lumMod val="75000"/>
                  </a:schemeClr>
                </a:solidFill>
              </a:defRPr>
            </a:lvl2pPr>
            <a:lvl3pPr>
              <a:defRPr sz="2133">
                <a:solidFill>
                  <a:schemeClr val="accent2"/>
                </a:solidFill>
              </a:defRPr>
            </a:lvl3pPr>
            <a:lvl4pPr>
              <a:defRPr sz="1600">
                <a:solidFill>
                  <a:schemeClr val="bg2">
                    <a:lumMod val="50000"/>
                  </a:schemeClr>
                </a:solidFill>
              </a:defRPr>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4" name="Espace réservé de la date 3"/>
          <p:cNvSpPr>
            <a:spLocks noGrp="1"/>
          </p:cNvSpPr>
          <p:nvPr>
            <p:ph type="dt" sz="half" idx="10"/>
          </p:nvPr>
        </p:nvSpPr>
        <p:spPr/>
        <p:txBody>
          <a:bodyPr/>
          <a:lstStyle/>
          <a:p>
            <a:fld id="{FB5D9E62-D907-4E3D-BD15-AA28A01499FC}" type="datetime1">
              <a:rPr lang="fr-FR" smtClean="0"/>
              <a:pPr/>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8" name="Rectangle 7"/>
          <p:cNvSpPr/>
          <p:nvPr userDrawn="1"/>
        </p:nvSpPr>
        <p:spPr>
          <a:xfrm>
            <a:off x="719403" y="260648"/>
            <a:ext cx="576064" cy="72008"/>
          </a:xfrm>
          <a:prstGeom prst="rect">
            <a:avLst/>
          </a:prstGeom>
          <a:solidFill>
            <a:srgbClr val="B11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9318653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ux contenus Texte Image">
    <p:spTree>
      <p:nvGrpSpPr>
        <p:cNvPr id="1" name=""/>
        <p:cNvGrpSpPr/>
        <p:nvPr/>
      </p:nvGrpSpPr>
      <p:grpSpPr>
        <a:xfrm>
          <a:off x="0" y="0"/>
          <a:ext cx="0" cy="0"/>
          <a:chOff x="0" y="0"/>
          <a:chExt cx="0" cy="0"/>
        </a:xfrm>
      </p:grpSpPr>
      <p:sp>
        <p:nvSpPr>
          <p:cNvPr id="2" name="Titre 1"/>
          <p:cNvSpPr>
            <a:spLocks noGrp="1"/>
          </p:cNvSpPr>
          <p:nvPr>
            <p:ph type="title"/>
          </p:nvPr>
        </p:nvSpPr>
        <p:spPr>
          <a:xfrm>
            <a:off x="609600" y="452671"/>
            <a:ext cx="10972800" cy="480052"/>
          </a:xfrm>
        </p:spPr>
        <p:txBody>
          <a:bodyPr/>
          <a:lstStyle/>
          <a:p>
            <a:r>
              <a:rPr lang="fr-FR" dirty="0"/>
              <a:t>Cliquez pour modifier le style du titre</a:t>
            </a:r>
          </a:p>
        </p:txBody>
      </p:sp>
      <p:sp>
        <p:nvSpPr>
          <p:cNvPr id="5" name="Espace réservé de la date 4"/>
          <p:cNvSpPr>
            <a:spLocks noGrp="1"/>
          </p:cNvSpPr>
          <p:nvPr>
            <p:ph type="dt" sz="half" idx="10"/>
          </p:nvPr>
        </p:nvSpPr>
        <p:spPr/>
        <p:txBody>
          <a:bodyPr/>
          <a:lstStyle/>
          <a:p>
            <a:fld id="{7BCFD937-CC83-4414-A553-A401717EFB6B}" type="datetime1">
              <a:rPr lang="fr-FR" smtClean="0"/>
              <a:pPr/>
              <a:t>27/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10" name="Picture Placeholder 13"/>
          <p:cNvSpPr>
            <a:spLocks noGrp="1"/>
          </p:cNvSpPr>
          <p:nvPr>
            <p:ph type="pic" sz="quarter" idx="42"/>
          </p:nvPr>
        </p:nvSpPr>
        <p:spPr>
          <a:xfrm>
            <a:off x="7056107" y="1316766"/>
            <a:ext cx="4608512" cy="4800533"/>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9" name="Rectangle 8"/>
          <p:cNvSpPr/>
          <p:nvPr userDrawn="1"/>
        </p:nvSpPr>
        <p:spPr>
          <a:xfrm>
            <a:off x="719403" y="260648"/>
            <a:ext cx="576064" cy="72008"/>
          </a:xfrm>
          <a:prstGeom prst="rect">
            <a:avLst/>
          </a:prstGeom>
          <a:solidFill>
            <a:srgbClr val="B11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Espace réservé du contenu 2"/>
          <p:cNvSpPr>
            <a:spLocks noGrp="1"/>
          </p:cNvSpPr>
          <p:nvPr>
            <p:ph idx="1"/>
          </p:nvPr>
        </p:nvSpPr>
        <p:spPr>
          <a:xfrm>
            <a:off x="609600" y="1316766"/>
            <a:ext cx="6062464" cy="4800533"/>
          </a:xfrm>
        </p:spPr>
        <p:txBody>
          <a:bodyPr>
            <a:normAutofit/>
          </a:bodyPr>
          <a:lstStyle>
            <a:lvl1pPr marL="0" indent="0">
              <a:buNone/>
              <a:defRPr sz="1400"/>
            </a:lvl1pPr>
            <a:lvl2pPr>
              <a:defRPr sz="2400" b="0">
                <a:solidFill>
                  <a:schemeClr val="accent2">
                    <a:lumMod val="75000"/>
                  </a:schemeClr>
                </a:solidFill>
              </a:defRPr>
            </a:lvl2pPr>
            <a:lvl3pPr>
              <a:defRPr sz="2133">
                <a:solidFill>
                  <a:schemeClr val="accent2"/>
                </a:solidFill>
              </a:defRPr>
            </a:lvl3pPr>
            <a:lvl4pPr>
              <a:defRPr sz="1600">
                <a:solidFill>
                  <a:schemeClr val="bg2">
                    <a:lumMod val="50000"/>
                  </a:schemeClr>
                </a:solidFill>
              </a:defRPr>
            </a:lvl4pPr>
          </a:lstStyle>
          <a:p>
            <a:pPr lvl="0"/>
            <a:r>
              <a:rPr lang="fr-FR" dirty="0"/>
              <a:t>Cliquez pour modifier les styles du texte du masque</a:t>
            </a:r>
          </a:p>
        </p:txBody>
      </p:sp>
    </p:spTree>
    <p:extLst>
      <p:ext uri="{BB962C8B-B14F-4D97-AF65-F5344CB8AC3E}">
        <p14:creationId xmlns:p14="http://schemas.microsoft.com/office/powerpoint/2010/main" val="2347435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Galerie Image">
    <p:spTree>
      <p:nvGrpSpPr>
        <p:cNvPr id="1" name=""/>
        <p:cNvGrpSpPr/>
        <p:nvPr/>
      </p:nvGrpSpPr>
      <p:grpSpPr>
        <a:xfrm>
          <a:off x="0" y="0"/>
          <a:ext cx="0" cy="0"/>
          <a:chOff x="0" y="0"/>
          <a:chExt cx="0" cy="0"/>
        </a:xfrm>
      </p:grpSpPr>
      <p:sp>
        <p:nvSpPr>
          <p:cNvPr id="2" name="Titre 1"/>
          <p:cNvSpPr>
            <a:spLocks noGrp="1"/>
          </p:cNvSpPr>
          <p:nvPr>
            <p:ph type="title"/>
          </p:nvPr>
        </p:nvSpPr>
        <p:spPr>
          <a:xfrm>
            <a:off x="609600" y="452671"/>
            <a:ext cx="10972800" cy="480052"/>
          </a:xfrm>
        </p:spPr>
        <p:txBody>
          <a:bodyPr/>
          <a:lstStyle/>
          <a:p>
            <a:r>
              <a:rPr lang="fr-FR" dirty="0"/>
              <a:t>Cliquez pour modifier le style du titre</a:t>
            </a:r>
          </a:p>
        </p:txBody>
      </p:sp>
      <p:sp>
        <p:nvSpPr>
          <p:cNvPr id="5" name="Espace réservé de la date 4"/>
          <p:cNvSpPr>
            <a:spLocks noGrp="1"/>
          </p:cNvSpPr>
          <p:nvPr>
            <p:ph type="dt" sz="half" idx="10"/>
          </p:nvPr>
        </p:nvSpPr>
        <p:spPr/>
        <p:txBody>
          <a:bodyPr/>
          <a:lstStyle/>
          <a:p>
            <a:fld id="{7BCFD937-CC83-4414-A553-A401717EFB6B}" type="datetime1">
              <a:rPr lang="fr-FR" smtClean="0"/>
              <a:pPr/>
              <a:t>27/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10" name="Picture Placeholder 13"/>
          <p:cNvSpPr>
            <a:spLocks noGrp="1"/>
          </p:cNvSpPr>
          <p:nvPr>
            <p:ph type="pic" sz="quarter" idx="42"/>
          </p:nvPr>
        </p:nvSpPr>
        <p:spPr>
          <a:xfrm>
            <a:off x="2447594" y="1412776"/>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9" name="Rectangle 8"/>
          <p:cNvSpPr/>
          <p:nvPr userDrawn="1"/>
        </p:nvSpPr>
        <p:spPr>
          <a:xfrm>
            <a:off x="719403" y="260648"/>
            <a:ext cx="576064" cy="72008"/>
          </a:xfrm>
          <a:prstGeom prst="rect">
            <a:avLst/>
          </a:prstGeom>
          <a:solidFill>
            <a:srgbClr val="B11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Picture Placeholder 13"/>
          <p:cNvSpPr>
            <a:spLocks noGrp="1"/>
          </p:cNvSpPr>
          <p:nvPr>
            <p:ph type="pic" sz="quarter" idx="43"/>
          </p:nvPr>
        </p:nvSpPr>
        <p:spPr>
          <a:xfrm>
            <a:off x="2447594" y="3621022"/>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8" name="Picture Placeholder 13"/>
          <p:cNvSpPr>
            <a:spLocks noGrp="1"/>
          </p:cNvSpPr>
          <p:nvPr>
            <p:ph type="pic" sz="quarter" idx="44"/>
          </p:nvPr>
        </p:nvSpPr>
        <p:spPr>
          <a:xfrm>
            <a:off x="4847861" y="1412776"/>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11" name="Picture Placeholder 13"/>
          <p:cNvSpPr>
            <a:spLocks noGrp="1"/>
          </p:cNvSpPr>
          <p:nvPr>
            <p:ph type="pic" sz="quarter" idx="45"/>
          </p:nvPr>
        </p:nvSpPr>
        <p:spPr>
          <a:xfrm>
            <a:off x="7248128" y="1412776"/>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12" name="Picture Placeholder 13"/>
          <p:cNvSpPr>
            <a:spLocks noGrp="1"/>
          </p:cNvSpPr>
          <p:nvPr>
            <p:ph type="pic" sz="quarter" idx="46"/>
          </p:nvPr>
        </p:nvSpPr>
        <p:spPr>
          <a:xfrm>
            <a:off x="4847861" y="3621022"/>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
        <p:nvSpPr>
          <p:cNvPr id="13" name="Picture Placeholder 13"/>
          <p:cNvSpPr>
            <a:spLocks noGrp="1"/>
          </p:cNvSpPr>
          <p:nvPr>
            <p:ph type="pic" sz="quarter" idx="47"/>
          </p:nvPr>
        </p:nvSpPr>
        <p:spPr>
          <a:xfrm>
            <a:off x="7248128" y="3621022"/>
            <a:ext cx="2400267" cy="2222469"/>
          </a:xfrm>
          <a:prstGeom prst="rect">
            <a:avLst/>
          </a:prstGeom>
          <a:effectLst/>
        </p:spPr>
        <p:txBody>
          <a:bodyPr>
            <a:normAutofit/>
          </a:bodyPr>
          <a:lstStyle>
            <a:lvl1pPr marL="0" indent="0">
              <a:buNone/>
              <a:defRPr sz="3467">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650752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sp>
        <p:nvSpPr>
          <p:cNvPr id="6" name="Rectangle 5"/>
          <p:cNvSpPr/>
          <p:nvPr userDrawn="1"/>
        </p:nvSpPr>
        <p:spPr>
          <a:xfrm>
            <a:off x="0" y="0"/>
            <a:ext cx="7056107" cy="6309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7" name="Image 6" descr="Emble_Gris_30.png"/>
          <p:cNvPicPr>
            <a:picLocks noChangeAspect="1"/>
          </p:cNvPicPr>
          <p:nvPr userDrawn="1"/>
        </p:nvPicPr>
        <p:blipFill>
          <a:blip r:embed="rId2" cstate="print"/>
          <a:stretch>
            <a:fillRect/>
          </a:stretch>
        </p:blipFill>
        <p:spPr>
          <a:xfrm>
            <a:off x="5742256" y="0"/>
            <a:ext cx="6402417" cy="6405331"/>
          </a:xfrm>
          <a:prstGeom prst="rect">
            <a:avLst/>
          </a:prstGeom>
        </p:spPr>
      </p:pic>
      <p:sp>
        <p:nvSpPr>
          <p:cNvPr id="2" name="Titre 1"/>
          <p:cNvSpPr>
            <a:spLocks noGrp="1"/>
          </p:cNvSpPr>
          <p:nvPr>
            <p:ph type="title"/>
          </p:nvPr>
        </p:nvSpPr>
        <p:spPr>
          <a:xfrm>
            <a:off x="719403" y="1316766"/>
            <a:ext cx="5472608" cy="3648405"/>
          </a:xfrm>
        </p:spPr>
        <p:txBody>
          <a:bodyPr/>
          <a:lstStyle>
            <a:lvl1pPr algn="r">
              <a:defRPr sz="6400">
                <a:solidFill>
                  <a:schemeClr val="bg1"/>
                </a:solidFill>
              </a:defRPr>
            </a:lvl1pPr>
          </a:lstStyle>
          <a:p>
            <a:r>
              <a:rPr lang="fr-FR" dirty="0"/>
              <a:t>Cliquez pour modifier le style du titre</a:t>
            </a:r>
          </a:p>
        </p:txBody>
      </p:sp>
      <p:sp>
        <p:nvSpPr>
          <p:cNvPr id="3" name="Espace réservé de la date 2"/>
          <p:cNvSpPr>
            <a:spLocks noGrp="1"/>
          </p:cNvSpPr>
          <p:nvPr>
            <p:ph type="dt" sz="half" idx="10"/>
          </p:nvPr>
        </p:nvSpPr>
        <p:spPr/>
        <p:txBody>
          <a:bodyPr/>
          <a:lstStyle/>
          <a:p>
            <a:fld id="{1C6BAD5C-2C02-41B1-96A1-7E17DD2ACD75}" type="datetime1">
              <a:rPr lang="fr-FR" smtClean="0"/>
              <a:pPr/>
              <a:t>27/02/2026</a:t>
            </a:fld>
            <a:endParaRPr lang="fr-FR" dirty="0"/>
          </a:p>
        </p:txBody>
      </p:sp>
      <p:sp>
        <p:nvSpPr>
          <p:cNvPr id="4" name="Espace réservé du pied de page 3"/>
          <p:cNvSpPr>
            <a:spLocks noGrp="1"/>
          </p:cNvSpPr>
          <p:nvPr>
            <p:ph type="ftr" sz="quarter" idx="11"/>
          </p:nvPr>
        </p:nvSpPr>
        <p:spPr/>
        <p:txBody>
          <a:bodyPr/>
          <a:lstStyle/>
          <a:p>
            <a:endParaRPr lang="fr-FR" dirty="0"/>
          </a:p>
        </p:txBody>
      </p:sp>
      <p:pic>
        <p:nvPicPr>
          <p:cNvPr id="5" name="Image 4" descr="COL_LOGO_AVEC_UNICANCER_RVB.png"/>
          <p:cNvPicPr>
            <a:picLocks noChangeAspect="1"/>
          </p:cNvPicPr>
          <p:nvPr userDrawn="1"/>
        </p:nvPicPr>
        <p:blipFill>
          <a:blip r:embed="rId3" cstate="print"/>
          <a:stretch>
            <a:fillRect/>
          </a:stretch>
        </p:blipFill>
        <p:spPr>
          <a:xfrm>
            <a:off x="7728182" y="2660915"/>
            <a:ext cx="2913247" cy="1071884"/>
          </a:xfrm>
          <a:prstGeom prst="rect">
            <a:avLst/>
          </a:prstGeom>
        </p:spPr>
      </p:pic>
    </p:spTree>
    <p:extLst>
      <p:ext uri="{BB962C8B-B14F-4D97-AF65-F5344CB8AC3E}">
        <p14:creationId xmlns:p14="http://schemas.microsoft.com/office/powerpoint/2010/main" val="8226290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re et contenu long">
    <p:spTree>
      <p:nvGrpSpPr>
        <p:cNvPr id="1" name=""/>
        <p:cNvGrpSpPr/>
        <p:nvPr/>
      </p:nvGrpSpPr>
      <p:grpSpPr>
        <a:xfrm>
          <a:off x="0" y="0"/>
          <a:ext cx="0" cy="0"/>
          <a:chOff x="0" y="0"/>
          <a:chExt cx="0" cy="0"/>
        </a:xfrm>
      </p:grpSpPr>
      <p:sp>
        <p:nvSpPr>
          <p:cNvPr id="2" name="Titre 1"/>
          <p:cNvSpPr>
            <a:spLocks noGrp="1"/>
          </p:cNvSpPr>
          <p:nvPr>
            <p:ph type="title"/>
          </p:nvPr>
        </p:nvSpPr>
        <p:spPr>
          <a:xfrm>
            <a:off x="609600" y="452670"/>
            <a:ext cx="10972800" cy="480053"/>
          </a:xfrm>
        </p:spPr>
        <p:txBody>
          <a:bodyPr/>
          <a:lstStyle/>
          <a:p>
            <a:r>
              <a:rPr lang="fr-FR" dirty="0"/>
              <a:t>Cliquez pour modifier le style du titre</a:t>
            </a:r>
          </a:p>
        </p:txBody>
      </p:sp>
      <p:sp>
        <p:nvSpPr>
          <p:cNvPr id="3" name="Espace réservé de la date 2"/>
          <p:cNvSpPr>
            <a:spLocks noGrp="1"/>
          </p:cNvSpPr>
          <p:nvPr>
            <p:ph type="dt" sz="half" idx="10"/>
          </p:nvPr>
        </p:nvSpPr>
        <p:spPr/>
        <p:txBody>
          <a:bodyPr/>
          <a:lstStyle/>
          <a:p>
            <a:fld id="{317F8F64-20D6-4233-8C56-8F4B3A32FD1F}" type="datetime1">
              <a:rPr lang="fr-FR" smtClean="0"/>
              <a:pPr/>
              <a:t>27/02/202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8737600" y="6356351"/>
            <a:ext cx="2844800" cy="365125"/>
          </a:xfrm>
          <a:prstGeom prst="rect">
            <a:avLst/>
          </a:prstGeom>
        </p:spPr>
        <p:txBody>
          <a:bodyPr/>
          <a:lstStyle/>
          <a:p>
            <a:fld id="{F38ADAD0-CE93-42F0-823D-4AADB184208C}" type="slidenum">
              <a:rPr lang="fr-FR" smtClean="0"/>
              <a:pPr/>
              <a:t>‹#›</a:t>
            </a:fld>
            <a:endParaRPr lang="fr-FR" dirty="0"/>
          </a:p>
        </p:txBody>
      </p:sp>
      <p:sp>
        <p:nvSpPr>
          <p:cNvPr id="8" name="Rectangle 7"/>
          <p:cNvSpPr/>
          <p:nvPr userDrawn="1"/>
        </p:nvSpPr>
        <p:spPr>
          <a:xfrm>
            <a:off x="719403" y="260648"/>
            <a:ext cx="576064" cy="72008"/>
          </a:xfrm>
          <a:prstGeom prst="rect">
            <a:avLst/>
          </a:prstGeom>
          <a:solidFill>
            <a:srgbClr val="B11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Espace réservé du contenu 2"/>
          <p:cNvSpPr>
            <a:spLocks noGrp="1"/>
          </p:cNvSpPr>
          <p:nvPr>
            <p:ph idx="1"/>
          </p:nvPr>
        </p:nvSpPr>
        <p:spPr>
          <a:xfrm>
            <a:off x="609600" y="1316766"/>
            <a:ext cx="10972800" cy="4224468"/>
          </a:xfrm>
        </p:spPr>
        <p:txBody>
          <a:bodyPr>
            <a:normAutofit/>
          </a:bodyPr>
          <a:lstStyle>
            <a:lvl1pPr marL="0" indent="0">
              <a:buNone/>
              <a:defRPr sz="1400"/>
            </a:lvl1pPr>
            <a:lvl2pPr>
              <a:defRPr sz="2400" b="0">
                <a:solidFill>
                  <a:schemeClr val="accent2">
                    <a:lumMod val="75000"/>
                  </a:schemeClr>
                </a:solidFill>
              </a:defRPr>
            </a:lvl2pPr>
            <a:lvl3pPr>
              <a:defRPr sz="2133">
                <a:solidFill>
                  <a:schemeClr val="accent2"/>
                </a:solidFill>
              </a:defRPr>
            </a:lvl3pPr>
            <a:lvl4pPr>
              <a:defRPr sz="1600">
                <a:solidFill>
                  <a:schemeClr val="bg2">
                    <a:lumMod val="50000"/>
                  </a:schemeClr>
                </a:solidFill>
              </a:defRPr>
            </a:lvl4pPr>
          </a:lstStyle>
          <a:p>
            <a:pPr lvl="0"/>
            <a:r>
              <a:rPr lang="fr-FR" dirty="0"/>
              <a:t>Cliquez pour modifier les styles du texte du masque</a:t>
            </a:r>
          </a:p>
        </p:txBody>
      </p:sp>
      <p:sp>
        <p:nvSpPr>
          <p:cNvPr id="10" name="Espace réservé du contenu 2"/>
          <p:cNvSpPr>
            <a:spLocks noGrp="1"/>
          </p:cNvSpPr>
          <p:nvPr>
            <p:ph idx="13"/>
          </p:nvPr>
        </p:nvSpPr>
        <p:spPr>
          <a:xfrm>
            <a:off x="623392" y="5733256"/>
            <a:ext cx="10972800" cy="480053"/>
          </a:xfrm>
        </p:spPr>
        <p:txBody>
          <a:bodyPr>
            <a:normAutofit/>
          </a:bodyPr>
          <a:lstStyle>
            <a:lvl1pPr marL="118530" indent="-2117">
              <a:buNone/>
              <a:defRPr sz="1067" i="1">
                <a:solidFill>
                  <a:schemeClr val="bg2">
                    <a:lumMod val="75000"/>
                  </a:schemeClr>
                </a:solidFill>
              </a:defRPr>
            </a:lvl1pPr>
            <a:lvl2pPr>
              <a:defRPr sz="2400" b="0">
                <a:solidFill>
                  <a:schemeClr val="accent2">
                    <a:lumMod val="75000"/>
                  </a:schemeClr>
                </a:solidFill>
              </a:defRPr>
            </a:lvl2pPr>
            <a:lvl3pPr>
              <a:defRPr sz="2133">
                <a:solidFill>
                  <a:schemeClr val="accent2"/>
                </a:solidFill>
              </a:defRPr>
            </a:lvl3pPr>
            <a:lvl4pPr>
              <a:defRPr sz="1600">
                <a:solidFill>
                  <a:schemeClr val="bg2">
                    <a:lumMod val="50000"/>
                  </a:schemeClr>
                </a:solidFill>
              </a:defRPr>
            </a:lvl4pPr>
          </a:lstStyle>
          <a:p>
            <a:pPr lvl="0"/>
            <a:r>
              <a:rPr lang="fr-FR" dirty="0"/>
              <a:t>Cliquez pour modifier les styles du texte du masque</a:t>
            </a:r>
          </a:p>
        </p:txBody>
      </p:sp>
    </p:spTree>
    <p:extLst>
      <p:ext uri="{BB962C8B-B14F-4D97-AF65-F5344CB8AC3E}">
        <p14:creationId xmlns:p14="http://schemas.microsoft.com/office/powerpoint/2010/main" val="3703544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9A12BDE-2F5C-47A5-930F-145C619C2D23}" type="datetime1">
              <a:rPr lang="fr-FR" smtClean="0"/>
              <a:pPr/>
              <a:t>27/02/2026</a:t>
            </a:fld>
            <a:endParaRPr lang="fr-FR"/>
          </a:p>
        </p:txBody>
      </p:sp>
      <p:sp>
        <p:nvSpPr>
          <p:cNvPr id="3" name="Espace réservé du pied de page 2"/>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365089399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Fond noir">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9A12BDE-2F5C-47A5-930F-145C619C2D23}" type="datetime1">
              <a:rPr lang="fr-FR" smtClean="0"/>
              <a:pPr/>
              <a:t>27/02/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5" name="Rectangle 4"/>
          <p:cNvSpPr/>
          <p:nvPr userDrawn="1"/>
        </p:nvSpPr>
        <p:spPr>
          <a:xfrm>
            <a:off x="0" y="0"/>
            <a:ext cx="12192000" cy="6377947"/>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11223774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1_Fond noir total">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Espace réservé de la date 1"/>
          <p:cNvSpPr>
            <a:spLocks noGrp="1"/>
          </p:cNvSpPr>
          <p:nvPr>
            <p:ph type="dt" sz="half" idx="10"/>
          </p:nvPr>
        </p:nvSpPr>
        <p:spPr/>
        <p:txBody>
          <a:bodyPr/>
          <a:lstStyle>
            <a:lvl1pPr>
              <a:defRPr>
                <a:solidFill>
                  <a:schemeClr val="bg1">
                    <a:lumMod val="50000"/>
                  </a:schemeClr>
                </a:solidFill>
              </a:defRPr>
            </a:lvl1pPr>
          </a:lstStyle>
          <a:p>
            <a:fld id="{69A12BDE-2F5C-47A5-930F-145C619C2D23}" type="datetime1">
              <a:rPr lang="fr-FR" smtClean="0"/>
              <a:pPr/>
              <a:t>27/02/2026</a:t>
            </a:fld>
            <a:endParaRPr lang="fr-FR" dirty="0"/>
          </a:p>
        </p:txBody>
      </p:sp>
      <p:sp>
        <p:nvSpPr>
          <p:cNvPr id="3" name="Espace réservé du pied de page 2"/>
          <p:cNvSpPr>
            <a:spLocks noGrp="1"/>
          </p:cNvSpPr>
          <p:nvPr>
            <p:ph type="ftr" sz="quarter" idx="11"/>
          </p:nvPr>
        </p:nvSpPr>
        <p:spPr/>
        <p:txBody>
          <a:bodyPr/>
          <a:lstStyle>
            <a:lvl1pPr>
              <a:defRPr>
                <a:solidFill>
                  <a:schemeClr val="bg1">
                    <a:lumMod val="50000"/>
                  </a:schemeClr>
                </a:solidFill>
              </a:defRPr>
            </a:lvl1pPr>
          </a:lstStyle>
          <a:p>
            <a:endParaRPr lang="fr-FR" dirty="0"/>
          </a:p>
        </p:txBody>
      </p:sp>
      <p:pic>
        <p:nvPicPr>
          <p:cNvPr id="6" name="Image 5" descr="COL_LOGO_BLANC.png"/>
          <p:cNvPicPr>
            <a:picLocks noChangeAspect="1"/>
          </p:cNvPicPr>
          <p:nvPr userDrawn="1"/>
        </p:nvPicPr>
        <p:blipFill>
          <a:blip r:embed="rId2" cstate="print"/>
          <a:stretch>
            <a:fillRect/>
          </a:stretch>
        </p:blipFill>
        <p:spPr>
          <a:xfrm>
            <a:off x="527382" y="6309320"/>
            <a:ext cx="2125369" cy="526987"/>
          </a:xfrm>
          <a:prstGeom prst="rect">
            <a:avLst/>
          </a:prstGeom>
        </p:spPr>
      </p:pic>
    </p:spTree>
    <p:extLst>
      <p:ext uri="{BB962C8B-B14F-4D97-AF65-F5344CB8AC3E}">
        <p14:creationId xmlns:p14="http://schemas.microsoft.com/office/powerpoint/2010/main" val="254187108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7/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326232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253595665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356601347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39522985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CE1C964-2C07-4E14-B74E-0BF85B8D1198}" type="datetimeFigureOut">
              <a:rPr lang="fr-FR" smtClean="0"/>
              <a:t>27/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41431359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CE1C964-2C07-4E14-B74E-0BF85B8D1198}" type="datetimeFigureOut">
              <a:rPr lang="fr-FR" smtClean="0"/>
              <a:t>27/02/202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425535378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1CE1C964-2C07-4E14-B74E-0BF85B8D1198}" type="datetimeFigureOut">
              <a:rPr lang="fr-FR" smtClean="0"/>
              <a:t>27/02/202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215552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CE1C964-2C07-4E14-B74E-0BF85B8D1198}" type="datetimeFigureOut">
              <a:rPr lang="fr-FR" smtClean="0"/>
              <a:t>27/02/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6712329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1CE1C964-2C07-4E14-B74E-0BF85B8D1198}" type="datetimeFigureOut">
              <a:rPr lang="fr-FR" smtClean="0"/>
              <a:t>27/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272814463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1CE1C964-2C07-4E14-B74E-0BF85B8D1198}" type="datetimeFigureOut">
              <a:rPr lang="fr-FR" smtClean="0"/>
              <a:t>27/02/202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161731891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398275544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D65B684-779C-465A-B4FD-7C6A9605A738}" type="slidenum">
              <a:rPr lang="fr-FR" smtClean="0"/>
              <a:t>‹#›</a:t>
            </a:fld>
            <a:endParaRPr lang="fr-FR"/>
          </a:p>
        </p:txBody>
      </p:sp>
    </p:spTree>
    <p:extLst>
      <p:ext uri="{BB962C8B-B14F-4D97-AF65-F5344CB8AC3E}">
        <p14:creationId xmlns:p14="http://schemas.microsoft.com/office/powerpoint/2010/main" val="5725900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6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endParaRPr lang="en-US" dirty="0"/>
          </a:p>
        </p:txBody>
      </p:sp>
      <p:sp>
        <p:nvSpPr>
          <p:cNvPr id="13" name="Text Placeholder 6"/>
          <p:cNvSpPr>
            <a:spLocks noGrp="1"/>
          </p:cNvSpPr>
          <p:nvPr>
            <p:ph type="body" sz="quarter" idx="12"/>
          </p:nvPr>
        </p:nvSpPr>
        <p:spPr>
          <a:xfrm>
            <a:off x="720000" y="1327575"/>
            <a:ext cx="10742400" cy="4805597"/>
          </a:xfrm>
        </p:spPr>
        <p:txBody>
          <a:bodyPr>
            <a:noAutofit/>
          </a:bodyPr>
          <a:lstStyle>
            <a:lvl1pPr marL="0" indent="0">
              <a:buNone/>
              <a:defRPr sz="1600" baseline="0"/>
            </a:lvl1pPr>
          </a:lstStyle>
          <a:p>
            <a:pPr lvl="0"/>
            <a:r>
              <a:rPr lang="en-US"/>
              <a:t>Click to edit Master text styles</a:t>
            </a:r>
          </a:p>
        </p:txBody>
      </p:sp>
      <p:sp>
        <p:nvSpPr>
          <p:cNvPr id="4" name="Slide Number Placeholder 5"/>
          <p:cNvSpPr>
            <a:spLocks noGrp="1"/>
          </p:cNvSpPr>
          <p:nvPr>
            <p:ph type="sldNum" sz="quarter" idx="13"/>
          </p:nvPr>
        </p:nvSpPr>
        <p:spPr>
          <a:xfrm>
            <a:off x="11237384" y="0"/>
            <a:ext cx="954616" cy="246063"/>
          </a:xfrm>
        </p:spPr>
        <p:txBody>
          <a:bodyPr/>
          <a:lstStyle>
            <a:lvl1pPr eaLnBrk="0" hangingPunc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68B3A8A-5992-49B0-B288-E91D924D286E}" type="slidenum">
              <a:rPr kumimoji="0" lang="en-US" altLang="en-US" sz="14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80575886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78280" y="611604"/>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70"/>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1" y="4950670"/>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1" y="5672566"/>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6" name="Group 5">
            <a:extLst>
              <a:ext uri="{FF2B5EF4-FFF2-40B4-BE49-F238E27FC236}">
                <a16:creationId xmlns:a16="http://schemas.microsoft.com/office/drawing/2014/main" id="{B30E13CB-33D7-3B5A-C962-DE4B2EB087A7}"/>
              </a:ext>
            </a:extLst>
          </p:cNvPr>
          <p:cNvGrpSpPr/>
          <p:nvPr userDrawn="1"/>
        </p:nvGrpSpPr>
        <p:grpSpPr>
          <a:xfrm>
            <a:off x="9972190" y="5813988"/>
            <a:ext cx="2219810" cy="1048234"/>
            <a:chOff x="16068190" y="9227649"/>
            <a:chExt cx="2219810" cy="1048234"/>
          </a:xfrm>
        </p:grpSpPr>
        <p:pic>
          <p:nvPicPr>
            <p:cNvPr id="7"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559201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8"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7"/>
            <a:ext cx="4485774" cy="3696027"/>
          </a:xfrm>
          <a:prstGeom prst="rect">
            <a:avLst/>
          </a:prstGeom>
        </p:spPr>
        <p:txBody>
          <a:bodyPr/>
          <a:lstStyle>
            <a:lvl1pPr marL="495350" indent="-495350">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7"/>
            <a:ext cx="4485774" cy="3696027"/>
          </a:xfrm>
          <a:prstGeom prst="rect">
            <a:avLst/>
          </a:prstGeom>
        </p:spPr>
        <p:txBody>
          <a:bodyPr/>
          <a:lstStyle>
            <a:lvl1pPr marL="495350" indent="-495350">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8660816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marR="0" lvl="0" indent="0" algn="l" defTabSz="914446" rtl="0" eaLnBrk="1" fontAlgn="auto" latinLnBrk="0" hangingPunct="1">
              <a:lnSpc>
                <a:spcPts val="3750"/>
              </a:lnSpc>
              <a:spcBef>
                <a:spcPts val="0"/>
              </a:spcBef>
              <a:spcAft>
                <a:spcPts val="0"/>
              </a:spcAft>
              <a:buClrTx/>
              <a:buSzTx/>
              <a:buFontTx/>
              <a:buNone/>
              <a:tabLst/>
              <a:defRPr/>
            </a:pPr>
            <a:r>
              <a:rPr kumimoji="0" lang="en-US" sz="3750" b="0" i="0" u="none" strike="noStrike" kern="1200" cap="none" spc="0" normalizeH="0" baseline="0" noProof="0" dirty="0">
                <a:ln>
                  <a:noFill/>
                </a:ln>
                <a:solidFill>
                  <a:srgbClr val="00305D"/>
                </a:solidFill>
                <a:effectLst/>
                <a:uLnTx/>
                <a:uFillTx/>
                <a:latin typeface="Arial Narrow Bold" pitchFamily="34" charset="0"/>
                <a:ea typeface="Arial Narrow Bold" pitchFamily="34" charset="-122"/>
                <a:cs typeface="Arial Narrow Bold" pitchFamily="34" charset="-120"/>
              </a:rPr>
              <a:t>DECLARATION OF INTERESTS</a:t>
            </a:r>
            <a:endParaRPr kumimoji="0" lang="en-US" sz="375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marR="0" lvl="0" indent="0" algn="l" defTabSz="914446" rtl="0" eaLnBrk="1" fontAlgn="auto" latinLnBrk="0" hangingPunct="1">
              <a:lnSpc>
                <a:spcPts val="2650"/>
              </a:lnSpc>
              <a:spcBef>
                <a:spcPts val="0"/>
              </a:spcBef>
              <a:spcAft>
                <a:spcPts val="0"/>
              </a:spcAft>
              <a:buClrTx/>
              <a:buSzTx/>
              <a:buFontTx/>
              <a:buNone/>
              <a:tabLst/>
              <a:defRPr/>
            </a:pPr>
            <a:r>
              <a:rPr kumimoji="0" lang="en-US" sz="2500" b="0" i="0" u="none" strike="noStrike" kern="1200" cap="none" spc="0" normalizeH="0" baseline="0" noProof="0" dirty="0">
                <a:ln>
                  <a:noFill/>
                </a:ln>
                <a:solidFill>
                  <a:srgbClr val="00305D"/>
                </a:solidFill>
                <a:effectLst/>
                <a:uLnTx/>
                <a:uFillTx/>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kumimoji="0" lang="en-US" sz="2500" b="0" i="0" u="none" strike="noStrike" kern="1200" cap="none" spc="0" normalizeH="0" baseline="0" noProof="0" dirty="0" err="1">
                <a:ln>
                  <a:noFill/>
                </a:ln>
                <a:solidFill>
                  <a:srgbClr val="00305D"/>
                </a:solidFill>
                <a:effectLst/>
                <a:uLnTx/>
                <a:uFillTx/>
                <a:latin typeface="Arial Narrow Bold" pitchFamily="34" charset="0"/>
                <a:ea typeface="Arial Narrow Bold" pitchFamily="34" charset="-122"/>
                <a:cs typeface="Arial Narrow Bold" pitchFamily="34" charset="-120"/>
              </a:rPr>
              <a:t>organisations</a:t>
            </a:r>
            <a:r>
              <a:rPr kumimoji="0" lang="en-US" sz="2500" b="0" i="0" u="none" strike="noStrike" kern="1200" cap="none" spc="0" normalizeH="0" baseline="0" noProof="0" dirty="0">
                <a:ln>
                  <a:noFill/>
                </a:ln>
                <a:solidFill>
                  <a:srgbClr val="00305D"/>
                </a:solidFill>
                <a:effectLst/>
                <a:uLnTx/>
                <a:uFillTx/>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kumimoji="0" lang="en-US" sz="25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22078681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marR="0" lvl="0" indent="0" algn="l" defTabSz="914446" rtl="0" eaLnBrk="1" fontAlgn="auto" latinLnBrk="0" hangingPunct="1">
              <a:lnSpc>
                <a:spcPts val="2500"/>
              </a:lnSpc>
              <a:spcBef>
                <a:spcPts val="0"/>
              </a:spcBef>
              <a:spcAft>
                <a:spcPts val="0"/>
              </a:spcAft>
              <a:buClrTx/>
              <a:buSzTx/>
              <a:buFontTx/>
              <a:buNone/>
              <a:tabLst/>
              <a:defRPr/>
            </a:pPr>
            <a:r>
              <a:rPr kumimoji="0" lang="en-US" sz="2500" b="0" i="0" u="none" strike="noStrike" kern="1200" cap="none" spc="0" normalizeH="0" baseline="0" noProof="0">
                <a:ln>
                  <a:noFill/>
                </a:ln>
                <a:solidFill>
                  <a:srgbClr val="00305D"/>
                </a:solidFill>
                <a:effectLst/>
                <a:uLnTx/>
                <a:uFillTx/>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kumimoji="0" lang="en-US" sz="25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marR="0" lvl="0" indent="0" algn="l" defTabSz="914446" rtl="0" eaLnBrk="1" fontAlgn="auto" latinLnBrk="0" hangingPunct="1">
              <a:lnSpc>
                <a:spcPts val="1650"/>
              </a:lnSpc>
              <a:spcBef>
                <a:spcPts val="0"/>
              </a:spcBef>
              <a:spcAft>
                <a:spcPts val="0"/>
              </a:spcAft>
              <a:buClrTx/>
              <a:buSzTx/>
              <a:buFontTx/>
              <a:buNone/>
              <a:tabLst/>
              <a:defRPr/>
            </a:pP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for which you are financially compensated (e.g. as an employee, officer or member of the Board of Directors). Details of any stocks or ownership interests that you have in a relevant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kumimoji="0" sz="1200" b="0" i="0" u="none" strike="noStrike" kern="1200" cap="none" spc="0" normalizeH="0" baseline="0" noProof="0">
                <a:ln>
                  <a:noFill/>
                </a:ln>
                <a:solidFill>
                  <a:srgbClr val="3F4444"/>
                </a:solidFill>
                <a:effectLst/>
                <a:uLnTx/>
                <a:uFillTx/>
                <a:latin typeface="Calibri" panose="020F0502020204030204"/>
                <a:ea typeface="+mn-ea"/>
                <a:cs typeface="+mn-cs"/>
              </a:rPr>
            </a:b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e.g. a leadership position, advisory role, principal investigator or project lead).
Details of any non-financial benefits received from a relevant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as defined on the previous slide).For example, access to proprietary information or samples of medical products that are used in your research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programme.Details</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of membership or affiliation with any political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pressure group, lobbying </a:t>
            </a:r>
            <a:r>
              <a:rPr kumimoji="0" lang="en-US" sz="1500" b="0" i="0" u="none" strike="noStrike" kern="1200" cap="none" spc="0" normalizeH="0" baseline="0" noProof="0" err="1">
                <a:ln>
                  <a:noFill/>
                </a:ln>
                <a:solidFill>
                  <a:srgbClr val="00305D"/>
                </a:solidFill>
                <a:effectLst/>
                <a:uLnTx/>
                <a:uFillTx/>
                <a:latin typeface="Arial Narrow" pitchFamily="34" charset="0"/>
                <a:ea typeface="Arial Narrow" pitchFamily="34" charset="-122"/>
                <a:cs typeface="Arial Narrow" pitchFamily="34" charset="-120"/>
              </a:rPr>
              <a:t>organisation</a:t>
            </a:r>
            <a:r>
              <a:rPr kumimoji="0" lang="en-US" sz="15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 or similar association operating in similar areas as ESMO or with relevance to cancer medicine.
</a:t>
            </a:r>
            <a:r>
              <a:rPr kumimoji="0" lang="en-US" sz="1500" b="0" i="0" u="none" strike="noStrike" kern="1200" cap="none" spc="0" normalizeH="0" baseline="0" noProof="0">
                <a:ln>
                  <a:noFill/>
                </a:ln>
                <a:solidFill>
                  <a:srgbClr val="00305D"/>
                </a:solidFill>
                <a:effectLst/>
                <a:uLnTx/>
                <a:uFillTx/>
                <a:latin typeface="Arial Narrow Bold" pitchFamily="34" charset="0"/>
                <a:ea typeface="Arial Narrow Bold" pitchFamily="34" charset="-122"/>
                <a:cs typeface="Arial Narrow Bold" pitchFamily="34" charset="-120"/>
              </a:rPr>
              <a:t>If you have nothing to declare then please also state this.</a:t>
            </a:r>
            <a:endParaRPr kumimoji="0" lang="en-US" sz="1500" b="0" i="0" u="none" strike="noStrike" kern="1200" cap="none" spc="0" normalizeH="0" baseline="0" noProof="0">
              <a:ln>
                <a:noFill/>
              </a:ln>
              <a:solidFill>
                <a:srgbClr val="3F4444"/>
              </a:solidFill>
              <a:effectLst/>
              <a:uLnTx/>
              <a:uFillTx/>
              <a:latin typeface="Calibri" panose="020F0502020204030204"/>
              <a:ea typeface="+mn-ea"/>
              <a:cs typeface="+mn-cs"/>
            </a:endParaRPr>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1698325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7"/>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7"/>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4128005376"/>
      </p:ext>
    </p:extLst>
  </p:cSld>
  <p:clrMapOvr>
    <a:overrideClrMapping bg1="dk1" tx1="lt1" bg2="dk2" tx2="lt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7"/>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7"/>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2633317288"/>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500434" y="6435732"/>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8" y="6156616"/>
            <a:ext cx="2032323" cy="701384"/>
          </a:xfrm>
          <a:prstGeom prst="rect">
            <a:avLst/>
          </a:prstGeom>
        </p:spPr>
      </p:pic>
      <p:sp>
        <p:nvSpPr>
          <p:cNvPr id="3" name="Google Shape;19;p14">
            <a:extLst>
              <a:ext uri="{FF2B5EF4-FFF2-40B4-BE49-F238E27FC236}">
                <a16:creationId xmlns:a16="http://schemas.microsoft.com/office/drawing/2014/main" id="{562D556B-24F8-CBEC-9632-3F875AB6823A}"/>
              </a:ext>
            </a:extLst>
          </p:cNvPr>
          <p:cNvSpPr txBox="1">
            <a:spLocks noGrp="1"/>
          </p:cNvSpPr>
          <p:nvPr>
            <p:ph type="subTitle" idx="2"/>
          </p:nvPr>
        </p:nvSpPr>
        <p:spPr>
          <a:xfrm>
            <a:off x="479999" y="797819"/>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000" b="0" i="0" u="none" strike="noStrike" cap="none">
                <a:solidFill>
                  <a:srgbClr val="002557"/>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Google Shape;18;p14">
            <a:extLst>
              <a:ext uri="{FF2B5EF4-FFF2-40B4-BE49-F238E27FC236}">
                <a16:creationId xmlns:a16="http://schemas.microsoft.com/office/drawing/2014/main" id="{781778B5-C240-A291-A12D-29300712B964}"/>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200" b="1" i="0" u="none" strike="noStrike" cap="none">
                <a:solidFill>
                  <a:srgbClr val="002557"/>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4" b="1" i="0" u="none" strike="noStrike" cap="none">
                <a:solidFill>
                  <a:srgbClr val="81104F"/>
                </a:solidFill>
                <a:latin typeface="Arial Narrow"/>
                <a:ea typeface="Arial Narrow"/>
                <a:cs typeface="Arial Narrow"/>
                <a:sym typeface="Arial Narrow"/>
              </a:defRPr>
            </a:lvl9pPr>
          </a:lstStyle>
          <a:p>
            <a:endParaRPr/>
          </a:p>
        </p:txBody>
      </p:sp>
      <p:sp>
        <p:nvSpPr>
          <p:cNvPr id="8" name="Google Shape;17;p14">
            <a:extLst>
              <a:ext uri="{FF2B5EF4-FFF2-40B4-BE49-F238E27FC236}">
                <a16:creationId xmlns:a16="http://schemas.microsoft.com/office/drawing/2014/main" id="{74C92AF3-DA07-D02E-004A-B80AE8F88D32}"/>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231" marR="0" lvl="1" indent="-440278"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845" marR="0" lvl="2" indent="-440278"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461" marR="0" lvl="3"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8076" marR="0" lvl="4"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692" marR="0" lvl="5"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307" marR="0" lvl="6"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922" marR="0" lvl="7"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538" marR="0" lvl="8" indent="-440278"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16042507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marR="0" lvl="0" indent="0" algn="l" defTabSz="91444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1" y="2335807"/>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293402218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marR="0" lvl="0" indent="0" algn="l" defTabSz="91444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1" y="1710112"/>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684175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marR="0" lvl="0" indent="0" algn="l" defTabSz="91444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8" y="6156616"/>
            <a:ext cx="2032323" cy="701384"/>
          </a:xfrm>
          <a:prstGeom prst="rect">
            <a:avLst/>
          </a:prstGeom>
        </p:spPr>
      </p:pic>
    </p:spTree>
    <p:extLst>
      <p:ext uri="{BB962C8B-B14F-4D97-AF65-F5344CB8AC3E}">
        <p14:creationId xmlns:p14="http://schemas.microsoft.com/office/powerpoint/2010/main" val="141554685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8" y="6159178"/>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marR="0" lvl="0" indent="0" algn="l" defTabSz="91444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1" y="2335807"/>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12273504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8" y="6159178"/>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marR="0" lvl="0" indent="0" algn="l" defTabSz="914446"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05D"/>
                </a:solidFill>
                <a:effectLst/>
                <a:uLnTx/>
                <a:uFillTx/>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1" y="1710112"/>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280740863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8" y="6159178"/>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1"/>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18489454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8" y="6159178"/>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1"/>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1" y="2335807"/>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31592389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8" y="6159178"/>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1"/>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1" y="1710112"/>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315645321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8"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8" y="6159178"/>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70"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2"/>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2"/>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31527285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8" y="6159178"/>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8"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8"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8"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70"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70" y="3307772"/>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4" y="3307772"/>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5"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5" y="3307772"/>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43334235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8" y="6159178"/>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8"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8"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70"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70" y="3307772"/>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4"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2"/>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8"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2"/>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4"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2"/>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61587706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20"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6"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8"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8"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2"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8"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6"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6"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2"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2"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4"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4"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8"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4"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4"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4"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8" y="6159178"/>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2"/>
            <a:ext cx="1454966" cy="277299"/>
          </a:xfrm>
          <a:prstGeom prst="rect">
            <a:avLst/>
          </a:prstGeom>
        </p:spPr>
      </p:pic>
    </p:spTree>
    <p:extLst>
      <p:ext uri="{BB962C8B-B14F-4D97-AF65-F5344CB8AC3E}">
        <p14:creationId xmlns:p14="http://schemas.microsoft.com/office/powerpoint/2010/main" val="1966182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10712128" y="6159178"/>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148481" y="6434666"/>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marR="0" lvl="0" indent="0" algn="l" defTabSz="914446"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Arial Narrow Bold" pitchFamily="34" charset="0"/>
                <a:ea typeface="Arial Narrow Bold" pitchFamily="34" charset="-122"/>
                <a:cs typeface="Arial Narrow Bold" pitchFamily="34" charset="-120"/>
              </a:rPr>
              <a:t>European Society for Medical Oncology (ESMO)
</a:t>
            </a:r>
            <a:r>
              <a:rPr kumimoji="0" lang="en-US" sz="1500" b="0" i="0" u="none" strike="noStrike" kern="1200" cap="none" spc="0" normalizeH="0" baseline="0" noProof="0">
                <a:ln>
                  <a:noFill/>
                </a:ln>
                <a:solidFill>
                  <a:srgbClr val="FFFFFF"/>
                </a:solidFill>
                <a:effectLst/>
                <a:uLnTx/>
                <a:uFillTx/>
                <a:latin typeface="Arial Narrow" pitchFamily="34" charset="0"/>
                <a:ea typeface="Arial Narrow" pitchFamily="34" charset="-122"/>
                <a:cs typeface="Arial Narrow" pitchFamily="34" charset="-120"/>
              </a:rPr>
              <a:t>Via Ginevra 4, CH-6900 Lugano</a:t>
            </a:r>
            <a:br>
              <a:rPr kumimoji="0" sz="1200" b="0" i="0" u="none" strike="noStrike" kern="1200" cap="none" spc="0" normalizeH="0" baseline="0" noProof="0">
                <a:ln>
                  <a:noFill/>
                </a:ln>
                <a:solidFill>
                  <a:srgbClr val="3F4444"/>
                </a:solidFill>
                <a:effectLst/>
                <a:uLnTx/>
                <a:uFillTx/>
                <a:latin typeface="Calibri" panose="020F0502020204030204"/>
                <a:ea typeface="+mn-ea"/>
                <a:cs typeface="+mn-cs"/>
              </a:rPr>
            </a:br>
            <a:r>
              <a:rPr kumimoji="0" lang="en-US" sz="1500" b="0" i="0" u="none" strike="noStrike" kern="1200" cap="none" spc="0" normalizeH="0" baseline="0" noProof="0">
                <a:ln>
                  <a:noFill/>
                </a:ln>
                <a:solidFill>
                  <a:srgbClr val="FFFFFF"/>
                </a:solidFill>
                <a:effectLst/>
                <a:uLnTx/>
                <a:uFillTx/>
                <a:latin typeface="Arial Narrow" pitchFamily="34" charset="0"/>
                <a:ea typeface="Arial Narrow" pitchFamily="34" charset="-122"/>
                <a:cs typeface="Arial Narrow" pitchFamily="34" charset="-120"/>
              </a:rPr>
              <a:t>T. +41 (0)91 973 19 00</a:t>
            </a:r>
            <a:br>
              <a:rPr kumimoji="0" sz="1200" b="0" i="0" u="none" strike="noStrike" kern="1200" cap="none" spc="0" normalizeH="0" baseline="0" noProof="0">
                <a:ln>
                  <a:noFill/>
                </a:ln>
                <a:solidFill>
                  <a:srgbClr val="3F4444"/>
                </a:solidFill>
                <a:effectLst/>
                <a:uLnTx/>
                <a:uFillTx/>
                <a:latin typeface="Calibri" panose="020F0502020204030204"/>
                <a:ea typeface="+mn-ea"/>
                <a:cs typeface="+mn-cs"/>
              </a:rPr>
            </a:br>
            <a:r>
              <a:rPr kumimoji="0" lang="en-US" sz="1500" b="0" i="0" u="none" strike="noStrike" kern="1200" cap="none" spc="0" normalizeH="0" baseline="0" noProof="0">
                <a:ln>
                  <a:noFill/>
                </a:ln>
                <a:solidFill>
                  <a:srgbClr val="FFFFFF"/>
                </a:solidFill>
                <a:effectLst/>
                <a:uLnTx/>
                <a:uFillTx/>
                <a:latin typeface="Arial Narrow" pitchFamily="34" charset="0"/>
                <a:ea typeface="Arial Narrow" pitchFamily="34" charset="-122"/>
                <a:cs typeface="Arial Narrow" pitchFamily="34" charset="-120"/>
              </a:rPr>
              <a:t>esmo@esmo.org</a:t>
            </a:r>
            <a:br>
              <a:rPr kumimoji="0" sz="1200" b="0" i="0" u="none" strike="noStrike" kern="1200" cap="none" spc="0" normalizeH="0" baseline="0" noProof="0">
                <a:ln>
                  <a:noFill/>
                </a:ln>
                <a:solidFill>
                  <a:srgbClr val="3F4444"/>
                </a:solidFill>
                <a:effectLst/>
                <a:uLnTx/>
                <a:uFillTx/>
                <a:latin typeface="Calibri" panose="020F0502020204030204"/>
                <a:ea typeface="+mn-ea"/>
                <a:cs typeface="+mn-cs"/>
              </a:rPr>
            </a:br>
            <a:r>
              <a:rPr kumimoji="0" lang="en-US" sz="1500" b="0" i="0" u="none" strike="noStrike" kern="1200" cap="none" spc="0" normalizeH="0" baseline="0" noProof="0">
                <a:ln>
                  <a:noFill/>
                </a:ln>
                <a:solidFill>
                  <a:srgbClr val="FFFFFF"/>
                </a:solidFill>
                <a:effectLst/>
                <a:uLnTx/>
                <a:uFillTx/>
                <a:latin typeface="Arial Narrow" pitchFamily="34" charset="0"/>
                <a:ea typeface="Arial Narrow" pitchFamily="34" charset="-122"/>
                <a:cs typeface="Arial Narrow" pitchFamily="34" charset="-120"/>
              </a:rPr>
              <a:t>
</a:t>
            </a:r>
            <a:r>
              <a:rPr kumimoji="0" lang="en-US" sz="1500" b="0" i="0" u="none" strike="noStrike" kern="1200" cap="none" spc="0" normalizeH="0" baseline="0" noProof="0">
                <a:ln>
                  <a:noFill/>
                </a:ln>
                <a:solidFill>
                  <a:srgbClr val="FFFFFF"/>
                </a:solidFill>
                <a:effectLst/>
                <a:uLnTx/>
                <a:uFillTx/>
                <a:latin typeface="Arial Narrow Bold" pitchFamily="34" charset="0"/>
                <a:ea typeface="Arial Narrow Bold" pitchFamily="34" charset="-122"/>
                <a:cs typeface="Arial Narrow Bold" pitchFamily="34" charset="-120"/>
              </a:rPr>
              <a:t>esmo.org</a:t>
            </a:r>
            <a:endParaRPr kumimoji="0" lang="en-US" sz="15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9"/>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962896" y="922474"/>
            <a:ext cx="3645907" cy="804727"/>
          </a:xfrm>
          <a:prstGeom prst="rect">
            <a:avLst/>
          </a:prstGeom>
        </p:spPr>
      </p:pic>
    </p:spTree>
    <p:extLst>
      <p:ext uri="{BB962C8B-B14F-4D97-AF65-F5344CB8AC3E}">
        <p14:creationId xmlns:p14="http://schemas.microsoft.com/office/powerpoint/2010/main" val="362602554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78280" y="611604"/>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6" name="Group 5">
            <a:extLst>
              <a:ext uri="{FF2B5EF4-FFF2-40B4-BE49-F238E27FC236}">
                <a16:creationId xmlns:a16="http://schemas.microsoft.com/office/drawing/2014/main" id="{B30E13CB-33D7-3B5A-C962-DE4B2EB087A7}"/>
              </a:ext>
            </a:extLst>
          </p:cNvPr>
          <p:cNvGrpSpPr/>
          <p:nvPr userDrawn="1"/>
        </p:nvGrpSpPr>
        <p:grpSpPr>
          <a:xfrm>
            <a:off x="9972190" y="5813987"/>
            <a:ext cx="2219810" cy="1048234"/>
            <a:chOff x="16068190" y="9227649"/>
            <a:chExt cx="2219810" cy="1048234"/>
          </a:xfrm>
        </p:grpSpPr>
        <p:pic>
          <p:nvPicPr>
            <p:cNvPr id="7"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7159168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144792469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dirty="0">
                <a:solidFill>
                  <a:srgbClr val="00305D"/>
                </a:solidFill>
                <a:latin typeface="Arial Narrow Bold" pitchFamily="34" charset="0"/>
                <a:ea typeface="Arial Narrow Bold" pitchFamily="34" charset="-122"/>
                <a:cs typeface="Arial Narrow Bold" pitchFamily="34" charset="-120"/>
              </a:rPr>
              <a:t>DECLARATION OF INTERESTS</a:t>
            </a:r>
            <a:endParaRPr lang="en-US" sz="3750" dirty="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dirty="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dirty="0" err="1">
                <a:solidFill>
                  <a:srgbClr val="00305D"/>
                </a:solidFill>
                <a:latin typeface="Arial Narrow Bold" pitchFamily="34" charset="0"/>
                <a:ea typeface="Arial Narrow Bold" pitchFamily="34" charset="-122"/>
                <a:cs typeface="Arial Narrow Bold" pitchFamily="34" charset="-120"/>
              </a:rPr>
              <a:t>organisations</a:t>
            </a:r>
            <a:r>
              <a:rPr lang="en-US" sz="2500" dirty="0">
                <a:solidFill>
                  <a:srgbClr val="00305D"/>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dirty="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80397731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for which you are financially compensated (e.g. as an employee, officer or member of the Board of Directors). Details of any stocks or ownership interests that you have in a relevant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1200"/>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e.g. a leadership position, advisory role, principal investigator or project lead).
Details of any non-financial benefits received from a relevant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as defined on the previous slide).For example, access to proprietary information or samples of medical products that are used in your research </a:t>
            </a:r>
            <a:r>
              <a:rPr lang="en-US" sz="1500" err="1">
                <a:solidFill>
                  <a:srgbClr val="00305D"/>
                </a:solidFill>
                <a:latin typeface="Arial Narrow" pitchFamily="34" charset="0"/>
                <a:ea typeface="Arial Narrow" pitchFamily="34" charset="-122"/>
                <a:cs typeface="Arial Narrow" pitchFamily="34" charset="-120"/>
              </a:rPr>
              <a:t>programme.Details</a:t>
            </a:r>
            <a:r>
              <a:rPr lang="en-US" sz="1500">
                <a:solidFill>
                  <a:srgbClr val="00305D"/>
                </a:solidFill>
                <a:latin typeface="Arial Narrow" pitchFamily="34" charset="0"/>
                <a:ea typeface="Arial Narrow" pitchFamily="34" charset="-122"/>
                <a:cs typeface="Arial Narrow" pitchFamily="34" charset="-120"/>
              </a:rPr>
              <a:t> of membership or affiliation with any political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pressure group, lobbying </a:t>
            </a:r>
            <a:r>
              <a:rPr lang="en-US" sz="1500" err="1">
                <a:solidFill>
                  <a:srgbClr val="00305D"/>
                </a:solidFill>
                <a:latin typeface="Arial Narrow" pitchFamily="34" charset="0"/>
                <a:ea typeface="Arial Narrow" pitchFamily="34" charset="-122"/>
                <a:cs typeface="Arial Narrow" pitchFamily="34" charset="-120"/>
              </a:rPr>
              <a:t>organisation</a:t>
            </a:r>
            <a:r>
              <a:rPr lang="en-US" sz="1500">
                <a:solidFill>
                  <a:srgbClr val="00305D"/>
                </a:solidFill>
                <a:latin typeface="Arial Narrow" pitchFamily="34" charset="0"/>
                <a:ea typeface="Arial Narrow" pitchFamily="34" charset="-122"/>
                <a:cs typeface="Arial Narrow" pitchFamily="34" charset="-120"/>
              </a:rPr>
              <a:t>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1886094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219210940"/>
      </p:ext>
    </p:extLst>
  </p:cSld>
  <p:clrMapOvr>
    <a:overrideClrMapping bg1="dk1" tx1="lt1" bg2="dk2" tx2="lt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7854942"/>
      </p:ext>
    </p:extLst>
  </p:cSld>
  <p:clrMapOvr>
    <a:overrideClrMapping bg1="dk1" tx1="lt1" bg2="dk2" tx2="lt2" accent1="accent1" accent2="accent2" accent3="accent3" accent4="accent4" accent5="accent5" accent6="accent6" hlink="hlink" folHlink="folHlink"/>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500433" y="6435731"/>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3" name="Google Shape;19;p14">
            <a:extLst>
              <a:ext uri="{FF2B5EF4-FFF2-40B4-BE49-F238E27FC236}">
                <a16:creationId xmlns:a16="http://schemas.microsoft.com/office/drawing/2014/main" id="{562D556B-24F8-CBEC-9632-3F875AB6823A}"/>
              </a:ext>
            </a:extLst>
          </p:cNvPr>
          <p:cNvSpPr txBox="1">
            <a:spLocks noGrp="1"/>
          </p:cNvSpPr>
          <p:nvPr>
            <p:ph type="subTitle" idx="2"/>
          </p:nvPr>
        </p:nvSpPr>
        <p:spPr>
          <a:xfrm>
            <a:off x="479999" y="797819"/>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000" b="0" i="0" u="none" strike="noStrike" cap="none">
                <a:solidFill>
                  <a:srgbClr val="002557"/>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Google Shape;18;p14">
            <a:extLst>
              <a:ext uri="{FF2B5EF4-FFF2-40B4-BE49-F238E27FC236}">
                <a16:creationId xmlns:a16="http://schemas.microsoft.com/office/drawing/2014/main" id="{781778B5-C240-A291-A12D-29300712B964}"/>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200" b="1" i="0" u="none" strike="noStrike" cap="none">
                <a:solidFill>
                  <a:srgbClr val="002557"/>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8" name="Google Shape;17;p14">
            <a:extLst>
              <a:ext uri="{FF2B5EF4-FFF2-40B4-BE49-F238E27FC236}">
                <a16:creationId xmlns:a16="http://schemas.microsoft.com/office/drawing/2014/main" id="{74C92AF3-DA07-D02E-004A-B80AE8F88D32}"/>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Arial" panose="020B0604020202020204" pitchFamily="34" charset="0"/>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453960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2582630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845560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7108586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8548569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83487545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8832742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0501419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227196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98476349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0098595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5341497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67043999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10712127" y="6159177"/>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148480" y="6434665"/>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sz="1200"/>
            </a:br>
            <a:r>
              <a:rPr lang="en-US" sz="1500">
                <a:solidFill>
                  <a:srgbClr val="FFFFFF"/>
                </a:solidFill>
                <a:latin typeface="Arial Narrow" pitchFamily="34" charset="0"/>
                <a:ea typeface="Arial Narrow" pitchFamily="34" charset="-122"/>
                <a:cs typeface="Arial Narrow" pitchFamily="34" charset="-120"/>
              </a:rPr>
              <a:t>T. +41 (0)91 973 19 00</a:t>
            </a:r>
            <a:br>
              <a:rPr sz="1200"/>
            </a:br>
            <a:r>
              <a:rPr lang="en-US" sz="1500">
                <a:solidFill>
                  <a:srgbClr val="FFFFFF"/>
                </a:solidFill>
                <a:latin typeface="Arial Narrow" pitchFamily="34" charset="0"/>
                <a:ea typeface="Arial Narrow" pitchFamily="34" charset="-122"/>
                <a:cs typeface="Arial Narrow" pitchFamily="34" charset="-120"/>
              </a:rPr>
              <a:t>esmo@esmo.org</a:t>
            </a:r>
            <a:br>
              <a:rPr sz="1200"/>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52832614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392" y="4257675"/>
            <a:ext cx="10001526" cy="685800"/>
          </a:xfrm>
        </p:spPr>
        <p:txBody>
          <a:bodyPr lIns="0" tIns="45720" rIns="0">
            <a:noAutofit/>
          </a:bodyPr>
          <a:lstStyle>
            <a:lvl1pPr marL="0" indent="0" algn="l">
              <a:lnSpc>
                <a:spcPct val="80000"/>
              </a:lnSpc>
              <a:spcBef>
                <a:spcPts val="0"/>
              </a:spcBef>
              <a:buNone/>
              <a:defRPr sz="2400" b="0" cap="all" baseline="0">
                <a:solidFill>
                  <a:schemeClr val="accent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9" name="Rectangle 8"/>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pic>
        <p:nvPicPr>
          <p:cNvPr id="7" name="Picture 6">
            <a:extLst>
              <a:ext uri="{FF2B5EF4-FFF2-40B4-BE49-F238E27FC236}">
                <a16:creationId xmlns:a16="http://schemas.microsoft.com/office/drawing/2014/main" id="{876DE492-4088-D4A4-E11C-22CA70488472}"/>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413624154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_with full bleed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tx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pic>
        <p:nvPicPr>
          <p:cNvPr id="6" name="Picture 5">
            <a:extLst>
              <a:ext uri="{FF2B5EF4-FFF2-40B4-BE49-F238E27FC236}">
                <a16:creationId xmlns:a16="http://schemas.microsoft.com/office/drawing/2014/main" id="{D24BA3CC-1785-099B-9C2F-6EEAC88C3000}"/>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12281889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reserve="1">
  <p:cSld name="Dynamic Blue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CAC9F1-D503-6C92-7741-8F0E00E92764}"/>
              </a:ext>
            </a:extLst>
          </p:cNvPr>
          <p:cNvPicPr>
            <a:picLocks noChangeAspect="1"/>
          </p:cNvPicPr>
          <p:nvPr userDrawn="1"/>
        </p:nvPicPr>
        <p:blipFill>
          <a:blip r:embed="rId2"/>
          <a:stretch>
            <a:fillRect/>
          </a:stretch>
        </p:blipFill>
        <p:spPr>
          <a:xfrm>
            <a:off x="1" y="1786"/>
            <a:ext cx="12192000" cy="6856214"/>
          </a:xfrm>
          <a:prstGeom prst="rect">
            <a:avLst/>
          </a:prstGeom>
        </p:spPr>
      </p:pic>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bg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bg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5" name="TextBox 4">
            <a:extLst>
              <a:ext uri="{FF2B5EF4-FFF2-40B4-BE49-F238E27FC236}">
                <a16:creationId xmlns:a16="http://schemas.microsoft.com/office/drawing/2014/main" id="{CE8CF814-30EA-D02D-D022-F9D826393C21}"/>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solidFill>
              </a:rPr>
              <a:t>©</a:t>
            </a:r>
            <a:fld id="{D558B60A-1145-4F0A-8AF7-E7E89EA3B390}" type="datetimeyyyy">
              <a:rPr lang="en-US" sz="700" smtClean="0">
                <a:solidFill>
                  <a:schemeClr val="bg1"/>
                </a:solidFill>
              </a:rPr>
              <a:t>2026</a:t>
            </a:fld>
            <a:r>
              <a:rPr lang="en-US" sz="700" dirty="0">
                <a:solidFill>
                  <a:schemeClr val="bg1"/>
                </a:solidFill>
              </a:rPr>
              <a:t> Mayo Foundation for Medical Education and Research  |  slide-</a:t>
            </a:r>
            <a:fld id="{D445C29B-035B-48ED-941F-A66A11A8A322}" type="slidenum">
              <a:rPr lang="en-US" sz="700" smtClean="0">
                <a:solidFill>
                  <a:schemeClr val="bg1"/>
                </a:solidFill>
              </a:rPr>
              <a:pPr lvl="0"/>
              <a:t>‹#›</a:t>
            </a:fld>
            <a:endParaRPr lang="en-US" sz="700" dirty="0">
              <a:solidFill>
                <a:schemeClr val="bg1"/>
              </a:solidFill>
            </a:endParaRPr>
          </a:p>
        </p:txBody>
      </p:sp>
      <p:pic>
        <p:nvPicPr>
          <p:cNvPr id="8" name="Picture 7">
            <a:extLst>
              <a:ext uri="{FF2B5EF4-FFF2-40B4-BE49-F238E27FC236}">
                <a16:creationId xmlns:a16="http://schemas.microsoft.com/office/drawing/2014/main" id="{D13AFB36-C93F-32CD-6B3C-02F778D3CD3A}"/>
              </a:ext>
            </a:extLst>
          </p:cNvPr>
          <p:cNvPicPr>
            <a:picLocks noChangeAspect="1"/>
          </p:cNvPicPr>
          <p:nvPr userDrawn="1"/>
        </p:nvPicPr>
        <p:blipFill>
          <a:blip r:embed="rId3"/>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414254402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_60/40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89" y="2854325"/>
            <a:ext cx="5881124"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1" y="4257675"/>
            <a:ext cx="5881124" cy="685800"/>
          </a:xfrm>
        </p:spPr>
        <p:txBody>
          <a:bodyPr lIns="0" tIns="45720" rIns="0">
            <a:noAutofit/>
          </a:bodyPr>
          <a:lstStyle>
            <a:lvl1pPr marL="0" indent="0" algn="l">
              <a:lnSpc>
                <a:spcPct val="80000"/>
              </a:lnSpc>
              <a:spcBef>
                <a:spcPts val="0"/>
              </a:spcBef>
              <a:buNone/>
              <a:defRPr sz="2400" b="0" cap="all" baseline="0">
                <a:solidFill>
                  <a:schemeClr val="accent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7" name="Picture Placeholder 6"/>
          <p:cNvSpPr>
            <a:spLocks noGrp="1"/>
          </p:cNvSpPr>
          <p:nvPr>
            <p:ph type="pic" sz="quarter" idx="12"/>
          </p:nvPr>
        </p:nvSpPr>
        <p:spPr>
          <a:xfrm>
            <a:off x="7226595" y="0"/>
            <a:ext cx="4965405" cy="6858000"/>
          </a:xfrm>
          <a:ln>
            <a:noFill/>
          </a:ln>
        </p:spPr>
        <p:txBody>
          <a:bodyPr/>
          <a:lstStyle>
            <a:lvl1pPr marL="0" indent="0">
              <a:buNone/>
              <a:defRPr/>
            </a:lvl1pPr>
          </a:lstStyle>
          <a:p>
            <a:r>
              <a:rPr lang="en-US"/>
              <a:t>Click icon to add picture</a:t>
            </a:r>
          </a:p>
        </p:txBody>
      </p:sp>
      <p:sp>
        <p:nvSpPr>
          <p:cNvPr id="10" name="Rectangle 9"/>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pic>
        <p:nvPicPr>
          <p:cNvPr id="6" name="Picture 5">
            <a:extLst>
              <a:ext uri="{FF2B5EF4-FFF2-40B4-BE49-F238E27FC236}">
                <a16:creationId xmlns:a16="http://schemas.microsoft.com/office/drawing/2014/main" id="{934C1DF5-8A82-8272-372A-63CA0047D4D4}"/>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2502464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resenter Bio">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37699951-E944-7166-8E85-BCAF2C523958}"/>
              </a:ext>
            </a:extLst>
          </p:cNvPr>
          <p:cNvSpPr>
            <a:spLocks noGrp="1"/>
          </p:cNvSpPr>
          <p:nvPr>
            <p:ph type="body" sz="quarter" idx="17"/>
          </p:nvPr>
        </p:nvSpPr>
        <p:spPr>
          <a:xfrm>
            <a:off x="973392" y="2714625"/>
            <a:ext cx="4774855" cy="357188"/>
          </a:xfrm>
        </p:spPr>
        <p:txBody>
          <a:bodyPr anchor="b" anchorCtr="0"/>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9" name="Picture Placeholder 8">
            <a:extLst>
              <a:ext uri="{FF2B5EF4-FFF2-40B4-BE49-F238E27FC236}">
                <a16:creationId xmlns:a16="http://schemas.microsoft.com/office/drawing/2014/main" id="{097ECC0D-9726-AC27-B563-B357C7ECDAF9}"/>
              </a:ext>
            </a:extLst>
          </p:cNvPr>
          <p:cNvSpPr>
            <a:spLocks noGrp="1"/>
          </p:cNvSpPr>
          <p:nvPr>
            <p:ph type="pic" sz="quarter" idx="13"/>
          </p:nvPr>
        </p:nvSpPr>
        <p:spPr>
          <a:xfrm>
            <a:off x="6096001" y="0"/>
            <a:ext cx="6095999" cy="6858000"/>
          </a:xfrm>
        </p:spPr>
        <p:txBody>
          <a:bodyPr lIns="365760" tIns="274320"/>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536574"/>
            <a:ext cx="4774855" cy="978408"/>
          </a:xfrm>
        </p:spPr>
        <p:txBody>
          <a:bodyPr/>
          <a:lstStyle>
            <a:lvl1pPr>
              <a:defRPr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1" name="Text Placeholder 10">
            <a:extLst>
              <a:ext uri="{FF2B5EF4-FFF2-40B4-BE49-F238E27FC236}">
                <a16:creationId xmlns:a16="http://schemas.microsoft.com/office/drawing/2014/main" id="{8D1F8B54-E896-F7BA-1399-C4F7D8AA8588}"/>
              </a:ext>
            </a:extLst>
          </p:cNvPr>
          <p:cNvSpPr>
            <a:spLocks noGrp="1"/>
          </p:cNvSpPr>
          <p:nvPr>
            <p:ph type="body" sz="quarter" idx="14"/>
          </p:nvPr>
        </p:nvSpPr>
        <p:spPr>
          <a:xfrm>
            <a:off x="973392" y="1984375"/>
            <a:ext cx="4774855" cy="730250"/>
          </a:xfrm>
        </p:spPr>
        <p:txBody>
          <a:bodyPr anchor="b" anchorCtr="0"/>
          <a:lstStyle>
            <a:lvl1pPr marL="0" indent="0">
              <a:buNone/>
              <a:defRPr b="1"/>
            </a:lvl1pPr>
          </a:lstStyle>
          <a:p>
            <a:pPr lvl="0"/>
            <a:r>
              <a:rPr lang="en-US"/>
              <a:t>Click to edit Master text styles</a:t>
            </a:r>
          </a:p>
        </p:txBody>
      </p:sp>
      <p:sp>
        <p:nvSpPr>
          <p:cNvPr id="12" name="Text Placeholder 8">
            <a:extLst>
              <a:ext uri="{FF2B5EF4-FFF2-40B4-BE49-F238E27FC236}">
                <a16:creationId xmlns:a16="http://schemas.microsoft.com/office/drawing/2014/main" id="{60346084-E235-17F4-E090-59B38DAF3E70}"/>
              </a:ext>
            </a:extLst>
          </p:cNvPr>
          <p:cNvSpPr>
            <a:spLocks noGrp="1"/>
          </p:cNvSpPr>
          <p:nvPr>
            <p:ph type="body" sz="quarter" idx="15"/>
          </p:nvPr>
        </p:nvSpPr>
        <p:spPr>
          <a:xfrm>
            <a:off x="973392" y="3429000"/>
            <a:ext cx="4774855" cy="1828800"/>
          </a:xfrm>
        </p:spPr>
        <p:txBody>
          <a:bodyPr/>
          <a:lstStyle>
            <a:lvl1pPr marL="0" inden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1115756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White_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2/27/26</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4" name="Picture Placeholder 22">
            <a:extLst>
              <a:ext uri="{FF2B5EF4-FFF2-40B4-BE49-F238E27FC236}">
                <a16:creationId xmlns:a16="http://schemas.microsoft.com/office/drawing/2014/main" id="{E7558D24-C3F2-9D09-228B-BB86E32257C9}"/>
              </a:ext>
            </a:extLst>
          </p:cNvPr>
          <p:cNvSpPr>
            <a:spLocks noGrp="1"/>
          </p:cNvSpPr>
          <p:nvPr>
            <p:ph type="pic" sz="quarter" idx="12"/>
          </p:nvPr>
        </p:nvSpPr>
        <p:spPr>
          <a:xfrm>
            <a:off x="978949"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p:cNvSpPr>
          <p:nvPr>
            <p:ph type="pic" sz="quarter" idx="13"/>
          </p:nvPr>
        </p:nvSpPr>
        <p:spPr>
          <a:xfrm>
            <a:off x="3210826"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p:cNvSpPr>
          <p:nvPr>
            <p:ph type="pic" sz="quarter" idx="15"/>
          </p:nvPr>
        </p:nvSpPr>
        <p:spPr>
          <a:xfrm>
            <a:off x="5442703"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p:cNvSpPr>
          <p:nvPr>
            <p:ph type="pic" sz="quarter" idx="16"/>
          </p:nvPr>
        </p:nvSpPr>
        <p:spPr>
          <a:xfrm>
            <a:off x="7674580"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p:cNvSpPr>
          <p:nvPr>
            <p:ph type="pic" sz="quarter" idx="17"/>
          </p:nvPr>
        </p:nvSpPr>
        <p:spPr>
          <a:xfrm>
            <a:off x="9906459"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3212152"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194"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7674581"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5443766"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8"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355154486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Large 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2/27/26</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Picture Placeholder 22">
            <a:extLst>
              <a:ext uri="{FF2B5EF4-FFF2-40B4-BE49-F238E27FC236}">
                <a16:creationId xmlns:a16="http://schemas.microsoft.com/office/drawing/2014/main" id="{E03A4154-A1EC-BD03-17C0-115226616046}"/>
              </a:ext>
            </a:extLst>
          </p:cNvPr>
          <p:cNvSpPr>
            <a:spLocks noGrp="1" noChangeAspect="1"/>
          </p:cNvSpPr>
          <p:nvPr>
            <p:ph type="pic" sz="quarter" idx="12"/>
          </p:nvPr>
        </p:nvSpPr>
        <p:spPr>
          <a:xfrm>
            <a:off x="978949"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9" name="Picture Placeholder 22">
            <a:extLst>
              <a:ext uri="{FF2B5EF4-FFF2-40B4-BE49-F238E27FC236}">
                <a16:creationId xmlns:a16="http://schemas.microsoft.com/office/drawing/2014/main" id="{6096C9B8-F926-FE5D-34C5-49BD8CA72BF5}"/>
              </a:ext>
            </a:extLst>
          </p:cNvPr>
          <p:cNvSpPr>
            <a:spLocks noGrp="1" noChangeAspect="1"/>
          </p:cNvSpPr>
          <p:nvPr>
            <p:ph type="pic" sz="quarter" idx="13"/>
          </p:nvPr>
        </p:nvSpPr>
        <p:spPr>
          <a:xfrm>
            <a:off x="2764451"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20" name="Picture Placeholder 22">
            <a:extLst>
              <a:ext uri="{FF2B5EF4-FFF2-40B4-BE49-F238E27FC236}">
                <a16:creationId xmlns:a16="http://schemas.microsoft.com/office/drawing/2014/main" id="{D9AD9E50-67F9-1803-826D-40AB4A3A9700}"/>
              </a:ext>
            </a:extLst>
          </p:cNvPr>
          <p:cNvSpPr>
            <a:spLocks noGrp="1" noChangeAspect="1"/>
          </p:cNvSpPr>
          <p:nvPr>
            <p:ph type="pic" sz="quarter" idx="15"/>
          </p:nvPr>
        </p:nvSpPr>
        <p:spPr>
          <a:xfrm>
            <a:off x="4549953"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5" name="Picture Placeholder 22">
            <a:extLst>
              <a:ext uri="{FF2B5EF4-FFF2-40B4-BE49-F238E27FC236}">
                <a16:creationId xmlns:a16="http://schemas.microsoft.com/office/drawing/2014/main" id="{6F5639B4-4656-EFF1-ACFF-E0D6645233A1}"/>
              </a:ext>
            </a:extLst>
          </p:cNvPr>
          <p:cNvSpPr>
            <a:spLocks noGrp="1" noChangeAspect="1"/>
          </p:cNvSpPr>
          <p:nvPr>
            <p:ph type="pic" sz="quarter" idx="16"/>
          </p:nvPr>
        </p:nvSpPr>
        <p:spPr>
          <a:xfrm>
            <a:off x="8120957"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6" name="Picture Placeholder 22">
            <a:extLst>
              <a:ext uri="{FF2B5EF4-FFF2-40B4-BE49-F238E27FC236}">
                <a16:creationId xmlns:a16="http://schemas.microsoft.com/office/drawing/2014/main" id="{F55AED64-DA6A-8339-B778-417CD234A139}"/>
              </a:ext>
            </a:extLst>
          </p:cNvPr>
          <p:cNvSpPr>
            <a:spLocks noGrp="1" noChangeAspect="1"/>
          </p:cNvSpPr>
          <p:nvPr>
            <p:ph type="pic" sz="quarter" idx="17"/>
          </p:nvPr>
        </p:nvSpPr>
        <p:spPr>
          <a:xfrm>
            <a:off x="9906459"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7" name="Text Placeholder 35">
            <a:extLst>
              <a:ext uri="{FF2B5EF4-FFF2-40B4-BE49-F238E27FC236}">
                <a16:creationId xmlns:a16="http://schemas.microsoft.com/office/drawing/2014/main" id="{416BE438-B61F-2BC2-FC76-2E74FD4FD11F}"/>
              </a:ext>
            </a:extLst>
          </p:cNvPr>
          <p:cNvSpPr>
            <a:spLocks noGrp="1"/>
          </p:cNvSpPr>
          <p:nvPr>
            <p:ph type="body" sz="quarter" idx="18" hasCustomPrompt="1"/>
          </p:nvPr>
        </p:nvSpPr>
        <p:spPr>
          <a:xfrm>
            <a:off x="2765828"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8" name="Text Placeholder 35">
            <a:extLst>
              <a:ext uri="{FF2B5EF4-FFF2-40B4-BE49-F238E27FC236}">
                <a16:creationId xmlns:a16="http://schemas.microsoft.com/office/drawing/2014/main" id="{1718C8B2-06DD-026C-F813-9412B6C442AA}"/>
              </a:ext>
            </a:extLst>
          </p:cNvPr>
          <p:cNvSpPr>
            <a:spLocks noGrp="1"/>
          </p:cNvSpPr>
          <p:nvPr>
            <p:ph type="body" sz="quarter" idx="19" hasCustomPrompt="1"/>
          </p:nvPr>
        </p:nvSpPr>
        <p:spPr>
          <a:xfrm>
            <a:off x="9906993"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9" name="Text Placeholder 35">
            <a:extLst>
              <a:ext uri="{FF2B5EF4-FFF2-40B4-BE49-F238E27FC236}">
                <a16:creationId xmlns:a16="http://schemas.microsoft.com/office/drawing/2014/main" id="{FFC85773-B9B4-EBD6-917E-72194F44FAA3}"/>
              </a:ext>
            </a:extLst>
          </p:cNvPr>
          <p:cNvSpPr>
            <a:spLocks noGrp="1"/>
          </p:cNvSpPr>
          <p:nvPr>
            <p:ph type="body" sz="quarter" idx="20" hasCustomPrompt="1"/>
          </p:nvPr>
        </p:nvSpPr>
        <p:spPr>
          <a:xfrm>
            <a:off x="8121701"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0" name="Text Placeholder 35">
            <a:extLst>
              <a:ext uri="{FF2B5EF4-FFF2-40B4-BE49-F238E27FC236}">
                <a16:creationId xmlns:a16="http://schemas.microsoft.com/office/drawing/2014/main" id="{B58636B3-BDB5-D546-45BB-E6DF87D19B63}"/>
              </a:ext>
            </a:extLst>
          </p:cNvPr>
          <p:cNvSpPr>
            <a:spLocks noGrp="1"/>
          </p:cNvSpPr>
          <p:nvPr>
            <p:ph type="body" sz="quarter" idx="21" hasCustomPrompt="1"/>
          </p:nvPr>
        </p:nvSpPr>
        <p:spPr>
          <a:xfrm>
            <a:off x="4551119"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1" name="Text Placeholder 35">
            <a:extLst>
              <a:ext uri="{FF2B5EF4-FFF2-40B4-BE49-F238E27FC236}">
                <a16:creationId xmlns:a16="http://schemas.microsoft.com/office/drawing/2014/main" id="{AF07145E-F4F7-436A-B5F3-A889F17CCAD3}"/>
              </a:ext>
            </a:extLst>
          </p:cNvPr>
          <p:cNvSpPr>
            <a:spLocks noGrp="1"/>
          </p:cNvSpPr>
          <p:nvPr>
            <p:ph type="body" sz="quarter" idx="22" hasCustomPrompt="1"/>
          </p:nvPr>
        </p:nvSpPr>
        <p:spPr>
          <a:xfrm>
            <a:off x="980537"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2" name="Picture Placeholder 22">
            <a:extLst>
              <a:ext uri="{FF2B5EF4-FFF2-40B4-BE49-F238E27FC236}">
                <a16:creationId xmlns:a16="http://schemas.microsoft.com/office/drawing/2014/main" id="{B86C10AC-8E41-72DF-0C13-96BFB1192D27}"/>
              </a:ext>
            </a:extLst>
          </p:cNvPr>
          <p:cNvSpPr>
            <a:spLocks noGrp="1" noChangeAspect="1"/>
          </p:cNvSpPr>
          <p:nvPr>
            <p:ph type="pic" sz="quarter" idx="23"/>
          </p:nvPr>
        </p:nvSpPr>
        <p:spPr>
          <a:xfrm>
            <a:off x="6335455"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3" name="Text Placeholder 35">
            <a:extLst>
              <a:ext uri="{FF2B5EF4-FFF2-40B4-BE49-F238E27FC236}">
                <a16:creationId xmlns:a16="http://schemas.microsoft.com/office/drawing/2014/main" id="{3663DB5A-6460-CE1E-32CB-EE35E75E5144}"/>
              </a:ext>
            </a:extLst>
          </p:cNvPr>
          <p:cNvSpPr>
            <a:spLocks noGrp="1"/>
          </p:cNvSpPr>
          <p:nvPr>
            <p:ph type="body" sz="quarter" idx="24" hasCustomPrompt="1"/>
          </p:nvPr>
        </p:nvSpPr>
        <p:spPr>
          <a:xfrm>
            <a:off x="6336410"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4" name="Picture Placeholder 22">
            <a:extLst>
              <a:ext uri="{FF2B5EF4-FFF2-40B4-BE49-F238E27FC236}">
                <a16:creationId xmlns:a16="http://schemas.microsoft.com/office/drawing/2014/main" id="{D0E2F85F-CA0E-0EFB-985F-9985EE89042A}"/>
              </a:ext>
            </a:extLst>
          </p:cNvPr>
          <p:cNvSpPr>
            <a:spLocks noGrp="1" noChangeAspect="1"/>
          </p:cNvSpPr>
          <p:nvPr>
            <p:ph type="pic" sz="quarter" idx="25"/>
          </p:nvPr>
        </p:nvSpPr>
        <p:spPr>
          <a:xfrm>
            <a:off x="978949"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5" name="Picture Placeholder 22">
            <a:extLst>
              <a:ext uri="{FF2B5EF4-FFF2-40B4-BE49-F238E27FC236}">
                <a16:creationId xmlns:a16="http://schemas.microsoft.com/office/drawing/2014/main" id="{AE9110EE-A0D8-8E05-4714-256413B5D186}"/>
              </a:ext>
            </a:extLst>
          </p:cNvPr>
          <p:cNvSpPr>
            <a:spLocks noGrp="1" noChangeAspect="1"/>
          </p:cNvSpPr>
          <p:nvPr>
            <p:ph type="pic" sz="quarter" idx="26"/>
          </p:nvPr>
        </p:nvSpPr>
        <p:spPr>
          <a:xfrm>
            <a:off x="2764451"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6" name="Picture Placeholder 22">
            <a:extLst>
              <a:ext uri="{FF2B5EF4-FFF2-40B4-BE49-F238E27FC236}">
                <a16:creationId xmlns:a16="http://schemas.microsoft.com/office/drawing/2014/main" id="{09BF1A41-360D-4333-4297-303B5B792AD1}"/>
              </a:ext>
            </a:extLst>
          </p:cNvPr>
          <p:cNvSpPr>
            <a:spLocks noGrp="1" noChangeAspect="1"/>
          </p:cNvSpPr>
          <p:nvPr>
            <p:ph type="pic" sz="quarter" idx="27"/>
          </p:nvPr>
        </p:nvSpPr>
        <p:spPr>
          <a:xfrm>
            <a:off x="4549953"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7" name="Picture Placeholder 22">
            <a:extLst>
              <a:ext uri="{FF2B5EF4-FFF2-40B4-BE49-F238E27FC236}">
                <a16:creationId xmlns:a16="http://schemas.microsoft.com/office/drawing/2014/main" id="{9A657E46-4CE6-9A1D-CB7D-5B1661FC9472}"/>
              </a:ext>
            </a:extLst>
          </p:cNvPr>
          <p:cNvSpPr>
            <a:spLocks noGrp="1" noChangeAspect="1"/>
          </p:cNvSpPr>
          <p:nvPr>
            <p:ph type="pic" sz="quarter" idx="28"/>
          </p:nvPr>
        </p:nvSpPr>
        <p:spPr>
          <a:xfrm>
            <a:off x="8120957"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8" name="Picture Placeholder 22">
            <a:extLst>
              <a:ext uri="{FF2B5EF4-FFF2-40B4-BE49-F238E27FC236}">
                <a16:creationId xmlns:a16="http://schemas.microsoft.com/office/drawing/2014/main" id="{211623EB-574A-EEE0-399C-F3388A781F65}"/>
              </a:ext>
            </a:extLst>
          </p:cNvPr>
          <p:cNvSpPr>
            <a:spLocks noGrp="1" noChangeAspect="1"/>
          </p:cNvSpPr>
          <p:nvPr>
            <p:ph type="pic" sz="quarter" idx="29"/>
          </p:nvPr>
        </p:nvSpPr>
        <p:spPr>
          <a:xfrm>
            <a:off x="9906459"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9" name="Text Placeholder 35">
            <a:extLst>
              <a:ext uri="{FF2B5EF4-FFF2-40B4-BE49-F238E27FC236}">
                <a16:creationId xmlns:a16="http://schemas.microsoft.com/office/drawing/2014/main" id="{A67EB585-53CD-EC5F-3AF9-BF79B5017102}"/>
              </a:ext>
            </a:extLst>
          </p:cNvPr>
          <p:cNvSpPr>
            <a:spLocks noGrp="1"/>
          </p:cNvSpPr>
          <p:nvPr>
            <p:ph type="body" sz="quarter" idx="30" hasCustomPrompt="1"/>
          </p:nvPr>
        </p:nvSpPr>
        <p:spPr>
          <a:xfrm>
            <a:off x="2765828"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0" name="Text Placeholder 35">
            <a:extLst>
              <a:ext uri="{FF2B5EF4-FFF2-40B4-BE49-F238E27FC236}">
                <a16:creationId xmlns:a16="http://schemas.microsoft.com/office/drawing/2014/main" id="{7E8902CD-83D0-98B2-8EB7-06ABB2FB29C7}"/>
              </a:ext>
            </a:extLst>
          </p:cNvPr>
          <p:cNvSpPr>
            <a:spLocks noGrp="1"/>
          </p:cNvSpPr>
          <p:nvPr>
            <p:ph type="body" sz="quarter" idx="31" hasCustomPrompt="1"/>
          </p:nvPr>
        </p:nvSpPr>
        <p:spPr>
          <a:xfrm>
            <a:off x="9906993"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1" name="Text Placeholder 35">
            <a:extLst>
              <a:ext uri="{FF2B5EF4-FFF2-40B4-BE49-F238E27FC236}">
                <a16:creationId xmlns:a16="http://schemas.microsoft.com/office/drawing/2014/main" id="{0222283B-C6B5-01A4-94A1-DD09D75796C1}"/>
              </a:ext>
            </a:extLst>
          </p:cNvPr>
          <p:cNvSpPr>
            <a:spLocks noGrp="1"/>
          </p:cNvSpPr>
          <p:nvPr>
            <p:ph type="body" sz="quarter" idx="32" hasCustomPrompt="1"/>
          </p:nvPr>
        </p:nvSpPr>
        <p:spPr>
          <a:xfrm>
            <a:off x="8121701"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2" name="Text Placeholder 35">
            <a:extLst>
              <a:ext uri="{FF2B5EF4-FFF2-40B4-BE49-F238E27FC236}">
                <a16:creationId xmlns:a16="http://schemas.microsoft.com/office/drawing/2014/main" id="{DC414C6C-0815-819B-7B12-A0E837CC9983}"/>
              </a:ext>
            </a:extLst>
          </p:cNvPr>
          <p:cNvSpPr>
            <a:spLocks noGrp="1"/>
          </p:cNvSpPr>
          <p:nvPr>
            <p:ph type="body" sz="quarter" idx="33" hasCustomPrompt="1"/>
          </p:nvPr>
        </p:nvSpPr>
        <p:spPr>
          <a:xfrm>
            <a:off x="4551119"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3" name="Text Placeholder 35">
            <a:extLst>
              <a:ext uri="{FF2B5EF4-FFF2-40B4-BE49-F238E27FC236}">
                <a16:creationId xmlns:a16="http://schemas.microsoft.com/office/drawing/2014/main" id="{12A13BFD-511E-6272-662C-FB4EE4658367}"/>
              </a:ext>
            </a:extLst>
          </p:cNvPr>
          <p:cNvSpPr>
            <a:spLocks noGrp="1"/>
          </p:cNvSpPr>
          <p:nvPr>
            <p:ph type="body" sz="quarter" idx="34" hasCustomPrompt="1"/>
          </p:nvPr>
        </p:nvSpPr>
        <p:spPr>
          <a:xfrm>
            <a:off x="980537"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4" name="Picture Placeholder 22">
            <a:extLst>
              <a:ext uri="{FF2B5EF4-FFF2-40B4-BE49-F238E27FC236}">
                <a16:creationId xmlns:a16="http://schemas.microsoft.com/office/drawing/2014/main" id="{9DF4B2AF-8CF5-2250-11CE-90266F2CAC56}"/>
              </a:ext>
            </a:extLst>
          </p:cNvPr>
          <p:cNvSpPr>
            <a:spLocks noGrp="1" noChangeAspect="1"/>
          </p:cNvSpPr>
          <p:nvPr>
            <p:ph type="pic" sz="quarter" idx="35"/>
          </p:nvPr>
        </p:nvSpPr>
        <p:spPr>
          <a:xfrm>
            <a:off x="6335455"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55" name="Text Placeholder 35">
            <a:extLst>
              <a:ext uri="{FF2B5EF4-FFF2-40B4-BE49-F238E27FC236}">
                <a16:creationId xmlns:a16="http://schemas.microsoft.com/office/drawing/2014/main" id="{BCB63897-9C12-8CB4-A248-21C0D70889E4}"/>
              </a:ext>
            </a:extLst>
          </p:cNvPr>
          <p:cNvSpPr>
            <a:spLocks noGrp="1"/>
          </p:cNvSpPr>
          <p:nvPr>
            <p:ph type="body" sz="quarter" idx="36" hasCustomPrompt="1"/>
          </p:nvPr>
        </p:nvSpPr>
        <p:spPr>
          <a:xfrm>
            <a:off x="6336410"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293245374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Content Placeholder 2"/>
          <p:cNvSpPr>
            <a:spLocks noGrp="1"/>
          </p:cNvSpPr>
          <p:nvPr>
            <p:ph idx="1"/>
          </p:nvPr>
        </p:nvSpPr>
        <p:spPr>
          <a:xfrm>
            <a:off x="973392" y="1590674"/>
            <a:ext cx="10001526" cy="43891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40243078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RS_ques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4"/>
            <a:ext cx="10001526" cy="1645920"/>
          </a:xfrm>
        </p:spPr>
        <p:txBody>
          <a:bodyPr/>
          <a:lstStyle>
            <a:lvl1pPr>
              <a:defRPr sz="2400" cap="none" baseline="0"/>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Text Placeholder 8">
            <a:extLst>
              <a:ext uri="{FF2B5EF4-FFF2-40B4-BE49-F238E27FC236}">
                <a16:creationId xmlns:a16="http://schemas.microsoft.com/office/drawing/2014/main" id="{DFF88AD6-1349-BDB1-CA0E-BCBBB76DB821}"/>
              </a:ext>
            </a:extLst>
          </p:cNvPr>
          <p:cNvSpPr>
            <a:spLocks noGrp="1"/>
          </p:cNvSpPr>
          <p:nvPr>
            <p:ph type="body" sz="quarter" idx="13"/>
          </p:nvPr>
        </p:nvSpPr>
        <p:spPr>
          <a:xfrm>
            <a:off x="973391" y="2746375"/>
            <a:ext cx="10002267" cy="3264408"/>
          </a:xfrm>
        </p:spPr>
        <p:txBody>
          <a:bodyPr/>
          <a:lstStyle>
            <a:lvl1pPr marL="457200" indent="-457200">
              <a:buFont typeface="+mj-lt"/>
              <a:buAutoNum type="arabicPeriod"/>
              <a:defRPr/>
            </a:lvl1pPr>
          </a:lstStyle>
          <a:p>
            <a:pPr lvl="0"/>
            <a:r>
              <a:rPr lang="en-US" dirty="0"/>
              <a:t>Click to edit Master text styles</a:t>
            </a:r>
          </a:p>
        </p:txBody>
      </p:sp>
    </p:spTree>
    <p:extLst>
      <p:ext uri="{BB962C8B-B14F-4D97-AF65-F5344CB8AC3E}">
        <p14:creationId xmlns:p14="http://schemas.microsoft.com/office/powerpoint/2010/main" val="48624708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trategy and Vi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4DD35E-FB4F-F627-C439-D4CCC4B34D04}"/>
              </a:ext>
            </a:extLst>
          </p:cNvPr>
          <p:cNvSpPr/>
          <p:nvPr userDrawn="1"/>
        </p:nvSpPr>
        <p:spPr>
          <a:xfrm>
            <a:off x="1" y="457200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endParaRPr lang="en-US" sz="2000" dirty="0"/>
          </a:p>
        </p:txBody>
      </p:sp>
      <p:sp>
        <p:nvSpPr>
          <p:cNvPr id="2" name="Title 1"/>
          <p:cNvSpPr>
            <a:spLocks noGrp="1"/>
          </p:cNvSpPr>
          <p:nvPr>
            <p:ph type="title" hasCustomPrompt="1"/>
          </p:nvPr>
        </p:nvSpPr>
        <p:spPr/>
        <p:txBody>
          <a:body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9" name="Text Placeholder 9"/>
          <p:cNvSpPr>
            <a:spLocks noGrp="1"/>
          </p:cNvSpPr>
          <p:nvPr>
            <p:ph type="body" sz="quarter" idx="13"/>
          </p:nvPr>
        </p:nvSpPr>
        <p:spPr>
          <a:xfrm>
            <a:off x="973392"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Text Placeholder 14"/>
          <p:cNvSpPr>
            <a:spLocks noGrp="1"/>
          </p:cNvSpPr>
          <p:nvPr>
            <p:ph type="body" sz="quarter" idx="17"/>
          </p:nvPr>
        </p:nvSpPr>
        <p:spPr>
          <a:xfrm>
            <a:off x="973392"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0" name="Content Placeholder 2"/>
          <p:cNvSpPr>
            <a:spLocks noGrp="1"/>
          </p:cNvSpPr>
          <p:nvPr>
            <p:ph idx="24"/>
          </p:nvPr>
        </p:nvSpPr>
        <p:spPr>
          <a:xfrm>
            <a:off x="973392" y="1883084"/>
            <a:ext cx="10001526" cy="676656"/>
          </a:xfrm>
        </p:spPr>
        <p:txBody>
          <a:bodyPr tIns="91440"/>
          <a:lstStyle>
            <a:lvl1pPr marL="0" indent="0">
              <a:spcBef>
                <a:spcPts val="0"/>
              </a:spcBef>
              <a:buNone/>
              <a:defRPr sz="1800"/>
            </a:lvl1pPr>
            <a:lvl2pPr>
              <a:defRPr sz="1800"/>
            </a:lvl2pPr>
            <a:lvl4pPr marL="1371600" indent="0">
              <a:buNone/>
              <a:defRPr/>
            </a:lvl4pPr>
          </a:lstStyle>
          <a:p>
            <a:pPr lvl="0"/>
            <a:r>
              <a:rPr lang="en-US"/>
              <a:t>Click to edit Master text styles</a:t>
            </a:r>
          </a:p>
          <a:p>
            <a:pPr lvl="1"/>
            <a:r>
              <a:rPr lang="en-US"/>
              <a:t>Second level</a:t>
            </a:r>
          </a:p>
        </p:txBody>
      </p:sp>
      <p:sp>
        <p:nvSpPr>
          <p:cNvPr id="31" name="Text Placeholder 14"/>
          <p:cNvSpPr>
            <a:spLocks noGrp="1"/>
          </p:cNvSpPr>
          <p:nvPr>
            <p:ph type="body" sz="quarter" idx="25"/>
          </p:nvPr>
        </p:nvSpPr>
        <p:spPr>
          <a:xfrm>
            <a:off x="973498" y="1597025"/>
            <a:ext cx="10004002"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2" name="Content Placeholder 2"/>
          <p:cNvSpPr>
            <a:spLocks noGrp="1"/>
          </p:cNvSpPr>
          <p:nvPr>
            <p:ph idx="26"/>
          </p:nvPr>
        </p:nvSpPr>
        <p:spPr>
          <a:xfrm>
            <a:off x="973392" y="3141662"/>
            <a:ext cx="10001526" cy="960120"/>
          </a:xfrm>
        </p:spPr>
        <p:txBody>
          <a:bodyPr tIns="91440"/>
          <a:lstStyle>
            <a:lvl1pPr marL="171450" indent="-171450">
              <a:spcBef>
                <a:spcPts val="600"/>
              </a:spcBef>
              <a:buFont typeface="Arial" panose="020B0604020202020204" pitchFamily="34" charset="0"/>
              <a:buChar char="•"/>
              <a:defRPr sz="1800"/>
            </a:lvl1pPr>
            <a:lvl2pPr>
              <a:spcBef>
                <a:spcPts val="600"/>
              </a:spcBef>
              <a:defRPr sz="1800"/>
            </a:lvl2pPr>
            <a:lvl3pPr>
              <a:spcBef>
                <a:spcPts val="600"/>
              </a:spcBef>
              <a:defRPr sz="1800"/>
            </a:lvl3pPr>
            <a:lvl4pPr marL="1371600" indent="0">
              <a:buNone/>
              <a:defRPr/>
            </a:lvl4pPr>
          </a:lstStyle>
          <a:p>
            <a:pPr lvl="0"/>
            <a:r>
              <a:rPr lang="en-US"/>
              <a:t>Click to edit Master text styles</a:t>
            </a:r>
          </a:p>
          <a:p>
            <a:pPr lvl="1"/>
            <a:r>
              <a:rPr lang="en-US"/>
              <a:t>Second level</a:t>
            </a:r>
          </a:p>
          <a:p>
            <a:pPr lvl="2"/>
            <a:r>
              <a:rPr lang="en-US"/>
              <a:t>Third level</a:t>
            </a:r>
          </a:p>
        </p:txBody>
      </p:sp>
      <p:sp>
        <p:nvSpPr>
          <p:cNvPr id="33" name="Text Placeholder 14"/>
          <p:cNvSpPr>
            <a:spLocks noGrp="1"/>
          </p:cNvSpPr>
          <p:nvPr>
            <p:ph type="body" sz="quarter" idx="27"/>
          </p:nvPr>
        </p:nvSpPr>
        <p:spPr>
          <a:xfrm>
            <a:off x="973498" y="2854594"/>
            <a:ext cx="10004002"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18" name="Rectangle 1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39" name="Text Placeholder 9">
            <a:extLst>
              <a:ext uri="{FF2B5EF4-FFF2-40B4-BE49-F238E27FC236}">
                <a16:creationId xmlns:a16="http://schemas.microsoft.com/office/drawing/2014/main" id="{FCC8D01A-387E-4280-BAC9-38B7E85D8FA3}"/>
              </a:ext>
            </a:extLst>
          </p:cNvPr>
          <p:cNvSpPr>
            <a:spLocks noGrp="1"/>
          </p:cNvSpPr>
          <p:nvPr>
            <p:ph type="body" sz="quarter" idx="31"/>
          </p:nvPr>
        </p:nvSpPr>
        <p:spPr>
          <a:xfrm>
            <a:off x="3547580"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0" name="Text Placeholder 14">
            <a:extLst>
              <a:ext uri="{FF2B5EF4-FFF2-40B4-BE49-F238E27FC236}">
                <a16:creationId xmlns:a16="http://schemas.microsoft.com/office/drawing/2014/main" id="{F7757D34-B5B7-47AD-AE62-7CA370616FC6}"/>
              </a:ext>
            </a:extLst>
          </p:cNvPr>
          <p:cNvSpPr>
            <a:spLocks noGrp="1"/>
          </p:cNvSpPr>
          <p:nvPr>
            <p:ph type="body" sz="quarter" idx="32"/>
          </p:nvPr>
        </p:nvSpPr>
        <p:spPr>
          <a:xfrm>
            <a:off x="3547580"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1" name="Text Placeholder 9">
            <a:extLst>
              <a:ext uri="{FF2B5EF4-FFF2-40B4-BE49-F238E27FC236}">
                <a16:creationId xmlns:a16="http://schemas.microsoft.com/office/drawing/2014/main" id="{88BF64C8-02FA-4776-8DE9-948D42CD3845}"/>
              </a:ext>
            </a:extLst>
          </p:cNvPr>
          <p:cNvSpPr>
            <a:spLocks noGrp="1"/>
          </p:cNvSpPr>
          <p:nvPr>
            <p:ph type="body" sz="quarter" idx="33"/>
          </p:nvPr>
        </p:nvSpPr>
        <p:spPr>
          <a:xfrm>
            <a:off x="6121767"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2" name="Text Placeholder 14">
            <a:extLst>
              <a:ext uri="{FF2B5EF4-FFF2-40B4-BE49-F238E27FC236}">
                <a16:creationId xmlns:a16="http://schemas.microsoft.com/office/drawing/2014/main" id="{4F53157F-C018-4A4C-82A0-9761BBAC5B28}"/>
              </a:ext>
            </a:extLst>
          </p:cNvPr>
          <p:cNvSpPr>
            <a:spLocks noGrp="1"/>
          </p:cNvSpPr>
          <p:nvPr>
            <p:ph type="body" sz="quarter" idx="34"/>
          </p:nvPr>
        </p:nvSpPr>
        <p:spPr>
          <a:xfrm>
            <a:off x="6121767"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3" name="Text Placeholder 9">
            <a:extLst>
              <a:ext uri="{FF2B5EF4-FFF2-40B4-BE49-F238E27FC236}">
                <a16:creationId xmlns:a16="http://schemas.microsoft.com/office/drawing/2014/main" id="{BE2011B3-D7FA-47F6-B7B0-F9FE6EA46C14}"/>
              </a:ext>
            </a:extLst>
          </p:cNvPr>
          <p:cNvSpPr>
            <a:spLocks noGrp="1"/>
          </p:cNvSpPr>
          <p:nvPr>
            <p:ph type="body" sz="quarter" idx="35"/>
          </p:nvPr>
        </p:nvSpPr>
        <p:spPr>
          <a:xfrm>
            <a:off x="8686526"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4" name="Text Placeholder 14">
            <a:extLst>
              <a:ext uri="{FF2B5EF4-FFF2-40B4-BE49-F238E27FC236}">
                <a16:creationId xmlns:a16="http://schemas.microsoft.com/office/drawing/2014/main" id="{DBAA90D9-8B22-4EB3-AB4B-DA12D85F0CC1}"/>
              </a:ext>
            </a:extLst>
          </p:cNvPr>
          <p:cNvSpPr>
            <a:spLocks noGrp="1"/>
          </p:cNvSpPr>
          <p:nvPr>
            <p:ph type="body" sz="quarter" idx="36"/>
          </p:nvPr>
        </p:nvSpPr>
        <p:spPr>
          <a:xfrm>
            <a:off x="8686526"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6" name="TextBox 5">
            <a:extLst>
              <a:ext uri="{FF2B5EF4-FFF2-40B4-BE49-F238E27FC236}">
                <a16:creationId xmlns:a16="http://schemas.microsoft.com/office/drawing/2014/main" id="{16A774FE-AC1B-3B1E-0C99-F2BD003A2853}"/>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1348290129"/>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earning objective black_gray_bulleted text">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8" name="Text Placeholder 7">
            <a:extLst>
              <a:ext uri="{FF2B5EF4-FFF2-40B4-BE49-F238E27FC236}">
                <a16:creationId xmlns:a16="http://schemas.microsoft.com/office/drawing/2014/main" id="{ACB55729-EDF7-9029-D47E-9714EE558C80}"/>
              </a:ext>
            </a:extLst>
          </p:cNvPr>
          <p:cNvSpPr>
            <a:spLocks noGrp="1"/>
          </p:cNvSpPr>
          <p:nvPr>
            <p:ph type="body" sz="quarter" idx="14"/>
          </p:nvPr>
        </p:nvSpPr>
        <p:spPr>
          <a:xfrm>
            <a:off x="4986048" y="1585913"/>
            <a:ext cx="6683529" cy="3673475"/>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973392" y="2366170"/>
            <a:ext cx="3066261" cy="2125663"/>
          </a:xfrm>
        </p:spPr>
        <p:txBody>
          <a:bodyPr tIns="0" bIns="0" anchor="ctr" anchorCtr="0"/>
          <a:lstStyle>
            <a:lvl1pPr>
              <a:defRPr baseline="0">
                <a:solidFill>
                  <a:schemeClr val="tx1"/>
                </a:solidFill>
              </a:defRPr>
            </a:lvl1pPr>
          </a:lstStyle>
          <a:p>
            <a:r>
              <a:rPr lang="en-US" dirty="0"/>
              <a:t>CLICK TO EDIT TIT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TextBox 9"/>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276152542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_image righ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992401" y="0"/>
            <a:ext cx="7199600"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2366170"/>
            <a:ext cx="3656964"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2/27/26</a:t>
            </a:fld>
            <a:endParaRPr lang="en-US"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Text Placeholder 9"/>
          <p:cNvSpPr>
            <a:spLocks noGrp="1"/>
          </p:cNvSpPr>
          <p:nvPr>
            <p:ph type="body" sz="quarter" idx="13"/>
          </p:nvPr>
        </p:nvSpPr>
        <p:spPr>
          <a:xfrm>
            <a:off x="973392" y="4838700"/>
            <a:ext cx="3666492"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406536690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Quote_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99042" y="2366170"/>
            <a:ext cx="3656964"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10" name="Text Placeholder 9"/>
          <p:cNvSpPr>
            <a:spLocks noGrp="1"/>
          </p:cNvSpPr>
          <p:nvPr>
            <p:ph type="body" sz="quarter" idx="13"/>
          </p:nvPr>
        </p:nvSpPr>
        <p:spPr>
          <a:xfrm>
            <a:off x="7399042" y="4838700"/>
            <a:ext cx="3666492"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Picture Placeholder 7"/>
          <p:cNvSpPr>
            <a:spLocks noGrp="1"/>
          </p:cNvSpPr>
          <p:nvPr>
            <p:ph type="pic" sz="quarter" idx="12"/>
          </p:nvPr>
        </p:nvSpPr>
        <p:spPr>
          <a:xfrm>
            <a:off x="0" y="0"/>
            <a:ext cx="6878079" cy="6858000"/>
          </a:xfrm>
        </p:spPr>
        <p:txBody>
          <a:bodyPr/>
          <a:lstStyle>
            <a:lvl1pPr marL="0" indent="0">
              <a:buNone/>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2/27/26</a:t>
            </a:fld>
            <a:endParaRPr lang="en-US" dirty="0"/>
          </a:p>
        </p:txBody>
      </p:sp>
      <p:sp>
        <p:nvSpPr>
          <p:cNvPr id="5" name="Footer Placeholder 4"/>
          <p:cNvSpPr>
            <a:spLocks noGrp="1"/>
          </p:cNvSpPr>
          <p:nvPr>
            <p:ph type="ftr" sz="quarter" idx="11"/>
          </p:nvPr>
        </p:nvSpPr>
        <p:spPr>
          <a:xfrm>
            <a:off x="7231358" y="6135688"/>
            <a:ext cx="4438218" cy="365760"/>
          </a:xfrm>
        </p:spPr>
        <p:txBody>
          <a:bodyPr/>
          <a:lstStyle>
            <a:lvl1pPr>
              <a:defRPr>
                <a:solidFill>
                  <a:schemeClr val="tx1">
                    <a:lumMod val="50000"/>
                    <a:lumOff val="50000"/>
                  </a:schemeClr>
                </a:solidFill>
              </a:defRPr>
            </a:lvl1pPr>
          </a:lstStyle>
          <a:p>
            <a:endParaRPr lang="en-US" dirty="0"/>
          </a:p>
        </p:txBody>
      </p:sp>
      <p:sp>
        <p:nvSpPr>
          <p:cNvPr id="11" name="Rectangle 10">
            <a:extLst>
              <a:ext uri="{FF2B5EF4-FFF2-40B4-BE49-F238E27FC236}">
                <a16:creationId xmlns:a16="http://schemas.microsoft.com/office/drawing/2014/main" id="{F1503FE5-9572-BFFE-9E98-C018C0150A29}"/>
              </a:ext>
            </a:extLst>
          </p:cNvPr>
          <p:cNvSpPr/>
          <p:nvPr userDrawn="1"/>
        </p:nvSpPr>
        <p:spPr>
          <a:xfrm>
            <a:off x="740857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005263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ull slide 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7" y="3086100"/>
            <a:ext cx="8202420" cy="685800"/>
          </a:xfrm>
        </p:spPr>
        <p:txBody>
          <a:bodyPr anchor="ctr" anchorCtr="0"/>
          <a:lstStyle>
            <a:lvl1pPr algn="l">
              <a:lnSpc>
                <a:spcPct val="100000"/>
              </a:lnSpc>
              <a:defRPr sz="40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tx1"/>
                </a:solidFill>
              </a:defRPr>
            </a:lvl1pPr>
          </a:lstStyle>
          <a:p>
            <a:fld id="{3465F197-B1B8-4584-8B75-5D45B647D250}" type="datetimeFigureOut">
              <a:rPr lang="en-US" smtClean="0"/>
              <a:pPr/>
              <a:t>2/27/26</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chemeClr val="tx1"/>
              </a:solidFill>
            </a:endParaRPr>
          </a:p>
        </p:txBody>
      </p:sp>
    </p:spTree>
    <p:extLst>
      <p:ext uri="{BB962C8B-B14F-4D97-AF65-F5344CB8AC3E}">
        <p14:creationId xmlns:p14="http://schemas.microsoft.com/office/powerpoint/2010/main" val="3710806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0/50 Text_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Content Placeholder 7"/>
          <p:cNvSpPr>
            <a:spLocks noGrp="1"/>
          </p:cNvSpPr>
          <p:nvPr>
            <p:ph sz="quarter" idx="12"/>
          </p:nvPr>
        </p:nvSpPr>
        <p:spPr>
          <a:xfrm>
            <a:off x="6096001" y="0"/>
            <a:ext cx="6095998"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97999198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Image_Text">
    <p:spTree>
      <p:nvGrpSpPr>
        <p:cNvPr id="1" name=""/>
        <p:cNvGrpSpPr/>
        <p:nvPr/>
      </p:nvGrpSpPr>
      <p:grpSpPr>
        <a:xfrm>
          <a:off x="0" y="0"/>
          <a:ext cx="0" cy="0"/>
          <a:chOff x="0" y="0"/>
          <a:chExt cx="0" cy="0"/>
        </a:xfrm>
      </p:grpSpPr>
      <p:sp>
        <p:nvSpPr>
          <p:cNvPr id="8" name="Content Placeholder 7"/>
          <p:cNvSpPr>
            <a:spLocks noGrp="1"/>
          </p:cNvSpPr>
          <p:nvPr>
            <p:ph sz="quarter" idx="12"/>
          </p:nvPr>
        </p:nvSpPr>
        <p:spPr>
          <a:xfrm>
            <a:off x="0" y="0"/>
            <a:ext cx="6096001"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2" name="Title 1"/>
          <p:cNvSpPr>
            <a:spLocks noGrp="1"/>
          </p:cNvSpPr>
          <p:nvPr>
            <p:ph type="title" hasCustomPrompt="1"/>
          </p:nvPr>
        </p:nvSpPr>
        <p:spPr>
          <a:xfrm>
            <a:off x="6442166" y="536575"/>
            <a:ext cx="5227411" cy="978738"/>
          </a:xfrm>
        </p:spPr>
        <p:txBody>
          <a:bodyPr>
            <a:noAutofit/>
          </a:bodyPr>
          <a:lstStyle>
            <a:lvl1pPr>
              <a:defRPr>
                <a:solidFill>
                  <a:schemeClr val="tx1"/>
                </a:solidFill>
              </a:defRPr>
            </a:lvl1pPr>
          </a:lstStyle>
          <a:p>
            <a:r>
              <a:rPr lang="en-US" dirty="0"/>
              <a:t>CLICK TO EDIT MASTER TITLE</a:t>
            </a:r>
          </a:p>
        </p:txBody>
      </p:sp>
      <p:sp>
        <p:nvSpPr>
          <p:cNvPr id="3" name="Content Placeholder 2"/>
          <p:cNvSpPr>
            <a:spLocks noGrp="1"/>
          </p:cNvSpPr>
          <p:nvPr>
            <p:ph idx="1"/>
          </p:nvPr>
        </p:nvSpPr>
        <p:spPr>
          <a:xfrm>
            <a:off x="6442166" y="1984375"/>
            <a:ext cx="5227411" cy="3986784"/>
          </a:xfrm>
        </p:spPr>
        <p:txBody>
          <a:bodyPr/>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6442166"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88230465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0/60 Text_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465F197-B1B8-4584-8B75-5D45B647D250}" type="datetimeFigureOut">
              <a:rPr lang="en-US" smtClean="0"/>
              <a:t>2/2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8" name="Content Placeholder 7"/>
          <p:cNvSpPr>
            <a:spLocks noGrp="1"/>
          </p:cNvSpPr>
          <p:nvPr>
            <p:ph sz="quarter" idx="12"/>
          </p:nvPr>
        </p:nvSpPr>
        <p:spPr>
          <a:xfrm>
            <a:off x="4992401" y="0"/>
            <a:ext cx="7199600" cy="6858000"/>
          </a:xfrm>
        </p:spPr>
        <p:txBody>
          <a:bodyPr/>
          <a:lstStyle>
            <a:lvl1pPr marL="0" indent="0">
              <a:buNone/>
              <a:defRPr/>
            </a:lvl1pPr>
          </a:lstStyle>
          <a:p>
            <a:pPr lvl="0"/>
            <a:r>
              <a:rPr lang="en-US"/>
              <a:t>Click to edit Master text styles</a:t>
            </a:r>
          </a:p>
        </p:txBody>
      </p:sp>
      <p:sp>
        <p:nvSpPr>
          <p:cNvPr id="9" name="Content Placeholder 2"/>
          <p:cNvSpPr>
            <a:spLocks noGrp="1"/>
          </p:cNvSpPr>
          <p:nvPr>
            <p:ph sz="half" idx="1"/>
          </p:nvPr>
        </p:nvSpPr>
        <p:spPr>
          <a:xfrm>
            <a:off x="973391" y="1984375"/>
            <a:ext cx="366649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1" y="536575"/>
            <a:ext cx="3666493" cy="1060450"/>
          </a:xfrm>
        </p:spPr>
        <p:txBody>
          <a:body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61341158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0/60 Image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4917" y="536576"/>
            <a:ext cx="6324659"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5344917" y="1984375"/>
            <a:ext cx="6324659"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5344917"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Picture Placeholder 13"/>
          <p:cNvSpPr>
            <a:spLocks noGrp="1"/>
          </p:cNvSpPr>
          <p:nvPr>
            <p:ph type="pic" sz="quarter" idx="12"/>
          </p:nvPr>
        </p:nvSpPr>
        <p:spPr>
          <a:xfrm>
            <a:off x="0" y="0"/>
            <a:ext cx="4992400" cy="68580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6249287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0/40 Text_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465F197-B1B8-4584-8B75-5D45B647D250}" type="datetimeFigureOut">
              <a:rPr lang="en-US" smtClean="0"/>
              <a:t>2/2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8" name="Content Placeholder 7"/>
          <p:cNvSpPr>
            <a:spLocks noGrp="1"/>
          </p:cNvSpPr>
          <p:nvPr>
            <p:ph sz="quarter" idx="12"/>
          </p:nvPr>
        </p:nvSpPr>
        <p:spPr>
          <a:xfrm>
            <a:off x="7226595" y="0"/>
            <a:ext cx="4965405" cy="6858000"/>
          </a:xfrm>
        </p:spPr>
        <p:txBody>
          <a:bodyPr/>
          <a:lstStyle>
            <a:lvl1pPr marL="0" indent="0">
              <a:buNone/>
              <a:defRPr/>
            </a:lvl1pPr>
          </a:lstStyle>
          <a:p>
            <a:pPr lvl="0"/>
            <a:r>
              <a:rPr lang="en-US"/>
              <a:t>Click to edit Master text styles</a:t>
            </a:r>
          </a:p>
        </p:txBody>
      </p:sp>
      <p:sp>
        <p:nvSpPr>
          <p:cNvPr id="9" name="Content Placeholder 2"/>
          <p:cNvSpPr>
            <a:spLocks noGrp="1"/>
          </p:cNvSpPr>
          <p:nvPr>
            <p:ph sz="half" idx="1"/>
          </p:nvPr>
        </p:nvSpPr>
        <p:spPr>
          <a:xfrm>
            <a:off x="973392" y="1984375"/>
            <a:ext cx="589592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2" y="536576"/>
            <a:ext cx="5895923" cy="587375"/>
          </a:xfrm>
        </p:spPr>
        <p:txBody>
          <a:body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91301136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60/40 Image_Text">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6878841"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7226594" y="536575"/>
            <a:ext cx="4442982" cy="978738"/>
          </a:xfrm>
        </p:spPr>
        <p:txBody>
          <a:bodyPr>
            <a:noAutofit/>
          </a:bodyPr>
          <a:lstStyle>
            <a:lvl1pPr>
              <a:defRPr>
                <a:solidFill>
                  <a:schemeClr val="tx1"/>
                </a:solidFill>
              </a:defRPr>
            </a:lvl1pPr>
          </a:lstStyle>
          <a:p>
            <a:r>
              <a:rPr lang="en-US" dirty="0"/>
              <a:t>CLICK TO EDIT MASTER TITLE</a:t>
            </a:r>
          </a:p>
        </p:txBody>
      </p:sp>
      <p:sp>
        <p:nvSpPr>
          <p:cNvPr id="3" name="Content Placeholder 2"/>
          <p:cNvSpPr>
            <a:spLocks noGrp="1"/>
          </p:cNvSpPr>
          <p:nvPr>
            <p:ph idx="1"/>
          </p:nvPr>
        </p:nvSpPr>
        <p:spPr>
          <a:xfrm>
            <a:off x="7226594" y="1984375"/>
            <a:ext cx="4442982"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7226595"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6860910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3086100"/>
            <a:ext cx="10001526" cy="685800"/>
          </a:xfrm>
        </p:spPr>
        <p:txBody>
          <a:bodyPr anchor="t" anchorCtr="0"/>
          <a:lstStyle>
            <a:lvl1pPr algn="l">
              <a:defRPr sz="40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7775351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with 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8" y="2845917"/>
            <a:ext cx="8193633" cy="1397000"/>
          </a:xfrm>
        </p:spPr>
        <p:txBody>
          <a:bodyPr tIns="0" anchor="ctr" anchorCtr="0"/>
          <a:lstStyle>
            <a:lvl1pPr algn="l">
              <a:defRPr sz="4000" b="1" cap="all" baseline="0">
                <a:solidFill>
                  <a:schemeClr val="tx1"/>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2505671"/>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926977718"/>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Header with number_5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096001" y="0"/>
            <a:ext cx="6095999"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4774855"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088687309"/>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Header with number_40/6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4992401" y="0"/>
            <a:ext cx="7199600"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3656964"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593821170"/>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content lower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4" name="Content Placeholder 3"/>
          <p:cNvSpPr>
            <a:spLocks noGrp="1"/>
          </p:cNvSpPr>
          <p:nvPr>
            <p:ph sz="half" idx="2"/>
          </p:nvPr>
        </p:nvSpPr>
        <p:spPr>
          <a:xfrm>
            <a:off x="6096001" y="536576"/>
            <a:ext cx="5573576" cy="1447800"/>
          </a:xfrm>
        </p:spPr>
        <p:txBody>
          <a:bodyPr/>
          <a:lstStyle>
            <a:lvl1pPr marL="0" indent="0">
              <a:lnSpc>
                <a:spcPct val="114000"/>
              </a:lnSpc>
              <a:buNone/>
              <a:defRPr sz="2000"/>
            </a:lvl1pPr>
            <a:lvl2pPr marL="457200" indent="0">
              <a:buNone/>
              <a:defRPr sz="1800"/>
            </a:lvl2pPr>
            <a:lvl3pPr marL="914400" indent="0">
              <a:buNone/>
              <a:defRPr sz="1800"/>
            </a:lvl3pPr>
            <a:lvl4pPr marL="1371600" indent="0">
              <a:buNone/>
              <a:defRPr sz="1800"/>
            </a:lvl4pPr>
            <a:lvl5pPr marL="1828800" indent="0">
              <a:buNone/>
              <a:defRPr sz="1800"/>
            </a:lvl5pPr>
            <a:lvl6pPr>
              <a:defRPr sz="1900"/>
            </a:lvl6pPr>
            <a:lvl7pPr>
              <a:defRPr sz="1900"/>
            </a:lvl7pPr>
            <a:lvl8pPr>
              <a:defRPr sz="1900"/>
            </a:lvl8pPr>
            <a:lvl9pPr>
              <a:defRPr sz="1900"/>
            </a:lvl9pPr>
          </a:lstStyle>
          <a:p>
            <a:pPr lvl="0"/>
            <a:r>
              <a:rPr lang="en-US"/>
              <a:t>Click to edit Master text styles</a:t>
            </a:r>
          </a:p>
        </p:txBody>
      </p:sp>
      <p:sp>
        <p:nvSpPr>
          <p:cNvPr id="5" name="Date Placeholder 4"/>
          <p:cNvSpPr>
            <a:spLocks noGrp="1"/>
          </p:cNvSpPr>
          <p:nvPr>
            <p:ph type="dt" sz="half" idx="10"/>
          </p:nvPr>
        </p:nvSpPr>
        <p:spPr/>
        <p:txBody>
          <a:bodyPr/>
          <a:lstStyle/>
          <a:p>
            <a:fld id="{3465F197-B1B8-4584-8B75-5D45B647D250}" type="datetimeFigureOut">
              <a:rPr lang="en-US" smtClean="0"/>
              <a:t>2/2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Picture Placeholder 10"/>
          <p:cNvSpPr>
            <a:spLocks noGrp="1"/>
          </p:cNvSpPr>
          <p:nvPr>
            <p:ph type="pic" sz="quarter" idx="12"/>
          </p:nvPr>
        </p:nvSpPr>
        <p:spPr>
          <a:xfrm>
            <a:off x="1" y="2286000"/>
            <a:ext cx="12192000" cy="4572000"/>
          </a:xfrm>
        </p:spPr>
        <p:txBody>
          <a:bodyPr/>
          <a:lstStyle>
            <a:lvl1pPr marL="0" indent="0" algn="ctr">
              <a:buNone/>
              <a:defRPr/>
            </a:lvl1pPr>
          </a:lstStyle>
          <a:p>
            <a:r>
              <a:rPr lang="en-US"/>
              <a:t>Click icon to add picture</a:t>
            </a:r>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712833523"/>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content lower image_blue line">
    <p:spTree>
      <p:nvGrpSpPr>
        <p:cNvPr id="1" name=""/>
        <p:cNvGrpSpPr/>
        <p:nvPr/>
      </p:nvGrpSpPr>
      <p:grpSpPr>
        <a:xfrm>
          <a:off x="0" y="0"/>
          <a:ext cx="0" cy="0"/>
          <a:chOff x="0" y="0"/>
          <a:chExt cx="0" cy="0"/>
        </a:xfrm>
      </p:grpSpPr>
      <p:sp>
        <p:nvSpPr>
          <p:cNvPr id="9" name="Rectangle 8"/>
          <p:cNvSpPr/>
          <p:nvPr userDrawn="1"/>
        </p:nvSpPr>
        <p:spPr>
          <a:xfrm>
            <a:off x="1" y="2286000"/>
            <a:ext cx="12192000" cy="4572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Rectangle 7"/>
          <p:cNvSpPr/>
          <p:nvPr userDrawn="1"/>
        </p:nvSpPr>
        <p:spPr>
          <a:xfrm>
            <a:off x="1" y="0"/>
            <a:ext cx="12192000"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 STYLE</a:t>
            </a:r>
          </a:p>
        </p:txBody>
      </p:sp>
      <p:sp>
        <p:nvSpPr>
          <p:cNvPr id="4" name="Content Placeholder 3"/>
          <p:cNvSpPr>
            <a:spLocks noGrp="1"/>
          </p:cNvSpPr>
          <p:nvPr>
            <p:ph sz="half" idx="2"/>
          </p:nvPr>
        </p:nvSpPr>
        <p:spPr>
          <a:xfrm>
            <a:off x="6096001" y="536576"/>
            <a:ext cx="5573576" cy="1447800"/>
          </a:xfrm>
        </p:spPr>
        <p:txBody>
          <a:bodyPr/>
          <a:lstStyle>
            <a:lvl1pPr marL="0" indent="0">
              <a:lnSpc>
                <a:spcPct val="113000"/>
              </a:lnSpc>
              <a:buNone/>
              <a:defRPr sz="2000">
                <a:solidFill>
                  <a:schemeClr val="tx1"/>
                </a:solidFill>
              </a:defRPr>
            </a:lvl1pPr>
            <a:lvl2pPr marL="457200" indent="0">
              <a:buNone/>
              <a:defRPr sz="1800"/>
            </a:lvl2pPr>
            <a:lvl3pPr marL="914400" indent="0">
              <a:buNone/>
              <a:defRPr sz="1800"/>
            </a:lvl3pPr>
            <a:lvl4pPr marL="1371600" indent="0">
              <a:buNone/>
              <a:defRPr sz="1800"/>
            </a:lvl4pPr>
            <a:lvl5pPr marL="1828800" indent="0">
              <a:buNone/>
              <a:defRPr sz="1800"/>
            </a:lvl5pPr>
            <a:lvl6pPr>
              <a:defRPr sz="1900"/>
            </a:lvl6pPr>
            <a:lvl7pPr>
              <a:defRPr sz="1900"/>
            </a:lvl7pPr>
            <a:lvl8pPr>
              <a:defRPr sz="1900"/>
            </a:lvl8pPr>
            <a:lvl9pPr>
              <a:defRPr sz="1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2/27/26</a:t>
            </a:fld>
            <a:endParaRPr lang="en-US" dirty="0"/>
          </a:p>
        </p:txBody>
      </p:sp>
      <p:sp>
        <p:nvSpPr>
          <p:cNvPr id="6" name="Footer Placeholder 5"/>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Content Placeholder 9"/>
          <p:cNvSpPr>
            <a:spLocks noGrp="1"/>
          </p:cNvSpPr>
          <p:nvPr>
            <p:ph sz="quarter" idx="12"/>
          </p:nvPr>
        </p:nvSpPr>
        <p:spPr>
          <a:xfrm>
            <a:off x="973392" y="2838450"/>
            <a:ext cx="10696185" cy="3498850"/>
          </a:xfrm>
        </p:spPr>
        <p:txBody>
          <a:bodyPr/>
          <a:lstStyle>
            <a:lvl1pPr>
              <a:defRPr>
                <a:solidFill>
                  <a:schemeClr val="tx1"/>
                </a:solidFill>
              </a:defRPr>
            </a:lvl1pPr>
            <a:lvl2pPr>
              <a:buClr>
                <a:schemeClr val="tx1">
                  <a:lumMod val="50000"/>
                  <a:lumOff val="50000"/>
                </a:schemeClr>
              </a:buClr>
              <a:defRPr>
                <a:solidFill>
                  <a:schemeClr val="tx1"/>
                </a:solidFill>
              </a:defRPr>
            </a:lvl2pPr>
            <a:lvl3pPr>
              <a:buClr>
                <a:schemeClr val="tx1">
                  <a:lumMod val="50000"/>
                  <a:lumOff val="50000"/>
                </a:schemeClr>
              </a:buClr>
              <a:defRPr>
                <a:solidFill>
                  <a:schemeClr val="tx1"/>
                </a:solidFill>
              </a:defRPr>
            </a:lvl3pPr>
            <a:lvl4pPr>
              <a:buClr>
                <a:schemeClr val="tx1">
                  <a:lumMod val="50000"/>
                  <a:lumOff val="50000"/>
                </a:schemeClr>
              </a:buClr>
              <a:defRPr>
                <a:solidFill>
                  <a:schemeClr val="tx1"/>
                </a:solidFill>
              </a:defRPr>
            </a:lvl4pPr>
            <a:lvl5pPr>
              <a:buClr>
                <a:schemeClr val="tx1">
                  <a:lumMod val="50000"/>
                  <a:lumOff val="50000"/>
                </a:schemeClr>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3" name="TextBox 12"/>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2022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1738985859"/>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Four icon layout_blue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Text Placeholder 7"/>
          <p:cNvSpPr>
            <a:spLocks noGrp="1"/>
          </p:cNvSpPr>
          <p:nvPr>
            <p:ph type="body" sz="quarter" idx="12"/>
          </p:nvPr>
        </p:nvSpPr>
        <p:spPr>
          <a:xfrm>
            <a:off x="973391" y="1984376"/>
            <a:ext cx="10002267" cy="790575"/>
          </a:xfrm>
        </p:spPr>
        <p:txBody>
          <a:bodyPr/>
          <a:lstStyle>
            <a:lvl1pPr marL="0" indent="0">
              <a:spcBef>
                <a:spcPts val="600"/>
              </a:spcBef>
              <a:buNone/>
              <a:defRPr sz="2200"/>
            </a:lvl1pPr>
            <a:lvl2pPr marL="457200" indent="0">
              <a:buNone/>
              <a:defRPr sz="2200"/>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p:txBody>
      </p:sp>
      <p:sp>
        <p:nvSpPr>
          <p:cNvPr id="30" name="Text Placeholder 9"/>
          <p:cNvSpPr>
            <a:spLocks noGrp="1"/>
          </p:cNvSpPr>
          <p:nvPr>
            <p:ph type="body" sz="quarter" idx="13"/>
          </p:nvPr>
        </p:nvSpPr>
        <p:spPr>
          <a:xfrm>
            <a:off x="973392"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1" name="Text Placeholder 14"/>
          <p:cNvSpPr>
            <a:spLocks noGrp="1"/>
          </p:cNvSpPr>
          <p:nvPr>
            <p:ph type="body" sz="quarter" idx="17"/>
          </p:nvPr>
        </p:nvSpPr>
        <p:spPr>
          <a:xfrm>
            <a:off x="973392"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2" name="Text Placeholder 14"/>
          <p:cNvSpPr>
            <a:spLocks noGrp="1"/>
          </p:cNvSpPr>
          <p:nvPr>
            <p:ph type="body" sz="quarter" idx="18"/>
          </p:nvPr>
        </p:nvSpPr>
        <p:spPr>
          <a:xfrm>
            <a:off x="3547929"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3" name="Text Placeholder 14"/>
          <p:cNvSpPr>
            <a:spLocks noGrp="1"/>
          </p:cNvSpPr>
          <p:nvPr>
            <p:ph type="body" sz="quarter" idx="19"/>
          </p:nvPr>
        </p:nvSpPr>
        <p:spPr>
          <a:xfrm>
            <a:off x="6122467"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4" name="Text Placeholder 14"/>
          <p:cNvSpPr>
            <a:spLocks noGrp="1"/>
          </p:cNvSpPr>
          <p:nvPr>
            <p:ph type="body" sz="quarter" idx="20"/>
          </p:nvPr>
        </p:nvSpPr>
        <p:spPr>
          <a:xfrm>
            <a:off x="8697003"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5" name="Text Placeholder 9"/>
          <p:cNvSpPr>
            <a:spLocks noGrp="1"/>
          </p:cNvSpPr>
          <p:nvPr>
            <p:ph type="body" sz="quarter" idx="21"/>
          </p:nvPr>
        </p:nvSpPr>
        <p:spPr>
          <a:xfrm>
            <a:off x="3547929"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6" name="Text Placeholder 9"/>
          <p:cNvSpPr>
            <a:spLocks noGrp="1"/>
          </p:cNvSpPr>
          <p:nvPr>
            <p:ph type="body" sz="quarter" idx="22"/>
          </p:nvPr>
        </p:nvSpPr>
        <p:spPr>
          <a:xfrm>
            <a:off x="6122467"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7" name="Text Placeholder 9"/>
          <p:cNvSpPr>
            <a:spLocks noGrp="1"/>
          </p:cNvSpPr>
          <p:nvPr>
            <p:ph type="body" sz="quarter" idx="23"/>
          </p:nvPr>
        </p:nvSpPr>
        <p:spPr>
          <a:xfrm>
            <a:off x="8697003"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Rectangle 1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816358135"/>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0/50 Text_Ico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456904-7106-B7CE-D6AA-9148B3C7E129}"/>
              </a:ext>
            </a:extLst>
          </p:cNvPr>
          <p:cNvSpPr/>
          <p:nvPr userDrawn="1"/>
        </p:nvSpPr>
        <p:spPr>
          <a:xfrm>
            <a:off x="6091363" y="0"/>
            <a:ext cx="6100637"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5F7FF1EF-D919-9496-FEAD-6F03C7D0E47F}"/>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
        <p:nvSpPr>
          <p:cNvPr id="10" name="Text Placeholder 16">
            <a:extLst>
              <a:ext uri="{FF2B5EF4-FFF2-40B4-BE49-F238E27FC236}">
                <a16:creationId xmlns:a16="http://schemas.microsoft.com/office/drawing/2014/main" id="{18AAEDFD-B047-92DA-67F4-03DC034D5CD1}"/>
              </a:ext>
            </a:extLst>
          </p:cNvPr>
          <p:cNvSpPr>
            <a:spLocks noGrp="1"/>
          </p:cNvSpPr>
          <p:nvPr>
            <p:ph type="body" sz="quarter" idx="12" hasCustomPrompt="1"/>
          </p:nvPr>
        </p:nvSpPr>
        <p:spPr>
          <a:xfrm>
            <a:off x="7875594" y="1984376"/>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1" name="Text Placeholder 16">
            <a:extLst>
              <a:ext uri="{FF2B5EF4-FFF2-40B4-BE49-F238E27FC236}">
                <a16:creationId xmlns:a16="http://schemas.microsoft.com/office/drawing/2014/main" id="{29D73FAC-B01D-3BFD-0C9A-6CA7A95FB124}"/>
              </a:ext>
            </a:extLst>
          </p:cNvPr>
          <p:cNvSpPr>
            <a:spLocks noGrp="1"/>
          </p:cNvSpPr>
          <p:nvPr>
            <p:ph type="body" sz="quarter" idx="13" hasCustomPrompt="1"/>
          </p:nvPr>
        </p:nvSpPr>
        <p:spPr>
          <a:xfrm>
            <a:off x="7875594" y="3379010"/>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2" name="Text Placeholder 16">
            <a:extLst>
              <a:ext uri="{FF2B5EF4-FFF2-40B4-BE49-F238E27FC236}">
                <a16:creationId xmlns:a16="http://schemas.microsoft.com/office/drawing/2014/main" id="{E899D747-6E00-B850-4C4C-D1A4CAFA2C1F}"/>
              </a:ext>
            </a:extLst>
          </p:cNvPr>
          <p:cNvSpPr>
            <a:spLocks noGrp="1"/>
          </p:cNvSpPr>
          <p:nvPr>
            <p:ph type="body" sz="quarter" idx="14" hasCustomPrompt="1"/>
          </p:nvPr>
        </p:nvSpPr>
        <p:spPr>
          <a:xfrm>
            <a:off x="7875594" y="4774725"/>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3" name="Text Placeholder 20">
            <a:extLst>
              <a:ext uri="{FF2B5EF4-FFF2-40B4-BE49-F238E27FC236}">
                <a16:creationId xmlns:a16="http://schemas.microsoft.com/office/drawing/2014/main" id="{2B3393D0-BC75-052B-3774-EF181DFADCE8}"/>
              </a:ext>
            </a:extLst>
          </p:cNvPr>
          <p:cNvSpPr>
            <a:spLocks noGrp="1"/>
          </p:cNvSpPr>
          <p:nvPr>
            <p:ph type="body" sz="quarter" idx="15" hasCustomPrompt="1"/>
          </p:nvPr>
        </p:nvSpPr>
        <p:spPr>
          <a:xfrm>
            <a:off x="7877182" y="3635799"/>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14" name="Text Placeholder 20">
            <a:extLst>
              <a:ext uri="{FF2B5EF4-FFF2-40B4-BE49-F238E27FC236}">
                <a16:creationId xmlns:a16="http://schemas.microsoft.com/office/drawing/2014/main" id="{9806F3C3-5DF9-B6F7-C3B7-A9ACBC9AF561}"/>
              </a:ext>
            </a:extLst>
          </p:cNvPr>
          <p:cNvSpPr>
            <a:spLocks noGrp="1"/>
          </p:cNvSpPr>
          <p:nvPr>
            <p:ph type="body" sz="quarter" idx="16" hasCustomPrompt="1"/>
          </p:nvPr>
        </p:nvSpPr>
        <p:spPr>
          <a:xfrm>
            <a:off x="7877182" y="5035308"/>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15" name="Text Placeholder 20">
            <a:extLst>
              <a:ext uri="{FF2B5EF4-FFF2-40B4-BE49-F238E27FC236}">
                <a16:creationId xmlns:a16="http://schemas.microsoft.com/office/drawing/2014/main" id="{673650EE-9977-3A77-5144-BA068018CD54}"/>
              </a:ext>
            </a:extLst>
          </p:cNvPr>
          <p:cNvSpPr>
            <a:spLocks noGrp="1"/>
          </p:cNvSpPr>
          <p:nvPr>
            <p:ph type="body" sz="quarter" idx="17" hasCustomPrompt="1"/>
          </p:nvPr>
        </p:nvSpPr>
        <p:spPr>
          <a:xfrm>
            <a:off x="7877182" y="2241276"/>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Tree>
    <p:extLst>
      <p:ext uri="{BB962C8B-B14F-4D97-AF65-F5344CB8AC3E}">
        <p14:creationId xmlns:p14="http://schemas.microsoft.com/office/powerpoint/2010/main" val="2206632195"/>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6"/>
            <a:ext cx="10001526" cy="587375"/>
          </a:xfrm>
        </p:spPr>
        <p:txBody>
          <a:bodyPr/>
          <a:lstStyle/>
          <a:p>
            <a:r>
              <a:rPr lang="en-US" dirty="0"/>
              <a:t>CLICK TO EDIT TITLE STYLE</a:t>
            </a:r>
          </a:p>
        </p:txBody>
      </p:sp>
      <p:sp>
        <p:nvSpPr>
          <p:cNvPr id="3" name="Content Placeholder 2"/>
          <p:cNvSpPr>
            <a:spLocks noGrp="1"/>
          </p:cNvSpPr>
          <p:nvPr>
            <p:ph sz="half" idx="1"/>
          </p:nvPr>
        </p:nvSpPr>
        <p:spPr>
          <a:xfrm>
            <a:off x="973392" y="1984375"/>
            <a:ext cx="4770569"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42166" y="1984375"/>
            <a:ext cx="4774855"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465F197-B1B8-4584-8B75-5D45B647D250}" type="datetimeFigureOut">
              <a:rPr lang="en-US" smtClean="0"/>
              <a:t>2/2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299666828"/>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STYLE</a:t>
            </a:r>
          </a:p>
        </p:txBody>
      </p:sp>
      <p:sp>
        <p:nvSpPr>
          <p:cNvPr id="3" name="Text Placeholder 2"/>
          <p:cNvSpPr>
            <a:spLocks noGrp="1"/>
          </p:cNvSpPr>
          <p:nvPr>
            <p:ph type="body" idx="1"/>
          </p:nvPr>
        </p:nvSpPr>
        <p:spPr>
          <a:xfrm>
            <a:off x="968984"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4" name="Content Placeholder 3"/>
          <p:cNvSpPr>
            <a:spLocks noGrp="1"/>
          </p:cNvSpPr>
          <p:nvPr>
            <p:ph sz="half" idx="2"/>
          </p:nvPr>
        </p:nvSpPr>
        <p:spPr>
          <a:xfrm>
            <a:off x="968984"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42166"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42166"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465F197-B1B8-4584-8B75-5D45B647D250}" type="datetimeFigureOut">
              <a:rPr lang="en-US" smtClean="0"/>
              <a:t>2/27/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559759323"/>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60/40 Title and Content_blue line">
    <p:spTree>
      <p:nvGrpSpPr>
        <p:cNvPr id="1" name=""/>
        <p:cNvGrpSpPr/>
        <p:nvPr/>
      </p:nvGrpSpPr>
      <p:grpSpPr>
        <a:xfrm>
          <a:off x="0" y="0"/>
          <a:ext cx="0" cy="0"/>
          <a:chOff x="0" y="0"/>
          <a:chExt cx="0" cy="0"/>
        </a:xfrm>
      </p:grpSpPr>
      <p:sp>
        <p:nvSpPr>
          <p:cNvPr id="6" name="Rectangle 5"/>
          <p:cNvSpPr/>
          <p:nvPr userDrawn="1"/>
        </p:nvSpPr>
        <p:spPr>
          <a:xfrm>
            <a:off x="7226595" y="0"/>
            <a:ext cx="496540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3" y="536575"/>
            <a:ext cx="5468773" cy="978738"/>
          </a:xfrm>
        </p:spPr>
        <p:txBody>
          <a:bodyPr>
            <a:noAutofit/>
          </a:bodyPr>
          <a:lstStyle>
            <a:lvl1pPr>
              <a:defRPr/>
            </a:lvl1pPr>
          </a:lstStyle>
          <a:p>
            <a:r>
              <a:rPr lang="en-US" dirty="0"/>
              <a:t>CLICK TO EDIT MASTER TITLE</a:t>
            </a:r>
          </a:p>
        </p:txBody>
      </p:sp>
      <p:sp>
        <p:nvSpPr>
          <p:cNvPr id="3" name="Content Placeholder 2"/>
          <p:cNvSpPr>
            <a:spLocks noGrp="1"/>
          </p:cNvSpPr>
          <p:nvPr>
            <p:ph idx="1"/>
          </p:nvPr>
        </p:nvSpPr>
        <p:spPr>
          <a:xfrm>
            <a:off x="973393" y="1984375"/>
            <a:ext cx="5468774"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8" name="Content Placeholder 2"/>
          <p:cNvSpPr>
            <a:spLocks noGrp="1"/>
          </p:cNvSpPr>
          <p:nvPr>
            <p:ph idx="12"/>
          </p:nvPr>
        </p:nvSpPr>
        <p:spPr>
          <a:xfrm>
            <a:off x="7755370" y="1984375"/>
            <a:ext cx="3914207" cy="3986784"/>
          </a:xfrm>
        </p:spPr>
        <p:txBody>
          <a:bodyPr/>
          <a:lstStyle>
            <a:lvl1pPr>
              <a:defRPr>
                <a:solidFill>
                  <a:schemeClr val="tx1"/>
                </a:solidFill>
              </a:defRPr>
            </a:lvl1pPr>
            <a:lvl2pPr>
              <a:buClr>
                <a:schemeClr val="tx1">
                  <a:lumMod val="50000"/>
                  <a:lumOff val="50000"/>
                </a:schemeClr>
              </a:buClr>
              <a:defRPr>
                <a:solidFill>
                  <a:schemeClr val="tx1"/>
                </a:solidFill>
              </a:defRPr>
            </a:lvl2pPr>
            <a:lvl3pPr>
              <a:buClr>
                <a:schemeClr val="tx1">
                  <a:lumMod val="50000"/>
                  <a:lumOff val="50000"/>
                </a:schemeClr>
              </a:buClr>
              <a:defRPr>
                <a:solidFill>
                  <a:schemeClr val="tx1"/>
                </a:solidFill>
              </a:defRPr>
            </a:lvl3pPr>
            <a:lvl4pPr>
              <a:buClr>
                <a:schemeClr val="tx1">
                  <a:lumMod val="50000"/>
                  <a:lumOff val="50000"/>
                </a:schemeClr>
              </a:buClr>
              <a:defRPr>
                <a:solidFill>
                  <a:schemeClr val="tx1"/>
                </a:solidFill>
              </a:defRPr>
            </a:lvl4pPr>
            <a:lvl5pPr>
              <a:buClr>
                <a:schemeClr val="tx1">
                  <a:lumMod val="50000"/>
                  <a:lumOff val="50000"/>
                </a:schemeClr>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2" name="TextBox 11"/>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DE0E1CB7-DA98-4AE3-9B7A-4E54193F9C18}"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3596769419"/>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0/60 Title and Two Content Comparison_blue line">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2366170"/>
            <a:ext cx="3075788" cy="2125663"/>
          </a:xfrm>
        </p:spPr>
        <p:txBody>
          <a:bodyPr tIns="0" bIns="0" anchor="ctr" anchorCtr="0"/>
          <a:lstStyle>
            <a:lvl1pPr>
              <a:defRPr sz="3200" baseline="0"/>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2" name="Text Placeholder 2"/>
          <p:cNvSpPr>
            <a:spLocks noGrp="1"/>
          </p:cNvSpPr>
          <p:nvPr>
            <p:ph type="body" idx="1"/>
          </p:nvPr>
        </p:nvSpPr>
        <p:spPr>
          <a:xfrm>
            <a:off x="4992401" y="1206457"/>
            <a:ext cx="3145656" cy="771525"/>
          </a:xfrm>
        </p:spPr>
        <p:txBody>
          <a:bodyPr bIns="0" anchor="b"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3" name="Content Placeholder 3"/>
          <p:cNvSpPr>
            <a:spLocks noGrp="1"/>
          </p:cNvSpPr>
          <p:nvPr>
            <p:ph sz="half" idx="2"/>
          </p:nvPr>
        </p:nvSpPr>
        <p:spPr>
          <a:xfrm>
            <a:off x="4992401" y="2260556"/>
            <a:ext cx="3145656" cy="3986784"/>
          </a:xfrm>
        </p:spPr>
        <p:txBody>
          <a:bodyPr tIns="91440"/>
          <a:lstStyle>
            <a:lvl1pPr>
              <a:defRPr sz="2000">
                <a:solidFill>
                  <a:schemeClr val="tx1"/>
                </a:solidFill>
              </a:defRPr>
            </a:lvl1pPr>
            <a:lvl2pPr>
              <a:buClr>
                <a:schemeClr val="tx1">
                  <a:lumMod val="50000"/>
                  <a:lumOff val="50000"/>
                </a:schemeClr>
              </a:buClr>
              <a:defRPr sz="2000">
                <a:solidFill>
                  <a:schemeClr val="tx1"/>
                </a:solidFill>
              </a:defRPr>
            </a:lvl2pPr>
            <a:lvl3pPr>
              <a:buClr>
                <a:schemeClr val="tx1">
                  <a:lumMod val="50000"/>
                  <a:lumOff val="50000"/>
                </a:schemeClr>
              </a:buClr>
              <a:defRPr sz="2000">
                <a:solidFill>
                  <a:schemeClr val="tx1"/>
                </a:solidFill>
              </a:defRPr>
            </a:lvl3pPr>
            <a:lvl4pPr>
              <a:buClr>
                <a:schemeClr val="tx1">
                  <a:lumMod val="50000"/>
                  <a:lumOff val="50000"/>
                </a:schemeClr>
              </a:buClr>
              <a:defRPr sz="2000">
                <a:solidFill>
                  <a:schemeClr val="tx1"/>
                </a:solidFill>
              </a:defRPr>
            </a:lvl4pPr>
            <a:lvl5pPr>
              <a:buClr>
                <a:schemeClr val="tx1">
                  <a:lumMod val="50000"/>
                  <a:lumOff val="50000"/>
                </a:schemeClr>
              </a:buClr>
              <a:defRPr sz="20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p:cNvSpPr>
            <a:spLocks noGrp="1"/>
          </p:cNvSpPr>
          <p:nvPr>
            <p:ph type="body" idx="12"/>
          </p:nvPr>
        </p:nvSpPr>
        <p:spPr>
          <a:xfrm>
            <a:off x="8527097" y="1206457"/>
            <a:ext cx="3145656" cy="771525"/>
          </a:xfrm>
        </p:spPr>
        <p:txBody>
          <a:bodyPr bIns="0" anchor="b"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5" name="Content Placeholder 3"/>
          <p:cNvSpPr>
            <a:spLocks noGrp="1"/>
          </p:cNvSpPr>
          <p:nvPr>
            <p:ph sz="half" idx="13"/>
          </p:nvPr>
        </p:nvSpPr>
        <p:spPr>
          <a:xfrm>
            <a:off x="8527097" y="2260556"/>
            <a:ext cx="3145656" cy="3986784"/>
          </a:xfrm>
        </p:spPr>
        <p:txBody>
          <a:bodyPr vert="horz" lIns="0" tIns="91440" rIns="0" bIns="45724" rtlCol="0">
            <a:noAutofit/>
          </a:bodyPr>
          <a:lstStyle>
            <a:lvl1pPr>
              <a:defRPr lang="en-US" sz="2000" dirty="0" smtClean="0">
                <a:solidFill>
                  <a:schemeClr val="tx1"/>
                </a:solidFill>
              </a:defRPr>
            </a:lvl1pPr>
            <a:lvl2pPr>
              <a:buClr>
                <a:schemeClr val="tx1">
                  <a:lumMod val="50000"/>
                  <a:lumOff val="50000"/>
                </a:schemeClr>
              </a:buClr>
              <a:defRPr lang="en-US" sz="2000" dirty="0" smtClean="0">
                <a:solidFill>
                  <a:schemeClr val="tx1"/>
                </a:solidFill>
              </a:defRPr>
            </a:lvl2pPr>
            <a:lvl3pPr>
              <a:buClr>
                <a:schemeClr val="tx1">
                  <a:lumMod val="50000"/>
                  <a:lumOff val="50000"/>
                </a:schemeClr>
              </a:buClr>
              <a:defRPr lang="en-US" sz="2000" dirty="0" smtClean="0">
                <a:solidFill>
                  <a:schemeClr val="tx1"/>
                </a:solidFill>
              </a:defRPr>
            </a:lvl3pPr>
            <a:lvl4pPr>
              <a:buClr>
                <a:schemeClr val="tx1">
                  <a:lumMod val="50000"/>
                  <a:lumOff val="50000"/>
                </a:schemeClr>
              </a:buClr>
              <a:defRPr lang="en-US" sz="2000" dirty="0" smtClean="0">
                <a:solidFill>
                  <a:schemeClr val="tx1"/>
                </a:solidFill>
              </a:defRPr>
            </a:lvl4pPr>
            <a:lvl5pPr>
              <a:buClr>
                <a:schemeClr val="tx1">
                  <a:lumMod val="50000"/>
                  <a:lumOff val="50000"/>
                </a:schemeClr>
              </a:buClr>
              <a:defRPr lang="en-US" sz="20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C4E928E9-032F-4C67-90C8-3230976C52E1}"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3897802787"/>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2/27/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429333137"/>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_no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2/27/26</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529199450"/>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019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65F197-B1B8-4584-8B75-5D45B647D250}" type="datetimeFigureOut">
              <a:rPr lang="en-US" smtClean="0"/>
              <a:t>2/27/26</a:t>
            </a:fld>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1284648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Mayo End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6" y="2733676"/>
            <a:ext cx="4454099" cy="1371600"/>
          </a:xfrm>
        </p:spPr>
        <p:txBody>
          <a:bodyPr anchor="ctr" anchorCtr="0"/>
          <a:lstStyle>
            <a:lvl1pPr algn="l">
              <a:defRPr sz="4000" baseline="0"/>
            </a:lvl1pPr>
          </a:lstStyle>
          <a:p>
            <a:r>
              <a:rPr lang="en-US" dirty="0"/>
              <a:t>CLICK TO EDIT MASTER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2/27/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96750280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81233646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926377" y="536576"/>
            <a:ext cx="2743200" cy="54356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973391" y="536576"/>
            <a:ext cx="7594488" cy="5435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2/27/26</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2742883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99"/>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063" indent="0">
              <a:buNone/>
              <a:defRPr sz="1050"/>
            </a:lvl2pPr>
            <a:lvl3pPr marL="914126" indent="0">
              <a:buNone/>
              <a:defRPr sz="1000"/>
            </a:lvl3pPr>
            <a:lvl4pPr marL="1371189" indent="0">
              <a:buNone/>
              <a:defRPr sz="900"/>
            </a:lvl4pPr>
            <a:lvl5pPr marL="1828251"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063" indent="0">
              <a:buNone/>
              <a:defRPr sz="1050"/>
            </a:lvl2pPr>
            <a:lvl3pPr marL="914126" indent="0">
              <a:buNone/>
              <a:defRPr sz="1000"/>
            </a:lvl3pPr>
            <a:lvl4pPr marL="1371189" indent="0">
              <a:buNone/>
              <a:defRPr sz="900"/>
            </a:lvl4pPr>
            <a:lvl5pPr marL="1828251" indent="0">
              <a:buNone/>
              <a:defRPr sz="900"/>
            </a:lvl5pPr>
          </a:lstStyle>
          <a:p>
            <a:pPr lvl="0"/>
            <a:r>
              <a:rPr lang="en-US" dirty="0"/>
              <a:t>Click to edit Master text style</a:t>
            </a:r>
          </a:p>
        </p:txBody>
      </p:sp>
    </p:spTree>
    <p:extLst>
      <p:ext uri="{BB962C8B-B14F-4D97-AF65-F5344CB8AC3E}">
        <p14:creationId xmlns:p14="http://schemas.microsoft.com/office/powerpoint/2010/main" val="30707663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7/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2/27/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32.png"/><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theme" Target="../theme/theme10.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theme" Target="../theme/theme1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theme" Target="../theme/theme12.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theme" Target="../theme/theme13.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slideLayout" Target="../slideLayouts/slideLayout244.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theme" Target="../theme/theme14.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8" Type="http://schemas.openxmlformats.org/officeDocument/2006/relationships/slideLayout" Target="../slideLayouts/slideLayout223.xml"/><Relationship Id="rId3" Type="http://schemas.openxmlformats.org/officeDocument/2006/relationships/slideLayout" Target="../slideLayouts/slideLayout2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4.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7.xml"/><Relationship Id="rId7" Type="http://schemas.openxmlformats.org/officeDocument/2006/relationships/image" Target="../media/image29.pn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theme" Target="../theme/theme6.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6" Type="http://schemas.openxmlformats.org/officeDocument/2006/relationships/theme" Target="../theme/theme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 id="2147484850"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68628"/>
            <a:ext cx="10972800" cy="1152129"/>
          </a:xfrm>
          <a:prstGeom prst="rect">
            <a:avLst/>
          </a:prstGeom>
        </p:spPr>
        <p:txBody>
          <a:bodyPr vert="horz" lIns="91440" tIns="45720" rIns="91440" bIns="45720" rtlCol="0" anchor="ctr">
            <a:normAutofit/>
          </a:bodyPr>
          <a:lstStyle/>
          <a:p>
            <a:r>
              <a:rPr lang="fr-FR" dirty="0"/>
              <a:t>Cliquez pour modifier le style du titre</a:t>
            </a:r>
          </a:p>
        </p:txBody>
      </p:sp>
      <p:sp>
        <p:nvSpPr>
          <p:cNvPr id="3" name="Espace réservé du texte 2"/>
          <p:cNvSpPr>
            <a:spLocks noGrp="1"/>
          </p:cNvSpPr>
          <p:nvPr>
            <p:ph type="body" idx="1"/>
          </p:nvPr>
        </p:nvSpPr>
        <p:spPr>
          <a:xfrm>
            <a:off x="609600" y="1412777"/>
            <a:ext cx="10972800" cy="471338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4" name="Espace réservé de la date 3"/>
          <p:cNvSpPr>
            <a:spLocks noGrp="1"/>
          </p:cNvSpPr>
          <p:nvPr>
            <p:ph type="dt" sz="half" idx="2"/>
          </p:nvPr>
        </p:nvSpPr>
        <p:spPr>
          <a:xfrm>
            <a:off x="8784299" y="6405331"/>
            <a:ext cx="2844800" cy="288032"/>
          </a:xfrm>
          <a:prstGeom prst="rect">
            <a:avLst/>
          </a:prstGeom>
        </p:spPr>
        <p:txBody>
          <a:bodyPr vert="horz" lIns="91440" tIns="45720" rIns="91440" bIns="45720" rtlCol="0" anchor="ctr"/>
          <a:lstStyle>
            <a:lvl1pPr marL="0" marR="0" indent="0" algn="r" defTabSz="1219170" rtl="0" eaLnBrk="1" fontAlgn="auto" latinLnBrk="0" hangingPunct="1">
              <a:lnSpc>
                <a:spcPct val="100000"/>
              </a:lnSpc>
              <a:spcBef>
                <a:spcPts val="0"/>
              </a:spcBef>
              <a:spcAft>
                <a:spcPts val="0"/>
              </a:spcAft>
              <a:buClrTx/>
              <a:buSzTx/>
              <a:buFontTx/>
              <a:buNone/>
              <a:tabLst/>
              <a:defRPr sz="1200">
                <a:solidFill>
                  <a:srgbClr val="7B1753"/>
                </a:solidFill>
              </a:defRPr>
            </a:lvl1pPr>
          </a:lstStyle>
          <a:p>
            <a:fld id="{1C6BAD5C-2C02-41B1-96A1-7E17DD2ACD75}" type="datetime1">
              <a:rPr lang="fr-FR" smtClean="0"/>
              <a:pPr/>
              <a:t>27/02/2026</a:t>
            </a:fld>
            <a:endParaRPr lang="fr-FR" dirty="0"/>
          </a:p>
        </p:txBody>
      </p:sp>
      <p:sp>
        <p:nvSpPr>
          <p:cNvPr id="5" name="Espace réservé du pied de page 4"/>
          <p:cNvSpPr>
            <a:spLocks noGrp="1"/>
          </p:cNvSpPr>
          <p:nvPr>
            <p:ph type="ftr" sz="quarter" idx="3"/>
          </p:nvPr>
        </p:nvSpPr>
        <p:spPr>
          <a:xfrm>
            <a:off x="4165600" y="6405330"/>
            <a:ext cx="3860800" cy="316145"/>
          </a:xfrm>
          <a:prstGeom prst="rect">
            <a:avLst/>
          </a:prstGeom>
        </p:spPr>
        <p:txBody>
          <a:bodyPr vert="horz" lIns="91440" tIns="45720" rIns="91440" bIns="45720" rtlCol="0" anchor="ctr"/>
          <a:lstStyle>
            <a:lvl1pPr algn="ctr">
              <a:defRPr sz="1200">
                <a:solidFill>
                  <a:srgbClr val="7B1753"/>
                </a:solidFill>
              </a:defRPr>
            </a:lvl1pPr>
          </a:lstStyle>
          <a:p>
            <a:endParaRPr lang="fr-FR" dirty="0"/>
          </a:p>
        </p:txBody>
      </p:sp>
      <p:cxnSp>
        <p:nvCxnSpPr>
          <p:cNvPr id="10" name="Connecteur droit 9"/>
          <p:cNvCxnSpPr/>
          <p:nvPr/>
        </p:nvCxnSpPr>
        <p:spPr>
          <a:xfrm>
            <a:off x="623392" y="6309320"/>
            <a:ext cx="10945216" cy="0"/>
          </a:xfrm>
          <a:prstGeom prst="line">
            <a:avLst/>
          </a:prstGeom>
          <a:ln>
            <a:solidFill>
              <a:srgbClr val="7B1753"/>
            </a:solidFill>
          </a:ln>
        </p:spPr>
        <p:style>
          <a:lnRef idx="1">
            <a:schemeClr val="accent1"/>
          </a:lnRef>
          <a:fillRef idx="0">
            <a:schemeClr val="accent1"/>
          </a:fillRef>
          <a:effectRef idx="0">
            <a:schemeClr val="accent1"/>
          </a:effectRef>
          <a:fontRef idx="minor">
            <a:schemeClr val="tx1"/>
          </a:fontRef>
        </p:style>
      </p:cxnSp>
      <p:pic>
        <p:nvPicPr>
          <p:cNvPr id="11" name="Image 10" descr="COL_LOGO_RVB.png"/>
          <p:cNvPicPr>
            <a:picLocks noChangeAspect="1"/>
          </p:cNvPicPr>
          <p:nvPr/>
        </p:nvPicPr>
        <p:blipFill>
          <a:blip r:embed="rId13" cstate="print"/>
          <a:stretch>
            <a:fillRect/>
          </a:stretch>
        </p:blipFill>
        <p:spPr>
          <a:xfrm>
            <a:off x="615606" y="6335131"/>
            <a:ext cx="1831989" cy="454243"/>
          </a:xfrm>
          <a:prstGeom prst="rect">
            <a:avLst/>
          </a:prstGeom>
        </p:spPr>
      </p:pic>
    </p:spTree>
    <p:extLst>
      <p:ext uri="{BB962C8B-B14F-4D97-AF65-F5344CB8AC3E}">
        <p14:creationId xmlns:p14="http://schemas.microsoft.com/office/powerpoint/2010/main" val="660382982"/>
      </p:ext>
    </p:extLst>
  </p:cSld>
  <p:clrMap bg1="lt1" tx1="dk1" bg2="lt2" tx2="dk2" accent1="accent1" accent2="accent2" accent3="accent3" accent4="accent4" accent5="accent5" accent6="accent6" hlink="hlink" folHlink="folHlink"/>
  <p:sldLayoutIdLst>
    <p:sldLayoutId id="2147485075" r:id="rId1"/>
    <p:sldLayoutId id="2147485076" r:id="rId2"/>
    <p:sldLayoutId id="2147485077" r:id="rId3"/>
    <p:sldLayoutId id="2147485078" r:id="rId4"/>
    <p:sldLayoutId id="2147485079" r:id="rId5"/>
    <p:sldLayoutId id="2147485080" r:id="rId6"/>
    <p:sldLayoutId id="2147485081" r:id="rId7"/>
    <p:sldLayoutId id="2147485082" r:id="rId8"/>
    <p:sldLayoutId id="2147485083" r:id="rId9"/>
    <p:sldLayoutId id="2147485084" r:id="rId10"/>
    <p:sldLayoutId id="2147485085" r:id="rId11"/>
  </p:sldLayoutIdLst>
  <p:hf sldNum="0" hdr="0"/>
  <p:txStyles>
    <p:titleStyle>
      <a:lvl1pPr algn="l" defTabSz="1219170" rtl="0" eaLnBrk="1" latinLnBrk="0" hangingPunct="1">
        <a:spcBef>
          <a:spcPct val="0"/>
        </a:spcBef>
        <a:buNone/>
        <a:defRPr sz="4267" kern="1200">
          <a:solidFill>
            <a:schemeClr val="tx1">
              <a:lumMod val="85000"/>
              <a:lumOff val="15000"/>
            </a:schemeClr>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2933" b="0" kern="1200" baseline="0">
          <a:solidFill>
            <a:schemeClr val="tx1">
              <a:lumMod val="85000"/>
              <a:lumOff val="15000"/>
            </a:schemeClr>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667" b="0" kern="1200">
          <a:solidFill>
            <a:schemeClr val="tx1">
              <a:lumMod val="85000"/>
              <a:lumOff val="15000"/>
            </a:schemeClr>
          </a:solidFill>
          <a:latin typeface="+mn-lt"/>
          <a:ea typeface="+mn-ea"/>
          <a:cs typeface="+mn-cs"/>
        </a:defRPr>
      </a:lvl2pPr>
      <a:lvl3pPr marL="1523962" indent="-304792" algn="l" defTabSz="1219170" rtl="0" eaLnBrk="1" latinLnBrk="0" hangingPunct="1">
        <a:spcBef>
          <a:spcPct val="20000"/>
        </a:spcBef>
        <a:buSzPct val="80000"/>
        <a:buFont typeface="Arial" pitchFamily="34" charset="0"/>
        <a:buChar char="•"/>
        <a:defRPr sz="2400" kern="1200">
          <a:solidFill>
            <a:schemeClr val="tx1">
              <a:lumMod val="85000"/>
              <a:lumOff val="15000"/>
            </a:schemeClr>
          </a:solidFill>
          <a:latin typeface="+mn-lt"/>
          <a:ea typeface="+mn-ea"/>
          <a:cs typeface="+mn-cs"/>
        </a:defRPr>
      </a:lvl3pPr>
      <a:lvl4pPr marL="2133547" indent="-304792" algn="l" defTabSz="1219170" rtl="0" eaLnBrk="1" latinLnBrk="0" hangingPunct="1">
        <a:spcBef>
          <a:spcPct val="20000"/>
        </a:spcBef>
        <a:buSzPct val="70000"/>
        <a:buFont typeface="Arial" pitchFamily="34" charset="0"/>
        <a:buChar char="•"/>
        <a:defRPr sz="1867" kern="1200">
          <a:solidFill>
            <a:schemeClr val="tx1">
              <a:lumMod val="85000"/>
              <a:lumOff val="15000"/>
            </a:schemeClr>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E1C964-2C07-4E14-B74E-0BF85B8D1198}" type="datetimeFigureOut">
              <a:rPr lang="fr-FR" smtClean="0"/>
              <a:t>27/02/2026</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65B684-779C-465A-B4FD-7C6A9605A738}" type="slidenum">
              <a:rPr lang="fr-FR" smtClean="0"/>
              <a:t>‹#›</a:t>
            </a:fld>
            <a:endParaRPr lang="fr-FR"/>
          </a:p>
        </p:txBody>
      </p:sp>
    </p:spTree>
    <p:extLst>
      <p:ext uri="{BB962C8B-B14F-4D97-AF65-F5344CB8AC3E}">
        <p14:creationId xmlns:p14="http://schemas.microsoft.com/office/powerpoint/2010/main" val="673100105"/>
      </p:ext>
    </p:extLst>
  </p:cSld>
  <p:clrMap bg1="lt1" tx1="dk1" bg2="lt2" tx2="dk2" accent1="accent1" accent2="accent2" accent3="accent3" accent4="accent4" accent5="accent5" accent6="accent6" hlink="hlink" folHlink="folHlink"/>
  <p:sldLayoutIdLst>
    <p:sldLayoutId id="2147485087" r:id="rId1"/>
    <p:sldLayoutId id="2147485088" r:id="rId2"/>
    <p:sldLayoutId id="2147485089" r:id="rId3"/>
    <p:sldLayoutId id="2147485090" r:id="rId4"/>
    <p:sldLayoutId id="2147485091" r:id="rId5"/>
    <p:sldLayoutId id="2147485092" r:id="rId6"/>
    <p:sldLayoutId id="2147485093" r:id="rId7"/>
    <p:sldLayoutId id="2147485094" r:id="rId8"/>
    <p:sldLayoutId id="2147485095" r:id="rId9"/>
    <p:sldLayoutId id="2147485096" r:id="rId10"/>
    <p:sldLayoutId id="2147485097" r:id="rId11"/>
    <p:sldLayoutId id="21474850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497366"/>
      </p:ext>
    </p:extLst>
  </p:cSld>
  <p:clrMap bg1="lt1" tx1="dk1" bg2="lt2" tx2="dk2" accent1="accent1" accent2="accent2" accent3="accent3" accent4="accent4" accent5="accent5" accent6="accent6" hlink="hlink" folHlink="folHlink"/>
  <p:sldLayoutIdLst>
    <p:sldLayoutId id="2147485100" r:id="rId1"/>
    <p:sldLayoutId id="2147485101" r:id="rId2"/>
    <p:sldLayoutId id="2147485102" r:id="rId3"/>
    <p:sldLayoutId id="2147485103" r:id="rId4"/>
    <p:sldLayoutId id="2147485104" r:id="rId5"/>
    <p:sldLayoutId id="2147485105" r:id="rId6"/>
    <p:sldLayoutId id="2147485106" r:id="rId7"/>
    <p:sldLayoutId id="2147485107" r:id="rId8"/>
    <p:sldLayoutId id="2147485108" r:id="rId9"/>
    <p:sldLayoutId id="2147485109" r:id="rId10"/>
    <p:sldLayoutId id="2147485110" r:id="rId11"/>
    <p:sldLayoutId id="2147485111" r:id="rId12"/>
    <p:sldLayoutId id="2147485112" r:id="rId13"/>
    <p:sldLayoutId id="2147485113" r:id="rId14"/>
    <p:sldLayoutId id="2147485114" r:id="rId15"/>
    <p:sldLayoutId id="2147485115" r:id="rId16"/>
    <p:sldLayoutId id="2147485116" r:id="rId17"/>
    <p:sldLayoutId id="2147485117" r:id="rId18"/>
    <p:sldLayoutId id="2147485118" r:id="rId19"/>
    <p:sldLayoutId id="2147485119" r:id="rId20"/>
  </p:sldLayoutIdLst>
  <p:hf sldNum="0" hdr="0" ftr="0" dt="0"/>
  <p:txStyles>
    <p:titleStyle>
      <a:lvl1pPr algn="ctr" defTabSz="609660" rtl="0" eaLnBrk="1" latinLnBrk="0" hangingPunct="1">
        <a:spcBef>
          <a:spcPct val="0"/>
        </a:spcBef>
        <a:buNone/>
        <a:defRPr sz="2933" kern="1200">
          <a:solidFill>
            <a:schemeClr val="tx1"/>
          </a:solidFill>
          <a:latin typeface="+mj-lt"/>
          <a:ea typeface="+mj-ea"/>
          <a:cs typeface="+mj-cs"/>
        </a:defRPr>
      </a:lvl1pPr>
    </p:titleStyle>
    <p:bodyStyle>
      <a:lvl1pPr marL="228623" indent="-228623" algn="l" defTabSz="60966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50" indent="-190520" algn="l" defTabSz="60966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76" indent="-152416" algn="l" defTabSz="60966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907"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73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56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39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22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1060"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60" rtl="0" eaLnBrk="1" latinLnBrk="0" hangingPunct="1">
        <a:defRPr sz="1200" kern="1200">
          <a:solidFill>
            <a:schemeClr val="tx1"/>
          </a:solidFill>
          <a:latin typeface="+mn-lt"/>
          <a:ea typeface="+mn-ea"/>
          <a:cs typeface="+mn-cs"/>
        </a:defRPr>
      </a:lvl1pPr>
      <a:lvl2pPr marL="304831" algn="l" defTabSz="609660" rtl="0" eaLnBrk="1" latinLnBrk="0" hangingPunct="1">
        <a:defRPr sz="1200" kern="1200">
          <a:solidFill>
            <a:schemeClr val="tx1"/>
          </a:solidFill>
          <a:latin typeface="+mn-lt"/>
          <a:ea typeface="+mn-ea"/>
          <a:cs typeface="+mn-cs"/>
        </a:defRPr>
      </a:lvl2pPr>
      <a:lvl3pPr marL="609660" algn="l" defTabSz="609660" rtl="0" eaLnBrk="1" latinLnBrk="0" hangingPunct="1">
        <a:defRPr sz="1200" kern="1200">
          <a:solidFill>
            <a:schemeClr val="tx1"/>
          </a:solidFill>
          <a:latin typeface="+mn-lt"/>
          <a:ea typeface="+mn-ea"/>
          <a:cs typeface="+mn-cs"/>
        </a:defRPr>
      </a:lvl3pPr>
      <a:lvl4pPr marL="914492" algn="l" defTabSz="609660" rtl="0" eaLnBrk="1" latinLnBrk="0" hangingPunct="1">
        <a:defRPr sz="1200" kern="1200">
          <a:solidFill>
            <a:schemeClr val="tx1"/>
          </a:solidFill>
          <a:latin typeface="+mn-lt"/>
          <a:ea typeface="+mn-ea"/>
          <a:cs typeface="+mn-cs"/>
        </a:defRPr>
      </a:lvl4pPr>
      <a:lvl5pPr marL="1219322" algn="l" defTabSz="609660" rtl="0" eaLnBrk="1" latinLnBrk="0" hangingPunct="1">
        <a:defRPr sz="1200" kern="1200">
          <a:solidFill>
            <a:schemeClr val="tx1"/>
          </a:solidFill>
          <a:latin typeface="+mn-lt"/>
          <a:ea typeface="+mn-ea"/>
          <a:cs typeface="+mn-cs"/>
        </a:defRPr>
      </a:lvl5pPr>
      <a:lvl6pPr marL="1524152" algn="l" defTabSz="609660" rtl="0" eaLnBrk="1" latinLnBrk="0" hangingPunct="1">
        <a:defRPr sz="1200" kern="1200">
          <a:solidFill>
            <a:schemeClr val="tx1"/>
          </a:solidFill>
          <a:latin typeface="+mn-lt"/>
          <a:ea typeface="+mn-ea"/>
          <a:cs typeface="+mn-cs"/>
        </a:defRPr>
      </a:lvl6pPr>
      <a:lvl7pPr marL="1828983" algn="l" defTabSz="609660" rtl="0" eaLnBrk="1" latinLnBrk="0" hangingPunct="1">
        <a:defRPr sz="1200" kern="1200">
          <a:solidFill>
            <a:schemeClr val="tx1"/>
          </a:solidFill>
          <a:latin typeface="+mn-lt"/>
          <a:ea typeface="+mn-ea"/>
          <a:cs typeface="+mn-cs"/>
        </a:defRPr>
      </a:lvl7pPr>
      <a:lvl8pPr marL="2133814" algn="l" defTabSz="609660" rtl="0" eaLnBrk="1" latinLnBrk="0" hangingPunct="1">
        <a:defRPr sz="1200" kern="1200">
          <a:solidFill>
            <a:schemeClr val="tx1"/>
          </a:solidFill>
          <a:latin typeface="+mn-lt"/>
          <a:ea typeface="+mn-ea"/>
          <a:cs typeface="+mn-cs"/>
        </a:defRPr>
      </a:lvl8pPr>
      <a:lvl9pPr marL="2438644" algn="l" defTabSz="60966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078870"/>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 id="2147485130" r:id="rId10"/>
    <p:sldLayoutId id="2147485131" r:id="rId11"/>
    <p:sldLayoutId id="2147485132" r:id="rId12"/>
    <p:sldLayoutId id="2147485133" r:id="rId13"/>
    <p:sldLayoutId id="2147485134" r:id="rId14"/>
    <p:sldLayoutId id="2147485135" r:id="rId15"/>
    <p:sldLayoutId id="2147485136" r:id="rId16"/>
    <p:sldLayoutId id="2147485137" r:id="rId17"/>
    <p:sldLayoutId id="2147485138" r:id="rId18"/>
    <p:sldLayoutId id="2147485139" r:id="rId19"/>
    <p:sldLayoutId id="2147485140" r:id="rId20"/>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3392" y="536576"/>
            <a:ext cx="10001526" cy="587375"/>
          </a:xfrm>
          <a:prstGeom prst="rect">
            <a:avLst/>
          </a:prstGeom>
        </p:spPr>
        <p:txBody>
          <a:bodyPr vert="horz" lIns="0" tIns="45724" rIns="0" bIns="45724" rtlCol="0" anchor="t" anchorCtr="0">
            <a:noAutofit/>
          </a:bodyPr>
          <a:lstStyle/>
          <a:p>
            <a:r>
              <a:rPr lang="en-US" dirty="0"/>
              <a:t>CLICK TO EDIT TITLE STYLE</a:t>
            </a:r>
          </a:p>
        </p:txBody>
      </p:sp>
      <p:sp>
        <p:nvSpPr>
          <p:cNvPr id="3" name="Text Placeholder 2"/>
          <p:cNvSpPr>
            <a:spLocks noGrp="1"/>
          </p:cNvSpPr>
          <p:nvPr>
            <p:ph type="body" idx="1"/>
          </p:nvPr>
        </p:nvSpPr>
        <p:spPr>
          <a:xfrm>
            <a:off x="973392" y="1597025"/>
            <a:ext cx="10001526" cy="4389120"/>
          </a:xfrm>
          <a:prstGeom prst="rect">
            <a:avLst/>
          </a:prstGeom>
        </p:spPr>
        <p:txBody>
          <a:bodyPr vert="horz" lIns="0" tIns="0" rIns="0" bIns="4572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314177" y="6528816"/>
            <a:ext cx="877824" cy="109728"/>
          </a:xfrm>
          <a:prstGeom prst="rect">
            <a:avLst/>
          </a:prstGeom>
        </p:spPr>
        <p:txBody>
          <a:bodyPr vert="horz" lIns="91448" tIns="0" rIns="91448" bIns="0" rtlCol="0" anchor="ctr"/>
          <a:lstStyle>
            <a:lvl1pPr algn="r">
              <a:defRPr sz="700">
                <a:solidFill>
                  <a:schemeClr val="tx1">
                    <a:lumMod val="50000"/>
                    <a:lumOff val="50000"/>
                  </a:schemeClr>
                </a:solidFill>
              </a:defRPr>
            </a:lvl1pPr>
          </a:lstStyle>
          <a:p>
            <a:fld id="{3465F197-B1B8-4584-8B75-5D45B647D250}" type="datetimeFigureOut">
              <a:rPr lang="en-US" smtClean="0"/>
              <a:pPr/>
              <a:t>2/27/26</a:t>
            </a:fld>
            <a:endParaRPr lang="en-US" dirty="0"/>
          </a:p>
        </p:txBody>
      </p:sp>
      <p:sp>
        <p:nvSpPr>
          <p:cNvPr id="5" name="Footer Placeholder 4"/>
          <p:cNvSpPr>
            <a:spLocks noGrp="1"/>
          </p:cNvSpPr>
          <p:nvPr>
            <p:ph type="ftr" sz="quarter" idx="3"/>
          </p:nvPr>
        </p:nvSpPr>
        <p:spPr>
          <a:xfrm>
            <a:off x="2235200" y="6135688"/>
            <a:ext cx="9434377" cy="365760"/>
          </a:xfrm>
          <a:prstGeom prst="rect">
            <a:avLst/>
          </a:prstGeom>
        </p:spPr>
        <p:txBody>
          <a:bodyPr vert="horz" lIns="0" tIns="45724" rIns="0" bIns="0" rtlCol="0" anchor="b" anchorCtr="0"/>
          <a:lstStyle>
            <a:lvl1pPr algn="r">
              <a:lnSpc>
                <a:spcPct val="90000"/>
              </a:lnSpc>
              <a:defRPr sz="1200">
                <a:solidFill>
                  <a:schemeClr val="tx1">
                    <a:lumMod val="50000"/>
                    <a:lumOff val="50000"/>
                  </a:schemeClr>
                </a:solidFill>
              </a:defRPr>
            </a:lvl1pPr>
          </a:lstStyle>
          <a:p>
            <a:endParaRPr lang="en-US" dirty="0"/>
          </a:p>
        </p:txBody>
      </p:sp>
      <p:sp>
        <p:nvSpPr>
          <p:cNvPr id="7" name="TextBox 6"/>
          <p:cNvSpPr txBox="1"/>
          <p:nvPr/>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D558B60A-1145-4F0A-8AF7-E7E89EA3B390}"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a:t>
            </a:r>
          </a:p>
        </p:txBody>
      </p:sp>
    </p:spTree>
    <p:extLst>
      <p:ext uri="{BB962C8B-B14F-4D97-AF65-F5344CB8AC3E}">
        <p14:creationId xmlns:p14="http://schemas.microsoft.com/office/powerpoint/2010/main" val="284692785"/>
      </p:ext>
    </p:extLst>
  </p:cSld>
  <p:clrMap bg1="dk1" tx1="lt1" bg2="dk2" tx2="lt2" accent1="accent1" accent2="accent2" accent3="accent3" accent4="accent4" accent5="accent5" accent6="accent6" hlink="hlink" folHlink="folHlink"/>
  <p:sldLayoutIdLst>
    <p:sldLayoutId id="2147485142" r:id="rId1"/>
    <p:sldLayoutId id="2147485143" r:id="rId2"/>
    <p:sldLayoutId id="2147485144" r:id="rId3"/>
    <p:sldLayoutId id="2147485145" r:id="rId4"/>
    <p:sldLayoutId id="2147485146" r:id="rId5"/>
    <p:sldLayoutId id="2147485147" r:id="rId6"/>
    <p:sldLayoutId id="2147485148" r:id="rId7"/>
    <p:sldLayoutId id="2147485149" r:id="rId8"/>
    <p:sldLayoutId id="2147485150" r:id="rId9"/>
    <p:sldLayoutId id="2147485151" r:id="rId10"/>
    <p:sldLayoutId id="2147485152" r:id="rId11"/>
    <p:sldLayoutId id="2147485153" r:id="rId12"/>
    <p:sldLayoutId id="2147485154" r:id="rId13"/>
    <p:sldLayoutId id="2147485155" r:id="rId14"/>
    <p:sldLayoutId id="2147485156" r:id="rId15"/>
    <p:sldLayoutId id="2147485157" r:id="rId16"/>
    <p:sldLayoutId id="2147485158" r:id="rId17"/>
    <p:sldLayoutId id="2147485159" r:id="rId18"/>
    <p:sldLayoutId id="2147485160" r:id="rId19"/>
    <p:sldLayoutId id="2147485161" r:id="rId20"/>
    <p:sldLayoutId id="2147485162" r:id="rId21"/>
    <p:sldLayoutId id="2147485163" r:id="rId22"/>
    <p:sldLayoutId id="2147485164" r:id="rId23"/>
    <p:sldLayoutId id="2147485165" r:id="rId24"/>
    <p:sldLayoutId id="2147485166" r:id="rId25"/>
    <p:sldLayoutId id="2147485167" r:id="rId26"/>
    <p:sldLayoutId id="2147485168" r:id="rId27"/>
    <p:sldLayoutId id="2147485169" r:id="rId28"/>
    <p:sldLayoutId id="2147485170" r:id="rId29"/>
    <p:sldLayoutId id="2147485171" r:id="rId30"/>
    <p:sldLayoutId id="2147485172" r:id="rId31"/>
    <p:sldLayoutId id="2147485173" r:id="rId32"/>
    <p:sldLayoutId id="2147485174" r:id="rId33"/>
    <p:sldLayoutId id="2147485175" r:id="rId34"/>
    <p:sldLayoutId id="2147485176" r:id="rId35"/>
    <p:sldLayoutId id="2147485177" r:id="rId36"/>
    <p:sldLayoutId id="2147485178" r:id="rId37"/>
    <p:sldLayoutId id="2147485179" r:id="rId38"/>
    <p:sldLayoutId id="2147485180" r:id="rId39"/>
  </p:sldLayoutIdLst>
  <p:txStyles>
    <p:titleStyle>
      <a:lvl1pPr algn="l" defTabSz="914484"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171450" indent="-171450" algn="l" defTabSz="914484" rtl="0" eaLnBrk="1" latinLnBrk="0" hangingPunct="1">
        <a:lnSpc>
          <a:spcPct val="90000"/>
        </a:lnSpc>
        <a:spcBef>
          <a:spcPts val="1500"/>
        </a:spcBef>
        <a:buClr>
          <a:schemeClr val="accent1"/>
        </a:buClr>
        <a:buFont typeface="Arial" pitchFamily="34" charset="0"/>
        <a:buChar char="•"/>
        <a:defRPr sz="2400" kern="1200">
          <a:solidFill>
            <a:schemeClr val="tx1"/>
          </a:solidFill>
          <a:latin typeface="+mn-lt"/>
          <a:ea typeface="+mn-ea"/>
          <a:cs typeface="+mn-cs"/>
        </a:defRPr>
      </a:lvl1pPr>
      <a:lvl2pPr marL="6286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2pPr>
      <a:lvl3pPr marL="10858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3pPr>
      <a:lvl4pPr marL="15430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4pPr>
      <a:lvl5pPr marL="20002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5pPr>
      <a:lvl6pPr marL="2514830"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72"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84" rtl="0" eaLnBrk="1" latinLnBrk="0" hangingPunct="1">
        <a:defRPr sz="1900" kern="1200">
          <a:solidFill>
            <a:schemeClr val="tx1"/>
          </a:solidFill>
          <a:latin typeface="+mn-lt"/>
          <a:ea typeface="+mn-ea"/>
          <a:cs typeface="+mn-cs"/>
        </a:defRPr>
      </a:lvl1pPr>
      <a:lvl2pPr marL="457241" algn="l" defTabSz="914484" rtl="0" eaLnBrk="1" latinLnBrk="0" hangingPunct="1">
        <a:defRPr sz="1900" kern="1200">
          <a:solidFill>
            <a:schemeClr val="tx1"/>
          </a:solidFill>
          <a:latin typeface="+mn-lt"/>
          <a:ea typeface="+mn-ea"/>
          <a:cs typeface="+mn-cs"/>
        </a:defRPr>
      </a:lvl2pPr>
      <a:lvl3pPr marL="914484" algn="l" defTabSz="914484" rtl="0" eaLnBrk="1" latinLnBrk="0" hangingPunct="1">
        <a:defRPr sz="1900" kern="1200">
          <a:solidFill>
            <a:schemeClr val="tx1"/>
          </a:solidFill>
          <a:latin typeface="+mn-lt"/>
          <a:ea typeface="+mn-ea"/>
          <a:cs typeface="+mn-cs"/>
        </a:defRPr>
      </a:lvl3pPr>
      <a:lvl4pPr marL="1371725" algn="l" defTabSz="914484" rtl="0" eaLnBrk="1" latinLnBrk="0" hangingPunct="1">
        <a:defRPr sz="1900" kern="1200">
          <a:solidFill>
            <a:schemeClr val="tx1"/>
          </a:solidFill>
          <a:latin typeface="+mn-lt"/>
          <a:ea typeface="+mn-ea"/>
          <a:cs typeface="+mn-cs"/>
        </a:defRPr>
      </a:lvl4pPr>
      <a:lvl5pPr marL="1828968" algn="l" defTabSz="914484" rtl="0" eaLnBrk="1" latinLnBrk="0" hangingPunct="1">
        <a:defRPr sz="1900" kern="1200">
          <a:solidFill>
            <a:schemeClr val="tx1"/>
          </a:solidFill>
          <a:latin typeface="+mn-lt"/>
          <a:ea typeface="+mn-ea"/>
          <a:cs typeface="+mn-cs"/>
        </a:defRPr>
      </a:lvl5pPr>
      <a:lvl6pPr marL="2286209" algn="l" defTabSz="914484" rtl="0" eaLnBrk="1" latinLnBrk="0" hangingPunct="1">
        <a:defRPr sz="1900" kern="1200">
          <a:solidFill>
            <a:schemeClr val="tx1"/>
          </a:solidFill>
          <a:latin typeface="+mn-lt"/>
          <a:ea typeface="+mn-ea"/>
          <a:cs typeface="+mn-cs"/>
        </a:defRPr>
      </a:lvl6pPr>
      <a:lvl7pPr marL="2743452" algn="l" defTabSz="914484" rtl="0" eaLnBrk="1" latinLnBrk="0" hangingPunct="1">
        <a:defRPr sz="1900" kern="1200">
          <a:solidFill>
            <a:schemeClr val="tx1"/>
          </a:solidFill>
          <a:latin typeface="+mn-lt"/>
          <a:ea typeface="+mn-ea"/>
          <a:cs typeface="+mn-cs"/>
        </a:defRPr>
      </a:lvl7pPr>
      <a:lvl8pPr marL="3200693" algn="l" defTabSz="914484" rtl="0" eaLnBrk="1" latinLnBrk="0" hangingPunct="1">
        <a:defRPr sz="1900" kern="1200">
          <a:solidFill>
            <a:schemeClr val="tx1"/>
          </a:solidFill>
          <a:latin typeface="+mn-lt"/>
          <a:ea typeface="+mn-ea"/>
          <a:cs typeface="+mn-cs"/>
        </a:defRPr>
      </a:lvl8pPr>
      <a:lvl9pPr marL="3657936" algn="l" defTabSz="91448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63EFBF-72E0-AEBD-D889-2633F00BF9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25BA80-DF39-0D77-3654-4FEE53D078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C83745-7C8B-F37B-A7FB-82536D5C2F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32F337C-8163-4E06-A100-1EBF99FEE0BD}" type="datetimeFigureOut">
              <a:rPr lang="en-US" smtClean="0"/>
              <a:t>2/27/26</a:t>
            </a:fld>
            <a:endParaRPr lang="en-US"/>
          </a:p>
        </p:txBody>
      </p:sp>
      <p:sp>
        <p:nvSpPr>
          <p:cNvPr id="5" name="Footer Placeholder 4">
            <a:extLst>
              <a:ext uri="{FF2B5EF4-FFF2-40B4-BE49-F238E27FC236}">
                <a16:creationId xmlns:a16="http://schemas.microsoft.com/office/drawing/2014/main" id="{547BBD3C-37C7-E28E-D40C-4DEDA13E47E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57AEE7F-BA23-8B28-89E0-4E8FC4C22E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4ECA00D-3A17-4B74-B30C-FAB42913F54B}" type="slidenum">
              <a:rPr lang="en-US" smtClean="0"/>
              <a:t>‹#›</a:t>
            </a:fld>
            <a:endParaRPr lang="en-US"/>
          </a:p>
        </p:txBody>
      </p:sp>
    </p:spTree>
    <p:extLst>
      <p:ext uri="{BB962C8B-B14F-4D97-AF65-F5344CB8AC3E}">
        <p14:creationId xmlns:p14="http://schemas.microsoft.com/office/powerpoint/2010/main" val="1774473935"/>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4.xml"/><Relationship Id="rId1" Type="http://schemas.openxmlformats.org/officeDocument/2006/relationships/slideLayout" Target="../slideLayouts/slideLayout118.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1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xml"/><Relationship Id="rId1" Type="http://schemas.openxmlformats.org/officeDocument/2006/relationships/slideLayout" Target="../slideLayouts/slideLayout118.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1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121.png"/><Relationship Id="rId4" Type="http://schemas.openxmlformats.org/officeDocument/2006/relationships/image" Target="../media/image120.png"/></Relationships>
</file>

<file path=ppt/slides/_rels/slide20.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139.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9.xml"/></Relationships>
</file>

<file path=ppt/slides/_rels/slide22.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139.xml"/></Relationships>
</file>

<file path=ppt/slides/_rels/slide2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8.xml"/><Relationship Id="rId1" Type="http://schemas.openxmlformats.org/officeDocument/2006/relationships/slideLayout" Target="../slideLayouts/slideLayout149.xml"/><Relationship Id="rId4" Type="http://schemas.openxmlformats.org/officeDocument/2006/relationships/image" Target="../media/image135.jpeg"/></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50.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1.xml"/><Relationship Id="rId1" Type="http://schemas.openxmlformats.org/officeDocument/2006/relationships/tags" Target="../tags/tag17.xml"/><Relationship Id="rId6" Type="http://schemas.openxmlformats.org/officeDocument/2006/relationships/image" Target="../media/image137.svg"/><Relationship Id="rId5" Type="http://schemas.openxmlformats.org/officeDocument/2006/relationships/image" Target="../media/image136.png"/><Relationship Id="rId4" Type="http://schemas.openxmlformats.org/officeDocument/2006/relationships/chart" Target="../charts/chart4.xml"/></Relationships>
</file>

<file path=ppt/slides/_rels/slide26.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notesSlide" Target="../notesSlides/notesSlide11.xml"/><Relationship Id="rId1" Type="http://schemas.openxmlformats.org/officeDocument/2006/relationships/slideLayout" Target="../slideLayouts/slideLayout139.xml"/><Relationship Id="rId5" Type="http://schemas.openxmlformats.org/officeDocument/2006/relationships/image" Target="../media/image140.emf"/><Relationship Id="rId4" Type="http://schemas.openxmlformats.org/officeDocument/2006/relationships/image" Target="../media/image139.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28.xml.rels><?xml version="1.0" encoding="UTF-8" standalone="yes"?>
<Relationships xmlns="http://schemas.openxmlformats.org/package/2006/relationships"><Relationship Id="rId2" Type="http://schemas.openxmlformats.org/officeDocument/2006/relationships/image" Target="../media/image141.emf"/><Relationship Id="rId1" Type="http://schemas.openxmlformats.org/officeDocument/2006/relationships/slideLayout" Target="../slideLayouts/slideLayout151.xml"/></Relationships>
</file>

<file path=ppt/slides/_rels/slide29.xml.rels><?xml version="1.0" encoding="UTF-8" standalone="yes"?>
<Relationships xmlns="http://schemas.openxmlformats.org/package/2006/relationships"><Relationship Id="rId2" Type="http://schemas.openxmlformats.org/officeDocument/2006/relationships/image" Target="../media/image142.emf"/><Relationship Id="rId1" Type="http://schemas.openxmlformats.org/officeDocument/2006/relationships/slideLayout" Target="../slideLayouts/slideLayout151.xml"/></Relationships>
</file>

<file path=ppt/slides/_rels/slide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124.png"/><Relationship Id="rId4" Type="http://schemas.openxmlformats.org/officeDocument/2006/relationships/image" Target="../media/image123.png"/></Relationships>
</file>

<file path=ppt/slides/_rels/slide3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xml"/><Relationship Id="rId1" Type="http://schemas.openxmlformats.org/officeDocument/2006/relationships/slideLayout" Target="../slideLayouts/slideLayout152.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144.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jpg"/><Relationship Id="rId1" Type="http://schemas.openxmlformats.org/officeDocument/2006/relationships/slideLayout" Target="../slideLayouts/slideLayout15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169.xml"/></Relationships>
</file>

<file path=ppt/slides/_rels/slide41.xml.rels><?xml version="1.0" encoding="UTF-8" standalone="yes"?>
<Relationships xmlns="http://schemas.openxmlformats.org/package/2006/relationships"><Relationship Id="rId8" Type="http://schemas.openxmlformats.org/officeDocument/2006/relationships/image" Target="../media/image158.jpg"/><Relationship Id="rId3" Type="http://schemas.openxmlformats.org/officeDocument/2006/relationships/image" Target="../media/image153.emf"/><Relationship Id="rId7" Type="http://schemas.openxmlformats.org/officeDocument/2006/relationships/image" Target="../media/image157.png"/><Relationship Id="rId2" Type="http://schemas.openxmlformats.org/officeDocument/2006/relationships/notesSlide" Target="../notesSlides/notesSlide17.xml"/><Relationship Id="rId1" Type="http://schemas.openxmlformats.org/officeDocument/2006/relationships/slideLayout" Target="../slideLayouts/slideLayout175.xml"/><Relationship Id="rId6" Type="http://schemas.openxmlformats.org/officeDocument/2006/relationships/image" Target="../media/image156.emf"/><Relationship Id="rId5" Type="http://schemas.openxmlformats.org/officeDocument/2006/relationships/image" Target="../media/image155.emf"/><Relationship Id="rId4" Type="http://schemas.openxmlformats.org/officeDocument/2006/relationships/image" Target="../media/image154.emf"/></Relationships>
</file>

<file path=ppt/slides/_rels/slide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9.png"/><Relationship Id="rId1" Type="http://schemas.openxmlformats.org/officeDocument/2006/relationships/slideLayout" Target="../slideLayouts/slideLayout169.xml"/><Relationship Id="rId5" Type="http://schemas.microsoft.com/office/2007/relationships/hdphoto" Target="../media/hdphoto3.wdp"/><Relationship Id="rId4" Type="http://schemas.openxmlformats.org/officeDocument/2006/relationships/image" Target="../media/image160.png"/></Relationships>
</file>

<file path=ppt/slides/_rels/slide4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1.png"/><Relationship Id="rId1" Type="http://schemas.openxmlformats.org/officeDocument/2006/relationships/slideLayout" Target="../slideLayouts/slideLayout169.xml"/></Relationships>
</file>

<file path=ppt/slides/_rels/slide4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16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6.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182.xml"/></Relationships>
</file>

<file path=ppt/slides/_rels/slide5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16.xml"/><Relationship Id="rId2" Type="http://schemas.openxmlformats.org/officeDocument/2006/relationships/customXml" Target="../../customXml/item20.xml"/><Relationship Id="rId1" Type="http://schemas.openxmlformats.org/officeDocument/2006/relationships/customXml" Target="../../customXml/item33.xml"/><Relationship Id="rId4" Type="http://schemas.openxmlformats.org/officeDocument/2006/relationships/notesSlide" Target="../notesSlides/notesSlide2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40.xml"/><Relationship Id="rId1" Type="http://schemas.openxmlformats.org/officeDocument/2006/relationships/customXml" Target="../../customXml/item17.xml"/><Relationship Id="rId6" Type="http://schemas.microsoft.com/office/2007/relationships/hdphoto" Target="../media/hdphoto5.wdp"/><Relationship Id="rId5" Type="http://schemas.openxmlformats.org/officeDocument/2006/relationships/image" Target="../media/image165.png"/><Relationship Id="rId4" Type="http://schemas.openxmlformats.org/officeDocument/2006/relationships/notesSlide" Target="../notesSlides/notesSlide2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18.xml"/><Relationship Id="rId1" Type="http://schemas.openxmlformats.org/officeDocument/2006/relationships/customXml" Target="../../customXml/item44.xml"/><Relationship Id="rId6" Type="http://schemas.microsoft.com/office/2007/relationships/hdphoto" Target="../media/hdphoto6.wdp"/><Relationship Id="rId5" Type="http://schemas.openxmlformats.org/officeDocument/2006/relationships/image" Target="../media/image166.png"/><Relationship Id="rId4" Type="http://schemas.openxmlformats.org/officeDocument/2006/relationships/notesSlide" Target="../notesSlides/notesSlide23.xml"/></Relationships>
</file>

<file path=ppt/slides/_rels/slide6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7.png"/><Relationship Id="rId1" Type="http://schemas.openxmlformats.org/officeDocument/2006/relationships/slideLayout" Target="../slideLayouts/slideLayout248.xml"/></Relationships>
</file>

<file path=ppt/slides/_rels/slide6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68.png"/><Relationship Id="rId1" Type="http://schemas.openxmlformats.org/officeDocument/2006/relationships/slideLayout" Target="../slideLayouts/slideLayout248.xml"/></Relationships>
</file>

<file path=ppt/slides/_rels/slide68.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69.png"/><Relationship Id="rId1" Type="http://schemas.openxmlformats.org/officeDocument/2006/relationships/slideLayout" Target="../slideLayouts/slideLayout248.xml"/></Relationships>
</file>

<file path=ppt/slides/_rels/slide6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70.png"/><Relationship Id="rId1" Type="http://schemas.openxmlformats.org/officeDocument/2006/relationships/slideLayout" Target="../slideLayouts/slideLayout24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70.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71.png"/><Relationship Id="rId1" Type="http://schemas.openxmlformats.org/officeDocument/2006/relationships/slideLayout" Target="../slideLayouts/slideLayout248.xml"/></Relationships>
</file>

<file path=ppt/slides/_rels/slide7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72.png"/><Relationship Id="rId1" Type="http://schemas.openxmlformats.org/officeDocument/2006/relationships/slideLayout" Target="../slideLayouts/slideLayout248.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11.xml"/><Relationship Id="rId1" Type="http://schemas.openxmlformats.org/officeDocument/2006/relationships/customXml" Target="../../customXml/item16.xml"/><Relationship Id="rId4" Type="http://schemas.openxmlformats.org/officeDocument/2006/relationships/notesSlide" Target="../notesSlides/notesSlide24.xml"/></Relationships>
</file>

<file path=ppt/slides/_rels/slide73.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73.png"/><Relationship Id="rId1" Type="http://schemas.openxmlformats.org/officeDocument/2006/relationships/slideLayout" Target="../slideLayouts/slideLayout248.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36.xml"/><Relationship Id="rId1" Type="http://schemas.openxmlformats.org/officeDocument/2006/relationships/customXml" Target="../../customXml/item22.xml"/><Relationship Id="rId4" Type="http://schemas.openxmlformats.org/officeDocument/2006/relationships/notesSlide" Target="../notesSlides/notesSlide25.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2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30.xml"/><Relationship Id="rId1" Type="http://schemas.openxmlformats.org/officeDocument/2006/relationships/customXml" Target="../../customXml/item43.xml"/><Relationship Id="rId4" Type="http://schemas.openxmlformats.org/officeDocument/2006/relationships/notesSlide" Target="../notesSlides/notesSlide27.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26.xml"/><Relationship Id="rId1" Type="http://schemas.openxmlformats.org/officeDocument/2006/relationships/customXml" Target="../../customXml/item4.xml"/><Relationship Id="rId4" Type="http://schemas.openxmlformats.org/officeDocument/2006/relationships/notesSlide" Target="../notesSlides/notesSlide2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customXml" Target="../../customXml/item5.xml"/><Relationship Id="rId1" Type="http://schemas.openxmlformats.org/officeDocument/2006/relationships/customXml" Target="../../customXml/item2.xml"/><Relationship Id="rId4" Type="http://schemas.openxmlformats.org/officeDocument/2006/relationships/notesSlide" Target="../notesSlides/notesSlide29.xml"/></Relationships>
</file>

<file path=ppt/slides/_rels/slide7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7.jp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51101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875734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E158A-48E0-6CB8-BE34-A8B88B29C934}"/>
            </a:ext>
          </a:extLst>
        </p:cNvPr>
        <p:cNvGrpSpPr/>
        <p:nvPr/>
      </p:nvGrpSpPr>
      <p:grpSpPr>
        <a:xfrm>
          <a:off x="0" y="0"/>
          <a:ext cx="0" cy="0"/>
          <a:chOff x="0" y="0"/>
          <a:chExt cx="0" cy="0"/>
        </a:xfrm>
      </p:grpSpPr>
      <p:sp>
        <p:nvSpPr>
          <p:cNvPr id="18" name="Rectangle 6">
            <a:extLst>
              <a:ext uri="{FF2B5EF4-FFF2-40B4-BE49-F238E27FC236}">
                <a16:creationId xmlns:a16="http://schemas.microsoft.com/office/drawing/2014/main" id="{90912EC1-3E55-B5B9-6CD8-7DD4355545F5}"/>
              </a:ext>
            </a:extLst>
          </p:cNvPr>
          <p:cNvSpPr>
            <a:spLocks noChangeArrowheads="1"/>
          </p:cNvSpPr>
          <p:nvPr/>
        </p:nvSpPr>
        <p:spPr bwMode="auto">
          <a:xfrm>
            <a:off x="623392" y="1143000"/>
            <a:ext cx="7495843"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lease refer to the printed handout provided with your meeting syllabus, and scan the corresponding QR code to</a:t>
            </a:r>
          </a:p>
        </p:txBody>
      </p:sp>
      <p:sp>
        <p:nvSpPr>
          <p:cNvPr id="20" name="Rectangle 13">
            <a:extLst>
              <a:ext uri="{FF2B5EF4-FFF2-40B4-BE49-F238E27FC236}">
                <a16:creationId xmlns:a16="http://schemas.microsoft.com/office/drawing/2014/main" id="{AB2B80CA-480D-84B4-C713-E7D32B8BD69D}"/>
              </a:ext>
            </a:extLst>
          </p:cNvPr>
          <p:cNvSpPr>
            <a:spLocks noChangeArrowheads="1"/>
          </p:cNvSpPr>
          <p:nvPr/>
        </p:nvSpPr>
        <p:spPr bwMode="auto">
          <a:xfrm>
            <a:off x="1639459" y="216893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and Download Program Slides.</a:t>
            </a:r>
          </a:p>
        </p:txBody>
      </p:sp>
      <p:sp>
        <p:nvSpPr>
          <p:cNvPr id="23" name="Rectangle 13">
            <a:extLst>
              <a:ext uri="{FF2B5EF4-FFF2-40B4-BE49-F238E27FC236}">
                <a16:creationId xmlns:a16="http://schemas.microsoft.com/office/drawing/2014/main" id="{23C7F068-072B-D9B9-087D-34010174676B}"/>
              </a:ext>
            </a:extLst>
          </p:cNvPr>
          <p:cNvSpPr>
            <a:spLocks noChangeArrowheads="1"/>
          </p:cNvSpPr>
          <p:nvPr/>
        </p:nvSpPr>
        <p:spPr bwMode="auto">
          <a:xfrm>
            <a:off x="1639459" y="3202779"/>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t>
            </a:r>
            <a:b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a:extLst>
              <a:ext uri="{FF2B5EF4-FFF2-40B4-BE49-F238E27FC236}">
                <a16:creationId xmlns:a16="http://schemas.microsoft.com/office/drawing/2014/main" id="{44C8861B-93DA-7535-EDDC-07D9D19E6E87}"/>
              </a:ext>
            </a:extLst>
          </p:cNvPr>
          <p:cNvSpPr>
            <a:spLocks noChangeArrowheads="1"/>
          </p:cNvSpPr>
          <p:nvPr/>
        </p:nvSpPr>
        <p:spPr bwMode="auto">
          <a:xfrm>
            <a:off x="1639459" y="4302420"/>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We will aim to address as many questions as possible during the program.</a:t>
            </a:r>
          </a:p>
        </p:txBody>
      </p:sp>
      <p:pic>
        <p:nvPicPr>
          <p:cNvPr id="27" name="Picture 26" descr="ASCO-GI-16_iPad-icons_v1fr-slides.png">
            <a:extLst>
              <a:ext uri="{FF2B5EF4-FFF2-40B4-BE49-F238E27FC236}">
                <a16:creationId xmlns:a16="http://schemas.microsoft.com/office/drawing/2014/main" id="{F25C0282-46E1-6C6F-9561-3367CCA5DB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619" y="2122706"/>
            <a:ext cx="1005840" cy="769902"/>
          </a:xfrm>
          <a:prstGeom prst="rect">
            <a:avLst/>
          </a:prstGeom>
        </p:spPr>
      </p:pic>
      <p:pic>
        <p:nvPicPr>
          <p:cNvPr id="28" name="Picture 27" descr="ASCO-GI-16_iPad-icons_v1fr-questions.png">
            <a:extLst>
              <a:ext uri="{FF2B5EF4-FFF2-40B4-BE49-F238E27FC236}">
                <a16:creationId xmlns:a16="http://schemas.microsoft.com/office/drawing/2014/main" id="{28CC9950-DCDE-6CCA-EF23-D8E0CB655D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619" y="4272982"/>
            <a:ext cx="1005840" cy="776111"/>
          </a:xfrm>
          <a:prstGeom prst="rect">
            <a:avLst/>
          </a:prstGeom>
        </p:spPr>
      </p:pic>
      <p:pic>
        <p:nvPicPr>
          <p:cNvPr id="29" name="Picture 28" descr="ASCO-GI-16_iPad-icons_v1fr-survey.png">
            <a:extLst>
              <a:ext uri="{FF2B5EF4-FFF2-40B4-BE49-F238E27FC236}">
                <a16:creationId xmlns:a16="http://schemas.microsoft.com/office/drawing/2014/main" id="{1E0F8757-3CBA-BFF7-9D18-F41A55E5D2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3619" y="3188308"/>
            <a:ext cx="1005840" cy="774684"/>
          </a:xfrm>
          <a:prstGeom prst="rect">
            <a:avLst/>
          </a:prstGeom>
        </p:spPr>
      </p:pic>
      <p:sp>
        <p:nvSpPr>
          <p:cNvPr id="3" name="Title 2">
            <a:extLst>
              <a:ext uri="{FF2B5EF4-FFF2-40B4-BE49-F238E27FC236}">
                <a16:creationId xmlns:a16="http://schemas.microsoft.com/office/drawing/2014/main" id="{D3CA5A3E-0891-DCEA-A3C6-958555BD280D}"/>
              </a:ext>
            </a:extLst>
          </p:cNvPr>
          <p:cNvSpPr>
            <a:spLocks noGrp="1"/>
          </p:cNvSpPr>
          <p:nvPr>
            <p:ph type="title"/>
          </p:nvPr>
        </p:nvSpPr>
        <p:spPr>
          <a:xfrm>
            <a:off x="914639" y="0"/>
            <a:ext cx="10362724" cy="1143000"/>
          </a:xfrm>
        </p:spPr>
        <p:txBody>
          <a:bodyPr/>
          <a:lstStyle/>
          <a:p>
            <a:r>
              <a:rPr lang="en-US" dirty="0"/>
              <a:t>Clinicians in the Meeting Room</a:t>
            </a:r>
          </a:p>
        </p:txBody>
      </p:sp>
      <p:pic>
        <p:nvPicPr>
          <p:cNvPr id="2" name="Picture 1" descr="ASCO-GI-16_iPad-icons_v1fr-cme.png">
            <a:extLst>
              <a:ext uri="{FF2B5EF4-FFF2-40B4-BE49-F238E27FC236}">
                <a16:creationId xmlns:a16="http://schemas.microsoft.com/office/drawing/2014/main" id="{638B5321-BCC9-2699-A886-7AE6A34595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619" y="5330821"/>
            <a:ext cx="1005840" cy="765179"/>
          </a:xfrm>
          <a:prstGeom prst="rect">
            <a:avLst/>
          </a:prstGeom>
        </p:spPr>
      </p:pic>
      <p:sp>
        <p:nvSpPr>
          <p:cNvPr id="4" name="Rectangle 13">
            <a:extLst>
              <a:ext uri="{FF2B5EF4-FFF2-40B4-BE49-F238E27FC236}">
                <a16:creationId xmlns:a16="http://schemas.microsoft.com/office/drawing/2014/main" id="{AE03C6F2-539D-E762-39EE-C5DEF29DDEF2}"/>
              </a:ext>
            </a:extLst>
          </p:cNvPr>
          <p:cNvSpPr>
            <a:spLocks noChangeArrowheads="1"/>
          </p:cNvSpPr>
          <p:nvPr/>
        </p:nvSpPr>
        <p:spPr bwMode="auto">
          <a:xfrm>
            <a:off x="1639459" y="5362122"/>
            <a:ext cx="6309360"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Complete the course evaluation.</a:t>
            </a:r>
          </a:p>
        </p:txBody>
      </p:sp>
      <p:pic>
        <p:nvPicPr>
          <p:cNvPr id="6" name="Picture 5">
            <a:extLst>
              <a:ext uri="{FF2B5EF4-FFF2-40B4-BE49-F238E27FC236}">
                <a16:creationId xmlns:a16="http://schemas.microsoft.com/office/drawing/2014/main" id="{D13C8172-68C7-B7EF-0AAC-7E8BD65FE8B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256240" y="1112168"/>
            <a:ext cx="3567943" cy="462048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36298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t="5667" b="5667"/>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654CD-59AB-E59D-F7BF-059671BB45E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CE7205A-D991-C969-A961-87E7B7485B5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6DCD8D1D-E4BF-AD6F-9127-386520E1AA95}"/>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F8D74183-A27B-B434-9AF7-FAF4F4AADF62}"/>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73EB0E6-36AE-6C23-DC7B-8D3D70FF733D}"/>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F2FCEC2-EE0F-B559-8300-8C315F6A6DAF}"/>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1E913EB1-5FFD-C500-54AC-E4FEB8D38948}"/>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512365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linical Implications of and Appropriate Strategies to Identify PTEN Deficiency in Prostate Cancer — Dr Georg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Targeting AKT in Metastatic Prostate Cancer — Prof Karim </a:t>
            </a:r>
            <a:r>
              <a:rPr lang="en-US" sz="2500" dirty="0" err="1">
                <a:solidFill>
                  <a:schemeClr val="tx1"/>
                </a:solidFill>
              </a:rPr>
              <a:t>Fizaz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Tolerability and Other Practical Considerations with Capivasertib — Dr Heath</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C97AAB-A892-F672-F3F7-E0C74FEB836A}"/>
              </a:ext>
            </a:extLst>
          </p:cNvPr>
          <p:cNvSpPr/>
          <p:nvPr/>
        </p:nvSpPr>
        <p:spPr bwMode="auto">
          <a:xfrm>
            <a:off x="740128" y="1370013"/>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Clinical Implications of and Appropriate Strategies to Identify PTEN Deficiency in Prostate Cancer — Dr Georg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Targeting AKT in Metastatic Prostate Cancer — Prof Karim </a:t>
            </a:r>
            <a:r>
              <a:rPr lang="en-US" sz="2500" dirty="0" err="1">
                <a:solidFill>
                  <a:schemeClr val="tx1"/>
                </a:solidFill>
              </a:rPr>
              <a:t>Fizaz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Tolerability and Other Practical Considerations with </a:t>
            </a:r>
            <a:r>
              <a:rPr lang="en-US" sz="2500" dirty="0" err="1">
                <a:solidFill>
                  <a:schemeClr val="tx1"/>
                </a:solidFill>
              </a:rPr>
              <a:t>Capivasertib</a:t>
            </a:r>
            <a:r>
              <a:rPr lang="en-US" sz="2500" dirty="0">
                <a:solidFill>
                  <a:schemeClr val="tx1"/>
                </a:solidFill>
              </a:rPr>
              <a:t> — Dr Heath</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77233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5A16C-D868-E357-95ED-B2C6D53686E2}"/>
              </a:ext>
            </a:extLst>
          </p:cNvPr>
          <p:cNvSpPr>
            <a:spLocks noGrp="1"/>
          </p:cNvSpPr>
          <p:nvPr>
            <p:ph type="ctrTitle"/>
          </p:nvPr>
        </p:nvSpPr>
        <p:spPr/>
        <p:txBody>
          <a:bodyPr>
            <a:normAutofit fontScale="90000"/>
          </a:bodyPr>
          <a:lstStyle/>
          <a:p>
            <a:br>
              <a:rPr lang="en-US" dirty="0"/>
            </a:br>
            <a:r>
              <a:rPr lang="en-US" b="1" dirty="0"/>
              <a:t>Clinical Implications of and Appropriate Strategies to Identify PTEN Deficiency in Prostate Cancer — </a:t>
            </a:r>
            <a:endParaRPr lang="en-US" dirty="0"/>
          </a:p>
        </p:txBody>
      </p:sp>
      <p:sp>
        <p:nvSpPr>
          <p:cNvPr id="3" name="Subtitle 2">
            <a:extLst>
              <a:ext uri="{FF2B5EF4-FFF2-40B4-BE49-F238E27FC236}">
                <a16:creationId xmlns:a16="http://schemas.microsoft.com/office/drawing/2014/main" id="{761A1EFC-E20E-EBBD-A7F4-83273AA5AAA0}"/>
              </a:ext>
            </a:extLst>
          </p:cNvPr>
          <p:cNvSpPr>
            <a:spLocks noGrp="1"/>
          </p:cNvSpPr>
          <p:nvPr>
            <p:ph type="subTitle" idx="1"/>
          </p:nvPr>
        </p:nvSpPr>
        <p:spPr>
          <a:xfrm>
            <a:off x="1524000" y="4056594"/>
            <a:ext cx="9144000" cy="2387600"/>
          </a:xfrm>
        </p:spPr>
        <p:txBody>
          <a:bodyPr>
            <a:normAutofit fontScale="92500" lnSpcReduction="10000"/>
          </a:bodyPr>
          <a:lstStyle/>
          <a:p>
            <a:r>
              <a:rPr lang="en-US" dirty="0"/>
              <a:t>Daniel J. George, MD FASCO</a:t>
            </a:r>
          </a:p>
          <a:p>
            <a:r>
              <a:rPr lang="en-US" dirty="0"/>
              <a:t>Eleanor Easley Distinguished Chair</a:t>
            </a:r>
          </a:p>
          <a:p>
            <a:r>
              <a:rPr lang="en-US" dirty="0"/>
              <a:t>Professor of Medicine, Surgery and Urology</a:t>
            </a:r>
          </a:p>
          <a:p>
            <a:r>
              <a:rPr lang="en-US" dirty="0"/>
              <a:t>Duke University School of Medicine</a:t>
            </a:r>
          </a:p>
          <a:p>
            <a:r>
              <a:rPr lang="en-US" dirty="0"/>
              <a:t>American Cancer Society IMPACT Research Professor</a:t>
            </a:r>
          </a:p>
          <a:p>
            <a:r>
              <a:rPr lang="en-US" dirty="0"/>
              <a:t>Co-lead, DCI Center for Prostate and Urologic Cancers</a:t>
            </a:r>
          </a:p>
        </p:txBody>
      </p:sp>
    </p:spTree>
    <p:extLst>
      <p:ext uri="{BB962C8B-B14F-4D97-AF65-F5344CB8AC3E}">
        <p14:creationId xmlns:p14="http://schemas.microsoft.com/office/powerpoint/2010/main" val="359419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8AD50-A22B-78B2-0184-0D032D84F7AB}"/>
              </a:ext>
            </a:extLst>
          </p:cNvPr>
          <p:cNvSpPr>
            <a:spLocks noGrp="1"/>
          </p:cNvSpPr>
          <p:nvPr>
            <p:ph type="title"/>
          </p:nvPr>
        </p:nvSpPr>
        <p:spPr/>
        <p:txBody>
          <a:bodyPr/>
          <a:lstStyle/>
          <a:p>
            <a:r>
              <a:rPr lang="en-US" dirty="0"/>
              <a:t>What Biomarkers are Recommended for Prostate Cancer Patients?</a:t>
            </a:r>
          </a:p>
        </p:txBody>
      </p:sp>
      <p:sp>
        <p:nvSpPr>
          <p:cNvPr id="3" name="Content Placeholder 2">
            <a:extLst>
              <a:ext uri="{FF2B5EF4-FFF2-40B4-BE49-F238E27FC236}">
                <a16:creationId xmlns:a16="http://schemas.microsoft.com/office/drawing/2014/main" id="{7FFD1C4E-7CB5-0C84-54A0-BED94F157039}"/>
              </a:ext>
            </a:extLst>
          </p:cNvPr>
          <p:cNvSpPr>
            <a:spLocks noGrp="1"/>
          </p:cNvSpPr>
          <p:nvPr>
            <p:ph idx="1"/>
          </p:nvPr>
        </p:nvSpPr>
        <p:spPr>
          <a:xfrm>
            <a:off x="838200" y="1825624"/>
            <a:ext cx="10515600" cy="4778375"/>
          </a:xfrm>
        </p:spPr>
        <p:txBody>
          <a:bodyPr>
            <a:normAutofit fontScale="92500" lnSpcReduction="10000"/>
          </a:bodyPr>
          <a:lstStyle/>
          <a:p>
            <a:r>
              <a:rPr lang="en-US" dirty="0"/>
              <a:t>Germline genetic testing – in case of family history, high risk localized or metastatic disease</a:t>
            </a:r>
          </a:p>
          <a:p>
            <a:r>
              <a:rPr lang="en-US" dirty="0"/>
              <a:t>Somatic genetic testing – for metastatic prostate cancer (multigene assessments including HRR and MSI-H or </a:t>
            </a:r>
            <a:r>
              <a:rPr lang="en-US" dirty="0" err="1"/>
              <a:t>dMMR</a:t>
            </a:r>
            <a:r>
              <a:rPr lang="en-US" dirty="0"/>
              <a:t>).</a:t>
            </a:r>
          </a:p>
          <a:p>
            <a:pPr lvl="1"/>
            <a:r>
              <a:rPr lang="en-US" dirty="0">
                <a:solidFill>
                  <a:srgbClr val="FF0000"/>
                </a:solidFill>
              </a:rPr>
              <a:t>Of these only BRCA, HRR, and MSI-H alterations are actionable </a:t>
            </a:r>
          </a:p>
          <a:p>
            <a:r>
              <a:rPr lang="en-US" dirty="0"/>
              <a:t>Risk assessment of localized disease may be aided by several biomarker assays:</a:t>
            </a:r>
          </a:p>
          <a:p>
            <a:pPr lvl="1"/>
            <a:r>
              <a:rPr lang="en-US" dirty="0"/>
              <a:t>PSA – serum biomarker of AR activity, risk of recurrent/metastatic disease</a:t>
            </a:r>
          </a:p>
          <a:p>
            <a:pPr lvl="1"/>
            <a:r>
              <a:rPr lang="en-US" dirty="0" err="1"/>
              <a:t>Prolaris</a:t>
            </a:r>
            <a:r>
              <a:rPr lang="en-US" dirty="0"/>
              <a:t> – 46-gene genomic risk assessment</a:t>
            </a:r>
          </a:p>
          <a:p>
            <a:pPr lvl="1"/>
            <a:r>
              <a:rPr lang="en-US" dirty="0"/>
              <a:t>Decipher – 22-gene expression risk classifier</a:t>
            </a:r>
          </a:p>
          <a:p>
            <a:pPr lvl="1"/>
            <a:r>
              <a:rPr lang="en-US" dirty="0" err="1"/>
              <a:t>Artera</a:t>
            </a:r>
            <a:r>
              <a:rPr lang="en-US" dirty="0"/>
              <a:t> AI – multimodal AI test including digital path, risk assessment, predictor of ADT benefit with radiation</a:t>
            </a:r>
          </a:p>
          <a:p>
            <a:pPr lvl="1"/>
            <a:r>
              <a:rPr lang="en-US" dirty="0"/>
              <a:t>PTEN IHC – several robust, clinically validated assays are available for use</a:t>
            </a:r>
          </a:p>
          <a:p>
            <a:endParaRPr lang="en-US" dirty="0"/>
          </a:p>
          <a:p>
            <a:pPr marL="0" indent="0">
              <a:buNone/>
            </a:pPr>
            <a:endParaRPr lang="en-US" dirty="0"/>
          </a:p>
        </p:txBody>
      </p:sp>
    </p:spTree>
    <p:extLst>
      <p:ext uri="{BB962C8B-B14F-4D97-AF65-F5344CB8AC3E}">
        <p14:creationId xmlns:p14="http://schemas.microsoft.com/office/powerpoint/2010/main" val="1563734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873023" y="1124744"/>
            <a:ext cx="434340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Professor Karim </a:t>
            </a:r>
            <a:r>
              <a:rPr lang="en-US" sz="1600" dirty="0" err="1">
                <a:solidFill>
                  <a:srgbClr val="000000"/>
                </a:solidFill>
                <a:latin typeface="Calibri" panose="020F0502020204030204" pitchFamily="34" charset="0"/>
                <a:ea typeface="ＭＳ Ｐゴシック" charset="0"/>
                <a:cs typeface="Calibri" panose="020F0502020204030204" pitchFamily="34" charset="0"/>
              </a:rPr>
              <a:t>Fizazi</a:t>
            </a:r>
            <a:r>
              <a:rPr lang="en-US" sz="1600" dirty="0">
                <a:solidFill>
                  <a:srgbClr val="000000"/>
                </a:solidFill>
                <a:latin typeface="Calibri" panose="020F0502020204030204" pitchFamily="34" charset="0"/>
                <a:ea typeface="ＭＳ Ｐゴシック" charset="0"/>
                <a:cs typeface="Calibri" panose="020F0502020204030204" pitchFamily="34" charset="0"/>
              </a:rPr>
              <a:t>,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ead of Service and Full Professor</a:t>
            </a:r>
          </a:p>
          <a:p>
            <a:pPr lvl="0">
              <a:defRPr/>
            </a:pPr>
            <a:r>
              <a:rPr lang="en-US" sz="1600" b="0" dirty="0" err="1">
                <a:solidFill>
                  <a:srgbClr val="000000"/>
                </a:solidFill>
                <a:latin typeface="Calibri" panose="020F0502020204030204" pitchFamily="34" charset="0"/>
                <a:ea typeface="ＭＳ Ｐゴシック" charset="0"/>
                <a:cs typeface="Calibri" panose="020F0502020204030204" pitchFamily="34" charset="0"/>
              </a:rPr>
              <a:t>Institut</a:t>
            </a:r>
            <a:r>
              <a:rPr lang="en-US" sz="1600" b="0" dirty="0">
                <a:solidFill>
                  <a:srgbClr val="000000"/>
                </a:solidFill>
                <a:latin typeface="Calibri" panose="020F0502020204030204" pitchFamily="34" charset="0"/>
                <a:ea typeface="ＭＳ Ｐゴシック" charset="0"/>
                <a:cs typeface="Calibri" panose="020F0502020204030204" pitchFamily="34" charset="0"/>
              </a:rPr>
              <a:t> Gustave Rouss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Paris </a:t>
            </a:r>
            <a:r>
              <a:rPr lang="en-US" sz="1600" b="0" dirty="0" err="1">
                <a:solidFill>
                  <a:srgbClr val="000000"/>
                </a:solidFill>
                <a:latin typeface="Calibri" panose="020F0502020204030204" pitchFamily="34" charset="0"/>
                <a:ea typeface="ＭＳ Ｐゴシック" charset="0"/>
                <a:cs typeface="Calibri" panose="020F0502020204030204" pitchFamily="34" charset="0"/>
              </a:rPr>
              <a:t>Saclay</a:t>
            </a:r>
            <a:endParaRPr lang="en-US" sz="1600" b="0" dirty="0">
              <a:solidFill>
                <a:srgbClr val="000000"/>
              </a:solidFill>
              <a:latin typeface="Calibri" panose="020F0502020204030204" pitchFamily="34" charset="0"/>
              <a:ea typeface="ＭＳ Ｐゴシック" charset="0"/>
              <a:cs typeface="Calibri" panose="020F0502020204030204" pitchFamily="34" charset="0"/>
            </a:endParaRP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Villejuif, France</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1384" y="1124744"/>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1123295"/>
            <a:ext cx="4326696"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600" dirty="0">
                <a:solidFill>
                  <a:srgbClr val="000000"/>
                </a:solidFill>
                <a:latin typeface="Calibri" pitchFamily="-72" charset="0"/>
              </a:rPr>
              <a:t>Elisabeth I Heath, MD</a:t>
            </a:r>
          </a:p>
          <a:p>
            <a:pPr lvl="0">
              <a:spcBef>
                <a:spcPts val="0"/>
              </a:spcBef>
              <a:spcAft>
                <a:spcPts val="0"/>
              </a:spcAft>
              <a:buClr>
                <a:srgbClr val="000000"/>
              </a:buClr>
              <a:buSzPct val="100000"/>
              <a:defRPr/>
            </a:pPr>
            <a:r>
              <a:rPr lang="en-US" sz="1600" b="0" dirty="0">
                <a:solidFill>
                  <a:srgbClr val="000000"/>
                </a:solidFill>
                <a:latin typeface="Calibri" pitchFamily="-72" charset="0"/>
              </a:rPr>
              <a:t>Chair, Department of Oncology</a:t>
            </a:r>
          </a:p>
          <a:p>
            <a:pPr lvl="0">
              <a:spcBef>
                <a:spcPts val="0"/>
              </a:spcBef>
              <a:spcAft>
                <a:spcPts val="0"/>
              </a:spcAft>
              <a:buClr>
                <a:srgbClr val="000000"/>
              </a:buClr>
              <a:buSzPct val="100000"/>
              <a:defRPr/>
            </a:pPr>
            <a:r>
              <a:rPr lang="en-US" sz="1600" b="0" dirty="0">
                <a:solidFill>
                  <a:srgbClr val="000000"/>
                </a:solidFill>
                <a:latin typeface="Calibri" pitchFamily="-72" charset="0"/>
              </a:rPr>
              <a:t>Mayo Clinic</a:t>
            </a:r>
          </a:p>
          <a:p>
            <a:pPr lvl="0">
              <a:spcBef>
                <a:spcPts val="0"/>
              </a:spcBef>
              <a:spcAft>
                <a:spcPts val="0"/>
              </a:spcAft>
              <a:buClr>
                <a:srgbClr val="000000"/>
              </a:buClr>
              <a:buSzPct val="100000"/>
              <a:defRPr/>
            </a:pPr>
            <a:r>
              <a:rPr lang="en-US" sz="1600" b="0" dirty="0">
                <a:solidFill>
                  <a:srgbClr val="000000"/>
                </a:solidFill>
                <a:latin typeface="Calibri" pitchFamily="-72" charset="0"/>
              </a:rPr>
              <a:t>Rochester, Minnesota</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2321" y="1123295"/>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873023" y="3655959"/>
            <a:ext cx="4847456"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Daniel George,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Eleanor Easley Distinguished Chai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Surgery and Ur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CS Research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o-Lead, DCI Center for Prostate and Urologic Cancer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rham, North Caroli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384" y="3655959"/>
            <a:ext cx="1261872" cy="1261872"/>
          </a:xfrm>
          <a:prstGeom prst="rect">
            <a:avLst/>
          </a:prstGeom>
        </p:spPr>
      </p:pic>
    </p:spTree>
    <p:custDataLst>
      <p:tags r:id="rId1"/>
    </p:custDataLst>
    <p:extLst>
      <p:ext uri="{BB962C8B-B14F-4D97-AF65-F5344CB8AC3E}">
        <p14:creationId xmlns:p14="http://schemas.microsoft.com/office/powerpoint/2010/main" val="1264697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5626EA27-A80C-43AB-A39D-2EF5B1348CD0}"/>
              </a:ext>
            </a:extLst>
          </p:cNvPr>
          <p:cNvSpPr>
            <a:spLocks noGrp="1"/>
          </p:cNvSpPr>
          <p:nvPr>
            <p:ph type="title"/>
          </p:nvPr>
        </p:nvSpPr>
        <p:spPr>
          <a:xfrm>
            <a:off x="717422" y="1967266"/>
            <a:ext cx="2940178" cy="2547257"/>
          </a:xfrm>
          <a:noFill/>
        </p:spPr>
        <p:txBody>
          <a:bodyPr vert="horz" lIns="91440" tIns="45720" rIns="91440" bIns="45720" rtlCol="0" anchor="ctr">
            <a:normAutofit/>
          </a:bodyPr>
          <a:lstStyle/>
          <a:p>
            <a:pPr algn="ctr"/>
            <a:r>
              <a:rPr lang="en-US" sz="2800" kern="1200" dirty="0">
                <a:solidFill>
                  <a:srgbClr val="FFFFFF"/>
                </a:solidFill>
                <a:latin typeface="+mj-lt"/>
                <a:ea typeface="+mj-ea"/>
                <a:cs typeface="+mj-cs"/>
              </a:rPr>
              <a:t>Phosphatase and </a:t>
            </a:r>
            <a:r>
              <a:rPr lang="en-US" sz="2800" kern="1200" dirty="0" err="1">
                <a:solidFill>
                  <a:srgbClr val="FFFFFF"/>
                </a:solidFill>
                <a:latin typeface="+mj-lt"/>
                <a:ea typeface="+mj-ea"/>
                <a:cs typeface="+mj-cs"/>
              </a:rPr>
              <a:t>TENsin</a:t>
            </a:r>
            <a:r>
              <a:rPr lang="en-US" sz="2800" kern="1200" dirty="0">
                <a:solidFill>
                  <a:srgbClr val="FFFFFF"/>
                </a:solidFill>
                <a:latin typeface="+mj-lt"/>
                <a:ea typeface="+mj-ea"/>
                <a:cs typeface="+mj-cs"/>
              </a:rPr>
              <a:t> homolog (PTEN) – what is it? </a:t>
            </a:r>
            <a:br>
              <a:rPr lang="en-US" sz="2800" kern="1200" dirty="0">
                <a:solidFill>
                  <a:srgbClr val="FFFFFF"/>
                </a:solidFill>
                <a:latin typeface="+mj-lt"/>
                <a:ea typeface="+mj-ea"/>
                <a:cs typeface="+mj-cs"/>
              </a:rPr>
            </a:br>
            <a:r>
              <a:rPr lang="en-US" sz="2800" dirty="0">
                <a:solidFill>
                  <a:srgbClr val="FFFFFF"/>
                </a:solidFill>
              </a:rPr>
              <a:t>– what does it do?</a:t>
            </a:r>
            <a:endParaRPr lang="en-US" sz="2800" kern="1200" dirty="0">
              <a:solidFill>
                <a:srgbClr val="FFFFFF"/>
              </a:solidFill>
              <a:latin typeface="+mj-lt"/>
              <a:ea typeface="+mj-ea"/>
              <a:cs typeface="+mj-cs"/>
            </a:endParaRPr>
          </a:p>
        </p:txBody>
      </p:sp>
      <p:pic>
        <p:nvPicPr>
          <p:cNvPr id="7" name="Picture 6">
            <a:extLst>
              <a:ext uri="{FF2B5EF4-FFF2-40B4-BE49-F238E27FC236}">
                <a16:creationId xmlns:a16="http://schemas.microsoft.com/office/drawing/2014/main" id="{7875DFA2-3154-F56C-1C42-746F59FE1D70}"/>
              </a:ext>
            </a:extLst>
          </p:cNvPr>
          <p:cNvPicPr>
            <a:picLocks noChangeAspect="1"/>
          </p:cNvPicPr>
          <p:nvPr/>
        </p:nvPicPr>
        <p:blipFill>
          <a:blip r:embed="rId2"/>
          <a:stretch>
            <a:fillRect/>
          </a:stretch>
        </p:blipFill>
        <p:spPr>
          <a:xfrm>
            <a:off x="4661149" y="432415"/>
            <a:ext cx="7210270" cy="4789825"/>
          </a:xfrm>
          <a:prstGeom prst="rect">
            <a:avLst/>
          </a:prstGeom>
        </p:spPr>
      </p:pic>
      <p:sp>
        <p:nvSpPr>
          <p:cNvPr id="8" name="TextBox 7">
            <a:extLst>
              <a:ext uri="{FF2B5EF4-FFF2-40B4-BE49-F238E27FC236}">
                <a16:creationId xmlns:a16="http://schemas.microsoft.com/office/drawing/2014/main" id="{1E9B05EA-181D-E102-FFCE-B5507F2125FB}"/>
              </a:ext>
            </a:extLst>
          </p:cNvPr>
          <p:cNvSpPr txBox="1"/>
          <p:nvPr/>
        </p:nvSpPr>
        <p:spPr>
          <a:xfrm>
            <a:off x="7598324" y="6425585"/>
            <a:ext cx="38762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Kisiel F et al.  Cancers 2025 Aug 30;17(17):2862 </a:t>
            </a:r>
          </a:p>
        </p:txBody>
      </p:sp>
      <p:sp>
        <p:nvSpPr>
          <p:cNvPr id="9" name="Rectangle 1">
            <a:extLst>
              <a:ext uri="{FF2B5EF4-FFF2-40B4-BE49-F238E27FC236}">
                <a16:creationId xmlns:a16="http://schemas.microsoft.com/office/drawing/2014/main" id="{425932F7-8BEE-81D0-D4B9-1B919DABC727}"/>
              </a:ext>
            </a:extLst>
          </p:cNvPr>
          <p:cNvSpPr>
            <a:spLocks noChangeArrowheads="1"/>
          </p:cNvSpPr>
          <p:nvPr/>
        </p:nvSpPr>
        <p:spPr bwMode="auto">
          <a:xfrm>
            <a:off x="0" y="-230832"/>
            <a:ext cx="65"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5B616B"/>
              </a:solidFill>
              <a:effectLst/>
              <a:uLnTx/>
              <a:uFillTx/>
              <a:latin typeface="BlinkMacSystemFont"/>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Rectangle 2">
            <a:extLst>
              <a:ext uri="{FF2B5EF4-FFF2-40B4-BE49-F238E27FC236}">
                <a16:creationId xmlns:a16="http://schemas.microsoft.com/office/drawing/2014/main" id="{6DDB7FB2-4507-CF8A-0104-C9C3FB70CD0B}"/>
              </a:ext>
            </a:extLst>
          </p:cNvPr>
          <p:cNvSpPr>
            <a:spLocks noChangeArrowheads="1"/>
          </p:cNvSpPr>
          <p:nvPr/>
        </p:nvSpPr>
        <p:spPr bwMode="auto">
          <a:xfrm>
            <a:off x="152400" y="13900"/>
            <a:ext cx="80150"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 name="TextBox 10">
            <a:extLst>
              <a:ext uri="{FF2B5EF4-FFF2-40B4-BE49-F238E27FC236}">
                <a16:creationId xmlns:a16="http://schemas.microsoft.com/office/drawing/2014/main" id="{4157B0C1-CF83-503A-C4CA-2DACE6BA7FD9}"/>
              </a:ext>
            </a:extLst>
          </p:cNvPr>
          <p:cNvSpPr txBox="1"/>
          <p:nvPr/>
        </p:nvSpPr>
        <p:spPr>
          <a:xfrm>
            <a:off x="717422" y="5409922"/>
            <a:ext cx="11437618"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bbreviations: RTK, receptor tyrosine kinase; GPCR, G-protein-coupled receptor; PI3K, phosphoinositide 3-kinase; p85/p1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PI3K regulatory/catalytic subunits; PIP</a:t>
            </a:r>
            <a:r>
              <a:rPr kumimoji="0" lang="en-US" sz="1400" b="0" i="0" u="none" strike="noStrike" kern="1200" cap="none" spc="0" normalizeH="0" baseline="-25000" noProof="0" dirty="0">
                <a:ln>
                  <a:noFill/>
                </a:ln>
                <a:solidFill>
                  <a:prstClr val="black"/>
                </a:solidFill>
                <a:effectLst/>
                <a:uLnTx/>
                <a:uFillTx/>
                <a:latin typeface="Aptos" panose="02110004020202020204"/>
                <a:ea typeface="+mn-ea"/>
                <a:cs typeface="+mn-cs"/>
              </a:rPr>
              <a:t>2</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phosphatidylinositol-4,5-bisphosphate; PIP</a:t>
            </a:r>
            <a:r>
              <a:rPr kumimoji="0" lang="en-US" sz="1400" b="0" i="0" u="none" strike="noStrike" kern="1200" cap="none" spc="0" normalizeH="0" baseline="-25000" noProof="0" dirty="0">
                <a:ln>
                  <a:noFill/>
                </a:ln>
                <a:solidFill>
                  <a:prstClr val="black"/>
                </a:solidFill>
                <a:effectLst/>
                <a:uLnTx/>
                <a:uFillTx/>
                <a:latin typeface="Aptos" panose="02110004020202020204"/>
                <a:ea typeface="+mn-ea"/>
                <a:cs typeface="+mn-cs"/>
              </a:rPr>
              <a:t>3</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phosphatidylinositol-3,4,5-trisphosph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PTEN, phosphatase and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tensin</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homologue; AKT, protein kinase B; mTOR, mechanistic target of rapamycin; Ser/</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Thr</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serine/threonine; P, phosph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33199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BFE7E-6F72-6805-33C7-BCAC9B1C038B}"/>
              </a:ext>
            </a:extLst>
          </p:cNvPr>
          <p:cNvSpPr>
            <a:spLocks noGrp="1"/>
          </p:cNvSpPr>
          <p:nvPr>
            <p:ph type="title"/>
          </p:nvPr>
        </p:nvSpPr>
        <p:spPr/>
        <p:txBody>
          <a:bodyPr>
            <a:normAutofit fontScale="90000"/>
          </a:bodyPr>
          <a:lstStyle/>
          <a:p>
            <a:r>
              <a:rPr lang="en-US" dirty="0"/>
              <a:t>PTEN deficiency is common and increases with androgen pathway modulation resistance (APMR)</a:t>
            </a:r>
          </a:p>
        </p:txBody>
      </p:sp>
      <p:graphicFrame>
        <p:nvGraphicFramePr>
          <p:cNvPr id="12" name="Chart 11">
            <a:extLst>
              <a:ext uri="{FF2B5EF4-FFF2-40B4-BE49-F238E27FC236}">
                <a16:creationId xmlns:a16="http://schemas.microsoft.com/office/drawing/2014/main" id="{BDBAD10D-C0E9-7AA1-E1ED-A365F4AE2A4B}"/>
              </a:ext>
            </a:extLst>
          </p:cNvPr>
          <p:cNvGraphicFramePr/>
          <p:nvPr/>
        </p:nvGraphicFramePr>
        <p:xfrm>
          <a:off x="2974349" y="1690688"/>
          <a:ext cx="6410960" cy="448569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13">
            <a:extLst>
              <a:ext uri="{FF2B5EF4-FFF2-40B4-BE49-F238E27FC236}">
                <a16:creationId xmlns:a16="http://schemas.microsoft.com/office/drawing/2014/main" id="{862B4B50-D7FE-1ABB-3BCA-23F3CBFE9D58}"/>
              </a:ext>
            </a:extLst>
          </p:cNvPr>
          <p:cNvSpPr>
            <a:spLocks noGrp="1"/>
          </p:cNvSpPr>
          <p:nvPr>
            <p:ph type="body" sz="quarter" idx="11"/>
          </p:nvPr>
        </p:nvSpPr>
        <p:spPr>
          <a:xfrm>
            <a:off x="838200" y="6642100"/>
            <a:ext cx="10683259" cy="215900"/>
          </a:xfrm>
        </p:spPr>
        <p:txBody>
          <a:bodyPr/>
          <a:lstStyle/>
          <a:p>
            <a:pPr fontAlgn="ctr"/>
            <a:r>
              <a:rPr lang="en-US" dirty="0" err="1"/>
              <a:t>Ferraldeschi</a:t>
            </a:r>
            <a:r>
              <a:rPr lang="en-US" dirty="0"/>
              <a:t> </a:t>
            </a:r>
            <a:r>
              <a:rPr lang="en-GB" i="1" dirty="0" err="1"/>
              <a:t>Eur</a:t>
            </a:r>
            <a:r>
              <a:rPr lang="en-GB" i="1" dirty="0"/>
              <a:t> </a:t>
            </a:r>
            <a:r>
              <a:rPr lang="en-GB" i="1" dirty="0" err="1"/>
              <a:t>Urol</a:t>
            </a:r>
            <a:r>
              <a:rPr lang="en-GB" i="1" dirty="0"/>
              <a:t> </a:t>
            </a:r>
            <a:r>
              <a:rPr lang="en-GB" dirty="0"/>
              <a:t>2015. </a:t>
            </a:r>
            <a:r>
              <a:rPr lang="en-US" dirty="0"/>
              <a:t>Velez </a:t>
            </a:r>
            <a:r>
              <a:rPr lang="en-US" i="1" dirty="0"/>
              <a:t>Prostate Cancer Prostatic Dis </a:t>
            </a:r>
            <a:r>
              <a:rPr lang="en-US" dirty="0"/>
              <a:t>2022. Gilson </a:t>
            </a:r>
            <a:r>
              <a:rPr lang="en-GB" i="1" dirty="0"/>
              <a:t>JCO Precis Oncol </a:t>
            </a:r>
            <a:r>
              <a:rPr lang="en-GB" dirty="0"/>
              <a:t>2020. </a:t>
            </a:r>
            <a:r>
              <a:rPr lang="en-US" dirty="0"/>
              <a:t>Al-</a:t>
            </a:r>
            <a:r>
              <a:rPr lang="en-US" dirty="0" err="1"/>
              <a:t>Toubat</a:t>
            </a:r>
            <a:r>
              <a:rPr lang="en-US" dirty="0"/>
              <a:t> </a:t>
            </a:r>
            <a:r>
              <a:rPr lang="en-US" i="1" dirty="0" err="1"/>
              <a:t>Urol</a:t>
            </a:r>
            <a:r>
              <a:rPr lang="en-US" i="1" dirty="0"/>
              <a:t> Oncol </a:t>
            </a:r>
            <a:r>
              <a:rPr lang="en-US" dirty="0"/>
              <a:t>2023. </a:t>
            </a:r>
            <a:r>
              <a:rPr lang="en-US" dirty="0" err="1"/>
              <a:t>Nizialek</a:t>
            </a:r>
            <a:r>
              <a:rPr lang="en-US" dirty="0"/>
              <a:t> </a:t>
            </a:r>
            <a:r>
              <a:rPr lang="en-US" i="1" dirty="0"/>
              <a:t>Prostate</a:t>
            </a:r>
            <a:r>
              <a:rPr lang="en-US" dirty="0"/>
              <a:t> 2021. Fonseca </a:t>
            </a:r>
            <a:r>
              <a:rPr lang="en-US" i="1" dirty="0"/>
              <a:t>JCO Precis Oncol </a:t>
            </a:r>
            <a:r>
              <a:rPr lang="en-US" dirty="0"/>
              <a:t>2022. Mayrhofer </a:t>
            </a:r>
            <a:r>
              <a:rPr lang="en-US" i="1" dirty="0"/>
              <a:t>Genome Med </a:t>
            </a:r>
            <a:r>
              <a:rPr lang="en-US" dirty="0"/>
              <a:t>2018. Eule </a:t>
            </a:r>
            <a:r>
              <a:rPr lang="en-US" i="1" dirty="0"/>
              <a:t>Prostate Cancer Prostatic Dis </a:t>
            </a:r>
            <a:r>
              <a:rPr lang="en-US" dirty="0"/>
              <a:t>2023. Hamid et al, </a:t>
            </a:r>
            <a:r>
              <a:rPr lang="en-US" dirty="0" err="1"/>
              <a:t>Eur</a:t>
            </a:r>
            <a:r>
              <a:rPr lang="en-US" dirty="0"/>
              <a:t> Uro 2019. Matsubara </a:t>
            </a:r>
            <a:r>
              <a:rPr lang="en-US" i="1" dirty="0"/>
              <a:t>ASCO Genitourinary Cancers Symposium </a:t>
            </a:r>
            <a:r>
              <a:rPr lang="en-US" dirty="0"/>
              <a:t>2023. Sweeney </a:t>
            </a:r>
            <a:r>
              <a:rPr lang="en-US" i="1" dirty="0"/>
              <a:t>Lancet </a:t>
            </a:r>
            <a:r>
              <a:rPr lang="en-US" dirty="0"/>
              <a:t>2021. Crabb </a:t>
            </a:r>
            <a:r>
              <a:rPr lang="en-US" i="1" dirty="0"/>
              <a:t>J Clin Oncol </a:t>
            </a:r>
            <a:r>
              <a:rPr lang="en-US" dirty="0"/>
              <a:t>2021. Kolinsky </a:t>
            </a:r>
            <a:r>
              <a:rPr lang="en-GB" i="1" dirty="0"/>
              <a:t>Ann Oncol </a:t>
            </a:r>
            <a:r>
              <a:rPr lang="en-GB" dirty="0"/>
              <a:t>2020. </a:t>
            </a:r>
            <a:r>
              <a:rPr lang="en-US" dirty="0"/>
              <a:t>Sweeney </a:t>
            </a:r>
            <a:r>
              <a:rPr lang="en-US" i="1" dirty="0"/>
              <a:t>Clin Cancer Res </a:t>
            </a:r>
            <a:r>
              <a:rPr lang="en-US" dirty="0"/>
              <a:t>2022. Courtney </a:t>
            </a:r>
            <a:r>
              <a:rPr lang="en-GB" i="1" dirty="0"/>
              <a:t>Clin </a:t>
            </a:r>
            <a:r>
              <a:rPr lang="en-GB" i="1" dirty="0" err="1"/>
              <a:t>Genitourin</a:t>
            </a:r>
            <a:r>
              <a:rPr lang="en-GB" i="1" dirty="0"/>
              <a:t> Cancer </a:t>
            </a:r>
            <a:r>
              <a:rPr lang="en-GB" dirty="0"/>
              <a:t>2015. </a:t>
            </a:r>
            <a:r>
              <a:rPr lang="en-US" dirty="0" err="1"/>
              <a:t>Alajati</a:t>
            </a:r>
            <a:r>
              <a:rPr lang="en-US" dirty="0"/>
              <a:t> </a:t>
            </a:r>
            <a:r>
              <a:rPr lang="en-US" i="1" dirty="0"/>
              <a:t>J Clin Invest </a:t>
            </a:r>
            <a:r>
              <a:rPr lang="en-US" dirty="0"/>
              <a:t>2020. </a:t>
            </a:r>
            <a:r>
              <a:rPr lang="en-US" dirty="0" err="1"/>
              <a:t>Ferraldeschi</a:t>
            </a:r>
            <a:r>
              <a:rPr lang="en-US" dirty="0"/>
              <a:t> </a:t>
            </a:r>
            <a:r>
              <a:rPr lang="en-GB" i="1" dirty="0" err="1"/>
              <a:t>Eur</a:t>
            </a:r>
            <a:r>
              <a:rPr lang="en-GB" i="1" dirty="0"/>
              <a:t> </a:t>
            </a:r>
            <a:r>
              <a:rPr lang="en-GB" i="1" dirty="0" err="1"/>
              <a:t>Urol</a:t>
            </a:r>
            <a:r>
              <a:rPr lang="en-GB" i="1" dirty="0"/>
              <a:t> </a:t>
            </a:r>
            <a:r>
              <a:rPr lang="en-GB" dirty="0"/>
              <a:t>2015</a:t>
            </a:r>
            <a:endParaRPr lang="en-US" dirty="0"/>
          </a:p>
          <a:p>
            <a:pPr fontAlgn="t"/>
            <a:r>
              <a:rPr lang="en-US" dirty="0"/>
              <a:t>Rescigno </a:t>
            </a:r>
            <a:r>
              <a:rPr lang="en-US" i="1" dirty="0" err="1"/>
              <a:t>Eur</a:t>
            </a:r>
            <a:r>
              <a:rPr lang="en-US" i="1" dirty="0"/>
              <a:t> </a:t>
            </a:r>
            <a:r>
              <a:rPr lang="en-US" i="1" dirty="0" err="1"/>
              <a:t>Urol</a:t>
            </a:r>
            <a:r>
              <a:rPr lang="en-US" i="1" dirty="0"/>
              <a:t> Oncol </a:t>
            </a:r>
            <a:r>
              <a:rPr lang="en-US" dirty="0"/>
              <a:t>2018. </a:t>
            </a:r>
            <a:r>
              <a:rPr lang="en-GB" dirty="0"/>
              <a:t>Tao </a:t>
            </a:r>
            <a:r>
              <a:rPr lang="en-GB" i="1" dirty="0"/>
              <a:t>JCO Precis Oncol </a:t>
            </a:r>
            <a:r>
              <a:rPr lang="en-GB" dirty="0"/>
              <a:t>2017</a:t>
            </a:r>
            <a:endParaRPr lang="en-US" dirty="0"/>
          </a:p>
          <a:p>
            <a:pPr fontAlgn="ctr"/>
            <a:endParaRPr lang="en-US" dirty="0"/>
          </a:p>
        </p:txBody>
      </p:sp>
    </p:spTree>
    <p:extLst>
      <p:ext uri="{BB962C8B-B14F-4D97-AF65-F5344CB8AC3E}">
        <p14:creationId xmlns:p14="http://schemas.microsoft.com/office/powerpoint/2010/main" val="3396533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54D49-37A7-4211-94C5-16FC78ADAC61}"/>
              </a:ext>
            </a:extLst>
          </p:cNvPr>
          <p:cNvSpPr>
            <a:spLocks noGrp="1"/>
          </p:cNvSpPr>
          <p:nvPr>
            <p:ph type="title"/>
          </p:nvPr>
        </p:nvSpPr>
        <p:spPr/>
        <p:txBody>
          <a:bodyPr/>
          <a:lstStyle/>
          <a:p>
            <a:r>
              <a:rPr lang="en-US" dirty="0"/>
              <a:t>Meta-analysis of PTEN status and Outcomes</a:t>
            </a:r>
          </a:p>
        </p:txBody>
      </p:sp>
      <p:pic>
        <p:nvPicPr>
          <p:cNvPr id="7" name="Picture 6">
            <a:extLst>
              <a:ext uri="{FF2B5EF4-FFF2-40B4-BE49-F238E27FC236}">
                <a16:creationId xmlns:a16="http://schemas.microsoft.com/office/drawing/2014/main" id="{1A3210F7-C100-8F0C-1AE8-A1CD99AF4358}"/>
              </a:ext>
            </a:extLst>
          </p:cNvPr>
          <p:cNvPicPr>
            <a:picLocks noChangeAspect="1"/>
          </p:cNvPicPr>
          <p:nvPr/>
        </p:nvPicPr>
        <p:blipFill>
          <a:blip r:embed="rId2"/>
          <a:stretch>
            <a:fillRect/>
          </a:stretch>
        </p:blipFill>
        <p:spPr>
          <a:xfrm>
            <a:off x="838200" y="1497850"/>
            <a:ext cx="10148680" cy="4868898"/>
          </a:xfrm>
          <a:prstGeom prst="rect">
            <a:avLst/>
          </a:prstGeom>
        </p:spPr>
      </p:pic>
      <p:sp>
        <p:nvSpPr>
          <p:cNvPr id="9" name="TextBox 8">
            <a:extLst>
              <a:ext uri="{FF2B5EF4-FFF2-40B4-BE49-F238E27FC236}">
                <a16:creationId xmlns:a16="http://schemas.microsoft.com/office/drawing/2014/main" id="{EA00378F-89A7-BB76-4CF5-263A09C242D2}"/>
              </a:ext>
            </a:extLst>
          </p:cNvPr>
          <p:cNvSpPr txBox="1"/>
          <p:nvPr/>
        </p:nvSpPr>
        <p:spPr>
          <a:xfrm>
            <a:off x="7442793" y="6366748"/>
            <a:ext cx="309238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Kisiel  F et al. Cancers </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2025</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17, 2862 </a:t>
            </a:r>
          </a:p>
        </p:txBody>
      </p:sp>
    </p:spTree>
    <p:extLst>
      <p:ext uri="{BB962C8B-B14F-4D97-AF65-F5344CB8AC3E}">
        <p14:creationId xmlns:p14="http://schemas.microsoft.com/office/powerpoint/2010/main" val="29328546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34ECE-F12E-6415-08B7-1CAB182A7765}"/>
              </a:ext>
            </a:extLst>
          </p:cNvPr>
          <p:cNvSpPr>
            <a:spLocks noGrp="1"/>
          </p:cNvSpPr>
          <p:nvPr>
            <p:ph type="title"/>
          </p:nvPr>
        </p:nvSpPr>
        <p:spPr>
          <a:xfrm>
            <a:off x="812799" y="351603"/>
            <a:ext cx="10972799" cy="917575"/>
          </a:xfrm>
        </p:spPr>
        <p:txBody>
          <a:bodyPr>
            <a:normAutofit fontScale="90000"/>
          </a:bodyPr>
          <a:lstStyle/>
          <a:p>
            <a:r>
              <a:rPr lang="en-GB" dirty="0"/>
              <a:t>PTEN deficiency is clinically relevant across multiple cancer types</a:t>
            </a:r>
          </a:p>
        </p:txBody>
      </p:sp>
      <p:sp>
        <p:nvSpPr>
          <p:cNvPr id="13" name="Text Placeholder 3">
            <a:extLst>
              <a:ext uri="{FF2B5EF4-FFF2-40B4-BE49-F238E27FC236}">
                <a16:creationId xmlns:a16="http://schemas.microsoft.com/office/drawing/2014/main" id="{7A32D7EC-324E-2AFE-AFBA-C6B9A434557F}"/>
              </a:ext>
            </a:extLst>
          </p:cNvPr>
          <p:cNvSpPr>
            <a:spLocks noGrp="1"/>
          </p:cNvSpPr>
          <p:nvPr>
            <p:ph type="body" sz="quarter" idx="11"/>
          </p:nvPr>
        </p:nvSpPr>
        <p:spPr>
          <a:xfrm>
            <a:off x="812801" y="6483273"/>
            <a:ext cx="10121633" cy="215900"/>
          </a:xfrm>
        </p:spPr>
        <p:txBody>
          <a:bodyPr/>
          <a:lstStyle/>
          <a:p>
            <a:r>
              <a:rPr lang="en-GB" dirty="0"/>
              <a:t>*Note that this is not a comprehensive list; </a:t>
            </a:r>
            <a:r>
              <a:rPr lang="en-GB" baseline="30000" dirty="0">
                <a:ea typeface="Verdana" panose="020B0604030504040204" pitchFamily="34" charset="0"/>
              </a:rPr>
              <a:t>†</a:t>
            </a:r>
            <a:r>
              <a:rPr lang="en-GB" dirty="0">
                <a:ea typeface="Verdana" panose="020B0604030504040204" pitchFamily="34" charset="0"/>
              </a:rPr>
              <a:t>One study found no predictive/prognostic value</a:t>
            </a:r>
          </a:p>
          <a:p>
            <a:r>
              <a:rPr lang="en-GB" dirty="0">
                <a:ea typeface="Verdana" panose="020B0604030504040204" pitchFamily="34" charset="0"/>
              </a:rPr>
              <a:t>EGFR, epidermal growth factor receptor; EH, endometrial hyperplasia; DSS, disease-specific survival; OS, overall survival; PFS, progression-free survival.</a:t>
            </a:r>
            <a:br>
              <a:rPr lang="en-GB" dirty="0"/>
            </a:br>
            <a:r>
              <a:rPr lang="en-GB" dirty="0">
                <a:effectLst/>
              </a:rPr>
              <a:t>Pulido R, et al. </a:t>
            </a:r>
            <a:r>
              <a:rPr lang="en-GB" i="1" dirty="0">
                <a:effectLst/>
              </a:rPr>
              <a:t>Cold Spring Harb </a:t>
            </a:r>
            <a:r>
              <a:rPr lang="en-GB" i="1" dirty="0" err="1">
                <a:effectLst/>
              </a:rPr>
              <a:t>Perspect</a:t>
            </a:r>
            <a:r>
              <a:rPr lang="en-GB" i="1" dirty="0">
                <a:effectLst/>
              </a:rPr>
              <a:t> Med </a:t>
            </a:r>
            <a:r>
              <a:rPr lang="en-GB" dirty="0">
                <a:effectLst/>
              </a:rPr>
              <a:t>2019;9:a036293</a:t>
            </a:r>
            <a:endParaRPr lang="en-GB" dirty="0"/>
          </a:p>
        </p:txBody>
      </p:sp>
      <p:sp>
        <p:nvSpPr>
          <p:cNvPr id="14" name="Rectangle: Rounded Corners 13">
            <a:extLst>
              <a:ext uri="{FF2B5EF4-FFF2-40B4-BE49-F238E27FC236}">
                <a16:creationId xmlns:a16="http://schemas.microsoft.com/office/drawing/2014/main" id="{2E19C9CC-D7F4-154E-F3FC-D3FAC5F353F7}"/>
              </a:ext>
            </a:extLst>
          </p:cNvPr>
          <p:cNvSpPr/>
          <p:nvPr/>
        </p:nvSpPr>
        <p:spPr>
          <a:xfrm>
            <a:off x="828674" y="5025031"/>
            <a:ext cx="3420000" cy="1188000"/>
          </a:xfrm>
          <a:prstGeom prst="roundRect">
            <a:avLst>
              <a:gd name="adj" fmla="val 9533"/>
            </a:avLst>
          </a:prstGeom>
          <a:solidFill>
            <a:schemeClr val="tx2">
              <a:lumMod val="75000"/>
              <a:lumOff val="25000"/>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Endometrial</a:t>
            </a:r>
          </a:p>
        </p:txBody>
      </p:sp>
      <p:sp>
        <p:nvSpPr>
          <p:cNvPr id="15" name="Rectangle: Rounded Corners 14">
            <a:extLst>
              <a:ext uri="{FF2B5EF4-FFF2-40B4-BE49-F238E27FC236}">
                <a16:creationId xmlns:a16="http://schemas.microsoft.com/office/drawing/2014/main" id="{10CFDF2A-622E-70CC-57BB-12EC5E4F142F}"/>
              </a:ext>
            </a:extLst>
          </p:cNvPr>
          <p:cNvSpPr/>
          <p:nvPr/>
        </p:nvSpPr>
        <p:spPr>
          <a:xfrm>
            <a:off x="4605810" y="5025031"/>
            <a:ext cx="3420000" cy="1188000"/>
          </a:xfrm>
          <a:prstGeom prst="roundRect">
            <a:avLst>
              <a:gd name="adj" fmla="val 8887"/>
            </a:avLst>
          </a:prstGeom>
          <a:solidFill>
            <a:schemeClr val="accent2">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Glioblastoma</a:t>
            </a:r>
          </a:p>
        </p:txBody>
      </p:sp>
      <p:sp>
        <p:nvSpPr>
          <p:cNvPr id="16" name="Rectangle: Rounded Corners 15">
            <a:extLst>
              <a:ext uri="{FF2B5EF4-FFF2-40B4-BE49-F238E27FC236}">
                <a16:creationId xmlns:a16="http://schemas.microsoft.com/office/drawing/2014/main" id="{F08B5B8F-AAA7-DBEA-2D9E-3ABAFAF30DB6}"/>
              </a:ext>
            </a:extLst>
          </p:cNvPr>
          <p:cNvSpPr/>
          <p:nvPr/>
        </p:nvSpPr>
        <p:spPr>
          <a:xfrm>
            <a:off x="8340178" y="5025031"/>
            <a:ext cx="3420000" cy="1188000"/>
          </a:xfrm>
          <a:prstGeom prst="roundRect">
            <a:avLst>
              <a:gd name="adj" fmla="val 12118"/>
            </a:avLst>
          </a:prstGeom>
          <a:solidFill>
            <a:schemeClr val="accent5">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Ovarian</a:t>
            </a:r>
          </a:p>
        </p:txBody>
      </p:sp>
      <p:sp>
        <p:nvSpPr>
          <p:cNvPr id="17" name="Rectangle: Rounded Corners 16">
            <a:extLst>
              <a:ext uri="{FF2B5EF4-FFF2-40B4-BE49-F238E27FC236}">
                <a16:creationId xmlns:a16="http://schemas.microsoft.com/office/drawing/2014/main" id="{114F89CE-78A3-EDC6-5960-8834FFEB32E5}"/>
              </a:ext>
            </a:extLst>
          </p:cNvPr>
          <p:cNvSpPr/>
          <p:nvPr/>
        </p:nvSpPr>
        <p:spPr>
          <a:xfrm>
            <a:off x="845170" y="3625754"/>
            <a:ext cx="3420000" cy="1188000"/>
          </a:xfrm>
          <a:prstGeom prst="roundRect">
            <a:avLst>
              <a:gd name="adj" fmla="val 9533"/>
            </a:avLst>
          </a:prstGeom>
          <a:solidFill>
            <a:schemeClr val="accent4">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Gastric</a:t>
            </a:r>
          </a:p>
        </p:txBody>
      </p:sp>
      <p:sp>
        <p:nvSpPr>
          <p:cNvPr id="18" name="Rectangle: Rounded Corners 17">
            <a:extLst>
              <a:ext uri="{FF2B5EF4-FFF2-40B4-BE49-F238E27FC236}">
                <a16:creationId xmlns:a16="http://schemas.microsoft.com/office/drawing/2014/main" id="{8492D7AC-7F40-9D4E-283E-BE85E26717E0}"/>
              </a:ext>
            </a:extLst>
          </p:cNvPr>
          <p:cNvSpPr/>
          <p:nvPr/>
        </p:nvSpPr>
        <p:spPr>
          <a:xfrm>
            <a:off x="4622306" y="3625754"/>
            <a:ext cx="3420000" cy="1188000"/>
          </a:xfrm>
          <a:prstGeom prst="roundRect">
            <a:avLst>
              <a:gd name="adj" fmla="val 8887"/>
            </a:avLst>
          </a:prstGeom>
          <a:solidFill>
            <a:schemeClr val="accent3">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Colorectal</a:t>
            </a:r>
          </a:p>
        </p:txBody>
      </p:sp>
      <p:sp>
        <p:nvSpPr>
          <p:cNvPr id="19" name="Rectangle: Rounded Corners 18">
            <a:extLst>
              <a:ext uri="{FF2B5EF4-FFF2-40B4-BE49-F238E27FC236}">
                <a16:creationId xmlns:a16="http://schemas.microsoft.com/office/drawing/2014/main" id="{5902B787-BAFA-38F1-A335-EEAE41270696}"/>
              </a:ext>
            </a:extLst>
          </p:cNvPr>
          <p:cNvSpPr/>
          <p:nvPr/>
        </p:nvSpPr>
        <p:spPr>
          <a:xfrm>
            <a:off x="8356674" y="3625754"/>
            <a:ext cx="3420000" cy="1188000"/>
          </a:xfrm>
          <a:prstGeom prst="roundRect">
            <a:avLst>
              <a:gd name="adj" fmla="val 12118"/>
            </a:avLst>
          </a:prstGeom>
          <a:solidFill>
            <a:schemeClr val="tx1">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Renal</a:t>
            </a:r>
          </a:p>
        </p:txBody>
      </p:sp>
      <p:sp>
        <p:nvSpPr>
          <p:cNvPr id="20" name="Rectangle: Rounded Corners 19">
            <a:extLst>
              <a:ext uri="{FF2B5EF4-FFF2-40B4-BE49-F238E27FC236}">
                <a16:creationId xmlns:a16="http://schemas.microsoft.com/office/drawing/2014/main" id="{C1AA8929-3834-A1B2-0E4C-A5BC73D7C252}"/>
              </a:ext>
            </a:extLst>
          </p:cNvPr>
          <p:cNvSpPr/>
          <p:nvPr/>
        </p:nvSpPr>
        <p:spPr>
          <a:xfrm>
            <a:off x="828674" y="1585390"/>
            <a:ext cx="3420000" cy="1762417"/>
          </a:xfrm>
          <a:prstGeom prst="roundRect">
            <a:avLst>
              <a:gd name="adj" fmla="val 6221"/>
            </a:avLst>
          </a:prstGeom>
          <a:solidFill>
            <a:schemeClr val="accent5">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Prostate</a:t>
            </a:r>
          </a:p>
        </p:txBody>
      </p:sp>
      <p:pic>
        <p:nvPicPr>
          <p:cNvPr id="21" name="Picture 16" descr="Prostate gland and bladder white color icon Vector Image">
            <a:extLst>
              <a:ext uri="{FF2B5EF4-FFF2-40B4-BE49-F238E27FC236}">
                <a16:creationId xmlns:a16="http://schemas.microsoft.com/office/drawing/2014/main" id="{C5713B28-1065-35F9-16EB-3DFCC7900608}"/>
              </a:ext>
            </a:extLst>
          </p:cNvPr>
          <p:cNvPicPr>
            <a:picLocks noChangeAspect="1" noChangeArrowheads="1"/>
          </p:cNvPicPr>
          <p:nvPr/>
        </p:nvPicPr>
        <p:blipFill rotWithShape="1">
          <a:blip r:embed="rId3">
            <a:clrChange>
              <a:clrFrom>
                <a:srgbClr val="000000"/>
              </a:clrFrom>
              <a:clrTo>
                <a:srgbClr val="000000">
                  <a:alpha val="0"/>
                </a:srgbClr>
              </a:clrTo>
            </a:clrChange>
            <a:lum bright="70000" contrast="-70000"/>
            <a:extLst>
              <a:ext uri="{28A0092B-C50C-407E-A947-70E740481C1C}">
                <a14:useLocalDpi xmlns:a14="http://schemas.microsoft.com/office/drawing/2010/main" val="0"/>
              </a:ext>
            </a:extLst>
          </a:blip>
          <a:srcRect l="15584" t="4639" r="15171" b="12319"/>
          <a:stretch/>
        </p:blipFill>
        <p:spPr bwMode="auto">
          <a:xfrm>
            <a:off x="3285979" y="2082118"/>
            <a:ext cx="1051762" cy="1362253"/>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Rounded Corners 21">
            <a:extLst>
              <a:ext uri="{FF2B5EF4-FFF2-40B4-BE49-F238E27FC236}">
                <a16:creationId xmlns:a16="http://schemas.microsoft.com/office/drawing/2014/main" id="{0A9E20E3-2757-CCAF-F459-2AD26A585E33}"/>
              </a:ext>
            </a:extLst>
          </p:cNvPr>
          <p:cNvSpPr/>
          <p:nvPr/>
        </p:nvSpPr>
        <p:spPr>
          <a:xfrm>
            <a:off x="4605811" y="1636735"/>
            <a:ext cx="3420000" cy="1762417"/>
          </a:xfrm>
          <a:prstGeom prst="roundRect">
            <a:avLst>
              <a:gd name="adj" fmla="val 6679"/>
            </a:avLst>
          </a:prstGeom>
          <a:solidFill>
            <a:schemeClr val="accent6">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Lung</a:t>
            </a:r>
          </a:p>
        </p:txBody>
      </p:sp>
      <p:sp>
        <p:nvSpPr>
          <p:cNvPr id="23" name="Rectangle: Rounded Corners 22">
            <a:extLst>
              <a:ext uri="{FF2B5EF4-FFF2-40B4-BE49-F238E27FC236}">
                <a16:creationId xmlns:a16="http://schemas.microsoft.com/office/drawing/2014/main" id="{59460200-7A63-5B24-5375-8EF359FCA3F3}"/>
              </a:ext>
            </a:extLst>
          </p:cNvPr>
          <p:cNvSpPr/>
          <p:nvPr/>
        </p:nvSpPr>
        <p:spPr>
          <a:xfrm>
            <a:off x="8340179" y="1636735"/>
            <a:ext cx="3420000" cy="1762417"/>
          </a:xfrm>
          <a:prstGeom prst="roundRect">
            <a:avLst>
              <a:gd name="adj" fmla="val 7702"/>
            </a:avLst>
          </a:prstGeom>
          <a:solidFill>
            <a:schemeClr val="accent4">
              <a:alpha val="30196"/>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1" indent="0" algn="ctr"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Breast</a:t>
            </a:r>
            <a:r>
              <a:rPr kumimoji="0" lang="en-GB" sz="1400" b="1" i="0" u="none" strike="noStrike" kern="1200" cap="none" spc="0" normalizeH="0" baseline="30000" noProof="0">
                <a:ln>
                  <a:noFill/>
                </a:ln>
                <a:solidFill>
                  <a:srgbClr val="000000"/>
                </a:solidFill>
                <a:effectLst/>
                <a:uLnTx/>
                <a:uFillTx/>
                <a:latin typeface="Arial" panose="020B0604020202020204" pitchFamily="34" charset="0"/>
                <a:ea typeface="Verdana" panose="020B0604030504040204" pitchFamily="34" charset="0"/>
                <a:cs typeface="+mn-cs"/>
              </a:rPr>
              <a:t>†</a:t>
            </a:r>
            <a:endParaRPr kumimoji="0" lang="en-GB" sz="1400" b="1" i="0" u="none" strike="noStrike" kern="1200" cap="none" spc="0" normalizeH="0" baseline="30000" noProof="0">
              <a:ln>
                <a:noFill/>
              </a:ln>
              <a:solidFill>
                <a:srgbClr val="000000"/>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id="{B38BC1EF-32A7-3E75-A274-7630DEE6C8CF}"/>
              </a:ext>
            </a:extLst>
          </p:cNvPr>
          <p:cNvGrpSpPr/>
          <p:nvPr/>
        </p:nvGrpSpPr>
        <p:grpSpPr>
          <a:xfrm>
            <a:off x="3284455" y="3834631"/>
            <a:ext cx="996816" cy="968089"/>
            <a:chOff x="-139503" y="4909344"/>
            <a:chExt cx="550862" cy="534988"/>
          </a:xfrm>
          <a:solidFill>
            <a:schemeClr val="bg1"/>
          </a:solidFill>
        </p:grpSpPr>
        <p:sp>
          <p:nvSpPr>
            <p:cNvPr id="25" name="Freeform 76">
              <a:extLst>
                <a:ext uri="{FF2B5EF4-FFF2-40B4-BE49-F238E27FC236}">
                  <a16:creationId xmlns:a16="http://schemas.microsoft.com/office/drawing/2014/main" id="{A2E75873-699B-4C32-1892-FD6DEE240554}"/>
                </a:ext>
              </a:extLst>
            </p:cNvPr>
            <p:cNvSpPr>
              <a:spLocks/>
            </p:cNvSpPr>
            <p:nvPr/>
          </p:nvSpPr>
          <p:spPr bwMode="auto">
            <a:xfrm>
              <a:off x="52584" y="5236369"/>
              <a:ext cx="295275" cy="144463"/>
            </a:xfrm>
            <a:custGeom>
              <a:avLst/>
              <a:gdLst>
                <a:gd name="T0" fmla="*/ 0 w 150"/>
                <a:gd name="T1" fmla="*/ 45 h 73"/>
                <a:gd name="T2" fmla="*/ 35 w 150"/>
                <a:gd name="T3" fmla="*/ 38 h 73"/>
                <a:gd name="T4" fmla="*/ 56 w 150"/>
                <a:gd name="T5" fmla="*/ 28 h 73"/>
                <a:gd name="T6" fmla="*/ 106 w 150"/>
                <a:gd name="T7" fmla="*/ 2 h 73"/>
                <a:gd name="T8" fmla="*/ 139 w 150"/>
                <a:gd name="T9" fmla="*/ 3 h 73"/>
                <a:gd name="T10" fmla="*/ 146 w 150"/>
                <a:gd name="T11" fmla="*/ 16 h 73"/>
                <a:gd name="T12" fmla="*/ 43 w 150"/>
                <a:gd name="T13" fmla="*/ 66 h 73"/>
                <a:gd name="T14" fmla="*/ 0 w 150"/>
                <a:gd name="T15" fmla="*/ 45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73">
                  <a:moveTo>
                    <a:pt x="0" y="45"/>
                  </a:moveTo>
                  <a:cubicBezTo>
                    <a:pt x="11" y="38"/>
                    <a:pt x="23" y="37"/>
                    <a:pt x="35" y="38"/>
                  </a:cubicBezTo>
                  <a:cubicBezTo>
                    <a:pt x="45" y="40"/>
                    <a:pt x="51" y="36"/>
                    <a:pt x="56" y="28"/>
                  </a:cubicBezTo>
                  <a:cubicBezTo>
                    <a:pt x="68" y="11"/>
                    <a:pt x="83" y="0"/>
                    <a:pt x="106" y="2"/>
                  </a:cubicBezTo>
                  <a:cubicBezTo>
                    <a:pt x="117" y="3"/>
                    <a:pt x="128" y="2"/>
                    <a:pt x="139" y="3"/>
                  </a:cubicBezTo>
                  <a:cubicBezTo>
                    <a:pt x="150" y="5"/>
                    <a:pt x="149" y="8"/>
                    <a:pt x="146" y="16"/>
                  </a:cubicBezTo>
                  <a:cubicBezTo>
                    <a:pt x="128" y="52"/>
                    <a:pt x="84" y="73"/>
                    <a:pt x="43" y="66"/>
                  </a:cubicBezTo>
                  <a:cubicBezTo>
                    <a:pt x="27" y="63"/>
                    <a:pt x="11" y="61"/>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77">
              <a:extLst>
                <a:ext uri="{FF2B5EF4-FFF2-40B4-BE49-F238E27FC236}">
                  <a16:creationId xmlns:a16="http://schemas.microsoft.com/office/drawing/2014/main" id="{013745B3-6505-3187-6D0D-50AB988D17BE}"/>
                </a:ext>
              </a:extLst>
            </p:cNvPr>
            <p:cNvSpPr>
              <a:spLocks/>
            </p:cNvSpPr>
            <p:nvPr/>
          </p:nvSpPr>
          <p:spPr bwMode="auto">
            <a:xfrm>
              <a:off x="-139503" y="5004594"/>
              <a:ext cx="322263" cy="409575"/>
            </a:xfrm>
            <a:custGeom>
              <a:avLst/>
              <a:gdLst>
                <a:gd name="T0" fmla="*/ 10 w 163"/>
                <a:gd name="T1" fmla="*/ 207 h 207"/>
                <a:gd name="T2" fmla="*/ 4 w 163"/>
                <a:gd name="T3" fmla="*/ 203 h 207"/>
                <a:gd name="T4" fmla="*/ 27 w 163"/>
                <a:gd name="T5" fmla="*/ 143 h 207"/>
                <a:gd name="T6" fmla="*/ 98 w 163"/>
                <a:gd name="T7" fmla="*/ 130 h 207"/>
                <a:gd name="T8" fmla="*/ 140 w 163"/>
                <a:gd name="T9" fmla="*/ 116 h 207"/>
                <a:gd name="T10" fmla="*/ 140 w 163"/>
                <a:gd name="T11" fmla="*/ 116 h 207"/>
                <a:gd name="T12" fmla="*/ 145 w 163"/>
                <a:gd name="T13" fmla="*/ 85 h 207"/>
                <a:gd name="T14" fmla="*/ 133 w 163"/>
                <a:gd name="T15" fmla="*/ 76 h 207"/>
                <a:gd name="T16" fmla="*/ 77 w 163"/>
                <a:gd name="T17" fmla="*/ 8 h 207"/>
                <a:gd name="T18" fmla="*/ 82 w 163"/>
                <a:gd name="T19" fmla="*/ 1 h 207"/>
                <a:gd name="T20" fmla="*/ 89 w 163"/>
                <a:gd name="T21" fmla="*/ 5 h 207"/>
                <a:gd name="T22" fmla="*/ 89 w 163"/>
                <a:gd name="T23" fmla="*/ 5 h 207"/>
                <a:gd name="T24" fmla="*/ 137 w 163"/>
                <a:gd name="T25" fmla="*/ 64 h 207"/>
                <a:gd name="T26" fmla="*/ 156 w 163"/>
                <a:gd name="T27" fmla="*/ 81 h 207"/>
                <a:gd name="T28" fmla="*/ 151 w 163"/>
                <a:gd name="T29" fmla="*/ 121 h 207"/>
                <a:gd name="T30" fmla="*/ 97 w 163"/>
                <a:gd name="T31" fmla="*/ 142 h 207"/>
                <a:gd name="T32" fmla="*/ 96 w 163"/>
                <a:gd name="T33" fmla="*/ 142 h 207"/>
                <a:gd name="T34" fmla="*/ 36 w 163"/>
                <a:gd name="T35" fmla="*/ 151 h 207"/>
                <a:gd name="T36" fmla="*/ 16 w 163"/>
                <a:gd name="T37" fmla="*/ 200 h 207"/>
                <a:gd name="T38" fmla="*/ 12 w 163"/>
                <a:gd name="T39" fmla="*/ 207 h 207"/>
                <a:gd name="T40" fmla="*/ 10 w 163"/>
                <a:gd name="T4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07">
                  <a:moveTo>
                    <a:pt x="10" y="207"/>
                  </a:moveTo>
                  <a:cubicBezTo>
                    <a:pt x="7" y="207"/>
                    <a:pt x="5" y="206"/>
                    <a:pt x="4" y="203"/>
                  </a:cubicBezTo>
                  <a:cubicBezTo>
                    <a:pt x="0" y="190"/>
                    <a:pt x="11" y="162"/>
                    <a:pt x="27" y="143"/>
                  </a:cubicBezTo>
                  <a:cubicBezTo>
                    <a:pt x="44" y="123"/>
                    <a:pt x="91" y="129"/>
                    <a:pt x="98" y="130"/>
                  </a:cubicBezTo>
                  <a:cubicBezTo>
                    <a:pt x="133" y="132"/>
                    <a:pt x="140" y="116"/>
                    <a:pt x="140" y="116"/>
                  </a:cubicBezTo>
                  <a:cubicBezTo>
                    <a:pt x="140" y="116"/>
                    <a:pt x="140" y="116"/>
                    <a:pt x="140" y="116"/>
                  </a:cubicBezTo>
                  <a:cubicBezTo>
                    <a:pt x="143" y="111"/>
                    <a:pt x="149" y="95"/>
                    <a:pt x="145" y="85"/>
                  </a:cubicBezTo>
                  <a:cubicBezTo>
                    <a:pt x="143" y="81"/>
                    <a:pt x="139" y="78"/>
                    <a:pt x="133" y="76"/>
                  </a:cubicBezTo>
                  <a:cubicBezTo>
                    <a:pt x="90" y="62"/>
                    <a:pt x="78" y="10"/>
                    <a:pt x="77" y="8"/>
                  </a:cubicBezTo>
                  <a:cubicBezTo>
                    <a:pt x="76" y="5"/>
                    <a:pt x="78" y="2"/>
                    <a:pt x="82" y="1"/>
                  </a:cubicBezTo>
                  <a:cubicBezTo>
                    <a:pt x="85" y="0"/>
                    <a:pt x="88" y="2"/>
                    <a:pt x="89" y="5"/>
                  </a:cubicBezTo>
                  <a:cubicBezTo>
                    <a:pt x="89" y="5"/>
                    <a:pt x="89" y="5"/>
                    <a:pt x="89" y="5"/>
                  </a:cubicBezTo>
                  <a:cubicBezTo>
                    <a:pt x="89" y="6"/>
                    <a:pt x="100" y="53"/>
                    <a:pt x="137" y="64"/>
                  </a:cubicBezTo>
                  <a:cubicBezTo>
                    <a:pt x="146" y="67"/>
                    <a:pt x="153" y="73"/>
                    <a:pt x="156" y="81"/>
                  </a:cubicBezTo>
                  <a:cubicBezTo>
                    <a:pt x="163" y="97"/>
                    <a:pt x="152" y="119"/>
                    <a:pt x="151" y="121"/>
                  </a:cubicBezTo>
                  <a:cubicBezTo>
                    <a:pt x="150" y="125"/>
                    <a:pt x="139" y="144"/>
                    <a:pt x="97" y="142"/>
                  </a:cubicBezTo>
                  <a:cubicBezTo>
                    <a:pt x="96" y="142"/>
                    <a:pt x="96" y="142"/>
                    <a:pt x="96" y="142"/>
                  </a:cubicBezTo>
                  <a:cubicBezTo>
                    <a:pt x="83" y="140"/>
                    <a:pt x="47" y="138"/>
                    <a:pt x="36" y="151"/>
                  </a:cubicBezTo>
                  <a:cubicBezTo>
                    <a:pt x="21" y="169"/>
                    <a:pt x="14" y="193"/>
                    <a:pt x="16" y="200"/>
                  </a:cubicBezTo>
                  <a:cubicBezTo>
                    <a:pt x="17" y="203"/>
                    <a:pt x="15" y="206"/>
                    <a:pt x="12" y="207"/>
                  </a:cubicBezTo>
                  <a:cubicBezTo>
                    <a:pt x="11" y="207"/>
                    <a:pt x="11" y="207"/>
                    <a:pt x="1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78">
              <a:extLst>
                <a:ext uri="{FF2B5EF4-FFF2-40B4-BE49-F238E27FC236}">
                  <a16:creationId xmlns:a16="http://schemas.microsoft.com/office/drawing/2014/main" id="{D305F081-048A-48C5-7400-F3B4D03487A0}"/>
                </a:ext>
              </a:extLst>
            </p:cNvPr>
            <p:cNvSpPr>
              <a:spLocks/>
            </p:cNvSpPr>
            <p:nvPr/>
          </p:nvSpPr>
          <p:spPr bwMode="auto">
            <a:xfrm>
              <a:off x="-74416" y="4909344"/>
              <a:ext cx="485775" cy="534988"/>
            </a:xfrm>
            <a:custGeom>
              <a:avLst/>
              <a:gdLst>
                <a:gd name="T0" fmla="*/ 9 w 246"/>
                <a:gd name="T1" fmla="*/ 270 h 270"/>
                <a:gd name="T2" fmla="*/ 3 w 246"/>
                <a:gd name="T3" fmla="*/ 265 h 270"/>
                <a:gd name="T4" fmla="*/ 18 w 246"/>
                <a:gd name="T5" fmla="*/ 226 h 270"/>
                <a:gd name="T6" fmla="*/ 43 w 246"/>
                <a:gd name="T7" fmla="*/ 223 h 270"/>
                <a:gd name="T8" fmla="*/ 132 w 246"/>
                <a:gd name="T9" fmla="*/ 248 h 270"/>
                <a:gd name="T10" fmla="*/ 232 w 246"/>
                <a:gd name="T11" fmla="*/ 132 h 270"/>
                <a:gd name="T12" fmla="*/ 177 w 246"/>
                <a:gd name="T13" fmla="*/ 26 h 270"/>
                <a:gd name="T14" fmla="*/ 108 w 246"/>
                <a:gd name="T15" fmla="*/ 44 h 270"/>
                <a:gd name="T16" fmla="*/ 91 w 246"/>
                <a:gd name="T17" fmla="*/ 55 h 270"/>
                <a:gd name="T18" fmla="*/ 67 w 246"/>
                <a:gd name="T19" fmla="*/ 33 h 270"/>
                <a:gd name="T20" fmla="*/ 70 w 246"/>
                <a:gd name="T21" fmla="*/ 25 h 270"/>
                <a:gd name="T22" fmla="*/ 78 w 246"/>
                <a:gd name="T23" fmla="*/ 28 h 270"/>
                <a:gd name="T24" fmla="*/ 78 w 246"/>
                <a:gd name="T25" fmla="*/ 28 h 270"/>
                <a:gd name="T26" fmla="*/ 91 w 246"/>
                <a:gd name="T27" fmla="*/ 43 h 270"/>
                <a:gd name="T28" fmla="*/ 98 w 246"/>
                <a:gd name="T29" fmla="*/ 38 h 270"/>
                <a:gd name="T30" fmla="*/ 180 w 246"/>
                <a:gd name="T31" fmla="*/ 14 h 270"/>
                <a:gd name="T32" fmla="*/ 244 w 246"/>
                <a:gd name="T33" fmla="*/ 132 h 270"/>
                <a:gd name="T34" fmla="*/ 134 w 246"/>
                <a:gd name="T35" fmla="*/ 260 h 270"/>
                <a:gd name="T36" fmla="*/ 37 w 246"/>
                <a:gd name="T37" fmla="*/ 234 h 270"/>
                <a:gd name="T38" fmla="*/ 26 w 246"/>
                <a:gd name="T39" fmla="*/ 234 h 270"/>
                <a:gd name="T40" fmla="*/ 15 w 246"/>
                <a:gd name="T41" fmla="*/ 263 h 270"/>
                <a:gd name="T42" fmla="*/ 10 w 246"/>
                <a:gd name="T43" fmla="*/ 270 h 270"/>
                <a:gd name="T44" fmla="*/ 9 w 246"/>
                <a:gd name="T45"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70">
                  <a:moveTo>
                    <a:pt x="9" y="270"/>
                  </a:moveTo>
                  <a:cubicBezTo>
                    <a:pt x="6" y="270"/>
                    <a:pt x="4" y="268"/>
                    <a:pt x="3" y="265"/>
                  </a:cubicBezTo>
                  <a:cubicBezTo>
                    <a:pt x="0" y="246"/>
                    <a:pt x="9" y="233"/>
                    <a:pt x="18" y="226"/>
                  </a:cubicBezTo>
                  <a:cubicBezTo>
                    <a:pt x="25" y="219"/>
                    <a:pt x="35" y="218"/>
                    <a:pt x="43" y="223"/>
                  </a:cubicBezTo>
                  <a:cubicBezTo>
                    <a:pt x="91" y="255"/>
                    <a:pt x="132" y="248"/>
                    <a:pt x="132" y="248"/>
                  </a:cubicBezTo>
                  <a:cubicBezTo>
                    <a:pt x="136" y="248"/>
                    <a:pt x="230" y="230"/>
                    <a:pt x="232" y="132"/>
                  </a:cubicBezTo>
                  <a:cubicBezTo>
                    <a:pt x="233" y="40"/>
                    <a:pt x="177" y="26"/>
                    <a:pt x="177" y="26"/>
                  </a:cubicBezTo>
                  <a:cubicBezTo>
                    <a:pt x="176" y="26"/>
                    <a:pt x="126" y="14"/>
                    <a:pt x="108" y="44"/>
                  </a:cubicBezTo>
                  <a:cubicBezTo>
                    <a:pt x="103" y="52"/>
                    <a:pt x="97" y="56"/>
                    <a:pt x="91" y="55"/>
                  </a:cubicBezTo>
                  <a:cubicBezTo>
                    <a:pt x="77" y="55"/>
                    <a:pt x="69" y="37"/>
                    <a:pt x="67" y="33"/>
                  </a:cubicBezTo>
                  <a:cubicBezTo>
                    <a:pt x="66" y="30"/>
                    <a:pt x="67" y="26"/>
                    <a:pt x="70" y="25"/>
                  </a:cubicBezTo>
                  <a:cubicBezTo>
                    <a:pt x="73" y="24"/>
                    <a:pt x="77" y="25"/>
                    <a:pt x="78" y="28"/>
                  </a:cubicBezTo>
                  <a:cubicBezTo>
                    <a:pt x="78" y="28"/>
                    <a:pt x="78" y="28"/>
                    <a:pt x="78" y="28"/>
                  </a:cubicBezTo>
                  <a:cubicBezTo>
                    <a:pt x="81" y="34"/>
                    <a:pt x="87" y="43"/>
                    <a:pt x="91" y="43"/>
                  </a:cubicBezTo>
                  <a:cubicBezTo>
                    <a:pt x="93" y="44"/>
                    <a:pt x="95" y="41"/>
                    <a:pt x="98" y="38"/>
                  </a:cubicBezTo>
                  <a:cubicBezTo>
                    <a:pt x="120" y="0"/>
                    <a:pt x="177" y="14"/>
                    <a:pt x="180" y="14"/>
                  </a:cubicBezTo>
                  <a:cubicBezTo>
                    <a:pt x="182" y="15"/>
                    <a:pt x="246" y="31"/>
                    <a:pt x="244" y="132"/>
                  </a:cubicBezTo>
                  <a:cubicBezTo>
                    <a:pt x="242" y="240"/>
                    <a:pt x="136" y="260"/>
                    <a:pt x="134" y="260"/>
                  </a:cubicBezTo>
                  <a:cubicBezTo>
                    <a:pt x="133" y="260"/>
                    <a:pt x="89" y="268"/>
                    <a:pt x="37" y="234"/>
                  </a:cubicBezTo>
                  <a:cubicBezTo>
                    <a:pt x="33" y="231"/>
                    <a:pt x="29" y="232"/>
                    <a:pt x="26" y="234"/>
                  </a:cubicBezTo>
                  <a:cubicBezTo>
                    <a:pt x="17" y="243"/>
                    <a:pt x="13" y="252"/>
                    <a:pt x="15" y="263"/>
                  </a:cubicBezTo>
                  <a:cubicBezTo>
                    <a:pt x="16" y="266"/>
                    <a:pt x="13" y="269"/>
                    <a:pt x="10" y="270"/>
                  </a:cubicBezTo>
                  <a:cubicBezTo>
                    <a:pt x="10" y="270"/>
                    <a:pt x="9" y="270"/>
                    <a:pt x="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8" name="Group 27">
            <a:extLst>
              <a:ext uri="{FF2B5EF4-FFF2-40B4-BE49-F238E27FC236}">
                <a16:creationId xmlns:a16="http://schemas.microsoft.com/office/drawing/2014/main" id="{3CEE47DB-6240-71AC-0545-6DE556156ABF}"/>
              </a:ext>
            </a:extLst>
          </p:cNvPr>
          <p:cNvGrpSpPr/>
          <p:nvPr/>
        </p:nvGrpSpPr>
        <p:grpSpPr>
          <a:xfrm>
            <a:off x="10852600" y="3892597"/>
            <a:ext cx="981297" cy="945437"/>
            <a:chOff x="4483297" y="4956969"/>
            <a:chExt cx="477837" cy="460375"/>
          </a:xfrm>
          <a:solidFill>
            <a:schemeClr val="bg1"/>
          </a:solidFill>
        </p:grpSpPr>
        <p:sp>
          <p:nvSpPr>
            <p:cNvPr id="29" name="Freeform 126">
              <a:extLst>
                <a:ext uri="{FF2B5EF4-FFF2-40B4-BE49-F238E27FC236}">
                  <a16:creationId xmlns:a16="http://schemas.microsoft.com/office/drawing/2014/main" id="{7551F6F7-0BC0-4E19-55AB-BCF804EF40EC}"/>
                </a:ext>
              </a:extLst>
            </p:cNvPr>
            <p:cNvSpPr>
              <a:spLocks noEditPoints="1"/>
            </p:cNvSpPr>
            <p:nvPr/>
          </p:nvSpPr>
          <p:spPr bwMode="auto">
            <a:xfrm>
              <a:off x="4483297" y="4956969"/>
              <a:ext cx="225425" cy="460375"/>
            </a:xfrm>
            <a:custGeom>
              <a:avLst/>
              <a:gdLst>
                <a:gd name="T0" fmla="*/ 113 w 114"/>
                <a:gd name="T1" fmla="*/ 5 h 233"/>
                <a:gd name="T2" fmla="*/ 103 w 114"/>
                <a:gd name="T3" fmla="*/ 7 h 233"/>
                <a:gd name="T4" fmla="*/ 103 w 114"/>
                <a:gd name="T5" fmla="*/ 136 h 233"/>
                <a:gd name="T6" fmla="*/ 81 w 114"/>
                <a:gd name="T7" fmla="*/ 98 h 233"/>
                <a:gd name="T8" fmla="*/ 90 w 114"/>
                <a:gd name="T9" fmla="*/ 87 h 233"/>
                <a:gd name="T10" fmla="*/ 82 w 114"/>
                <a:gd name="T11" fmla="*/ 38 h 233"/>
                <a:gd name="T12" fmla="*/ 71 w 114"/>
                <a:gd name="T13" fmla="*/ 35 h 233"/>
                <a:gd name="T14" fmla="*/ 52 w 114"/>
                <a:gd name="T15" fmla="*/ 37 h 233"/>
                <a:gd name="T16" fmla="*/ 3 w 114"/>
                <a:gd name="T17" fmla="*/ 99 h 233"/>
                <a:gd name="T18" fmla="*/ 1 w 114"/>
                <a:gd name="T19" fmla="*/ 116 h 233"/>
                <a:gd name="T20" fmla="*/ 0 w 114"/>
                <a:gd name="T21" fmla="*/ 132 h 233"/>
                <a:gd name="T22" fmla="*/ 5 w 114"/>
                <a:gd name="T23" fmla="*/ 159 h 233"/>
                <a:gd name="T24" fmla="*/ 9 w 114"/>
                <a:gd name="T25" fmla="*/ 169 h 233"/>
                <a:gd name="T26" fmla="*/ 15 w 114"/>
                <a:gd name="T27" fmla="*/ 179 h 233"/>
                <a:gd name="T28" fmla="*/ 22 w 114"/>
                <a:gd name="T29" fmla="*/ 188 h 233"/>
                <a:gd name="T30" fmla="*/ 81 w 114"/>
                <a:gd name="T31" fmla="*/ 182 h 233"/>
                <a:gd name="T32" fmla="*/ 78 w 114"/>
                <a:gd name="T33" fmla="*/ 143 h 233"/>
                <a:gd name="T34" fmla="*/ 78 w 114"/>
                <a:gd name="T35" fmla="*/ 129 h 233"/>
                <a:gd name="T36" fmla="*/ 83 w 114"/>
                <a:gd name="T37" fmla="*/ 130 h 233"/>
                <a:gd name="T38" fmla="*/ 103 w 114"/>
                <a:gd name="T39" fmla="*/ 174 h 233"/>
                <a:gd name="T40" fmla="*/ 104 w 114"/>
                <a:gd name="T41" fmla="*/ 232 h 233"/>
                <a:gd name="T42" fmla="*/ 113 w 114"/>
                <a:gd name="T43" fmla="*/ 228 h 233"/>
                <a:gd name="T44" fmla="*/ 70 w 114"/>
                <a:gd name="T45" fmla="*/ 82 h 233"/>
                <a:gd name="T46" fmla="*/ 70 w 114"/>
                <a:gd name="T47" fmla="*/ 82 h 233"/>
                <a:gd name="T48" fmla="*/ 65 w 114"/>
                <a:gd name="T49" fmla="*/ 78 h 233"/>
                <a:gd name="T50" fmla="*/ 57 w 114"/>
                <a:gd name="T51" fmla="*/ 99 h 233"/>
                <a:gd name="T52" fmla="*/ 60 w 114"/>
                <a:gd name="T53" fmla="*/ 98 h 233"/>
                <a:gd name="T54" fmla="*/ 57 w 114"/>
                <a:gd name="T55" fmla="*/ 99 h 233"/>
                <a:gd name="T56" fmla="*/ 57 w 114"/>
                <a:gd name="T57" fmla="*/ 99 h 233"/>
                <a:gd name="T58" fmla="*/ 51 w 114"/>
                <a:gd name="T59" fmla="*/ 94 h 233"/>
                <a:gd name="T60" fmla="*/ 46 w 114"/>
                <a:gd name="T61" fmla="*/ 93 h 233"/>
                <a:gd name="T62" fmla="*/ 41 w 114"/>
                <a:gd name="T63" fmla="*/ 98 h 233"/>
                <a:gd name="T64" fmla="*/ 41 w 114"/>
                <a:gd name="T65" fmla="*/ 98 h 233"/>
                <a:gd name="T66" fmla="*/ 44 w 114"/>
                <a:gd name="T67" fmla="*/ 109 h 233"/>
                <a:gd name="T68" fmla="*/ 44 w 114"/>
                <a:gd name="T69" fmla="*/ 109 h 233"/>
                <a:gd name="T70" fmla="*/ 41 w 114"/>
                <a:gd name="T71" fmla="*/ 98 h 233"/>
                <a:gd name="T72" fmla="*/ 37 w 114"/>
                <a:gd name="T73" fmla="*/ 125 h 233"/>
                <a:gd name="T74" fmla="*/ 40 w 114"/>
                <a:gd name="T75" fmla="*/ 129 h 233"/>
                <a:gd name="T76" fmla="*/ 38 w 114"/>
                <a:gd name="T77" fmla="*/ 127 h 233"/>
                <a:gd name="T78" fmla="*/ 49 w 114"/>
                <a:gd name="T79" fmla="*/ 137 h 233"/>
                <a:gd name="T80" fmla="*/ 50 w 114"/>
                <a:gd name="T81" fmla="*/ 130 h 233"/>
                <a:gd name="T82" fmla="*/ 49 w 114"/>
                <a:gd name="T83" fmla="*/ 137 h 233"/>
                <a:gd name="T84" fmla="*/ 49 w 114"/>
                <a:gd name="T85" fmla="*/ 137 h 233"/>
                <a:gd name="T86" fmla="*/ 52 w 114"/>
                <a:gd name="T87" fmla="*/ 142 h 233"/>
                <a:gd name="T88" fmla="*/ 52 w 114"/>
                <a:gd name="T89" fmla="*/ 142 h 233"/>
                <a:gd name="T90" fmla="*/ 60 w 114"/>
                <a:gd name="T91" fmla="*/ 138 h 233"/>
                <a:gd name="T92" fmla="*/ 60 w 114"/>
                <a:gd name="T93" fmla="*/ 138 h 233"/>
                <a:gd name="T94" fmla="*/ 60 w 114"/>
                <a:gd name="T95" fmla="*/ 133 h 233"/>
                <a:gd name="T96" fmla="*/ 60 w 114"/>
                <a:gd name="T97" fmla="*/ 138 h 233"/>
                <a:gd name="T98" fmla="*/ 60 w 114"/>
                <a:gd name="T99" fmla="*/ 132 h 233"/>
                <a:gd name="T100" fmla="*/ 67 w 114"/>
                <a:gd name="T101" fmla="*/ 138 h 233"/>
                <a:gd name="T102" fmla="*/ 67 w 114"/>
                <a:gd name="T103" fmla="*/ 138 h 233"/>
                <a:gd name="T104" fmla="*/ 66 w 114"/>
                <a:gd name="T105" fmla="*/ 142 h 233"/>
                <a:gd name="T106" fmla="*/ 66 w 114"/>
                <a:gd name="T107" fmla="*/ 142 h 233"/>
                <a:gd name="T108" fmla="*/ 72 w 114"/>
                <a:gd name="T109" fmla="*/ 139 h 233"/>
                <a:gd name="T110" fmla="*/ 72 w 114"/>
                <a:gd name="T111" fmla="*/ 13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233">
                  <a:moveTo>
                    <a:pt x="113" y="59"/>
                  </a:moveTo>
                  <a:cubicBezTo>
                    <a:pt x="113" y="41"/>
                    <a:pt x="113" y="23"/>
                    <a:pt x="113" y="5"/>
                  </a:cubicBezTo>
                  <a:cubicBezTo>
                    <a:pt x="113" y="3"/>
                    <a:pt x="114" y="1"/>
                    <a:pt x="111" y="1"/>
                  </a:cubicBezTo>
                  <a:cubicBezTo>
                    <a:pt x="105" y="0"/>
                    <a:pt x="103" y="1"/>
                    <a:pt x="103" y="7"/>
                  </a:cubicBezTo>
                  <a:cubicBezTo>
                    <a:pt x="103" y="49"/>
                    <a:pt x="103" y="91"/>
                    <a:pt x="103" y="132"/>
                  </a:cubicBezTo>
                  <a:cubicBezTo>
                    <a:pt x="103" y="134"/>
                    <a:pt x="103" y="135"/>
                    <a:pt x="103" y="136"/>
                  </a:cubicBezTo>
                  <a:cubicBezTo>
                    <a:pt x="99" y="129"/>
                    <a:pt x="94" y="122"/>
                    <a:pt x="89" y="117"/>
                  </a:cubicBezTo>
                  <a:cubicBezTo>
                    <a:pt x="84" y="111"/>
                    <a:pt x="81" y="106"/>
                    <a:pt x="81" y="98"/>
                  </a:cubicBezTo>
                  <a:cubicBezTo>
                    <a:pt x="81" y="98"/>
                    <a:pt x="81" y="98"/>
                    <a:pt x="81" y="98"/>
                  </a:cubicBezTo>
                  <a:cubicBezTo>
                    <a:pt x="83" y="94"/>
                    <a:pt x="87" y="91"/>
                    <a:pt x="90" y="87"/>
                  </a:cubicBezTo>
                  <a:cubicBezTo>
                    <a:pt x="101" y="73"/>
                    <a:pt x="101" y="56"/>
                    <a:pt x="90" y="44"/>
                  </a:cubicBezTo>
                  <a:cubicBezTo>
                    <a:pt x="88" y="41"/>
                    <a:pt x="85" y="39"/>
                    <a:pt x="82" y="38"/>
                  </a:cubicBezTo>
                  <a:cubicBezTo>
                    <a:pt x="82" y="38"/>
                    <a:pt x="81" y="38"/>
                    <a:pt x="80" y="37"/>
                  </a:cubicBezTo>
                  <a:cubicBezTo>
                    <a:pt x="78" y="36"/>
                    <a:pt x="74" y="35"/>
                    <a:pt x="71" y="35"/>
                  </a:cubicBezTo>
                  <a:cubicBezTo>
                    <a:pt x="70" y="34"/>
                    <a:pt x="69" y="34"/>
                    <a:pt x="68" y="34"/>
                  </a:cubicBezTo>
                  <a:cubicBezTo>
                    <a:pt x="62" y="34"/>
                    <a:pt x="57" y="35"/>
                    <a:pt x="52" y="37"/>
                  </a:cubicBezTo>
                  <a:cubicBezTo>
                    <a:pt x="30" y="44"/>
                    <a:pt x="16" y="59"/>
                    <a:pt x="9" y="81"/>
                  </a:cubicBezTo>
                  <a:cubicBezTo>
                    <a:pt x="6" y="87"/>
                    <a:pt x="4" y="93"/>
                    <a:pt x="3" y="99"/>
                  </a:cubicBezTo>
                  <a:cubicBezTo>
                    <a:pt x="3" y="100"/>
                    <a:pt x="3" y="101"/>
                    <a:pt x="3" y="102"/>
                  </a:cubicBezTo>
                  <a:cubicBezTo>
                    <a:pt x="2" y="106"/>
                    <a:pt x="1" y="111"/>
                    <a:pt x="1" y="116"/>
                  </a:cubicBezTo>
                  <a:cubicBezTo>
                    <a:pt x="0" y="117"/>
                    <a:pt x="0" y="119"/>
                    <a:pt x="0" y="120"/>
                  </a:cubicBezTo>
                  <a:cubicBezTo>
                    <a:pt x="0" y="124"/>
                    <a:pt x="0" y="128"/>
                    <a:pt x="0" y="132"/>
                  </a:cubicBezTo>
                  <a:cubicBezTo>
                    <a:pt x="0" y="133"/>
                    <a:pt x="0" y="135"/>
                    <a:pt x="0" y="136"/>
                  </a:cubicBezTo>
                  <a:cubicBezTo>
                    <a:pt x="0" y="144"/>
                    <a:pt x="2" y="151"/>
                    <a:pt x="5" y="159"/>
                  </a:cubicBezTo>
                  <a:cubicBezTo>
                    <a:pt x="5" y="159"/>
                    <a:pt x="5" y="160"/>
                    <a:pt x="6" y="161"/>
                  </a:cubicBezTo>
                  <a:cubicBezTo>
                    <a:pt x="6" y="164"/>
                    <a:pt x="8" y="166"/>
                    <a:pt x="9" y="169"/>
                  </a:cubicBezTo>
                  <a:cubicBezTo>
                    <a:pt x="10" y="170"/>
                    <a:pt x="10" y="172"/>
                    <a:pt x="11" y="173"/>
                  </a:cubicBezTo>
                  <a:cubicBezTo>
                    <a:pt x="12" y="175"/>
                    <a:pt x="13" y="177"/>
                    <a:pt x="15" y="179"/>
                  </a:cubicBezTo>
                  <a:cubicBezTo>
                    <a:pt x="15" y="180"/>
                    <a:pt x="16" y="181"/>
                    <a:pt x="16" y="182"/>
                  </a:cubicBezTo>
                  <a:cubicBezTo>
                    <a:pt x="18" y="184"/>
                    <a:pt x="20" y="186"/>
                    <a:pt x="22" y="188"/>
                  </a:cubicBezTo>
                  <a:cubicBezTo>
                    <a:pt x="30" y="196"/>
                    <a:pt x="41" y="199"/>
                    <a:pt x="52" y="200"/>
                  </a:cubicBezTo>
                  <a:cubicBezTo>
                    <a:pt x="65" y="201"/>
                    <a:pt x="76" y="194"/>
                    <a:pt x="81" y="182"/>
                  </a:cubicBezTo>
                  <a:cubicBezTo>
                    <a:pt x="84" y="175"/>
                    <a:pt x="85" y="167"/>
                    <a:pt x="83" y="160"/>
                  </a:cubicBezTo>
                  <a:cubicBezTo>
                    <a:pt x="82" y="154"/>
                    <a:pt x="80" y="149"/>
                    <a:pt x="78" y="143"/>
                  </a:cubicBezTo>
                  <a:cubicBezTo>
                    <a:pt x="77" y="138"/>
                    <a:pt x="76" y="133"/>
                    <a:pt x="78" y="129"/>
                  </a:cubicBezTo>
                  <a:cubicBezTo>
                    <a:pt x="78" y="129"/>
                    <a:pt x="78" y="129"/>
                    <a:pt x="78" y="129"/>
                  </a:cubicBezTo>
                  <a:cubicBezTo>
                    <a:pt x="78" y="129"/>
                    <a:pt x="78" y="129"/>
                    <a:pt x="78" y="129"/>
                  </a:cubicBezTo>
                  <a:cubicBezTo>
                    <a:pt x="80" y="129"/>
                    <a:pt x="82" y="129"/>
                    <a:pt x="83" y="130"/>
                  </a:cubicBezTo>
                  <a:cubicBezTo>
                    <a:pt x="95" y="139"/>
                    <a:pt x="104" y="150"/>
                    <a:pt x="103" y="166"/>
                  </a:cubicBezTo>
                  <a:cubicBezTo>
                    <a:pt x="103" y="169"/>
                    <a:pt x="103" y="171"/>
                    <a:pt x="103" y="174"/>
                  </a:cubicBezTo>
                  <a:cubicBezTo>
                    <a:pt x="103" y="192"/>
                    <a:pt x="103" y="210"/>
                    <a:pt x="103" y="228"/>
                  </a:cubicBezTo>
                  <a:cubicBezTo>
                    <a:pt x="103" y="230"/>
                    <a:pt x="102" y="232"/>
                    <a:pt x="104" y="232"/>
                  </a:cubicBezTo>
                  <a:cubicBezTo>
                    <a:pt x="106" y="233"/>
                    <a:pt x="109" y="233"/>
                    <a:pt x="112" y="232"/>
                  </a:cubicBezTo>
                  <a:cubicBezTo>
                    <a:pt x="114" y="232"/>
                    <a:pt x="113" y="229"/>
                    <a:pt x="113" y="228"/>
                  </a:cubicBezTo>
                  <a:cubicBezTo>
                    <a:pt x="113" y="171"/>
                    <a:pt x="113" y="115"/>
                    <a:pt x="113" y="59"/>
                  </a:cubicBezTo>
                  <a:close/>
                  <a:moveTo>
                    <a:pt x="70" y="82"/>
                  </a:moveTo>
                  <a:cubicBezTo>
                    <a:pt x="70" y="82"/>
                    <a:pt x="69" y="82"/>
                    <a:pt x="69" y="82"/>
                  </a:cubicBezTo>
                  <a:cubicBezTo>
                    <a:pt x="69" y="82"/>
                    <a:pt x="70" y="82"/>
                    <a:pt x="70" y="82"/>
                  </a:cubicBezTo>
                  <a:close/>
                  <a:moveTo>
                    <a:pt x="66" y="79"/>
                  </a:moveTo>
                  <a:cubicBezTo>
                    <a:pt x="66" y="78"/>
                    <a:pt x="65" y="78"/>
                    <a:pt x="65" y="78"/>
                  </a:cubicBezTo>
                  <a:cubicBezTo>
                    <a:pt x="65" y="78"/>
                    <a:pt x="66" y="78"/>
                    <a:pt x="66" y="79"/>
                  </a:cubicBezTo>
                  <a:close/>
                  <a:moveTo>
                    <a:pt x="57" y="99"/>
                  </a:moveTo>
                  <a:cubicBezTo>
                    <a:pt x="58" y="100"/>
                    <a:pt x="59" y="100"/>
                    <a:pt x="59" y="100"/>
                  </a:cubicBezTo>
                  <a:cubicBezTo>
                    <a:pt x="60" y="99"/>
                    <a:pt x="60" y="99"/>
                    <a:pt x="60" y="98"/>
                  </a:cubicBezTo>
                  <a:cubicBezTo>
                    <a:pt x="60" y="99"/>
                    <a:pt x="60" y="99"/>
                    <a:pt x="59" y="100"/>
                  </a:cubicBezTo>
                  <a:cubicBezTo>
                    <a:pt x="59" y="100"/>
                    <a:pt x="58" y="100"/>
                    <a:pt x="57" y="99"/>
                  </a:cubicBezTo>
                  <a:cubicBezTo>
                    <a:pt x="56" y="99"/>
                    <a:pt x="56" y="98"/>
                    <a:pt x="55" y="98"/>
                  </a:cubicBezTo>
                  <a:cubicBezTo>
                    <a:pt x="56" y="98"/>
                    <a:pt x="56" y="99"/>
                    <a:pt x="57" y="99"/>
                  </a:cubicBezTo>
                  <a:close/>
                  <a:moveTo>
                    <a:pt x="49" y="93"/>
                  </a:moveTo>
                  <a:cubicBezTo>
                    <a:pt x="49" y="93"/>
                    <a:pt x="50" y="94"/>
                    <a:pt x="51" y="94"/>
                  </a:cubicBezTo>
                  <a:cubicBezTo>
                    <a:pt x="50" y="94"/>
                    <a:pt x="49" y="93"/>
                    <a:pt x="49" y="93"/>
                  </a:cubicBezTo>
                  <a:cubicBezTo>
                    <a:pt x="48" y="93"/>
                    <a:pt x="47" y="93"/>
                    <a:pt x="46" y="93"/>
                  </a:cubicBezTo>
                  <a:cubicBezTo>
                    <a:pt x="47" y="93"/>
                    <a:pt x="48" y="93"/>
                    <a:pt x="49" y="93"/>
                  </a:cubicBezTo>
                  <a:close/>
                  <a:moveTo>
                    <a:pt x="41" y="98"/>
                  </a:moveTo>
                  <a:cubicBezTo>
                    <a:pt x="42" y="98"/>
                    <a:pt x="42" y="97"/>
                    <a:pt x="42" y="97"/>
                  </a:cubicBezTo>
                  <a:cubicBezTo>
                    <a:pt x="42" y="97"/>
                    <a:pt x="42" y="98"/>
                    <a:pt x="41" y="98"/>
                  </a:cubicBezTo>
                  <a:cubicBezTo>
                    <a:pt x="41" y="101"/>
                    <a:pt x="41" y="104"/>
                    <a:pt x="42" y="107"/>
                  </a:cubicBezTo>
                  <a:cubicBezTo>
                    <a:pt x="43" y="108"/>
                    <a:pt x="43" y="109"/>
                    <a:pt x="44" y="109"/>
                  </a:cubicBezTo>
                  <a:cubicBezTo>
                    <a:pt x="46" y="111"/>
                    <a:pt x="47" y="113"/>
                    <a:pt x="46" y="114"/>
                  </a:cubicBezTo>
                  <a:cubicBezTo>
                    <a:pt x="47" y="113"/>
                    <a:pt x="46" y="111"/>
                    <a:pt x="44" y="109"/>
                  </a:cubicBezTo>
                  <a:cubicBezTo>
                    <a:pt x="43" y="109"/>
                    <a:pt x="43" y="108"/>
                    <a:pt x="42" y="107"/>
                  </a:cubicBezTo>
                  <a:cubicBezTo>
                    <a:pt x="41" y="104"/>
                    <a:pt x="41" y="101"/>
                    <a:pt x="41" y="98"/>
                  </a:cubicBezTo>
                  <a:close/>
                  <a:moveTo>
                    <a:pt x="38" y="127"/>
                  </a:moveTo>
                  <a:cubicBezTo>
                    <a:pt x="37" y="126"/>
                    <a:pt x="37" y="126"/>
                    <a:pt x="37" y="125"/>
                  </a:cubicBezTo>
                  <a:cubicBezTo>
                    <a:pt x="37" y="126"/>
                    <a:pt x="37" y="126"/>
                    <a:pt x="38" y="127"/>
                  </a:cubicBezTo>
                  <a:cubicBezTo>
                    <a:pt x="39" y="128"/>
                    <a:pt x="39" y="128"/>
                    <a:pt x="40" y="129"/>
                  </a:cubicBezTo>
                  <a:cubicBezTo>
                    <a:pt x="40" y="129"/>
                    <a:pt x="40" y="129"/>
                    <a:pt x="40" y="129"/>
                  </a:cubicBezTo>
                  <a:cubicBezTo>
                    <a:pt x="39" y="128"/>
                    <a:pt x="39" y="128"/>
                    <a:pt x="38" y="127"/>
                  </a:cubicBezTo>
                  <a:close/>
                  <a:moveTo>
                    <a:pt x="48" y="137"/>
                  </a:moveTo>
                  <a:cubicBezTo>
                    <a:pt x="48" y="137"/>
                    <a:pt x="48" y="137"/>
                    <a:pt x="49" y="137"/>
                  </a:cubicBezTo>
                  <a:cubicBezTo>
                    <a:pt x="49" y="136"/>
                    <a:pt x="49" y="135"/>
                    <a:pt x="50" y="133"/>
                  </a:cubicBezTo>
                  <a:cubicBezTo>
                    <a:pt x="51" y="132"/>
                    <a:pt x="51" y="131"/>
                    <a:pt x="50" y="130"/>
                  </a:cubicBezTo>
                  <a:cubicBezTo>
                    <a:pt x="51" y="131"/>
                    <a:pt x="51" y="132"/>
                    <a:pt x="50" y="133"/>
                  </a:cubicBezTo>
                  <a:cubicBezTo>
                    <a:pt x="49" y="135"/>
                    <a:pt x="49" y="136"/>
                    <a:pt x="49" y="137"/>
                  </a:cubicBezTo>
                  <a:cubicBezTo>
                    <a:pt x="49" y="137"/>
                    <a:pt x="49" y="137"/>
                    <a:pt x="49" y="137"/>
                  </a:cubicBezTo>
                  <a:cubicBezTo>
                    <a:pt x="49" y="137"/>
                    <a:pt x="49" y="137"/>
                    <a:pt x="49" y="137"/>
                  </a:cubicBezTo>
                  <a:cubicBezTo>
                    <a:pt x="48" y="137"/>
                    <a:pt x="48" y="137"/>
                    <a:pt x="48" y="137"/>
                  </a:cubicBezTo>
                  <a:close/>
                  <a:moveTo>
                    <a:pt x="52" y="142"/>
                  </a:moveTo>
                  <a:cubicBezTo>
                    <a:pt x="54" y="143"/>
                    <a:pt x="57" y="142"/>
                    <a:pt x="58" y="140"/>
                  </a:cubicBezTo>
                  <a:cubicBezTo>
                    <a:pt x="57" y="142"/>
                    <a:pt x="54" y="143"/>
                    <a:pt x="52" y="142"/>
                  </a:cubicBezTo>
                  <a:close/>
                  <a:moveTo>
                    <a:pt x="60" y="139"/>
                  </a:moveTo>
                  <a:cubicBezTo>
                    <a:pt x="60" y="138"/>
                    <a:pt x="60" y="138"/>
                    <a:pt x="60" y="138"/>
                  </a:cubicBezTo>
                  <a:cubicBezTo>
                    <a:pt x="60" y="138"/>
                    <a:pt x="60" y="138"/>
                    <a:pt x="60" y="138"/>
                  </a:cubicBezTo>
                  <a:cubicBezTo>
                    <a:pt x="60" y="138"/>
                    <a:pt x="60" y="138"/>
                    <a:pt x="60" y="138"/>
                  </a:cubicBezTo>
                  <a:cubicBezTo>
                    <a:pt x="60" y="138"/>
                    <a:pt x="60" y="138"/>
                    <a:pt x="60" y="139"/>
                  </a:cubicBezTo>
                  <a:close/>
                  <a:moveTo>
                    <a:pt x="60" y="133"/>
                  </a:moveTo>
                  <a:cubicBezTo>
                    <a:pt x="60" y="135"/>
                    <a:pt x="60" y="137"/>
                    <a:pt x="60" y="138"/>
                  </a:cubicBezTo>
                  <a:cubicBezTo>
                    <a:pt x="60" y="138"/>
                    <a:pt x="60" y="138"/>
                    <a:pt x="60" y="138"/>
                  </a:cubicBezTo>
                  <a:cubicBezTo>
                    <a:pt x="60" y="137"/>
                    <a:pt x="60" y="135"/>
                    <a:pt x="60" y="133"/>
                  </a:cubicBezTo>
                  <a:cubicBezTo>
                    <a:pt x="60" y="133"/>
                    <a:pt x="60" y="132"/>
                    <a:pt x="60" y="132"/>
                  </a:cubicBezTo>
                  <a:cubicBezTo>
                    <a:pt x="60" y="132"/>
                    <a:pt x="60" y="133"/>
                    <a:pt x="60" y="133"/>
                  </a:cubicBezTo>
                  <a:close/>
                  <a:moveTo>
                    <a:pt x="67" y="138"/>
                  </a:moveTo>
                  <a:cubicBezTo>
                    <a:pt x="67" y="136"/>
                    <a:pt x="67" y="134"/>
                    <a:pt x="66" y="132"/>
                  </a:cubicBezTo>
                  <a:cubicBezTo>
                    <a:pt x="67" y="134"/>
                    <a:pt x="67" y="136"/>
                    <a:pt x="67" y="138"/>
                  </a:cubicBezTo>
                  <a:close/>
                  <a:moveTo>
                    <a:pt x="66" y="140"/>
                  </a:moveTo>
                  <a:cubicBezTo>
                    <a:pt x="66" y="141"/>
                    <a:pt x="66" y="142"/>
                    <a:pt x="66" y="142"/>
                  </a:cubicBezTo>
                  <a:cubicBezTo>
                    <a:pt x="66" y="143"/>
                    <a:pt x="66" y="143"/>
                    <a:pt x="66" y="143"/>
                  </a:cubicBezTo>
                  <a:cubicBezTo>
                    <a:pt x="66" y="143"/>
                    <a:pt x="66" y="143"/>
                    <a:pt x="66" y="142"/>
                  </a:cubicBezTo>
                  <a:cubicBezTo>
                    <a:pt x="66" y="142"/>
                    <a:pt x="66" y="141"/>
                    <a:pt x="66" y="140"/>
                  </a:cubicBezTo>
                  <a:close/>
                  <a:moveTo>
                    <a:pt x="72" y="139"/>
                  </a:moveTo>
                  <a:cubicBezTo>
                    <a:pt x="72" y="137"/>
                    <a:pt x="72" y="136"/>
                    <a:pt x="73" y="134"/>
                  </a:cubicBezTo>
                  <a:cubicBezTo>
                    <a:pt x="72" y="136"/>
                    <a:pt x="72" y="137"/>
                    <a:pt x="72"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127">
              <a:extLst>
                <a:ext uri="{FF2B5EF4-FFF2-40B4-BE49-F238E27FC236}">
                  <a16:creationId xmlns:a16="http://schemas.microsoft.com/office/drawing/2014/main" id="{2A485A8E-289F-B27E-FB94-FE1F3CFA4730}"/>
                </a:ext>
              </a:extLst>
            </p:cNvPr>
            <p:cNvSpPr>
              <a:spLocks noEditPoints="1"/>
            </p:cNvSpPr>
            <p:nvPr/>
          </p:nvSpPr>
          <p:spPr bwMode="auto">
            <a:xfrm>
              <a:off x="4732534" y="4956969"/>
              <a:ext cx="228600" cy="460375"/>
            </a:xfrm>
            <a:custGeom>
              <a:avLst/>
              <a:gdLst>
                <a:gd name="T0" fmla="*/ 113 w 115"/>
                <a:gd name="T1" fmla="*/ 115 h 233"/>
                <a:gd name="T2" fmla="*/ 111 w 115"/>
                <a:gd name="T3" fmla="*/ 99 h 233"/>
                <a:gd name="T4" fmla="*/ 104 w 115"/>
                <a:gd name="T5" fmla="*/ 77 h 233"/>
                <a:gd name="T6" fmla="*/ 103 w 115"/>
                <a:gd name="T7" fmla="*/ 75 h 233"/>
                <a:gd name="T8" fmla="*/ 93 w 115"/>
                <a:gd name="T9" fmla="*/ 58 h 233"/>
                <a:gd name="T10" fmla="*/ 82 w 115"/>
                <a:gd name="T11" fmla="*/ 47 h 233"/>
                <a:gd name="T12" fmla="*/ 64 w 115"/>
                <a:gd name="T13" fmla="*/ 38 h 233"/>
                <a:gd name="T14" fmla="*/ 53 w 115"/>
                <a:gd name="T15" fmla="*/ 35 h 233"/>
                <a:gd name="T16" fmla="*/ 19 w 115"/>
                <a:gd name="T17" fmla="*/ 79 h 233"/>
                <a:gd name="T18" fmla="*/ 33 w 115"/>
                <a:gd name="T19" fmla="*/ 95 h 233"/>
                <a:gd name="T20" fmla="*/ 11 w 115"/>
                <a:gd name="T21" fmla="*/ 140 h 233"/>
                <a:gd name="T22" fmla="*/ 10 w 115"/>
                <a:gd name="T23" fmla="*/ 5 h 233"/>
                <a:gd name="T24" fmla="*/ 0 w 115"/>
                <a:gd name="T25" fmla="*/ 228 h 233"/>
                <a:gd name="T26" fmla="*/ 10 w 115"/>
                <a:gd name="T27" fmla="*/ 171 h 233"/>
                <a:gd name="T28" fmla="*/ 36 w 115"/>
                <a:gd name="T29" fmla="*/ 143 h 233"/>
                <a:gd name="T30" fmla="*/ 35 w 115"/>
                <a:gd name="T31" fmla="*/ 186 h 233"/>
                <a:gd name="T32" fmla="*/ 45 w 115"/>
                <a:gd name="T33" fmla="*/ 196 h 233"/>
                <a:gd name="T34" fmla="*/ 113 w 115"/>
                <a:gd name="T35" fmla="*/ 142 h 233"/>
                <a:gd name="T36" fmla="*/ 70 w 115"/>
                <a:gd name="T37" fmla="*/ 109 h 233"/>
                <a:gd name="T38" fmla="*/ 73 w 115"/>
                <a:gd name="T39" fmla="*/ 106 h 233"/>
                <a:gd name="T40" fmla="*/ 56 w 115"/>
                <a:gd name="T41" fmla="*/ 100 h 233"/>
                <a:gd name="T42" fmla="*/ 55 w 115"/>
                <a:gd name="T43" fmla="*/ 99 h 233"/>
                <a:gd name="T44" fmla="*/ 50 w 115"/>
                <a:gd name="T45" fmla="*/ 131 h 233"/>
                <a:gd name="T46" fmla="*/ 53 w 115"/>
                <a:gd name="T47" fmla="*/ 131 h 233"/>
                <a:gd name="T48" fmla="*/ 53 w 115"/>
                <a:gd name="T49" fmla="*/ 79 h 233"/>
                <a:gd name="T50" fmla="*/ 49 w 115"/>
                <a:gd name="T51" fmla="*/ 79 h 233"/>
                <a:gd name="T52" fmla="*/ 34 w 115"/>
                <a:gd name="T53" fmla="*/ 82 h 233"/>
                <a:gd name="T54" fmla="*/ 33 w 115"/>
                <a:gd name="T55" fmla="*/ 95 h 233"/>
                <a:gd name="T56" fmla="*/ 34 w 115"/>
                <a:gd name="T57" fmla="*/ 82 h 233"/>
                <a:gd name="T58" fmla="*/ 35 w 115"/>
                <a:gd name="T59" fmla="*/ 80 h 233"/>
                <a:gd name="T60" fmla="*/ 37 w 115"/>
                <a:gd name="T61" fmla="*/ 79 h 233"/>
                <a:gd name="T62" fmla="*/ 35 w 115"/>
                <a:gd name="T63" fmla="*/ 80 h 233"/>
                <a:gd name="T64" fmla="*/ 42 w 115"/>
                <a:gd name="T65" fmla="*/ 142 h 233"/>
                <a:gd name="T66" fmla="*/ 45 w 115"/>
                <a:gd name="T67" fmla="*/ 145 h 233"/>
                <a:gd name="T68" fmla="*/ 45 w 115"/>
                <a:gd name="T69" fmla="*/ 145 h 233"/>
                <a:gd name="T70" fmla="*/ 47 w 115"/>
                <a:gd name="T71" fmla="*/ 144 h 233"/>
                <a:gd name="T72" fmla="*/ 48 w 115"/>
                <a:gd name="T73" fmla="*/ 140 h 233"/>
                <a:gd name="T74" fmla="*/ 48 w 115"/>
                <a:gd name="T75" fmla="*/ 133 h 233"/>
                <a:gd name="T76" fmla="*/ 55 w 115"/>
                <a:gd name="T77" fmla="*/ 139 h 233"/>
                <a:gd name="T78" fmla="*/ 62 w 115"/>
                <a:gd name="T79" fmla="*/ 142 h 233"/>
                <a:gd name="T80" fmla="*/ 66 w 115"/>
                <a:gd name="T81" fmla="*/ 129 h 233"/>
                <a:gd name="T82" fmla="*/ 65 w 115"/>
                <a:gd name="T83" fmla="*/ 135 h 233"/>
                <a:gd name="T84" fmla="*/ 66 w 115"/>
                <a:gd name="T85" fmla="*/ 129 h 233"/>
                <a:gd name="T86" fmla="*/ 69 w 115"/>
                <a:gd name="T87" fmla="*/ 129 h 233"/>
                <a:gd name="T88" fmla="*/ 74 w 115"/>
                <a:gd name="T89" fmla="*/ 11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233">
                  <a:moveTo>
                    <a:pt x="114" y="129"/>
                  </a:moveTo>
                  <a:cubicBezTo>
                    <a:pt x="114" y="128"/>
                    <a:pt x="114" y="127"/>
                    <a:pt x="114" y="125"/>
                  </a:cubicBezTo>
                  <a:cubicBezTo>
                    <a:pt x="114" y="122"/>
                    <a:pt x="114" y="119"/>
                    <a:pt x="113" y="115"/>
                  </a:cubicBezTo>
                  <a:cubicBezTo>
                    <a:pt x="113" y="114"/>
                    <a:pt x="113" y="112"/>
                    <a:pt x="113" y="111"/>
                  </a:cubicBezTo>
                  <a:cubicBezTo>
                    <a:pt x="112" y="108"/>
                    <a:pt x="113" y="104"/>
                    <a:pt x="111" y="101"/>
                  </a:cubicBezTo>
                  <a:cubicBezTo>
                    <a:pt x="111" y="101"/>
                    <a:pt x="111" y="100"/>
                    <a:pt x="111" y="99"/>
                  </a:cubicBezTo>
                  <a:cubicBezTo>
                    <a:pt x="110" y="96"/>
                    <a:pt x="110" y="92"/>
                    <a:pt x="108" y="89"/>
                  </a:cubicBezTo>
                  <a:cubicBezTo>
                    <a:pt x="108" y="88"/>
                    <a:pt x="108" y="87"/>
                    <a:pt x="107" y="86"/>
                  </a:cubicBezTo>
                  <a:cubicBezTo>
                    <a:pt x="107" y="83"/>
                    <a:pt x="106" y="80"/>
                    <a:pt x="104" y="77"/>
                  </a:cubicBezTo>
                  <a:cubicBezTo>
                    <a:pt x="103" y="79"/>
                    <a:pt x="101" y="80"/>
                    <a:pt x="100" y="82"/>
                  </a:cubicBezTo>
                  <a:cubicBezTo>
                    <a:pt x="101" y="80"/>
                    <a:pt x="103" y="79"/>
                    <a:pt x="104" y="77"/>
                  </a:cubicBezTo>
                  <a:cubicBezTo>
                    <a:pt x="104" y="77"/>
                    <a:pt x="103" y="76"/>
                    <a:pt x="103" y="75"/>
                  </a:cubicBezTo>
                  <a:cubicBezTo>
                    <a:pt x="102" y="73"/>
                    <a:pt x="101" y="70"/>
                    <a:pt x="100" y="68"/>
                  </a:cubicBezTo>
                  <a:cubicBezTo>
                    <a:pt x="99" y="67"/>
                    <a:pt x="98" y="65"/>
                    <a:pt x="97" y="64"/>
                  </a:cubicBezTo>
                  <a:cubicBezTo>
                    <a:pt x="96" y="62"/>
                    <a:pt x="94" y="60"/>
                    <a:pt x="93" y="58"/>
                  </a:cubicBezTo>
                  <a:cubicBezTo>
                    <a:pt x="92" y="57"/>
                    <a:pt x="91" y="56"/>
                    <a:pt x="90" y="55"/>
                  </a:cubicBezTo>
                  <a:cubicBezTo>
                    <a:pt x="89" y="53"/>
                    <a:pt x="87" y="52"/>
                    <a:pt x="85" y="50"/>
                  </a:cubicBezTo>
                  <a:cubicBezTo>
                    <a:pt x="84" y="49"/>
                    <a:pt x="83" y="48"/>
                    <a:pt x="82" y="47"/>
                  </a:cubicBezTo>
                  <a:cubicBezTo>
                    <a:pt x="80" y="46"/>
                    <a:pt x="78" y="44"/>
                    <a:pt x="76" y="43"/>
                  </a:cubicBezTo>
                  <a:cubicBezTo>
                    <a:pt x="75" y="43"/>
                    <a:pt x="74" y="42"/>
                    <a:pt x="73" y="42"/>
                  </a:cubicBezTo>
                  <a:cubicBezTo>
                    <a:pt x="71" y="40"/>
                    <a:pt x="68" y="38"/>
                    <a:pt x="64" y="38"/>
                  </a:cubicBezTo>
                  <a:cubicBezTo>
                    <a:pt x="64" y="38"/>
                    <a:pt x="64" y="38"/>
                    <a:pt x="64" y="38"/>
                  </a:cubicBezTo>
                  <a:cubicBezTo>
                    <a:pt x="64" y="37"/>
                    <a:pt x="64" y="37"/>
                    <a:pt x="63" y="37"/>
                  </a:cubicBezTo>
                  <a:cubicBezTo>
                    <a:pt x="60" y="36"/>
                    <a:pt x="56" y="35"/>
                    <a:pt x="53" y="35"/>
                  </a:cubicBezTo>
                  <a:cubicBezTo>
                    <a:pt x="49" y="33"/>
                    <a:pt x="44" y="34"/>
                    <a:pt x="40" y="35"/>
                  </a:cubicBezTo>
                  <a:cubicBezTo>
                    <a:pt x="22" y="39"/>
                    <a:pt x="10" y="60"/>
                    <a:pt x="18" y="76"/>
                  </a:cubicBezTo>
                  <a:cubicBezTo>
                    <a:pt x="18" y="77"/>
                    <a:pt x="19" y="78"/>
                    <a:pt x="19" y="79"/>
                  </a:cubicBezTo>
                  <a:cubicBezTo>
                    <a:pt x="20" y="80"/>
                    <a:pt x="21" y="82"/>
                    <a:pt x="22" y="83"/>
                  </a:cubicBezTo>
                  <a:cubicBezTo>
                    <a:pt x="25" y="89"/>
                    <a:pt x="30" y="92"/>
                    <a:pt x="33" y="98"/>
                  </a:cubicBezTo>
                  <a:cubicBezTo>
                    <a:pt x="33" y="97"/>
                    <a:pt x="33" y="96"/>
                    <a:pt x="33" y="95"/>
                  </a:cubicBezTo>
                  <a:cubicBezTo>
                    <a:pt x="33" y="96"/>
                    <a:pt x="33" y="97"/>
                    <a:pt x="33" y="98"/>
                  </a:cubicBezTo>
                  <a:cubicBezTo>
                    <a:pt x="33" y="105"/>
                    <a:pt x="31" y="111"/>
                    <a:pt x="26" y="115"/>
                  </a:cubicBezTo>
                  <a:cubicBezTo>
                    <a:pt x="20" y="123"/>
                    <a:pt x="14" y="130"/>
                    <a:pt x="11" y="140"/>
                  </a:cubicBezTo>
                  <a:cubicBezTo>
                    <a:pt x="11" y="140"/>
                    <a:pt x="10" y="140"/>
                    <a:pt x="10" y="140"/>
                  </a:cubicBezTo>
                  <a:cubicBezTo>
                    <a:pt x="10" y="138"/>
                    <a:pt x="10" y="137"/>
                    <a:pt x="10" y="136"/>
                  </a:cubicBezTo>
                  <a:cubicBezTo>
                    <a:pt x="10" y="92"/>
                    <a:pt x="10" y="49"/>
                    <a:pt x="10" y="5"/>
                  </a:cubicBezTo>
                  <a:cubicBezTo>
                    <a:pt x="10" y="0"/>
                    <a:pt x="7" y="1"/>
                    <a:pt x="5" y="1"/>
                  </a:cubicBezTo>
                  <a:cubicBezTo>
                    <a:pt x="1" y="1"/>
                    <a:pt x="0" y="1"/>
                    <a:pt x="0" y="5"/>
                  </a:cubicBezTo>
                  <a:cubicBezTo>
                    <a:pt x="0" y="79"/>
                    <a:pt x="0" y="154"/>
                    <a:pt x="0" y="228"/>
                  </a:cubicBezTo>
                  <a:cubicBezTo>
                    <a:pt x="0" y="232"/>
                    <a:pt x="1" y="233"/>
                    <a:pt x="4" y="233"/>
                  </a:cubicBezTo>
                  <a:cubicBezTo>
                    <a:pt x="8" y="233"/>
                    <a:pt x="10" y="233"/>
                    <a:pt x="10" y="228"/>
                  </a:cubicBezTo>
                  <a:cubicBezTo>
                    <a:pt x="10" y="209"/>
                    <a:pt x="10" y="190"/>
                    <a:pt x="10" y="171"/>
                  </a:cubicBezTo>
                  <a:cubicBezTo>
                    <a:pt x="9" y="154"/>
                    <a:pt x="17" y="141"/>
                    <a:pt x="30" y="131"/>
                  </a:cubicBezTo>
                  <a:cubicBezTo>
                    <a:pt x="31" y="129"/>
                    <a:pt x="33" y="128"/>
                    <a:pt x="36" y="129"/>
                  </a:cubicBezTo>
                  <a:cubicBezTo>
                    <a:pt x="38" y="133"/>
                    <a:pt x="37" y="138"/>
                    <a:pt x="36" y="143"/>
                  </a:cubicBezTo>
                  <a:cubicBezTo>
                    <a:pt x="34" y="147"/>
                    <a:pt x="33" y="152"/>
                    <a:pt x="32" y="156"/>
                  </a:cubicBezTo>
                  <a:cubicBezTo>
                    <a:pt x="30" y="163"/>
                    <a:pt x="29" y="170"/>
                    <a:pt x="32" y="178"/>
                  </a:cubicBezTo>
                  <a:cubicBezTo>
                    <a:pt x="32" y="181"/>
                    <a:pt x="33" y="184"/>
                    <a:pt x="35" y="186"/>
                  </a:cubicBezTo>
                  <a:cubicBezTo>
                    <a:pt x="36" y="188"/>
                    <a:pt x="37" y="189"/>
                    <a:pt x="38" y="190"/>
                  </a:cubicBezTo>
                  <a:cubicBezTo>
                    <a:pt x="39" y="192"/>
                    <a:pt x="41" y="193"/>
                    <a:pt x="43" y="195"/>
                  </a:cubicBezTo>
                  <a:cubicBezTo>
                    <a:pt x="44" y="195"/>
                    <a:pt x="45" y="195"/>
                    <a:pt x="45" y="196"/>
                  </a:cubicBezTo>
                  <a:cubicBezTo>
                    <a:pt x="48" y="198"/>
                    <a:pt x="51" y="199"/>
                    <a:pt x="55" y="200"/>
                  </a:cubicBezTo>
                  <a:cubicBezTo>
                    <a:pt x="69" y="201"/>
                    <a:pt x="82" y="198"/>
                    <a:pt x="93" y="188"/>
                  </a:cubicBezTo>
                  <a:cubicBezTo>
                    <a:pt x="105" y="175"/>
                    <a:pt x="111" y="159"/>
                    <a:pt x="113" y="142"/>
                  </a:cubicBezTo>
                  <a:cubicBezTo>
                    <a:pt x="115" y="137"/>
                    <a:pt x="114" y="133"/>
                    <a:pt x="114" y="129"/>
                  </a:cubicBezTo>
                  <a:close/>
                  <a:moveTo>
                    <a:pt x="73" y="106"/>
                  </a:moveTo>
                  <a:cubicBezTo>
                    <a:pt x="72" y="107"/>
                    <a:pt x="71" y="108"/>
                    <a:pt x="70" y="109"/>
                  </a:cubicBezTo>
                  <a:cubicBezTo>
                    <a:pt x="71" y="108"/>
                    <a:pt x="72" y="107"/>
                    <a:pt x="73" y="106"/>
                  </a:cubicBezTo>
                  <a:cubicBezTo>
                    <a:pt x="73" y="105"/>
                    <a:pt x="73" y="103"/>
                    <a:pt x="73" y="102"/>
                  </a:cubicBezTo>
                  <a:cubicBezTo>
                    <a:pt x="73" y="103"/>
                    <a:pt x="73" y="105"/>
                    <a:pt x="73" y="106"/>
                  </a:cubicBezTo>
                  <a:close/>
                  <a:moveTo>
                    <a:pt x="56" y="100"/>
                  </a:moveTo>
                  <a:cubicBezTo>
                    <a:pt x="56" y="100"/>
                    <a:pt x="57" y="99"/>
                    <a:pt x="57" y="99"/>
                  </a:cubicBezTo>
                  <a:cubicBezTo>
                    <a:pt x="57" y="99"/>
                    <a:pt x="56" y="100"/>
                    <a:pt x="56" y="100"/>
                  </a:cubicBezTo>
                  <a:cubicBezTo>
                    <a:pt x="56" y="100"/>
                    <a:pt x="55" y="100"/>
                    <a:pt x="55" y="99"/>
                  </a:cubicBezTo>
                  <a:cubicBezTo>
                    <a:pt x="54" y="99"/>
                    <a:pt x="54" y="99"/>
                    <a:pt x="54" y="98"/>
                  </a:cubicBezTo>
                  <a:cubicBezTo>
                    <a:pt x="54" y="99"/>
                    <a:pt x="54" y="99"/>
                    <a:pt x="55" y="99"/>
                  </a:cubicBezTo>
                  <a:cubicBezTo>
                    <a:pt x="55" y="100"/>
                    <a:pt x="56" y="100"/>
                    <a:pt x="56" y="100"/>
                  </a:cubicBezTo>
                  <a:close/>
                  <a:moveTo>
                    <a:pt x="50" y="131"/>
                  </a:moveTo>
                  <a:cubicBezTo>
                    <a:pt x="50" y="131"/>
                    <a:pt x="50" y="131"/>
                    <a:pt x="50" y="131"/>
                  </a:cubicBezTo>
                  <a:cubicBezTo>
                    <a:pt x="50" y="131"/>
                    <a:pt x="50" y="131"/>
                    <a:pt x="50" y="131"/>
                  </a:cubicBezTo>
                  <a:close/>
                  <a:moveTo>
                    <a:pt x="54" y="133"/>
                  </a:moveTo>
                  <a:cubicBezTo>
                    <a:pt x="54" y="132"/>
                    <a:pt x="54" y="132"/>
                    <a:pt x="53" y="131"/>
                  </a:cubicBezTo>
                  <a:cubicBezTo>
                    <a:pt x="54" y="132"/>
                    <a:pt x="54" y="132"/>
                    <a:pt x="54" y="133"/>
                  </a:cubicBezTo>
                  <a:close/>
                  <a:moveTo>
                    <a:pt x="53" y="78"/>
                  </a:moveTo>
                  <a:cubicBezTo>
                    <a:pt x="53" y="79"/>
                    <a:pt x="53" y="79"/>
                    <a:pt x="53" y="79"/>
                  </a:cubicBezTo>
                  <a:cubicBezTo>
                    <a:pt x="53" y="79"/>
                    <a:pt x="53" y="79"/>
                    <a:pt x="53" y="79"/>
                  </a:cubicBezTo>
                  <a:cubicBezTo>
                    <a:pt x="53" y="79"/>
                    <a:pt x="53" y="79"/>
                    <a:pt x="53" y="78"/>
                  </a:cubicBezTo>
                  <a:close/>
                  <a:moveTo>
                    <a:pt x="49" y="79"/>
                  </a:moveTo>
                  <a:cubicBezTo>
                    <a:pt x="49" y="79"/>
                    <a:pt x="49" y="79"/>
                    <a:pt x="49" y="79"/>
                  </a:cubicBezTo>
                  <a:cubicBezTo>
                    <a:pt x="49" y="79"/>
                    <a:pt x="49" y="79"/>
                    <a:pt x="49" y="79"/>
                  </a:cubicBezTo>
                  <a:close/>
                  <a:moveTo>
                    <a:pt x="34" y="82"/>
                  </a:moveTo>
                  <a:cubicBezTo>
                    <a:pt x="34" y="83"/>
                    <a:pt x="34" y="83"/>
                    <a:pt x="34" y="84"/>
                  </a:cubicBezTo>
                  <a:cubicBezTo>
                    <a:pt x="34" y="86"/>
                    <a:pt x="34" y="87"/>
                    <a:pt x="34" y="88"/>
                  </a:cubicBezTo>
                  <a:cubicBezTo>
                    <a:pt x="34" y="90"/>
                    <a:pt x="34" y="92"/>
                    <a:pt x="33" y="95"/>
                  </a:cubicBezTo>
                  <a:cubicBezTo>
                    <a:pt x="34" y="92"/>
                    <a:pt x="34" y="90"/>
                    <a:pt x="34" y="88"/>
                  </a:cubicBezTo>
                  <a:cubicBezTo>
                    <a:pt x="34" y="87"/>
                    <a:pt x="34" y="86"/>
                    <a:pt x="34" y="84"/>
                  </a:cubicBezTo>
                  <a:cubicBezTo>
                    <a:pt x="34" y="83"/>
                    <a:pt x="34" y="83"/>
                    <a:pt x="34" y="82"/>
                  </a:cubicBezTo>
                  <a:cubicBezTo>
                    <a:pt x="34" y="81"/>
                    <a:pt x="34" y="81"/>
                    <a:pt x="35" y="80"/>
                  </a:cubicBezTo>
                  <a:cubicBezTo>
                    <a:pt x="34" y="81"/>
                    <a:pt x="34" y="81"/>
                    <a:pt x="34" y="82"/>
                  </a:cubicBezTo>
                  <a:close/>
                  <a:moveTo>
                    <a:pt x="35" y="80"/>
                  </a:moveTo>
                  <a:cubicBezTo>
                    <a:pt x="36" y="80"/>
                    <a:pt x="36" y="79"/>
                    <a:pt x="37" y="79"/>
                  </a:cubicBezTo>
                  <a:cubicBezTo>
                    <a:pt x="37" y="79"/>
                    <a:pt x="38" y="78"/>
                    <a:pt x="38" y="77"/>
                  </a:cubicBezTo>
                  <a:cubicBezTo>
                    <a:pt x="38" y="78"/>
                    <a:pt x="37" y="79"/>
                    <a:pt x="37" y="79"/>
                  </a:cubicBezTo>
                  <a:cubicBezTo>
                    <a:pt x="37" y="79"/>
                    <a:pt x="37" y="79"/>
                    <a:pt x="37" y="79"/>
                  </a:cubicBezTo>
                  <a:cubicBezTo>
                    <a:pt x="37" y="79"/>
                    <a:pt x="37" y="79"/>
                    <a:pt x="37" y="79"/>
                  </a:cubicBezTo>
                  <a:cubicBezTo>
                    <a:pt x="36" y="79"/>
                    <a:pt x="36" y="80"/>
                    <a:pt x="35" y="80"/>
                  </a:cubicBezTo>
                  <a:close/>
                  <a:moveTo>
                    <a:pt x="42" y="142"/>
                  </a:moveTo>
                  <a:cubicBezTo>
                    <a:pt x="42" y="141"/>
                    <a:pt x="42" y="139"/>
                    <a:pt x="42" y="137"/>
                  </a:cubicBezTo>
                  <a:cubicBezTo>
                    <a:pt x="42" y="139"/>
                    <a:pt x="42" y="141"/>
                    <a:pt x="42" y="142"/>
                  </a:cubicBezTo>
                  <a:cubicBezTo>
                    <a:pt x="42" y="143"/>
                    <a:pt x="43" y="143"/>
                    <a:pt x="43" y="144"/>
                  </a:cubicBezTo>
                  <a:cubicBezTo>
                    <a:pt x="43" y="143"/>
                    <a:pt x="42" y="143"/>
                    <a:pt x="42" y="142"/>
                  </a:cubicBezTo>
                  <a:close/>
                  <a:moveTo>
                    <a:pt x="45" y="145"/>
                  </a:moveTo>
                  <a:cubicBezTo>
                    <a:pt x="45" y="145"/>
                    <a:pt x="45" y="145"/>
                    <a:pt x="45" y="145"/>
                  </a:cubicBezTo>
                  <a:cubicBezTo>
                    <a:pt x="45" y="145"/>
                    <a:pt x="45" y="145"/>
                    <a:pt x="45" y="145"/>
                  </a:cubicBezTo>
                  <a:cubicBezTo>
                    <a:pt x="45" y="145"/>
                    <a:pt x="45" y="145"/>
                    <a:pt x="45" y="145"/>
                  </a:cubicBezTo>
                  <a:close/>
                  <a:moveTo>
                    <a:pt x="47" y="144"/>
                  </a:moveTo>
                  <a:cubicBezTo>
                    <a:pt x="47" y="144"/>
                    <a:pt x="48" y="143"/>
                    <a:pt x="48" y="143"/>
                  </a:cubicBezTo>
                  <a:cubicBezTo>
                    <a:pt x="48" y="143"/>
                    <a:pt x="47" y="144"/>
                    <a:pt x="47" y="144"/>
                  </a:cubicBezTo>
                  <a:close/>
                  <a:moveTo>
                    <a:pt x="48" y="140"/>
                  </a:moveTo>
                  <a:cubicBezTo>
                    <a:pt x="48" y="139"/>
                    <a:pt x="48" y="138"/>
                    <a:pt x="48" y="138"/>
                  </a:cubicBezTo>
                  <a:cubicBezTo>
                    <a:pt x="48" y="138"/>
                    <a:pt x="48" y="139"/>
                    <a:pt x="48" y="140"/>
                  </a:cubicBezTo>
                  <a:close/>
                  <a:moveTo>
                    <a:pt x="48" y="133"/>
                  </a:moveTo>
                  <a:cubicBezTo>
                    <a:pt x="48" y="133"/>
                    <a:pt x="48" y="133"/>
                    <a:pt x="48" y="134"/>
                  </a:cubicBezTo>
                  <a:cubicBezTo>
                    <a:pt x="48" y="133"/>
                    <a:pt x="48" y="133"/>
                    <a:pt x="48" y="133"/>
                  </a:cubicBezTo>
                  <a:cubicBezTo>
                    <a:pt x="48" y="132"/>
                    <a:pt x="49" y="131"/>
                    <a:pt x="49" y="131"/>
                  </a:cubicBezTo>
                  <a:cubicBezTo>
                    <a:pt x="49" y="131"/>
                    <a:pt x="48" y="132"/>
                    <a:pt x="48" y="133"/>
                  </a:cubicBezTo>
                  <a:close/>
                  <a:moveTo>
                    <a:pt x="55" y="139"/>
                  </a:moveTo>
                  <a:cubicBezTo>
                    <a:pt x="55" y="138"/>
                    <a:pt x="55" y="138"/>
                    <a:pt x="55" y="137"/>
                  </a:cubicBezTo>
                  <a:cubicBezTo>
                    <a:pt x="55" y="138"/>
                    <a:pt x="55" y="138"/>
                    <a:pt x="55" y="139"/>
                  </a:cubicBezTo>
                  <a:cubicBezTo>
                    <a:pt x="57" y="142"/>
                    <a:pt x="59" y="143"/>
                    <a:pt x="62" y="142"/>
                  </a:cubicBezTo>
                  <a:cubicBezTo>
                    <a:pt x="59" y="143"/>
                    <a:pt x="57" y="142"/>
                    <a:pt x="55" y="139"/>
                  </a:cubicBezTo>
                  <a:close/>
                  <a:moveTo>
                    <a:pt x="69" y="129"/>
                  </a:moveTo>
                  <a:cubicBezTo>
                    <a:pt x="67" y="129"/>
                    <a:pt x="66" y="129"/>
                    <a:pt x="66" y="129"/>
                  </a:cubicBezTo>
                  <a:cubicBezTo>
                    <a:pt x="65" y="130"/>
                    <a:pt x="65" y="131"/>
                    <a:pt x="64" y="132"/>
                  </a:cubicBezTo>
                  <a:cubicBezTo>
                    <a:pt x="64" y="132"/>
                    <a:pt x="64" y="133"/>
                    <a:pt x="64" y="134"/>
                  </a:cubicBezTo>
                  <a:cubicBezTo>
                    <a:pt x="65" y="134"/>
                    <a:pt x="65" y="135"/>
                    <a:pt x="65" y="135"/>
                  </a:cubicBezTo>
                  <a:cubicBezTo>
                    <a:pt x="65" y="135"/>
                    <a:pt x="65" y="134"/>
                    <a:pt x="64" y="134"/>
                  </a:cubicBezTo>
                  <a:cubicBezTo>
                    <a:pt x="64" y="133"/>
                    <a:pt x="64" y="132"/>
                    <a:pt x="64" y="132"/>
                  </a:cubicBezTo>
                  <a:cubicBezTo>
                    <a:pt x="65" y="131"/>
                    <a:pt x="65" y="130"/>
                    <a:pt x="66" y="129"/>
                  </a:cubicBezTo>
                  <a:cubicBezTo>
                    <a:pt x="66" y="129"/>
                    <a:pt x="67" y="129"/>
                    <a:pt x="69" y="129"/>
                  </a:cubicBezTo>
                  <a:cubicBezTo>
                    <a:pt x="69" y="129"/>
                    <a:pt x="69" y="129"/>
                    <a:pt x="70" y="129"/>
                  </a:cubicBezTo>
                  <a:cubicBezTo>
                    <a:pt x="69" y="129"/>
                    <a:pt x="69" y="129"/>
                    <a:pt x="69" y="129"/>
                  </a:cubicBezTo>
                  <a:close/>
                  <a:moveTo>
                    <a:pt x="75" y="128"/>
                  </a:moveTo>
                  <a:cubicBezTo>
                    <a:pt x="78" y="126"/>
                    <a:pt x="78" y="124"/>
                    <a:pt x="76" y="120"/>
                  </a:cubicBezTo>
                  <a:cubicBezTo>
                    <a:pt x="76" y="119"/>
                    <a:pt x="75" y="118"/>
                    <a:pt x="74" y="117"/>
                  </a:cubicBezTo>
                  <a:cubicBezTo>
                    <a:pt x="75" y="118"/>
                    <a:pt x="76" y="119"/>
                    <a:pt x="76" y="120"/>
                  </a:cubicBezTo>
                  <a:cubicBezTo>
                    <a:pt x="78" y="124"/>
                    <a:pt x="78" y="126"/>
                    <a:pt x="75"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1" name="Freeform 178">
            <a:extLst>
              <a:ext uri="{FF2B5EF4-FFF2-40B4-BE49-F238E27FC236}">
                <a16:creationId xmlns:a16="http://schemas.microsoft.com/office/drawing/2014/main" id="{311CF301-A403-42BF-655F-407CC4C60F9F}"/>
              </a:ext>
            </a:extLst>
          </p:cNvPr>
          <p:cNvSpPr>
            <a:spLocks/>
          </p:cNvSpPr>
          <p:nvPr/>
        </p:nvSpPr>
        <p:spPr bwMode="auto">
          <a:xfrm>
            <a:off x="7035679" y="2434260"/>
            <a:ext cx="987940" cy="1001067"/>
          </a:xfrm>
          <a:custGeom>
            <a:avLst/>
            <a:gdLst>
              <a:gd name="T0" fmla="*/ 108 w 242"/>
              <a:gd name="T1" fmla="*/ 79 h 245"/>
              <a:gd name="T2" fmla="*/ 112 w 242"/>
              <a:gd name="T3" fmla="*/ 63 h 245"/>
              <a:gd name="T4" fmla="*/ 112 w 242"/>
              <a:gd name="T5" fmla="*/ 12 h 245"/>
              <a:gd name="T6" fmla="*/ 123 w 242"/>
              <a:gd name="T7" fmla="*/ 1 h 245"/>
              <a:gd name="T8" fmla="*/ 133 w 242"/>
              <a:gd name="T9" fmla="*/ 13 h 245"/>
              <a:gd name="T10" fmla="*/ 133 w 242"/>
              <a:gd name="T11" fmla="*/ 63 h 245"/>
              <a:gd name="T12" fmla="*/ 137 w 242"/>
              <a:gd name="T13" fmla="*/ 80 h 245"/>
              <a:gd name="T14" fmla="*/ 141 w 242"/>
              <a:gd name="T15" fmla="*/ 80 h 245"/>
              <a:gd name="T16" fmla="*/ 148 w 242"/>
              <a:gd name="T17" fmla="*/ 43 h 245"/>
              <a:gd name="T18" fmla="*/ 190 w 242"/>
              <a:gd name="T19" fmla="*/ 30 h 245"/>
              <a:gd name="T20" fmla="*/ 236 w 242"/>
              <a:gd name="T21" fmla="*/ 118 h 245"/>
              <a:gd name="T22" fmla="*/ 242 w 242"/>
              <a:gd name="T23" fmla="*/ 215 h 245"/>
              <a:gd name="T24" fmla="*/ 240 w 242"/>
              <a:gd name="T25" fmla="*/ 227 h 245"/>
              <a:gd name="T26" fmla="*/ 218 w 242"/>
              <a:gd name="T27" fmla="*/ 236 h 245"/>
              <a:gd name="T28" fmla="*/ 169 w 242"/>
              <a:gd name="T29" fmla="*/ 215 h 245"/>
              <a:gd name="T30" fmla="*/ 146 w 242"/>
              <a:gd name="T31" fmla="*/ 188 h 245"/>
              <a:gd name="T32" fmla="*/ 140 w 242"/>
              <a:gd name="T33" fmla="*/ 115 h 245"/>
              <a:gd name="T34" fmla="*/ 131 w 242"/>
              <a:gd name="T35" fmla="*/ 97 h 245"/>
              <a:gd name="T36" fmla="*/ 111 w 242"/>
              <a:gd name="T37" fmla="*/ 100 h 245"/>
              <a:gd name="T38" fmla="*/ 106 w 242"/>
              <a:gd name="T39" fmla="*/ 112 h 245"/>
              <a:gd name="T40" fmla="*/ 101 w 242"/>
              <a:gd name="T41" fmla="*/ 182 h 245"/>
              <a:gd name="T42" fmla="*/ 64 w 242"/>
              <a:gd name="T43" fmla="*/ 220 h 245"/>
              <a:gd name="T44" fmla="*/ 32 w 242"/>
              <a:gd name="T45" fmla="*/ 236 h 245"/>
              <a:gd name="T46" fmla="*/ 5 w 242"/>
              <a:gd name="T47" fmla="*/ 225 h 245"/>
              <a:gd name="T48" fmla="*/ 38 w 242"/>
              <a:gd name="T49" fmla="*/ 52 h 245"/>
              <a:gd name="T50" fmla="*/ 68 w 242"/>
              <a:gd name="T51" fmla="*/ 23 h 245"/>
              <a:gd name="T52" fmla="*/ 92 w 242"/>
              <a:gd name="T53" fmla="*/ 29 h 245"/>
              <a:gd name="T54" fmla="*/ 106 w 242"/>
              <a:gd name="T55" fmla="*/ 78 h 245"/>
              <a:gd name="T56" fmla="*/ 108 w 242"/>
              <a:gd name="T57" fmla="*/ 7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245">
                <a:moveTo>
                  <a:pt x="108" y="79"/>
                </a:moveTo>
                <a:cubicBezTo>
                  <a:pt x="109" y="74"/>
                  <a:pt x="112" y="68"/>
                  <a:pt x="112" y="63"/>
                </a:cubicBezTo>
                <a:cubicBezTo>
                  <a:pt x="113" y="46"/>
                  <a:pt x="113" y="29"/>
                  <a:pt x="112" y="12"/>
                </a:cubicBezTo>
                <a:cubicBezTo>
                  <a:pt x="112" y="4"/>
                  <a:pt x="114" y="1"/>
                  <a:pt x="123" y="1"/>
                </a:cubicBezTo>
                <a:cubicBezTo>
                  <a:pt x="132" y="0"/>
                  <a:pt x="133" y="5"/>
                  <a:pt x="133" y="13"/>
                </a:cubicBezTo>
                <a:cubicBezTo>
                  <a:pt x="132" y="29"/>
                  <a:pt x="132" y="46"/>
                  <a:pt x="133" y="63"/>
                </a:cubicBezTo>
                <a:cubicBezTo>
                  <a:pt x="133" y="69"/>
                  <a:pt x="136" y="75"/>
                  <a:pt x="137" y="80"/>
                </a:cubicBezTo>
                <a:cubicBezTo>
                  <a:pt x="139" y="80"/>
                  <a:pt x="140" y="80"/>
                  <a:pt x="141" y="80"/>
                </a:cubicBezTo>
                <a:cubicBezTo>
                  <a:pt x="143" y="67"/>
                  <a:pt x="145" y="55"/>
                  <a:pt x="148" y="43"/>
                </a:cubicBezTo>
                <a:cubicBezTo>
                  <a:pt x="156" y="12"/>
                  <a:pt x="167" y="8"/>
                  <a:pt x="190" y="30"/>
                </a:cubicBezTo>
                <a:cubicBezTo>
                  <a:pt x="216" y="54"/>
                  <a:pt x="231" y="84"/>
                  <a:pt x="236" y="118"/>
                </a:cubicBezTo>
                <a:cubicBezTo>
                  <a:pt x="241" y="150"/>
                  <a:pt x="240" y="183"/>
                  <a:pt x="242" y="215"/>
                </a:cubicBezTo>
                <a:cubicBezTo>
                  <a:pt x="242" y="219"/>
                  <a:pt x="241" y="223"/>
                  <a:pt x="240" y="227"/>
                </a:cubicBezTo>
                <a:cubicBezTo>
                  <a:pt x="236" y="240"/>
                  <a:pt x="229" y="243"/>
                  <a:pt x="218" y="236"/>
                </a:cubicBezTo>
                <a:cubicBezTo>
                  <a:pt x="203" y="226"/>
                  <a:pt x="187" y="218"/>
                  <a:pt x="169" y="215"/>
                </a:cubicBezTo>
                <a:cubicBezTo>
                  <a:pt x="155" y="213"/>
                  <a:pt x="148" y="201"/>
                  <a:pt x="146" y="188"/>
                </a:cubicBezTo>
                <a:cubicBezTo>
                  <a:pt x="143" y="164"/>
                  <a:pt x="141" y="139"/>
                  <a:pt x="140" y="115"/>
                </a:cubicBezTo>
                <a:cubicBezTo>
                  <a:pt x="140" y="107"/>
                  <a:pt x="139" y="101"/>
                  <a:pt x="131" y="97"/>
                </a:cubicBezTo>
                <a:cubicBezTo>
                  <a:pt x="123" y="92"/>
                  <a:pt x="116" y="94"/>
                  <a:pt x="111" y="100"/>
                </a:cubicBezTo>
                <a:cubicBezTo>
                  <a:pt x="108" y="102"/>
                  <a:pt x="106" y="108"/>
                  <a:pt x="106" y="112"/>
                </a:cubicBezTo>
                <a:cubicBezTo>
                  <a:pt x="104" y="136"/>
                  <a:pt x="104" y="159"/>
                  <a:pt x="101" y="182"/>
                </a:cubicBezTo>
                <a:cubicBezTo>
                  <a:pt x="98" y="203"/>
                  <a:pt x="88" y="218"/>
                  <a:pt x="64" y="220"/>
                </a:cubicBezTo>
                <a:cubicBezTo>
                  <a:pt x="53" y="222"/>
                  <a:pt x="42" y="230"/>
                  <a:pt x="32" y="236"/>
                </a:cubicBezTo>
                <a:cubicBezTo>
                  <a:pt x="16" y="245"/>
                  <a:pt x="6" y="242"/>
                  <a:pt x="5" y="225"/>
                </a:cubicBezTo>
                <a:cubicBezTo>
                  <a:pt x="0" y="164"/>
                  <a:pt x="1" y="104"/>
                  <a:pt x="38" y="52"/>
                </a:cubicBezTo>
                <a:cubicBezTo>
                  <a:pt x="46" y="41"/>
                  <a:pt x="57" y="31"/>
                  <a:pt x="68" y="23"/>
                </a:cubicBezTo>
                <a:cubicBezTo>
                  <a:pt x="79" y="14"/>
                  <a:pt x="87" y="16"/>
                  <a:pt x="92" y="29"/>
                </a:cubicBezTo>
                <a:cubicBezTo>
                  <a:pt x="98" y="45"/>
                  <a:pt x="101" y="62"/>
                  <a:pt x="106" y="78"/>
                </a:cubicBezTo>
                <a:cubicBezTo>
                  <a:pt x="106" y="79"/>
                  <a:pt x="107" y="79"/>
                  <a:pt x="108" y="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Freeform 70">
            <a:extLst>
              <a:ext uri="{FF2B5EF4-FFF2-40B4-BE49-F238E27FC236}">
                <a16:creationId xmlns:a16="http://schemas.microsoft.com/office/drawing/2014/main" id="{73F6A032-8CB0-0FBD-2BC6-0D3CF4E9835C}"/>
              </a:ext>
            </a:extLst>
          </p:cNvPr>
          <p:cNvSpPr>
            <a:spLocks noEditPoints="1"/>
          </p:cNvSpPr>
          <p:nvPr/>
        </p:nvSpPr>
        <p:spPr bwMode="auto">
          <a:xfrm>
            <a:off x="6917125" y="5377327"/>
            <a:ext cx="1142312" cy="867245"/>
          </a:xfrm>
          <a:custGeom>
            <a:avLst/>
            <a:gdLst>
              <a:gd name="T0" fmla="*/ 216 w 283"/>
              <a:gd name="T1" fmla="*/ 30 h 215"/>
              <a:gd name="T2" fmla="*/ 271 w 283"/>
              <a:gd name="T3" fmla="*/ 94 h 215"/>
              <a:gd name="T4" fmla="*/ 275 w 283"/>
              <a:gd name="T5" fmla="*/ 140 h 215"/>
              <a:gd name="T6" fmla="*/ 246 w 283"/>
              <a:gd name="T7" fmla="*/ 181 h 215"/>
              <a:gd name="T8" fmla="*/ 189 w 283"/>
              <a:gd name="T9" fmla="*/ 190 h 215"/>
              <a:gd name="T10" fmla="*/ 90 w 283"/>
              <a:gd name="T11" fmla="*/ 190 h 215"/>
              <a:gd name="T12" fmla="*/ 35 w 283"/>
              <a:gd name="T13" fmla="*/ 181 h 215"/>
              <a:gd name="T14" fmla="*/ 6 w 283"/>
              <a:gd name="T15" fmla="*/ 135 h 215"/>
              <a:gd name="T16" fmla="*/ 34 w 283"/>
              <a:gd name="T17" fmla="*/ 54 h 215"/>
              <a:gd name="T18" fmla="*/ 142 w 283"/>
              <a:gd name="T19" fmla="*/ 14 h 215"/>
              <a:gd name="T20" fmla="*/ 170 w 283"/>
              <a:gd name="T21" fmla="*/ 155 h 215"/>
              <a:gd name="T22" fmla="*/ 150 w 283"/>
              <a:gd name="T23" fmla="*/ 164 h 215"/>
              <a:gd name="T24" fmla="*/ 247 w 283"/>
              <a:gd name="T25" fmla="*/ 173 h 215"/>
              <a:gd name="T26" fmla="*/ 265 w 283"/>
              <a:gd name="T27" fmla="*/ 149 h 215"/>
              <a:gd name="T28" fmla="*/ 237 w 283"/>
              <a:gd name="T29" fmla="*/ 158 h 215"/>
              <a:gd name="T30" fmla="*/ 271 w 283"/>
              <a:gd name="T31" fmla="*/ 126 h 215"/>
              <a:gd name="T32" fmla="*/ 246 w 283"/>
              <a:gd name="T33" fmla="*/ 102 h 215"/>
              <a:gd name="T34" fmla="*/ 256 w 283"/>
              <a:gd name="T35" fmla="*/ 125 h 215"/>
              <a:gd name="T36" fmla="*/ 228 w 283"/>
              <a:gd name="T37" fmla="*/ 106 h 215"/>
              <a:gd name="T38" fmla="*/ 242 w 283"/>
              <a:gd name="T39" fmla="*/ 57 h 215"/>
              <a:gd name="T40" fmla="*/ 185 w 283"/>
              <a:gd name="T41" fmla="*/ 95 h 215"/>
              <a:gd name="T42" fmla="*/ 190 w 283"/>
              <a:gd name="T43" fmla="*/ 73 h 215"/>
              <a:gd name="T44" fmla="*/ 161 w 283"/>
              <a:gd name="T45" fmla="*/ 37 h 215"/>
              <a:gd name="T46" fmla="*/ 211 w 283"/>
              <a:gd name="T47" fmla="*/ 36 h 215"/>
              <a:gd name="T48" fmla="*/ 148 w 283"/>
              <a:gd name="T49" fmla="*/ 40 h 215"/>
              <a:gd name="T50" fmla="*/ 183 w 283"/>
              <a:gd name="T51" fmla="*/ 57 h 215"/>
              <a:gd name="T52" fmla="*/ 153 w 283"/>
              <a:gd name="T53" fmla="*/ 77 h 215"/>
              <a:gd name="T54" fmla="*/ 180 w 283"/>
              <a:gd name="T55" fmla="*/ 165 h 215"/>
              <a:gd name="T56" fmla="*/ 28 w 283"/>
              <a:gd name="T57" fmla="*/ 125 h 215"/>
              <a:gd name="T58" fmla="*/ 37 w 283"/>
              <a:gd name="T59" fmla="*/ 102 h 215"/>
              <a:gd name="T60" fmla="*/ 12 w 283"/>
              <a:gd name="T61" fmla="*/ 123 h 215"/>
              <a:gd name="T62" fmla="*/ 46 w 283"/>
              <a:gd name="T63" fmla="*/ 158 h 215"/>
              <a:gd name="T64" fmla="*/ 17 w 283"/>
              <a:gd name="T65" fmla="*/ 151 h 215"/>
              <a:gd name="T66" fmla="*/ 35 w 283"/>
              <a:gd name="T67" fmla="*/ 173 h 215"/>
              <a:gd name="T68" fmla="*/ 134 w 283"/>
              <a:gd name="T69" fmla="*/ 164 h 215"/>
              <a:gd name="T70" fmla="*/ 115 w 283"/>
              <a:gd name="T71" fmla="*/ 155 h 215"/>
              <a:gd name="T72" fmla="*/ 134 w 283"/>
              <a:gd name="T73" fmla="*/ 143 h 215"/>
              <a:gd name="T74" fmla="*/ 109 w 283"/>
              <a:gd name="T75" fmla="*/ 61 h 215"/>
              <a:gd name="T76" fmla="*/ 102 w 283"/>
              <a:gd name="T77" fmla="*/ 52 h 215"/>
              <a:gd name="T78" fmla="*/ 135 w 283"/>
              <a:gd name="T79" fmla="*/ 26 h 215"/>
              <a:gd name="T80" fmla="*/ 73 w 283"/>
              <a:gd name="T81" fmla="*/ 36 h 215"/>
              <a:gd name="T82" fmla="*/ 121 w 283"/>
              <a:gd name="T83" fmla="*/ 38 h 215"/>
              <a:gd name="T84" fmla="*/ 94 w 283"/>
              <a:gd name="T85" fmla="*/ 75 h 215"/>
              <a:gd name="T86" fmla="*/ 98 w 283"/>
              <a:gd name="T87" fmla="*/ 95 h 215"/>
              <a:gd name="T88" fmla="*/ 40 w 283"/>
              <a:gd name="T89" fmla="*/ 58 h 215"/>
              <a:gd name="T90" fmla="*/ 56 w 283"/>
              <a:gd name="T91" fmla="*/ 106 h 215"/>
              <a:gd name="T92" fmla="*/ 31 w 283"/>
              <a:gd name="T93" fmla="*/ 129 h 215"/>
              <a:gd name="T94" fmla="*/ 148 w 283"/>
              <a:gd name="T95" fmla="*/ 208 h 215"/>
              <a:gd name="T96" fmla="*/ 141 w 283"/>
              <a:gd name="T97"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215">
                <a:moveTo>
                  <a:pt x="142" y="14"/>
                </a:moveTo>
                <a:cubicBezTo>
                  <a:pt x="164" y="0"/>
                  <a:pt x="200" y="7"/>
                  <a:pt x="216" y="30"/>
                </a:cubicBezTo>
                <a:cubicBezTo>
                  <a:pt x="223" y="39"/>
                  <a:pt x="229" y="45"/>
                  <a:pt x="240" y="48"/>
                </a:cubicBezTo>
                <a:cubicBezTo>
                  <a:pt x="257" y="53"/>
                  <a:pt x="275" y="74"/>
                  <a:pt x="271" y="94"/>
                </a:cubicBezTo>
                <a:cubicBezTo>
                  <a:pt x="270" y="97"/>
                  <a:pt x="271" y="101"/>
                  <a:pt x="273" y="104"/>
                </a:cubicBezTo>
                <a:cubicBezTo>
                  <a:pt x="280" y="116"/>
                  <a:pt x="283" y="128"/>
                  <a:pt x="275" y="140"/>
                </a:cubicBezTo>
                <a:cubicBezTo>
                  <a:pt x="274" y="143"/>
                  <a:pt x="275" y="147"/>
                  <a:pt x="275" y="150"/>
                </a:cubicBezTo>
                <a:cubicBezTo>
                  <a:pt x="276" y="171"/>
                  <a:pt x="267" y="181"/>
                  <a:pt x="246" y="181"/>
                </a:cubicBezTo>
                <a:cubicBezTo>
                  <a:pt x="232" y="181"/>
                  <a:pt x="218" y="181"/>
                  <a:pt x="204" y="181"/>
                </a:cubicBezTo>
                <a:cubicBezTo>
                  <a:pt x="197" y="181"/>
                  <a:pt x="193" y="183"/>
                  <a:pt x="189" y="190"/>
                </a:cubicBezTo>
                <a:cubicBezTo>
                  <a:pt x="179" y="211"/>
                  <a:pt x="160" y="215"/>
                  <a:pt x="139" y="215"/>
                </a:cubicBezTo>
                <a:cubicBezTo>
                  <a:pt x="119" y="215"/>
                  <a:pt x="101" y="209"/>
                  <a:pt x="90" y="190"/>
                </a:cubicBezTo>
                <a:cubicBezTo>
                  <a:pt x="88" y="186"/>
                  <a:pt x="81" y="182"/>
                  <a:pt x="77" y="182"/>
                </a:cubicBezTo>
                <a:cubicBezTo>
                  <a:pt x="63" y="180"/>
                  <a:pt x="49" y="182"/>
                  <a:pt x="35" y="181"/>
                </a:cubicBezTo>
                <a:cubicBezTo>
                  <a:pt x="17" y="180"/>
                  <a:pt x="8" y="170"/>
                  <a:pt x="9" y="152"/>
                </a:cubicBezTo>
                <a:cubicBezTo>
                  <a:pt x="9" y="146"/>
                  <a:pt x="7" y="141"/>
                  <a:pt x="6" y="135"/>
                </a:cubicBezTo>
                <a:cubicBezTo>
                  <a:pt x="6" y="134"/>
                  <a:pt x="6" y="134"/>
                  <a:pt x="5" y="133"/>
                </a:cubicBezTo>
                <a:cubicBezTo>
                  <a:pt x="0" y="114"/>
                  <a:pt x="17" y="62"/>
                  <a:pt x="34" y="54"/>
                </a:cubicBezTo>
                <a:cubicBezTo>
                  <a:pt x="50" y="46"/>
                  <a:pt x="62" y="36"/>
                  <a:pt x="75" y="23"/>
                </a:cubicBezTo>
                <a:cubicBezTo>
                  <a:pt x="93" y="4"/>
                  <a:pt x="122" y="2"/>
                  <a:pt x="142" y="14"/>
                </a:cubicBezTo>
                <a:close/>
                <a:moveTo>
                  <a:pt x="180" y="165"/>
                </a:moveTo>
                <a:cubicBezTo>
                  <a:pt x="175" y="161"/>
                  <a:pt x="173" y="157"/>
                  <a:pt x="170" y="155"/>
                </a:cubicBezTo>
                <a:cubicBezTo>
                  <a:pt x="164" y="154"/>
                  <a:pt x="158" y="153"/>
                  <a:pt x="152" y="154"/>
                </a:cubicBezTo>
                <a:cubicBezTo>
                  <a:pt x="151" y="154"/>
                  <a:pt x="148" y="162"/>
                  <a:pt x="150" y="164"/>
                </a:cubicBezTo>
                <a:cubicBezTo>
                  <a:pt x="152" y="168"/>
                  <a:pt x="158" y="173"/>
                  <a:pt x="162" y="173"/>
                </a:cubicBezTo>
                <a:cubicBezTo>
                  <a:pt x="191" y="174"/>
                  <a:pt x="219" y="174"/>
                  <a:pt x="247" y="173"/>
                </a:cubicBezTo>
                <a:cubicBezTo>
                  <a:pt x="254" y="173"/>
                  <a:pt x="261" y="166"/>
                  <a:pt x="266" y="161"/>
                </a:cubicBezTo>
                <a:cubicBezTo>
                  <a:pt x="268" y="159"/>
                  <a:pt x="267" y="152"/>
                  <a:pt x="265" y="149"/>
                </a:cubicBezTo>
                <a:cubicBezTo>
                  <a:pt x="263" y="147"/>
                  <a:pt x="257" y="148"/>
                  <a:pt x="254" y="149"/>
                </a:cubicBezTo>
                <a:cubicBezTo>
                  <a:pt x="249" y="151"/>
                  <a:pt x="244" y="154"/>
                  <a:pt x="237" y="158"/>
                </a:cubicBezTo>
                <a:cubicBezTo>
                  <a:pt x="239" y="144"/>
                  <a:pt x="248" y="141"/>
                  <a:pt x="257" y="140"/>
                </a:cubicBezTo>
                <a:cubicBezTo>
                  <a:pt x="265" y="138"/>
                  <a:pt x="273" y="135"/>
                  <a:pt x="271" y="126"/>
                </a:cubicBezTo>
                <a:cubicBezTo>
                  <a:pt x="269" y="117"/>
                  <a:pt x="263" y="109"/>
                  <a:pt x="258" y="102"/>
                </a:cubicBezTo>
                <a:cubicBezTo>
                  <a:pt x="256" y="100"/>
                  <a:pt x="250" y="102"/>
                  <a:pt x="246" y="102"/>
                </a:cubicBezTo>
                <a:cubicBezTo>
                  <a:pt x="246" y="106"/>
                  <a:pt x="246" y="111"/>
                  <a:pt x="248" y="114"/>
                </a:cubicBezTo>
                <a:cubicBezTo>
                  <a:pt x="250" y="118"/>
                  <a:pt x="253" y="122"/>
                  <a:pt x="256" y="125"/>
                </a:cubicBezTo>
                <a:cubicBezTo>
                  <a:pt x="255" y="127"/>
                  <a:pt x="254" y="128"/>
                  <a:pt x="252" y="129"/>
                </a:cubicBezTo>
                <a:cubicBezTo>
                  <a:pt x="244" y="121"/>
                  <a:pt x="236" y="114"/>
                  <a:pt x="228" y="106"/>
                </a:cubicBezTo>
                <a:cubicBezTo>
                  <a:pt x="234" y="91"/>
                  <a:pt x="247" y="92"/>
                  <a:pt x="261" y="92"/>
                </a:cubicBezTo>
                <a:cubicBezTo>
                  <a:pt x="263" y="77"/>
                  <a:pt x="257" y="65"/>
                  <a:pt x="242" y="57"/>
                </a:cubicBezTo>
                <a:cubicBezTo>
                  <a:pt x="229" y="51"/>
                  <a:pt x="218" y="51"/>
                  <a:pt x="209" y="63"/>
                </a:cubicBezTo>
                <a:cubicBezTo>
                  <a:pt x="201" y="74"/>
                  <a:pt x="193" y="85"/>
                  <a:pt x="185" y="95"/>
                </a:cubicBezTo>
                <a:cubicBezTo>
                  <a:pt x="184" y="95"/>
                  <a:pt x="183" y="94"/>
                  <a:pt x="181" y="93"/>
                </a:cubicBezTo>
                <a:cubicBezTo>
                  <a:pt x="184" y="87"/>
                  <a:pt x="187" y="79"/>
                  <a:pt x="190" y="73"/>
                </a:cubicBezTo>
                <a:cubicBezTo>
                  <a:pt x="202" y="55"/>
                  <a:pt x="195" y="41"/>
                  <a:pt x="173" y="39"/>
                </a:cubicBezTo>
                <a:cubicBezTo>
                  <a:pt x="170" y="39"/>
                  <a:pt x="166" y="38"/>
                  <a:pt x="161" y="37"/>
                </a:cubicBezTo>
                <a:cubicBezTo>
                  <a:pt x="178" y="27"/>
                  <a:pt x="187" y="30"/>
                  <a:pt x="207" y="52"/>
                </a:cubicBezTo>
                <a:cubicBezTo>
                  <a:pt x="217" y="49"/>
                  <a:pt x="218" y="41"/>
                  <a:pt x="211" y="36"/>
                </a:cubicBezTo>
                <a:cubicBezTo>
                  <a:pt x="200" y="28"/>
                  <a:pt x="188" y="19"/>
                  <a:pt x="175" y="16"/>
                </a:cubicBezTo>
                <a:cubicBezTo>
                  <a:pt x="152" y="11"/>
                  <a:pt x="149" y="16"/>
                  <a:pt x="148" y="40"/>
                </a:cubicBezTo>
                <a:cubicBezTo>
                  <a:pt x="148" y="47"/>
                  <a:pt x="148" y="54"/>
                  <a:pt x="148" y="63"/>
                </a:cubicBezTo>
                <a:cubicBezTo>
                  <a:pt x="161" y="56"/>
                  <a:pt x="171" y="49"/>
                  <a:pt x="183" y="57"/>
                </a:cubicBezTo>
                <a:cubicBezTo>
                  <a:pt x="179" y="60"/>
                  <a:pt x="174" y="60"/>
                  <a:pt x="170" y="62"/>
                </a:cubicBezTo>
                <a:cubicBezTo>
                  <a:pt x="164" y="66"/>
                  <a:pt x="154" y="71"/>
                  <a:pt x="153" y="77"/>
                </a:cubicBezTo>
                <a:cubicBezTo>
                  <a:pt x="149" y="99"/>
                  <a:pt x="149" y="121"/>
                  <a:pt x="147" y="143"/>
                </a:cubicBezTo>
                <a:cubicBezTo>
                  <a:pt x="173" y="144"/>
                  <a:pt x="179" y="147"/>
                  <a:pt x="180" y="165"/>
                </a:cubicBezTo>
                <a:close/>
                <a:moveTo>
                  <a:pt x="31" y="129"/>
                </a:moveTo>
                <a:cubicBezTo>
                  <a:pt x="30" y="128"/>
                  <a:pt x="29" y="126"/>
                  <a:pt x="28" y="125"/>
                </a:cubicBezTo>
                <a:cubicBezTo>
                  <a:pt x="31" y="121"/>
                  <a:pt x="35" y="116"/>
                  <a:pt x="38" y="111"/>
                </a:cubicBezTo>
                <a:cubicBezTo>
                  <a:pt x="39" y="109"/>
                  <a:pt x="39" y="104"/>
                  <a:pt x="37" y="102"/>
                </a:cubicBezTo>
                <a:cubicBezTo>
                  <a:pt x="37" y="101"/>
                  <a:pt x="32" y="100"/>
                  <a:pt x="30" y="101"/>
                </a:cubicBezTo>
                <a:cubicBezTo>
                  <a:pt x="18" y="103"/>
                  <a:pt x="13" y="112"/>
                  <a:pt x="12" y="123"/>
                </a:cubicBezTo>
                <a:cubicBezTo>
                  <a:pt x="11" y="135"/>
                  <a:pt x="18" y="138"/>
                  <a:pt x="29" y="140"/>
                </a:cubicBezTo>
                <a:cubicBezTo>
                  <a:pt x="37" y="141"/>
                  <a:pt x="46" y="145"/>
                  <a:pt x="46" y="158"/>
                </a:cubicBezTo>
                <a:cubicBezTo>
                  <a:pt x="42" y="155"/>
                  <a:pt x="39" y="152"/>
                  <a:pt x="36" y="152"/>
                </a:cubicBezTo>
                <a:cubicBezTo>
                  <a:pt x="30" y="151"/>
                  <a:pt x="24" y="151"/>
                  <a:pt x="17" y="151"/>
                </a:cubicBezTo>
                <a:cubicBezTo>
                  <a:pt x="21" y="158"/>
                  <a:pt x="23" y="165"/>
                  <a:pt x="27" y="171"/>
                </a:cubicBezTo>
                <a:cubicBezTo>
                  <a:pt x="28" y="173"/>
                  <a:pt x="32" y="173"/>
                  <a:pt x="35" y="173"/>
                </a:cubicBezTo>
                <a:cubicBezTo>
                  <a:pt x="64" y="174"/>
                  <a:pt x="93" y="174"/>
                  <a:pt x="122" y="173"/>
                </a:cubicBezTo>
                <a:cubicBezTo>
                  <a:pt x="126" y="173"/>
                  <a:pt x="131" y="168"/>
                  <a:pt x="134" y="164"/>
                </a:cubicBezTo>
                <a:cubicBezTo>
                  <a:pt x="135" y="162"/>
                  <a:pt x="133" y="154"/>
                  <a:pt x="131" y="154"/>
                </a:cubicBezTo>
                <a:cubicBezTo>
                  <a:pt x="126" y="153"/>
                  <a:pt x="120" y="153"/>
                  <a:pt x="115" y="155"/>
                </a:cubicBezTo>
                <a:cubicBezTo>
                  <a:pt x="111" y="156"/>
                  <a:pt x="108" y="160"/>
                  <a:pt x="105" y="163"/>
                </a:cubicBezTo>
                <a:cubicBezTo>
                  <a:pt x="106" y="142"/>
                  <a:pt x="121" y="144"/>
                  <a:pt x="134" y="143"/>
                </a:cubicBezTo>
                <a:cubicBezTo>
                  <a:pt x="134" y="123"/>
                  <a:pt x="135" y="104"/>
                  <a:pt x="134" y="86"/>
                </a:cubicBezTo>
                <a:cubicBezTo>
                  <a:pt x="133" y="71"/>
                  <a:pt x="125" y="62"/>
                  <a:pt x="109" y="61"/>
                </a:cubicBezTo>
                <a:cubicBezTo>
                  <a:pt x="106" y="61"/>
                  <a:pt x="103" y="59"/>
                  <a:pt x="100" y="57"/>
                </a:cubicBezTo>
                <a:cubicBezTo>
                  <a:pt x="101" y="55"/>
                  <a:pt x="101" y="54"/>
                  <a:pt x="102" y="52"/>
                </a:cubicBezTo>
                <a:cubicBezTo>
                  <a:pt x="113" y="54"/>
                  <a:pt x="124" y="57"/>
                  <a:pt x="135" y="60"/>
                </a:cubicBezTo>
                <a:cubicBezTo>
                  <a:pt x="135" y="49"/>
                  <a:pt x="136" y="38"/>
                  <a:pt x="135" y="26"/>
                </a:cubicBezTo>
                <a:cubicBezTo>
                  <a:pt x="134" y="22"/>
                  <a:pt x="129" y="17"/>
                  <a:pt x="125" y="16"/>
                </a:cubicBezTo>
                <a:cubicBezTo>
                  <a:pt x="109" y="11"/>
                  <a:pt x="83" y="22"/>
                  <a:pt x="73" y="36"/>
                </a:cubicBezTo>
                <a:cubicBezTo>
                  <a:pt x="67" y="43"/>
                  <a:pt x="67" y="49"/>
                  <a:pt x="77" y="52"/>
                </a:cubicBezTo>
                <a:cubicBezTo>
                  <a:pt x="96" y="30"/>
                  <a:pt x="110" y="25"/>
                  <a:pt x="121" y="38"/>
                </a:cubicBezTo>
                <a:cubicBezTo>
                  <a:pt x="118" y="38"/>
                  <a:pt x="116" y="39"/>
                  <a:pt x="113" y="39"/>
                </a:cubicBezTo>
                <a:cubicBezTo>
                  <a:pt x="88" y="41"/>
                  <a:pt x="81" y="53"/>
                  <a:pt x="94" y="75"/>
                </a:cubicBezTo>
                <a:cubicBezTo>
                  <a:pt x="98" y="80"/>
                  <a:pt x="100" y="87"/>
                  <a:pt x="102" y="93"/>
                </a:cubicBezTo>
                <a:cubicBezTo>
                  <a:pt x="101" y="94"/>
                  <a:pt x="100" y="94"/>
                  <a:pt x="98" y="95"/>
                </a:cubicBezTo>
                <a:cubicBezTo>
                  <a:pt x="90" y="83"/>
                  <a:pt x="82" y="72"/>
                  <a:pt x="73" y="61"/>
                </a:cubicBezTo>
                <a:cubicBezTo>
                  <a:pt x="63" y="49"/>
                  <a:pt x="52" y="52"/>
                  <a:pt x="40" y="58"/>
                </a:cubicBezTo>
                <a:cubicBezTo>
                  <a:pt x="25" y="67"/>
                  <a:pt x="20" y="78"/>
                  <a:pt x="24" y="92"/>
                </a:cubicBezTo>
                <a:cubicBezTo>
                  <a:pt x="37" y="93"/>
                  <a:pt x="51" y="91"/>
                  <a:pt x="56" y="106"/>
                </a:cubicBezTo>
                <a:cubicBezTo>
                  <a:pt x="51" y="111"/>
                  <a:pt x="47" y="114"/>
                  <a:pt x="44" y="117"/>
                </a:cubicBezTo>
                <a:cubicBezTo>
                  <a:pt x="40" y="121"/>
                  <a:pt x="35" y="125"/>
                  <a:pt x="31" y="129"/>
                </a:cubicBezTo>
                <a:close/>
                <a:moveTo>
                  <a:pt x="97" y="184"/>
                </a:moveTo>
                <a:cubicBezTo>
                  <a:pt x="105" y="203"/>
                  <a:pt x="123" y="211"/>
                  <a:pt x="148" y="208"/>
                </a:cubicBezTo>
                <a:cubicBezTo>
                  <a:pt x="168" y="206"/>
                  <a:pt x="180" y="197"/>
                  <a:pt x="183" y="183"/>
                </a:cubicBezTo>
                <a:cubicBezTo>
                  <a:pt x="169" y="181"/>
                  <a:pt x="155" y="179"/>
                  <a:pt x="141" y="177"/>
                </a:cubicBezTo>
                <a:cubicBezTo>
                  <a:pt x="127" y="179"/>
                  <a:pt x="112" y="182"/>
                  <a:pt x="97" y="1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3" name="Group 32">
            <a:extLst>
              <a:ext uri="{FF2B5EF4-FFF2-40B4-BE49-F238E27FC236}">
                <a16:creationId xmlns:a16="http://schemas.microsoft.com/office/drawing/2014/main" id="{024742AB-6A84-80B5-2893-26A00D37FC2B}"/>
              </a:ext>
            </a:extLst>
          </p:cNvPr>
          <p:cNvGrpSpPr/>
          <p:nvPr/>
        </p:nvGrpSpPr>
        <p:grpSpPr>
          <a:xfrm>
            <a:off x="7213109" y="3850019"/>
            <a:ext cx="844105" cy="966794"/>
            <a:chOff x="3406972" y="6096794"/>
            <a:chExt cx="546100" cy="625475"/>
          </a:xfrm>
          <a:solidFill>
            <a:schemeClr val="bg1"/>
          </a:solidFill>
        </p:grpSpPr>
        <p:sp>
          <p:nvSpPr>
            <p:cNvPr id="34" name="Freeform 277">
              <a:extLst>
                <a:ext uri="{FF2B5EF4-FFF2-40B4-BE49-F238E27FC236}">
                  <a16:creationId xmlns:a16="http://schemas.microsoft.com/office/drawing/2014/main" id="{9C4BED82-A217-CC2D-C6DB-3B54ED60A101}"/>
                </a:ext>
              </a:extLst>
            </p:cNvPr>
            <p:cNvSpPr>
              <a:spLocks/>
            </p:cNvSpPr>
            <p:nvPr/>
          </p:nvSpPr>
          <p:spPr bwMode="auto">
            <a:xfrm>
              <a:off x="3516509" y="6198394"/>
              <a:ext cx="347663" cy="334963"/>
            </a:xfrm>
            <a:custGeom>
              <a:avLst/>
              <a:gdLst>
                <a:gd name="T0" fmla="*/ 60 w 176"/>
                <a:gd name="T1" fmla="*/ 169 h 169"/>
                <a:gd name="T2" fmla="*/ 72 w 176"/>
                <a:gd name="T3" fmla="*/ 145 h 169"/>
                <a:gd name="T4" fmla="*/ 115 w 176"/>
                <a:gd name="T5" fmla="*/ 141 h 169"/>
                <a:gd name="T6" fmla="*/ 153 w 176"/>
                <a:gd name="T7" fmla="*/ 137 h 169"/>
                <a:gd name="T8" fmla="*/ 169 w 176"/>
                <a:gd name="T9" fmla="*/ 91 h 169"/>
                <a:gd name="T10" fmla="*/ 167 w 176"/>
                <a:gd name="T11" fmla="*/ 63 h 169"/>
                <a:gd name="T12" fmla="*/ 174 w 176"/>
                <a:gd name="T13" fmla="*/ 30 h 169"/>
                <a:gd name="T14" fmla="*/ 173 w 176"/>
                <a:gd name="T15" fmla="*/ 5 h 169"/>
                <a:gd name="T16" fmla="*/ 151 w 176"/>
                <a:gd name="T17" fmla="*/ 27 h 169"/>
                <a:gd name="T18" fmla="*/ 149 w 176"/>
                <a:gd name="T19" fmla="*/ 26 h 169"/>
                <a:gd name="T20" fmla="*/ 144 w 176"/>
                <a:gd name="T21" fmla="*/ 15 h 169"/>
                <a:gd name="T22" fmla="*/ 99 w 176"/>
                <a:gd name="T23" fmla="*/ 21 h 169"/>
                <a:gd name="T24" fmla="*/ 90 w 176"/>
                <a:gd name="T25" fmla="*/ 46 h 169"/>
                <a:gd name="T26" fmla="*/ 111 w 176"/>
                <a:gd name="T27" fmla="*/ 58 h 169"/>
                <a:gd name="T28" fmla="*/ 126 w 176"/>
                <a:gd name="T29" fmla="*/ 67 h 169"/>
                <a:gd name="T30" fmla="*/ 111 w 176"/>
                <a:gd name="T31" fmla="*/ 61 h 169"/>
                <a:gd name="T32" fmla="*/ 84 w 176"/>
                <a:gd name="T33" fmla="*/ 56 h 169"/>
                <a:gd name="T34" fmla="*/ 83 w 176"/>
                <a:gd name="T35" fmla="*/ 53 h 169"/>
                <a:gd name="T36" fmla="*/ 78 w 176"/>
                <a:gd name="T37" fmla="*/ 38 h 169"/>
                <a:gd name="T38" fmla="*/ 46 w 176"/>
                <a:gd name="T39" fmla="*/ 35 h 169"/>
                <a:gd name="T40" fmla="*/ 45 w 176"/>
                <a:gd name="T41" fmla="*/ 32 h 169"/>
                <a:gd name="T42" fmla="*/ 55 w 176"/>
                <a:gd name="T43" fmla="*/ 28 h 169"/>
                <a:gd name="T44" fmla="*/ 56 w 176"/>
                <a:gd name="T45" fmla="*/ 16 h 169"/>
                <a:gd name="T46" fmla="*/ 58 w 176"/>
                <a:gd name="T47" fmla="*/ 20 h 169"/>
                <a:gd name="T48" fmla="*/ 84 w 176"/>
                <a:gd name="T49" fmla="*/ 37 h 169"/>
                <a:gd name="T50" fmla="*/ 70 w 176"/>
                <a:gd name="T51" fmla="*/ 15 h 169"/>
                <a:gd name="T52" fmla="*/ 41 w 176"/>
                <a:gd name="T53" fmla="*/ 15 h 169"/>
                <a:gd name="T54" fmla="*/ 0 w 176"/>
                <a:gd name="T55" fmla="*/ 2 h 169"/>
                <a:gd name="T56" fmla="*/ 1 w 176"/>
                <a:gd name="T57" fmla="*/ 5 h 169"/>
                <a:gd name="T58" fmla="*/ 3 w 176"/>
                <a:gd name="T59" fmla="*/ 44 h 169"/>
                <a:gd name="T60" fmla="*/ 24 w 176"/>
                <a:gd name="T61" fmla="*/ 43 h 169"/>
                <a:gd name="T62" fmla="*/ 16 w 176"/>
                <a:gd name="T63" fmla="*/ 22 h 169"/>
                <a:gd name="T64" fmla="*/ 23 w 176"/>
                <a:gd name="T65" fmla="*/ 26 h 169"/>
                <a:gd name="T66" fmla="*/ 31 w 176"/>
                <a:gd name="T67" fmla="*/ 19 h 169"/>
                <a:gd name="T68" fmla="*/ 29 w 176"/>
                <a:gd name="T69" fmla="*/ 23 h 169"/>
                <a:gd name="T70" fmla="*/ 28 w 176"/>
                <a:gd name="T71" fmla="*/ 42 h 169"/>
                <a:gd name="T72" fmla="*/ 58 w 176"/>
                <a:gd name="T73" fmla="*/ 49 h 169"/>
                <a:gd name="T74" fmla="*/ 74 w 176"/>
                <a:gd name="T75" fmla="*/ 56 h 169"/>
                <a:gd name="T76" fmla="*/ 70 w 176"/>
                <a:gd name="T77" fmla="*/ 57 h 169"/>
                <a:gd name="T78" fmla="*/ 48 w 176"/>
                <a:gd name="T79" fmla="*/ 48 h 169"/>
                <a:gd name="T80" fmla="*/ 11 w 176"/>
                <a:gd name="T81" fmla="*/ 57 h 169"/>
                <a:gd name="T82" fmla="*/ 23 w 176"/>
                <a:gd name="T83" fmla="*/ 67 h 169"/>
                <a:gd name="T84" fmla="*/ 43 w 176"/>
                <a:gd name="T85" fmla="*/ 67 h 169"/>
                <a:gd name="T86" fmla="*/ 39 w 176"/>
                <a:gd name="T87" fmla="*/ 68 h 169"/>
                <a:gd name="T88" fmla="*/ 24 w 176"/>
                <a:gd name="T89" fmla="*/ 71 h 169"/>
                <a:gd name="T90" fmla="*/ 18 w 176"/>
                <a:gd name="T91" fmla="*/ 109 h 169"/>
                <a:gd name="T92" fmla="*/ 17 w 176"/>
                <a:gd name="T93" fmla="*/ 152 h 169"/>
                <a:gd name="T94" fmla="*/ 36 w 176"/>
                <a:gd name="T95" fmla="*/ 161 h 169"/>
                <a:gd name="T96" fmla="*/ 54 w 176"/>
                <a:gd name="T97" fmla="*/ 136 h 169"/>
                <a:gd name="T98" fmla="*/ 64 w 176"/>
                <a:gd name="T99" fmla="*/ 135 h 169"/>
                <a:gd name="T100" fmla="*/ 54 w 176"/>
                <a:gd name="T101" fmla="*/ 139 h 169"/>
                <a:gd name="T102" fmla="*/ 49 w 176"/>
                <a:gd name="T103" fmla="*/ 156 h 169"/>
                <a:gd name="T104" fmla="*/ 38 w 176"/>
                <a:gd name="T105" fmla="*/ 16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69">
                  <a:moveTo>
                    <a:pt x="38" y="164"/>
                  </a:moveTo>
                  <a:cubicBezTo>
                    <a:pt x="45" y="168"/>
                    <a:pt x="52" y="169"/>
                    <a:pt x="60" y="169"/>
                  </a:cubicBezTo>
                  <a:cubicBezTo>
                    <a:pt x="63" y="169"/>
                    <a:pt x="63" y="168"/>
                    <a:pt x="64" y="165"/>
                  </a:cubicBezTo>
                  <a:cubicBezTo>
                    <a:pt x="64" y="158"/>
                    <a:pt x="67" y="151"/>
                    <a:pt x="72" y="145"/>
                  </a:cubicBezTo>
                  <a:cubicBezTo>
                    <a:pt x="83" y="132"/>
                    <a:pt x="99" y="129"/>
                    <a:pt x="112" y="140"/>
                  </a:cubicBezTo>
                  <a:cubicBezTo>
                    <a:pt x="112" y="141"/>
                    <a:pt x="114" y="141"/>
                    <a:pt x="115" y="141"/>
                  </a:cubicBezTo>
                  <a:cubicBezTo>
                    <a:pt x="126" y="139"/>
                    <a:pt x="138" y="138"/>
                    <a:pt x="149" y="139"/>
                  </a:cubicBezTo>
                  <a:cubicBezTo>
                    <a:pt x="151" y="140"/>
                    <a:pt x="152" y="139"/>
                    <a:pt x="153" y="137"/>
                  </a:cubicBezTo>
                  <a:cubicBezTo>
                    <a:pt x="154" y="132"/>
                    <a:pt x="155" y="126"/>
                    <a:pt x="156" y="121"/>
                  </a:cubicBezTo>
                  <a:cubicBezTo>
                    <a:pt x="159" y="110"/>
                    <a:pt x="164" y="100"/>
                    <a:pt x="169" y="91"/>
                  </a:cubicBezTo>
                  <a:cubicBezTo>
                    <a:pt x="172" y="87"/>
                    <a:pt x="172" y="83"/>
                    <a:pt x="171" y="78"/>
                  </a:cubicBezTo>
                  <a:cubicBezTo>
                    <a:pt x="169" y="73"/>
                    <a:pt x="168" y="68"/>
                    <a:pt x="167" y="63"/>
                  </a:cubicBezTo>
                  <a:cubicBezTo>
                    <a:pt x="165" y="56"/>
                    <a:pt x="166" y="49"/>
                    <a:pt x="169" y="42"/>
                  </a:cubicBezTo>
                  <a:cubicBezTo>
                    <a:pt x="170" y="38"/>
                    <a:pt x="172" y="34"/>
                    <a:pt x="174" y="30"/>
                  </a:cubicBezTo>
                  <a:cubicBezTo>
                    <a:pt x="175" y="27"/>
                    <a:pt x="176" y="23"/>
                    <a:pt x="175" y="19"/>
                  </a:cubicBezTo>
                  <a:cubicBezTo>
                    <a:pt x="174" y="15"/>
                    <a:pt x="174" y="10"/>
                    <a:pt x="173" y="5"/>
                  </a:cubicBezTo>
                  <a:cubicBezTo>
                    <a:pt x="166" y="12"/>
                    <a:pt x="159" y="15"/>
                    <a:pt x="151" y="15"/>
                  </a:cubicBezTo>
                  <a:cubicBezTo>
                    <a:pt x="151" y="19"/>
                    <a:pt x="151" y="23"/>
                    <a:pt x="151" y="27"/>
                  </a:cubicBezTo>
                  <a:cubicBezTo>
                    <a:pt x="151" y="27"/>
                    <a:pt x="150" y="28"/>
                    <a:pt x="150" y="29"/>
                  </a:cubicBezTo>
                  <a:cubicBezTo>
                    <a:pt x="149" y="28"/>
                    <a:pt x="149" y="27"/>
                    <a:pt x="149" y="26"/>
                  </a:cubicBezTo>
                  <a:cubicBezTo>
                    <a:pt x="148" y="25"/>
                    <a:pt x="149" y="23"/>
                    <a:pt x="148" y="22"/>
                  </a:cubicBezTo>
                  <a:cubicBezTo>
                    <a:pt x="147" y="19"/>
                    <a:pt x="146" y="16"/>
                    <a:pt x="144" y="15"/>
                  </a:cubicBezTo>
                  <a:cubicBezTo>
                    <a:pt x="137" y="13"/>
                    <a:pt x="129" y="13"/>
                    <a:pt x="121" y="16"/>
                  </a:cubicBezTo>
                  <a:cubicBezTo>
                    <a:pt x="114" y="19"/>
                    <a:pt x="107" y="21"/>
                    <a:pt x="99" y="21"/>
                  </a:cubicBezTo>
                  <a:cubicBezTo>
                    <a:pt x="98" y="21"/>
                    <a:pt x="97" y="22"/>
                    <a:pt x="96" y="23"/>
                  </a:cubicBezTo>
                  <a:cubicBezTo>
                    <a:pt x="89" y="28"/>
                    <a:pt x="87" y="38"/>
                    <a:pt x="90" y="46"/>
                  </a:cubicBezTo>
                  <a:cubicBezTo>
                    <a:pt x="91" y="50"/>
                    <a:pt x="93" y="52"/>
                    <a:pt x="97" y="54"/>
                  </a:cubicBezTo>
                  <a:cubicBezTo>
                    <a:pt x="101" y="57"/>
                    <a:pt x="106" y="58"/>
                    <a:pt x="111" y="58"/>
                  </a:cubicBezTo>
                  <a:cubicBezTo>
                    <a:pt x="117" y="57"/>
                    <a:pt x="121" y="59"/>
                    <a:pt x="125" y="64"/>
                  </a:cubicBezTo>
                  <a:cubicBezTo>
                    <a:pt x="125" y="65"/>
                    <a:pt x="125" y="66"/>
                    <a:pt x="126" y="67"/>
                  </a:cubicBezTo>
                  <a:cubicBezTo>
                    <a:pt x="125" y="67"/>
                    <a:pt x="123" y="67"/>
                    <a:pt x="123" y="66"/>
                  </a:cubicBezTo>
                  <a:cubicBezTo>
                    <a:pt x="120" y="62"/>
                    <a:pt x="115" y="61"/>
                    <a:pt x="111" y="61"/>
                  </a:cubicBezTo>
                  <a:cubicBezTo>
                    <a:pt x="107" y="61"/>
                    <a:pt x="102" y="60"/>
                    <a:pt x="99" y="58"/>
                  </a:cubicBezTo>
                  <a:cubicBezTo>
                    <a:pt x="94" y="56"/>
                    <a:pt x="90" y="54"/>
                    <a:pt x="84" y="56"/>
                  </a:cubicBezTo>
                  <a:cubicBezTo>
                    <a:pt x="84" y="56"/>
                    <a:pt x="83" y="55"/>
                    <a:pt x="82" y="55"/>
                  </a:cubicBezTo>
                  <a:cubicBezTo>
                    <a:pt x="82" y="54"/>
                    <a:pt x="83" y="53"/>
                    <a:pt x="83" y="53"/>
                  </a:cubicBezTo>
                  <a:cubicBezTo>
                    <a:pt x="85" y="52"/>
                    <a:pt x="86" y="52"/>
                    <a:pt x="88" y="51"/>
                  </a:cubicBezTo>
                  <a:cubicBezTo>
                    <a:pt x="87" y="45"/>
                    <a:pt x="84" y="41"/>
                    <a:pt x="78" y="38"/>
                  </a:cubicBezTo>
                  <a:cubicBezTo>
                    <a:pt x="72" y="36"/>
                    <a:pt x="65" y="34"/>
                    <a:pt x="58" y="34"/>
                  </a:cubicBezTo>
                  <a:cubicBezTo>
                    <a:pt x="54" y="34"/>
                    <a:pt x="50" y="35"/>
                    <a:pt x="46" y="35"/>
                  </a:cubicBezTo>
                  <a:cubicBezTo>
                    <a:pt x="45" y="35"/>
                    <a:pt x="44" y="34"/>
                    <a:pt x="44" y="34"/>
                  </a:cubicBezTo>
                  <a:cubicBezTo>
                    <a:pt x="44" y="33"/>
                    <a:pt x="45" y="32"/>
                    <a:pt x="45" y="32"/>
                  </a:cubicBezTo>
                  <a:cubicBezTo>
                    <a:pt x="47" y="32"/>
                    <a:pt x="49" y="31"/>
                    <a:pt x="51" y="31"/>
                  </a:cubicBezTo>
                  <a:cubicBezTo>
                    <a:pt x="53" y="31"/>
                    <a:pt x="55" y="30"/>
                    <a:pt x="55" y="28"/>
                  </a:cubicBezTo>
                  <a:cubicBezTo>
                    <a:pt x="55" y="25"/>
                    <a:pt x="55" y="22"/>
                    <a:pt x="55" y="19"/>
                  </a:cubicBezTo>
                  <a:cubicBezTo>
                    <a:pt x="55" y="18"/>
                    <a:pt x="55" y="17"/>
                    <a:pt x="56" y="16"/>
                  </a:cubicBezTo>
                  <a:cubicBezTo>
                    <a:pt x="56" y="17"/>
                    <a:pt x="57" y="17"/>
                    <a:pt x="58" y="18"/>
                  </a:cubicBezTo>
                  <a:cubicBezTo>
                    <a:pt x="58" y="19"/>
                    <a:pt x="58" y="20"/>
                    <a:pt x="58" y="20"/>
                  </a:cubicBezTo>
                  <a:cubicBezTo>
                    <a:pt x="58" y="24"/>
                    <a:pt x="58" y="27"/>
                    <a:pt x="58" y="31"/>
                  </a:cubicBezTo>
                  <a:cubicBezTo>
                    <a:pt x="67" y="31"/>
                    <a:pt x="76" y="33"/>
                    <a:pt x="84" y="37"/>
                  </a:cubicBezTo>
                  <a:cubicBezTo>
                    <a:pt x="86" y="32"/>
                    <a:pt x="89" y="27"/>
                    <a:pt x="91" y="22"/>
                  </a:cubicBezTo>
                  <a:cubicBezTo>
                    <a:pt x="84" y="20"/>
                    <a:pt x="77" y="18"/>
                    <a:pt x="70" y="15"/>
                  </a:cubicBezTo>
                  <a:cubicBezTo>
                    <a:pt x="65" y="13"/>
                    <a:pt x="59" y="13"/>
                    <a:pt x="53" y="13"/>
                  </a:cubicBezTo>
                  <a:cubicBezTo>
                    <a:pt x="49" y="14"/>
                    <a:pt x="45" y="15"/>
                    <a:pt x="41" y="15"/>
                  </a:cubicBezTo>
                  <a:cubicBezTo>
                    <a:pt x="32" y="15"/>
                    <a:pt x="25" y="10"/>
                    <a:pt x="18" y="5"/>
                  </a:cubicBezTo>
                  <a:cubicBezTo>
                    <a:pt x="12" y="1"/>
                    <a:pt x="7" y="0"/>
                    <a:pt x="0" y="2"/>
                  </a:cubicBezTo>
                  <a:cubicBezTo>
                    <a:pt x="0" y="2"/>
                    <a:pt x="0" y="3"/>
                    <a:pt x="0" y="3"/>
                  </a:cubicBezTo>
                  <a:cubicBezTo>
                    <a:pt x="0" y="4"/>
                    <a:pt x="1" y="4"/>
                    <a:pt x="1" y="5"/>
                  </a:cubicBezTo>
                  <a:cubicBezTo>
                    <a:pt x="6" y="14"/>
                    <a:pt x="6" y="24"/>
                    <a:pt x="3" y="34"/>
                  </a:cubicBezTo>
                  <a:cubicBezTo>
                    <a:pt x="2" y="37"/>
                    <a:pt x="2" y="41"/>
                    <a:pt x="3" y="44"/>
                  </a:cubicBezTo>
                  <a:cubicBezTo>
                    <a:pt x="4" y="47"/>
                    <a:pt x="6" y="50"/>
                    <a:pt x="8" y="52"/>
                  </a:cubicBezTo>
                  <a:cubicBezTo>
                    <a:pt x="13" y="49"/>
                    <a:pt x="19" y="46"/>
                    <a:pt x="24" y="43"/>
                  </a:cubicBezTo>
                  <a:cubicBezTo>
                    <a:pt x="23" y="36"/>
                    <a:pt x="22" y="30"/>
                    <a:pt x="17" y="24"/>
                  </a:cubicBezTo>
                  <a:cubicBezTo>
                    <a:pt x="16" y="24"/>
                    <a:pt x="16" y="23"/>
                    <a:pt x="16" y="22"/>
                  </a:cubicBezTo>
                  <a:cubicBezTo>
                    <a:pt x="17" y="22"/>
                    <a:pt x="18" y="22"/>
                    <a:pt x="19" y="22"/>
                  </a:cubicBezTo>
                  <a:cubicBezTo>
                    <a:pt x="20" y="23"/>
                    <a:pt x="22" y="25"/>
                    <a:pt x="23" y="26"/>
                  </a:cubicBezTo>
                  <a:cubicBezTo>
                    <a:pt x="25" y="24"/>
                    <a:pt x="26" y="21"/>
                    <a:pt x="29" y="19"/>
                  </a:cubicBezTo>
                  <a:cubicBezTo>
                    <a:pt x="29" y="19"/>
                    <a:pt x="30" y="19"/>
                    <a:pt x="31" y="19"/>
                  </a:cubicBezTo>
                  <a:cubicBezTo>
                    <a:pt x="31" y="20"/>
                    <a:pt x="31" y="21"/>
                    <a:pt x="31" y="21"/>
                  </a:cubicBezTo>
                  <a:cubicBezTo>
                    <a:pt x="30" y="22"/>
                    <a:pt x="29" y="22"/>
                    <a:pt x="29" y="23"/>
                  </a:cubicBezTo>
                  <a:cubicBezTo>
                    <a:pt x="28" y="26"/>
                    <a:pt x="26" y="29"/>
                    <a:pt x="25" y="32"/>
                  </a:cubicBezTo>
                  <a:cubicBezTo>
                    <a:pt x="25" y="36"/>
                    <a:pt x="27" y="39"/>
                    <a:pt x="28" y="42"/>
                  </a:cubicBezTo>
                  <a:cubicBezTo>
                    <a:pt x="29" y="42"/>
                    <a:pt x="30" y="42"/>
                    <a:pt x="30" y="42"/>
                  </a:cubicBezTo>
                  <a:cubicBezTo>
                    <a:pt x="40" y="41"/>
                    <a:pt x="49" y="43"/>
                    <a:pt x="58" y="49"/>
                  </a:cubicBezTo>
                  <a:cubicBezTo>
                    <a:pt x="62" y="51"/>
                    <a:pt x="67" y="53"/>
                    <a:pt x="72" y="55"/>
                  </a:cubicBezTo>
                  <a:cubicBezTo>
                    <a:pt x="72" y="55"/>
                    <a:pt x="73" y="56"/>
                    <a:pt x="74" y="56"/>
                  </a:cubicBezTo>
                  <a:cubicBezTo>
                    <a:pt x="74" y="56"/>
                    <a:pt x="74" y="57"/>
                    <a:pt x="74" y="57"/>
                  </a:cubicBezTo>
                  <a:cubicBezTo>
                    <a:pt x="72" y="57"/>
                    <a:pt x="71" y="58"/>
                    <a:pt x="70" y="57"/>
                  </a:cubicBezTo>
                  <a:cubicBezTo>
                    <a:pt x="66" y="56"/>
                    <a:pt x="63" y="55"/>
                    <a:pt x="60" y="53"/>
                  </a:cubicBezTo>
                  <a:cubicBezTo>
                    <a:pt x="56" y="52"/>
                    <a:pt x="52" y="49"/>
                    <a:pt x="48" y="48"/>
                  </a:cubicBezTo>
                  <a:cubicBezTo>
                    <a:pt x="35" y="43"/>
                    <a:pt x="23" y="45"/>
                    <a:pt x="12" y="54"/>
                  </a:cubicBezTo>
                  <a:cubicBezTo>
                    <a:pt x="11" y="54"/>
                    <a:pt x="10" y="56"/>
                    <a:pt x="11" y="57"/>
                  </a:cubicBezTo>
                  <a:cubicBezTo>
                    <a:pt x="13" y="63"/>
                    <a:pt x="16" y="68"/>
                    <a:pt x="19" y="74"/>
                  </a:cubicBezTo>
                  <a:cubicBezTo>
                    <a:pt x="20" y="72"/>
                    <a:pt x="21" y="69"/>
                    <a:pt x="23" y="67"/>
                  </a:cubicBezTo>
                  <a:cubicBezTo>
                    <a:pt x="25" y="64"/>
                    <a:pt x="27" y="62"/>
                    <a:pt x="30" y="60"/>
                  </a:cubicBezTo>
                  <a:cubicBezTo>
                    <a:pt x="37" y="57"/>
                    <a:pt x="42" y="59"/>
                    <a:pt x="43" y="67"/>
                  </a:cubicBezTo>
                  <a:cubicBezTo>
                    <a:pt x="43" y="68"/>
                    <a:pt x="42" y="70"/>
                    <a:pt x="41" y="71"/>
                  </a:cubicBezTo>
                  <a:cubicBezTo>
                    <a:pt x="41" y="70"/>
                    <a:pt x="40" y="69"/>
                    <a:pt x="39" y="68"/>
                  </a:cubicBezTo>
                  <a:cubicBezTo>
                    <a:pt x="38" y="63"/>
                    <a:pt x="36" y="61"/>
                    <a:pt x="31" y="64"/>
                  </a:cubicBezTo>
                  <a:cubicBezTo>
                    <a:pt x="29" y="66"/>
                    <a:pt x="26" y="68"/>
                    <a:pt x="24" y="71"/>
                  </a:cubicBezTo>
                  <a:cubicBezTo>
                    <a:pt x="21" y="78"/>
                    <a:pt x="18" y="86"/>
                    <a:pt x="15" y="93"/>
                  </a:cubicBezTo>
                  <a:cubicBezTo>
                    <a:pt x="13" y="99"/>
                    <a:pt x="15" y="104"/>
                    <a:pt x="18" y="109"/>
                  </a:cubicBezTo>
                  <a:cubicBezTo>
                    <a:pt x="21" y="113"/>
                    <a:pt x="24" y="118"/>
                    <a:pt x="25" y="123"/>
                  </a:cubicBezTo>
                  <a:cubicBezTo>
                    <a:pt x="28" y="134"/>
                    <a:pt x="27" y="145"/>
                    <a:pt x="17" y="152"/>
                  </a:cubicBezTo>
                  <a:cubicBezTo>
                    <a:pt x="17" y="152"/>
                    <a:pt x="16" y="153"/>
                    <a:pt x="16" y="153"/>
                  </a:cubicBezTo>
                  <a:cubicBezTo>
                    <a:pt x="22" y="158"/>
                    <a:pt x="28" y="162"/>
                    <a:pt x="36" y="161"/>
                  </a:cubicBezTo>
                  <a:cubicBezTo>
                    <a:pt x="45" y="161"/>
                    <a:pt x="46" y="160"/>
                    <a:pt x="44" y="151"/>
                  </a:cubicBezTo>
                  <a:cubicBezTo>
                    <a:pt x="43" y="142"/>
                    <a:pt x="46" y="138"/>
                    <a:pt x="54" y="136"/>
                  </a:cubicBezTo>
                  <a:cubicBezTo>
                    <a:pt x="56" y="136"/>
                    <a:pt x="59" y="135"/>
                    <a:pt x="61" y="135"/>
                  </a:cubicBezTo>
                  <a:cubicBezTo>
                    <a:pt x="62" y="135"/>
                    <a:pt x="63" y="135"/>
                    <a:pt x="64" y="135"/>
                  </a:cubicBezTo>
                  <a:cubicBezTo>
                    <a:pt x="63" y="136"/>
                    <a:pt x="63" y="138"/>
                    <a:pt x="62" y="138"/>
                  </a:cubicBezTo>
                  <a:cubicBezTo>
                    <a:pt x="59" y="138"/>
                    <a:pt x="56" y="139"/>
                    <a:pt x="54" y="139"/>
                  </a:cubicBezTo>
                  <a:cubicBezTo>
                    <a:pt x="48" y="140"/>
                    <a:pt x="47" y="143"/>
                    <a:pt x="48" y="148"/>
                  </a:cubicBezTo>
                  <a:cubicBezTo>
                    <a:pt x="48" y="151"/>
                    <a:pt x="49" y="154"/>
                    <a:pt x="49" y="156"/>
                  </a:cubicBezTo>
                  <a:cubicBezTo>
                    <a:pt x="49" y="160"/>
                    <a:pt x="47" y="162"/>
                    <a:pt x="43" y="163"/>
                  </a:cubicBezTo>
                  <a:cubicBezTo>
                    <a:pt x="42" y="164"/>
                    <a:pt x="40" y="164"/>
                    <a:pt x="38" y="164"/>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5" name="Freeform 278">
              <a:extLst>
                <a:ext uri="{FF2B5EF4-FFF2-40B4-BE49-F238E27FC236}">
                  <a16:creationId xmlns:a16="http://schemas.microsoft.com/office/drawing/2014/main" id="{7056891B-3435-BB82-A406-A0C2E230E35A}"/>
                </a:ext>
              </a:extLst>
            </p:cNvPr>
            <p:cNvSpPr>
              <a:spLocks/>
            </p:cNvSpPr>
            <p:nvPr/>
          </p:nvSpPr>
          <p:spPr bwMode="auto">
            <a:xfrm>
              <a:off x="3576834" y="6349206"/>
              <a:ext cx="42863" cy="84138"/>
            </a:xfrm>
            <a:custGeom>
              <a:avLst/>
              <a:gdLst>
                <a:gd name="T0" fmla="*/ 14 w 21"/>
                <a:gd name="T1" fmla="*/ 25 h 43"/>
                <a:gd name="T2" fmla="*/ 8 w 21"/>
                <a:gd name="T3" fmla="*/ 3 h 43"/>
                <a:gd name="T4" fmla="*/ 8 w 21"/>
                <a:gd name="T5" fmla="*/ 0 h 43"/>
                <a:gd name="T6" fmla="*/ 5 w 21"/>
                <a:gd name="T7" fmla="*/ 2 h 43"/>
                <a:gd name="T8" fmla="*/ 10 w 21"/>
                <a:gd name="T9" fmla="*/ 26 h 43"/>
                <a:gd name="T10" fmla="*/ 17 w 21"/>
                <a:gd name="T11" fmla="*/ 41 h 43"/>
                <a:gd name="T12" fmla="*/ 18 w 21"/>
                <a:gd name="T13" fmla="*/ 43 h 43"/>
                <a:gd name="T14" fmla="*/ 20 w 21"/>
                <a:gd name="T15" fmla="*/ 42 h 43"/>
                <a:gd name="T16" fmla="*/ 21 w 21"/>
                <a:gd name="T17" fmla="*/ 38 h 43"/>
                <a:gd name="T18" fmla="*/ 14 w 21"/>
                <a:gd name="T19"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43">
                  <a:moveTo>
                    <a:pt x="14" y="25"/>
                  </a:moveTo>
                  <a:cubicBezTo>
                    <a:pt x="5" y="18"/>
                    <a:pt x="4" y="14"/>
                    <a:pt x="8" y="3"/>
                  </a:cubicBezTo>
                  <a:cubicBezTo>
                    <a:pt x="8" y="2"/>
                    <a:pt x="8" y="1"/>
                    <a:pt x="8" y="0"/>
                  </a:cubicBezTo>
                  <a:cubicBezTo>
                    <a:pt x="7" y="1"/>
                    <a:pt x="5" y="1"/>
                    <a:pt x="5" y="2"/>
                  </a:cubicBezTo>
                  <a:cubicBezTo>
                    <a:pt x="0" y="11"/>
                    <a:pt x="2" y="21"/>
                    <a:pt x="10" y="26"/>
                  </a:cubicBezTo>
                  <a:cubicBezTo>
                    <a:pt x="16" y="30"/>
                    <a:pt x="19" y="34"/>
                    <a:pt x="17" y="41"/>
                  </a:cubicBezTo>
                  <a:cubicBezTo>
                    <a:pt x="17" y="41"/>
                    <a:pt x="18" y="42"/>
                    <a:pt x="18" y="43"/>
                  </a:cubicBezTo>
                  <a:cubicBezTo>
                    <a:pt x="19" y="42"/>
                    <a:pt x="20" y="42"/>
                    <a:pt x="20" y="42"/>
                  </a:cubicBezTo>
                  <a:cubicBezTo>
                    <a:pt x="21" y="40"/>
                    <a:pt x="21" y="39"/>
                    <a:pt x="21" y="38"/>
                  </a:cubicBezTo>
                  <a:cubicBezTo>
                    <a:pt x="21" y="32"/>
                    <a:pt x="19" y="28"/>
                    <a:pt x="14" y="2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279">
              <a:extLst>
                <a:ext uri="{FF2B5EF4-FFF2-40B4-BE49-F238E27FC236}">
                  <a16:creationId xmlns:a16="http://schemas.microsoft.com/office/drawing/2014/main" id="{76B97538-AF6F-175E-86DA-D64728EA8A56}"/>
                </a:ext>
              </a:extLst>
            </p:cNvPr>
            <p:cNvSpPr>
              <a:spLocks/>
            </p:cNvSpPr>
            <p:nvPr/>
          </p:nvSpPr>
          <p:spPr bwMode="auto">
            <a:xfrm>
              <a:off x="3621284" y="6325394"/>
              <a:ext cx="103188" cy="130175"/>
            </a:xfrm>
            <a:custGeom>
              <a:avLst/>
              <a:gdLst>
                <a:gd name="T0" fmla="*/ 36 w 52"/>
                <a:gd name="T1" fmla="*/ 36 h 66"/>
                <a:gd name="T2" fmla="*/ 25 w 52"/>
                <a:gd name="T3" fmla="*/ 33 h 66"/>
                <a:gd name="T4" fmla="*/ 20 w 52"/>
                <a:gd name="T5" fmla="*/ 27 h 66"/>
                <a:gd name="T6" fmla="*/ 19 w 52"/>
                <a:gd name="T7" fmla="*/ 15 h 66"/>
                <a:gd name="T8" fmla="*/ 2 w 52"/>
                <a:gd name="T9" fmla="*/ 0 h 66"/>
                <a:gd name="T10" fmla="*/ 0 w 52"/>
                <a:gd name="T11" fmla="*/ 1 h 66"/>
                <a:gd name="T12" fmla="*/ 2 w 52"/>
                <a:gd name="T13" fmla="*/ 3 h 66"/>
                <a:gd name="T14" fmla="*/ 4 w 52"/>
                <a:gd name="T15" fmla="*/ 4 h 66"/>
                <a:gd name="T16" fmla="*/ 16 w 52"/>
                <a:gd name="T17" fmla="*/ 17 h 66"/>
                <a:gd name="T18" fmla="*/ 16 w 52"/>
                <a:gd name="T19" fmla="*/ 28 h 66"/>
                <a:gd name="T20" fmla="*/ 22 w 52"/>
                <a:gd name="T21" fmla="*/ 36 h 66"/>
                <a:gd name="T22" fmla="*/ 28 w 52"/>
                <a:gd name="T23" fmla="*/ 37 h 66"/>
                <a:gd name="T24" fmla="*/ 48 w 52"/>
                <a:gd name="T25" fmla="*/ 57 h 66"/>
                <a:gd name="T26" fmla="*/ 45 w 52"/>
                <a:gd name="T27" fmla="*/ 63 h 66"/>
                <a:gd name="T28" fmla="*/ 43 w 52"/>
                <a:gd name="T29" fmla="*/ 65 h 66"/>
                <a:gd name="T30" fmla="*/ 45 w 52"/>
                <a:gd name="T31" fmla="*/ 66 h 66"/>
                <a:gd name="T32" fmla="*/ 52 w 52"/>
                <a:gd name="T33" fmla="*/ 59 h 66"/>
                <a:gd name="T34" fmla="*/ 36 w 52"/>
                <a:gd name="T3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66">
                  <a:moveTo>
                    <a:pt x="36" y="36"/>
                  </a:moveTo>
                  <a:cubicBezTo>
                    <a:pt x="33" y="35"/>
                    <a:pt x="29" y="34"/>
                    <a:pt x="25" y="33"/>
                  </a:cubicBezTo>
                  <a:cubicBezTo>
                    <a:pt x="22" y="32"/>
                    <a:pt x="21" y="31"/>
                    <a:pt x="20" y="27"/>
                  </a:cubicBezTo>
                  <a:cubicBezTo>
                    <a:pt x="20" y="23"/>
                    <a:pt x="20" y="19"/>
                    <a:pt x="19" y="15"/>
                  </a:cubicBezTo>
                  <a:cubicBezTo>
                    <a:pt x="18" y="6"/>
                    <a:pt x="11" y="1"/>
                    <a:pt x="2" y="0"/>
                  </a:cubicBezTo>
                  <a:cubicBezTo>
                    <a:pt x="1" y="0"/>
                    <a:pt x="1" y="1"/>
                    <a:pt x="0" y="1"/>
                  </a:cubicBezTo>
                  <a:cubicBezTo>
                    <a:pt x="0" y="2"/>
                    <a:pt x="1" y="3"/>
                    <a:pt x="2" y="3"/>
                  </a:cubicBezTo>
                  <a:cubicBezTo>
                    <a:pt x="2" y="3"/>
                    <a:pt x="3" y="3"/>
                    <a:pt x="4" y="4"/>
                  </a:cubicBezTo>
                  <a:cubicBezTo>
                    <a:pt x="11" y="6"/>
                    <a:pt x="15" y="10"/>
                    <a:pt x="16" y="17"/>
                  </a:cubicBezTo>
                  <a:cubicBezTo>
                    <a:pt x="16" y="20"/>
                    <a:pt x="16" y="24"/>
                    <a:pt x="16" y="28"/>
                  </a:cubicBezTo>
                  <a:cubicBezTo>
                    <a:pt x="16" y="32"/>
                    <a:pt x="18" y="35"/>
                    <a:pt x="22" y="36"/>
                  </a:cubicBezTo>
                  <a:cubicBezTo>
                    <a:pt x="24" y="37"/>
                    <a:pt x="26" y="37"/>
                    <a:pt x="28" y="37"/>
                  </a:cubicBezTo>
                  <a:cubicBezTo>
                    <a:pt x="39" y="39"/>
                    <a:pt x="47" y="47"/>
                    <a:pt x="48" y="57"/>
                  </a:cubicBezTo>
                  <a:cubicBezTo>
                    <a:pt x="48" y="60"/>
                    <a:pt x="49" y="63"/>
                    <a:pt x="45" y="63"/>
                  </a:cubicBezTo>
                  <a:cubicBezTo>
                    <a:pt x="44" y="63"/>
                    <a:pt x="44" y="64"/>
                    <a:pt x="43" y="65"/>
                  </a:cubicBezTo>
                  <a:cubicBezTo>
                    <a:pt x="44" y="65"/>
                    <a:pt x="45" y="66"/>
                    <a:pt x="45" y="66"/>
                  </a:cubicBezTo>
                  <a:cubicBezTo>
                    <a:pt x="49" y="66"/>
                    <a:pt x="52" y="63"/>
                    <a:pt x="52" y="59"/>
                  </a:cubicBezTo>
                  <a:cubicBezTo>
                    <a:pt x="52" y="50"/>
                    <a:pt x="45" y="39"/>
                    <a:pt x="36" y="36"/>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 name="Freeform 280">
              <a:extLst>
                <a:ext uri="{FF2B5EF4-FFF2-40B4-BE49-F238E27FC236}">
                  <a16:creationId xmlns:a16="http://schemas.microsoft.com/office/drawing/2014/main" id="{4A604705-F0EC-81DF-3FBD-381F51851B57}"/>
                </a:ext>
              </a:extLst>
            </p:cNvPr>
            <p:cNvSpPr>
              <a:spLocks/>
            </p:cNvSpPr>
            <p:nvPr/>
          </p:nvSpPr>
          <p:spPr bwMode="auto">
            <a:xfrm>
              <a:off x="3676847" y="6431756"/>
              <a:ext cx="14288" cy="7938"/>
            </a:xfrm>
            <a:custGeom>
              <a:avLst/>
              <a:gdLst>
                <a:gd name="T0" fmla="*/ 0 w 7"/>
                <a:gd name="T1" fmla="*/ 1 h 4"/>
                <a:gd name="T2" fmla="*/ 4 w 7"/>
                <a:gd name="T3" fmla="*/ 4 h 4"/>
                <a:gd name="T4" fmla="*/ 7 w 7"/>
                <a:gd name="T5" fmla="*/ 2 h 4"/>
                <a:gd name="T6" fmla="*/ 2 w 7"/>
                <a:gd name="T7" fmla="*/ 0 h 4"/>
                <a:gd name="T8" fmla="*/ 0 w 7"/>
                <a:gd name="T9" fmla="*/ 1 h 4"/>
              </a:gdLst>
              <a:ahLst/>
              <a:cxnLst>
                <a:cxn ang="0">
                  <a:pos x="T0" y="T1"/>
                </a:cxn>
                <a:cxn ang="0">
                  <a:pos x="T2" y="T3"/>
                </a:cxn>
                <a:cxn ang="0">
                  <a:pos x="T4" y="T5"/>
                </a:cxn>
                <a:cxn ang="0">
                  <a:pos x="T6" y="T7"/>
                </a:cxn>
                <a:cxn ang="0">
                  <a:pos x="T8" y="T9"/>
                </a:cxn>
              </a:cxnLst>
              <a:rect l="0" t="0" r="r" b="b"/>
              <a:pathLst>
                <a:path w="7" h="4">
                  <a:moveTo>
                    <a:pt x="0" y="1"/>
                  </a:moveTo>
                  <a:cubicBezTo>
                    <a:pt x="2" y="2"/>
                    <a:pt x="3" y="3"/>
                    <a:pt x="4" y="4"/>
                  </a:cubicBezTo>
                  <a:cubicBezTo>
                    <a:pt x="6" y="3"/>
                    <a:pt x="6" y="3"/>
                    <a:pt x="7" y="2"/>
                  </a:cubicBezTo>
                  <a:cubicBezTo>
                    <a:pt x="6" y="2"/>
                    <a:pt x="4" y="1"/>
                    <a:pt x="2" y="0"/>
                  </a:cubicBezTo>
                  <a:cubicBezTo>
                    <a:pt x="2" y="0"/>
                    <a:pt x="1" y="1"/>
                    <a:pt x="0" y="1"/>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8" name="Freeform 281">
              <a:extLst>
                <a:ext uri="{FF2B5EF4-FFF2-40B4-BE49-F238E27FC236}">
                  <a16:creationId xmlns:a16="http://schemas.microsoft.com/office/drawing/2014/main" id="{71734095-4B02-A24E-3122-159527BAF2EF}"/>
                </a:ext>
              </a:extLst>
            </p:cNvPr>
            <p:cNvSpPr>
              <a:spLocks/>
            </p:cNvSpPr>
            <p:nvPr/>
          </p:nvSpPr>
          <p:spPr bwMode="auto">
            <a:xfrm>
              <a:off x="3692722" y="6434931"/>
              <a:ext cx="9525" cy="7938"/>
            </a:xfrm>
            <a:custGeom>
              <a:avLst/>
              <a:gdLst>
                <a:gd name="T0" fmla="*/ 0 w 5"/>
                <a:gd name="T1" fmla="*/ 2 h 4"/>
                <a:gd name="T2" fmla="*/ 4 w 5"/>
                <a:gd name="T3" fmla="*/ 4 h 4"/>
                <a:gd name="T4" fmla="*/ 5 w 5"/>
                <a:gd name="T5" fmla="*/ 2 h 4"/>
                <a:gd name="T6" fmla="*/ 2 w 5"/>
                <a:gd name="T7" fmla="*/ 0 h 4"/>
                <a:gd name="T8" fmla="*/ 0 w 5"/>
                <a:gd name="T9" fmla="*/ 2 h 4"/>
              </a:gdLst>
              <a:ahLst/>
              <a:cxnLst>
                <a:cxn ang="0">
                  <a:pos x="T0" y="T1"/>
                </a:cxn>
                <a:cxn ang="0">
                  <a:pos x="T2" y="T3"/>
                </a:cxn>
                <a:cxn ang="0">
                  <a:pos x="T4" y="T5"/>
                </a:cxn>
                <a:cxn ang="0">
                  <a:pos x="T6" y="T7"/>
                </a:cxn>
                <a:cxn ang="0">
                  <a:pos x="T8" y="T9"/>
                </a:cxn>
              </a:cxnLst>
              <a:rect l="0" t="0" r="r" b="b"/>
              <a:pathLst>
                <a:path w="5" h="4">
                  <a:moveTo>
                    <a:pt x="0" y="2"/>
                  </a:moveTo>
                  <a:cubicBezTo>
                    <a:pt x="1" y="3"/>
                    <a:pt x="2" y="3"/>
                    <a:pt x="4" y="4"/>
                  </a:cubicBezTo>
                  <a:cubicBezTo>
                    <a:pt x="4" y="3"/>
                    <a:pt x="5" y="3"/>
                    <a:pt x="5" y="2"/>
                  </a:cubicBezTo>
                  <a:cubicBezTo>
                    <a:pt x="4" y="2"/>
                    <a:pt x="3" y="1"/>
                    <a:pt x="2" y="0"/>
                  </a:cubicBezTo>
                  <a:cubicBezTo>
                    <a:pt x="1" y="0"/>
                    <a:pt x="1" y="1"/>
                    <a:pt x="0" y="2"/>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9" name="Freeform 282">
              <a:extLst>
                <a:ext uri="{FF2B5EF4-FFF2-40B4-BE49-F238E27FC236}">
                  <a16:creationId xmlns:a16="http://schemas.microsoft.com/office/drawing/2014/main" id="{062ADCE0-4458-F190-34BE-42E7F750F557}"/>
                </a:ext>
              </a:extLst>
            </p:cNvPr>
            <p:cNvSpPr>
              <a:spLocks/>
            </p:cNvSpPr>
            <p:nvPr/>
          </p:nvSpPr>
          <p:spPr bwMode="auto">
            <a:xfrm>
              <a:off x="3716534" y="6253956"/>
              <a:ext cx="15875" cy="11113"/>
            </a:xfrm>
            <a:custGeom>
              <a:avLst/>
              <a:gdLst>
                <a:gd name="T0" fmla="*/ 0 w 8"/>
                <a:gd name="T1" fmla="*/ 2 h 6"/>
                <a:gd name="T2" fmla="*/ 6 w 8"/>
                <a:gd name="T3" fmla="*/ 6 h 6"/>
                <a:gd name="T4" fmla="*/ 8 w 8"/>
                <a:gd name="T5" fmla="*/ 4 h 6"/>
                <a:gd name="T6" fmla="*/ 2 w 8"/>
                <a:gd name="T7" fmla="*/ 0 h 6"/>
                <a:gd name="T8" fmla="*/ 0 w 8"/>
                <a:gd name="T9" fmla="*/ 2 h 6"/>
              </a:gdLst>
              <a:ahLst/>
              <a:cxnLst>
                <a:cxn ang="0">
                  <a:pos x="T0" y="T1"/>
                </a:cxn>
                <a:cxn ang="0">
                  <a:pos x="T2" y="T3"/>
                </a:cxn>
                <a:cxn ang="0">
                  <a:pos x="T4" y="T5"/>
                </a:cxn>
                <a:cxn ang="0">
                  <a:pos x="T6" y="T7"/>
                </a:cxn>
                <a:cxn ang="0">
                  <a:pos x="T8" y="T9"/>
                </a:cxn>
              </a:cxnLst>
              <a:rect l="0" t="0" r="r" b="b"/>
              <a:pathLst>
                <a:path w="8" h="6">
                  <a:moveTo>
                    <a:pt x="0" y="2"/>
                  </a:moveTo>
                  <a:cubicBezTo>
                    <a:pt x="2" y="4"/>
                    <a:pt x="4" y="5"/>
                    <a:pt x="6" y="6"/>
                  </a:cubicBezTo>
                  <a:cubicBezTo>
                    <a:pt x="6" y="6"/>
                    <a:pt x="7" y="5"/>
                    <a:pt x="8" y="4"/>
                  </a:cubicBezTo>
                  <a:cubicBezTo>
                    <a:pt x="6" y="3"/>
                    <a:pt x="4" y="2"/>
                    <a:pt x="2" y="0"/>
                  </a:cubicBezTo>
                  <a:cubicBezTo>
                    <a:pt x="1" y="1"/>
                    <a:pt x="1" y="2"/>
                    <a:pt x="0" y="2"/>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0" name="Freeform 283">
              <a:extLst>
                <a:ext uri="{FF2B5EF4-FFF2-40B4-BE49-F238E27FC236}">
                  <a16:creationId xmlns:a16="http://schemas.microsoft.com/office/drawing/2014/main" id="{31895DB5-AC95-C2F4-7425-010864FCF122}"/>
                </a:ext>
              </a:extLst>
            </p:cNvPr>
            <p:cNvSpPr>
              <a:spLocks/>
            </p:cNvSpPr>
            <p:nvPr/>
          </p:nvSpPr>
          <p:spPr bwMode="auto">
            <a:xfrm>
              <a:off x="3597472" y="6438106"/>
              <a:ext cx="14288" cy="11113"/>
            </a:xfrm>
            <a:custGeom>
              <a:avLst/>
              <a:gdLst>
                <a:gd name="T0" fmla="*/ 0 w 7"/>
                <a:gd name="T1" fmla="*/ 4 h 6"/>
                <a:gd name="T2" fmla="*/ 1 w 7"/>
                <a:gd name="T3" fmla="*/ 6 h 6"/>
                <a:gd name="T4" fmla="*/ 7 w 7"/>
                <a:gd name="T5" fmla="*/ 2 h 6"/>
                <a:gd name="T6" fmla="*/ 4 w 7"/>
                <a:gd name="T7" fmla="*/ 0 h 6"/>
                <a:gd name="T8" fmla="*/ 0 w 7"/>
                <a:gd name="T9" fmla="*/ 4 h 6"/>
              </a:gdLst>
              <a:ahLst/>
              <a:cxnLst>
                <a:cxn ang="0">
                  <a:pos x="T0" y="T1"/>
                </a:cxn>
                <a:cxn ang="0">
                  <a:pos x="T2" y="T3"/>
                </a:cxn>
                <a:cxn ang="0">
                  <a:pos x="T4" y="T5"/>
                </a:cxn>
                <a:cxn ang="0">
                  <a:pos x="T6" y="T7"/>
                </a:cxn>
                <a:cxn ang="0">
                  <a:pos x="T8" y="T9"/>
                </a:cxn>
              </a:cxnLst>
              <a:rect l="0" t="0" r="r" b="b"/>
              <a:pathLst>
                <a:path w="7" h="6">
                  <a:moveTo>
                    <a:pt x="0" y="4"/>
                  </a:moveTo>
                  <a:cubicBezTo>
                    <a:pt x="0" y="4"/>
                    <a:pt x="1" y="5"/>
                    <a:pt x="1" y="6"/>
                  </a:cubicBezTo>
                  <a:cubicBezTo>
                    <a:pt x="3" y="5"/>
                    <a:pt x="5" y="4"/>
                    <a:pt x="7" y="2"/>
                  </a:cubicBezTo>
                  <a:cubicBezTo>
                    <a:pt x="6" y="1"/>
                    <a:pt x="5" y="0"/>
                    <a:pt x="4" y="0"/>
                  </a:cubicBezTo>
                  <a:cubicBezTo>
                    <a:pt x="3" y="1"/>
                    <a:pt x="1" y="3"/>
                    <a:pt x="0" y="4"/>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1" name="Freeform 284">
              <a:extLst>
                <a:ext uri="{FF2B5EF4-FFF2-40B4-BE49-F238E27FC236}">
                  <a16:creationId xmlns:a16="http://schemas.microsoft.com/office/drawing/2014/main" id="{992AECD3-D7B9-7E59-3E54-A6DBD2046688}"/>
                </a:ext>
              </a:extLst>
            </p:cNvPr>
            <p:cNvSpPr>
              <a:spLocks/>
            </p:cNvSpPr>
            <p:nvPr/>
          </p:nvSpPr>
          <p:spPr bwMode="auto">
            <a:xfrm>
              <a:off x="3765747" y="6247606"/>
              <a:ext cx="71438" cy="80963"/>
            </a:xfrm>
            <a:custGeom>
              <a:avLst/>
              <a:gdLst>
                <a:gd name="T0" fmla="*/ 13 w 36"/>
                <a:gd name="T1" fmla="*/ 10 h 41"/>
                <a:gd name="T2" fmla="*/ 21 w 36"/>
                <a:gd name="T3" fmla="*/ 10 h 41"/>
                <a:gd name="T4" fmla="*/ 28 w 36"/>
                <a:gd name="T5" fmla="*/ 20 h 41"/>
                <a:gd name="T6" fmla="*/ 24 w 36"/>
                <a:gd name="T7" fmla="*/ 31 h 41"/>
                <a:gd name="T8" fmla="*/ 20 w 36"/>
                <a:gd name="T9" fmla="*/ 38 h 41"/>
                <a:gd name="T10" fmla="*/ 20 w 36"/>
                <a:gd name="T11" fmla="*/ 41 h 41"/>
                <a:gd name="T12" fmla="*/ 23 w 36"/>
                <a:gd name="T13" fmla="*/ 40 h 41"/>
                <a:gd name="T14" fmla="*/ 32 w 36"/>
                <a:gd name="T15" fmla="*/ 18 h 41"/>
                <a:gd name="T16" fmla="*/ 35 w 36"/>
                <a:gd name="T17" fmla="*/ 11 h 41"/>
                <a:gd name="T18" fmla="*/ 36 w 36"/>
                <a:gd name="T19" fmla="*/ 9 h 41"/>
                <a:gd name="T20" fmla="*/ 33 w 36"/>
                <a:gd name="T21" fmla="*/ 9 h 41"/>
                <a:gd name="T22" fmla="*/ 30 w 36"/>
                <a:gd name="T23" fmla="*/ 11 h 41"/>
                <a:gd name="T24" fmla="*/ 14 w 36"/>
                <a:gd name="T25" fmla="*/ 6 h 41"/>
                <a:gd name="T26" fmla="*/ 4 w 36"/>
                <a:gd name="T27" fmla="*/ 1 h 41"/>
                <a:gd name="T28" fmla="*/ 1 w 36"/>
                <a:gd name="T29" fmla="*/ 0 h 41"/>
                <a:gd name="T30" fmla="*/ 1 w 36"/>
                <a:gd name="T31" fmla="*/ 3 h 41"/>
                <a:gd name="T32" fmla="*/ 13 w 36"/>
                <a:gd name="T33"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41">
                  <a:moveTo>
                    <a:pt x="13" y="10"/>
                  </a:moveTo>
                  <a:cubicBezTo>
                    <a:pt x="16" y="10"/>
                    <a:pt x="19" y="10"/>
                    <a:pt x="21" y="10"/>
                  </a:cubicBezTo>
                  <a:cubicBezTo>
                    <a:pt x="27" y="11"/>
                    <a:pt x="29" y="15"/>
                    <a:pt x="28" y="20"/>
                  </a:cubicBezTo>
                  <a:cubicBezTo>
                    <a:pt x="27" y="24"/>
                    <a:pt x="26" y="27"/>
                    <a:pt x="24" y="31"/>
                  </a:cubicBezTo>
                  <a:cubicBezTo>
                    <a:pt x="23" y="33"/>
                    <a:pt x="21" y="35"/>
                    <a:pt x="20" y="38"/>
                  </a:cubicBezTo>
                  <a:cubicBezTo>
                    <a:pt x="19" y="39"/>
                    <a:pt x="20" y="40"/>
                    <a:pt x="20" y="41"/>
                  </a:cubicBezTo>
                  <a:cubicBezTo>
                    <a:pt x="21" y="40"/>
                    <a:pt x="22" y="41"/>
                    <a:pt x="23" y="40"/>
                  </a:cubicBezTo>
                  <a:cubicBezTo>
                    <a:pt x="27" y="33"/>
                    <a:pt x="32" y="27"/>
                    <a:pt x="32" y="18"/>
                  </a:cubicBezTo>
                  <a:cubicBezTo>
                    <a:pt x="32" y="15"/>
                    <a:pt x="32" y="13"/>
                    <a:pt x="35" y="11"/>
                  </a:cubicBezTo>
                  <a:cubicBezTo>
                    <a:pt x="36" y="11"/>
                    <a:pt x="36" y="10"/>
                    <a:pt x="36" y="9"/>
                  </a:cubicBezTo>
                  <a:cubicBezTo>
                    <a:pt x="35" y="9"/>
                    <a:pt x="34" y="9"/>
                    <a:pt x="33" y="9"/>
                  </a:cubicBezTo>
                  <a:cubicBezTo>
                    <a:pt x="32" y="9"/>
                    <a:pt x="31" y="10"/>
                    <a:pt x="30" y="11"/>
                  </a:cubicBezTo>
                  <a:cubicBezTo>
                    <a:pt x="25" y="7"/>
                    <a:pt x="21" y="6"/>
                    <a:pt x="14" y="6"/>
                  </a:cubicBezTo>
                  <a:cubicBezTo>
                    <a:pt x="10" y="7"/>
                    <a:pt x="6" y="5"/>
                    <a:pt x="4" y="1"/>
                  </a:cubicBezTo>
                  <a:cubicBezTo>
                    <a:pt x="3" y="0"/>
                    <a:pt x="2" y="0"/>
                    <a:pt x="1" y="0"/>
                  </a:cubicBezTo>
                  <a:cubicBezTo>
                    <a:pt x="1" y="1"/>
                    <a:pt x="0" y="2"/>
                    <a:pt x="1" y="3"/>
                  </a:cubicBezTo>
                  <a:cubicBezTo>
                    <a:pt x="3" y="8"/>
                    <a:pt x="7" y="10"/>
                    <a:pt x="13" y="1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 name="Freeform 285">
              <a:extLst>
                <a:ext uri="{FF2B5EF4-FFF2-40B4-BE49-F238E27FC236}">
                  <a16:creationId xmlns:a16="http://schemas.microsoft.com/office/drawing/2014/main" id="{0F08C9E5-9572-5C62-45DE-682C218A3BFF}"/>
                </a:ext>
              </a:extLst>
            </p:cNvPr>
            <p:cNvSpPr>
              <a:spLocks/>
            </p:cNvSpPr>
            <p:nvPr/>
          </p:nvSpPr>
          <p:spPr bwMode="auto">
            <a:xfrm>
              <a:off x="3587947" y="6457156"/>
              <a:ext cx="7938" cy="14288"/>
            </a:xfrm>
            <a:custGeom>
              <a:avLst/>
              <a:gdLst>
                <a:gd name="T0" fmla="*/ 0 w 4"/>
                <a:gd name="T1" fmla="*/ 4 h 7"/>
                <a:gd name="T2" fmla="*/ 2 w 4"/>
                <a:gd name="T3" fmla="*/ 7 h 7"/>
                <a:gd name="T4" fmla="*/ 4 w 4"/>
                <a:gd name="T5" fmla="*/ 3 h 7"/>
                <a:gd name="T6" fmla="*/ 2 w 4"/>
                <a:gd name="T7" fmla="*/ 0 h 7"/>
                <a:gd name="T8" fmla="*/ 0 w 4"/>
                <a:gd name="T9" fmla="*/ 4 h 7"/>
              </a:gdLst>
              <a:ahLst/>
              <a:cxnLst>
                <a:cxn ang="0">
                  <a:pos x="T0" y="T1"/>
                </a:cxn>
                <a:cxn ang="0">
                  <a:pos x="T2" y="T3"/>
                </a:cxn>
                <a:cxn ang="0">
                  <a:pos x="T4" y="T5"/>
                </a:cxn>
                <a:cxn ang="0">
                  <a:pos x="T6" y="T7"/>
                </a:cxn>
                <a:cxn ang="0">
                  <a:pos x="T8" y="T9"/>
                </a:cxn>
              </a:cxnLst>
              <a:rect l="0" t="0" r="r" b="b"/>
              <a:pathLst>
                <a:path w="4" h="7">
                  <a:moveTo>
                    <a:pt x="0" y="4"/>
                  </a:moveTo>
                  <a:cubicBezTo>
                    <a:pt x="0" y="5"/>
                    <a:pt x="1" y="6"/>
                    <a:pt x="2" y="7"/>
                  </a:cubicBezTo>
                  <a:cubicBezTo>
                    <a:pt x="3" y="6"/>
                    <a:pt x="3" y="5"/>
                    <a:pt x="4" y="3"/>
                  </a:cubicBezTo>
                  <a:cubicBezTo>
                    <a:pt x="3" y="2"/>
                    <a:pt x="3" y="1"/>
                    <a:pt x="2" y="0"/>
                  </a:cubicBezTo>
                  <a:cubicBezTo>
                    <a:pt x="1" y="1"/>
                    <a:pt x="0" y="2"/>
                    <a:pt x="0" y="4"/>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3" name="Freeform 286">
              <a:extLst>
                <a:ext uri="{FF2B5EF4-FFF2-40B4-BE49-F238E27FC236}">
                  <a16:creationId xmlns:a16="http://schemas.microsoft.com/office/drawing/2014/main" id="{9F927210-81BD-B77A-76D4-36E6B996BC25}"/>
                </a:ext>
              </a:extLst>
            </p:cNvPr>
            <p:cNvSpPr>
              <a:spLocks/>
            </p:cNvSpPr>
            <p:nvPr/>
          </p:nvSpPr>
          <p:spPr bwMode="auto">
            <a:xfrm>
              <a:off x="3635572" y="6423819"/>
              <a:ext cx="34925" cy="33338"/>
            </a:xfrm>
            <a:custGeom>
              <a:avLst/>
              <a:gdLst>
                <a:gd name="T0" fmla="*/ 17 w 18"/>
                <a:gd name="T1" fmla="*/ 2 h 17"/>
                <a:gd name="T2" fmla="*/ 10 w 18"/>
                <a:gd name="T3" fmla="*/ 0 h 17"/>
                <a:gd name="T4" fmla="*/ 1 w 18"/>
                <a:gd name="T5" fmla="*/ 6 h 17"/>
                <a:gd name="T6" fmla="*/ 7 w 18"/>
                <a:gd name="T7" fmla="*/ 16 h 17"/>
                <a:gd name="T8" fmla="*/ 10 w 18"/>
                <a:gd name="T9" fmla="*/ 16 h 17"/>
                <a:gd name="T10" fmla="*/ 8 w 18"/>
                <a:gd name="T11" fmla="*/ 14 h 17"/>
                <a:gd name="T12" fmla="*/ 4 w 18"/>
                <a:gd name="T13" fmla="*/ 7 h 17"/>
                <a:gd name="T14" fmla="*/ 10 w 18"/>
                <a:gd name="T15" fmla="*/ 3 h 17"/>
                <a:gd name="T16" fmla="*/ 16 w 18"/>
                <a:gd name="T17" fmla="*/ 5 h 17"/>
                <a:gd name="T18" fmla="*/ 18 w 18"/>
                <a:gd name="T19" fmla="*/ 4 h 17"/>
                <a:gd name="T20" fmla="*/ 17 w 18"/>
                <a:gd name="T2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7">
                  <a:moveTo>
                    <a:pt x="17" y="2"/>
                  </a:moveTo>
                  <a:cubicBezTo>
                    <a:pt x="14" y="1"/>
                    <a:pt x="12" y="0"/>
                    <a:pt x="10" y="0"/>
                  </a:cubicBezTo>
                  <a:cubicBezTo>
                    <a:pt x="5" y="0"/>
                    <a:pt x="1" y="3"/>
                    <a:pt x="1" y="6"/>
                  </a:cubicBezTo>
                  <a:cubicBezTo>
                    <a:pt x="0" y="11"/>
                    <a:pt x="3" y="16"/>
                    <a:pt x="7" y="16"/>
                  </a:cubicBezTo>
                  <a:cubicBezTo>
                    <a:pt x="8" y="17"/>
                    <a:pt x="9" y="16"/>
                    <a:pt x="10" y="16"/>
                  </a:cubicBezTo>
                  <a:cubicBezTo>
                    <a:pt x="9" y="15"/>
                    <a:pt x="9" y="14"/>
                    <a:pt x="8" y="14"/>
                  </a:cubicBezTo>
                  <a:cubicBezTo>
                    <a:pt x="5" y="13"/>
                    <a:pt x="4" y="10"/>
                    <a:pt x="4" y="7"/>
                  </a:cubicBezTo>
                  <a:cubicBezTo>
                    <a:pt x="5" y="4"/>
                    <a:pt x="7" y="3"/>
                    <a:pt x="10" y="3"/>
                  </a:cubicBezTo>
                  <a:cubicBezTo>
                    <a:pt x="12" y="3"/>
                    <a:pt x="14" y="4"/>
                    <a:pt x="16" y="5"/>
                  </a:cubicBezTo>
                  <a:cubicBezTo>
                    <a:pt x="16" y="5"/>
                    <a:pt x="17" y="4"/>
                    <a:pt x="18" y="4"/>
                  </a:cubicBezTo>
                  <a:cubicBezTo>
                    <a:pt x="18" y="3"/>
                    <a:pt x="17" y="2"/>
                    <a:pt x="17" y="2"/>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287">
              <a:extLst>
                <a:ext uri="{FF2B5EF4-FFF2-40B4-BE49-F238E27FC236}">
                  <a16:creationId xmlns:a16="http://schemas.microsoft.com/office/drawing/2014/main" id="{6AE53AC8-BD82-9822-251B-16E9C3677264}"/>
                </a:ext>
              </a:extLst>
            </p:cNvPr>
            <p:cNvSpPr>
              <a:spLocks/>
            </p:cNvSpPr>
            <p:nvPr/>
          </p:nvSpPr>
          <p:spPr bwMode="auto">
            <a:xfrm>
              <a:off x="3735584" y="6266656"/>
              <a:ext cx="106363" cy="198438"/>
            </a:xfrm>
            <a:custGeom>
              <a:avLst/>
              <a:gdLst>
                <a:gd name="T0" fmla="*/ 43 w 54"/>
                <a:gd name="T1" fmla="*/ 47 h 100"/>
                <a:gd name="T2" fmla="*/ 41 w 54"/>
                <a:gd name="T3" fmla="*/ 47 h 100"/>
                <a:gd name="T4" fmla="*/ 34 w 54"/>
                <a:gd name="T5" fmla="*/ 41 h 100"/>
                <a:gd name="T6" fmla="*/ 34 w 54"/>
                <a:gd name="T7" fmla="*/ 37 h 100"/>
                <a:gd name="T8" fmla="*/ 29 w 54"/>
                <a:gd name="T9" fmla="*/ 25 h 100"/>
                <a:gd name="T10" fmla="*/ 29 w 54"/>
                <a:gd name="T11" fmla="*/ 16 h 100"/>
                <a:gd name="T12" fmla="*/ 30 w 54"/>
                <a:gd name="T13" fmla="*/ 13 h 100"/>
                <a:gd name="T14" fmla="*/ 28 w 54"/>
                <a:gd name="T15" fmla="*/ 12 h 100"/>
                <a:gd name="T16" fmla="*/ 26 w 54"/>
                <a:gd name="T17" fmla="*/ 13 h 100"/>
                <a:gd name="T18" fmla="*/ 7 w 54"/>
                <a:gd name="T19" fmla="*/ 7 h 100"/>
                <a:gd name="T20" fmla="*/ 3 w 54"/>
                <a:gd name="T21" fmla="*/ 1 h 100"/>
                <a:gd name="T22" fmla="*/ 0 w 54"/>
                <a:gd name="T23" fmla="*/ 0 h 100"/>
                <a:gd name="T24" fmla="*/ 0 w 54"/>
                <a:gd name="T25" fmla="*/ 3 h 100"/>
                <a:gd name="T26" fmla="*/ 7 w 54"/>
                <a:gd name="T27" fmla="*/ 12 h 100"/>
                <a:gd name="T28" fmla="*/ 20 w 54"/>
                <a:gd name="T29" fmla="*/ 18 h 100"/>
                <a:gd name="T30" fmla="*/ 23 w 54"/>
                <a:gd name="T31" fmla="*/ 17 h 100"/>
                <a:gd name="T32" fmla="*/ 27 w 54"/>
                <a:gd name="T33" fmla="*/ 28 h 100"/>
                <a:gd name="T34" fmla="*/ 30 w 54"/>
                <a:gd name="T35" fmla="*/ 34 h 100"/>
                <a:gd name="T36" fmla="*/ 32 w 54"/>
                <a:gd name="T37" fmla="*/ 49 h 100"/>
                <a:gd name="T38" fmla="*/ 19 w 54"/>
                <a:gd name="T39" fmla="*/ 60 h 100"/>
                <a:gd name="T40" fmla="*/ 14 w 54"/>
                <a:gd name="T41" fmla="*/ 65 h 100"/>
                <a:gd name="T42" fmla="*/ 13 w 54"/>
                <a:gd name="T43" fmla="*/ 68 h 100"/>
                <a:gd name="T44" fmla="*/ 16 w 54"/>
                <a:gd name="T45" fmla="*/ 67 h 100"/>
                <a:gd name="T46" fmla="*/ 26 w 54"/>
                <a:gd name="T47" fmla="*/ 57 h 100"/>
                <a:gd name="T48" fmla="*/ 42 w 54"/>
                <a:gd name="T49" fmla="*/ 50 h 100"/>
                <a:gd name="T50" fmla="*/ 48 w 54"/>
                <a:gd name="T51" fmla="*/ 59 h 100"/>
                <a:gd name="T52" fmla="*/ 38 w 54"/>
                <a:gd name="T53" fmla="*/ 72 h 100"/>
                <a:gd name="T54" fmla="*/ 28 w 54"/>
                <a:gd name="T55" fmla="*/ 79 h 100"/>
                <a:gd name="T56" fmla="*/ 14 w 54"/>
                <a:gd name="T57" fmla="*/ 89 h 100"/>
                <a:gd name="T58" fmla="*/ 11 w 54"/>
                <a:gd name="T59" fmla="*/ 91 h 100"/>
                <a:gd name="T60" fmla="*/ 15 w 54"/>
                <a:gd name="T61" fmla="*/ 91 h 100"/>
                <a:gd name="T62" fmla="*/ 22 w 54"/>
                <a:gd name="T63" fmla="*/ 89 h 100"/>
                <a:gd name="T64" fmla="*/ 22 w 54"/>
                <a:gd name="T65" fmla="*/ 96 h 100"/>
                <a:gd name="T66" fmla="*/ 24 w 54"/>
                <a:gd name="T67" fmla="*/ 100 h 100"/>
                <a:gd name="T68" fmla="*/ 25 w 54"/>
                <a:gd name="T69" fmla="*/ 96 h 100"/>
                <a:gd name="T70" fmla="*/ 32 w 54"/>
                <a:gd name="T71" fmla="*/ 80 h 100"/>
                <a:gd name="T72" fmla="*/ 41 w 54"/>
                <a:gd name="T73" fmla="*/ 74 h 100"/>
                <a:gd name="T74" fmla="*/ 52 w 54"/>
                <a:gd name="T75" fmla="*/ 60 h 100"/>
                <a:gd name="T76" fmla="*/ 43 w 54"/>
                <a:gd name="T77"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100">
                  <a:moveTo>
                    <a:pt x="43" y="47"/>
                  </a:moveTo>
                  <a:cubicBezTo>
                    <a:pt x="43" y="47"/>
                    <a:pt x="42" y="47"/>
                    <a:pt x="41" y="47"/>
                  </a:cubicBezTo>
                  <a:cubicBezTo>
                    <a:pt x="36" y="47"/>
                    <a:pt x="35" y="46"/>
                    <a:pt x="34" y="41"/>
                  </a:cubicBezTo>
                  <a:cubicBezTo>
                    <a:pt x="34" y="40"/>
                    <a:pt x="34" y="38"/>
                    <a:pt x="34" y="37"/>
                  </a:cubicBezTo>
                  <a:cubicBezTo>
                    <a:pt x="34" y="32"/>
                    <a:pt x="33" y="28"/>
                    <a:pt x="29" y="25"/>
                  </a:cubicBezTo>
                  <a:cubicBezTo>
                    <a:pt x="25" y="22"/>
                    <a:pt x="25" y="18"/>
                    <a:pt x="29" y="16"/>
                  </a:cubicBezTo>
                  <a:cubicBezTo>
                    <a:pt x="30" y="15"/>
                    <a:pt x="30" y="14"/>
                    <a:pt x="30" y="13"/>
                  </a:cubicBezTo>
                  <a:cubicBezTo>
                    <a:pt x="29" y="13"/>
                    <a:pt x="29" y="12"/>
                    <a:pt x="28" y="12"/>
                  </a:cubicBezTo>
                  <a:cubicBezTo>
                    <a:pt x="27" y="12"/>
                    <a:pt x="27" y="13"/>
                    <a:pt x="26" y="13"/>
                  </a:cubicBezTo>
                  <a:cubicBezTo>
                    <a:pt x="17" y="16"/>
                    <a:pt x="13" y="15"/>
                    <a:pt x="7" y="7"/>
                  </a:cubicBezTo>
                  <a:cubicBezTo>
                    <a:pt x="6" y="4"/>
                    <a:pt x="4" y="2"/>
                    <a:pt x="3" y="1"/>
                  </a:cubicBezTo>
                  <a:cubicBezTo>
                    <a:pt x="2" y="0"/>
                    <a:pt x="1" y="0"/>
                    <a:pt x="0" y="0"/>
                  </a:cubicBezTo>
                  <a:cubicBezTo>
                    <a:pt x="0" y="1"/>
                    <a:pt x="0" y="2"/>
                    <a:pt x="0" y="3"/>
                  </a:cubicBezTo>
                  <a:cubicBezTo>
                    <a:pt x="2" y="6"/>
                    <a:pt x="5" y="9"/>
                    <a:pt x="7" y="12"/>
                  </a:cubicBezTo>
                  <a:cubicBezTo>
                    <a:pt x="10" y="17"/>
                    <a:pt x="14" y="18"/>
                    <a:pt x="20" y="18"/>
                  </a:cubicBezTo>
                  <a:cubicBezTo>
                    <a:pt x="21" y="18"/>
                    <a:pt x="22" y="17"/>
                    <a:pt x="23" y="17"/>
                  </a:cubicBezTo>
                  <a:cubicBezTo>
                    <a:pt x="22" y="22"/>
                    <a:pt x="24" y="25"/>
                    <a:pt x="27" y="28"/>
                  </a:cubicBezTo>
                  <a:cubicBezTo>
                    <a:pt x="29" y="30"/>
                    <a:pt x="30" y="32"/>
                    <a:pt x="30" y="34"/>
                  </a:cubicBezTo>
                  <a:cubicBezTo>
                    <a:pt x="31" y="39"/>
                    <a:pt x="31" y="43"/>
                    <a:pt x="32" y="49"/>
                  </a:cubicBezTo>
                  <a:cubicBezTo>
                    <a:pt x="27" y="51"/>
                    <a:pt x="23" y="55"/>
                    <a:pt x="19" y="60"/>
                  </a:cubicBezTo>
                  <a:cubicBezTo>
                    <a:pt x="17" y="61"/>
                    <a:pt x="15" y="63"/>
                    <a:pt x="14" y="65"/>
                  </a:cubicBezTo>
                  <a:cubicBezTo>
                    <a:pt x="13" y="66"/>
                    <a:pt x="13" y="67"/>
                    <a:pt x="13" y="68"/>
                  </a:cubicBezTo>
                  <a:cubicBezTo>
                    <a:pt x="14" y="68"/>
                    <a:pt x="16" y="68"/>
                    <a:pt x="16" y="67"/>
                  </a:cubicBezTo>
                  <a:cubicBezTo>
                    <a:pt x="20" y="64"/>
                    <a:pt x="23" y="60"/>
                    <a:pt x="26" y="57"/>
                  </a:cubicBezTo>
                  <a:cubicBezTo>
                    <a:pt x="30" y="52"/>
                    <a:pt x="36" y="50"/>
                    <a:pt x="42" y="50"/>
                  </a:cubicBezTo>
                  <a:cubicBezTo>
                    <a:pt x="48" y="50"/>
                    <a:pt x="51" y="54"/>
                    <a:pt x="48" y="59"/>
                  </a:cubicBezTo>
                  <a:cubicBezTo>
                    <a:pt x="45" y="64"/>
                    <a:pt x="42" y="68"/>
                    <a:pt x="38" y="72"/>
                  </a:cubicBezTo>
                  <a:cubicBezTo>
                    <a:pt x="35" y="74"/>
                    <a:pt x="31" y="76"/>
                    <a:pt x="28" y="79"/>
                  </a:cubicBezTo>
                  <a:cubicBezTo>
                    <a:pt x="24" y="83"/>
                    <a:pt x="20" y="87"/>
                    <a:pt x="14" y="89"/>
                  </a:cubicBezTo>
                  <a:cubicBezTo>
                    <a:pt x="13" y="89"/>
                    <a:pt x="12" y="90"/>
                    <a:pt x="11" y="91"/>
                  </a:cubicBezTo>
                  <a:cubicBezTo>
                    <a:pt x="13" y="91"/>
                    <a:pt x="14" y="92"/>
                    <a:pt x="15" y="91"/>
                  </a:cubicBezTo>
                  <a:cubicBezTo>
                    <a:pt x="17" y="91"/>
                    <a:pt x="19" y="90"/>
                    <a:pt x="22" y="89"/>
                  </a:cubicBezTo>
                  <a:cubicBezTo>
                    <a:pt x="22" y="92"/>
                    <a:pt x="22" y="94"/>
                    <a:pt x="22" y="96"/>
                  </a:cubicBezTo>
                  <a:cubicBezTo>
                    <a:pt x="22" y="98"/>
                    <a:pt x="24" y="100"/>
                    <a:pt x="24" y="100"/>
                  </a:cubicBezTo>
                  <a:cubicBezTo>
                    <a:pt x="27" y="100"/>
                    <a:pt x="25" y="98"/>
                    <a:pt x="25" y="96"/>
                  </a:cubicBezTo>
                  <a:cubicBezTo>
                    <a:pt x="24" y="89"/>
                    <a:pt x="26" y="83"/>
                    <a:pt x="32" y="80"/>
                  </a:cubicBezTo>
                  <a:cubicBezTo>
                    <a:pt x="35" y="78"/>
                    <a:pt x="38" y="76"/>
                    <a:pt x="41" y="74"/>
                  </a:cubicBezTo>
                  <a:cubicBezTo>
                    <a:pt x="46" y="70"/>
                    <a:pt x="49" y="65"/>
                    <a:pt x="52" y="60"/>
                  </a:cubicBezTo>
                  <a:cubicBezTo>
                    <a:pt x="54" y="52"/>
                    <a:pt x="51" y="47"/>
                    <a:pt x="43" y="47"/>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288">
              <a:extLst>
                <a:ext uri="{FF2B5EF4-FFF2-40B4-BE49-F238E27FC236}">
                  <a16:creationId xmlns:a16="http://schemas.microsoft.com/office/drawing/2014/main" id="{167B45CA-A1E6-CE00-3A5E-262B5BEBCF8F}"/>
                </a:ext>
              </a:extLst>
            </p:cNvPr>
            <p:cNvSpPr>
              <a:spLocks/>
            </p:cNvSpPr>
            <p:nvPr/>
          </p:nvSpPr>
          <p:spPr bwMode="auto">
            <a:xfrm>
              <a:off x="3840359" y="6255544"/>
              <a:ext cx="9525" cy="9525"/>
            </a:xfrm>
            <a:custGeom>
              <a:avLst/>
              <a:gdLst>
                <a:gd name="T0" fmla="*/ 4 w 5"/>
                <a:gd name="T1" fmla="*/ 0 h 5"/>
                <a:gd name="T2" fmla="*/ 0 w 5"/>
                <a:gd name="T3" fmla="*/ 3 h 5"/>
                <a:gd name="T4" fmla="*/ 2 w 5"/>
                <a:gd name="T5" fmla="*/ 5 h 5"/>
                <a:gd name="T6" fmla="*/ 5 w 5"/>
                <a:gd name="T7" fmla="*/ 2 h 5"/>
                <a:gd name="T8" fmla="*/ 4 w 5"/>
                <a:gd name="T9" fmla="*/ 0 h 5"/>
              </a:gdLst>
              <a:ahLst/>
              <a:cxnLst>
                <a:cxn ang="0">
                  <a:pos x="T0" y="T1"/>
                </a:cxn>
                <a:cxn ang="0">
                  <a:pos x="T2" y="T3"/>
                </a:cxn>
                <a:cxn ang="0">
                  <a:pos x="T4" y="T5"/>
                </a:cxn>
                <a:cxn ang="0">
                  <a:pos x="T6" y="T7"/>
                </a:cxn>
                <a:cxn ang="0">
                  <a:pos x="T8" y="T9"/>
                </a:cxn>
              </a:cxnLst>
              <a:rect l="0" t="0" r="r" b="b"/>
              <a:pathLst>
                <a:path w="5" h="5">
                  <a:moveTo>
                    <a:pt x="4" y="0"/>
                  </a:moveTo>
                  <a:cubicBezTo>
                    <a:pt x="2" y="1"/>
                    <a:pt x="1" y="2"/>
                    <a:pt x="0" y="3"/>
                  </a:cubicBezTo>
                  <a:cubicBezTo>
                    <a:pt x="0" y="4"/>
                    <a:pt x="1" y="4"/>
                    <a:pt x="2" y="5"/>
                  </a:cubicBezTo>
                  <a:cubicBezTo>
                    <a:pt x="3" y="4"/>
                    <a:pt x="4" y="3"/>
                    <a:pt x="5" y="2"/>
                  </a:cubicBezTo>
                  <a:cubicBezTo>
                    <a:pt x="5" y="1"/>
                    <a:pt x="4" y="0"/>
                    <a:pt x="4" y="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289">
              <a:extLst>
                <a:ext uri="{FF2B5EF4-FFF2-40B4-BE49-F238E27FC236}">
                  <a16:creationId xmlns:a16="http://schemas.microsoft.com/office/drawing/2014/main" id="{5CCC3449-847C-165F-C696-2BD0FA5217FC}"/>
                </a:ext>
              </a:extLst>
            </p:cNvPr>
            <p:cNvSpPr>
              <a:spLocks/>
            </p:cNvSpPr>
            <p:nvPr/>
          </p:nvSpPr>
          <p:spPr bwMode="auto">
            <a:xfrm>
              <a:off x="3732409" y="6420644"/>
              <a:ext cx="7938" cy="9525"/>
            </a:xfrm>
            <a:custGeom>
              <a:avLst/>
              <a:gdLst>
                <a:gd name="T0" fmla="*/ 3 w 4"/>
                <a:gd name="T1" fmla="*/ 0 h 5"/>
                <a:gd name="T2" fmla="*/ 0 w 4"/>
                <a:gd name="T3" fmla="*/ 3 h 5"/>
                <a:gd name="T4" fmla="*/ 1 w 4"/>
                <a:gd name="T5" fmla="*/ 5 h 5"/>
                <a:gd name="T6" fmla="*/ 4 w 4"/>
                <a:gd name="T7" fmla="*/ 2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2" y="1"/>
                    <a:pt x="1" y="2"/>
                    <a:pt x="0" y="3"/>
                  </a:cubicBezTo>
                  <a:cubicBezTo>
                    <a:pt x="0" y="3"/>
                    <a:pt x="0" y="4"/>
                    <a:pt x="1" y="5"/>
                  </a:cubicBezTo>
                  <a:cubicBezTo>
                    <a:pt x="2" y="4"/>
                    <a:pt x="3" y="3"/>
                    <a:pt x="4" y="2"/>
                  </a:cubicBezTo>
                  <a:cubicBezTo>
                    <a:pt x="4" y="2"/>
                    <a:pt x="3" y="0"/>
                    <a:pt x="3" y="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290">
              <a:extLst>
                <a:ext uri="{FF2B5EF4-FFF2-40B4-BE49-F238E27FC236}">
                  <a16:creationId xmlns:a16="http://schemas.microsoft.com/office/drawing/2014/main" id="{64FBB59B-979C-4B3B-A97A-A1913AB8FE3E}"/>
                </a:ext>
              </a:extLst>
            </p:cNvPr>
            <p:cNvSpPr>
              <a:spLocks/>
            </p:cNvSpPr>
            <p:nvPr/>
          </p:nvSpPr>
          <p:spPr bwMode="auto">
            <a:xfrm>
              <a:off x="3743522" y="6406356"/>
              <a:ext cx="14288" cy="11113"/>
            </a:xfrm>
            <a:custGeom>
              <a:avLst/>
              <a:gdLst>
                <a:gd name="T0" fmla="*/ 0 w 7"/>
                <a:gd name="T1" fmla="*/ 5 h 6"/>
                <a:gd name="T2" fmla="*/ 1 w 7"/>
                <a:gd name="T3" fmla="*/ 6 h 6"/>
                <a:gd name="T4" fmla="*/ 7 w 7"/>
                <a:gd name="T5" fmla="*/ 2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0" y="5"/>
                    <a:pt x="1" y="6"/>
                    <a:pt x="1" y="6"/>
                  </a:cubicBezTo>
                  <a:cubicBezTo>
                    <a:pt x="3" y="5"/>
                    <a:pt x="5" y="4"/>
                    <a:pt x="7" y="2"/>
                  </a:cubicBezTo>
                  <a:cubicBezTo>
                    <a:pt x="6" y="1"/>
                    <a:pt x="5" y="0"/>
                    <a:pt x="5" y="0"/>
                  </a:cubicBezTo>
                  <a:cubicBezTo>
                    <a:pt x="3" y="2"/>
                    <a:pt x="1" y="3"/>
                    <a:pt x="0" y="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291">
              <a:extLst>
                <a:ext uri="{FF2B5EF4-FFF2-40B4-BE49-F238E27FC236}">
                  <a16:creationId xmlns:a16="http://schemas.microsoft.com/office/drawing/2014/main" id="{40F1E659-EF4B-A1C1-D117-9D0D0D68BF71}"/>
                </a:ext>
              </a:extLst>
            </p:cNvPr>
            <p:cNvSpPr>
              <a:spLocks noEditPoints="1"/>
            </p:cNvSpPr>
            <p:nvPr/>
          </p:nvSpPr>
          <p:spPr bwMode="auto">
            <a:xfrm>
              <a:off x="3406972" y="6096794"/>
              <a:ext cx="546100" cy="625475"/>
            </a:xfrm>
            <a:custGeom>
              <a:avLst/>
              <a:gdLst>
                <a:gd name="T0" fmla="*/ 269 w 276"/>
                <a:gd name="T1" fmla="*/ 79 h 316"/>
                <a:gd name="T2" fmla="*/ 249 w 276"/>
                <a:gd name="T3" fmla="*/ 14 h 316"/>
                <a:gd name="T4" fmla="*/ 199 w 276"/>
                <a:gd name="T5" fmla="*/ 12 h 316"/>
                <a:gd name="T6" fmla="*/ 138 w 276"/>
                <a:gd name="T7" fmla="*/ 21 h 316"/>
                <a:gd name="T8" fmla="*/ 92 w 276"/>
                <a:gd name="T9" fmla="*/ 14 h 316"/>
                <a:gd name="T10" fmla="*/ 37 w 276"/>
                <a:gd name="T11" fmla="*/ 2 h 316"/>
                <a:gd name="T12" fmla="*/ 10 w 276"/>
                <a:gd name="T13" fmla="*/ 51 h 316"/>
                <a:gd name="T14" fmla="*/ 1 w 276"/>
                <a:gd name="T15" fmla="*/ 111 h 316"/>
                <a:gd name="T16" fmla="*/ 11 w 276"/>
                <a:gd name="T17" fmla="*/ 163 h 316"/>
                <a:gd name="T18" fmla="*/ 54 w 276"/>
                <a:gd name="T19" fmla="*/ 213 h 316"/>
                <a:gd name="T20" fmla="*/ 61 w 276"/>
                <a:gd name="T21" fmla="*/ 238 h 316"/>
                <a:gd name="T22" fmla="*/ 65 w 276"/>
                <a:gd name="T23" fmla="*/ 208 h 316"/>
                <a:gd name="T24" fmla="*/ 117 w 276"/>
                <a:gd name="T25" fmla="*/ 223 h 316"/>
                <a:gd name="T26" fmla="*/ 128 w 276"/>
                <a:gd name="T27" fmla="*/ 267 h 316"/>
                <a:gd name="T28" fmla="*/ 149 w 276"/>
                <a:gd name="T29" fmla="*/ 312 h 316"/>
                <a:gd name="T30" fmla="*/ 163 w 276"/>
                <a:gd name="T31" fmla="*/ 272 h 316"/>
                <a:gd name="T32" fmla="*/ 185 w 276"/>
                <a:gd name="T33" fmla="*/ 254 h 316"/>
                <a:gd name="T34" fmla="*/ 263 w 276"/>
                <a:gd name="T35" fmla="*/ 211 h 316"/>
                <a:gd name="T36" fmla="*/ 269 w 276"/>
                <a:gd name="T37" fmla="*/ 145 h 316"/>
                <a:gd name="T38" fmla="*/ 222 w 276"/>
                <a:gd name="T39" fmla="*/ 114 h 316"/>
                <a:gd name="T40" fmla="*/ 211 w 276"/>
                <a:gd name="T41" fmla="*/ 172 h 316"/>
                <a:gd name="T42" fmla="*/ 170 w 276"/>
                <a:gd name="T43" fmla="*/ 192 h 316"/>
                <a:gd name="T44" fmla="*/ 119 w 276"/>
                <a:gd name="T45" fmla="*/ 216 h 316"/>
                <a:gd name="T46" fmla="*/ 98 w 276"/>
                <a:gd name="T47" fmla="*/ 214 h 316"/>
                <a:gd name="T48" fmla="*/ 109 w 276"/>
                <a:gd name="T49" fmla="*/ 190 h 316"/>
                <a:gd name="T50" fmla="*/ 116 w 276"/>
                <a:gd name="T51" fmla="*/ 186 h 316"/>
                <a:gd name="T52" fmla="*/ 91 w 276"/>
                <a:gd name="T53" fmla="*/ 212 h 316"/>
                <a:gd name="T54" fmla="*/ 80 w 276"/>
                <a:gd name="T55" fmla="*/ 174 h 316"/>
                <a:gd name="T56" fmla="*/ 79 w 276"/>
                <a:gd name="T57" fmla="*/ 122 h 316"/>
                <a:gd name="T58" fmla="*/ 96 w 276"/>
                <a:gd name="T59" fmla="*/ 122 h 316"/>
                <a:gd name="T60" fmla="*/ 78 w 276"/>
                <a:gd name="T61" fmla="*/ 118 h 316"/>
                <a:gd name="T62" fmla="*/ 67 w 276"/>
                <a:gd name="T63" fmla="*/ 105 h 316"/>
                <a:gd name="T64" fmla="*/ 125 w 276"/>
                <a:gd name="T65" fmla="*/ 108 h 316"/>
                <a:gd name="T66" fmla="*/ 127 w 276"/>
                <a:gd name="T67" fmla="*/ 106 h 316"/>
                <a:gd name="T68" fmla="*/ 83 w 276"/>
                <a:gd name="T69" fmla="*/ 93 h 316"/>
                <a:gd name="T70" fmla="*/ 86 w 276"/>
                <a:gd name="T71" fmla="*/ 72 h 316"/>
                <a:gd name="T72" fmla="*/ 78 w 276"/>
                <a:gd name="T73" fmla="*/ 77 h 316"/>
                <a:gd name="T74" fmla="*/ 72 w 276"/>
                <a:gd name="T75" fmla="*/ 75 h 316"/>
                <a:gd name="T76" fmla="*/ 58 w 276"/>
                <a:gd name="T77" fmla="*/ 95 h 316"/>
                <a:gd name="T78" fmla="*/ 55 w 276"/>
                <a:gd name="T79" fmla="*/ 54 h 316"/>
                <a:gd name="T80" fmla="*/ 96 w 276"/>
                <a:gd name="T81" fmla="*/ 66 h 316"/>
                <a:gd name="T82" fmla="*/ 146 w 276"/>
                <a:gd name="T83" fmla="*/ 73 h 316"/>
                <a:gd name="T84" fmla="*/ 113 w 276"/>
                <a:gd name="T85" fmla="*/ 71 h 316"/>
                <a:gd name="T86" fmla="*/ 110 w 276"/>
                <a:gd name="T87" fmla="*/ 70 h 316"/>
                <a:gd name="T88" fmla="*/ 100 w 276"/>
                <a:gd name="T89" fmla="*/ 83 h 316"/>
                <a:gd name="T90" fmla="*/ 113 w 276"/>
                <a:gd name="T91" fmla="*/ 85 h 316"/>
                <a:gd name="T92" fmla="*/ 138 w 276"/>
                <a:gd name="T93" fmla="*/ 104 h 316"/>
                <a:gd name="T94" fmla="*/ 154 w 276"/>
                <a:gd name="T95" fmla="*/ 109 h 316"/>
                <a:gd name="T96" fmla="*/ 181 w 276"/>
                <a:gd name="T97" fmla="*/ 118 h 316"/>
                <a:gd name="T98" fmla="*/ 152 w 276"/>
                <a:gd name="T99" fmla="*/ 105 h 316"/>
                <a:gd name="T100" fmla="*/ 154 w 276"/>
                <a:gd name="T101" fmla="*/ 72 h 316"/>
                <a:gd name="T102" fmla="*/ 203 w 276"/>
                <a:gd name="T103" fmla="*/ 73 h 316"/>
                <a:gd name="T104" fmla="*/ 206 w 276"/>
                <a:gd name="T105" fmla="*/ 78 h 316"/>
                <a:gd name="T106" fmla="*/ 230 w 276"/>
                <a:gd name="T107" fmla="*/ 7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6" h="316">
                  <a:moveTo>
                    <a:pt x="269" y="145"/>
                  </a:moveTo>
                  <a:cubicBezTo>
                    <a:pt x="265" y="137"/>
                    <a:pt x="265" y="129"/>
                    <a:pt x="268" y="120"/>
                  </a:cubicBezTo>
                  <a:cubicBezTo>
                    <a:pt x="272" y="107"/>
                    <a:pt x="273" y="93"/>
                    <a:pt x="269" y="79"/>
                  </a:cubicBezTo>
                  <a:cubicBezTo>
                    <a:pt x="267" y="71"/>
                    <a:pt x="267" y="63"/>
                    <a:pt x="270" y="55"/>
                  </a:cubicBezTo>
                  <a:cubicBezTo>
                    <a:pt x="272" y="49"/>
                    <a:pt x="272" y="43"/>
                    <a:pt x="271" y="37"/>
                  </a:cubicBezTo>
                  <a:cubicBezTo>
                    <a:pt x="269" y="24"/>
                    <a:pt x="261" y="16"/>
                    <a:pt x="249" y="14"/>
                  </a:cubicBezTo>
                  <a:cubicBezTo>
                    <a:pt x="242" y="13"/>
                    <a:pt x="235" y="11"/>
                    <a:pt x="228" y="9"/>
                  </a:cubicBezTo>
                  <a:cubicBezTo>
                    <a:pt x="225" y="9"/>
                    <a:pt x="223" y="8"/>
                    <a:pt x="220" y="7"/>
                  </a:cubicBezTo>
                  <a:cubicBezTo>
                    <a:pt x="213" y="6"/>
                    <a:pt x="205" y="8"/>
                    <a:pt x="199" y="12"/>
                  </a:cubicBezTo>
                  <a:cubicBezTo>
                    <a:pt x="193" y="16"/>
                    <a:pt x="187" y="17"/>
                    <a:pt x="180" y="16"/>
                  </a:cubicBezTo>
                  <a:cubicBezTo>
                    <a:pt x="177" y="15"/>
                    <a:pt x="173" y="15"/>
                    <a:pt x="170" y="14"/>
                  </a:cubicBezTo>
                  <a:cubicBezTo>
                    <a:pt x="158" y="13"/>
                    <a:pt x="148" y="16"/>
                    <a:pt x="138" y="21"/>
                  </a:cubicBezTo>
                  <a:cubicBezTo>
                    <a:pt x="132" y="25"/>
                    <a:pt x="126" y="25"/>
                    <a:pt x="120" y="20"/>
                  </a:cubicBezTo>
                  <a:cubicBezTo>
                    <a:pt x="119" y="19"/>
                    <a:pt x="118" y="19"/>
                    <a:pt x="116" y="18"/>
                  </a:cubicBezTo>
                  <a:cubicBezTo>
                    <a:pt x="109" y="14"/>
                    <a:pt x="101" y="12"/>
                    <a:pt x="92" y="14"/>
                  </a:cubicBezTo>
                  <a:cubicBezTo>
                    <a:pt x="91" y="14"/>
                    <a:pt x="90" y="14"/>
                    <a:pt x="89" y="14"/>
                  </a:cubicBezTo>
                  <a:cubicBezTo>
                    <a:pt x="82" y="16"/>
                    <a:pt x="75" y="15"/>
                    <a:pt x="69" y="10"/>
                  </a:cubicBezTo>
                  <a:cubicBezTo>
                    <a:pt x="60" y="2"/>
                    <a:pt x="49" y="0"/>
                    <a:pt x="37" y="2"/>
                  </a:cubicBezTo>
                  <a:cubicBezTo>
                    <a:pt x="29" y="3"/>
                    <a:pt x="24" y="6"/>
                    <a:pt x="19" y="11"/>
                  </a:cubicBezTo>
                  <a:cubicBezTo>
                    <a:pt x="13" y="20"/>
                    <a:pt x="10" y="30"/>
                    <a:pt x="13" y="41"/>
                  </a:cubicBezTo>
                  <a:cubicBezTo>
                    <a:pt x="13" y="45"/>
                    <a:pt x="13" y="48"/>
                    <a:pt x="10" y="51"/>
                  </a:cubicBezTo>
                  <a:cubicBezTo>
                    <a:pt x="3" y="61"/>
                    <a:pt x="0" y="71"/>
                    <a:pt x="4" y="83"/>
                  </a:cubicBezTo>
                  <a:cubicBezTo>
                    <a:pt x="7" y="92"/>
                    <a:pt x="7" y="100"/>
                    <a:pt x="2" y="108"/>
                  </a:cubicBezTo>
                  <a:cubicBezTo>
                    <a:pt x="2" y="109"/>
                    <a:pt x="2" y="110"/>
                    <a:pt x="1" y="111"/>
                  </a:cubicBezTo>
                  <a:cubicBezTo>
                    <a:pt x="1" y="116"/>
                    <a:pt x="0" y="122"/>
                    <a:pt x="0" y="127"/>
                  </a:cubicBezTo>
                  <a:cubicBezTo>
                    <a:pt x="0" y="136"/>
                    <a:pt x="4" y="143"/>
                    <a:pt x="9" y="150"/>
                  </a:cubicBezTo>
                  <a:cubicBezTo>
                    <a:pt x="12" y="154"/>
                    <a:pt x="12" y="158"/>
                    <a:pt x="11" y="163"/>
                  </a:cubicBezTo>
                  <a:cubicBezTo>
                    <a:pt x="10" y="168"/>
                    <a:pt x="9" y="174"/>
                    <a:pt x="9" y="179"/>
                  </a:cubicBezTo>
                  <a:cubicBezTo>
                    <a:pt x="10" y="199"/>
                    <a:pt x="30" y="214"/>
                    <a:pt x="47" y="213"/>
                  </a:cubicBezTo>
                  <a:cubicBezTo>
                    <a:pt x="49" y="213"/>
                    <a:pt x="53" y="212"/>
                    <a:pt x="54" y="213"/>
                  </a:cubicBezTo>
                  <a:cubicBezTo>
                    <a:pt x="56" y="215"/>
                    <a:pt x="56" y="218"/>
                    <a:pt x="56" y="221"/>
                  </a:cubicBezTo>
                  <a:cubicBezTo>
                    <a:pt x="57" y="226"/>
                    <a:pt x="57" y="230"/>
                    <a:pt x="57" y="234"/>
                  </a:cubicBezTo>
                  <a:cubicBezTo>
                    <a:pt x="57" y="237"/>
                    <a:pt x="58" y="238"/>
                    <a:pt x="61" y="238"/>
                  </a:cubicBezTo>
                  <a:cubicBezTo>
                    <a:pt x="63" y="238"/>
                    <a:pt x="64" y="236"/>
                    <a:pt x="63" y="234"/>
                  </a:cubicBezTo>
                  <a:cubicBezTo>
                    <a:pt x="63" y="228"/>
                    <a:pt x="63" y="222"/>
                    <a:pt x="62" y="216"/>
                  </a:cubicBezTo>
                  <a:cubicBezTo>
                    <a:pt x="61" y="210"/>
                    <a:pt x="61" y="210"/>
                    <a:pt x="65" y="208"/>
                  </a:cubicBezTo>
                  <a:cubicBezTo>
                    <a:pt x="68" y="206"/>
                    <a:pt x="69" y="206"/>
                    <a:pt x="71" y="208"/>
                  </a:cubicBezTo>
                  <a:cubicBezTo>
                    <a:pt x="81" y="216"/>
                    <a:pt x="93" y="221"/>
                    <a:pt x="106" y="222"/>
                  </a:cubicBezTo>
                  <a:cubicBezTo>
                    <a:pt x="110" y="223"/>
                    <a:pt x="114" y="223"/>
                    <a:pt x="117" y="223"/>
                  </a:cubicBezTo>
                  <a:cubicBezTo>
                    <a:pt x="120" y="230"/>
                    <a:pt x="123" y="237"/>
                    <a:pt x="126" y="243"/>
                  </a:cubicBezTo>
                  <a:cubicBezTo>
                    <a:pt x="128" y="248"/>
                    <a:pt x="130" y="254"/>
                    <a:pt x="129" y="260"/>
                  </a:cubicBezTo>
                  <a:cubicBezTo>
                    <a:pt x="128" y="262"/>
                    <a:pt x="128" y="265"/>
                    <a:pt x="128" y="267"/>
                  </a:cubicBezTo>
                  <a:cubicBezTo>
                    <a:pt x="127" y="276"/>
                    <a:pt x="129" y="283"/>
                    <a:pt x="134" y="291"/>
                  </a:cubicBezTo>
                  <a:cubicBezTo>
                    <a:pt x="138" y="296"/>
                    <a:pt x="142" y="302"/>
                    <a:pt x="146" y="308"/>
                  </a:cubicBezTo>
                  <a:cubicBezTo>
                    <a:pt x="147" y="309"/>
                    <a:pt x="148" y="311"/>
                    <a:pt x="149" y="312"/>
                  </a:cubicBezTo>
                  <a:cubicBezTo>
                    <a:pt x="155" y="316"/>
                    <a:pt x="163" y="314"/>
                    <a:pt x="164" y="306"/>
                  </a:cubicBezTo>
                  <a:cubicBezTo>
                    <a:pt x="164" y="303"/>
                    <a:pt x="164" y="300"/>
                    <a:pt x="165" y="297"/>
                  </a:cubicBezTo>
                  <a:cubicBezTo>
                    <a:pt x="166" y="289"/>
                    <a:pt x="167" y="281"/>
                    <a:pt x="163" y="272"/>
                  </a:cubicBezTo>
                  <a:cubicBezTo>
                    <a:pt x="163" y="271"/>
                    <a:pt x="163" y="267"/>
                    <a:pt x="164" y="266"/>
                  </a:cubicBezTo>
                  <a:cubicBezTo>
                    <a:pt x="169" y="262"/>
                    <a:pt x="172" y="256"/>
                    <a:pt x="172" y="250"/>
                  </a:cubicBezTo>
                  <a:cubicBezTo>
                    <a:pt x="177" y="251"/>
                    <a:pt x="181" y="253"/>
                    <a:pt x="185" y="254"/>
                  </a:cubicBezTo>
                  <a:cubicBezTo>
                    <a:pt x="193" y="256"/>
                    <a:pt x="200" y="254"/>
                    <a:pt x="207" y="251"/>
                  </a:cubicBezTo>
                  <a:cubicBezTo>
                    <a:pt x="214" y="247"/>
                    <a:pt x="222" y="244"/>
                    <a:pt x="230" y="244"/>
                  </a:cubicBezTo>
                  <a:cubicBezTo>
                    <a:pt x="248" y="242"/>
                    <a:pt x="261" y="229"/>
                    <a:pt x="263" y="211"/>
                  </a:cubicBezTo>
                  <a:cubicBezTo>
                    <a:pt x="263" y="205"/>
                    <a:pt x="264" y="199"/>
                    <a:pt x="267" y="194"/>
                  </a:cubicBezTo>
                  <a:cubicBezTo>
                    <a:pt x="269" y="190"/>
                    <a:pt x="271" y="186"/>
                    <a:pt x="272" y="182"/>
                  </a:cubicBezTo>
                  <a:cubicBezTo>
                    <a:pt x="276" y="169"/>
                    <a:pt x="274" y="157"/>
                    <a:pt x="269" y="145"/>
                  </a:cubicBezTo>
                  <a:close/>
                  <a:moveTo>
                    <a:pt x="229" y="81"/>
                  </a:moveTo>
                  <a:cubicBezTo>
                    <a:pt x="227" y="85"/>
                    <a:pt x="225" y="89"/>
                    <a:pt x="224" y="93"/>
                  </a:cubicBezTo>
                  <a:cubicBezTo>
                    <a:pt x="221" y="100"/>
                    <a:pt x="220" y="107"/>
                    <a:pt x="222" y="114"/>
                  </a:cubicBezTo>
                  <a:cubicBezTo>
                    <a:pt x="223" y="119"/>
                    <a:pt x="224" y="124"/>
                    <a:pt x="226" y="129"/>
                  </a:cubicBezTo>
                  <a:cubicBezTo>
                    <a:pt x="227" y="134"/>
                    <a:pt x="227" y="138"/>
                    <a:pt x="224" y="142"/>
                  </a:cubicBezTo>
                  <a:cubicBezTo>
                    <a:pt x="219" y="151"/>
                    <a:pt x="214" y="161"/>
                    <a:pt x="211" y="172"/>
                  </a:cubicBezTo>
                  <a:cubicBezTo>
                    <a:pt x="210" y="177"/>
                    <a:pt x="209" y="183"/>
                    <a:pt x="208" y="188"/>
                  </a:cubicBezTo>
                  <a:cubicBezTo>
                    <a:pt x="207" y="190"/>
                    <a:pt x="206" y="191"/>
                    <a:pt x="204" y="190"/>
                  </a:cubicBezTo>
                  <a:cubicBezTo>
                    <a:pt x="193" y="189"/>
                    <a:pt x="181" y="190"/>
                    <a:pt x="170" y="192"/>
                  </a:cubicBezTo>
                  <a:cubicBezTo>
                    <a:pt x="169" y="192"/>
                    <a:pt x="167" y="192"/>
                    <a:pt x="167" y="191"/>
                  </a:cubicBezTo>
                  <a:cubicBezTo>
                    <a:pt x="154" y="180"/>
                    <a:pt x="138" y="183"/>
                    <a:pt x="127" y="196"/>
                  </a:cubicBezTo>
                  <a:cubicBezTo>
                    <a:pt x="122" y="202"/>
                    <a:pt x="119" y="209"/>
                    <a:pt x="119" y="216"/>
                  </a:cubicBezTo>
                  <a:cubicBezTo>
                    <a:pt x="118" y="219"/>
                    <a:pt x="118" y="220"/>
                    <a:pt x="115" y="220"/>
                  </a:cubicBezTo>
                  <a:cubicBezTo>
                    <a:pt x="107" y="220"/>
                    <a:pt x="100" y="219"/>
                    <a:pt x="93" y="215"/>
                  </a:cubicBezTo>
                  <a:cubicBezTo>
                    <a:pt x="95" y="215"/>
                    <a:pt x="97" y="215"/>
                    <a:pt x="98" y="214"/>
                  </a:cubicBezTo>
                  <a:cubicBezTo>
                    <a:pt x="102" y="213"/>
                    <a:pt x="104" y="211"/>
                    <a:pt x="104" y="207"/>
                  </a:cubicBezTo>
                  <a:cubicBezTo>
                    <a:pt x="104" y="205"/>
                    <a:pt x="103" y="202"/>
                    <a:pt x="103" y="199"/>
                  </a:cubicBezTo>
                  <a:cubicBezTo>
                    <a:pt x="102" y="194"/>
                    <a:pt x="103" y="191"/>
                    <a:pt x="109" y="190"/>
                  </a:cubicBezTo>
                  <a:cubicBezTo>
                    <a:pt x="111" y="190"/>
                    <a:pt x="114" y="189"/>
                    <a:pt x="117" y="189"/>
                  </a:cubicBezTo>
                  <a:cubicBezTo>
                    <a:pt x="118" y="189"/>
                    <a:pt x="118" y="187"/>
                    <a:pt x="119" y="186"/>
                  </a:cubicBezTo>
                  <a:cubicBezTo>
                    <a:pt x="118" y="186"/>
                    <a:pt x="117" y="186"/>
                    <a:pt x="116" y="186"/>
                  </a:cubicBezTo>
                  <a:cubicBezTo>
                    <a:pt x="114" y="186"/>
                    <a:pt x="111" y="187"/>
                    <a:pt x="109" y="187"/>
                  </a:cubicBezTo>
                  <a:cubicBezTo>
                    <a:pt x="101" y="189"/>
                    <a:pt x="98" y="193"/>
                    <a:pt x="99" y="202"/>
                  </a:cubicBezTo>
                  <a:cubicBezTo>
                    <a:pt x="101" y="211"/>
                    <a:pt x="100" y="212"/>
                    <a:pt x="91" y="212"/>
                  </a:cubicBezTo>
                  <a:cubicBezTo>
                    <a:pt x="83" y="213"/>
                    <a:pt x="77" y="209"/>
                    <a:pt x="71" y="204"/>
                  </a:cubicBezTo>
                  <a:cubicBezTo>
                    <a:pt x="71" y="204"/>
                    <a:pt x="72" y="203"/>
                    <a:pt x="72" y="203"/>
                  </a:cubicBezTo>
                  <a:cubicBezTo>
                    <a:pt x="82" y="196"/>
                    <a:pt x="83" y="185"/>
                    <a:pt x="80" y="174"/>
                  </a:cubicBezTo>
                  <a:cubicBezTo>
                    <a:pt x="79" y="169"/>
                    <a:pt x="76" y="164"/>
                    <a:pt x="73" y="160"/>
                  </a:cubicBezTo>
                  <a:cubicBezTo>
                    <a:pt x="70" y="155"/>
                    <a:pt x="68" y="150"/>
                    <a:pt x="70" y="144"/>
                  </a:cubicBezTo>
                  <a:cubicBezTo>
                    <a:pt x="73" y="137"/>
                    <a:pt x="76" y="129"/>
                    <a:pt x="79" y="122"/>
                  </a:cubicBezTo>
                  <a:cubicBezTo>
                    <a:pt x="81" y="119"/>
                    <a:pt x="84" y="117"/>
                    <a:pt x="86" y="115"/>
                  </a:cubicBezTo>
                  <a:cubicBezTo>
                    <a:pt x="91" y="112"/>
                    <a:pt x="93" y="114"/>
                    <a:pt x="94" y="119"/>
                  </a:cubicBezTo>
                  <a:cubicBezTo>
                    <a:pt x="95" y="120"/>
                    <a:pt x="96" y="121"/>
                    <a:pt x="96" y="122"/>
                  </a:cubicBezTo>
                  <a:cubicBezTo>
                    <a:pt x="97" y="121"/>
                    <a:pt x="98" y="119"/>
                    <a:pt x="98" y="118"/>
                  </a:cubicBezTo>
                  <a:cubicBezTo>
                    <a:pt x="97" y="110"/>
                    <a:pt x="92" y="108"/>
                    <a:pt x="85" y="111"/>
                  </a:cubicBezTo>
                  <a:cubicBezTo>
                    <a:pt x="82" y="113"/>
                    <a:pt x="80" y="115"/>
                    <a:pt x="78" y="118"/>
                  </a:cubicBezTo>
                  <a:cubicBezTo>
                    <a:pt x="76" y="120"/>
                    <a:pt x="75" y="123"/>
                    <a:pt x="74" y="125"/>
                  </a:cubicBezTo>
                  <a:cubicBezTo>
                    <a:pt x="71" y="119"/>
                    <a:pt x="68" y="114"/>
                    <a:pt x="66" y="108"/>
                  </a:cubicBezTo>
                  <a:cubicBezTo>
                    <a:pt x="65" y="107"/>
                    <a:pt x="66" y="105"/>
                    <a:pt x="67" y="105"/>
                  </a:cubicBezTo>
                  <a:cubicBezTo>
                    <a:pt x="78" y="96"/>
                    <a:pt x="90" y="94"/>
                    <a:pt x="103" y="99"/>
                  </a:cubicBezTo>
                  <a:cubicBezTo>
                    <a:pt x="107" y="100"/>
                    <a:pt x="111" y="103"/>
                    <a:pt x="115" y="104"/>
                  </a:cubicBezTo>
                  <a:cubicBezTo>
                    <a:pt x="118" y="106"/>
                    <a:pt x="121" y="107"/>
                    <a:pt x="125" y="108"/>
                  </a:cubicBezTo>
                  <a:cubicBezTo>
                    <a:pt x="126" y="109"/>
                    <a:pt x="127" y="108"/>
                    <a:pt x="129" y="108"/>
                  </a:cubicBezTo>
                  <a:cubicBezTo>
                    <a:pt x="129" y="108"/>
                    <a:pt x="129" y="107"/>
                    <a:pt x="129" y="107"/>
                  </a:cubicBezTo>
                  <a:cubicBezTo>
                    <a:pt x="128" y="107"/>
                    <a:pt x="127" y="106"/>
                    <a:pt x="127" y="106"/>
                  </a:cubicBezTo>
                  <a:cubicBezTo>
                    <a:pt x="122" y="104"/>
                    <a:pt x="117" y="102"/>
                    <a:pt x="113" y="100"/>
                  </a:cubicBezTo>
                  <a:cubicBezTo>
                    <a:pt x="104" y="94"/>
                    <a:pt x="95" y="92"/>
                    <a:pt x="85" y="93"/>
                  </a:cubicBezTo>
                  <a:cubicBezTo>
                    <a:pt x="85" y="93"/>
                    <a:pt x="84" y="93"/>
                    <a:pt x="83" y="93"/>
                  </a:cubicBezTo>
                  <a:cubicBezTo>
                    <a:pt x="82" y="90"/>
                    <a:pt x="80" y="87"/>
                    <a:pt x="80" y="83"/>
                  </a:cubicBezTo>
                  <a:cubicBezTo>
                    <a:pt x="81" y="80"/>
                    <a:pt x="83" y="77"/>
                    <a:pt x="84" y="74"/>
                  </a:cubicBezTo>
                  <a:cubicBezTo>
                    <a:pt x="84" y="73"/>
                    <a:pt x="85" y="73"/>
                    <a:pt x="86" y="72"/>
                  </a:cubicBezTo>
                  <a:cubicBezTo>
                    <a:pt x="86" y="72"/>
                    <a:pt x="86" y="71"/>
                    <a:pt x="86" y="70"/>
                  </a:cubicBezTo>
                  <a:cubicBezTo>
                    <a:pt x="85" y="70"/>
                    <a:pt x="84" y="70"/>
                    <a:pt x="84" y="70"/>
                  </a:cubicBezTo>
                  <a:cubicBezTo>
                    <a:pt x="81" y="72"/>
                    <a:pt x="80" y="75"/>
                    <a:pt x="78" y="77"/>
                  </a:cubicBezTo>
                  <a:cubicBezTo>
                    <a:pt x="77" y="76"/>
                    <a:pt x="75" y="74"/>
                    <a:pt x="74" y="73"/>
                  </a:cubicBezTo>
                  <a:cubicBezTo>
                    <a:pt x="73" y="73"/>
                    <a:pt x="72" y="73"/>
                    <a:pt x="71" y="73"/>
                  </a:cubicBezTo>
                  <a:cubicBezTo>
                    <a:pt x="71" y="74"/>
                    <a:pt x="71" y="75"/>
                    <a:pt x="72" y="75"/>
                  </a:cubicBezTo>
                  <a:cubicBezTo>
                    <a:pt x="77" y="81"/>
                    <a:pt x="78" y="87"/>
                    <a:pt x="79" y="94"/>
                  </a:cubicBezTo>
                  <a:cubicBezTo>
                    <a:pt x="74" y="97"/>
                    <a:pt x="68" y="100"/>
                    <a:pt x="63" y="103"/>
                  </a:cubicBezTo>
                  <a:cubicBezTo>
                    <a:pt x="61" y="101"/>
                    <a:pt x="59" y="98"/>
                    <a:pt x="58" y="95"/>
                  </a:cubicBezTo>
                  <a:cubicBezTo>
                    <a:pt x="57" y="92"/>
                    <a:pt x="57" y="88"/>
                    <a:pt x="58" y="85"/>
                  </a:cubicBezTo>
                  <a:cubicBezTo>
                    <a:pt x="61" y="75"/>
                    <a:pt x="61" y="65"/>
                    <a:pt x="56" y="56"/>
                  </a:cubicBezTo>
                  <a:cubicBezTo>
                    <a:pt x="56" y="55"/>
                    <a:pt x="55" y="55"/>
                    <a:pt x="55" y="54"/>
                  </a:cubicBezTo>
                  <a:cubicBezTo>
                    <a:pt x="55" y="54"/>
                    <a:pt x="55" y="53"/>
                    <a:pt x="55" y="53"/>
                  </a:cubicBezTo>
                  <a:cubicBezTo>
                    <a:pt x="62" y="51"/>
                    <a:pt x="67" y="52"/>
                    <a:pt x="73" y="56"/>
                  </a:cubicBezTo>
                  <a:cubicBezTo>
                    <a:pt x="80" y="61"/>
                    <a:pt x="87" y="66"/>
                    <a:pt x="96" y="66"/>
                  </a:cubicBezTo>
                  <a:cubicBezTo>
                    <a:pt x="100" y="66"/>
                    <a:pt x="104" y="65"/>
                    <a:pt x="108" y="64"/>
                  </a:cubicBezTo>
                  <a:cubicBezTo>
                    <a:pt x="114" y="64"/>
                    <a:pt x="120" y="64"/>
                    <a:pt x="125" y="66"/>
                  </a:cubicBezTo>
                  <a:cubicBezTo>
                    <a:pt x="132" y="69"/>
                    <a:pt x="139" y="71"/>
                    <a:pt x="146" y="73"/>
                  </a:cubicBezTo>
                  <a:cubicBezTo>
                    <a:pt x="144" y="78"/>
                    <a:pt x="141" y="83"/>
                    <a:pt x="139" y="88"/>
                  </a:cubicBezTo>
                  <a:cubicBezTo>
                    <a:pt x="131" y="84"/>
                    <a:pt x="122" y="82"/>
                    <a:pt x="113" y="82"/>
                  </a:cubicBezTo>
                  <a:cubicBezTo>
                    <a:pt x="113" y="78"/>
                    <a:pt x="113" y="75"/>
                    <a:pt x="113" y="71"/>
                  </a:cubicBezTo>
                  <a:cubicBezTo>
                    <a:pt x="113" y="71"/>
                    <a:pt x="113" y="70"/>
                    <a:pt x="113" y="69"/>
                  </a:cubicBezTo>
                  <a:cubicBezTo>
                    <a:pt x="112" y="68"/>
                    <a:pt x="111" y="68"/>
                    <a:pt x="111" y="67"/>
                  </a:cubicBezTo>
                  <a:cubicBezTo>
                    <a:pt x="110" y="68"/>
                    <a:pt x="110" y="69"/>
                    <a:pt x="110" y="70"/>
                  </a:cubicBezTo>
                  <a:cubicBezTo>
                    <a:pt x="110" y="73"/>
                    <a:pt x="110" y="76"/>
                    <a:pt x="110" y="79"/>
                  </a:cubicBezTo>
                  <a:cubicBezTo>
                    <a:pt x="110" y="81"/>
                    <a:pt x="108" y="82"/>
                    <a:pt x="106" y="82"/>
                  </a:cubicBezTo>
                  <a:cubicBezTo>
                    <a:pt x="104" y="82"/>
                    <a:pt x="102" y="83"/>
                    <a:pt x="100" y="83"/>
                  </a:cubicBezTo>
                  <a:cubicBezTo>
                    <a:pt x="100" y="83"/>
                    <a:pt x="99" y="84"/>
                    <a:pt x="99" y="85"/>
                  </a:cubicBezTo>
                  <a:cubicBezTo>
                    <a:pt x="99" y="85"/>
                    <a:pt x="100" y="86"/>
                    <a:pt x="101" y="86"/>
                  </a:cubicBezTo>
                  <a:cubicBezTo>
                    <a:pt x="105" y="86"/>
                    <a:pt x="109" y="85"/>
                    <a:pt x="113" y="85"/>
                  </a:cubicBezTo>
                  <a:cubicBezTo>
                    <a:pt x="120" y="85"/>
                    <a:pt x="127" y="87"/>
                    <a:pt x="133" y="89"/>
                  </a:cubicBezTo>
                  <a:cubicBezTo>
                    <a:pt x="139" y="92"/>
                    <a:pt x="142" y="96"/>
                    <a:pt x="143" y="102"/>
                  </a:cubicBezTo>
                  <a:cubicBezTo>
                    <a:pt x="141" y="103"/>
                    <a:pt x="140" y="103"/>
                    <a:pt x="138" y="104"/>
                  </a:cubicBezTo>
                  <a:cubicBezTo>
                    <a:pt x="138" y="104"/>
                    <a:pt x="137" y="105"/>
                    <a:pt x="137" y="106"/>
                  </a:cubicBezTo>
                  <a:cubicBezTo>
                    <a:pt x="138" y="106"/>
                    <a:pt x="139" y="107"/>
                    <a:pt x="139" y="107"/>
                  </a:cubicBezTo>
                  <a:cubicBezTo>
                    <a:pt x="145" y="105"/>
                    <a:pt x="149" y="107"/>
                    <a:pt x="154" y="109"/>
                  </a:cubicBezTo>
                  <a:cubicBezTo>
                    <a:pt x="157" y="111"/>
                    <a:pt x="162" y="112"/>
                    <a:pt x="166" y="112"/>
                  </a:cubicBezTo>
                  <a:cubicBezTo>
                    <a:pt x="170" y="112"/>
                    <a:pt x="175" y="113"/>
                    <a:pt x="178" y="117"/>
                  </a:cubicBezTo>
                  <a:cubicBezTo>
                    <a:pt x="178" y="118"/>
                    <a:pt x="180" y="118"/>
                    <a:pt x="181" y="118"/>
                  </a:cubicBezTo>
                  <a:cubicBezTo>
                    <a:pt x="180" y="117"/>
                    <a:pt x="180" y="116"/>
                    <a:pt x="180" y="115"/>
                  </a:cubicBezTo>
                  <a:cubicBezTo>
                    <a:pt x="176" y="110"/>
                    <a:pt x="172" y="108"/>
                    <a:pt x="166" y="109"/>
                  </a:cubicBezTo>
                  <a:cubicBezTo>
                    <a:pt x="161" y="109"/>
                    <a:pt x="156" y="108"/>
                    <a:pt x="152" y="105"/>
                  </a:cubicBezTo>
                  <a:cubicBezTo>
                    <a:pt x="148" y="103"/>
                    <a:pt x="146" y="101"/>
                    <a:pt x="145" y="97"/>
                  </a:cubicBezTo>
                  <a:cubicBezTo>
                    <a:pt x="142" y="89"/>
                    <a:pt x="144" y="79"/>
                    <a:pt x="151" y="74"/>
                  </a:cubicBezTo>
                  <a:cubicBezTo>
                    <a:pt x="152" y="73"/>
                    <a:pt x="153" y="72"/>
                    <a:pt x="154" y="72"/>
                  </a:cubicBezTo>
                  <a:cubicBezTo>
                    <a:pt x="162" y="72"/>
                    <a:pt x="169" y="70"/>
                    <a:pt x="176" y="67"/>
                  </a:cubicBezTo>
                  <a:cubicBezTo>
                    <a:pt x="184" y="64"/>
                    <a:pt x="192" y="64"/>
                    <a:pt x="199" y="66"/>
                  </a:cubicBezTo>
                  <a:cubicBezTo>
                    <a:pt x="201" y="67"/>
                    <a:pt x="202" y="70"/>
                    <a:pt x="203" y="73"/>
                  </a:cubicBezTo>
                  <a:cubicBezTo>
                    <a:pt x="204" y="74"/>
                    <a:pt x="203" y="76"/>
                    <a:pt x="204" y="77"/>
                  </a:cubicBezTo>
                  <a:cubicBezTo>
                    <a:pt x="204" y="78"/>
                    <a:pt x="204" y="79"/>
                    <a:pt x="205" y="80"/>
                  </a:cubicBezTo>
                  <a:cubicBezTo>
                    <a:pt x="205" y="79"/>
                    <a:pt x="206" y="78"/>
                    <a:pt x="206" y="78"/>
                  </a:cubicBezTo>
                  <a:cubicBezTo>
                    <a:pt x="206" y="74"/>
                    <a:pt x="206" y="70"/>
                    <a:pt x="206" y="66"/>
                  </a:cubicBezTo>
                  <a:cubicBezTo>
                    <a:pt x="214" y="66"/>
                    <a:pt x="221" y="63"/>
                    <a:pt x="228" y="56"/>
                  </a:cubicBezTo>
                  <a:cubicBezTo>
                    <a:pt x="229" y="61"/>
                    <a:pt x="229" y="66"/>
                    <a:pt x="230" y="70"/>
                  </a:cubicBezTo>
                  <a:cubicBezTo>
                    <a:pt x="231" y="74"/>
                    <a:pt x="230" y="78"/>
                    <a:pt x="229" y="81"/>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9" name="Freeform 292">
              <a:extLst>
                <a:ext uri="{FF2B5EF4-FFF2-40B4-BE49-F238E27FC236}">
                  <a16:creationId xmlns:a16="http://schemas.microsoft.com/office/drawing/2014/main" id="{93151C73-0E4F-65B1-679E-D827372C5B6C}"/>
                </a:ext>
              </a:extLst>
            </p:cNvPr>
            <p:cNvSpPr>
              <a:spLocks/>
            </p:cNvSpPr>
            <p:nvPr/>
          </p:nvSpPr>
          <p:spPr bwMode="auto">
            <a:xfrm>
              <a:off x="3699072" y="6334919"/>
              <a:ext cx="65088" cy="31750"/>
            </a:xfrm>
            <a:custGeom>
              <a:avLst/>
              <a:gdLst>
                <a:gd name="T0" fmla="*/ 32 w 33"/>
                <a:gd name="T1" fmla="*/ 5 h 16"/>
                <a:gd name="T2" fmla="*/ 32 w 33"/>
                <a:gd name="T3" fmla="*/ 2 h 16"/>
                <a:gd name="T4" fmla="*/ 30 w 33"/>
                <a:gd name="T5" fmla="*/ 3 h 16"/>
                <a:gd name="T6" fmla="*/ 29 w 33"/>
                <a:gd name="T7" fmla="*/ 5 h 16"/>
                <a:gd name="T8" fmla="*/ 16 w 33"/>
                <a:gd name="T9" fmla="*/ 13 h 16"/>
                <a:gd name="T10" fmla="*/ 7 w 33"/>
                <a:gd name="T11" fmla="*/ 6 h 16"/>
                <a:gd name="T12" fmla="*/ 5 w 33"/>
                <a:gd name="T13" fmla="*/ 2 h 16"/>
                <a:gd name="T14" fmla="*/ 2 w 33"/>
                <a:gd name="T15" fmla="*/ 0 h 16"/>
                <a:gd name="T16" fmla="*/ 0 w 33"/>
                <a:gd name="T17" fmla="*/ 0 h 16"/>
                <a:gd name="T18" fmla="*/ 0 w 33"/>
                <a:gd name="T19" fmla="*/ 2 h 16"/>
                <a:gd name="T20" fmla="*/ 5 w 33"/>
                <a:gd name="T21" fmla="*/ 10 h 16"/>
                <a:gd name="T22" fmla="*/ 18 w 33"/>
                <a:gd name="T23" fmla="*/ 16 h 16"/>
                <a:gd name="T24" fmla="*/ 28 w 33"/>
                <a:gd name="T25" fmla="*/ 12 h 16"/>
                <a:gd name="T26" fmla="*/ 32 w 33"/>
                <a:gd name="T2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16">
                  <a:moveTo>
                    <a:pt x="32" y="5"/>
                  </a:moveTo>
                  <a:cubicBezTo>
                    <a:pt x="33" y="4"/>
                    <a:pt x="32" y="3"/>
                    <a:pt x="32" y="2"/>
                  </a:cubicBezTo>
                  <a:cubicBezTo>
                    <a:pt x="31" y="3"/>
                    <a:pt x="30" y="3"/>
                    <a:pt x="30" y="3"/>
                  </a:cubicBezTo>
                  <a:cubicBezTo>
                    <a:pt x="29" y="4"/>
                    <a:pt x="29" y="4"/>
                    <a:pt x="29" y="5"/>
                  </a:cubicBezTo>
                  <a:cubicBezTo>
                    <a:pt x="26" y="10"/>
                    <a:pt x="21" y="12"/>
                    <a:pt x="16" y="13"/>
                  </a:cubicBezTo>
                  <a:cubicBezTo>
                    <a:pt x="11" y="13"/>
                    <a:pt x="9" y="10"/>
                    <a:pt x="7" y="6"/>
                  </a:cubicBezTo>
                  <a:cubicBezTo>
                    <a:pt x="6" y="5"/>
                    <a:pt x="5" y="3"/>
                    <a:pt x="5" y="2"/>
                  </a:cubicBezTo>
                  <a:cubicBezTo>
                    <a:pt x="4" y="1"/>
                    <a:pt x="3" y="0"/>
                    <a:pt x="2" y="0"/>
                  </a:cubicBezTo>
                  <a:cubicBezTo>
                    <a:pt x="2" y="0"/>
                    <a:pt x="1" y="0"/>
                    <a:pt x="0" y="0"/>
                  </a:cubicBezTo>
                  <a:cubicBezTo>
                    <a:pt x="0" y="1"/>
                    <a:pt x="0" y="2"/>
                    <a:pt x="0" y="2"/>
                  </a:cubicBezTo>
                  <a:cubicBezTo>
                    <a:pt x="2" y="5"/>
                    <a:pt x="4" y="7"/>
                    <a:pt x="5" y="10"/>
                  </a:cubicBezTo>
                  <a:cubicBezTo>
                    <a:pt x="8" y="13"/>
                    <a:pt x="11" y="16"/>
                    <a:pt x="18" y="16"/>
                  </a:cubicBezTo>
                  <a:cubicBezTo>
                    <a:pt x="20" y="16"/>
                    <a:pt x="24" y="15"/>
                    <a:pt x="28" y="12"/>
                  </a:cubicBezTo>
                  <a:cubicBezTo>
                    <a:pt x="30" y="10"/>
                    <a:pt x="31" y="7"/>
                    <a:pt x="32" y="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Freeform 293">
              <a:extLst>
                <a:ext uri="{FF2B5EF4-FFF2-40B4-BE49-F238E27FC236}">
                  <a16:creationId xmlns:a16="http://schemas.microsoft.com/office/drawing/2014/main" id="{F45BBDB2-EC7F-E008-B739-D7B6EF401869}"/>
                </a:ext>
              </a:extLst>
            </p:cNvPr>
            <p:cNvSpPr>
              <a:spLocks/>
            </p:cNvSpPr>
            <p:nvPr/>
          </p:nvSpPr>
          <p:spPr bwMode="auto">
            <a:xfrm>
              <a:off x="3743522" y="6366669"/>
              <a:ext cx="12700" cy="25400"/>
            </a:xfrm>
            <a:custGeom>
              <a:avLst/>
              <a:gdLst>
                <a:gd name="T0" fmla="*/ 2 w 6"/>
                <a:gd name="T1" fmla="*/ 0 h 13"/>
                <a:gd name="T2" fmla="*/ 1 w 6"/>
                <a:gd name="T3" fmla="*/ 4 h 13"/>
                <a:gd name="T4" fmla="*/ 3 w 6"/>
                <a:gd name="T5" fmla="*/ 12 h 13"/>
                <a:gd name="T6" fmla="*/ 6 w 6"/>
                <a:gd name="T7" fmla="*/ 13 h 13"/>
                <a:gd name="T8" fmla="*/ 6 w 6"/>
                <a:gd name="T9" fmla="*/ 11 h 13"/>
                <a:gd name="T10" fmla="*/ 3 w 6"/>
                <a:gd name="T11" fmla="*/ 4 h 13"/>
                <a:gd name="T12" fmla="*/ 4 w 6"/>
                <a:gd name="T13" fmla="*/ 3 h 13"/>
                <a:gd name="T14" fmla="*/ 2 w 6"/>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2" y="0"/>
                  </a:moveTo>
                  <a:cubicBezTo>
                    <a:pt x="2" y="1"/>
                    <a:pt x="0" y="3"/>
                    <a:pt x="1" y="4"/>
                  </a:cubicBezTo>
                  <a:cubicBezTo>
                    <a:pt x="1" y="7"/>
                    <a:pt x="2" y="10"/>
                    <a:pt x="3" y="12"/>
                  </a:cubicBezTo>
                  <a:cubicBezTo>
                    <a:pt x="4" y="13"/>
                    <a:pt x="5" y="13"/>
                    <a:pt x="6" y="13"/>
                  </a:cubicBezTo>
                  <a:cubicBezTo>
                    <a:pt x="6" y="12"/>
                    <a:pt x="6" y="12"/>
                    <a:pt x="6" y="11"/>
                  </a:cubicBezTo>
                  <a:cubicBezTo>
                    <a:pt x="5" y="8"/>
                    <a:pt x="4" y="6"/>
                    <a:pt x="3" y="4"/>
                  </a:cubicBezTo>
                  <a:cubicBezTo>
                    <a:pt x="3" y="4"/>
                    <a:pt x="4" y="4"/>
                    <a:pt x="4" y="3"/>
                  </a:cubicBezTo>
                  <a:cubicBezTo>
                    <a:pt x="4" y="2"/>
                    <a:pt x="3" y="1"/>
                    <a:pt x="2" y="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 name="Freeform 294">
              <a:extLst>
                <a:ext uri="{FF2B5EF4-FFF2-40B4-BE49-F238E27FC236}">
                  <a16:creationId xmlns:a16="http://schemas.microsoft.com/office/drawing/2014/main" id="{DA49676B-849A-BE44-A49F-55FD4F787074}"/>
                </a:ext>
              </a:extLst>
            </p:cNvPr>
            <p:cNvSpPr>
              <a:spLocks noEditPoints="1"/>
            </p:cNvSpPr>
            <p:nvPr/>
          </p:nvSpPr>
          <p:spPr bwMode="auto">
            <a:xfrm>
              <a:off x="3516509" y="6198394"/>
              <a:ext cx="347663" cy="334963"/>
            </a:xfrm>
            <a:custGeom>
              <a:avLst/>
              <a:gdLst>
                <a:gd name="T0" fmla="*/ 149 w 176"/>
                <a:gd name="T1" fmla="*/ 26 h 169"/>
                <a:gd name="T2" fmla="*/ 96 w 176"/>
                <a:gd name="T3" fmla="*/ 23 h 169"/>
                <a:gd name="T4" fmla="*/ 126 w 176"/>
                <a:gd name="T5" fmla="*/ 67 h 169"/>
                <a:gd name="T6" fmla="*/ 82 w 176"/>
                <a:gd name="T7" fmla="*/ 55 h 169"/>
                <a:gd name="T8" fmla="*/ 46 w 176"/>
                <a:gd name="T9" fmla="*/ 35 h 169"/>
                <a:gd name="T10" fmla="*/ 55 w 176"/>
                <a:gd name="T11" fmla="*/ 19 h 169"/>
                <a:gd name="T12" fmla="*/ 84 w 176"/>
                <a:gd name="T13" fmla="*/ 37 h 169"/>
                <a:gd name="T14" fmla="*/ 18 w 176"/>
                <a:gd name="T15" fmla="*/ 5 h 169"/>
                <a:gd name="T16" fmla="*/ 3 w 176"/>
                <a:gd name="T17" fmla="*/ 44 h 169"/>
                <a:gd name="T18" fmla="*/ 19 w 176"/>
                <a:gd name="T19" fmla="*/ 22 h 169"/>
                <a:gd name="T20" fmla="*/ 29 w 176"/>
                <a:gd name="T21" fmla="*/ 23 h 169"/>
                <a:gd name="T22" fmla="*/ 72 w 176"/>
                <a:gd name="T23" fmla="*/ 55 h 169"/>
                <a:gd name="T24" fmla="*/ 48 w 176"/>
                <a:gd name="T25" fmla="*/ 48 h 169"/>
                <a:gd name="T26" fmla="*/ 30 w 176"/>
                <a:gd name="T27" fmla="*/ 60 h 169"/>
                <a:gd name="T28" fmla="*/ 24 w 176"/>
                <a:gd name="T29" fmla="*/ 71 h 169"/>
                <a:gd name="T30" fmla="*/ 16 w 176"/>
                <a:gd name="T31" fmla="*/ 153 h 169"/>
                <a:gd name="T32" fmla="*/ 64 w 176"/>
                <a:gd name="T33" fmla="*/ 135 h 169"/>
                <a:gd name="T34" fmla="*/ 43 w 176"/>
                <a:gd name="T35" fmla="*/ 163 h 169"/>
                <a:gd name="T36" fmla="*/ 112 w 176"/>
                <a:gd name="T37" fmla="*/ 140 h 169"/>
                <a:gd name="T38" fmla="*/ 169 w 176"/>
                <a:gd name="T39" fmla="*/ 91 h 169"/>
                <a:gd name="T40" fmla="*/ 175 w 176"/>
                <a:gd name="T41" fmla="*/ 19 h 169"/>
                <a:gd name="T42" fmla="*/ 156 w 176"/>
                <a:gd name="T43" fmla="*/ 36 h 169"/>
                <a:gd name="T44" fmla="*/ 149 w 176"/>
                <a:gd name="T45" fmla="*/ 65 h 169"/>
                <a:gd name="T46" fmla="*/ 147 w 176"/>
                <a:gd name="T47" fmla="*/ 35 h 169"/>
                <a:gd name="T48" fmla="*/ 101 w 176"/>
                <a:gd name="T49" fmla="*/ 30 h 169"/>
                <a:gd name="T50" fmla="*/ 36 w 176"/>
                <a:gd name="T51" fmla="*/ 135 h 169"/>
                <a:gd name="T52" fmla="*/ 41 w 176"/>
                <a:gd name="T53" fmla="*/ 125 h 169"/>
                <a:gd name="T54" fmla="*/ 49 w 176"/>
                <a:gd name="T55" fmla="*/ 119 h 169"/>
                <a:gd name="T56" fmla="*/ 39 w 176"/>
                <a:gd name="T57" fmla="*/ 79 h 169"/>
                <a:gd name="T58" fmla="*/ 70 w 176"/>
                <a:gd name="T59" fmla="*/ 117 h 169"/>
                <a:gd name="T60" fmla="*/ 61 w 176"/>
                <a:gd name="T61" fmla="*/ 120 h 169"/>
                <a:gd name="T62" fmla="*/ 85 w 176"/>
                <a:gd name="T63" fmla="*/ 122 h 169"/>
                <a:gd name="T64" fmla="*/ 93 w 176"/>
                <a:gd name="T65" fmla="*/ 124 h 169"/>
                <a:gd name="T66" fmla="*/ 98 w 176"/>
                <a:gd name="T67" fmla="*/ 130 h 169"/>
                <a:gd name="T68" fmla="*/ 75 w 176"/>
                <a:gd name="T69" fmla="*/ 100 h 169"/>
                <a:gd name="T70" fmla="*/ 53 w 176"/>
                <a:gd name="T71" fmla="*/ 65 h 169"/>
                <a:gd name="T72" fmla="*/ 89 w 176"/>
                <a:gd name="T73" fmla="*/ 100 h 169"/>
                <a:gd name="T74" fmla="*/ 112 w 176"/>
                <a:gd name="T75" fmla="*/ 112 h 169"/>
                <a:gd name="T76" fmla="*/ 92 w 176"/>
                <a:gd name="T77" fmla="*/ 71 h 169"/>
                <a:gd name="T78" fmla="*/ 108 w 176"/>
                <a:gd name="T79" fmla="*/ 82 h 169"/>
                <a:gd name="T80" fmla="*/ 120 w 176"/>
                <a:gd name="T81" fmla="*/ 81 h 169"/>
                <a:gd name="T82" fmla="*/ 116 w 176"/>
                <a:gd name="T83" fmla="*/ 89 h 169"/>
                <a:gd name="T84" fmla="*/ 116 w 176"/>
                <a:gd name="T85" fmla="*/ 111 h 169"/>
                <a:gd name="T86" fmla="*/ 163 w 176"/>
                <a:gd name="T87" fmla="*/ 95 h 169"/>
                <a:gd name="T88" fmla="*/ 133 w 176"/>
                <a:gd name="T89" fmla="*/ 131 h 169"/>
                <a:gd name="T90" fmla="*/ 139 w 176"/>
                <a:gd name="T91" fmla="*/ 114 h 169"/>
                <a:gd name="T92" fmla="*/ 127 w 176"/>
                <a:gd name="T93" fmla="*/ 102 h 169"/>
                <a:gd name="T94" fmla="*/ 141 w 176"/>
                <a:gd name="T95" fmla="*/ 69 h 169"/>
                <a:gd name="T96" fmla="*/ 111 w 176"/>
                <a:gd name="T97" fmla="*/ 38 h 169"/>
                <a:gd name="T98" fmla="*/ 139 w 176"/>
                <a:gd name="T99" fmla="*/ 47 h 169"/>
                <a:gd name="T100" fmla="*/ 145 w 176"/>
                <a:gd name="T101" fmla="*/ 76 h 169"/>
                <a:gd name="T102" fmla="*/ 164 w 176"/>
                <a:gd name="T103" fmla="*/ 3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6" h="169">
                  <a:moveTo>
                    <a:pt x="173" y="5"/>
                  </a:moveTo>
                  <a:cubicBezTo>
                    <a:pt x="166" y="12"/>
                    <a:pt x="159" y="15"/>
                    <a:pt x="151" y="15"/>
                  </a:cubicBezTo>
                  <a:cubicBezTo>
                    <a:pt x="151" y="19"/>
                    <a:pt x="151" y="23"/>
                    <a:pt x="151" y="27"/>
                  </a:cubicBezTo>
                  <a:cubicBezTo>
                    <a:pt x="151" y="27"/>
                    <a:pt x="150" y="28"/>
                    <a:pt x="150" y="29"/>
                  </a:cubicBezTo>
                  <a:cubicBezTo>
                    <a:pt x="149" y="28"/>
                    <a:pt x="149" y="27"/>
                    <a:pt x="149" y="26"/>
                  </a:cubicBezTo>
                  <a:cubicBezTo>
                    <a:pt x="148" y="25"/>
                    <a:pt x="149" y="23"/>
                    <a:pt x="148" y="22"/>
                  </a:cubicBezTo>
                  <a:cubicBezTo>
                    <a:pt x="147" y="19"/>
                    <a:pt x="146" y="16"/>
                    <a:pt x="144" y="15"/>
                  </a:cubicBezTo>
                  <a:cubicBezTo>
                    <a:pt x="137" y="13"/>
                    <a:pt x="129" y="13"/>
                    <a:pt x="121" y="16"/>
                  </a:cubicBezTo>
                  <a:cubicBezTo>
                    <a:pt x="114" y="19"/>
                    <a:pt x="107" y="21"/>
                    <a:pt x="99" y="21"/>
                  </a:cubicBezTo>
                  <a:cubicBezTo>
                    <a:pt x="98" y="21"/>
                    <a:pt x="97" y="22"/>
                    <a:pt x="96" y="23"/>
                  </a:cubicBezTo>
                  <a:cubicBezTo>
                    <a:pt x="89" y="28"/>
                    <a:pt x="87" y="38"/>
                    <a:pt x="90" y="46"/>
                  </a:cubicBezTo>
                  <a:cubicBezTo>
                    <a:pt x="91" y="50"/>
                    <a:pt x="93" y="52"/>
                    <a:pt x="97" y="54"/>
                  </a:cubicBezTo>
                  <a:cubicBezTo>
                    <a:pt x="101" y="57"/>
                    <a:pt x="106" y="58"/>
                    <a:pt x="111" y="58"/>
                  </a:cubicBezTo>
                  <a:cubicBezTo>
                    <a:pt x="117" y="57"/>
                    <a:pt x="121" y="59"/>
                    <a:pt x="125" y="64"/>
                  </a:cubicBezTo>
                  <a:cubicBezTo>
                    <a:pt x="125" y="65"/>
                    <a:pt x="125" y="66"/>
                    <a:pt x="126" y="67"/>
                  </a:cubicBezTo>
                  <a:cubicBezTo>
                    <a:pt x="125" y="67"/>
                    <a:pt x="123" y="67"/>
                    <a:pt x="123" y="66"/>
                  </a:cubicBezTo>
                  <a:cubicBezTo>
                    <a:pt x="120" y="62"/>
                    <a:pt x="115" y="61"/>
                    <a:pt x="111" y="61"/>
                  </a:cubicBezTo>
                  <a:cubicBezTo>
                    <a:pt x="107" y="61"/>
                    <a:pt x="102" y="60"/>
                    <a:pt x="99" y="58"/>
                  </a:cubicBezTo>
                  <a:cubicBezTo>
                    <a:pt x="94" y="56"/>
                    <a:pt x="90" y="54"/>
                    <a:pt x="84" y="56"/>
                  </a:cubicBezTo>
                  <a:cubicBezTo>
                    <a:pt x="84" y="56"/>
                    <a:pt x="83" y="55"/>
                    <a:pt x="82" y="55"/>
                  </a:cubicBezTo>
                  <a:cubicBezTo>
                    <a:pt x="82" y="54"/>
                    <a:pt x="83" y="53"/>
                    <a:pt x="83" y="53"/>
                  </a:cubicBezTo>
                  <a:cubicBezTo>
                    <a:pt x="85" y="52"/>
                    <a:pt x="86" y="52"/>
                    <a:pt x="88" y="51"/>
                  </a:cubicBezTo>
                  <a:cubicBezTo>
                    <a:pt x="87" y="45"/>
                    <a:pt x="84" y="41"/>
                    <a:pt x="78" y="38"/>
                  </a:cubicBezTo>
                  <a:cubicBezTo>
                    <a:pt x="72" y="36"/>
                    <a:pt x="65" y="34"/>
                    <a:pt x="58" y="34"/>
                  </a:cubicBezTo>
                  <a:cubicBezTo>
                    <a:pt x="54" y="34"/>
                    <a:pt x="50" y="35"/>
                    <a:pt x="46" y="35"/>
                  </a:cubicBezTo>
                  <a:cubicBezTo>
                    <a:pt x="45" y="35"/>
                    <a:pt x="44" y="34"/>
                    <a:pt x="44" y="34"/>
                  </a:cubicBezTo>
                  <a:cubicBezTo>
                    <a:pt x="44" y="33"/>
                    <a:pt x="45" y="32"/>
                    <a:pt x="45" y="32"/>
                  </a:cubicBezTo>
                  <a:cubicBezTo>
                    <a:pt x="47" y="32"/>
                    <a:pt x="49" y="31"/>
                    <a:pt x="51" y="31"/>
                  </a:cubicBezTo>
                  <a:cubicBezTo>
                    <a:pt x="53" y="31"/>
                    <a:pt x="55" y="30"/>
                    <a:pt x="55" y="28"/>
                  </a:cubicBezTo>
                  <a:cubicBezTo>
                    <a:pt x="55" y="25"/>
                    <a:pt x="55" y="22"/>
                    <a:pt x="55" y="19"/>
                  </a:cubicBezTo>
                  <a:cubicBezTo>
                    <a:pt x="55" y="18"/>
                    <a:pt x="55" y="17"/>
                    <a:pt x="56" y="16"/>
                  </a:cubicBezTo>
                  <a:cubicBezTo>
                    <a:pt x="56" y="17"/>
                    <a:pt x="57" y="17"/>
                    <a:pt x="58" y="18"/>
                  </a:cubicBezTo>
                  <a:cubicBezTo>
                    <a:pt x="58" y="19"/>
                    <a:pt x="58" y="20"/>
                    <a:pt x="58" y="20"/>
                  </a:cubicBezTo>
                  <a:cubicBezTo>
                    <a:pt x="58" y="24"/>
                    <a:pt x="58" y="27"/>
                    <a:pt x="58" y="31"/>
                  </a:cubicBezTo>
                  <a:cubicBezTo>
                    <a:pt x="67" y="31"/>
                    <a:pt x="76" y="33"/>
                    <a:pt x="84" y="37"/>
                  </a:cubicBezTo>
                  <a:cubicBezTo>
                    <a:pt x="86" y="32"/>
                    <a:pt x="89" y="27"/>
                    <a:pt x="91" y="22"/>
                  </a:cubicBezTo>
                  <a:cubicBezTo>
                    <a:pt x="84" y="20"/>
                    <a:pt x="77" y="18"/>
                    <a:pt x="70" y="15"/>
                  </a:cubicBezTo>
                  <a:cubicBezTo>
                    <a:pt x="65" y="13"/>
                    <a:pt x="59" y="13"/>
                    <a:pt x="53" y="13"/>
                  </a:cubicBezTo>
                  <a:cubicBezTo>
                    <a:pt x="49" y="14"/>
                    <a:pt x="45" y="15"/>
                    <a:pt x="41" y="15"/>
                  </a:cubicBezTo>
                  <a:cubicBezTo>
                    <a:pt x="32" y="15"/>
                    <a:pt x="25" y="10"/>
                    <a:pt x="18" y="5"/>
                  </a:cubicBezTo>
                  <a:cubicBezTo>
                    <a:pt x="12" y="1"/>
                    <a:pt x="7" y="0"/>
                    <a:pt x="0" y="2"/>
                  </a:cubicBezTo>
                  <a:cubicBezTo>
                    <a:pt x="0" y="2"/>
                    <a:pt x="0" y="3"/>
                    <a:pt x="0" y="3"/>
                  </a:cubicBezTo>
                  <a:cubicBezTo>
                    <a:pt x="0" y="4"/>
                    <a:pt x="1" y="4"/>
                    <a:pt x="1" y="5"/>
                  </a:cubicBezTo>
                  <a:cubicBezTo>
                    <a:pt x="6" y="14"/>
                    <a:pt x="6" y="24"/>
                    <a:pt x="3" y="34"/>
                  </a:cubicBezTo>
                  <a:cubicBezTo>
                    <a:pt x="2" y="37"/>
                    <a:pt x="2" y="41"/>
                    <a:pt x="3" y="44"/>
                  </a:cubicBezTo>
                  <a:cubicBezTo>
                    <a:pt x="4" y="47"/>
                    <a:pt x="6" y="50"/>
                    <a:pt x="8" y="52"/>
                  </a:cubicBezTo>
                  <a:cubicBezTo>
                    <a:pt x="13" y="49"/>
                    <a:pt x="19" y="46"/>
                    <a:pt x="24" y="43"/>
                  </a:cubicBezTo>
                  <a:cubicBezTo>
                    <a:pt x="23" y="36"/>
                    <a:pt x="22" y="30"/>
                    <a:pt x="17" y="24"/>
                  </a:cubicBezTo>
                  <a:cubicBezTo>
                    <a:pt x="16" y="24"/>
                    <a:pt x="16" y="23"/>
                    <a:pt x="16" y="22"/>
                  </a:cubicBezTo>
                  <a:cubicBezTo>
                    <a:pt x="17" y="22"/>
                    <a:pt x="18" y="22"/>
                    <a:pt x="19" y="22"/>
                  </a:cubicBezTo>
                  <a:cubicBezTo>
                    <a:pt x="20" y="23"/>
                    <a:pt x="22" y="25"/>
                    <a:pt x="23" y="26"/>
                  </a:cubicBezTo>
                  <a:cubicBezTo>
                    <a:pt x="25" y="24"/>
                    <a:pt x="26" y="21"/>
                    <a:pt x="29" y="19"/>
                  </a:cubicBezTo>
                  <a:cubicBezTo>
                    <a:pt x="29" y="19"/>
                    <a:pt x="30" y="19"/>
                    <a:pt x="31" y="19"/>
                  </a:cubicBezTo>
                  <a:cubicBezTo>
                    <a:pt x="31" y="20"/>
                    <a:pt x="31" y="21"/>
                    <a:pt x="31" y="21"/>
                  </a:cubicBezTo>
                  <a:cubicBezTo>
                    <a:pt x="30" y="22"/>
                    <a:pt x="29" y="22"/>
                    <a:pt x="29" y="23"/>
                  </a:cubicBezTo>
                  <a:cubicBezTo>
                    <a:pt x="28" y="26"/>
                    <a:pt x="26" y="29"/>
                    <a:pt x="25" y="32"/>
                  </a:cubicBezTo>
                  <a:cubicBezTo>
                    <a:pt x="25" y="36"/>
                    <a:pt x="27" y="39"/>
                    <a:pt x="28" y="42"/>
                  </a:cubicBezTo>
                  <a:cubicBezTo>
                    <a:pt x="29" y="42"/>
                    <a:pt x="30" y="42"/>
                    <a:pt x="30" y="42"/>
                  </a:cubicBezTo>
                  <a:cubicBezTo>
                    <a:pt x="40" y="41"/>
                    <a:pt x="49" y="43"/>
                    <a:pt x="58" y="49"/>
                  </a:cubicBezTo>
                  <a:cubicBezTo>
                    <a:pt x="62" y="51"/>
                    <a:pt x="67" y="53"/>
                    <a:pt x="72" y="55"/>
                  </a:cubicBezTo>
                  <a:cubicBezTo>
                    <a:pt x="72" y="55"/>
                    <a:pt x="73" y="56"/>
                    <a:pt x="74" y="56"/>
                  </a:cubicBezTo>
                  <a:cubicBezTo>
                    <a:pt x="74" y="56"/>
                    <a:pt x="74" y="57"/>
                    <a:pt x="74" y="57"/>
                  </a:cubicBezTo>
                  <a:cubicBezTo>
                    <a:pt x="72" y="57"/>
                    <a:pt x="71" y="58"/>
                    <a:pt x="70" y="57"/>
                  </a:cubicBezTo>
                  <a:cubicBezTo>
                    <a:pt x="66" y="56"/>
                    <a:pt x="63" y="55"/>
                    <a:pt x="60" y="53"/>
                  </a:cubicBezTo>
                  <a:cubicBezTo>
                    <a:pt x="56" y="52"/>
                    <a:pt x="52" y="49"/>
                    <a:pt x="48" y="48"/>
                  </a:cubicBezTo>
                  <a:cubicBezTo>
                    <a:pt x="35" y="43"/>
                    <a:pt x="23" y="45"/>
                    <a:pt x="12" y="54"/>
                  </a:cubicBezTo>
                  <a:cubicBezTo>
                    <a:pt x="11" y="54"/>
                    <a:pt x="10" y="56"/>
                    <a:pt x="11" y="57"/>
                  </a:cubicBezTo>
                  <a:cubicBezTo>
                    <a:pt x="13" y="63"/>
                    <a:pt x="16" y="68"/>
                    <a:pt x="19" y="74"/>
                  </a:cubicBezTo>
                  <a:cubicBezTo>
                    <a:pt x="20" y="72"/>
                    <a:pt x="21" y="69"/>
                    <a:pt x="23" y="67"/>
                  </a:cubicBezTo>
                  <a:cubicBezTo>
                    <a:pt x="25" y="64"/>
                    <a:pt x="27" y="62"/>
                    <a:pt x="30" y="60"/>
                  </a:cubicBezTo>
                  <a:cubicBezTo>
                    <a:pt x="37" y="57"/>
                    <a:pt x="42" y="59"/>
                    <a:pt x="43" y="67"/>
                  </a:cubicBezTo>
                  <a:cubicBezTo>
                    <a:pt x="43" y="68"/>
                    <a:pt x="42" y="70"/>
                    <a:pt x="41" y="71"/>
                  </a:cubicBezTo>
                  <a:cubicBezTo>
                    <a:pt x="41" y="70"/>
                    <a:pt x="40" y="69"/>
                    <a:pt x="39" y="68"/>
                  </a:cubicBezTo>
                  <a:cubicBezTo>
                    <a:pt x="38" y="63"/>
                    <a:pt x="36" y="61"/>
                    <a:pt x="31" y="64"/>
                  </a:cubicBezTo>
                  <a:cubicBezTo>
                    <a:pt x="29" y="66"/>
                    <a:pt x="26" y="68"/>
                    <a:pt x="24" y="71"/>
                  </a:cubicBezTo>
                  <a:cubicBezTo>
                    <a:pt x="21" y="78"/>
                    <a:pt x="18" y="86"/>
                    <a:pt x="15" y="93"/>
                  </a:cubicBezTo>
                  <a:cubicBezTo>
                    <a:pt x="13" y="99"/>
                    <a:pt x="15" y="104"/>
                    <a:pt x="18" y="109"/>
                  </a:cubicBezTo>
                  <a:cubicBezTo>
                    <a:pt x="21" y="113"/>
                    <a:pt x="24" y="118"/>
                    <a:pt x="25" y="123"/>
                  </a:cubicBezTo>
                  <a:cubicBezTo>
                    <a:pt x="28" y="134"/>
                    <a:pt x="27" y="145"/>
                    <a:pt x="17" y="152"/>
                  </a:cubicBezTo>
                  <a:cubicBezTo>
                    <a:pt x="17" y="152"/>
                    <a:pt x="16" y="153"/>
                    <a:pt x="16" y="153"/>
                  </a:cubicBezTo>
                  <a:cubicBezTo>
                    <a:pt x="22" y="158"/>
                    <a:pt x="28" y="162"/>
                    <a:pt x="36" y="161"/>
                  </a:cubicBezTo>
                  <a:cubicBezTo>
                    <a:pt x="45" y="161"/>
                    <a:pt x="46" y="160"/>
                    <a:pt x="44" y="151"/>
                  </a:cubicBezTo>
                  <a:cubicBezTo>
                    <a:pt x="43" y="142"/>
                    <a:pt x="46" y="138"/>
                    <a:pt x="54" y="136"/>
                  </a:cubicBezTo>
                  <a:cubicBezTo>
                    <a:pt x="56" y="136"/>
                    <a:pt x="59" y="135"/>
                    <a:pt x="61" y="135"/>
                  </a:cubicBezTo>
                  <a:cubicBezTo>
                    <a:pt x="62" y="135"/>
                    <a:pt x="63" y="135"/>
                    <a:pt x="64" y="135"/>
                  </a:cubicBezTo>
                  <a:cubicBezTo>
                    <a:pt x="63" y="136"/>
                    <a:pt x="63" y="138"/>
                    <a:pt x="62" y="138"/>
                  </a:cubicBezTo>
                  <a:cubicBezTo>
                    <a:pt x="59" y="138"/>
                    <a:pt x="56" y="139"/>
                    <a:pt x="54" y="139"/>
                  </a:cubicBezTo>
                  <a:cubicBezTo>
                    <a:pt x="48" y="140"/>
                    <a:pt x="47" y="143"/>
                    <a:pt x="48" y="148"/>
                  </a:cubicBezTo>
                  <a:cubicBezTo>
                    <a:pt x="48" y="151"/>
                    <a:pt x="49" y="154"/>
                    <a:pt x="49" y="156"/>
                  </a:cubicBezTo>
                  <a:cubicBezTo>
                    <a:pt x="49" y="160"/>
                    <a:pt x="47" y="162"/>
                    <a:pt x="43" y="163"/>
                  </a:cubicBezTo>
                  <a:cubicBezTo>
                    <a:pt x="42" y="164"/>
                    <a:pt x="40" y="164"/>
                    <a:pt x="38" y="164"/>
                  </a:cubicBezTo>
                  <a:cubicBezTo>
                    <a:pt x="45" y="168"/>
                    <a:pt x="52" y="169"/>
                    <a:pt x="60" y="169"/>
                  </a:cubicBezTo>
                  <a:cubicBezTo>
                    <a:pt x="63" y="169"/>
                    <a:pt x="63" y="168"/>
                    <a:pt x="64" y="165"/>
                  </a:cubicBezTo>
                  <a:cubicBezTo>
                    <a:pt x="64" y="158"/>
                    <a:pt x="67" y="151"/>
                    <a:pt x="72" y="145"/>
                  </a:cubicBezTo>
                  <a:cubicBezTo>
                    <a:pt x="83" y="132"/>
                    <a:pt x="99" y="129"/>
                    <a:pt x="112" y="140"/>
                  </a:cubicBezTo>
                  <a:cubicBezTo>
                    <a:pt x="112" y="141"/>
                    <a:pt x="114" y="141"/>
                    <a:pt x="115" y="141"/>
                  </a:cubicBezTo>
                  <a:cubicBezTo>
                    <a:pt x="126" y="139"/>
                    <a:pt x="138" y="138"/>
                    <a:pt x="149" y="139"/>
                  </a:cubicBezTo>
                  <a:cubicBezTo>
                    <a:pt x="151" y="140"/>
                    <a:pt x="152" y="139"/>
                    <a:pt x="153" y="137"/>
                  </a:cubicBezTo>
                  <a:cubicBezTo>
                    <a:pt x="154" y="132"/>
                    <a:pt x="155" y="126"/>
                    <a:pt x="156" y="121"/>
                  </a:cubicBezTo>
                  <a:cubicBezTo>
                    <a:pt x="159" y="110"/>
                    <a:pt x="164" y="100"/>
                    <a:pt x="169" y="91"/>
                  </a:cubicBezTo>
                  <a:cubicBezTo>
                    <a:pt x="172" y="87"/>
                    <a:pt x="172" y="83"/>
                    <a:pt x="171" y="78"/>
                  </a:cubicBezTo>
                  <a:cubicBezTo>
                    <a:pt x="169" y="73"/>
                    <a:pt x="168" y="68"/>
                    <a:pt x="167" y="63"/>
                  </a:cubicBezTo>
                  <a:cubicBezTo>
                    <a:pt x="165" y="56"/>
                    <a:pt x="166" y="49"/>
                    <a:pt x="169" y="42"/>
                  </a:cubicBezTo>
                  <a:cubicBezTo>
                    <a:pt x="170" y="38"/>
                    <a:pt x="172" y="34"/>
                    <a:pt x="174" y="30"/>
                  </a:cubicBezTo>
                  <a:cubicBezTo>
                    <a:pt x="175" y="27"/>
                    <a:pt x="176" y="23"/>
                    <a:pt x="175" y="19"/>
                  </a:cubicBezTo>
                  <a:cubicBezTo>
                    <a:pt x="174" y="15"/>
                    <a:pt x="174" y="10"/>
                    <a:pt x="173" y="5"/>
                  </a:cubicBezTo>
                  <a:close/>
                  <a:moveTo>
                    <a:pt x="127" y="25"/>
                  </a:moveTo>
                  <a:cubicBezTo>
                    <a:pt x="128" y="25"/>
                    <a:pt x="129" y="25"/>
                    <a:pt x="130" y="26"/>
                  </a:cubicBezTo>
                  <a:cubicBezTo>
                    <a:pt x="132" y="30"/>
                    <a:pt x="136" y="32"/>
                    <a:pt x="140" y="31"/>
                  </a:cubicBezTo>
                  <a:cubicBezTo>
                    <a:pt x="147" y="31"/>
                    <a:pt x="151" y="32"/>
                    <a:pt x="156" y="36"/>
                  </a:cubicBezTo>
                  <a:cubicBezTo>
                    <a:pt x="157" y="35"/>
                    <a:pt x="158" y="34"/>
                    <a:pt x="159" y="34"/>
                  </a:cubicBezTo>
                  <a:cubicBezTo>
                    <a:pt x="160" y="34"/>
                    <a:pt x="161" y="34"/>
                    <a:pt x="162" y="34"/>
                  </a:cubicBezTo>
                  <a:cubicBezTo>
                    <a:pt x="162" y="35"/>
                    <a:pt x="162" y="36"/>
                    <a:pt x="161" y="36"/>
                  </a:cubicBezTo>
                  <a:cubicBezTo>
                    <a:pt x="158" y="38"/>
                    <a:pt x="158" y="40"/>
                    <a:pt x="158" y="43"/>
                  </a:cubicBezTo>
                  <a:cubicBezTo>
                    <a:pt x="158" y="52"/>
                    <a:pt x="153" y="58"/>
                    <a:pt x="149" y="65"/>
                  </a:cubicBezTo>
                  <a:cubicBezTo>
                    <a:pt x="148" y="66"/>
                    <a:pt x="147" y="65"/>
                    <a:pt x="146" y="66"/>
                  </a:cubicBezTo>
                  <a:cubicBezTo>
                    <a:pt x="146" y="65"/>
                    <a:pt x="145" y="64"/>
                    <a:pt x="146" y="63"/>
                  </a:cubicBezTo>
                  <a:cubicBezTo>
                    <a:pt x="147" y="60"/>
                    <a:pt x="149" y="58"/>
                    <a:pt x="150" y="56"/>
                  </a:cubicBezTo>
                  <a:cubicBezTo>
                    <a:pt x="152" y="52"/>
                    <a:pt x="153" y="49"/>
                    <a:pt x="154" y="45"/>
                  </a:cubicBezTo>
                  <a:cubicBezTo>
                    <a:pt x="155" y="40"/>
                    <a:pt x="153" y="36"/>
                    <a:pt x="147" y="35"/>
                  </a:cubicBezTo>
                  <a:cubicBezTo>
                    <a:pt x="145" y="35"/>
                    <a:pt x="142" y="35"/>
                    <a:pt x="139" y="35"/>
                  </a:cubicBezTo>
                  <a:cubicBezTo>
                    <a:pt x="133" y="35"/>
                    <a:pt x="129" y="33"/>
                    <a:pt x="127" y="28"/>
                  </a:cubicBezTo>
                  <a:cubicBezTo>
                    <a:pt x="126" y="27"/>
                    <a:pt x="127" y="26"/>
                    <a:pt x="127" y="25"/>
                  </a:cubicBezTo>
                  <a:close/>
                  <a:moveTo>
                    <a:pt x="107" y="34"/>
                  </a:moveTo>
                  <a:cubicBezTo>
                    <a:pt x="105" y="33"/>
                    <a:pt x="103" y="32"/>
                    <a:pt x="101" y="30"/>
                  </a:cubicBezTo>
                  <a:cubicBezTo>
                    <a:pt x="102" y="30"/>
                    <a:pt x="102" y="29"/>
                    <a:pt x="103" y="28"/>
                  </a:cubicBezTo>
                  <a:cubicBezTo>
                    <a:pt x="105" y="30"/>
                    <a:pt x="107" y="31"/>
                    <a:pt x="109" y="32"/>
                  </a:cubicBezTo>
                  <a:cubicBezTo>
                    <a:pt x="108" y="33"/>
                    <a:pt x="107" y="34"/>
                    <a:pt x="107" y="34"/>
                  </a:cubicBezTo>
                  <a:close/>
                  <a:moveTo>
                    <a:pt x="38" y="138"/>
                  </a:moveTo>
                  <a:cubicBezTo>
                    <a:pt x="37" y="137"/>
                    <a:pt x="36" y="136"/>
                    <a:pt x="36" y="135"/>
                  </a:cubicBezTo>
                  <a:cubicBezTo>
                    <a:pt x="36" y="133"/>
                    <a:pt x="37" y="132"/>
                    <a:pt x="38" y="131"/>
                  </a:cubicBezTo>
                  <a:cubicBezTo>
                    <a:pt x="39" y="132"/>
                    <a:pt x="39" y="133"/>
                    <a:pt x="40" y="134"/>
                  </a:cubicBezTo>
                  <a:cubicBezTo>
                    <a:pt x="39" y="136"/>
                    <a:pt x="39" y="137"/>
                    <a:pt x="38" y="138"/>
                  </a:cubicBezTo>
                  <a:close/>
                  <a:moveTo>
                    <a:pt x="42" y="127"/>
                  </a:moveTo>
                  <a:cubicBezTo>
                    <a:pt x="42" y="126"/>
                    <a:pt x="41" y="125"/>
                    <a:pt x="41" y="125"/>
                  </a:cubicBezTo>
                  <a:cubicBezTo>
                    <a:pt x="42" y="124"/>
                    <a:pt x="44" y="122"/>
                    <a:pt x="45" y="121"/>
                  </a:cubicBezTo>
                  <a:cubicBezTo>
                    <a:pt x="46" y="121"/>
                    <a:pt x="47" y="122"/>
                    <a:pt x="48" y="123"/>
                  </a:cubicBezTo>
                  <a:cubicBezTo>
                    <a:pt x="46" y="125"/>
                    <a:pt x="44" y="126"/>
                    <a:pt x="42" y="127"/>
                  </a:cubicBezTo>
                  <a:close/>
                  <a:moveTo>
                    <a:pt x="51" y="118"/>
                  </a:moveTo>
                  <a:cubicBezTo>
                    <a:pt x="51" y="118"/>
                    <a:pt x="50" y="118"/>
                    <a:pt x="49" y="119"/>
                  </a:cubicBezTo>
                  <a:cubicBezTo>
                    <a:pt x="49" y="118"/>
                    <a:pt x="48" y="117"/>
                    <a:pt x="48" y="117"/>
                  </a:cubicBezTo>
                  <a:cubicBezTo>
                    <a:pt x="50" y="110"/>
                    <a:pt x="47" y="106"/>
                    <a:pt x="41" y="102"/>
                  </a:cubicBezTo>
                  <a:cubicBezTo>
                    <a:pt x="33" y="97"/>
                    <a:pt x="31" y="87"/>
                    <a:pt x="36" y="78"/>
                  </a:cubicBezTo>
                  <a:cubicBezTo>
                    <a:pt x="36" y="77"/>
                    <a:pt x="38" y="77"/>
                    <a:pt x="39" y="76"/>
                  </a:cubicBezTo>
                  <a:cubicBezTo>
                    <a:pt x="39" y="77"/>
                    <a:pt x="39" y="78"/>
                    <a:pt x="39" y="79"/>
                  </a:cubicBezTo>
                  <a:cubicBezTo>
                    <a:pt x="35" y="90"/>
                    <a:pt x="36" y="94"/>
                    <a:pt x="45" y="101"/>
                  </a:cubicBezTo>
                  <a:cubicBezTo>
                    <a:pt x="50" y="104"/>
                    <a:pt x="52" y="108"/>
                    <a:pt x="52" y="114"/>
                  </a:cubicBezTo>
                  <a:cubicBezTo>
                    <a:pt x="52" y="115"/>
                    <a:pt x="52" y="116"/>
                    <a:pt x="51" y="118"/>
                  </a:cubicBezTo>
                  <a:close/>
                  <a:moveTo>
                    <a:pt x="76" y="119"/>
                  </a:moveTo>
                  <a:cubicBezTo>
                    <a:pt x="74" y="118"/>
                    <a:pt x="72" y="117"/>
                    <a:pt x="70" y="117"/>
                  </a:cubicBezTo>
                  <a:cubicBezTo>
                    <a:pt x="67" y="117"/>
                    <a:pt x="65" y="118"/>
                    <a:pt x="64" y="121"/>
                  </a:cubicBezTo>
                  <a:cubicBezTo>
                    <a:pt x="64" y="124"/>
                    <a:pt x="65" y="127"/>
                    <a:pt x="68" y="128"/>
                  </a:cubicBezTo>
                  <a:cubicBezTo>
                    <a:pt x="69" y="128"/>
                    <a:pt x="69" y="129"/>
                    <a:pt x="70" y="130"/>
                  </a:cubicBezTo>
                  <a:cubicBezTo>
                    <a:pt x="69" y="130"/>
                    <a:pt x="68" y="131"/>
                    <a:pt x="67" y="130"/>
                  </a:cubicBezTo>
                  <a:cubicBezTo>
                    <a:pt x="63" y="130"/>
                    <a:pt x="60" y="125"/>
                    <a:pt x="61" y="120"/>
                  </a:cubicBezTo>
                  <a:cubicBezTo>
                    <a:pt x="61" y="117"/>
                    <a:pt x="65" y="114"/>
                    <a:pt x="70" y="114"/>
                  </a:cubicBezTo>
                  <a:cubicBezTo>
                    <a:pt x="72" y="114"/>
                    <a:pt x="74" y="115"/>
                    <a:pt x="77" y="116"/>
                  </a:cubicBezTo>
                  <a:cubicBezTo>
                    <a:pt x="77" y="116"/>
                    <a:pt x="78" y="117"/>
                    <a:pt x="78" y="118"/>
                  </a:cubicBezTo>
                  <a:cubicBezTo>
                    <a:pt x="77" y="118"/>
                    <a:pt x="76" y="119"/>
                    <a:pt x="76" y="119"/>
                  </a:cubicBezTo>
                  <a:close/>
                  <a:moveTo>
                    <a:pt x="85" y="122"/>
                  </a:moveTo>
                  <a:cubicBezTo>
                    <a:pt x="84" y="121"/>
                    <a:pt x="83" y="120"/>
                    <a:pt x="81" y="119"/>
                  </a:cubicBezTo>
                  <a:cubicBezTo>
                    <a:pt x="82" y="119"/>
                    <a:pt x="83" y="118"/>
                    <a:pt x="83" y="118"/>
                  </a:cubicBezTo>
                  <a:cubicBezTo>
                    <a:pt x="85" y="119"/>
                    <a:pt x="87" y="120"/>
                    <a:pt x="88" y="120"/>
                  </a:cubicBezTo>
                  <a:cubicBezTo>
                    <a:pt x="87" y="121"/>
                    <a:pt x="87" y="121"/>
                    <a:pt x="85" y="122"/>
                  </a:cubicBezTo>
                  <a:close/>
                  <a:moveTo>
                    <a:pt x="93" y="124"/>
                  </a:moveTo>
                  <a:cubicBezTo>
                    <a:pt x="91" y="123"/>
                    <a:pt x="90" y="123"/>
                    <a:pt x="89" y="122"/>
                  </a:cubicBezTo>
                  <a:cubicBezTo>
                    <a:pt x="90" y="121"/>
                    <a:pt x="90" y="120"/>
                    <a:pt x="91" y="120"/>
                  </a:cubicBezTo>
                  <a:cubicBezTo>
                    <a:pt x="92" y="121"/>
                    <a:pt x="93" y="122"/>
                    <a:pt x="94" y="122"/>
                  </a:cubicBezTo>
                  <a:cubicBezTo>
                    <a:pt x="94" y="123"/>
                    <a:pt x="93" y="123"/>
                    <a:pt x="93" y="124"/>
                  </a:cubicBezTo>
                  <a:close/>
                  <a:moveTo>
                    <a:pt x="98" y="130"/>
                  </a:moveTo>
                  <a:cubicBezTo>
                    <a:pt x="98" y="130"/>
                    <a:pt x="97" y="129"/>
                    <a:pt x="96" y="129"/>
                  </a:cubicBezTo>
                  <a:cubicBezTo>
                    <a:pt x="97" y="128"/>
                    <a:pt x="97" y="127"/>
                    <a:pt x="98" y="127"/>
                  </a:cubicBezTo>
                  <a:cubicBezTo>
                    <a:pt x="102" y="127"/>
                    <a:pt x="101" y="124"/>
                    <a:pt x="101" y="121"/>
                  </a:cubicBezTo>
                  <a:cubicBezTo>
                    <a:pt x="100" y="111"/>
                    <a:pt x="92" y="103"/>
                    <a:pt x="81" y="101"/>
                  </a:cubicBezTo>
                  <a:cubicBezTo>
                    <a:pt x="79" y="101"/>
                    <a:pt x="77" y="101"/>
                    <a:pt x="75" y="100"/>
                  </a:cubicBezTo>
                  <a:cubicBezTo>
                    <a:pt x="71" y="99"/>
                    <a:pt x="69" y="96"/>
                    <a:pt x="69" y="92"/>
                  </a:cubicBezTo>
                  <a:cubicBezTo>
                    <a:pt x="69" y="88"/>
                    <a:pt x="69" y="84"/>
                    <a:pt x="69" y="81"/>
                  </a:cubicBezTo>
                  <a:cubicBezTo>
                    <a:pt x="68" y="74"/>
                    <a:pt x="64" y="70"/>
                    <a:pt x="57" y="68"/>
                  </a:cubicBezTo>
                  <a:cubicBezTo>
                    <a:pt x="56" y="67"/>
                    <a:pt x="55" y="67"/>
                    <a:pt x="55" y="67"/>
                  </a:cubicBezTo>
                  <a:cubicBezTo>
                    <a:pt x="54" y="67"/>
                    <a:pt x="53" y="66"/>
                    <a:pt x="53" y="65"/>
                  </a:cubicBezTo>
                  <a:cubicBezTo>
                    <a:pt x="54" y="65"/>
                    <a:pt x="54" y="64"/>
                    <a:pt x="55" y="64"/>
                  </a:cubicBezTo>
                  <a:cubicBezTo>
                    <a:pt x="64" y="65"/>
                    <a:pt x="71" y="70"/>
                    <a:pt x="72" y="79"/>
                  </a:cubicBezTo>
                  <a:cubicBezTo>
                    <a:pt x="73" y="83"/>
                    <a:pt x="73" y="87"/>
                    <a:pt x="73" y="91"/>
                  </a:cubicBezTo>
                  <a:cubicBezTo>
                    <a:pt x="74" y="95"/>
                    <a:pt x="75" y="96"/>
                    <a:pt x="78" y="97"/>
                  </a:cubicBezTo>
                  <a:cubicBezTo>
                    <a:pt x="82" y="98"/>
                    <a:pt x="86" y="99"/>
                    <a:pt x="89" y="100"/>
                  </a:cubicBezTo>
                  <a:cubicBezTo>
                    <a:pt x="98" y="103"/>
                    <a:pt x="105" y="114"/>
                    <a:pt x="105" y="123"/>
                  </a:cubicBezTo>
                  <a:cubicBezTo>
                    <a:pt x="105" y="127"/>
                    <a:pt x="102" y="130"/>
                    <a:pt x="98" y="130"/>
                  </a:cubicBezTo>
                  <a:close/>
                  <a:moveTo>
                    <a:pt x="110" y="117"/>
                  </a:moveTo>
                  <a:cubicBezTo>
                    <a:pt x="109" y="116"/>
                    <a:pt x="109" y="115"/>
                    <a:pt x="109" y="115"/>
                  </a:cubicBezTo>
                  <a:cubicBezTo>
                    <a:pt x="110" y="114"/>
                    <a:pt x="111" y="113"/>
                    <a:pt x="112" y="112"/>
                  </a:cubicBezTo>
                  <a:cubicBezTo>
                    <a:pt x="112" y="112"/>
                    <a:pt x="113" y="114"/>
                    <a:pt x="113" y="114"/>
                  </a:cubicBezTo>
                  <a:cubicBezTo>
                    <a:pt x="112" y="115"/>
                    <a:pt x="111" y="116"/>
                    <a:pt x="110" y="117"/>
                  </a:cubicBezTo>
                  <a:close/>
                  <a:moveTo>
                    <a:pt x="110" y="85"/>
                  </a:moveTo>
                  <a:cubicBezTo>
                    <a:pt x="103" y="85"/>
                    <a:pt x="100" y="82"/>
                    <a:pt x="97" y="79"/>
                  </a:cubicBezTo>
                  <a:cubicBezTo>
                    <a:pt x="96" y="76"/>
                    <a:pt x="94" y="74"/>
                    <a:pt x="92" y="71"/>
                  </a:cubicBezTo>
                  <a:cubicBezTo>
                    <a:pt x="92" y="71"/>
                    <a:pt x="92" y="70"/>
                    <a:pt x="92" y="69"/>
                  </a:cubicBezTo>
                  <a:cubicBezTo>
                    <a:pt x="93" y="69"/>
                    <a:pt x="94" y="69"/>
                    <a:pt x="94" y="69"/>
                  </a:cubicBezTo>
                  <a:cubicBezTo>
                    <a:pt x="95" y="69"/>
                    <a:pt x="96" y="70"/>
                    <a:pt x="97" y="71"/>
                  </a:cubicBezTo>
                  <a:cubicBezTo>
                    <a:pt x="97" y="72"/>
                    <a:pt x="98" y="74"/>
                    <a:pt x="99" y="75"/>
                  </a:cubicBezTo>
                  <a:cubicBezTo>
                    <a:pt x="101" y="79"/>
                    <a:pt x="103" y="82"/>
                    <a:pt x="108" y="82"/>
                  </a:cubicBezTo>
                  <a:cubicBezTo>
                    <a:pt x="113" y="81"/>
                    <a:pt x="118" y="79"/>
                    <a:pt x="121" y="74"/>
                  </a:cubicBezTo>
                  <a:cubicBezTo>
                    <a:pt x="121" y="73"/>
                    <a:pt x="121" y="73"/>
                    <a:pt x="122" y="72"/>
                  </a:cubicBezTo>
                  <a:cubicBezTo>
                    <a:pt x="122" y="72"/>
                    <a:pt x="123" y="72"/>
                    <a:pt x="124" y="71"/>
                  </a:cubicBezTo>
                  <a:cubicBezTo>
                    <a:pt x="124" y="72"/>
                    <a:pt x="125" y="73"/>
                    <a:pt x="124" y="74"/>
                  </a:cubicBezTo>
                  <a:cubicBezTo>
                    <a:pt x="123" y="76"/>
                    <a:pt x="122" y="79"/>
                    <a:pt x="120" y="81"/>
                  </a:cubicBezTo>
                  <a:cubicBezTo>
                    <a:pt x="116" y="84"/>
                    <a:pt x="112" y="85"/>
                    <a:pt x="110" y="85"/>
                  </a:cubicBezTo>
                  <a:close/>
                  <a:moveTo>
                    <a:pt x="121" y="96"/>
                  </a:moveTo>
                  <a:cubicBezTo>
                    <a:pt x="121" y="97"/>
                    <a:pt x="121" y="97"/>
                    <a:pt x="121" y="98"/>
                  </a:cubicBezTo>
                  <a:cubicBezTo>
                    <a:pt x="120" y="98"/>
                    <a:pt x="119" y="98"/>
                    <a:pt x="118" y="97"/>
                  </a:cubicBezTo>
                  <a:cubicBezTo>
                    <a:pt x="117" y="95"/>
                    <a:pt x="116" y="92"/>
                    <a:pt x="116" y="89"/>
                  </a:cubicBezTo>
                  <a:cubicBezTo>
                    <a:pt x="115" y="88"/>
                    <a:pt x="117" y="86"/>
                    <a:pt x="117" y="85"/>
                  </a:cubicBezTo>
                  <a:cubicBezTo>
                    <a:pt x="118" y="86"/>
                    <a:pt x="119" y="87"/>
                    <a:pt x="119" y="88"/>
                  </a:cubicBezTo>
                  <a:cubicBezTo>
                    <a:pt x="119" y="89"/>
                    <a:pt x="118" y="89"/>
                    <a:pt x="118" y="89"/>
                  </a:cubicBezTo>
                  <a:cubicBezTo>
                    <a:pt x="119" y="91"/>
                    <a:pt x="120" y="93"/>
                    <a:pt x="121" y="96"/>
                  </a:cubicBezTo>
                  <a:close/>
                  <a:moveTo>
                    <a:pt x="116" y="111"/>
                  </a:moveTo>
                  <a:cubicBezTo>
                    <a:pt x="116" y="111"/>
                    <a:pt x="115" y="110"/>
                    <a:pt x="115" y="110"/>
                  </a:cubicBezTo>
                  <a:cubicBezTo>
                    <a:pt x="116" y="108"/>
                    <a:pt x="118" y="107"/>
                    <a:pt x="120" y="105"/>
                  </a:cubicBezTo>
                  <a:cubicBezTo>
                    <a:pt x="120" y="105"/>
                    <a:pt x="121" y="106"/>
                    <a:pt x="122" y="107"/>
                  </a:cubicBezTo>
                  <a:cubicBezTo>
                    <a:pt x="120" y="109"/>
                    <a:pt x="118" y="110"/>
                    <a:pt x="116" y="111"/>
                  </a:cubicBezTo>
                  <a:close/>
                  <a:moveTo>
                    <a:pt x="163" y="95"/>
                  </a:moveTo>
                  <a:cubicBezTo>
                    <a:pt x="160" y="100"/>
                    <a:pt x="157" y="105"/>
                    <a:pt x="152" y="109"/>
                  </a:cubicBezTo>
                  <a:cubicBezTo>
                    <a:pt x="149" y="111"/>
                    <a:pt x="146" y="113"/>
                    <a:pt x="143" y="115"/>
                  </a:cubicBezTo>
                  <a:cubicBezTo>
                    <a:pt x="137" y="118"/>
                    <a:pt x="135" y="124"/>
                    <a:pt x="136" y="131"/>
                  </a:cubicBezTo>
                  <a:cubicBezTo>
                    <a:pt x="136" y="133"/>
                    <a:pt x="138" y="135"/>
                    <a:pt x="135" y="135"/>
                  </a:cubicBezTo>
                  <a:cubicBezTo>
                    <a:pt x="135" y="135"/>
                    <a:pt x="133" y="133"/>
                    <a:pt x="133" y="131"/>
                  </a:cubicBezTo>
                  <a:cubicBezTo>
                    <a:pt x="133" y="129"/>
                    <a:pt x="133" y="127"/>
                    <a:pt x="133" y="124"/>
                  </a:cubicBezTo>
                  <a:cubicBezTo>
                    <a:pt x="130" y="125"/>
                    <a:pt x="128" y="126"/>
                    <a:pt x="126" y="126"/>
                  </a:cubicBezTo>
                  <a:cubicBezTo>
                    <a:pt x="125" y="127"/>
                    <a:pt x="124" y="126"/>
                    <a:pt x="122" y="126"/>
                  </a:cubicBezTo>
                  <a:cubicBezTo>
                    <a:pt x="123" y="125"/>
                    <a:pt x="124" y="124"/>
                    <a:pt x="125" y="124"/>
                  </a:cubicBezTo>
                  <a:cubicBezTo>
                    <a:pt x="131" y="122"/>
                    <a:pt x="135" y="118"/>
                    <a:pt x="139" y="114"/>
                  </a:cubicBezTo>
                  <a:cubicBezTo>
                    <a:pt x="142" y="111"/>
                    <a:pt x="146" y="109"/>
                    <a:pt x="149" y="107"/>
                  </a:cubicBezTo>
                  <a:cubicBezTo>
                    <a:pt x="153" y="103"/>
                    <a:pt x="156" y="99"/>
                    <a:pt x="159" y="94"/>
                  </a:cubicBezTo>
                  <a:cubicBezTo>
                    <a:pt x="162" y="89"/>
                    <a:pt x="159" y="85"/>
                    <a:pt x="153" y="85"/>
                  </a:cubicBezTo>
                  <a:cubicBezTo>
                    <a:pt x="147" y="85"/>
                    <a:pt x="141" y="87"/>
                    <a:pt x="137" y="92"/>
                  </a:cubicBezTo>
                  <a:cubicBezTo>
                    <a:pt x="134" y="95"/>
                    <a:pt x="131" y="99"/>
                    <a:pt x="127" y="102"/>
                  </a:cubicBezTo>
                  <a:cubicBezTo>
                    <a:pt x="127" y="103"/>
                    <a:pt x="125" y="103"/>
                    <a:pt x="124" y="103"/>
                  </a:cubicBezTo>
                  <a:cubicBezTo>
                    <a:pt x="124" y="102"/>
                    <a:pt x="124" y="101"/>
                    <a:pt x="125" y="100"/>
                  </a:cubicBezTo>
                  <a:cubicBezTo>
                    <a:pt x="126" y="98"/>
                    <a:pt x="128" y="96"/>
                    <a:pt x="130" y="95"/>
                  </a:cubicBezTo>
                  <a:cubicBezTo>
                    <a:pt x="134" y="90"/>
                    <a:pt x="138" y="86"/>
                    <a:pt x="143" y="84"/>
                  </a:cubicBezTo>
                  <a:cubicBezTo>
                    <a:pt x="142" y="78"/>
                    <a:pt x="142" y="74"/>
                    <a:pt x="141" y="69"/>
                  </a:cubicBezTo>
                  <a:cubicBezTo>
                    <a:pt x="141" y="67"/>
                    <a:pt x="140" y="65"/>
                    <a:pt x="138" y="63"/>
                  </a:cubicBezTo>
                  <a:cubicBezTo>
                    <a:pt x="135" y="60"/>
                    <a:pt x="133" y="57"/>
                    <a:pt x="134" y="52"/>
                  </a:cubicBezTo>
                  <a:cubicBezTo>
                    <a:pt x="133" y="52"/>
                    <a:pt x="132" y="53"/>
                    <a:pt x="131" y="53"/>
                  </a:cubicBezTo>
                  <a:cubicBezTo>
                    <a:pt x="125" y="53"/>
                    <a:pt x="121" y="52"/>
                    <a:pt x="118" y="47"/>
                  </a:cubicBezTo>
                  <a:cubicBezTo>
                    <a:pt x="116" y="44"/>
                    <a:pt x="113" y="41"/>
                    <a:pt x="111" y="38"/>
                  </a:cubicBezTo>
                  <a:cubicBezTo>
                    <a:pt x="111" y="37"/>
                    <a:pt x="111" y="36"/>
                    <a:pt x="111" y="35"/>
                  </a:cubicBezTo>
                  <a:cubicBezTo>
                    <a:pt x="112" y="35"/>
                    <a:pt x="113" y="35"/>
                    <a:pt x="114" y="36"/>
                  </a:cubicBezTo>
                  <a:cubicBezTo>
                    <a:pt x="115" y="37"/>
                    <a:pt x="117" y="39"/>
                    <a:pt x="118" y="42"/>
                  </a:cubicBezTo>
                  <a:cubicBezTo>
                    <a:pt x="124" y="50"/>
                    <a:pt x="128" y="51"/>
                    <a:pt x="137" y="48"/>
                  </a:cubicBezTo>
                  <a:cubicBezTo>
                    <a:pt x="138" y="48"/>
                    <a:pt x="138" y="47"/>
                    <a:pt x="139" y="47"/>
                  </a:cubicBezTo>
                  <a:cubicBezTo>
                    <a:pt x="140" y="47"/>
                    <a:pt x="140" y="48"/>
                    <a:pt x="141" y="48"/>
                  </a:cubicBezTo>
                  <a:cubicBezTo>
                    <a:pt x="141" y="49"/>
                    <a:pt x="141" y="50"/>
                    <a:pt x="140" y="51"/>
                  </a:cubicBezTo>
                  <a:cubicBezTo>
                    <a:pt x="136" y="53"/>
                    <a:pt x="136" y="57"/>
                    <a:pt x="140" y="60"/>
                  </a:cubicBezTo>
                  <a:cubicBezTo>
                    <a:pt x="144" y="63"/>
                    <a:pt x="145" y="67"/>
                    <a:pt x="145" y="72"/>
                  </a:cubicBezTo>
                  <a:cubicBezTo>
                    <a:pt x="145" y="73"/>
                    <a:pt x="145" y="75"/>
                    <a:pt x="145" y="76"/>
                  </a:cubicBezTo>
                  <a:cubicBezTo>
                    <a:pt x="146" y="81"/>
                    <a:pt x="147" y="82"/>
                    <a:pt x="152" y="82"/>
                  </a:cubicBezTo>
                  <a:cubicBezTo>
                    <a:pt x="153" y="82"/>
                    <a:pt x="154" y="82"/>
                    <a:pt x="154" y="82"/>
                  </a:cubicBezTo>
                  <a:cubicBezTo>
                    <a:pt x="162" y="82"/>
                    <a:pt x="165" y="87"/>
                    <a:pt x="163" y="95"/>
                  </a:cubicBezTo>
                  <a:close/>
                  <a:moveTo>
                    <a:pt x="166" y="34"/>
                  </a:moveTo>
                  <a:cubicBezTo>
                    <a:pt x="165" y="33"/>
                    <a:pt x="164" y="33"/>
                    <a:pt x="164" y="32"/>
                  </a:cubicBezTo>
                  <a:cubicBezTo>
                    <a:pt x="165" y="31"/>
                    <a:pt x="166" y="30"/>
                    <a:pt x="168" y="29"/>
                  </a:cubicBezTo>
                  <a:cubicBezTo>
                    <a:pt x="168" y="29"/>
                    <a:pt x="169" y="30"/>
                    <a:pt x="169" y="31"/>
                  </a:cubicBezTo>
                  <a:cubicBezTo>
                    <a:pt x="168" y="32"/>
                    <a:pt x="167" y="33"/>
                    <a:pt x="166" y="34"/>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 name="Freeform 296">
              <a:extLst>
                <a:ext uri="{FF2B5EF4-FFF2-40B4-BE49-F238E27FC236}">
                  <a16:creationId xmlns:a16="http://schemas.microsoft.com/office/drawing/2014/main" id="{35E7B3E4-4779-3649-812E-203C1B3C49DA}"/>
                </a:ext>
              </a:extLst>
            </p:cNvPr>
            <p:cNvSpPr>
              <a:spLocks/>
            </p:cNvSpPr>
            <p:nvPr/>
          </p:nvSpPr>
          <p:spPr bwMode="auto">
            <a:xfrm>
              <a:off x="3503809" y="6392069"/>
              <a:ext cx="11113" cy="20638"/>
            </a:xfrm>
            <a:custGeom>
              <a:avLst/>
              <a:gdLst>
                <a:gd name="T0" fmla="*/ 5 w 5"/>
                <a:gd name="T1" fmla="*/ 8 h 10"/>
                <a:gd name="T2" fmla="*/ 3 w 5"/>
                <a:gd name="T3" fmla="*/ 10 h 10"/>
                <a:gd name="T4" fmla="*/ 2 w 5"/>
                <a:gd name="T5" fmla="*/ 8 h 10"/>
                <a:gd name="T6" fmla="*/ 1 w 5"/>
                <a:gd name="T7" fmla="*/ 3 h 10"/>
                <a:gd name="T8" fmla="*/ 1 w 5"/>
                <a:gd name="T9" fmla="*/ 0 h 10"/>
                <a:gd name="T10" fmla="*/ 4 w 5"/>
                <a:gd name="T11" fmla="*/ 2 h 10"/>
                <a:gd name="T12" fmla="*/ 5 w 5"/>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5" y="8"/>
                  </a:moveTo>
                  <a:cubicBezTo>
                    <a:pt x="5" y="8"/>
                    <a:pt x="4" y="9"/>
                    <a:pt x="3" y="10"/>
                  </a:cubicBezTo>
                  <a:cubicBezTo>
                    <a:pt x="3" y="9"/>
                    <a:pt x="2" y="8"/>
                    <a:pt x="2" y="8"/>
                  </a:cubicBezTo>
                  <a:cubicBezTo>
                    <a:pt x="1" y="6"/>
                    <a:pt x="1" y="5"/>
                    <a:pt x="1" y="3"/>
                  </a:cubicBezTo>
                  <a:cubicBezTo>
                    <a:pt x="0" y="2"/>
                    <a:pt x="1" y="1"/>
                    <a:pt x="1" y="0"/>
                  </a:cubicBezTo>
                  <a:cubicBezTo>
                    <a:pt x="2" y="1"/>
                    <a:pt x="3" y="1"/>
                    <a:pt x="4" y="2"/>
                  </a:cubicBezTo>
                  <a:cubicBezTo>
                    <a:pt x="4" y="3"/>
                    <a:pt x="5" y="5"/>
                    <a:pt x="5" y="8"/>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3" name="Freeform 297">
              <a:extLst>
                <a:ext uri="{FF2B5EF4-FFF2-40B4-BE49-F238E27FC236}">
                  <a16:creationId xmlns:a16="http://schemas.microsoft.com/office/drawing/2014/main" id="{6F26B3DD-A4C4-B16B-96E4-3CD8110B7537}"/>
                </a:ext>
              </a:extLst>
            </p:cNvPr>
            <p:cNvSpPr>
              <a:spLocks/>
            </p:cNvSpPr>
            <p:nvPr/>
          </p:nvSpPr>
          <p:spPr bwMode="auto">
            <a:xfrm>
              <a:off x="3503809" y="6422231"/>
              <a:ext cx="7938" cy="17463"/>
            </a:xfrm>
            <a:custGeom>
              <a:avLst/>
              <a:gdLst>
                <a:gd name="T0" fmla="*/ 0 w 4"/>
                <a:gd name="T1" fmla="*/ 5 h 9"/>
                <a:gd name="T2" fmla="*/ 0 w 4"/>
                <a:gd name="T3" fmla="*/ 4 h 9"/>
                <a:gd name="T4" fmla="*/ 2 w 4"/>
                <a:gd name="T5" fmla="*/ 0 h 9"/>
                <a:gd name="T6" fmla="*/ 3 w 4"/>
                <a:gd name="T7" fmla="*/ 4 h 9"/>
                <a:gd name="T8" fmla="*/ 3 w 4"/>
                <a:gd name="T9" fmla="*/ 6 h 9"/>
                <a:gd name="T10" fmla="*/ 2 w 4"/>
                <a:gd name="T11" fmla="*/ 9 h 9"/>
                <a:gd name="T12" fmla="*/ 0 w 4"/>
                <a:gd name="T13" fmla="*/ 6 h 9"/>
                <a:gd name="T14" fmla="*/ 0 w 4"/>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5"/>
                  </a:moveTo>
                  <a:cubicBezTo>
                    <a:pt x="0" y="5"/>
                    <a:pt x="0" y="4"/>
                    <a:pt x="0" y="4"/>
                  </a:cubicBezTo>
                  <a:cubicBezTo>
                    <a:pt x="0" y="2"/>
                    <a:pt x="0" y="0"/>
                    <a:pt x="2" y="0"/>
                  </a:cubicBezTo>
                  <a:cubicBezTo>
                    <a:pt x="3" y="0"/>
                    <a:pt x="3" y="3"/>
                    <a:pt x="3" y="4"/>
                  </a:cubicBezTo>
                  <a:cubicBezTo>
                    <a:pt x="4" y="5"/>
                    <a:pt x="4" y="6"/>
                    <a:pt x="3" y="6"/>
                  </a:cubicBezTo>
                  <a:cubicBezTo>
                    <a:pt x="3" y="7"/>
                    <a:pt x="2" y="8"/>
                    <a:pt x="2" y="9"/>
                  </a:cubicBezTo>
                  <a:cubicBezTo>
                    <a:pt x="1" y="8"/>
                    <a:pt x="0" y="7"/>
                    <a:pt x="0" y="6"/>
                  </a:cubicBezTo>
                  <a:cubicBezTo>
                    <a:pt x="0" y="6"/>
                    <a:pt x="0" y="5"/>
                    <a:pt x="0" y="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4" name="Freeform 299">
              <a:extLst>
                <a:ext uri="{FF2B5EF4-FFF2-40B4-BE49-F238E27FC236}">
                  <a16:creationId xmlns:a16="http://schemas.microsoft.com/office/drawing/2014/main" id="{D50508F9-E1A1-F882-6073-A7F183E08701}"/>
                </a:ext>
              </a:extLst>
            </p:cNvPr>
            <p:cNvSpPr>
              <a:spLocks/>
            </p:cNvSpPr>
            <p:nvPr/>
          </p:nvSpPr>
          <p:spPr bwMode="auto">
            <a:xfrm>
              <a:off x="3494284" y="6377781"/>
              <a:ext cx="9525" cy="12700"/>
            </a:xfrm>
            <a:custGeom>
              <a:avLst/>
              <a:gdLst>
                <a:gd name="T0" fmla="*/ 3 w 5"/>
                <a:gd name="T1" fmla="*/ 6 h 6"/>
                <a:gd name="T2" fmla="*/ 0 w 5"/>
                <a:gd name="T3" fmla="*/ 1 h 6"/>
                <a:gd name="T4" fmla="*/ 1 w 5"/>
                <a:gd name="T5" fmla="*/ 0 h 6"/>
                <a:gd name="T6" fmla="*/ 4 w 5"/>
                <a:gd name="T7" fmla="*/ 3 h 6"/>
                <a:gd name="T8" fmla="*/ 3 w 5"/>
                <a:gd name="T9" fmla="*/ 6 h 6"/>
              </a:gdLst>
              <a:ahLst/>
              <a:cxnLst>
                <a:cxn ang="0">
                  <a:pos x="T0" y="T1"/>
                </a:cxn>
                <a:cxn ang="0">
                  <a:pos x="T2" y="T3"/>
                </a:cxn>
                <a:cxn ang="0">
                  <a:pos x="T4" y="T5"/>
                </a:cxn>
                <a:cxn ang="0">
                  <a:pos x="T6" y="T7"/>
                </a:cxn>
                <a:cxn ang="0">
                  <a:pos x="T8" y="T9"/>
                </a:cxn>
              </a:cxnLst>
              <a:rect l="0" t="0" r="r" b="b"/>
              <a:pathLst>
                <a:path w="5" h="6">
                  <a:moveTo>
                    <a:pt x="3" y="6"/>
                  </a:moveTo>
                  <a:cubicBezTo>
                    <a:pt x="2" y="4"/>
                    <a:pt x="1" y="3"/>
                    <a:pt x="0" y="1"/>
                  </a:cubicBezTo>
                  <a:cubicBezTo>
                    <a:pt x="0" y="1"/>
                    <a:pt x="1" y="0"/>
                    <a:pt x="1" y="0"/>
                  </a:cubicBezTo>
                  <a:cubicBezTo>
                    <a:pt x="3" y="1"/>
                    <a:pt x="4" y="2"/>
                    <a:pt x="4" y="3"/>
                  </a:cubicBezTo>
                  <a:cubicBezTo>
                    <a:pt x="5" y="3"/>
                    <a:pt x="4" y="4"/>
                    <a:pt x="3" y="6"/>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5" name="Freeform 300">
              <a:extLst>
                <a:ext uri="{FF2B5EF4-FFF2-40B4-BE49-F238E27FC236}">
                  <a16:creationId xmlns:a16="http://schemas.microsoft.com/office/drawing/2014/main" id="{1025DC37-ECCB-C3AE-1607-4D142E9836A8}"/>
                </a:ext>
              </a:extLst>
            </p:cNvPr>
            <p:cNvSpPr>
              <a:spLocks/>
            </p:cNvSpPr>
            <p:nvPr/>
          </p:nvSpPr>
          <p:spPr bwMode="auto">
            <a:xfrm>
              <a:off x="3735584" y="6266656"/>
              <a:ext cx="106363" cy="198438"/>
            </a:xfrm>
            <a:custGeom>
              <a:avLst/>
              <a:gdLst>
                <a:gd name="T0" fmla="*/ 32 w 54"/>
                <a:gd name="T1" fmla="*/ 49 h 100"/>
                <a:gd name="T2" fmla="*/ 30 w 54"/>
                <a:gd name="T3" fmla="*/ 34 h 100"/>
                <a:gd name="T4" fmla="*/ 27 w 54"/>
                <a:gd name="T5" fmla="*/ 28 h 100"/>
                <a:gd name="T6" fmla="*/ 23 w 54"/>
                <a:gd name="T7" fmla="*/ 17 h 100"/>
                <a:gd name="T8" fmla="*/ 20 w 54"/>
                <a:gd name="T9" fmla="*/ 18 h 100"/>
                <a:gd name="T10" fmla="*/ 7 w 54"/>
                <a:gd name="T11" fmla="*/ 12 h 100"/>
                <a:gd name="T12" fmla="*/ 0 w 54"/>
                <a:gd name="T13" fmla="*/ 3 h 100"/>
                <a:gd name="T14" fmla="*/ 0 w 54"/>
                <a:gd name="T15" fmla="*/ 0 h 100"/>
                <a:gd name="T16" fmla="*/ 3 w 54"/>
                <a:gd name="T17" fmla="*/ 1 h 100"/>
                <a:gd name="T18" fmla="*/ 7 w 54"/>
                <a:gd name="T19" fmla="*/ 7 h 100"/>
                <a:gd name="T20" fmla="*/ 26 w 54"/>
                <a:gd name="T21" fmla="*/ 13 h 100"/>
                <a:gd name="T22" fmla="*/ 28 w 54"/>
                <a:gd name="T23" fmla="*/ 12 h 100"/>
                <a:gd name="T24" fmla="*/ 30 w 54"/>
                <a:gd name="T25" fmla="*/ 13 h 100"/>
                <a:gd name="T26" fmla="*/ 29 w 54"/>
                <a:gd name="T27" fmla="*/ 16 h 100"/>
                <a:gd name="T28" fmla="*/ 29 w 54"/>
                <a:gd name="T29" fmla="*/ 25 h 100"/>
                <a:gd name="T30" fmla="*/ 34 w 54"/>
                <a:gd name="T31" fmla="*/ 37 h 100"/>
                <a:gd name="T32" fmla="*/ 34 w 54"/>
                <a:gd name="T33" fmla="*/ 41 h 100"/>
                <a:gd name="T34" fmla="*/ 41 w 54"/>
                <a:gd name="T35" fmla="*/ 47 h 100"/>
                <a:gd name="T36" fmla="*/ 43 w 54"/>
                <a:gd name="T37" fmla="*/ 47 h 100"/>
                <a:gd name="T38" fmla="*/ 52 w 54"/>
                <a:gd name="T39" fmla="*/ 60 h 100"/>
                <a:gd name="T40" fmla="*/ 41 w 54"/>
                <a:gd name="T41" fmla="*/ 74 h 100"/>
                <a:gd name="T42" fmla="*/ 32 w 54"/>
                <a:gd name="T43" fmla="*/ 80 h 100"/>
                <a:gd name="T44" fmla="*/ 25 w 54"/>
                <a:gd name="T45" fmla="*/ 96 h 100"/>
                <a:gd name="T46" fmla="*/ 24 w 54"/>
                <a:gd name="T47" fmla="*/ 100 h 100"/>
                <a:gd name="T48" fmla="*/ 22 w 54"/>
                <a:gd name="T49" fmla="*/ 96 h 100"/>
                <a:gd name="T50" fmla="*/ 22 w 54"/>
                <a:gd name="T51" fmla="*/ 89 h 100"/>
                <a:gd name="T52" fmla="*/ 15 w 54"/>
                <a:gd name="T53" fmla="*/ 91 h 100"/>
                <a:gd name="T54" fmla="*/ 11 w 54"/>
                <a:gd name="T55" fmla="*/ 91 h 100"/>
                <a:gd name="T56" fmla="*/ 14 w 54"/>
                <a:gd name="T57" fmla="*/ 89 h 100"/>
                <a:gd name="T58" fmla="*/ 28 w 54"/>
                <a:gd name="T59" fmla="*/ 79 h 100"/>
                <a:gd name="T60" fmla="*/ 38 w 54"/>
                <a:gd name="T61" fmla="*/ 72 h 100"/>
                <a:gd name="T62" fmla="*/ 48 w 54"/>
                <a:gd name="T63" fmla="*/ 59 h 100"/>
                <a:gd name="T64" fmla="*/ 42 w 54"/>
                <a:gd name="T65" fmla="*/ 50 h 100"/>
                <a:gd name="T66" fmla="*/ 26 w 54"/>
                <a:gd name="T67" fmla="*/ 57 h 100"/>
                <a:gd name="T68" fmla="*/ 16 w 54"/>
                <a:gd name="T69" fmla="*/ 67 h 100"/>
                <a:gd name="T70" fmla="*/ 13 w 54"/>
                <a:gd name="T71" fmla="*/ 68 h 100"/>
                <a:gd name="T72" fmla="*/ 14 w 54"/>
                <a:gd name="T73" fmla="*/ 65 h 100"/>
                <a:gd name="T74" fmla="*/ 19 w 54"/>
                <a:gd name="T75" fmla="*/ 60 h 100"/>
                <a:gd name="T76" fmla="*/ 32 w 54"/>
                <a:gd name="T77" fmla="*/ 4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100">
                  <a:moveTo>
                    <a:pt x="32" y="49"/>
                  </a:moveTo>
                  <a:cubicBezTo>
                    <a:pt x="31" y="43"/>
                    <a:pt x="31" y="39"/>
                    <a:pt x="30" y="34"/>
                  </a:cubicBezTo>
                  <a:cubicBezTo>
                    <a:pt x="30" y="32"/>
                    <a:pt x="29" y="30"/>
                    <a:pt x="27" y="28"/>
                  </a:cubicBezTo>
                  <a:cubicBezTo>
                    <a:pt x="24" y="25"/>
                    <a:pt x="22" y="22"/>
                    <a:pt x="23" y="17"/>
                  </a:cubicBezTo>
                  <a:cubicBezTo>
                    <a:pt x="22" y="17"/>
                    <a:pt x="21" y="18"/>
                    <a:pt x="20" y="18"/>
                  </a:cubicBezTo>
                  <a:cubicBezTo>
                    <a:pt x="14" y="18"/>
                    <a:pt x="10" y="17"/>
                    <a:pt x="7" y="12"/>
                  </a:cubicBezTo>
                  <a:cubicBezTo>
                    <a:pt x="5" y="9"/>
                    <a:pt x="2" y="6"/>
                    <a:pt x="0" y="3"/>
                  </a:cubicBezTo>
                  <a:cubicBezTo>
                    <a:pt x="0" y="2"/>
                    <a:pt x="0" y="1"/>
                    <a:pt x="0" y="0"/>
                  </a:cubicBezTo>
                  <a:cubicBezTo>
                    <a:pt x="1" y="0"/>
                    <a:pt x="2" y="0"/>
                    <a:pt x="3" y="1"/>
                  </a:cubicBezTo>
                  <a:cubicBezTo>
                    <a:pt x="4" y="2"/>
                    <a:pt x="6" y="4"/>
                    <a:pt x="7" y="7"/>
                  </a:cubicBezTo>
                  <a:cubicBezTo>
                    <a:pt x="13" y="15"/>
                    <a:pt x="17" y="16"/>
                    <a:pt x="26" y="13"/>
                  </a:cubicBezTo>
                  <a:cubicBezTo>
                    <a:pt x="27" y="13"/>
                    <a:pt x="27" y="12"/>
                    <a:pt x="28" y="12"/>
                  </a:cubicBezTo>
                  <a:cubicBezTo>
                    <a:pt x="29" y="12"/>
                    <a:pt x="29" y="13"/>
                    <a:pt x="30" y="13"/>
                  </a:cubicBezTo>
                  <a:cubicBezTo>
                    <a:pt x="30" y="14"/>
                    <a:pt x="30" y="15"/>
                    <a:pt x="29" y="16"/>
                  </a:cubicBezTo>
                  <a:cubicBezTo>
                    <a:pt x="25" y="18"/>
                    <a:pt x="25" y="22"/>
                    <a:pt x="29" y="25"/>
                  </a:cubicBezTo>
                  <a:cubicBezTo>
                    <a:pt x="33" y="28"/>
                    <a:pt x="34" y="32"/>
                    <a:pt x="34" y="37"/>
                  </a:cubicBezTo>
                  <a:cubicBezTo>
                    <a:pt x="34" y="38"/>
                    <a:pt x="34" y="40"/>
                    <a:pt x="34" y="41"/>
                  </a:cubicBezTo>
                  <a:cubicBezTo>
                    <a:pt x="35" y="46"/>
                    <a:pt x="36" y="47"/>
                    <a:pt x="41" y="47"/>
                  </a:cubicBezTo>
                  <a:cubicBezTo>
                    <a:pt x="42" y="47"/>
                    <a:pt x="43" y="47"/>
                    <a:pt x="43" y="47"/>
                  </a:cubicBezTo>
                  <a:cubicBezTo>
                    <a:pt x="51" y="47"/>
                    <a:pt x="54" y="52"/>
                    <a:pt x="52" y="60"/>
                  </a:cubicBezTo>
                  <a:cubicBezTo>
                    <a:pt x="49" y="65"/>
                    <a:pt x="46" y="70"/>
                    <a:pt x="41" y="74"/>
                  </a:cubicBezTo>
                  <a:cubicBezTo>
                    <a:pt x="38" y="76"/>
                    <a:pt x="35" y="78"/>
                    <a:pt x="32" y="80"/>
                  </a:cubicBezTo>
                  <a:cubicBezTo>
                    <a:pt x="26" y="83"/>
                    <a:pt x="24" y="89"/>
                    <a:pt x="25" y="96"/>
                  </a:cubicBezTo>
                  <a:cubicBezTo>
                    <a:pt x="25" y="98"/>
                    <a:pt x="27" y="100"/>
                    <a:pt x="24" y="100"/>
                  </a:cubicBezTo>
                  <a:cubicBezTo>
                    <a:pt x="24" y="100"/>
                    <a:pt x="22" y="98"/>
                    <a:pt x="22" y="96"/>
                  </a:cubicBezTo>
                  <a:cubicBezTo>
                    <a:pt x="22" y="94"/>
                    <a:pt x="22" y="92"/>
                    <a:pt x="22" y="89"/>
                  </a:cubicBezTo>
                  <a:cubicBezTo>
                    <a:pt x="19" y="90"/>
                    <a:pt x="17" y="91"/>
                    <a:pt x="15" y="91"/>
                  </a:cubicBezTo>
                  <a:cubicBezTo>
                    <a:pt x="14" y="92"/>
                    <a:pt x="13" y="91"/>
                    <a:pt x="11" y="91"/>
                  </a:cubicBezTo>
                  <a:cubicBezTo>
                    <a:pt x="12" y="90"/>
                    <a:pt x="13" y="89"/>
                    <a:pt x="14" y="89"/>
                  </a:cubicBezTo>
                  <a:cubicBezTo>
                    <a:pt x="20" y="87"/>
                    <a:pt x="24" y="83"/>
                    <a:pt x="28" y="79"/>
                  </a:cubicBezTo>
                  <a:cubicBezTo>
                    <a:pt x="31" y="76"/>
                    <a:pt x="35" y="74"/>
                    <a:pt x="38" y="72"/>
                  </a:cubicBezTo>
                  <a:cubicBezTo>
                    <a:pt x="42" y="68"/>
                    <a:pt x="45" y="64"/>
                    <a:pt x="48" y="59"/>
                  </a:cubicBezTo>
                  <a:cubicBezTo>
                    <a:pt x="51" y="54"/>
                    <a:pt x="48" y="50"/>
                    <a:pt x="42" y="50"/>
                  </a:cubicBezTo>
                  <a:cubicBezTo>
                    <a:pt x="36" y="50"/>
                    <a:pt x="30" y="52"/>
                    <a:pt x="26" y="57"/>
                  </a:cubicBezTo>
                  <a:cubicBezTo>
                    <a:pt x="23" y="60"/>
                    <a:pt x="20" y="64"/>
                    <a:pt x="16" y="67"/>
                  </a:cubicBezTo>
                  <a:cubicBezTo>
                    <a:pt x="16" y="68"/>
                    <a:pt x="14" y="68"/>
                    <a:pt x="13" y="68"/>
                  </a:cubicBezTo>
                  <a:cubicBezTo>
                    <a:pt x="13" y="67"/>
                    <a:pt x="13" y="66"/>
                    <a:pt x="14" y="65"/>
                  </a:cubicBezTo>
                  <a:cubicBezTo>
                    <a:pt x="15" y="63"/>
                    <a:pt x="17" y="61"/>
                    <a:pt x="19" y="60"/>
                  </a:cubicBezTo>
                  <a:cubicBezTo>
                    <a:pt x="23" y="55"/>
                    <a:pt x="27" y="51"/>
                    <a:pt x="32" y="49"/>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6" name="Freeform 301">
              <a:extLst>
                <a:ext uri="{FF2B5EF4-FFF2-40B4-BE49-F238E27FC236}">
                  <a16:creationId xmlns:a16="http://schemas.microsoft.com/office/drawing/2014/main" id="{D026B853-A0A2-63B6-E25E-06201D1FAE36}"/>
                </a:ext>
              </a:extLst>
            </p:cNvPr>
            <p:cNvSpPr>
              <a:spLocks/>
            </p:cNvSpPr>
            <p:nvPr/>
          </p:nvSpPr>
          <p:spPr bwMode="auto">
            <a:xfrm>
              <a:off x="3621284" y="6325394"/>
              <a:ext cx="103188" cy="130175"/>
            </a:xfrm>
            <a:custGeom>
              <a:avLst/>
              <a:gdLst>
                <a:gd name="T0" fmla="*/ 52 w 52"/>
                <a:gd name="T1" fmla="*/ 59 h 66"/>
                <a:gd name="T2" fmla="*/ 45 w 52"/>
                <a:gd name="T3" fmla="*/ 66 h 66"/>
                <a:gd name="T4" fmla="*/ 43 w 52"/>
                <a:gd name="T5" fmla="*/ 65 h 66"/>
                <a:gd name="T6" fmla="*/ 45 w 52"/>
                <a:gd name="T7" fmla="*/ 63 h 66"/>
                <a:gd name="T8" fmla="*/ 48 w 52"/>
                <a:gd name="T9" fmla="*/ 57 h 66"/>
                <a:gd name="T10" fmla="*/ 28 w 52"/>
                <a:gd name="T11" fmla="*/ 37 h 66"/>
                <a:gd name="T12" fmla="*/ 22 w 52"/>
                <a:gd name="T13" fmla="*/ 36 h 66"/>
                <a:gd name="T14" fmla="*/ 16 w 52"/>
                <a:gd name="T15" fmla="*/ 28 h 66"/>
                <a:gd name="T16" fmla="*/ 16 w 52"/>
                <a:gd name="T17" fmla="*/ 17 h 66"/>
                <a:gd name="T18" fmla="*/ 4 w 52"/>
                <a:gd name="T19" fmla="*/ 4 h 66"/>
                <a:gd name="T20" fmla="*/ 2 w 52"/>
                <a:gd name="T21" fmla="*/ 3 h 66"/>
                <a:gd name="T22" fmla="*/ 0 w 52"/>
                <a:gd name="T23" fmla="*/ 1 h 66"/>
                <a:gd name="T24" fmla="*/ 2 w 52"/>
                <a:gd name="T25" fmla="*/ 0 h 66"/>
                <a:gd name="T26" fmla="*/ 19 w 52"/>
                <a:gd name="T27" fmla="*/ 15 h 66"/>
                <a:gd name="T28" fmla="*/ 20 w 52"/>
                <a:gd name="T29" fmla="*/ 27 h 66"/>
                <a:gd name="T30" fmla="*/ 25 w 52"/>
                <a:gd name="T31" fmla="*/ 33 h 66"/>
                <a:gd name="T32" fmla="*/ 36 w 52"/>
                <a:gd name="T33" fmla="*/ 36 h 66"/>
                <a:gd name="T34" fmla="*/ 52 w 52"/>
                <a:gd name="T35" fmla="*/ 5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66">
                  <a:moveTo>
                    <a:pt x="52" y="59"/>
                  </a:moveTo>
                  <a:cubicBezTo>
                    <a:pt x="52" y="63"/>
                    <a:pt x="49" y="66"/>
                    <a:pt x="45" y="66"/>
                  </a:cubicBezTo>
                  <a:cubicBezTo>
                    <a:pt x="45" y="66"/>
                    <a:pt x="44" y="65"/>
                    <a:pt x="43" y="65"/>
                  </a:cubicBezTo>
                  <a:cubicBezTo>
                    <a:pt x="44" y="64"/>
                    <a:pt x="44" y="63"/>
                    <a:pt x="45" y="63"/>
                  </a:cubicBezTo>
                  <a:cubicBezTo>
                    <a:pt x="49" y="63"/>
                    <a:pt x="48" y="60"/>
                    <a:pt x="48" y="57"/>
                  </a:cubicBezTo>
                  <a:cubicBezTo>
                    <a:pt x="47" y="47"/>
                    <a:pt x="39" y="39"/>
                    <a:pt x="28" y="37"/>
                  </a:cubicBezTo>
                  <a:cubicBezTo>
                    <a:pt x="26" y="37"/>
                    <a:pt x="24" y="37"/>
                    <a:pt x="22" y="36"/>
                  </a:cubicBezTo>
                  <a:cubicBezTo>
                    <a:pt x="18" y="35"/>
                    <a:pt x="16" y="32"/>
                    <a:pt x="16" y="28"/>
                  </a:cubicBezTo>
                  <a:cubicBezTo>
                    <a:pt x="16" y="24"/>
                    <a:pt x="16" y="20"/>
                    <a:pt x="16" y="17"/>
                  </a:cubicBezTo>
                  <a:cubicBezTo>
                    <a:pt x="15" y="10"/>
                    <a:pt x="11" y="6"/>
                    <a:pt x="4" y="4"/>
                  </a:cubicBezTo>
                  <a:cubicBezTo>
                    <a:pt x="3" y="3"/>
                    <a:pt x="2" y="3"/>
                    <a:pt x="2" y="3"/>
                  </a:cubicBezTo>
                  <a:cubicBezTo>
                    <a:pt x="1" y="3"/>
                    <a:pt x="0" y="2"/>
                    <a:pt x="0" y="1"/>
                  </a:cubicBezTo>
                  <a:cubicBezTo>
                    <a:pt x="1" y="1"/>
                    <a:pt x="1" y="0"/>
                    <a:pt x="2" y="0"/>
                  </a:cubicBezTo>
                  <a:cubicBezTo>
                    <a:pt x="11" y="1"/>
                    <a:pt x="18" y="6"/>
                    <a:pt x="19" y="15"/>
                  </a:cubicBezTo>
                  <a:cubicBezTo>
                    <a:pt x="20" y="19"/>
                    <a:pt x="20" y="23"/>
                    <a:pt x="20" y="27"/>
                  </a:cubicBezTo>
                  <a:cubicBezTo>
                    <a:pt x="21" y="31"/>
                    <a:pt x="22" y="32"/>
                    <a:pt x="25" y="33"/>
                  </a:cubicBezTo>
                  <a:cubicBezTo>
                    <a:pt x="29" y="34"/>
                    <a:pt x="33" y="35"/>
                    <a:pt x="36" y="36"/>
                  </a:cubicBezTo>
                  <a:cubicBezTo>
                    <a:pt x="45" y="39"/>
                    <a:pt x="52" y="50"/>
                    <a:pt x="52" y="59"/>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7" name="Freeform 302">
              <a:extLst>
                <a:ext uri="{FF2B5EF4-FFF2-40B4-BE49-F238E27FC236}">
                  <a16:creationId xmlns:a16="http://schemas.microsoft.com/office/drawing/2014/main" id="{78D9F16E-154A-66D8-8B8D-98A345046FDF}"/>
                </a:ext>
              </a:extLst>
            </p:cNvPr>
            <p:cNvSpPr>
              <a:spLocks/>
            </p:cNvSpPr>
            <p:nvPr/>
          </p:nvSpPr>
          <p:spPr bwMode="auto">
            <a:xfrm>
              <a:off x="3765747" y="6247606"/>
              <a:ext cx="71438" cy="80963"/>
            </a:xfrm>
            <a:custGeom>
              <a:avLst/>
              <a:gdLst>
                <a:gd name="T0" fmla="*/ 30 w 36"/>
                <a:gd name="T1" fmla="*/ 11 h 41"/>
                <a:gd name="T2" fmla="*/ 33 w 36"/>
                <a:gd name="T3" fmla="*/ 9 h 41"/>
                <a:gd name="T4" fmla="*/ 36 w 36"/>
                <a:gd name="T5" fmla="*/ 9 h 41"/>
                <a:gd name="T6" fmla="*/ 35 w 36"/>
                <a:gd name="T7" fmla="*/ 11 h 41"/>
                <a:gd name="T8" fmla="*/ 32 w 36"/>
                <a:gd name="T9" fmla="*/ 18 h 41"/>
                <a:gd name="T10" fmla="*/ 23 w 36"/>
                <a:gd name="T11" fmla="*/ 40 h 41"/>
                <a:gd name="T12" fmla="*/ 20 w 36"/>
                <a:gd name="T13" fmla="*/ 41 h 41"/>
                <a:gd name="T14" fmla="*/ 20 w 36"/>
                <a:gd name="T15" fmla="*/ 38 h 41"/>
                <a:gd name="T16" fmla="*/ 24 w 36"/>
                <a:gd name="T17" fmla="*/ 31 h 41"/>
                <a:gd name="T18" fmla="*/ 28 w 36"/>
                <a:gd name="T19" fmla="*/ 20 h 41"/>
                <a:gd name="T20" fmla="*/ 21 w 36"/>
                <a:gd name="T21" fmla="*/ 10 h 41"/>
                <a:gd name="T22" fmla="*/ 13 w 36"/>
                <a:gd name="T23" fmla="*/ 10 h 41"/>
                <a:gd name="T24" fmla="*/ 1 w 36"/>
                <a:gd name="T25" fmla="*/ 3 h 41"/>
                <a:gd name="T26" fmla="*/ 1 w 36"/>
                <a:gd name="T27" fmla="*/ 0 h 41"/>
                <a:gd name="T28" fmla="*/ 4 w 36"/>
                <a:gd name="T29" fmla="*/ 1 h 41"/>
                <a:gd name="T30" fmla="*/ 14 w 36"/>
                <a:gd name="T31" fmla="*/ 6 h 41"/>
                <a:gd name="T32" fmla="*/ 30 w 36"/>
                <a:gd name="T33"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41">
                  <a:moveTo>
                    <a:pt x="30" y="11"/>
                  </a:moveTo>
                  <a:cubicBezTo>
                    <a:pt x="31" y="10"/>
                    <a:pt x="32" y="9"/>
                    <a:pt x="33" y="9"/>
                  </a:cubicBezTo>
                  <a:cubicBezTo>
                    <a:pt x="34" y="9"/>
                    <a:pt x="35" y="9"/>
                    <a:pt x="36" y="9"/>
                  </a:cubicBezTo>
                  <a:cubicBezTo>
                    <a:pt x="36" y="10"/>
                    <a:pt x="36" y="11"/>
                    <a:pt x="35" y="11"/>
                  </a:cubicBezTo>
                  <a:cubicBezTo>
                    <a:pt x="32" y="13"/>
                    <a:pt x="32" y="15"/>
                    <a:pt x="32" y="18"/>
                  </a:cubicBezTo>
                  <a:cubicBezTo>
                    <a:pt x="32" y="27"/>
                    <a:pt x="27" y="33"/>
                    <a:pt x="23" y="40"/>
                  </a:cubicBezTo>
                  <a:cubicBezTo>
                    <a:pt x="22" y="41"/>
                    <a:pt x="21" y="40"/>
                    <a:pt x="20" y="41"/>
                  </a:cubicBezTo>
                  <a:cubicBezTo>
                    <a:pt x="20" y="40"/>
                    <a:pt x="19" y="39"/>
                    <a:pt x="20" y="38"/>
                  </a:cubicBezTo>
                  <a:cubicBezTo>
                    <a:pt x="21" y="35"/>
                    <a:pt x="23" y="33"/>
                    <a:pt x="24" y="31"/>
                  </a:cubicBezTo>
                  <a:cubicBezTo>
                    <a:pt x="26" y="27"/>
                    <a:pt x="27" y="24"/>
                    <a:pt x="28" y="20"/>
                  </a:cubicBezTo>
                  <a:cubicBezTo>
                    <a:pt x="29" y="15"/>
                    <a:pt x="27" y="11"/>
                    <a:pt x="21" y="10"/>
                  </a:cubicBezTo>
                  <a:cubicBezTo>
                    <a:pt x="19" y="10"/>
                    <a:pt x="16" y="10"/>
                    <a:pt x="13" y="10"/>
                  </a:cubicBezTo>
                  <a:cubicBezTo>
                    <a:pt x="7" y="10"/>
                    <a:pt x="3" y="8"/>
                    <a:pt x="1" y="3"/>
                  </a:cubicBezTo>
                  <a:cubicBezTo>
                    <a:pt x="0" y="2"/>
                    <a:pt x="1" y="1"/>
                    <a:pt x="1" y="0"/>
                  </a:cubicBezTo>
                  <a:cubicBezTo>
                    <a:pt x="2" y="0"/>
                    <a:pt x="3" y="0"/>
                    <a:pt x="4" y="1"/>
                  </a:cubicBezTo>
                  <a:cubicBezTo>
                    <a:pt x="6" y="5"/>
                    <a:pt x="10" y="7"/>
                    <a:pt x="14" y="6"/>
                  </a:cubicBezTo>
                  <a:cubicBezTo>
                    <a:pt x="21" y="6"/>
                    <a:pt x="25" y="7"/>
                    <a:pt x="30" y="11"/>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8" name="Freeform 303">
              <a:extLst>
                <a:ext uri="{FF2B5EF4-FFF2-40B4-BE49-F238E27FC236}">
                  <a16:creationId xmlns:a16="http://schemas.microsoft.com/office/drawing/2014/main" id="{188D6D5D-47CF-48D0-B228-03B8EF582CC2}"/>
                </a:ext>
              </a:extLst>
            </p:cNvPr>
            <p:cNvSpPr>
              <a:spLocks/>
            </p:cNvSpPr>
            <p:nvPr/>
          </p:nvSpPr>
          <p:spPr bwMode="auto">
            <a:xfrm>
              <a:off x="3576834" y="6349206"/>
              <a:ext cx="42863" cy="84138"/>
            </a:xfrm>
            <a:custGeom>
              <a:avLst/>
              <a:gdLst>
                <a:gd name="T0" fmla="*/ 21 w 21"/>
                <a:gd name="T1" fmla="*/ 38 h 43"/>
                <a:gd name="T2" fmla="*/ 20 w 21"/>
                <a:gd name="T3" fmla="*/ 42 h 43"/>
                <a:gd name="T4" fmla="*/ 18 w 21"/>
                <a:gd name="T5" fmla="*/ 43 h 43"/>
                <a:gd name="T6" fmla="*/ 17 w 21"/>
                <a:gd name="T7" fmla="*/ 41 h 43"/>
                <a:gd name="T8" fmla="*/ 10 w 21"/>
                <a:gd name="T9" fmla="*/ 26 h 43"/>
                <a:gd name="T10" fmla="*/ 5 w 21"/>
                <a:gd name="T11" fmla="*/ 2 h 43"/>
                <a:gd name="T12" fmla="*/ 8 w 21"/>
                <a:gd name="T13" fmla="*/ 0 h 43"/>
                <a:gd name="T14" fmla="*/ 8 w 21"/>
                <a:gd name="T15" fmla="*/ 3 h 43"/>
                <a:gd name="T16" fmla="*/ 14 w 21"/>
                <a:gd name="T17" fmla="*/ 25 h 43"/>
                <a:gd name="T18" fmla="*/ 21 w 21"/>
                <a:gd name="T19"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43">
                  <a:moveTo>
                    <a:pt x="21" y="38"/>
                  </a:moveTo>
                  <a:cubicBezTo>
                    <a:pt x="21" y="39"/>
                    <a:pt x="21" y="40"/>
                    <a:pt x="20" y="42"/>
                  </a:cubicBezTo>
                  <a:cubicBezTo>
                    <a:pt x="20" y="42"/>
                    <a:pt x="19" y="42"/>
                    <a:pt x="18" y="43"/>
                  </a:cubicBezTo>
                  <a:cubicBezTo>
                    <a:pt x="18" y="42"/>
                    <a:pt x="17" y="41"/>
                    <a:pt x="17" y="41"/>
                  </a:cubicBezTo>
                  <a:cubicBezTo>
                    <a:pt x="19" y="34"/>
                    <a:pt x="16" y="30"/>
                    <a:pt x="10" y="26"/>
                  </a:cubicBezTo>
                  <a:cubicBezTo>
                    <a:pt x="2" y="21"/>
                    <a:pt x="0" y="11"/>
                    <a:pt x="5" y="2"/>
                  </a:cubicBezTo>
                  <a:cubicBezTo>
                    <a:pt x="5" y="1"/>
                    <a:pt x="7" y="1"/>
                    <a:pt x="8" y="0"/>
                  </a:cubicBezTo>
                  <a:cubicBezTo>
                    <a:pt x="8" y="1"/>
                    <a:pt x="8" y="2"/>
                    <a:pt x="8" y="3"/>
                  </a:cubicBezTo>
                  <a:cubicBezTo>
                    <a:pt x="4" y="14"/>
                    <a:pt x="5" y="18"/>
                    <a:pt x="14" y="25"/>
                  </a:cubicBezTo>
                  <a:cubicBezTo>
                    <a:pt x="19" y="28"/>
                    <a:pt x="21" y="32"/>
                    <a:pt x="21" y="38"/>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9" name="Freeform 304">
              <a:extLst>
                <a:ext uri="{FF2B5EF4-FFF2-40B4-BE49-F238E27FC236}">
                  <a16:creationId xmlns:a16="http://schemas.microsoft.com/office/drawing/2014/main" id="{99D18786-5CEC-BF52-6A9F-DAE9DF93D734}"/>
                </a:ext>
              </a:extLst>
            </p:cNvPr>
            <p:cNvSpPr>
              <a:spLocks/>
            </p:cNvSpPr>
            <p:nvPr/>
          </p:nvSpPr>
          <p:spPr bwMode="auto">
            <a:xfrm>
              <a:off x="3699072" y="6334919"/>
              <a:ext cx="65088" cy="31750"/>
            </a:xfrm>
            <a:custGeom>
              <a:avLst/>
              <a:gdLst>
                <a:gd name="T0" fmla="*/ 18 w 33"/>
                <a:gd name="T1" fmla="*/ 16 h 16"/>
                <a:gd name="T2" fmla="*/ 5 w 33"/>
                <a:gd name="T3" fmla="*/ 10 h 16"/>
                <a:gd name="T4" fmla="*/ 0 w 33"/>
                <a:gd name="T5" fmla="*/ 2 h 16"/>
                <a:gd name="T6" fmla="*/ 0 w 33"/>
                <a:gd name="T7" fmla="*/ 0 h 16"/>
                <a:gd name="T8" fmla="*/ 2 w 33"/>
                <a:gd name="T9" fmla="*/ 0 h 16"/>
                <a:gd name="T10" fmla="*/ 5 w 33"/>
                <a:gd name="T11" fmla="*/ 2 h 16"/>
                <a:gd name="T12" fmla="*/ 7 w 33"/>
                <a:gd name="T13" fmla="*/ 6 h 16"/>
                <a:gd name="T14" fmla="*/ 16 w 33"/>
                <a:gd name="T15" fmla="*/ 13 h 16"/>
                <a:gd name="T16" fmla="*/ 29 w 33"/>
                <a:gd name="T17" fmla="*/ 5 h 16"/>
                <a:gd name="T18" fmla="*/ 30 w 33"/>
                <a:gd name="T19" fmla="*/ 3 h 16"/>
                <a:gd name="T20" fmla="*/ 32 w 33"/>
                <a:gd name="T21" fmla="*/ 2 h 16"/>
                <a:gd name="T22" fmla="*/ 32 w 33"/>
                <a:gd name="T23" fmla="*/ 5 h 16"/>
                <a:gd name="T24" fmla="*/ 28 w 33"/>
                <a:gd name="T25" fmla="*/ 12 h 16"/>
                <a:gd name="T26" fmla="*/ 18 w 33"/>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16">
                  <a:moveTo>
                    <a:pt x="18" y="16"/>
                  </a:moveTo>
                  <a:cubicBezTo>
                    <a:pt x="11" y="16"/>
                    <a:pt x="8" y="13"/>
                    <a:pt x="5" y="10"/>
                  </a:cubicBezTo>
                  <a:cubicBezTo>
                    <a:pt x="4" y="7"/>
                    <a:pt x="2" y="5"/>
                    <a:pt x="0" y="2"/>
                  </a:cubicBezTo>
                  <a:cubicBezTo>
                    <a:pt x="0" y="2"/>
                    <a:pt x="0" y="1"/>
                    <a:pt x="0" y="0"/>
                  </a:cubicBezTo>
                  <a:cubicBezTo>
                    <a:pt x="1" y="0"/>
                    <a:pt x="2" y="0"/>
                    <a:pt x="2" y="0"/>
                  </a:cubicBezTo>
                  <a:cubicBezTo>
                    <a:pt x="3" y="0"/>
                    <a:pt x="4" y="1"/>
                    <a:pt x="5" y="2"/>
                  </a:cubicBezTo>
                  <a:cubicBezTo>
                    <a:pt x="5" y="3"/>
                    <a:pt x="6" y="5"/>
                    <a:pt x="7" y="6"/>
                  </a:cubicBezTo>
                  <a:cubicBezTo>
                    <a:pt x="9" y="10"/>
                    <a:pt x="11" y="13"/>
                    <a:pt x="16" y="13"/>
                  </a:cubicBezTo>
                  <a:cubicBezTo>
                    <a:pt x="21" y="12"/>
                    <a:pt x="26" y="10"/>
                    <a:pt x="29" y="5"/>
                  </a:cubicBezTo>
                  <a:cubicBezTo>
                    <a:pt x="29" y="4"/>
                    <a:pt x="29" y="4"/>
                    <a:pt x="30" y="3"/>
                  </a:cubicBezTo>
                  <a:cubicBezTo>
                    <a:pt x="30" y="3"/>
                    <a:pt x="31" y="3"/>
                    <a:pt x="32" y="2"/>
                  </a:cubicBezTo>
                  <a:cubicBezTo>
                    <a:pt x="32" y="3"/>
                    <a:pt x="33" y="4"/>
                    <a:pt x="32" y="5"/>
                  </a:cubicBezTo>
                  <a:cubicBezTo>
                    <a:pt x="31" y="7"/>
                    <a:pt x="30" y="10"/>
                    <a:pt x="28" y="12"/>
                  </a:cubicBezTo>
                  <a:cubicBezTo>
                    <a:pt x="24" y="15"/>
                    <a:pt x="20" y="16"/>
                    <a:pt x="18" y="16"/>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0" name="Freeform 305">
              <a:extLst>
                <a:ext uri="{FF2B5EF4-FFF2-40B4-BE49-F238E27FC236}">
                  <a16:creationId xmlns:a16="http://schemas.microsoft.com/office/drawing/2014/main" id="{410F82A4-9756-1BAC-7870-C46E72C551E8}"/>
                </a:ext>
              </a:extLst>
            </p:cNvPr>
            <p:cNvSpPr>
              <a:spLocks/>
            </p:cNvSpPr>
            <p:nvPr/>
          </p:nvSpPr>
          <p:spPr bwMode="auto">
            <a:xfrm>
              <a:off x="3635572" y="6423819"/>
              <a:ext cx="34925" cy="33338"/>
            </a:xfrm>
            <a:custGeom>
              <a:avLst/>
              <a:gdLst>
                <a:gd name="T0" fmla="*/ 10 w 18"/>
                <a:gd name="T1" fmla="*/ 0 h 17"/>
                <a:gd name="T2" fmla="*/ 17 w 18"/>
                <a:gd name="T3" fmla="*/ 2 h 17"/>
                <a:gd name="T4" fmla="*/ 18 w 18"/>
                <a:gd name="T5" fmla="*/ 4 h 17"/>
                <a:gd name="T6" fmla="*/ 16 w 18"/>
                <a:gd name="T7" fmla="*/ 5 h 17"/>
                <a:gd name="T8" fmla="*/ 10 w 18"/>
                <a:gd name="T9" fmla="*/ 3 h 17"/>
                <a:gd name="T10" fmla="*/ 4 w 18"/>
                <a:gd name="T11" fmla="*/ 7 h 17"/>
                <a:gd name="T12" fmla="*/ 8 w 18"/>
                <a:gd name="T13" fmla="*/ 14 h 17"/>
                <a:gd name="T14" fmla="*/ 10 w 18"/>
                <a:gd name="T15" fmla="*/ 16 h 17"/>
                <a:gd name="T16" fmla="*/ 7 w 18"/>
                <a:gd name="T17" fmla="*/ 16 h 17"/>
                <a:gd name="T18" fmla="*/ 1 w 18"/>
                <a:gd name="T19" fmla="*/ 6 h 17"/>
                <a:gd name="T20" fmla="*/ 10 w 1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7">
                  <a:moveTo>
                    <a:pt x="10" y="0"/>
                  </a:moveTo>
                  <a:cubicBezTo>
                    <a:pt x="12" y="0"/>
                    <a:pt x="14" y="1"/>
                    <a:pt x="17" y="2"/>
                  </a:cubicBezTo>
                  <a:cubicBezTo>
                    <a:pt x="17" y="2"/>
                    <a:pt x="18" y="3"/>
                    <a:pt x="18" y="4"/>
                  </a:cubicBezTo>
                  <a:cubicBezTo>
                    <a:pt x="17" y="4"/>
                    <a:pt x="16" y="5"/>
                    <a:pt x="16" y="5"/>
                  </a:cubicBezTo>
                  <a:cubicBezTo>
                    <a:pt x="14" y="4"/>
                    <a:pt x="12" y="3"/>
                    <a:pt x="10" y="3"/>
                  </a:cubicBezTo>
                  <a:cubicBezTo>
                    <a:pt x="7" y="3"/>
                    <a:pt x="5" y="4"/>
                    <a:pt x="4" y="7"/>
                  </a:cubicBezTo>
                  <a:cubicBezTo>
                    <a:pt x="4" y="10"/>
                    <a:pt x="5" y="13"/>
                    <a:pt x="8" y="14"/>
                  </a:cubicBezTo>
                  <a:cubicBezTo>
                    <a:pt x="9" y="14"/>
                    <a:pt x="9" y="15"/>
                    <a:pt x="10" y="16"/>
                  </a:cubicBezTo>
                  <a:cubicBezTo>
                    <a:pt x="9" y="16"/>
                    <a:pt x="8" y="17"/>
                    <a:pt x="7" y="16"/>
                  </a:cubicBezTo>
                  <a:cubicBezTo>
                    <a:pt x="3" y="16"/>
                    <a:pt x="0" y="11"/>
                    <a:pt x="1" y="6"/>
                  </a:cubicBezTo>
                  <a:cubicBezTo>
                    <a:pt x="1" y="3"/>
                    <a:pt x="5" y="0"/>
                    <a:pt x="10" y="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1" name="Freeform 306">
              <a:extLst>
                <a:ext uri="{FF2B5EF4-FFF2-40B4-BE49-F238E27FC236}">
                  <a16:creationId xmlns:a16="http://schemas.microsoft.com/office/drawing/2014/main" id="{7C327A2E-460B-BDF5-AB94-743DD3FBD2A5}"/>
                </a:ext>
              </a:extLst>
            </p:cNvPr>
            <p:cNvSpPr>
              <a:spLocks/>
            </p:cNvSpPr>
            <p:nvPr/>
          </p:nvSpPr>
          <p:spPr bwMode="auto">
            <a:xfrm>
              <a:off x="3743522" y="6366669"/>
              <a:ext cx="12700" cy="25400"/>
            </a:xfrm>
            <a:custGeom>
              <a:avLst/>
              <a:gdLst>
                <a:gd name="T0" fmla="*/ 3 w 6"/>
                <a:gd name="T1" fmla="*/ 4 h 13"/>
                <a:gd name="T2" fmla="*/ 6 w 6"/>
                <a:gd name="T3" fmla="*/ 11 h 13"/>
                <a:gd name="T4" fmla="*/ 6 w 6"/>
                <a:gd name="T5" fmla="*/ 13 h 13"/>
                <a:gd name="T6" fmla="*/ 3 w 6"/>
                <a:gd name="T7" fmla="*/ 12 h 13"/>
                <a:gd name="T8" fmla="*/ 1 w 6"/>
                <a:gd name="T9" fmla="*/ 4 h 13"/>
                <a:gd name="T10" fmla="*/ 2 w 6"/>
                <a:gd name="T11" fmla="*/ 0 h 13"/>
                <a:gd name="T12" fmla="*/ 4 w 6"/>
                <a:gd name="T13" fmla="*/ 3 h 13"/>
                <a:gd name="T14" fmla="*/ 3 w 6"/>
                <a:gd name="T15" fmla="*/ 4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3" y="4"/>
                  </a:moveTo>
                  <a:cubicBezTo>
                    <a:pt x="4" y="6"/>
                    <a:pt x="5" y="8"/>
                    <a:pt x="6" y="11"/>
                  </a:cubicBezTo>
                  <a:cubicBezTo>
                    <a:pt x="6" y="12"/>
                    <a:pt x="6" y="12"/>
                    <a:pt x="6" y="13"/>
                  </a:cubicBezTo>
                  <a:cubicBezTo>
                    <a:pt x="5" y="13"/>
                    <a:pt x="4" y="13"/>
                    <a:pt x="3" y="12"/>
                  </a:cubicBezTo>
                  <a:cubicBezTo>
                    <a:pt x="2" y="10"/>
                    <a:pt x="1" y="7"/>
                    <a:pt x="1" y="4"/>
                  </a:cubicBezTo>
                  <a:cubicBezTo>
                    <a:pt x="0" y="3"/>
                    <a:pt x="2" y="1"/>
                    <a:pt x="2" y="0"/>
                  </a:cubicBezTo>
                  <a:cubicBezTo>
                    <a:pt x="3" y="1"/>
                    <a:pt x="4" y="2"/>
                    <a:pt x="4" y="3"/>
                  </a:cubicBezTo>
                  <a:cubicBezTo>
                    <a:pt x="4" y="4"/>
                    <a:pt x="3" y="4"/>
                    <a:pt x="3" y="4"/>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2" name="Freeform 307">
              <a:extLst>
                <a:ext uri="{FF2B5EF4-FFF2-40B4-BE49-F238E27FC236}">
                  <a16:creationId xmlns:a16="http://schemas.microsoft.com/office/drawing/2014/main" id="{6AA37842-D008-3209-F8B6-3A4F748C944A}"/>
                </a:ext>
              </a:extLst>
            </p:cNvPr>
            <p:cNvSpPr>
              <a:spLocks/>
            </p:cNvSpPr>
            <p:nvPr/>
          </p:nvSpPr>
          <p:spPr bwMode="auto">
            <a:xfrm>
              <a:off x="3743522" y="6406356"/>
              <a:ext cx="14288" cy="11113"/>
            </a:xfrm>
            <a:custGeom>
              <a:avLst/>
              <a:gdLst>
                <a:gd name="T0" fmla="*/ 7 w 7"/>
                <a:gd name="T1" fmla="*/ 2 h 6"/>
                <a:gd name="T2" fmla="*/ 1 w 7"/>
                <a:gd name="T3" fmla="*/ 6 h 6"/>
                <a:gd name="T4" fmla="*/ 0 w 7"/>
                <a:gd name="T5" fmla="*/ 5 h 6"/>
                <a:gd name="T6" fmla="*/ 5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5" y="4"/>
                    <a:pt x="3" y="5"/>
                    <a:pt x="1" y="6"/>
                  </a:cubicBezTo>
                  <a:cubicBezTo>
                    <a:pt x="1" y="6"/>
                    <a:pt x="0" y="5"/>
                    <a:pt x="0" y="5"/>
                  </a:cubicBezTo>
                  <a:cubicBezTo>
                    <a:pt x="1" y="3"/>
                    <a:pt x="3" y="2"/>
                    <a:pt x="5" y="0"/>
                  </a:cubicBezTo>
                  <a:cubicBezTo>
                    <a:pt x="5" y="0"/>
                    <a:pt x="6" y="1"/>
                    <a:pt x="7" y="2"/>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3" name="Freeform 308">
              <a:extLst>
                <a:ext uri="{FF2B5EF4-FFF2-40B4-BE49-F238E27FC236}">
                  <a16:creationId xmlns:a16="http://schemas.microsoft.com/office/drawing/2014/main" id="{C3CB2B72-0FD5-528B-C624-18CE9507B283}"/>
                </a:ext>
              </a:extLst>
            </p:cNvPr>
            <p:cNvSpPr>
              <a:spLocks/>
            </p:cNvSpPr>
            <p:nvPr/>
          </p:nvSpPr>
          <p:spPr bwMode="auto">
            <a:xfrm>
              <a:off x="3716534" y="6253956"/>
              <a:ext cx="15875" cy="11113"/>
            </a:xfrm>
            <a:custGeom>
              <a:avLst/>
              <a:gdLst>
                <a:gd name="T0" fmla="*/ 2 w 8"/>
                <a:gd name="T1" fmla="*/ 0 h 6"/>
                <a:gd name="T2" fmla="*/ 8 w 8"/>
                <a:gd name="T3" fmla="*/ 4 h 6"/>
                <a:gd name="T4" fmla="*/ 6 w 8"/>
                <a:gd name="T5" fmla="*/ 6 h 6"/>
                <a:gd name="T6" fmla="*/ 0 w 8"/>
                <a:gd name="T7" fmla="*/ 2 h 6"/>
                <a:gd name="T8" fmla="*/ 2 w 8"/>
                <a:gd name="T9" fmla="*/ 0 h 6"/>
              </a:gdLst>
              <a:ahLst/>
              <a:cxnLst>
                <a:cxn ang="0">
                  <a:pos x="T0" y="T1"/>
                </a:cxn>
                <a:cxn ang="0">
                  <a:pos x="T2" y="T3"/>
                </a:cxn>
                <a:cxn ang="0">
                  <a:pos x="T4" y="T5"/>
                </a:cxn>
                <a:cxn ang="0">
                  <a:pos x="T6" y="T7"/>
                </a:cxn>
                <a:cxn ang="0">
                  <a:pos x="T8" y="T9"/>
                </a:cxn>
              </a:cxnLst>
              <a:rect l="0" t="0" r="r" b="b"/>
              <a:pathLst>
                <a:path w="8" h="6">
                  <a:moveTo>
                    <a:pt x="2" y="0"/>
                  </a:moveTo>
                  <a:cubicBezTo>
                    <a:pt x="4" y="2"/>
                    <a:pt x="6" y="3"/>
                    <a:pt x="8" y="4"/>
                  </a:cubicBezTo>
                  <a:cubicBezTo>
                    <a:pt x="7" y="5"/>
                    <a:pt x="6" y="6"/>
                    <a:pt x="6" y="6"/>
                  </a:cubicBezTo>
                  <a:cubicBezTo>
                    <a:pt x="4" y="5"/>
                    <a:pt x="2" y="4"/>
                    <a:pt x="0" y="2"/>
                  </a:cubicBezTo>
                  <a:cubicBezTo>
                    <a:pt x="1" y="2"/>
                    <a:pt x="1" y="1"/>
                    <a:pt x="2" y="0"/>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4" name="Freeform 309">
              <a:extLst>
                <a:ext uri="{FF2B5EF4-FFF2-40B4-BE49-F238E27FC236}">
                  <a16:creationId xmlns:a16="http://schemas.microsoft.com/office/drawing/2014/main" id="{38FB97C0-5C51-FDFF-17F6-F9FD090D6F40}"/>
                </a:ext>
              </a:extLst>
            </p:cNvPr>
            <p:cNvSpPr>
              <a:spLocks/>
            </p:cNvSpPr>
            <p:nvPr/>
          </p:nvSpPr>
          <p:spPr bwMode="auto">
            <a:xfrm>
              <a:off x="3597472" y="6438106"/>
              <a:ext cx="14288" cy="11113"/>
            </a:xfrm>
            <a:custGeom>
              <a:avLst/>
              <a:gdLst>
                <a:gd name="T0" fmla="*/ 7 w 7"/>
                <a:gd name="T1" fmla="*/ 2 h 6"/>
                <a:gd name="T2" fmla="*/ 1 w 7"/>
                <a:gd name="T3" fmla="*/ 6 h 6"/>
                <a:gd name="T4" fmla="*/ 0 w 7"/>
                <a:gd name="T5" fmla="*/ 4 h 6"/>
                <a:gd name="T6" fmla="*/ 4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5" y="4"/>
                    <a:pt x="3" y="5"/>
                    <a:pt x="1" y="6"/>
                  </a:cubicBezTo>
                  <a:cubicBezTo>
                    <a:pt x="1" y="5"/>
                    <a:pt x="0" y="4"/>
                    <a:pt x="0" y="4"/>
                  </a:cubicBezTo>
                  <a:cubicBezTo>
                    <a:pt x="1" y="3"/>
                    <a:pt x="3" y="1"/>
                    <a:pt x="4" y="0"/>
                  </a:cubicBezTo>
                  <a:cubicBezTo>
                    <a:pt x="5" y="0"/>
                    <a:pt x="6" y="1"/>
                    <a:pt x="7" y="2"/>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5" name="Freeform 310">
              <a:extLst>
                <a:ext uri="{FF2B5EF4-FFF2-40B4-BE49-F238E27FC236}">
                  <a16:creationId xmlns:a16="http://schemas.microsoft.com/office/drawing/2014/main" id="{81D67134-7910-634E-1D28-87C681E393DF}"/>
                </a:ext>
              </a:extLst>
            </p:cNvPr>
            <p:cNvSpPr>
              <a:spLocks/>
            </p:cNvSpPr>
            <p:nvPr/>
          </p:nvSpPr>
          <p:spPr bwMode="auto">
            <a:xfrm>
              <a:off x="3587947" y="6457156"/>
              <a:ext cx="7938" cy="14288"/>
            </a:xfrm>
            <a:custGeom>
              <a:avLst/>
              <a:gdLst>
                <a:gd name="T0" fmla="*/ 4 w 4"/>
                <a:gd name="T1" fmla="*/ 3 h 7"/>
                <a:gd name="T2" fmla="*/ 2 w 4"/>
                <a:gd name="T3" fmla="*/ 7 h 7"/>
                <a:gd name="T4" fmla="*/ 0 w 4"/>
                <a:gd name="T5" fmla="*/ 4 h 7"/>
                <a:gd name="T6" fmla="*/ 2 w 4"/>
                <a:gd name="T7" fmla="*/ 0 h 7"/>
                <a:gd name="T8" fmla="*/ 4 w 4"/>
                <a:gd name="T9" fmla="*/ 3 h 7"/>
              </a:gdLst>
              <a:ahLst/>
              <a:cxnLst>
                <a:cxn ang="0">
                  <a:pos x="T0" y="T1"/>
                </a:cxn>
                <a:cxn ang="0">
                  <a:pos x="T2" y="T3"/>
                </a:cxn>
                <a:cxn ang="0">
                  <a:pos x="T4" y="T5"/>
                </a:cxn>
                <a:cxn ang="0">
                  <a:pos x="T6" y="T7"/>
                </a:cxn>
                <a:cxn ang="0">
                  <a:pos x="T8" y="T9"/>
                </a:cxn>
              </a:cxnLst>
              <a:rect l="0" t="0" r="r" b="b"/>
              <a:pathLst>
                <a:path w="4" h="7">
                  <a:moveTo>
                    <a:pt x="4" y="3"/>
                  </a:moveTo>
                  <a:cubicBezTo>
                    <a:pt x="3" y="5"/>
                    <a:pt x="3" y="6"/>
                    <a:pt x="2" y="7"/>
                  </a:cubicBezTo>
                  <a:cubicBezTo>
                    <a:pt x="1" y="6"/>
                    <a:pt x="0" y="5"/>
                    <a:pt x="0" y="4"/>
                  </a:cubicBezTo>
                  <a:cubicBezTo>
                    <a:pt x="0" y="2"/>
                    <a:pt x="1" y="1"/>
                    <a:pt x="2" y="0"/>
                  </a:cubicBezTo>
                  <a:cubicBezTo>
                    <a:pt x="3" y="1"/>
                    <a:pt x="3" y="2"/>
                    <a:pt x="4" y="3"/>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6" name="Freeform 311">
              <a:extLst>
                <a:ext uri="{FF2B5EF4-FFF2-40B4-BE49-F238E27FC236}">
                  <a16:creationId xmlns:a16="http://schemas.microsoft.com/office/drawing/2014/main" id="{9417ED44-F133-FE1A-B357-28E8B9F3571C}"/>
                </a:ext>
              </a:extLst>
            </p:cNvPr>
            <p:cNvSpPr>
              <a:spLocks/>
            </p:cNvSpPr>
            <p:nvPr/>
          </p:nvSpPr>
          <p:spPr bwMode="auto">
            <a:xfrm>
              <a:off x="3840359" y="6255544"/>
              <a:ext cx="9525" cy="9525"/>
            </a:xfrm>
            <a:custGeom>
              <a:avLst/>
              <a:gdLst>
                <a:gd name="T0" fmla="*/ 2 w 5"/>
                <a:gd name="T1" fmla="*/ 5 h 5"/>
                <a:gd name="T2" fmla="*/ 0 w 5"/>
                <a:gd name="T3" fmla="*/ 3 h 5"/>
                <a:gd name="T4" fmla="*/ 4 w 5"/>
                <a:gd name="T5" fmla="*/ 0 h 5"/>
                <a:gd name="T6" fmla="*/ 5 w 5"/>
                <a:gd name="T7" fmla="*/ 2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cubicBezTo>
                    <a:pt x="1" y="4"/>
                    <a:pt x="0" y="4"/>
                    <a:pt x="0" y="3"/>
                  </a:cubicBezTo>
                  <a:cubicBezTo>
                    <a:pt x="1" y="2"/>
                    <a:pt x="2" y="1"/>
                    <a:pt x="4" y="0"/>
                  </a:cubicBezTo>
                  <a:cubicBezTo>
                    <a:pt x="4" y="0"/>
                    <a:pt x="5" y="1"/>
                    <a:pt x="5" y="2"/>
                  </a:cubicBezTo>
                  <a:cubicBezTo>
                    <a:pt x="4" y="3"/>
                    <a:pt x="3" y="4"/>
                    <a:pt x="2" y="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7" name="Freeform 312">
              <a:extLst>
                <a:ext uri="{FF2B5EF4-FFF2-40B4-BE49-F238E27FC236}">
                  <a16:creationId xmlns:a16="http://schemas.microsoft.com/office/drawing/2014/main" id="{4A9907E8-724A-D343-5507-4E73405ADCFA}"/>
                </a:ext>
              </a:extLst>
            </p:cNvPr>
            <p:cNvSpPr>
              <a:spLocks/>
            </p:cNvSpPr>
            <p:nvPr/>
          </p:nvSpPr>
          <p:spPr bwMode="auto">
            <a:xfrm>
              <a:off x="3732409" y="6420644"/>
              <a:ext cx="7938" cy="9525"/>
            </a:xfrm>
            <a:custGeom>
              <a:avLst/>
              <a:gdLst>
                <a:gd name="T0" fmla="*/ 1 w 4"/>
                <a:gd name="T1" fmla="*/ 5 h 5"/>
                <a:gd name="T2" fmla="*/ 0 w 4"/>
                <a:gd name="T3" fmla="*/ 3 h 5"/>
                <a:gd name="T4" fmla="*/ 3 w 4"/>
                <a:gd name="T5" fmla="*/ 0 h 5"/>
                <a:gd name="T6" fmla="*/ 4 w 4"/>
                <a:gd name="T7" fmla="*/ 2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0" y="4"/>
                    <a:pt x="0" y="3"/>
                    <a:pt x="0" y="3"/>
                  </a:cubicBezTo>
                  <a:cubicBezTo>
                    <a:pt x="1" y="2"/>
                    <a:pt x="2" y="1"/>
                    <a:pt x="3" y="0"/>
                  </a:cubicBezTo>
                  <a:cubicBezTo>
                    <a:pt x="3" y="0"/>
                    <a:pt x="4" y="2"/>
                    <a:pt x="4" y="2"/>
                  </a:cubicBezTo>
                  <a:cubicBezTo>
                    <a:pt x="3" y="3"/>
                    <a:pt x="2" y="4"/>
                    <a:pt x="1" y="5"/>
                  </a:cubicBezTo>
                  <a:close/>
                </a:path>
              </a:pathLst>
            </a:custGeom>
            <a:grpFill/>
            <a:ln w="9525">
              <a:solidFill>
                <a:schemeClr val="accent3">
                  <a:alpha val="30196"/>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68" name="Group 67">
            <a:extLst>
              <a:ext uri="{FF2B5EF4-FFF2-40B4-BE49-F238E27FC236}">
                <a16:creationId xmlns:a16="http://schemas.microsoft.com/office/drawing/2014/main" id="{24D7A86B-C733-5110-522C-ED81EE5DD879}"/>
              </a:ext>
            </a:extLst>
          </p:cNvPr>
          <p:cNvGrpSpPr/>
          <p:nvPr/>
        </p:nvGrpSpPr>
        <p:grpSpPr>
          <a:xfrm>
            <a:off x="11189192" y="2037468"/>
            <a:ext cx="587482" cy="1380262"/>
            <a:chOff x="-3254178" y="4837906"/>
            <a:chExt cx="295275" cy="693738"/>
          </a:xfrm>
          <a:solidFill>
            <a:schemeClr val="bg1"/>
          </a:solidFill>
        </p:grpSpPr>
        <p:sp>
          <p:nvSpPr>
            <p:cNvPr id="69" name="Freeform 176">
              <a:extLst>
                <a:ext uri="{FF2B5EF4-FFF2-40B4-BE49-F238E27FC236}">
                  <a16:creationId xmlns:a16="http://schemas.microsoft.com/office/drawing/2014/main" id="{ED7DEF36-65C2-AD57-B71D-AF60C2F8E017}"/>
                </a:ext>
              </a:extLst>
            </p:cNvPr>
            <p:cNvSpPr>
              <a:spLocks/>
            </p:cNvSpPr>
            <p:nvPr/>
          </p:nvSpPr>
          <p:spPr bwMode="auto">
            <a:xfrm>
              <a:off x="-3254178" y="4837906"/>
              <a:ext cx="274638" cy="693738"/>
            </a:xfrm>
            <a:custGeom>
              <a:avLst/>
              <a:gdLst>
                <a:gd name="T0" fmla="*/ 133 w 139"/>
                <a:gd name="T1" fmla="*/ 158 h 350"/>
                <a:gd name="T2" fmla="*/ 118 w 139"/>
                <a:gd name="T3" fmla="*/ 187 h 350"/>
                <a:gd name="T4" fmla="*/ 139 w 139"/>
                <a:gd name="T5" fmla="*/ 209 h 350"/>
                <a:gd name="T6" fmla="*/ 132 w 139"/>
                <a:gd name="T7" fmla="*/ 222 h 350"/>
                <a:gd name="T8" fmla="*/ 88 w 139"/>
                <a:gd name="T9" fmla="*/ 254 h 350"/>
                <a:gd name="T10" fmla="*/ 79 w 139"/>
                <a:gd name="T11" fmla="*/ 256 h 350"/>
                <a:gd name="T12" fmla="*/ 73 w 139"/>
                <a:gd name="T13" fmla="*/ 262 h 350"/>
                <a:gd name="T14" fmla="*/ 73 w 139"/>
                <a:gd name="T15" fmla="*/ 286 h 350"/>
                <a:gd name="T16" fmla="*/ 79 w 139"/>
                <a:gd name="T17" fmla="*/ 316 h 350"/>
                <a:gd name="T18" fmla="*/ 79 w 139"/>
                <a:gd name="T19" fmla="*/ 335 h 350"/>
                <a:gd name="T20" fmla="*/ 77 w 139"/>
                <a:gd name="T21" fmla="*/ 339 h 350"/>
                <a:gd name="T22" fmla="*/ 65 w 139"/>
                <a:gd name="T23" fmla="*/ 349 h 350"/>
                <a:gd name="T24" fmla="*/ 51 w 139"/>
                <a:gd name="T25" fmla="*/ 342 h 350"/>
                <a:gd name="T26" fmla="*/ 45 w 139"/>
                <a:gd name="T27" fmla="*/ 320 h 350"/>
                <a:gd name="T28" fmla="*/ 46 w 139"/>
                <a:gd name="T29" fmla="*/ 293 h 350"/>
                <a:gd name="T30" fmla="*/ 41 w 139"/>
                <a:gd name="T31" fmla="*/ 218 h 350"/>
                <a:gd name="T32" fmla="*/ 5 w 139"/>
                <a:gd name="T33" fmla="*/ 46 h 350"/>
                <a:gd name="T34" fmla="*/ 0 w 139"/>
                <a:gd name="T35" fmla="*/ 26 h 350"/>
                <a:gd name="T36" fmla="*/ 0 w 139"/>
                <a:gd name="T37" fmla="*/ 16 h 350"/>
                <a:gd name="T38" fmla="*/ 26 w 139"/>
                <a:gd name="T39" fmla="*/ 8 h 350"/>
                <a:gd name="T40" fmla="*/ 35 w 139"/>
                <a:gd name="T41" fmla="*/ 22 h 350"/>
                <a:gd name="T42" fmla="*/ 65 w 139"/>
                <a:gd name="T43" fmla="*/ 88 h 350"/>
                <a:gd name="T44" fmla="*/ 86 w 139"/>
                <a:gd name="T45" fmla="*/ 109 h 350"/>
                <a:gd name="T46" fmla="*/ 127 w 139"/>
                <a:gd name="T47" fmla="*/ 151 h 350"/>
                <a:gd name="T48" fmla="*/ 133 w 139"/>
                <a:gd name="T49"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350">
                  <a:moveTo>
                    <a:pt x="133" y="158"/>
                  </a:moveTo>
                  <a:cubicBezTo>
                    <a:pt x="121" y="165"/>
                    <a:pt x="116" y="175"/>
                    <a:pt x="118" y="187"/>
                  </a:cubicBezTo>
                  <a:cubicBezTo>
                    <a:pt x="120" y="199"/>
                    <a:pt x="126" y="206"/>
                    <a:pt x="139" y="209"/>
                  </a:cubicBezTo>
                  <a:cubicBezTo>
                    <a:pt x="137" y="213"/>
                    <a:pt x="135" y="218"/>
                    <a:pt x="132" y="222"/>
                  </a:cubicBezTo>
                  <a:cubicBezTo>
                    <a:pt x="122" y="239"/>
                    <a:pt x="106" y="248"/>
                    <a:pt x="88" y="254"/>
                  </a:cubicBezTo>
                  <a:cubicBezTo>
                    <a:pt x="85" y="255"/>
                    <a:pt x="82" y="256"/>
                    <a:pt x="79" y="256"/>
                  </a:cubicBezTo>
                  <a:cubicBezTo>
                    <a:pt x="75" y="257"/>
                    <a:pt x="74" y="259"/>
                    <a:pt x="73" y="262"/>
                  </a:cubicBezTo>
                  <a:cubicBezTo>
                    <a:pt x="71" y="270"/>
                    <a:pt x="71" y="278"/>
                    <a:pt x="73" y="286"/>
                  </a:cubicBezTo>
                  <a:cubicBezTo>
                    <a:pt x="75" y="296"/>
                    <a:pt x="77" y="306"/>
                    <a:pt x="79" y="316"/>
                  </a:cubicBezTo>
                  <a:cubicBezTo>
                    <a:pt x="80" y="322"/>
                    <a:pt x="81" y="329"/>
                    <a:pt x="79" y="335"/>
                  </a:cubicBezTo>
                  <a:cubicBezTo>
                    <a:pt x="78" y="337"/>
                    <a:pt x="78" y="338"/>
                    <a:pt x="77" y="339"/>
                  </a:cubicBezTo>
                  <a:cubicBezTo>
                    <a:pt x="75" y="345"/>
                    <a:pt x="71" y="349"/>
                    <a:pt x="65" y="349"/>
                  </a:cubicBezTo>
                  <a:cubicBezTo>
                    <a:pt x="59" y="350"/>
                    <a:pt x="55" y="347"/>
                    <a:pt x="51" y="342"/>
                  </a:cubicBezTo>
                  <a:cubicBezTo>
                    <a:pt x="47" y="335"/>
                    <a:pt x="45" y="328"/>
                    <a:pt x="45" y="320"/>
                  </a:cubicBezTo>
                  <a:cubicBezTo>
                    <a:pt x="45" y="311"/>
                    <a:pt x="46" y="302"/>
                    <a:pt x="46" y="293"/>
                  </a:cubicBezTo>
                  <a:cubicBezTo>
                    <a:pt x="47" y="268"/>
                    <a:pt x="44" y="243"/>
                    <a:pt x="41" y="218"/>
                  </a:cubicBezTo>
                  <a:cubicBezTo>
                    <a:pt x="33" y="160"/>
                    <a:pt x="21" y="103"/>
                    <a:pt x="5" y="46"/>
                  </a:cubicBezTo>
                  <a:cubicBezTo>
                    <a:pt x="4" y="39"/>
                    <a:pt x="2" y="33"/>
                    <a:pt x="0" y="26"/>
                  </a:cubicBezTo>
                  <a:cubicBezTo>
                    <a:pt x="0" y="23"/>
                    <a:pt x="0" y="19"/>
                    <a:pt x="0" y="16"/>
                  </a:cubicBezTo>
                  <a:cubicBezTo>
                    <a:pt x="2" y="5"/>
                    <a:pt x="16" y="0"/>
                    <a:pt x="26" y="8"/>
                  </a:cubicBezTo>
                  <a:cubicBezTo>
                    <a:pt x="31" y="11"/>
                    <a:pt x="33" y="17"/>
                    <a:pt x="35" y="22"/>
                  </a:cubicBezTo>
                  <a:cubicBezTo>
                    <a:pt x="42" y="45"/>
                    <a:pt x="52" y="67"/>
                    <a:pt x="65" y="88"/>
                  </a:cubicBezTo>
                  <a:cubicBezTo>
                    <a:pt x="71" y="96"/>
                    <a:pt x="78" y="103"/>
                    <a:pt x="86" y="109"/>
                  </a:cubicBezTo>
                  <a:cubicBezTo>
                    <a:pt x="101" y="122"/>
                    <a:pt x="115" y="135"/>
                    <a:pt x="127" y="151"/>
                  </a:cubicBezTo>
                  <a:cubicBezTo>
                    <a:pt x="129" y="153"/>
                    <a:pt x="131" y="156"/>
                    <a:pt x="133"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0" name="Freeform 177">
              <a:extLst>
                <a:ext uri="{FF2B5EF4-FFF2-40B4-BE49-F238E27FC236}">
                  <a16:creationId xmlns:a16="http://schemas.microsoft.com/office/drawing/2014/main" id="{AE756141-8EC6-AB64-CF04-CC83AA130F2D}"/>
                </a:ext>
              </a:extLst>
            </p:cNvPr>
            <p:cNvSpPr>
              <a:spLocks/>
            </p:cNvSpPr>
            <p:nvPr/>
          </p:nvSpPr>
          <p:spPr bwMode="auto">
            <a:xfrm>
              <a:off x="-3009703" y="5166519"/>
              <a:ext cx="50800" cy="69850"/>
            </a:xfrm>
            <a:custGeom>
              <a:avLst/>
              <a:gdLst>
                <a:gd name="T0" fmla="*/ 12 w 25"/>
                <a:gd name="T1" fmla="*/ 0 h 35"/>
                <a:gd name="T2" fmla="*/ 14 w 25"/>
                <a:gd name="T3" fmla="*/ 4 h 35"/>
                <a:gd name="T4" fmla="*/ 20 w 25"/>
                <a:gd name="T5" fmla="*/ 11 h 35"/>
                <a:gd name="T6" fmla="*/ 21 w 25"/>
                <a:gd name="T7" fmla="*/ 23 h 35"/>
                <a:gd name="T8" fmla="*/ 18 w 25"/>
                <a:gd name="T9" fmla="*/ 24 h 35"/>
                <a:gd name="T10" fmla="*/ 16 w 25"/>
                <a:gd name="T11" fmla="*/ 35 h 35"/>
                <a:gd name="T12" fmla="*/ 1 w 25"/>
                <a:gd name="T13" fmla="*/ 21 h 35"/>
                <a:gd name="T14" fmla="*/ 12 w 25"/>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5">
                  <a:moveTo>
                    <a:pt x="12" y="0"/>
                  </a:moveTo>
                  <a:cubicBezTo>
                    <a:pt x="13" y="1"/>
                    <a:pt x="14" y="3"/>
                    <a:pt x="14" y="4"/>
                  </a:cubicBezTo>
                  <a:cubicBezTo>
                    <a:pt x="15" y="8"/>
                    <a:pt x="16" y="10"/>
                    <a:pt x="20" y="11"/>
                  </a:cubicBezTo>
                  <a:cubicBezTo>
                    <a:pt x="25" y="13"/>
                    <a:pt x="25" y="20"/>
                    <a:pt x="21" y="23"/>
                  </a:cubicBezTo>
                  <a:cubicBezTo>
                    <a:pt x="20" y="23"/>
                    <a:pt x="19" y="24"/>
                    <a:pt x="18" y="24"/>
                  </a:cubicBezTo>
                  <a:cubicBezTo>
                    <a:pt x="18" y="28"/>
                    <a:pt x="17" y="32"/>
                    <a:pt x="16" y="35"/>
                  </a:cubicBezTo>
                  <a:cubicBezTo>
                    <a:pt x="9" y="35"/>
                    <a:pt x="3" y="29"/>
                    <a:pt x="1" y="21"/>
                  </a:cubicBezTo>
                  <a:cubicBezTo>
                    <a:pt x="0" y="12"/>
                    <a:pt x="4" y="3"/>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pic>
        <p:nvPicPr>
          <p:cNvPr id="71" name="Picture 14" descr="Ovary Silhouette: Over 1,891 Royalty-Free Licensable Stock ...">
            <a:extLst>
              <a:ext uri="{FF2B5EF4-FFF2-40B4-BE49-F238E27FC236}">
                <a16:creationId xmlns:a16="http://schemas.microsoft.com/office/drawing/2014/main" id="{D3DA4881-4FFA-361D-33CE-BC1F244938F5}"/>
              </a:ext>
            </a:extLst>
          </p:cNvPr>
          <p:cNvPicPr>
            <a:picLocks noChangeAspect="1" noChangeArrowheads="1"/>
          </p:cNvPicPr>
          <p:nvPr/>
        </p:nvPicPr>
        <p:blipFill rotWithShape="1">
          <a:blip r:embed="rId4">
            <a:clrChange>
              <a:clrFrom>
                <a:srgbClr val="CCCCCC"/>
              </a:clrFrom>
              <a:clrTo>
                <a:srgbClr val="CCCCCC">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14376" t="19984" r="13432" b="36217"/>
          <a:stretch/>
        </p:blipFill>
        <p:spPr bwMode="auto">
          <a:xfrm>
            <a:off x="2904502" y="5267317"/>
            <a:ext cx="1455089" cy="95072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4" descr="Ovary Silhouette: Over 1,891 Royalty-Free Licensable Stock ...">
            <a:extLst>
              <a:ext uri="{FF2B5EF4-FFF2-40B4-BE49-F238E27FC236}">
                <a16:creationId xmlns:a16="http://schemas.microsoft.com/office/drawing/2014/main" id="{4D907B02-D389-15A5-480F-CEAE549135D8}"/>
              </a:ext>
            </a:extLst>
          </p:cNvPr>
          <p:cNvPicPr>
            <a:picLocks noChangeAspect="1" noChangeArrowheads="1"/>
          </p:cNvPicPr>
          <p:nvPr/>
        </p:nvPicPr>
        <p:blipFill rotWithShape="1">
          <a:blip r:embed="rId4">
            <a:clrChange>
              <a:clrFrom>
                <a:srgbClr val="CCCCCC"/>
              </a:clrFrom>
              <a:clrTo>
                <a:srgbClr val="CCCCCC">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14376" t="19984" r="13432" b="36217"/>
          <a:stretch/>
        </p:blipFill>
        <p:spPr bwMode="auto">
          <a:xfrm>
            <a:off x="10461647" y="5253303"/>
            <a:ext cx="1455089" cy="950720"/>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B58F842B-AAC9-818F-E180-9268D9002A7D}"/>
              </a:ext>
            </a:extLst>
          </p:cNvPr>
          <p:cNvSpPr txBox="1"/>
          <p:nvPr/>
        </p:nvSpPr>
        <p:spPr>
          <a:xfrm>
            <a:off x="830596" y="2048990"/>
            <a:ext cx="1810111" cy="1688667"/>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A02B93">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rPr>
              <a:t>Gleason score</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A02B93">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rPr>
              <a:t>Capsular penetration</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A02B93">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 Recurrence</a:t>
            </a:r>
          </a:p>
          <a:p>
            <a:pPr marL="171450" marR="0" lvl="1" indent="-171450" algn="l" defTabSz="914400" rtl="0" eaLnBrk="1" fontAlgn="auto" latinLnBrk="0" hangingPunct="1">
              <a:lnSpc>
                <a:spcPct val="114000"/>
              </a:lnSpc>
              <a:spcBef>
                <a:spcPts val="0"/>
              </a:spcBef>
              <a:spcAft>
                <a:spcPts val="0"/>
              </a:spcAft>
              <a:buClr>
                <a:srgbClr val="A02B93">
                  <a:lumMod val="50000"/>
                </a:srgbClr>
              </a:buClr>
              <a:buSzPct val="120000"/>
              <a:buFont typeface="Wingdings 3" panose="05040102010807070707" pitchFamily="18" charset="2"/>
              <a:buChar char="È"/>
              <a:tabLst/>
              <a:defRPr/>
            </a:pP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PFS</a:t>
            </a:r>
          </a:p>
          <a:p>
            <a:pPr marL="171450" marR="0" lvl="1" indent="-171450" algn="l" defTabSz="914400" rtl="0" eaLnBrk="1" fontAlgn="auto" latinLnBrk="0" hangingPunct="1">
              <a:lnSpc>
                <a:spcPct val="114000"/>
              </a:lnSpc>
              <a:spcBef>
                <a:spcPts val="0"/>
              </a:spcBef>
              <a:spcAft>
                <a:spcPts val="0"/>
              </a:spcAft>
              <a:buClr>
                <a:srgbClr val="A02B93">
                  <a:lumMod val="50000"/>
                </a:srgbClr>
              </a:buClr>
              <a:buSzPct val="120000"/>
              <a:buFont typeface="Wingdings 3" panose="05040102010807070707" pitchFamily="18" charset="2"/>
              <a:buChar char="È"/>
              <a:tabLst/>
              <a:defRPr/>
            </a:pP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OS</a:t>
            </a:r>
          </a:p>
          <a:p>
            <a:pPr marL="171450" marR="0" lvl="1" indent="-171450" algn="l" defTabSz="914400" rtl="0" eaLnBrk="1" fontAlgn="auto" latinLnBrk="0" hangingPunct="1">
              <a:lnSpc>
                <a:spcPct val="114000"/>
              </a:lnSpc>
              <a:spcBef>
                <a:spcPts val="0"/>
              </a:spcBef>
              <a:spcAft>
                <a:spcPts val="0"/>
              </a:spcAft>
              <a:buClr>
                <a:srgbClr val="A02B93">
                  <a:lumMod val="50000"/>
                </a:srgbClr>
              </a:buClr>
              <a:buSzPct val="120000"/>
              <a:buFont typeface="Wingdings 3" panose="05040102010807070707" pitchFamily="18" charset="2"/>
              <a:buChar char="È"/>
              <a:tabLst/>
              <a:defRPr/>
            </a:pPr>
            <a:endPar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endParaRPr>
          </a:p>
          <a:p>
            <a:pPr marL="171450" marR="0" lvl="1" indent="-171450" algn="l" defTabSz="914400" rtl="0" eaLnBrk="1" fontAlgn="auto" latinLnBrk="0" hangingPunct="1">
              <a:lnSpc>
                <a:spcPct val="114000"/>
              </a:lnSpc>
              <a:spcBef>
                <a:spcPts val="0"/>
              </a:spcBef>
              <a:spcAft>
                <a:spcPts val="0"/>
              </a:spcAft>
              <a:buClr>
                <a:srgbClr val="A02B93">
                  <a:lumMod val="50000"/>
                </a:srgbClr>
              </a:buClr>
              <a:buSzPct val="120000"/>
              <a:buFont typeface="Wingdings 3" panose="05040102010807070707" pitchFamily="18" charset="2"/>
              <a:buChar char="È"/>
              <a:tabLst/>
              <a:defRPr/>
            </a:pPr>
            <a:endPar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endParaRPr>
          </a:p>
        </p:txBody>
      </p:sp>
      <p:sp>
        <p:nvSpPr>
          <p:cNvPr id="74" name="TextBox 73">
            <a:extLst>
              <a:ext uri="{FF2B5EF4-FFF2-40B4-BE49-F238E27FC236}">
                <a16:creationId xmlns:a16="http://schemas.microsoft.com/office/drawing/2014/main" id="{99B8AF47-5226-3F00-9840-1E5C6DE28929}"/>
              </a:ext>
            </a:extLst>
          </p:cNvPr>
          <p:cNvSpPr txBox="1"/>
          <p:nvPr/>
        </p:nvSpPr>
        <p:spPr>
          <a:xfrm>
            <a:off x="4612729" y="2048990"/>
            <a:ext cx="2003177" cy="1298817"/>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4EA72E">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PF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4EA72E">
                    <a:lumMod val="50000"/>
                  </a:srgbClr>
                </a:solidFill>
                <a:effectLst/>
                <a:uLnTx/>
                <a:uFillTx/>
                <a:latin typeface="Aptos" panose="02110004020202020204"/>
                <a:ea typeface="+mn-ea"/>
                <a:cs typeface="+mn-cs"/>
                <a:sym typeface="Wingdings 3" panose="05040102010807070707" pitchFamily="18" charset="2"/>
              </a:rPr>
              <a:t></a:t>
            </a:r>
            <a:r>
              <a:rPr kumimoji="0" lang="en-GB" sz="14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O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4EA72E">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Stage</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4EA72E">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Lymph node metastasi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4EA72E">
                    <a:lumMod val="5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Distant metastasis</a:t>
            </a:r>
          </a:p>
        </p:txBody>
      </p:sp>
      <p:sp>
        <p:nvSpPr>
          <p:cNvPr id="75" name="TextBox 74">
            <a:extLst>
              <a:ext uri="{FF2B5EF4-FFF2-40B4-BE49-F238E27FC236}">
                <a16:creationId xmlns:a16="http://schemas.microsoft.com/office/drawing/2014/main" id="{31D93FC0-DF71-00B3-108F-945C7CEC5CCA}"/>
              </a:ext>
            </a:extLst>
          </p:cNvPr>
          <p:cNvSpPr txBox="1"/>
          <p:nvPr/>
        </p:nvSpPr>
        <p:spPr>
          <a:xfrm>
            <a:off x="8340178" y="1967798"/>
            <a:ext cx="3003071" cy="1478162"/>
          </a:xfrm>
          <a:prstGeom prst="rect">
            <a:avLst/>
          </a:prstGeom>
          <a:noFill/>
        </p:spPr>
        <p:txBody>
          <a:bodyPr wrap="squar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0F9ED5">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PF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0F9ED5">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4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O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0F9ED5">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Stage</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0F9ED5">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Lymph node metastasis</a:t>
            </a:r>
          </a:p>
          <a:p>
            <a:pPr marL="0" marR="0" lvl="1" indent="0" algn="l" defTabSz="914400" rtl="0" eaLnBrk="1" fontAlgn="auto" latinLnBrk="0" hangingPunct="1">
              <a:lnSpc>
                <a:spcPct val="100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Resistance to trastuzumab in patients with recurrent or metastatic disease</a:t>
            </a:r>
          </a:p>
        </p:txBody>
      </p:sp>
      <p:sp>
        <p:nvSpPr>
          <p:cNvPr id="76" name="TextBox 75">
            <a:extLst>
              <a:ext uri="{FF2B5EF4-FFF2-40B4-BE49-F238E27FC236}">
                <a16:creationId xmlns:a16="http://schemas.microsoft.com/office/drawing/2014/main" id="{9E4E1644-5C2B-169B-6031-B33423922E2D}"/>
              </a:ext>
            </a:extLst>
          </p:cNvPr>
          <p:cNvSpPr txBox="1"/>
          <p:nvPr/>
        </p:nvSpPr>
        <p:spPr>
          <a:xfrm>
            <a:off x="829295" y="4078248"/>
            <a:ext cx="617477" cy="317203"/>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dirty="0">
                <a:ln>
                  <a:noFill/>
                </a:ln>
                <a:solidFill>
                  <a:srgbClr val="0F9ED5">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400" b="0" i="0" u="none" strike="noStrike" kern="1200" cap="none" spc="0" normalizeH="0" baseline="0" noProof="0" dirty="0">
                <a:ln>
                  <a:noFill/>
                </a:ln>
                <a:solidFill>
                  <a:srgbClr val="4EA72E"/>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dirty="0">
                <a:ln>
                  <a:noFill/>
                </a:ln>
                <a:solidFill>
                  <a:srgbClr val="000000"/>
                </a:solidFill>
                <a:effectLst/>
                <a:uLnTx/>
                <a:uFillTx/>
                <a:latin typeface="Aptos" panose="02110004020202020204"/>
                <a:ea typeface="+mn-ea"/>
                <a:cs typeface="+mn-cs"/>
                <a:sym typeface="Wingdings 3" panose="05040102010807070707" pitchFamily="18" charset="2"/>
              </a:rPr>
              <a:t>OS</a:t>
            </a:r>
          </a:p>
        </p:txBody>
      </p:sp>
      <p:sp>
        <p:nvSpPr>
          <p:cNvPr id="77" name="TextBox 76">
            <a:extLst>
              <a:ext uri="{FF2B5EF4-FFF2-40B4-BE49-F238E27FC236}">
                <a16:creationId xmlns:a16="http://schemas.microsoft.com/office/drawing/2014/main" id="{999A292A-4525-CCB9-A1A3-0A6D02856CC3}"/>
              </a:ext>
            </a:extLst>
          </p:cNvPr>
          <p:cNvSpPr txBox="1"/>
          <p:nvPr/>
        </p:nvSpPr>
        <p:spPr>
          <a:xfrm>
            <a:off x="8340877" y="5444556"/>
            <a:ext cx="1539204" cy="285335"/>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No prognostic value</a:t>
            </a:r>
          </a:p>
        </p:txBody>
      </p:sp>
      <p:sp>
        <p:nvSpPr>
          <p:cNvPr id="78" name="TextBox 77">
            <a:extLst>
              <a:ext uri="{FF2B5EF4-FFF2-40B4-BE49-F238E27FC236}">
                <a16:creationId xmlns:a16="http://schemas.microsoft.com/office/drawing/2014/main" id="{28F61B79-5C24-0394-4C43-7AE8D2F7BCA1}"/>
              </a:ext>
            </a:extLst>
          </p:cNvPr>
          <p:cNvSpPr txBox="1"/>
          <p:nvPr/>
        </p:nvSpPr>
        <p:spPr>
          <a:xfrm>
            <a:off x="4629225" y="4078248"/>
            <a:ext cx="1883849" cy="495841"/>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Resistance to anti-EGFR</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Unclear prognostic value</a:t>
            </a:r>
          </a:p>
        </p:txBody>
      </p:sp>
      <p:sp>
        <p:nvSpPr>
          <p:cNvPr id="79" name="TextBox 78">
            <a:extLst>
              <a:ext uri="{FF2B5EF4-FFF2-40B4-BE49-F238E27FC236}">
                <a16:creationId xmlns:a16="http://schemas.microsoft.com/office/drawing/2014/main" id="{81B84B68-33A9-ECC6-2EEA-7343FEE340E5}"/>
              </a:ext>
            </a:extLst>
          </p:cNvPr>
          <p:cNvSpPr txBox="1"/>
          <p:nvPr/>
        </p:nvSpPr>
        <p:spPr>
          <a:xfrm>
            <a:off x="8351484" y="4077920"/>
            <a:ext cx="704039" cy="530915"/>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a:ln>
                  <a:noFill/>
                </a:ln>
                <a:solidFill>
                  <a:srgbClr val="E97132">
                    <a:lumMod val="75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 DSS</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endPar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endParaRPr>
          </a:p>
        </p:txBody>
      </p:sp>
      <p:sp>
        <p:nvSpPr>
          <p:cNvPr id="80" name="TextBox 79">
            <a:extLst>
              <a:ext uri="{FF2B5EF4-FFF2-40B4-BE49-F238E27FC236}">
                <a16:creationId xmlns:a16="http://schemas.microsoft.com/office/drawing/2014/main" id="{AC3234B8-F592-74C9-8CB5-5A6909A26146}"/>
              </a:ext>
            </a:extLst>
          </p:cNvPr>
          <p:cNvSpPr txBox="1"/>
          <p:nvPr/>
        </p:nvSpPr>
        <p:spPr>
          <a:xfrm>
            <a:off x="4612729" y="5444556"/>
            <a:ext cx="2853666" cy="285335"/>
          </a:xfrm>
          <a:prstGeom prst="rect">
            <a:avLst/>
          </a:prstGeom>
          <a:noFill/>
        </p:spPr>
        <p:txBody>
          <a:bodyPr wrap="non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Prognostic value in only 30% of studies</a:t>
            </a:r>
          </a:p>
        </p:txBody>
      </p:sp>
      <p:sp>
        <p:nvSpPr>
          <p:cNvPr id="81" name="TextBox 80">
            <a:extLst>
              <a:ext uri="{FF2B5EF4-FFF2-40B4-BE49-F238E27FC236}">
                <a16:creationId xmlns:a16="http://schemas.microsoft.com/office/drawing/2014/main" id="{A92BA418-1EE4-DAF7-435A-A20FCCE5B094}"/>
              </a:ext>
            </a:extLst>
          </p:cNvPr>
          <p:cNvSpPr txBox="1"/>
          <p:nvPr/>
        </p:nvSpPr>
        <p:spPr>
          <a:xfrm>
            <a:off x="828674" y="5442195"/>
            <a:ext cx="3324520" cy="527004"/>
          </a:xfrm>
          <a:prstGeom prst="rect">
            <a:avLst/>
          </a:prstGeom>
          <a:noFill/>
        </p:spPr>
        <p:txBody>
          <a:bodyPr wrap="square" rtlCol="0">
            <a:spAutoFit/>
          </a:bodyPr>
          <a:lstStyle/>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Low diagnostic accuracy in EH</a:t>
            </a:r>
          </a:p>
          <a:p>
            <a:pPr marL="0" marR="0" lvl="1" indent="0" algn="l" defTabSz="914400" rtl="0" eaLnBrk="1" fontAlgn="auto" latinLnBrk="0" hangingPunct="1">
              <a:lnSpc>
                <a:spcPct val="114000"/>
              </a:lnSpc>
              <a:spcBef>
                <a:spcPts val="0"/>
              </a:spcBef>
              <a:spcAft>
                <a:spcPts val="0"/>
              </a:spcAft>
              <a:buClr>
                <a:srgbClr val="A02B93">
                  <a:lumMod val="50000"/>
                </a:srgbClr>
              </a:buClr>
              <a:buSzPct val="120000"/>
              <a:buFontTx/>
              <a:buNone/>
              <a:tabLst/>
              <a:defRPr/>
            </a:pPr>
            <a:r>
              <a:rPr kumimoji="0" lang="en-GB" sz="1400" b="0" i="0" u="none" strike="noStrike" kern="1200" cap="none" spc="0" normalizeH="0" baseline="0" noProof="0">
                <a:ln>
                  <a:noFill/>
                </a:ln>
                <a:solidFill>
                  <a:srgbClr val="0E2841">
                    <a:lumMod val="90000"/>
                    <a:lumOff val="10000"/>
                  </a:srgbClr>
                </a:solidFill>
                <a:effectLst/>
                <a:uLnTx/>
                <a:uFillTx/>
                <a:latin typeface="Aptos" panose="02110004020202020204"/>
                <a:ea typeface="+mn-ea"/>
                <a:cs typeface="+mn-cs"/>
                <a:sym typeface="Wingdings 3" panose="05040102010807070707" pitchFamily="18" charset="2"/>
              </a:rPr>
              <a:t></a:t>
            </a:r>
            <a:r>
              <a:rPr kumimoji="0" lang="en-GB" sz="1200" b="0" i="0" u="none" strike="noStrike" kern="1200" cap="none" spc="0" normalizeH="0" baseline="0" noProof="0">
                <a:ln>
                  <a:noFill/>
                </a:ln>
                <a:solidFill>
                  <a:srgbClr val="A02B93"/>
                </a:solidFill>
                <a:effectLst/>
                <a:uLnTx/>
                <a:uFillTx/>
                <a:latin typeface="Aptos" panose="02110004020202020204"/>
                <a:ea typeface="+mn-ea"/>
                <a:cs typeface="+mn-cs"/>
                <a:sym typeface="Wingdings 3" panose="05040102010807070707" pitchFamily="18" charset="2"/>
              </a:rPr>
              <a:t> </a:t>
            </a:r>
            <a:r>
              <a:rPr kumimoji="0" lang="en-GB" sz="1200" b="0" i="0" u="none" strike="noStrike" kern="1200" cap="none" spc="0" normalizeH="0" baseline="0" noProof="0">
                <a:ln>
                  <a:noFill/>
                </a:ln>
                <a:solidFill>
                  <a:srgbClr val="000000"/>
                </a:solidFill>
                <a:effectLst/>
                <a:uLnTx/>
                <a:uFillTx/>
                <a:latin typeface="Aptos" panose="02110004020202020204"/>
                <a:ea typeface="+mn-ea"/>
                <a:cs typeface="+mn-cs"/>
                <a:sym typeface="Wingdings 3" panose="05040102010807070707" pitchFamily="18" charset="2"/>
              </a:rPr>
              <a:t>risk of endometrial cancer in EH</a:t>
            </a:r>
          </a:p>
        </p:txBody>
      </p:sp>
    </p:spTree>
    <p:extLst>
      <p:ext uri="{BB962C8B-B14F-4D97-AF65-F5344CB8AC3E}">
        <p14:creationId xmlns:p14="http://schemas.microsoft.com/office/powerpoint/2010/main" val="306105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86A0CA6-F061-21B6-FCD4-3F40AD308F2B}"/>
              </a:ext>
            </a:extLst>
          </p:cNvPr>
          <p:cNvSpPr/>
          <p:nvPr/>
        </p:nvSpPr>
        <p:spPr>
          <a:xfrm>
            <a:off x="6456363" y="1956122"/>
            <a:ext cx="5320972" cy="4145145"/>
          </a:xfrm>
          <a:prstGeom prst="roundRect">
            <a:avLst>
              <a:gd name="adj" fmla="val 3718"/>
            </a:avLst>
          </a:prstGeom>
          <a:solidFill>
            <a:schemeClr val="accent2">
              <a:lumMod val="20000"/>
              <a:lumOff val="80000"/>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endParaRPr kumimoji="0" lang="en-GB" sz="1400" b="1"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7" name="Rectangle: Rounded Corners 6">
            <a:extLst>
              <a:ext uri="{FF2B5EF4-FFF2-40B4-BE49-F238E27FC236}">
                <a16:creationId xmlns:a16="http://schemas.microsoft.com/office/drawing/2014/main" id="{ED3D72CF-1D4B-E8A5-7B00-81231B21E40E}"/>
              </a:ext>
            </a:extLst>
          </p:cNvPr>
          <p:cNvSpPr/>
          <p:nvPr/>
        </p:nvSpPr>
        <p:spPr>
          <a:xfrm>
            <a:off x="826460" y="1956122"/>
            <a:ext cx="5267324" cy="4145145"/>
          </a:xfrm>
          <a:prstGeom prst="roundRect">
            <a:avLst>
              <a:gd name="adj" fmla="val 3718"/>
            </a:avLst>
          </a:prstGeom>
          <a:solidFill>
            <a:srgbClr val="E1F6F9">
              <a:alpha val="6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endParaRPr kumimoji="0" lang="en-GB" sz="1400" b="1"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58D3E965-1D65-8D76-2A4D-F2287C58F486}"/>
              </a:ext>
            </a:extLst>
          </p:cNvPr>
          <p:cNvSpPr>
            <a:spLocks noGrp="1"/>
          </p:cNvSpPr>
          <p:nvPr>
            <p:ph type="title"/>
          </p:nvPr>
        </p:nvSpPr>
        <p:spPr/>
        <p:txBody>
          <a:bodyPr>
            <a:normAutofit fontScale="90000"/>
          </a:bodyPr>
          <a:lstStyle/>
          <a:p>
            <a:r>
              <a:rPr lang="en-GB" dirty="0"/>
              <a:t>Dysregulation of the PI3K/AKT pathway in PC is predominantly caused by alterations in </a:t>
            </a:r>
            <a:r>
              <a:rPr lang="en-GB" i="1" dirty="0"/>
              <a:t>PTEN</a:t>
            </a:r>
            <a:endParaRPr lang="en-GB" dirty="0"/>
          </a:p>
        </p:txBody>
      </p:sp>
      <p:sp>
        <p:nvSpPr>
          <p:cNvPr id="4" name="Text Placeholder 3">
            <a:extLst>
              <a:ext uri="{FF2B5EF4-FFF2-40B4-BE49-F238E27FC236}">
                <a16:creationId xmlns:a16="http://schemas.microsoft.com/office/drawing/2014/main" id="{CC3DA4DC-B8FE-514E-3DBA-36F69A7D1C39}"/>
              </a:ext>
            </a:extLst>
          </p:cNvPr>
          <p:cNvSpPr>
            <a:spLocks noGrp="1"/>
          </p:cNvSpPr>
          <p:nvPr>
            <p:ph type="body" sz="quarter" idx="11"/>
          </p:nvPr>
        </p:nvSpPr>
        <p:spPr/>
        <p:txBody>
          <a:bodyPr/>
          <a:lstStyle/>
          <a:p>
            <a:r>
              <a:rPr lang="en-GB" dirty="0">
                <a:latin typeface="Arial" panose="020B0604020202020204" pitchFamily="34" charset="0"/>
              </a:rPr>
              <a:t>Graphical data sourced from </a:t>
            </a:r>
            <a:r>
              <a:rPr lang="en-GB" dirty="0" err="1">
                <a:latin typeface="Arial" panose="020B0604020202020204" pitchFamily="34" charset="0"/>
              </a:rPr>
              <a:t>Stopsack</a:t>
            </a:r>
            <a:r>
              <a:rPr lang="en-GB" dirty="0">
                <a:latin typeface="Arial" panose="020B0604020202020204" pitchFamily="34" charset="0"/>
              </a:rPr>
              <a:t> KH, et al. </a:t>
            </a:r>
            <a:r>
              <a:rPr lang="en-GB" i="1" dirty="0">
                <a:latin typeface="Arial" panose="020B0604020202020204" pitchFamily="34" charset="0"/>
              </a:rPr>
              <a:t>Clin Cancer Res </a:t>
            </a:r>
            <a:r>
              <a:rPr lang="en-GB" dirty="0">
                <a:latin typeface="Arial" panose="020B0604020202020204" pitchFamily="34" charset="0"/>
              </a:rPr>
              <a:t>2020</a:t>
            </a:r>
            <a:r>
              <a:rPr lang="en-GB" baseline="30000" dirty="0">
                <a:latin typeface="Arial" panose="020B0604020202020204" pitchFamily="34" charset="0"/>
              </a:rPr>
              <a:t>3</a:t>
            </a:r>
            <a:br>
              <a:rPr lang="en-GB" dirty="0">
                <a:latin typeface="Arial" panose="020B0604020202020204" pitchFamily="34" charset="0"/>
              </a:rPr>
            </a:br>
            <a:r>
              <a:rPr lang="en-GB" dirty="0">
                <a:latin typeface="Arial" panose="020B0604020202020204" pitchFamily="34" charset="0"/>
              </a:rPr>
              <a:t>AKT, protein kinase B; AKT1, protein kinase B inhibitor 1; ER, oestrogen receptor; HER2, human epidermal growth factor receptor 2; </a:t>
            </a:r>
            <a:r>
              <a:rPr lang="en-GB" dirty="0" err="1">
                <a:latin typeface="Arial" panose="020B0604020202020204" pitchFamily="34" charset="0"/>
              </a:rPr>
              <a:t>mBC</a:t>
            </a:r>
            <a:r>
              <a:rPr lang="en-GB" dirty="0">
                <a:latin typeface="Arial" panose="020B0604020202020204" pitchFamily="34" charset="0"/>
              </a:rPr>
              <a:t>, metastatic breast cancer; mHSPC, metastatic hormone-sensitive prostate cancer; PC, prostate cancer; </a:t>
            </a:r>
            <a:br>
              <a:rPr lang="en-GB" dirty="0">
                <a:latin typeface="Arial" panose="020B0604020202020204" pitchFamily="34" charset="0"/>
              </a:rPr>
            </a:br>
            <a:r>
              <a:rPr lang="en-GB" dirty="0">
                <a:latin typeface="Arial" panose="020B0604020202020204" pitchFamily="34" charset="0"/>
              </a:rPr>
              <a:t>PI3K, phosphoinositide 3-kinase; PIK3CA, phosphatidylinositol-4,5-bisphosphate 3-kinase catalytic subunit alpha; PTEN, phosphatase and </a:t>
            </a:r>
            <a:r>
              <a:rPr lang="en-GB" dirty="0" err="1">
                <a:latin typeface="Arial" panose="020B0604020202020204" pitchFamily="34" charset="0"/>
              </a:rPr>
              <a:t>tensin</a:t>
            </a:r>
            <a:r>
              <a:rPr lang="en-GB" dirty="0">
                <a:latin typeface="Arial" panose="020B0604020202020204" pitchFamily="34" charset="0"/>
              </a:rPr>
              <a:t> homologue.</a:t>
            </a:r>
            <a:br>
              <a:rPr lang="en-GB" dirty="0">
                <a:latin typeface="Arial" panose="020B0604020202020204" pitchFamily="34" charset="0"/>
              </a:rPr>
            </a:br>
            <a:r>
              <a:rPr lang="en-GB" dirty="0">
                <a:latin typeface="Arial" panose="020B0604020202020204" pitchFamily="34" charset="0"/>
              </a:rPr>
              <a:t>1. Phin S, et al. </a:t>
            </a:r>
            <a:r>
              <a:rPr lang="en-GB" i="1" dirty="0">
                <a:latin typeface="Arial" panose="020B0604020202020204" pitchFamily="34" charset="0"/>
              </a:rPr>
              <a:t>Front Oncol </a:t>
            </a:r>
            <a:r>
              <a:rPr lang="en-GB" dirty="0">
                <a:latin typeface="Arial" panose="020B0604020202020204" pitchFamily="34" charset="0"/>
              </a:rPr>
              <a:t>2013;3:240; 2. </a:t>
            </a:r>
            <a:r>
              <a:rPr lang="en-GB" dirty="0" err="1">
                <a:latin typeface="Arial" panose="020B0604020202020204" pitchFamily="34" charset="0"/>
              </a:rPr>
              <a:t>Ferraldeschi</a:t>
            </a:r>
            <a:r>
              <a:rPr lang="en-GB" dirty="0">
                <a:latin typeface="Arial" panose="020B0604020202020204" pitchFamily="34" charset="0"/>
              </a:rPr>
              <a:t> R, et al. </a:t>
            </a:r>
            <a:r>
              <a:rPr lang="en-GB" i="1" dirty="0" err="1">
                <a:latin typeface="Arial" panose="020B0604020202020204" pitchFamily="34" charset="0"/>
              </a:rPr>
              <a:t>Eur</a:t>
            </a:r>
            <a:r>
              <a:rPr lang="en-GB" i="1" dirty="0">
                <a:latin typeface="Arial" panose="020B0604020202020204" pitchFamily="34" charset="0"/>
              </a:rPr>
              <a:t> </a:t>
            </a:r>
            <a:r>
              <a:rPr lang="en-GB" i="1" dirty="0" err="1">
                <a:latin typeface="Arial" panose="020B0604020202020204" pitchFamily="34" charset="0"/>
              </a:rPr>
              <a:t>Urol</a:t>
            </a:r>
            <a:r>
              <a:rPr lang="en-GB" i="1" dirty="0">
                <a:latin typeface="Arial" panose="020B0604020202020204" pitchFamily="34" charset="0"/>
              </a:rPr>
              <a:t> </a:t>
            </a:r>
            <a:r>
              <a:rPr lang="en-GB" dirty="0">
                <a:latin typeface="Arial" panose="020B0604020202020204" pitchFamily="34" charset="0"/>
              </a:rPr>
              <a:t>2015;67:795–802; 3. </a:t>
            </a:r>
            <a:r>
              <a:rPr lang="en-GB" dirty="0" err="1">
                <a:latin typeface="Arial" panose="020B0604020202020204" pitchFamily="34" charset="0"/>
              </a:rPr>
              <a:t>Stopsack</a:t>
            </a:r>
            <a:r>
              <a:rPr lang="en-GB" dirty="0">
                <a:latin typeface="Arial" panose="020B0604020202020204" pitchFamily="34" charset="0"/>
              </a:rPr>
              <a:t> KH, et al. </a:t>
            </a:r>
            <a:r>
              <a:rPr lang="en-GB" i="1" dirty="0">
                <a:latin typeface="Arial" panose="020B0604020202020204" pitchFamily="34" charset="0"/>
              </a:rPr>
              <a:t>Clin Cancer Res</a:t>
            </a:r>
            <a:r>
              <a:rPr lang="en-GB" dirty="0">
                <a:latin typeface="Arial" panose="020B0604020202020204" pitchFamily="34" charset="0"/>
              </a:rPr>
              <a:t> 2020;26:3230-3238; 4. </a:t>
            </a:r>
            <a:r>
              <a:rPr lang="en-GB" dirty="0" err="1">
                <a:latin typeface="Arial" panose="020B0604020202020204" pitchFamily="34" charset="0"/>
              </a:rPr>
              <a:t>Skolariki</a:t>
            </a:r>
            <a:r>
              <a:rPr lang="en-GB" dirty="0">
                <a:latin typeface="Arial" panose="020B0604020202020204" pitchFamily="34" charset="0"/>
              </a:rPr>
              <a:t> A, et al. </a:t>
            </a:r>
            <a:r>
              <a:rPr lang="en-GB" i="1" dirty="0" err="1">
                <a:latin typeface="Arial" panose="020B0604020202020204" pitchFamily="34" charset="0"/>
              </a:rPr>
              <a:t>Explor</a:t>
            </a:r>
            <a:r>
              <a:rPr lang="en-GB" i="1" dirty="0">
                <a:latin typeface="Arial" panose="020B0604020202020204" pitchFamily="34" charset="0"/>
              </a:rPr>
              <a:t> Target Antitumor Ther </a:t>
            </a:r>
            <a:r>
              <a:rPr lang="en-GB" dirty="0">
                <a:latin typeface="Arial" panose="020B0604020202020204" pitchFamily="34" charset="0"/>
              </a:rPr>
              <a:t>2022;3:172–199;</a:t>
            </a:r>
            <a:br>
              <a:rPr lang="en-GB" dirty="0">
                <a:latin typeface="Arial" panose="020B0604020202020204" pitchFamily="34" charset="0"/>
              </a:rPr>
            </a:br>
            <a:r>
              <a:rPr lang="en-GB" dirty="0">
                <a:latin typeface="Arial" panose="020B0604020202020204" pitchFamily="34" charset="0"/>
              </a:rPr>
              <a:t>5. Turner NC, et al. Supplementary appendix. </a:t>
            </a:r>
            <a:r>
              <a:rPr lang="en-GB" i="1" dirty="0">
                <a:latin typeface="Arial" panose="020B0604020202020204" pitchFamily="34" charset="0"/>
              </a:rPr>
              <a:t>N Engl J Med </a:t>
            </a:r>
            <a:r>
              <a:rPr lang="en-GB" dirty="0">
                <a:latin typeface="Arial" panose="020B0604020202020204" pitchFamily="34" charset="0"/>
              </a:rPr>
              <a:t>2023;388:2058–2070. </a:t>
            </a:r>
          </a:p>
        </p:txBody>
      </p:sp>
      <p:graphicFrame>
        <p:nvGraphicFramePr>
          <p:cNvPr id="16" name="Chart 15">
            <a:extLst>
              <a:ext uri="{FF2B5EF4-FFF2-40B4-BE49-F238E27FC236}">
                <a16:creationId xmlns:a16="http://schemas.microsoft.com/office/drawing/2014/main" id="{8F0C00BB-D2C7-F82B-C455-16BEBFE9909F}"/>
              </a:ext>
            </a:extLst>
          </p:cNvPr>
          <p:cNvGraphicFramePr/>
          <p:nvPr/>
        </p:nvGraphicFramePr>
        <p:xfrm>
          <a:off x="812799" y="3068995"/>
          <a:ext cx="5283201" cy="312251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FE9D34AA-7D78-93E0-868E-39BC36F69527}"/>
              </a:ext>
            </a:extLst>
          </p:cNvPr>
          <p:cNvSpPr txBox="1"/>
          <p:nvPr/>
        </p:nvSpPr>
        <p:spPr>
          <a:xfrm>
            <a:off x="1515439" y="2914128"/>
            <a:ext cx="388936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Spectrum of alterations in mHSPC</a:t>
            </a:r>
            <a:r>
              <a:rPr kumimoji="0" lang="en-GB" sz="1400" b="1"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3</a:t>
            </a:r>
          </a:p>
        </p:txBody>
      </p:sp>
      <p:sp>
        <p:nvSpPr>
          <p:cNvPr id="10" name="Rectangle: Rounded Corners 9">
            <a:extLst>
              <a:ext uri="{FF2B5EF4-FFF2-40B4-BE49-F238E27FC236}">
                <a16:creationId xmlns:a16="http://schemas.microsoft.com/office/drawing/2014/main" id="{299C6D9D-9912-A5C0-EF69-10B11FAACE84}"/>
              </a:ext>
            </a:extLst>
          </p:cNvPr>
          <p:cNvSpPr/>
          <p:nvPr/>
        </p:nvSpPr>
        <p:spPr>
          <a:xfrm>
            <a:off x="831439" y="1956121"/>
            <a:ext cx="5257366" cy="867759"/>
          </a:xfrm>
          <a:prstGeom prst="roundRect">
            <a:avLst/>
          </a:prstGeom>
          <a:solidFill>
            <a:schemeClr val="accent6">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1" indent="0" algn="ctr" defTabSz="914400" rtl="0" eaLnBrk="1" fontAlgn="auto" latinLnBrk="0" hangingPunct="1">
              <a:lnSpc>
                <a:spcPct val="115000"/>
              </a:lnSpc>
              <a:spcBef>
                <a:spcPts val="600"/>
              </a:spcBef>
              <a:spcAft>
                <a:spcPts val="0"/>
              </a:spcAft>
              <a:buClr>
                <a:srgbClr val="A02B93">
                  <a:lumMod val="50000"/>
                </a:srgbClr>
              </a:buClr>
              <a:buSzPct val="120000"/>
              <a:buFontTx/>
              <a:buNone/>
              <a:tabLst/>
              <a:defRPr/>
            </a:pPr>
            <a:r>
              <a:rPr kumimoji="0" lang="en-GB" sz="1400" b="1" i="0" u="none" strike="noStrike" kern="1200" cap="none" spc="0" normalizeH="0" baseline="0" noProof="0" dirty="0">
                <a:ln>
                  <a:noFill/>
                </a:ln>
                <a:solidFill>
                  <a:srgbClr val="000000"/>
                </a:solidFill>
                <a:effectLst/>
                <a:uLnTx/>
                <a:uFillTx/>
                <a:latin typeface="Aptos" panose="02110004020202020204"/>
                <a:ea typeface="+mn-ea"/>
                <a:cs typeface="+mn-cs"/>
              </a:rPr>
              <a:t>PC/</a:t>
            </a:r>
            <a:r>
              <a:rPr kumimoji="0" lang="en-GB" sz="1400" b="1" i="0" u="none" strike="noStrike" kern="1200" cap="none" spc="0" normalizeH="0" baseline="0" noProof="0" dirty="0" err="1">
                <a:ln>
                  <a:noFill/>
                </a:ln>
                <a:solidFill>
                  <a:srgbClr val="000000"/>
                </a:solidFill>
                <a:effectLst/>
                <a:uLnTx/>
                <a:uFillTx/>
                <a:latin typeface="Aptos" panose="02110004020202020204"/>
                <a:ea typeface="+mn-ea"/>
                <a:cs typeface="+mn-cs"/>
              </a:rPr>
              <a:t>mHSPC</a:t>
            </a:r>
            <a:endParaRPr kumimoji="0" lang="en-GB" sz="1400" b="1" i="0" u="none" strike="noStrike" kern="1200" cap="none" spc="0" normalizeH="0" baseline="0" noProof="0" dirty="0">
              <a:ln>
                <a:noFill/>
              </a:ln>
              <a:solidFill>
                <a:srgbClr val="000000"/>
              </a:solidFill>
              <a:effectLst/>
              <a:uLnTx/>
              <a:uFillTx/>
              <a:latin typeface="Aptos" panose="02110004020202020204"/>
              <a:ea typeface="+mn-ea"/>
              <a:cs typeface="+mn-cs"/>
            </a:endParaRPr>
          </a:p>
          <a:p>
            <a:pPr marL="0" marR="0" lvl="1" indent="0" algn="ctr" defTabSz="914400" rtl="0" eaLnBrk="1" fontAlgn="auto" latinLnBrk="0" hangingPunct="1">
              <a:lnSpc>
                <a:spcPct val="115000"/>
              </a:lnSpc>
              <a:spcBef>
                <a:spcPts val="60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In PC, alterations such as </a:t>
            </a:r>
            <a:r>
              <a:rPr kumimoji="0" lang="en-GB" sz="1200" b="0" i="1" u="none" strike="noStrike" kern="1200" cap="none" spc="0" normalizeH="0" baseline="0" noProof="0">
                <a:ln>
                  <a:noFill/>
                </a:ln>
                <a:solidFill>
                  <a:prstClr val="black">
                    <a:lumMod val="50000"/>
                  </a:prstClr>
                </a:solidFill>
                <a:effectLst/>
                <a:uLnTx/>
                <a:uFillTx/>
                <a:latin typeface="Aptos" panose="02110004020202020204"/>
                <a:ea typeface="+mn-ea"/>
                <a:cs typeface="+mn-cs"/>
              </a:rPr>
              <a:t>PTEN</a:t>
            </a:r>
            <a:r>
              <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 rearrangements and deletions are the predominant causes of PI3K/AKT pathway activation</a:t>
            </a:r>
            <a:r>
              <a:rPr kumimoji="0" lang="en-GB" sz="1200" b="0"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1,2</a:t>
            </a:r>
            <a:endParaRPr kumimoji="0" lang="en-GB" sz="1400" b="0" i="0" u="none" strike="noStrike" kern="1200" cap="none" spc="0" normalizeH="0" baseline="0" noProof="0">
              <a:ln>
                <a:noFill/>
              </a:ln>
              <a:solidFill>
                <a:prstClr val="black">
                  <a:lumMod val="50000"/>
                </a:prstClr>
              </a:solidFill>
              <a:effectLst/>
              <a:uLnTx/>
              <a:uFillTx/>
              <a:latin typeface="Aptos" panose="02110004020202020204"/>
              <a:ea typeface="+mn-ea"/>
              <a:cs typeface="+mn-cs"/>
            </a:endParaRPr>
          </a:p>
        </p:txBody>
      </p:sp>
      <p:sp>
        <p:nvSpPr>
          <p:cNvPr id="17" name="Rectangle: Rounded Corners 16">
            <a:extLst>
              <a:ext uri="{FF2B5EF4-FFF2-40B4-BE49-F238E27FC236}">
                <a16:creationId xmlns:a16="http://schemas.microsoft.com/office/drawing/2014/main" id="{641ACAD1-47F3-2707-EDF8-CE6796D26D35}"/>
              </a:ext>
            </a:extLst>
          </p:cNvPr>
          <p:cNvSpPr/>
          <p:nvPr/>
        </p:nvSpPr>
        <p:spPr>
          <a:xfrm>
            <a:off x="6458579" y="1956122"/>
            <a:ext cx="5316540" cy="867758"/>
          </a:xfrm>
          <a:prstGeom prst="roundRect">
            <a:avLst/>
          </a:prstGeom>
          <a:solidFill>
            <a:schemeClr val="accent2">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1" indent="0" algn="ctr" defTabSz="914400" rtl="0" eaLnBrk="1" fontAlgn="auto" latinLnBrk="0" hangingPunct="1">
              <a:lnSpc>
                <a:spcPct val="115000"/>
              </a:lnSpc>
              <a:spcBef>
                <a:spcPts val="6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ER+/HER2– mBC</a:t>
            </a:r>
          </a:p>
          <a:p>
            <a:pPr marL="0" marR="0" lvl="1" indent="0" algn="ctr" defTabSz="914400" rtl="0" eaLnBrk="1" fontAlgn="auto" latinLnBrk="0" hangingPunct="1">
              <a:lnSpc>
                <a:spcPct val="115000"/>
              </a:lnSpc>
              <a:spcBef>
                <a:spcPts val="600"/>
              </a:spcBef>
              <a:spcAft>
                <a:spcPts val="0"/>
              </a:spcAft>
              <a:buClr>
                <a:srgbClr val="A02B93">
                  <a:lumMod val="50000"/>
                </a:srgbClr>
              </a:buClr>
              <a:buSzPct val="120000"/>
              <a:buFontTx/>
              <a:buNone/>
              <a:tabLst/>
              <a:defRPr/>
            </a:pPr>
            <a:r>
              <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In ER+ mBC, PI3K/AKT pathway activation commonly occurs through alterations in </a:t>
            </a:r>
            <a:r>
              <a:rPr kumimoji="0" lang="en-GB" sz="1200" b="0" i="1" u="none" strike="noStrike" kern="1200" cap="none" spc="0" normalizeH="0" baseline="0" noProof="0">
                <a:ln>
                  <a:noFill/>
                </a:ln>
                <a:solidFill>
                  <a:prstClr val="black">
                    <a:lumMod val="50000"/>
                  </a:prstClr>
                </a:solidFill>
                <a:effectLst/>
                <a:uLnTx/>
                <a:uFillTx/>
                <a:latin typeface="Aptos" panose="02110004020202020204"/>
                <a:ea typeface="+mn-ea"/>
                <a:cs typeface="+mn-cs"/>
              </a:rPr>
              <a:t>PIK3CA</a:t>
            </a:r>
            <a:r>
              <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 </a:t>
            </a:r>
            <a:r>
              <a:rPr kumimoji="0" lang="en-GB" sz="1200" b="0" i="1" u="none" strike="noStrike" kern="1200" cap="none" spc="0" normalizeH="0" baseline="0" noProof="0">
                <a:ln>
                  <a:noFill/>
                </a:ln>
                <a:solidFill>
                  <a:prstClr val="black">
                    <a:lumMod val="50000"/>
                  </a:prstClr>
                </a:solidFill>
                <a:effectLst/>
                <a:uLnTx/>
                <a:uFillTx/>
                <a:latin typeface="Aptos" panose="02110004020202020204"/>
                <a:ea typeface="+mn-ea"/>
                <a:cs typeface="+mn-cs"/>
              </a:rPr>
              <a:t>AKT1</a:t>
            </a:r>
            <a:r>
              <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 and/or </a:t>
            </a:r>
            <a:r>
              <a:rPr kumimoji="0" lang="en-GB" sz="1200" b="0" i="1" u="none" strike="noStrike" kern="1200" cap="none" spc="0" normalizeH="0" baseline="0" noProof="0">
                <a:ln>
                  <a:noFill/>
                </a:ln>
                <a:solidFill>
                  <a:prstClr val="black">
                    <a:lumMod val="50000"/>
                  </a:prstClr>
                </a:solidFill>
                <a:effectLst/>
                <a:uLnTx/>
                <a:uFillTx/>
                <a:latin typeface="Aptos" panose="02110004020202020204"/>
                <a:ea typeface="+mn-ea"/>
                <a:cs typeface="+mn-cs"/>
              </a:rPr>
              <a:t>PTEN</a:t>
            </a:r>
            <a:r>
              <a:rPr kumimoji="0" lang="en-GB" sz="1200" b="0"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4</a:t>
            </a:r>
            <a:endParaRPr kumimoji="0" lang="en-GB" sz="1200" b="0" i="0" u="none" strike="noStrike" kern="1200" cap="none" spc="0" normalizeH="0" baseline="0" noProof="0">
              <a:ln>
                <a:noFill/>
              </a:ln>
              <a:solidFill>
                <a:prstClr val="black">
                  <a:lumMod val="50000"/>
                </a:prstClr>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EAC78EDF-6E28-78E9-5A5F-142B9690625C}"/>
              </a:ext>
            </a:extLst>
          </p:cNvPr>
          <p:cNvSpPr txBox="1"/>
          <p:nvPr/>
        </p:nvSpPr>
        <p:spPr>
          <a:xfrm>
            <a:off x="6741789" y="2912205"/>
            <a:ext cx="47501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Spectrum of alterations in ER+/HER2– mBC</a:t>
            </a:r>
            <a:r>
              <a:rPr kumimoji="0" lang="en-GB" sz="1400" b="1"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 </a:t>
            </a:r>
          </a:p>
        </p:txBody>
      </p:sp>
      <p:graphicFrame>
        <p:nvGraphicFramePr>
          <p:cNvPr id="12" name="Chart 11">
            <a:extLst>
              <a:ext uri="{FF2B5EF4-FFF2-40B4-BE49-F238E27FC236}">
                <a16:creationId xmlns:a16="http://schemas.microsoft.com/office/drawing/2014/main" id="{EBC09ECD-92BE-65B2-A03D-F1AEF6432C3E}"/>
              </a:ext>
            </a:extLst>
          </p:cNvPr>
          <p:cNvGraphicFramePr/>
          <p:nvPr/>
        </p:nvGraphicFramePr>
        <p:xfrm>
          <a:off x="6487485" y="3226047"/>
          <a:ext cx="5283201" cy="2963545"/>
        </p:xfrm>
        <a:graphic>
          <a:graphicData uri="http://schemas.openxmlformats.org/drawingml/2006/chart">
            <c:chart xmlns:c="http://schemas.openxmlformats.org/drawingml/2006/chart" xmlns:r="http://schemas.openxmlformats.org/officeDocument/2006/relationships" r:id="rId4"/>
          </a:graphicData>
        </a:graphic>
      </p:graphicFrame>
      <p:cxnSp>
        <p:nvCxnSpPr>
          <p:cNvPr id="31" name="Gold line">
            <a:extLst>
              <a:ext uri="{FF2B5EF4-FFF2-40B4-BE49-F238E27FC236}">
                <a16:creationId xmlns:a16="http://schemas.microsoft.com/office/drawing/2014/main" id="{A6178BCB-C65D-7B03-5D1B-854755BB9290}"/>
              </a:ext>
            </a:extLst>
          </p:cNvPr>
          <p:cNvCxnSpPr>
            <a:cxnSpLocks noGrp="1" noRot="1" noMove="1" noResize="1" noEditPoints="1" noAdjustHandles="1" noChangeArrowheads="1" noChangeShapeType="1"/>
          </p:cNvCxnSpPr>
          <p:nvPr/>
        </p:nvCxnSpPr>
        <p:spPr>
          <a:xfrm>
            <a:off x="395462" y="847546"/>
            <a:ext cx="0" cy="720000"/>
          </a:xfrm>
          <a:prstGeom prst="line">
            <a:avLst/>
          </a:prstGeom>
          <a:ln w="38100">
            <a:gradFill>
              <a:gsLst>
                <a:gs pos="20000">
                  <a:schemeClr val="accent2"/>
                </a:gs>
                <a:gs pos="100000">
                  <a:schemeClr val="accent2">
                    <a:lumMod val="20000"/>
                    <a:lumOff val="8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9124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46370D62-AC4E-5926-7343-312BFD0B21B8}"/>
              </a:ext>
            </a:extLst>
          </p:cNvPr>
          <p:cNvGraphicFramePr/>
          <p:nvPr/>
        </p:nvGraphicFramePr>
        <p:xfrm>
          <a:off x="-162046" y="2196668"/>
          <a:ext cx="5970999" cy="2607568"/>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Rounded Corners 4">
            <a:extLst>
              <a:ext uri="{FF2B5EF4-FFF2-40B4-BE49-F238E27FC236}">
                <a16:creationId xmlns:a16="http://schemas.microsoft.com/office/drawing/2014/main" id="{E7C2844A-7E69-4943-469B-6F0AE88C4AA5}"/>
              </a:ext>
            </a:extLst>
          </p:cNvPr>
          <p:cNvSpPr/>
          <p:nvPr/>
        </p:nvSpPr>
        <p:spPr>
          <a:xfrm>
            <a:off x="9112471" y="2517234"/>
            <a:ext cx="1692000" cy="1352469"/>
          </a:xfrm>
          <a:prstGeom prst="roundRect">
            <a:avLst/>
          </a:prstGeom>
          <a:solidFill>
            <a:schemeClr val="accent6">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6A5D63B3-592C-8A34-167D-3D2BBCB70BB1}"/>
              </a:ext>
            </a:extLst>
          </p:cNvPr>
          <p:cNvSpPr/>
          <p:nvPr/>
        </p:nvSpPr>
        <p:spPr>
          <a:xfrm>
            <a:off x="9542842" y="2862633"/>
            <a:ext cx="831258" cy="463410"/>
          </a:xfrm>
          <a:prstGeom prst="ellipse">
            <a:avLst/>
          </a:prstGeom>
          <a:gradFill>
            <a:gsLst>
              <a:gs pos="0">
                <a:srgbClr val="003865">
                  <a:lumMod val="5000"/>
                  <a:lumOff val="95000"/>
                </a:srgbClr>
              </a:gs>
              <a:gs pos="77000">
                <a:schemeClr val="tx2"/>
              </a:gs>
              <a:gs pos="100000">
                <a:schemeClr val="tx2">
                  <a:lumMod val="10000"/>
                  <a:lumOff val="90000"/>
                </a:schemeClr>
              </a:gs>
            </a:gsLst>
            <a:lin ang="4200000" scaled="0"/>
          </a:gradFill>
          <a:ln w="12700" cap="flat" cmpd="sng" algn="ctr">
            <a:solidFill>
              <a:schemeClr val="tx2"/>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glow rad="76200">
                    <a:srgbClr val="FFFFFF">
                      <a:alpha val="40000"/>
                    </a:srgbClr>
                  </a:glow>
                </a:effectLst>
                <a:uLnTx/>
                <a:uFillTx/>
                <a:latin typeface="Aptos" panose="02110004020202020204"/>
                <a:ea typeface="+mn-ea"/>
                <a:cs typeface="Calibri" panose="020F0502020204030204" pitchFamily="34" charset="0"/>
              </a:rPr>
              <a:t>PTEN</a:t>
            </a:r>
          </a:p>
        </p:txBody>
      </p:sp>
      <p:sp>
        <p:nvSpPr>
          <p:cNvPr id="2" name="Title 1">
            <a:extLst>
              <a:ext uri="{FF2B5EF4-FFF2-40B4-BE49-F238E27FC236}">
                <a16:creationId xmlns:a16="http://schemas.microsoft.com/office/drawing/2014/main" id="{AA41D62E-E1C0-67FD-2263-9DA70C43942E}"/>
              </a:ext>
            </a:extLst>
          </p:cNvPr>
          <p:cNvSpPr>
            <a:spLocks noGrp="1"/>
          </p:cNvSpPr>
          <p:nvPr>
            <p:ph type="title"/>
          </p:nvPr>
        </p:nvSpPr>
        <p:spPr>
          <a:xfrm>
            <a:off x="680732" y="491548"/>
            <a:ext cx="10947394" cy="1325563"/>
          </a:xfrm>
        </p:spPr>
        <p:txBody>
          <a:bodyPr>
            <a:noAutofit/>
          </a:bodyPr>
          <a:lstStyle/>
          <a:p>
            <a:r>
              <a:rPr lang="en-GB" sz="3200" dirty="0"/>
              <a:t>PTEN deficiency in PC is primarily due to </a:t>
            </a:r>
            <a:r>
              <a:rPr lang="en-GB" sz="3200" i="1" dirty="0"/>
              <a:t>PTEN</a:t>
            </a:r>
            <a:r>
              <a:rPr lang="en-GB" sz="3200" dirty="0"/>
              <a:t> gene deletions, and the resulting loss of detectable PTEN protein can be assessed by IHC</a:t>
            </a:r>
          </a:p>
        </p:txBody>
      </p:sp>
      <p:sp>
        <p:nvSpPr>
          <p:cNvPr id="4" name="Text Placeholder 3">
            <a:extLst>
              <a:ext uri="{FF2B5EF4-FFF2-40B4-BE49-F238E27FC236}">
                <a16:creationId xmlns:a16="http://schemas.microsoft.com/office/drawing/2014/main" id="{9C030EF7-FFAA-4AE1-9892-3D3C354D2259}"/>
              </a:ext>
            </a:extLst>
          </p:cNvPr>
          <p:cNvSpPr>
            <a:spLocks noGrp="1"/>
          </p:cNvSpPr>
          <p:nvPr>
            <p:ph type="body" sz="quarter" idx="11"/>
          </p:nvPr>
        </p:nvSpPr>
        <p:spPr/>
        <p:txBody>
          <a:bodyPr/>
          <a:lstStyle/>
          <a:p>
            <a:r>
              <a:rPr lang="en-GB" sz="800" dirty="0">
                <a:latin typeface="+mj-lt"/>
              </a:rPr>
              <a:t>Graphical data sourced from </a:t>
            </a:r>
            <a:r>
              <a:rPr lang="en-GB" sz="800" dirty="0" err="1">
                <a:latin typeface="+mj-lt"/>
              </a:rPr>
              <a:t>Stopsack</a:t>
            </a:r>
            <a:r>
              <a:rPr lang="en-GB" sz="800" dirty="0">
                <a:latin typeface="+mj-lt"/>
              </a:rPr>
              <a:t> KH, et al. </a:t>
            </a:r>
            <a:r>
              <a:rPr lang="en-GB" sz="800" i="1" dirty="0">
                <a:latin typeface="+mj-lt"/>
              </a:rPr>
              <a:t>Clin Cancer Res </a:t>
            </a:r>
            <a:r>
              <a:rPr lang="en-GB" sz="800" dirty="0">
                <a:latin typeface="+mj-lt"/>
              </a:rPr>
              <a:t>2020</a:t>
            </a:r>
            <a:r>
              <a:rPr lang="en-GB" sz="800" baseline="30000" dirty="0">
                <a:latin typeface="+mj-lt"/>
              </a:rPr>
              <a:t>5</a:t>
            </a:r>
            <a:br>
              <a:rPr lang="en-GB" sz="800" dirty="0">
                <a:latin typeface="+mj-lt"/>
              </a:rPr>
            </a:br>
            <a:r>
              <a:rPr lang="en-GB" sz="800" dirty="0">
                <a:latin typeface="+mj-lt"/>
              </a:rPr>
              <a:t>IHC, immunohistochemistry; mHSPC, metastatic hormone-sensitive prostate cancer; PC, prostate cancer; PTEN, phosphatase and </a:t>
            </a:r>
            <a:r>
              <a:rPr lang="en-GB" sz="800" dirty="0" err="1">
                <a:latin typeface="+mj-lt"/>
              </a:rPr>
              <a:t>tensin</a:t>
            </a:r>
            <a:r>
              <a:rPr lang="en-GB" sz="800" dirty="0">
                <a:latin typeface="+mj-lt"/>
              </a:rPr>
              <a:t> homologue.</a:t>
            </a:r>
            <a:br>
              <a:rPr lang="en-GB" sz="800" dirty="0">
                <a:latin typeface="+mj-lt"/>
              </a:rPr>
            </a:br>
            <a:r>
              <a:rPr lang="en-GB" sz="800" dirty="0">
                <a:latin typeface="+mj-lt"/>
              </a:rPr>
              <a:t>1. </a:t>
            </a:r>
            <a:r>
              <a:rPr lang="nb-NO" sz="800" dirty="0"/>
              <a:t>Fizazi K et al. </a:t>
            </a:r>
            <a:r>
              <a:rPr lang="nb-NO" sz="800" i="1" dirty="0"/>
              <a:t>Ann Oncol</a:t>
            </a:r>
            <a:r>
              <a:rPr lang="nb-NO" sz="800" dirty="0"/>
              <a:t>. 2025</a:t>
            </a:r>
            <a:r>
              <a:rPr lang="en-GB" sz="800" dirty="0">
                <a:latin typeface="+mj-lt"/>
              </a:rPr>
              <a:t>; 2. Pulido R, et al. </a:t>
            </a:r>
            <a:r>
              <a:rPr lang="en-GB" sz="800" i="1" dirty="0">
                <a:latin typeface="+mj-lt"/>
              </a:rPr>
              <a:t>Cold Spring Harb </a:t>
            </a:r>
            <a:r>
              <a:rPr lang="en-GB" sz="800" i="1" dirty="0" err="1">
                <a:latin typeface="+mj-lt"/>
              </a:rPr>
              <a:t>Perspect</a:t>
            </a:r>
            <a:r>
              <a:rPr lang="en-GB" sz="800" i="1" dirty="0">
                <a:latin typeface="+mj-lt"/>
              </a:rPr>
              <a:t> Med</a:t>
            </a:r>
            <a:r>
              <a:rPr lang="en-GB" sz="800" dirty="0">
                <a:latin typeface="+mj-lt"/>
              </a:rPr>
              <a:t> 2019;9:a036293; 3. Wise HM, et al. </a:t>
            </a:r>
            <a:r>
              <a:rPr lang="en-GB" sz="800" i="1" dirty="0">
                <a:latin typeface="+mj-lt"/>
              </a:rPr>
              <a:t>Clin Sci</a:t>
            </a:r>
            <a:r>
              <a:rPr lang="en-GB" sz="800" dirty="0">
                <a:latin typeface="+mj-lt"/>
              </a:rPr>
              <a:t> 2017;131:197–210; 4. Lotan TL, et al. </a:t>
            </a:r>
            <a:r>
              <a:rPr lang="en-GB" sz="800" i="1" dirty="0">
                <a:latin typeface="+mj-lt"/>
              </a:rPr>
              <a:t>Mod </a:t>
            </a:r>
            <a:r>
              <a:rPr lang="en-GB" sz="800" i="1" dirty="0" err="1">
                <a:latin typeface="+mj-lt"/>
              </a:rPr>
              <a:t>Pathol</a:t>
            </a:r>
            <a:r>
              <a:rPr lang="en-GB" sz="800" i="1" dirty="0">
                <a:latin typeface="+mj-lt"/>
              </a:rPr>
              <a:t> </a:t>
            </a:r>
            <a:r>
              <a:rPr lang="en-GB" sz="800" dirty="0">
                <a:latin typeface="+mj-lt"/>
              </a:rPr>
              <a:t>2016;29:904-14;</a:t>
            </a:r>
            <a:br>
              <a:rPr lang="en-GB" sz="800" dirty="0">
                <a:latin typeface="+mj-lt"/>
              </a:rPr>
            </a:br>
            <a:r>
              <a:rPr lang="en-GB" sz="800" dirty="0">
                <a:latin typeface="+mj-lt"/>
              </a:rPr>
              <a:t>5. </a:t>
            </a:r>
            <a:r>
              <a:rPr lang="en-GB" sz="800" dirty="0" err="1">
                <a:latin typeface="+mj-lt"/>
              </a:rPr>
              <a:t>Stopsack</a:t>
            </a:r>
            <a:r>
              <a:rPr lang="en-GB" sz="800" dirty="0">
                <a:latin typeface="+mj-lt"/>
              </a:rPr>
              <a:t> KH, et al. </a:t>
            </a:r>
            <a:r>
              <a:rPr lang="en-GB" sz="800" i="1" dirty="0">
                <a:latin typeface="+mj-lt"/>
              </a:rPr>
              <a:t>Clin Cancer Res</a:t>
            </a:r>
            <a:r>
              <a:rPr lang="en-GB" sz="800" dirty="0">
                <a:latin typeface="+mj-lt"/>
              </a:rPr>
              <a:t> 2020;26:3230-3238.</a:t>
            </a:r>
          </a:p>
        </p:txBody>
      </p:sp>
      <p:sp>
        <p:nvSpPr>
          <p:cNvPr id="38" name="Rectangle: Rounded Corners 37">
            <a:extLst>
              <a:ext uri="{FF2B5EF4-FFF2-40B4-BE49-F238E27FC236}">
                <a16:creationId xmlns:a16="http://schemas.microsoft.com/office/drawing/2014/main" id="{C91DD760-6321-CD45-EC7D-3CB05EAE9C76}"/>
              </a:ext>
            </a:extLst>
          </p:cNvPr>
          <p:cNvSpPr>
            <a:spLocks/>
          </p:cNvSpPr>
          <p:nvPr/>
        </p:nvSpPr>
        <p:spPr>
          <a:xfrm>
            <a:off x="6724524" y="4706359"/>
            <a:ext cx="4775894" cy="1080000"/>
          </a:xfrm>
          <a:prstGeom prst="roundRect">
            <a:avLst/>
          </a:prstGeom>
          <a:solidFill>
            <a:schemeClr val="accent6">
              <a:lumMod val="20000"/>
              <a:lumOff val="80000"/>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Mechanisms resulting in PTEN deficiency are diverse, but </a:t>
            </a: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both homozygous and heterozygous genomic </a:t>
            </a:r>
            <a:r>
              <a:rPr kumimoji="0" lang="en-GB" sz="1400" b="1" i="1" u="none" strike="noStrike" kern="1200" cap="none" spc="0" normalizeH="0" baseline="0" noProof="0">
                <a:ln>
                  <a:noFill/>
                </a:ln>
                <a:solidFill>
                  <a:prstClr val="black">
                    <a:lumMod val="50000"/>
                  </a:prstClr>
                </a:solidFill>
                <a:effectLst/>
                <a:uLnTx/>
                <a:uFillTx/>
                <a:latin typeface="Aptos" panose="02110004020202020204"/>
                <a:ea typeface="+mn-ea"/>
                <a:cs typeface="+mn-cs"/>
              </a:rPr>
              <a:t>PTEN </a:t>
            </a: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deletions are frequent and accompanied by loss of detectable protein that can be assessed by IHC</a:t>
            </a:r>
            <a:r>
              <a:rPr kumimoji="0" lang="en-GB" sz="1400" b="1"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3</a:t>
            </a:r>
          </a:p>
        </p:txBody>
      </p:sp>
      <p:sp>
        <p:nvSpPr>
          <p:cNvPr id="21" name="TextBox 20">
            <a:extLst>
              <a:ext uri="{FF2B5EF4-FFF2-40B4-BE49-F238E27FC236}">
                <a16:creationId xmlns:a16="http://schemas.microsoft.com/office/drawing/2014/main" id="{8BCE2B3D-E683-3084-9831-7F9A1E8BBD8A}"/>
              </a:ext>
            </a:extLst>
          </p:cNvPr>
          <p:cNvSpPr txBox="1"/>
          <p:nvPr/>
        </p:nvSpPr>
        <p:spPr>
          <a:xfrm>
            <a:off x="2007164" y="2369343"/>
            <a:ext cx="24820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Gene aberrations in PC</a:t>
            </a:r>
            <a:r>
              <a:rPr kumimoji="0" lang="en-GB" sz="1200" b="1"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5</a:t>
            </a:r>
          </a:p>
        </p:txBody>
      </p:sp>
      <p:pic>
        <p:nvPicPr>
          <p:cNvPr id="15" name="Content Placeholder 52" descr="Close with solid fill">
            <a:extLst>
              <a:ext uri="{FF2B5EF4-FFF2-40B4-BE49-F238E27FC236}">
                <a16:creationId xmlns:a16="http://schemas.microsoft.com/office/drawing/2014/main" id="{9905A1CF-FF77-0BD0-DEA7-1D14E5E81C07}"/>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9650571" y="2794863"/>
            <a:ext cx="615800" cy="615800"/>
          </a:xfrm>
          <a:prstGeom prst="rect">
            <a:avLst/>
          </a:prstGeom>
        </p:spPr>
      </p:pic>
      <p:sp>
        <p:nvSpPr>
          <p:cNvPr id="17" name="TextBox 16">
            <a:extLst>
              <a:ext uri="{FF2B5EF4-FFF2-40B4-BE49-F238E27FC236}">
                <a16:creationId xmlns:a16="http://schemas.microsoft.com/office/drawing/2014/main" id="{ACBD794F-5D29-7C54-3536-5F00CDBBE9F9}"/>
              </a:ext>
            </a:extLst>
          </p:cNvPr>
          <p:cNvSpPr txBox="1"/>
          <p:nvPr/>
        </p:nvSpPr>
        <p:spPr>
          <a:xfrm>
            <a:off x="9297843" y="3380605"/>
            <a:ext cx="13212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E2841"/>
                </a:solidFill>
                <a:effectLst/>
                <a:uLnTx/>
                <a:uFillTx/>
                <a:latin typeface="Arial" panose="020B0604020202020204" pitchFamily="34" charset="0"/>
                <a:ea typeface="+mn-ea"/>
                <a:cs typeface="+mn-cs"/>
              </a:rPr>
              <a:t>PTEN protein deficiency</a:t>
            </a:r>
            <a:endParaRPr kumimoji="0" lang="en-GB" sz="1200" b="1" i="0" u="none" strike="noStrike" kern="1200" cap="none" spc="0" normalizeH="0" baseline="0" noProof="0">
              <a:ln>
                <a:noFill/>
              </a:ln>
              <a:solidFill>
                <a:srgbClr val="0E2841"/>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A99DE7FC-165E-A00A-5EBF-7F19A945F5D2}"/>
              </a:ext>
            </a:extLst>
          </p:cNvPr>
          <p:cNvSpPr txBox="1"/>
          <p:nvPr/>
        </p:nvSpPr>
        <p:spPr>
          <a:xfrm>
            <a:off x="6330878" y="2744545"/>
            <a:ext cx="96705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50000"/>
                  </a:prstClr>
                </a:solidFill>
                <a:effectLst/>
                <a:uLnTx/>
                <a:uFillTx/>
                <a:latin typeface="Arial" panose="020B0604020202020204" pitchFamily="34" charset="0"/>
                <a:ea typeface="+mn-ea"/>
                <a:cs typeface="+mn-cs"/>
              </a:rPr>
              <a:t>~90% of </a:t>
            </a:r>
            <a:br>
              <a:rPr kumimoji="0" lang="en-GB" sz="1200" b="1" i="0" u="none" strike="noStrike" kern="1200" cap="none" spc="0" normalizeH="0" baseline="0" noProof="0">
                <a:ln>
                  <a:noFill/>
                </a:ln>
                <a:solidFill>
                  <a:prstClr val="black">
                    <a:lumMod val="50000"/>
                  </a:prstClr>
                </a:solidFill>
                <a:effectLst/>
                <a:uLnTx/>
                <a:uFillTx/>
                <a:latin typeface="Arial" panose="020B0604020202020204" pitchFamily="34" charset="0"/>
                <a:ea typeface="+mn-ea"/>
                <a:cs typeface="+mn-cs"/>
              </a:rPr>
            </a:br>
            <a:r>
              <a:rPr kumimoji="0" lang="en-GB" sz="1200" b="1" i="0" u="none" strike="noStrike" kern="1200" cap="none" spc="0" normalizeH="0" baseline="0" noProof="0">
                <a:ln>
                  <a:noFill/>
                </a:ln>
                <a:solidFill>
                  <a:prstClr val="black">
                    <a:lumMod val="50000"/>
                  </a:prstClr>
                </a:solidFill>
                <a:effectLst/>
                <a:uLnTx/>
                <a:uFillTx/>
                <a:latin typeface="Arial" panose="020B0604020202020204" pitchFamily="34" charset="0"/>
                <a:ea typeface="+mn-ea"/>
                <a:cs typeface="+mn-cs"/>
              </a:rPr>
              <a:t>PC </a:t>
            </a:r>
            <a:r>
              <a:rPr kumimoji="0" lang="en-GB" sz="1200" b="1" i="1" u="none" strike="noStrike" kern="1200" cap="none" spc="0" normalizeH="0" baseline="0" noProof="0">
                <a:ln>
                  <a:noFill/>
                </a:ln>
                <a:solidFill>
                  <a:prstClr val="black">
                    <a:lumMod val="50000"/>
                  </a:prstClr>
                </a:solidFill>
                <a:effectLst/>
                <a:uLnTx/>
                <a:uFillTx/>
                <a:latin typeface="Arial" panose="020B0604020202020204" pitchFamily="34" charset="0"/>
                <a:ea typeface="+mn-ea"/>
                <a:cs typeface="+mn-cs"/>
              </a:rPr>
              <a:t>PTEN </a:t>
            </a:r>
            <a:r>
              <a:rPr kumimoji="0" lang="en-GB" sz="1200" b="1" i="0" u="none" strike="noStrike" kern="1200" cap="none" spc="0" normalizeH="0" baseline="0" noProof="0">
                <a:ln>
                  <a:noFill/>
                </a:ln>
                <a:solidFill>
                  <a:prstClr val="black">
                    <a:lumMod val="50000"/>
                  </a:prstClr>
                </a:solidFill>
                <a:effectLst/>
                <a:uLnTx/>
                <a:uFillTx/>
                <a:latin typeface="Arial" panose="020B0604020202020204" pitchFamily="34" charset="0"/>
                <a:ea typeface="+mn-ea"/>
                <a:cs typeface="+mn-cs"/>
              </a:rPr>
              <a:t>alterations </a:t>
            </a:r>
            <a:endParaRPr kumimoji="0" lang="en-GB" sz="1200" b="1" i="0" u="none" strike="noStrike" kern="1200" cap="none" spc="0" normalizeH="0" baseline="0" noProof="0">
              <a:ln>
                <a:noFill/>
              </a:ln>
              <a:solidFill>
                <a:prstClr val="black">
                  <a:lumMod val="50000"/>
                </a:prstClr>
              </a:solidFill>
              <a:effectLst/>
              <a:uLnTx/>
              <a:uFillTx/>
              <a:latin typeface="Arial" panose="020B0604020202020204"/>
              <a:ea typeface="+mn-ea"/>
              <a:cs typeface="+mn-cs"/>
            </a:endParaRPr>
          </a:p>
        </p:txBody>
      </p:sp>
      <p:sp>
        <p:nvSpPr>
          <p:cNvPr id="77" name="Arrow: Right 76">
            <a:extLst>
              <a:ext uri="{FF2B5EF4-FFF2-40B4-BE49-F238E27FC236}">
                <a16:creationId xmlns:a16="http://schemas.microsoft.com/office/drawing/2014/main" id="{86CEAEF0-06DD-ACB7-B24B-DC37D927CF1F}"/>
              </a:ext>
            </a:extLst>
          </p:cNvPr>
          <p:cNvSpPr/>
          <p:nvPr/>
        </p:nvSpPr>
        <p:spPr>
          <a:xfrm>
            <a:off x="7405666" y="2862633"/>
            <a:ext cx="1555454" cy="410154"/>
          </a:xfrm>
          <a:prstGeom prst="rightArrow">
            <a:avLst/>
          </a:prstGeom>
          <a:gradFill flip="none" rotWithShape="1">
            <a:gsLst>
              <a:gs pos="49000">
                <a:schemeClr val="accent2"/>
              </a:gs>
              <a:gs pos="51000">
                <a:schemeClr val="accent3"/>
              </a:gs>
            </a:gsLst>
            <a:lin ang="54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endParaRPr>
          </a:p>
        </p:txBody>
      </p:sp>
      <p:sp>
        <p:nvSpPr>
          <p:cNvPr id="3" name="Right Brace 2">
            <a:extLst>
              <a:ext uri="{FF2B5EF4-FFF2-40B4-BE49-F238E27FC236}">
                <a16:creationId xmlns:a16="http://schemas.microsoft.com/office/drawing/2014/main" id="{4337AB61-2FFF-9089-C073-F6DC001EECE9}"/>
              </a:ext>
            </a:extLst>
          </p:cNvPr>
          <p:cNvSpPr/>
          <p:nvPr/>
        </p:nvSpPr>
        <p:spPr>
          <a:xfrm>
            <a:off x="5443606" y="2759785"/>
            <a:ext cx="870107" cy="650878"/>
          </a:xfrm>
          <a:prstGeom prst="rightBrace">
            <a:avLst>
              <a:gd name="adj1" fmla="val 0"/>
              <a:gd name="adj2" fmla="val 49140"/>
            </a:avLst>
          </a:prstGeom>
          <a:ln w="31750">
            <a:gradFill>
              <a:gsLst>
                <a:gs pos="49000">
                  <a:schemeClr val="accent2"/>
                </a:gs>
                <a:gs pos="51000">
                  <a:schemeClr val="accent3"/>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Arrow: Down 7">
            <a:extLst>
              <a:ext uri="{FF2B5EF4-FFF2-40B4-BE49-F238E27FC236}">
                <a16:creationId xmlns:a16="http://schemas.microsoft.com/office/drawing/2014/main" id="{F0069678-8994-BDFD-517E-903D6A921FBA}"/>
              </a:ext>
            </a:extLst>
          </p:cNvPr>
          <p:cNvSpPr/>
          <p:nvPr/>
        </p:nvSpPr>
        <p:spPr>
          <a:xfrm>
            <a:off x="9787021" y="3937473"/>
            <a:ext cx="342900" cy="696406"/>
          </a:xfrm>
          <a:prstGeom prst="downArrow">
            <a:avLst>
              <a:gd name="adj1" fmla="val 36667"/>
              <a:gd name="adj2" fmla="val 50000"/>
            </a:avLst>
          </a:prstGeom>
          <a:solidFill>
            <a:srgbClr val="A4E4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endParaRPr>
          </a:p>
        </p:txBody>
      </p:sp>
      <p:sp>
        <p:nvSpPr>
          <p:cNvPr id="9" name="Arrow: Down 8">
            <a:extLst>
              <a:ext uri="{FF2B5EF4-FFF2-40B4-BE49-F238E27FC236}">
                <a16:creationId xmlns:a16="http://schemas.microsoft.com/office/drawing/2014/main" id="{DBD30698-42AA-1DBE-7910-AA3075A109E9}"/>
              </a:ext>
            </a:extLst>
          </p:cNvPr>
          <p:cNvSpPr/>
          <p:nvPr/>
        </p:nvSpPr>
        <p:spPr>
          <a:xfrm>
            <a:off x="2529299" y="4345879"/>
            <a:ext cx="342900" cy="288000"/>
          </a:xfrm>
          <a:prstGeom prst="downArrow">
            <a:avLst>
              <a:gd name="adj1" fmla="val 36667"/>
              <a:gd name="adj2" fmla="val 50000"/>
            </a:avLst>
          </a:pr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2F6AB35E-E2B5-BD76-3865-8DA87320BC56}"/>
              </a:ext>
            </a:extLst>
          </p:cNvPr>
          <p:cNvSpPr>
            <a:spLocks/>
          </p:cNvSpPr>
          <p:nvPr/>
        </p:nvSpPr>
        <p:spPr>
          <a:xfrm>
            <a:off x="1102765" y="4704465"/>
            <a:ext cx="4775894" cy="1080000"/>
          </a:xfrm>
          <a:prstGeom prst="roundRect">
            <a:avLst/>
          </a:prstGeom>
          <a:solidFill>
            <a:schemeClr val="accent2">
              <a:lumMod val="20000"/>
              <a:lumOff val="80000"/>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As not all </a:t>
            </a:r>
            <a:r>
              <a:rPr kumimoji="0" lang="en-GB" sz="1400" b="0" i="1" u="none" strike="noStrike" kern="1200" cap="none" spc="0" normalizeH="0" baseline="0" noProof="0">
                <a:ln>
                  <a:noFill/>
                </a:ln>
                <a:solidFill>
                  <a:prstClr val="black">
                    <a:lumMod val="50000"/>
                  </a:prstClr>
                </a:solidFill>
                <a:effectLst/>
                <a:uLnTx/>
                <a:uFillTx/>
                <a:latin typeface="Aptos" panose="02110004020202020204"/>
                <a:ea typeface="+mn-ea"/>
                <a:cs typeface="+mn-cs"/>
              </a:rPr>
              <a:t>PTEN</a:t>
            </a:r>
            <a:r>
              <a:rPr kumimoji="0" lang="en-GB" sz="14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 alterations result in PTEN protein deficiency, </a:t>
            </a: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IHC testing for protein expression </a:t>
            </a:r>
            <a:r>
              <a:rPr kumimoji="0" lang="en-GB" sz="14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is the most robust method to </a:t>
            </a: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determine actual loss of </a:t>
            </a:r>
            <a:b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br>
            <a:r>
              <a:rPr kumimoji="0" lang="en-GB" sz="1400" b="1" i="0" u="none" strike="noStrike" kern="1200" cap="none" spc="0" normalizeH="0" baseline="0" noProof="0">
                <a:ln>
                  <a:noFill/>
                </a:ln>
                <a:solidFill>
                  <a:prstClr val="black">
                    <a:lumMod val="50000"/>
                  </a:prstClr>
                </a:solidFill>
                <a:effectLst/>
                <a:uLnTx/>
                <a:uFillTx/>
                <a:latin typeface="Aptos" panose="02110004020202020204"/>
                <a:ea typeface="+mn-ea"/>
                <a:cs typeface="+mn-cs"/>
              </a:rPr>
              <a:t>PTEN function</a:t>
            </a:r>
            <a:r>
              <a:rPr kumimoji="0" lang="en-GB" sz="1400" b="1" i="0" u="none" strike="noStrike" kern="1200" cap="none" spc="0" normalizeH="0" baseline="30000" noProof="0">
                <a:ln>
                  <a:noFill/>
                </a:ln>
                <a:solidFill>
                  <a:prstClr val="black">
                    <a:lumMod val="50000"/>
                  </a:prstClr>
                </a:solidFill>
                <a:effectLst/>
                <a:uLnTx/>
                <a:uFillTx/>
                <a:latin typeface="Aptos" panose="02110004020202020204"/>
                <a:ea typeface="+mn-ea"/>
                <a:cs typeface="+mn-cs"/>
              </a:rPr>
              <a:t>2–4</a:t>
            </a:r>
          </a:p>
        </p:txBody>
      </p:sp>
      <p:cxnSp>
        <p:nvCxnSpPr>
          <p:cNvPr id="11" name="Gold line">
            <a:extLst>
              <a:ext uri="{FF2B5EF4-FFF2-40B4-BE49-F238E27FC236}">
                <a16:creationId xmlns:a16="http://schemas.microsoft.com/office/drawing/2014/main" id="{5022E548-0D4D-C4DF-2573-296B75739C1F}"/>
              </a:ext>
            </a:extLst>
          </p:cNvPr>
          <p:cNvCxnSpPr>
            <a:cxnSpLocks noGrp="1" noRot="1" noMove="1" noResize="1" noEditPoints="1" noAdjustHandles="1" noChangeArrowheads="1" noChangeShapeType="1"/>
          </p:cNvCxnSpPr>
          <p:nvPr/>
        </p:nvCxnSpPr>
        <p:spPr>
          <a:xfrm>
            <a:off x="395462" y="847546"/>
            <a:ext cx="0" cy="720000"/>
          </a:xfrm>
          <a:prstGeom prst="line">
            <a:avLst/>
          </a:prstGeom>
          <a:ln w="38100">
            <a:gradFill>
              <a:gsLst>
                <a:gs pos="20000">
                  <a:schemeClr val="accent2"/>
                </a:gs>
                <a:gs pos="100000">
                  <a:schemeClr val="accent2">
                    <a:lumMod val="20000"/>
                    <a:lumOff val="8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532357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375E05C-39AE-525A-999E-4F73C128DBBF}"/>
              </a:ext>
            </a:extLst>
          </p:cNvPr>
          <p:cNvPicPr>
            <a:picLocks noChangeAspect="1"/>
          </p:cNvPicPr>
          <p:nvPr/>
        </p:nvPicPr>
        <p:blipFill>
          <a:blip r:embed="rId3"/>
          <a:stretch>
            <a:fillRect/>
          </a:stretch>
        </p:blipFill>
        <p:spPr>
          <a:xfrm>
            <a:off x="7777322" y="1916360"/>
            <a:ext cx="4191157" cy="4312355"/>
          </a:xfrm>
          <a:prstGeom prst="rect">
            <a:avLst/>
          </a:prstGeom>
        </p:spPr>
      </p:pic>
      <p:sp>
        <p:nvSpPr>
          <p:cNvPr id="11" name="TextBox 10">
            <a:extLst>
              <a:ext uri="{FF2B5EF4-FFF2-40B4-BE49-F238E27FC236}">
                <a16:creationId xmlns:a16="http://schemas.microsoft.com/office/drawing/2014/main" id="{7A1EE00D-F4CE-A021-2867-AA20C5322968}"/>
              </a:ext>
            </a:extLst>
          </p:cNvPr>
          <p:cNvSpPr txBox="1"/>
          <p:nvPr/>
        </p:nvSpPr>
        <p:spPr>
          <a:xfrm>
            <a:off x="4380495" y="1426528"/>
            <a:ext cx="33968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TEN heterogenous loss</a:t>
            </a:r>
          </a:p>
        </p:txBody>
      </p:sp>
      <p:sp>
        <p:nvSpPr>
          <p:cNvPr id="2" name="Title 1">
            <a:extLst>
              <a:ext uri="{FF2B5EF4-FFF2-40B4-BE49-F238E27FC236}">
                <a16:creationId xmlns:a16="http://schemas.microsoft.com/office/drawing/2014/main" id="{33937C4F-8C9C-64D9-78AE-E9B519E95AE1}"/>
              </a:ext>
            </a:extLst>
          </p:cNvPr>
          <p:cNvSpPr>
            <a:spLocks noGrp="1"/>
          </p:cNvSpPr>
          <p:nvPr>
            <p:ph type="title"/>
          </p:nvPr>
        </p:nvSpPr>
        <p:spPr>
          <a:xfrm>
            <a:off x="206446" y="253950"/>
            <a:ext cx="11277600" cy="1325563"/>
          </a:xfrm>
        </p:spPr>
        <p:txBody>
          <a:bodyPr/>
          <a:lstStyle/>
          <a:p>
            <a:r>
              <a:rPr lang="en-US" dirty="0"/>
              <a:t>PTEN IHC vs Genetic Loss </a:t>
            </a:r>
          </a:p>
        </p:txBody>
      </p:sp>
      <p:pic>
        <p:nvPicPr>
          <p:cNvPr id="7" name="Picture 6">
            <a:extLst>
              <a:ext uri="{FF2B5EF4-FFF2-40B4-BE49-F238E27FC236}">
                <a16:creationId xmlns:a16="http://schemas.microsoft.com/office/drawing/2014/main" id="{66EF8F54-A16C-7523-B4E5-0F691D187761}"/>
              </a:ext>
            </a:extLst>
          </p:cNvPr>
          <p:cNvPicPr>
            <a:picLocks noChangeAspect="1"/>
          </p:cNvPicPr>
          <p:nvPr/>
        </p:nvPicPr>
        <p:blipFill>
          <a:blip r:embed="rId4"/>
          <a:stretch>
            <a:fillRect/>
          </a:stretch>
        </p:blipFill>
        <p:spPr>
          <a:xfrm>
            <a:off x="45563" y="2005648"/>
            <a:ext cx="4191157" cy="4312356"/>
          </a:xfrm>
          <a:prstGeom prst="rect">
            <a:avLst/>
          </a:prstGeom>
        </p:spPr>
      </p:pic>
      <p:sp>
        <p:nvSpPr>
          <p:cNvPr id="10" name="TextBox 9">
            <a:extLst>
              <a:ext uri="{FF2B5EF4-FFF2-40B4-BE49-F238E27FC236}">
                <a16:creationId xmlns:a16="http://schemas.microsoft.com/office/drawing/2014/main" id="{DA92E451-BA22-7819-4D3B-145961FAF8A3}"/>
              </a:ext>
            </a:extLst>
          </p:cNvPr>
          <p:cNvSpPr txBox="1"/>
          <p:nvPr/>
        </p:nvSpPr>
        <p:spPr>
          <a:xfrm>
            <a:off x="1276128" y="1432808"/>
            <a:ext cx="173002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TEN Intact</a:t>
            </a:r>
          </a:p>
        </p:txBody>
      </p:sp>
      <p:pic>
        <p:nvPicPr>
          <p:cNvPr id="15" name="Picture 14">
            <a:extLst>
              <a:ext uri="{FF2B5EF4-FFF2-40B4-BE49-F238E27FC236}">
                <a16:creationId xmlns:a16="http://schemas.microsoft.com/office/drawing/2014/main" id="{03CDB131-79B0-C947-3FD9-6D2A7B85AD34}"/>
              </a:ext>
            </a:extLst>
          </p:cNvPr>
          <p:cNvPicPr>
            <a:picLocks noChangeAspect="1"/>
          </p:cNvPicPr>
          <p:nvPr/>
        </p:nvPicPr>
        <p:blipFill>
          <a:blip r:embed="rId5"/>
          <a:stretch>
            <a:fillRect/>
          </a:stretch>
        </p:blipFill>
        <p:spPr>
          <a:xfrm>
            <a:off x="4108473" y="1931549"/>
            <a:ext cx="3797097" cy="4281976"/>
          </a:xfrm>
          <a:prstGeom prst="rect">
            <a:avLst/>
          </a:prstGeom>
        </p:spPr>
      </p:pic>
      <p:sp>
        <p:nvSpPr>
          <p:cNvPr id="16" name="TextBox 15">
            <a:extLst>
              <a:ext uri="{FF2B5EF4-FFF2-40B4-BE49-F238E27FC236}">
                <a16:creationId xmlns:a16="http://schemas.microsoft.com/office/drawing/2014/main" id="{49DFB958-B5C7-9956-5DAF-CCB2DD2F9A91}"/>
              </a:ext>
            </a:extLst>
          </p:cNvPr>
          <p:cNvSpPr txBox="1"/>
          <p:nvPr/>
        </p:nvSpPr>
        <p:spPr>
          <a:xfrm>
            <a:off x="8174486" y="1426528"/>
            <a:ext cx="33095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TEN homogenous loss</a:t>
            </a:r>
          </a:p>
        </p:txBody>
      </p:sp>
      <p:sp>
        <p:nvSpPr>
          <p:cNvPr id="17" name="TextBox 16">
            <a:extLst>
              <a:ext uri="{FF2B5EF4-FFF2-40B4-BE49-F238E27FC236}">
                <a16:creationId xmlns:a16="http://schemas.microsoft.com/office/drawing/2014/main" id="{7E9B00EC-A786-F5C5-6400-C4FCC354A69B}"/>
              </a:ext>
            </a:extLst>
          </p:cNvPr>
          <p:cNvSpPr txBox="1"/>
          <p:nvPr/>
        </p:nvSpPr>
        <p:spPr>
          <a:xfrm>
            <a:off x="6229664" y="6492874"/>
            <a:ext cx="452149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Lotan  T et al. </a:t>
            </a:r>
            <a:r>
              <a:rPr kumimoji="0" lang="da-DK" sz="1400" b="0" i="0" u="none" strike="noStrike" kern="1200" cap="none" spc="0" normalizeH="0" baseline="0" noProof="0" dirty="0">
                <a:ln>
                  <a:noFill/>
                </a:ln>
                <a:solidFill>
                  <a:prstClr val="black"/>
                </a:solidFill>
                <a:effectLst/>
                <a:uLnTx/>
                <a:uFillTx/>
                <a:latin typeface="Aptos" panose="02110004020202020204"/>
                <a:ea typeface="+mn-ea"/>
                <a:cs typeface="+mn-cs"/>
              </a:rPr>
              <a:t>Mod Pathol. 2016 August ; 29(8): 904–914. </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7873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1E223-63D5-8112-C19D-31943B7ADE57}"/>
              </a:ext>
            </a:extLst>
          </p:cNvPr>
          <p:cNvSpPr>
            <a:spLocks noGrp="1"/>
          </p:cNvSpPr>
          <p:nvPr>
            <p:ph type="title"/>
          </p:nvPr>
        </p:nvSpPr>
        <p:spPr>
          <a:xfrm>
            <a:off x="568960" y="365125"/>
            <a:ext cx="10784840" cy="1325563"/>
          </a:xfrm>
        </p:spPr>
        <p:txBody>
          <a:bodyPr/>
          <a:lstStyle/>
          <a:p>
            <a:r>
              <a:rPr lang="en-US" dirty="0"/>
              <a:t>Biologic Implications of PTEN Deficiency in PC</a:t>
            </a:r>
          </a:p>
        </p:txBody>
      </p:sp>
      <p:sp>
        <p:nvSpPr>
          <p:cNvPr id="3" name="Content Placeholder 2">
            <a:extLst>
              <a:ext uri="{FF2B5EF4-FFF2-40B4-BE49-F238E27FC236}">
                <a16:creationId xmlns:a16="http://schemas.microsoft.com/office/drawing/2014/main" id="{33CF2F35-271C-00BB-E67D-326DB6672261}"/>
              </a:ext>
            </a:extLst>
          </p:cNvPr>
          <p:cNvSpPr>
            <a:spLocks noGrp="1"/>
          </p:cNvSpPr>
          <p:nvPr>
            <p:ph idx="1"/>
          </p:nvPr>
        </p:nvSpPr>
        <p:spPr/>
        <p:txBody>
          <a:bodyPr>
            <a:normAutofit fontScale="92500" lnSpcReduction="10000"/>
          </a:bodyPr>
          <a:lstStyle/>
          <a:p>
            <a:r>
              <a:rPr lang="en-US" dirty="0"/>
              <a:t>PTEN loss in localized PC is often concurrent with genomic rearrangements involving the ETS family transcription factors</a:t>
            </a:r>
          </a:p>
          <a:p>
            <a:r>
              <a:rPr lang="en-US" dirty="0"/>
              <a:t>PTEN might be a useful prognostic biomarker to distinguish potentially aggressive Grade Group 1 or 2 tumors, which might make patients poor candidates for active surveillance</a:t>
            </a:r>
          </a:p>
          <a:p>
            <a:r>
              <a:rPr lang="en-US" dirty="0"/>
              <a:t>PTEN loss is associated with suppression of androgen receptor (AR) transcriptional output, and phosphoinositide 3-kinase (PI3K) inhibitors activate AR signaling, suggesting potential efficacy of combination therapies targeting the PI3K/AKT and AR signaling pathways</a:t>
            </a:r>
          </a:p>
          <a:p>
            <a:r>
              <a:rPr lang="en-US" dirty="0"/>
              <a:t>PTEN loss is associated with </a:t>
            </a:r>
            <a:r>
              <a:rPr lang="en-US" dirty="0" err="1"/>
              <a:t>transdifferentiation</a:t>
            </a:r>
            <a:r>
              <a:rPr lang="en-US" dirty="0"/>
              <a:t> to neuroendocrine PC, in combination with other biomarkers </a:t>
            </a:r>
          </a:p>
          <a:p>
            <a:endParaRPr lang="en-US" dirty="0"/>
          </a:p>
          <a:p>
            <a:endParaRPr lang="en-US" dirty="0"/>
          </a:p>
        </p:txBody>
      </p:sp>
    </p:spTree>
    <p:extLst>
      <p:ext uri="{BB962C8B-B14F-4D97-AF65-F5344CB8AC3E}">
        <p14:creationId xmlns:p14="http://schemas.microsoft.com/office/powerpoint/2010/main" val="29248500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261DD-9AB5-99D4-9E27-A72A10C81D66}"/>
              </a:ext>
            </a:extLst>
          </p:cNvPr>
          <p:cNvSpPr>
            <a:spLocks noGrp="1"/>
          </p:cNvSpPr>
          <p:nvPr>
            <p:ph type="title"/>
          </p:nvPr>
        </p:nvSpPr>
        <p:spPr/>
        <p:txBody>
          <a:bodyPr/>
          <a:lstStyle/>
          <a:p>
            <a:r>
              <a:rPr lang="en-US" dirty="0"/>
              <a:t>Crosstalk between AR and AKT signaling </a:t>
            </a:r>
          </a:p>
        </p:txBody>
      </p:sp>
      <p:pic>
        <p:nvPicPr>
          <p:cNvPr id="6" name="Picture 5">
            <a:extLst>
              <a:ext uri="{FF2B5EF4-FFF2-40B4-BE49-F238E27FC236}">
                <a16:creationId xmlns:a16="http://schemas.microsoft.com/office/drawing/2014/main" id="{B53B9FB9-2C46-133A-BEB5-89F0F7140052}"/>
              </a:ext>
            </a:extLst>
          </p:cNvPr>
          <p:cNvPicPr>
            <a:picLocks noChangeAspect="1"/>
          </p:cNvPicPr>
          <p:nvPr/>
        </p:nvPicPr>
        <p:blipFill>
          <a:blip r:embed="rId2"/>
          <a:stretch>
            <a:fillRect/>
          </a:stretch>
        </p:blipFill>
        <p:spPr>
          <a:xfrm>
            <a:off x="2214880" y="1414891"/>
            <a:ext cx="7236633" cy="4966224"/>
          </a:xfrm>
          <a:prstGeom prst="rect">
            <a:avLst/>
          </a:prstGeom>
        </p:spPr>
      </p:pic>
      <p:sp>
        <p:nvSpPr>
          <p:cNvPr id="7" name="TextBox 6">
            <a:extLst>
              <a:ext uri="{FF2B5EF4-FFF2-40B4-BE49-F238E27FC236}">
                <a16:creationId xmlns:a16="http://schemas.microsoft.com/office/drawing/2014/main" id="{046B08DB-463D-32A0-8DFF-EFF1B638447D}"/>
              </a:ext>
            </a:extLst>
          </p:cNvPr>
          <p:cNvSpPr txBox="1"/>
          <p:nvPr/>
        </p:nvSpPr>
        <p:spPr>
          <a:xfrm>
            <a:off x="8231804" y="6492875"/>
            <a:ext cx="381687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Tortorella E et al. Int. J. Mol. Sci. </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2023</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24, 2046 </a:t>
            </a:r>
          </a:p>
        </p:txBody>
      </p:sp>
      <p:sp>
        <p:nvSpPr>
          <p:cNvPr id="3" name="TextBox 2">
            <a:extLst>
              <a:ext uri="{FF2B5EF4-FFF2-40B4-BE49-F238E27FC236}">
                <a16:creationId xmlns:a16="http://schemas.microsoft.com/office/drawing/2014/main" id="{899B0087-61FC-1D32-80DE-62A07D8F8DB7}"/>
              </a:ext>
            </a:extLst>
          </p:cNvPr>
          <p:cNvSpPr txBox="1"/>
          <p:nvPr/>
        </p:nvSpPr>
        <p:spPr>
          <a:xfrm>
            <a:off x="7492455" y="4365058"/>
            <a:ext cx="857460" cy="269506"/>
          </a:xfrm>
          <a:prstGeom prst="rect">
            <a:avLst/>
          </a:prstGeom>
          <a:solidFill>
            <a:srgbClr val="FFFBF8"/>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tein synthesis,</a:t>
            </a:r>
            <a:b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ll survival</a:t>
            </a:r>
          </a:p>
        </p:txBody>
      </p:sp>
    </p:spTree>
    <p:extLst>
      <p:ext uri="{BB962C8B-B14F-4D97-AF65-F5344CB8AC3E}">
        <p14:creationId xmlns:p14="http://schemas.microsoft.com/office/powerpoint/2010/main" val="6851508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87AC6-C22F-4CD2-82C4-EE7EFA3D551A}"/>
              </a:ext>
            </a:extLst>
          </p:cNvPr>
          <p:cNvSpPr>
            <a:spLocks noGrp="1"/>
          </p:cNvSpPr>
          <p:nvPr>
            <p:ph type="title"/>
          </p:nvPr>
        </p:nvSpPr>
        <p:spPr>
          <a:xfrm>
            <a:off x="838200" y="57348"/>
            <a:ext cx="10515600" cy="1325563"/>
          </a:xfrm>
        </p:spPr>
        <p:txBody>
          <a:bodyPr/>
          <a:lstStyle/>
          <a:p>
            <a:r>
              <a:rPr lang="en-US" dirty="0"/>
              <a:t>Transition from Adeno to Neuroendocrine PC</a:t>
            </a:r>
          </a:p>
        </p:txBody>
      </p:sp>
      <p:pic>
        <p:nvPicPr>
          <p:cNvPr id="6" name="Picture 5">
            <a:extLst>
              <a:ext uri="{FF2B5EF4-FFF2-40B4-BE49-F238E27FC236}">
                <a16:creationId xmlns:a16="http://schemas.microsoft.com/office/drawing/2014/main" id="{2107D60F-7410-D49D-47B9-648388715A4A}"/>
              </a:ext>
            </a:extLst>
          </p:cNvPr>
          <p:cNvPicPr>
            <a:picLocks noChangeAspect="1"/>
          </p:cNvPicPr>
          <p:nvPr/>
        </p:nvPicPr>
        <p:blipFill>
          <a:blip r:embed="rId2"/>
          <a:stretch>
            <a:fillRect/>
          </a:stretch>
        </p:blipFill>
        <p:spPr>
          <a:xfrm>
            <a:off x="1718877" y="1293168"/>
            <a:ext cx="8420855" cy="5012421"/>
          </a:xfrm>
          <a:prstGeom prst="rect">
            <a:avLst/>
          </a:prstGeom>
        </p:spPr>
      </p:pic>
      <p:sp>
        <p:nvSpPr>
          <p:cNvPr id="7" name="TextBox 6">
            <a:extLst>
              <a:ext uri="{FF2B5EF4-FFF2-40B4-BE49-F238E27FC236}">
                <a16:creationId xmlns:a16="http://schemas.microsoft.com/office/drawing/2014/main" id="{91F10424-A2A5-366C-C33D-9264EB69F222}"/>
              </a:ext>
            </a:extLst>
          </p:cNvPr>
          <p:cNvSpPr txBox="1"/>
          <p:nvPr/>
        </p:nvSpPr>
        <p:spPr>
          <a:xfrm>
            <a:off x="8757645" y="6492875"/>
            <a:ext cx="29624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Maylin ZR et al. Cells </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2024</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13, 1999</a:t>
            </a:r>
          </a:p>
        </p:txBody>
      </p:sp>
    </p:spTree>
    <p:extLst>
      <p:ext uri="{BB962C8B-B14F-4D97-AF65-F5344CB8AC3E}">
        <p14:creationId xmlns:p14="http://schemas.microsoft.com/office/powerpoint/2010/main" val="508761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61872"/>
          </a:xfrm>
        </p:spPr>
        <p:txBody>
          <a:bodyPr/>
          <a:lstStyle/>
          <a:p>
            <a:r>
              <a:rPr lang="en-US" dirty="0"/>
              <a:t>Second Opinion</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752600" y="1655089"/>
            <a:ext cx="4775448"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eraj Agarwal, MD, FA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nior Director for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untsman Cancer Institute Presidential Endowed Chair of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enter of Investigational Therapeutic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enitourinary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untsman Cancer Institute, University of Utah (NCI-CC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lt Lake City, Utah</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0961" y="1655089"/>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8353743" y="1494258"/>
            <a:ext cx="3513576"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149425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752600" y="4437112"/>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ana R McKay, MD, FASCO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 Urology, and Radiation Medicine and Applied Sciences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Clinical Research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ead, Genitourinar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ore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Dieg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Diego, California</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srcRect/>
          <a:stretch/>
        </p:blipFill>
        <p:spPr>
          <a:xfrm>
            <a:off x="430961" y="4437112"/>
            <a:ext cx="1261872" cy="1261872"/>
          </a:xfrm>
          <a:prstGeom prst="rect">
            <a:avLst/>
          </a:prstGeom>
        </p:spPr>
      </p:pic>
    </p:spTree>
    <p:custDataLst>
      <p:tags r:id="rId1"/>
    </p:custDataLst>
    <p:extLst>
      <p:ext uri="{BB962C8B-B14F-4D97-AF65-F5344CB8AC3E}">
        <p14:creationId xmlns:p14="http://schemas.microsoft.com/office/powerpoint/2010/main" val="3468629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D6FD5-00A9-E8A2-5CE4-C9F95B5E516A}"/>
              </a:ext>
            </a:extLst>
          </p:cNvPr>
          <p:cNvSpPr>
            <a:spLocks noGrp="1"/>
          </p:cNvSpPr>
          <p:nvPr>
            <p:ph type="title"/>
          </p:nvPr>
        </p:nvSpPr>
        <p:spPr>
          <a:xfrm>
            <a:off x="812799" y="216959"/>
            <a:ext cx="11300543" cy="91757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6800" bIns="46800"/>
          <a:lstStyle/>
          <a:p>
            <a:r>
              <a:rPr lang="en-GB" sz="2500" dirty="0"/>
              <a:t>IHC offers the most reliable method to identify patients with PTEN-deficient tumors suitable for treatment with AKT inhibitors</a:t>
            </a:r>
          </a:p>
        </p:txBody>
      </p:sp>
      <p:sp>
        <p:nvSpPr>
          <p:cNvPr id="4" name="Text Placeholder 3">
            <a:extLst>
              <a:ext uri="{FF2B5EF4-FFF2-40B4-BE49-F238E27FC236}">
                <a16:creationId xmlns:a16="http://schemas.microsoft.com/office/drawing/2014/main" id="{7362A46D-5009-6593-7290-F343971B5E71}"/>
              </a:ext>
            </a:extLst>
          </p:cNvPr>
          <p:cNvSpPr>
            <a:spLocks noGrp="1"/>
          </p:cNvSpPr>
          <p:nvPr>
            <p:ph type="body" sz="quarter" idx="11"/>
          </p:nvPr>
        </p:nvSpPr>
        <p:spPr/>
        <p:txBody>
          <a:bodyPr/>
          <a:lstStyle/>
          <a:p>
            <a:br>
              <a:rPr lang="en-GB" dirty="0">
                <a:latin typeface="Arial" panose="020B0604020202020204" pitchFamily="34" charset="0"/>
              </a:rPr>
            </a:br>
            <a:r>
              <a:rPr lang="en-GB" dirty="0">
                <a:latin typeface="Arial" panose="020B0604020202020204" pitchFamily="34" charset="0"/>
              </a:rPr>
              <a:t>cfDNA, cell-free DNA; FISH, fluorescence </a:t>
            </a:r>
            <a:r>
              <a:rPr lang="en-GB" i="1" dirty="0">
                <a:latin typeface="Arial" panose="020B0604020202020204" pitchFamily="34" charset="0"/>
              </a:rPr>
              <a:t>in situ</a:t>
            </a:r>
            <a:r>
              <a:rPr lang="en-GB" dirty="0">
                <a:latin typeface="Arial" panose="020B0604020202020204" pitchFamily="34" charset="0"/>
              </a:rPr>
              <a:t> hybridisation; IHC, immunohistochemistry; miRNA, microRNA; mPC, metastatic prostate cancer; NGS, next-generation sequencing; PTEN, phosphatase and tensin homologue.</a:t>
            </a:r>
            <a:br>
              <a:rPr lang="en-GB" dirty="0">
                <a:latin typeface="Arial" panose="020B0604020202020204" pitchFamily="34" charset="0"/>
              </a:rPr>
            </a:br>
            <a:r>
              <a:rPr lang="en-GB" dirty="0">
                <a:latin typeface="Arial" panose="020B0604020202020204" pitchFamily="34" charset="0"/>
              </a:rPr>
              <a:t>1. NIH. Immunohistochemistry. https://www.cancer.gov/publications/dictionaries/cancer-terms/def/immunohistochemistry (accessed September 2025); 2. Tsao MS, Yatabe Y. </a:t>
            </a:r>
            <a:r>
              <a:rPr lang="en-GB" i="1" dirty="0">
                <a:latin typeface="Arial" panose="020B0604020202020204" pitchFamily="34" charset="0"/>
              </a:rPr>
              <a:t>J </a:t>
            </a:r>
            <a:r>
              <a:rPr lang="en-GB" i="1" dirty="0" err="1">
                <a:latin typeface="Arial" panose="020B0604020202020204" pitchFamily="34" charset="0"/>
              </a:rPr>
              <a:t>Thorac</a:t>
            </a:r>
            <a:r>
              <a:rPr lang="en-GB" i="1" dirty="0">
                <a:latin typeface="Arial" panose="020B0604020202020204" pitchFamily="34" charset="0"/>
              </a:rPr>
              <a:t> Oncol </a:t>
            </a:r>
            <a:r>
              <a:rPr lang="en-GB" dirty="0">
                <a:latin typeface="Arial" panose="020B0604020202020204" pitchFamily="34" charset="0"/>
              </a:rPr>
              <a:t>2019;14:2035–2038; 3. Foundation Medicine. Specimen Instructions. https://www.foundationmedicine.com/sites/default/files/media/documents/2024-04/F1CDx_Specimen_Instructions.pdf (accessed September 2025); 4. Foundation Medicine. IHC Specimen Instructions. https://www.foundationmedicine.com/media/459/fmi-view (accessed September 2025); 5. Wise HM, et al. </a:t>
            </a:r>
            <a:r>
              <a:rPr lang="en-GB" i="1" dirty="0">
                <a:latin typeface="Arial" panose="020B0604020202020204" pitchFamily="34" charset="0"/>
              </a:rPr>
              <a:t>Clin Sci</a:t>
            </a:r>
            <a:r>
              <a:rPr lang="en-GB" dirty="0">
                <a:latin typeface="Arial" panose="020B0604020202020204" pitchFamily="34" charset="0"/>
              </a:rPr>
              <a:t> 2017;131:197–210; 6. de Bono JS, et al. </a:t>
            </a:r>
            <a:r>
              <a:rPr lang="en-GB" i="1" dirty="0">
                <a:latin typeface="Arial" panose="020B0604020202020204" pitchFamily="34" charset="0"/>
              </a:rPr>
              <a:t>Clin Cancer Res</a:t>
            </a:r>
            <a:r>
              <a:rPr lang="en-GB" dirty="0">
                <a:latin typeface="Arial" panose="020B0604020202020204" pitchFamily="34" charset="0"/>
              </a:rPr>
              <a:t> 2019;25:928–936; 7. </a:t>
            </a:r>
            <a:r>
              <a:rPr lang="en-GB" dirty="0" err="1">
                <a:latin typeface="Arial" panose="020B0604020202020204" pitchFamily="34" charset="0"/>
              </a:rPr>
              <a:t>Jamaspishvili</a:t>
            </a:r>
            <a:r>
              <a:rPr lang="en-GB" dirty="0">
                <a:latin typeface="Arial" panose="020B0604020202020204" pitchFamily="34" charset="0"/>
              </a:rPr>
              <a:t> T et al. </a:t>
            </a:r>
            <a:r>
              <a:rPr lang="en-GB" i="1" dirty="0">
                <a:latin typeface="Arial" panose="020B0604020202020204" pitchFamily="34" charset="0"/>
              </a:rPr>
              <a:t>Nat Rev Urol. </a:t>
            </a:r>
            <a:r>
              <a:rPr lang="en-GB" dirty="0">
                <a:latin typeface="Arial" panose="020B0604020202020204" pitchFamily="34" charset="0"/>
              </a:rPr>
              <a:t>2018;15:222–234; 8. de Bono J, et al. Presented at ASCO Genitourinary Cancers Symposium 2021; 9. Wang L, et al. </a:t>
            </a:r>
            <a:r>
              <a:rPr lang="en-GB" i="1" dirty="0">
                <a:latin typeface="Arial" panose="020B0604020202020204" pitchFamily="34" charset="0"/>
              </a:rPr>
              <a:t>Int J </a:t>
            </a:r>
            <a:r>
              <a:rPr lang="en-GB" i="1" dirty="0" err="1">
                <a:latin typeface="Arial" panose="020B0604020202020204" pitchFamily="34" charset="0"/>
              </a:rPr>
              <a:t>Gynecol</a:t>
            </a:r>
            <a:r>
              <a:rPr lang="en-GB" i="1" dirty="0">
                <a:latin typeface="Arial" panose="020B0604020202020204" pitchFamily="34" charset="0"/>
              </a:rPr>
              <a:t> </a:t>
            </a:r>
            <a:r>
              <a:rPr lang="en-GB" i="1" dirty="0" err="1">
                <a:latin typeface="Arial" panose="020B0604020202020204" pitchFamily="34" charset="0"/>
              </a:rPr>
              <a:t>Pathol</a:t>
            </a:r>
            <a:r>
              <a:rPr lang="en-GB" i="1" dirty="0">
                <a:latin typeface="Arial" panose="020B0604020202020204" pitchFamily="34" charset="0"/>
              </a:rPr>
              <a:t> </a:t>
            </a:r>
            <a:r>
              <a:rPr lang="en-GB" dirty="0">
                <a:latin typeface="Arial" panose="020B0604020202020204" pitchFamily="34" charset="0"/>
              </a:rPr>
              <a:t>2022;41:12–19; 10. Qin D. </a:t>
            </a:r>
            <a:r>
              <a:rPr lang="en-GB" i="1" dirty="0">
                <a:latin typeface="Arial" panose="020B0604020202020204" pitchFamily="34" charset="0"/>
              </a:rPr>
              <a:t>Cancer </a:t>
            </a:r>
            <a:r>
              <a:rPr lang="en-GB" i="1" dirty="0" err="1">
                <a:latin typeface="Arial" panose="020B0604020202020204" pitchFamily="34" charset="0"/>
              </a:rPr>
              <a:t>Biol</a:t>
            </a:r>
            <a:r>
              <a:rPr lang="en-GB" i="1" dirty="0">
                <a:latin typeface="Arial" panose="020B0604020202020204" pitchFamily="34" charset="0"/>
              </a:rPr>
              <a:t> Med </a:t>
            </a:r>
            <a:r>
              <a:rPr lang="en-GB" dirty="0">
                <a:latin typeface="Arial" panose="020B0604020202020204" pitchFamily="34" charset="0"/>
              </a:rPr>
              <a:t>2019;16:4–10; 11. Al-</a:t>
            </a:r>
            <a:r>
              <a:rPr lang="en-GB" dirty="0" err="1">
                <a:latin typeface="Arial" panose="020B0604020202020204" pitchFamily="34" charset="0"/>
              </a:rPr>
              <a:t>Toubat</a:t>
            </a:r>
            <a:r>
              <a:rPr lang="en-GB" dirty="0">
                <a:latin typeface="Arial" panose="020B0604020202020204" pitchFamily="34" charset="0"/>
              </a:rPr>
              <a:t> M, et al. </a:t>
            </a:r>
            <a:r>
              <a:rPr lang="en-GB" i="1" dirty="0" err="1">
                <a:latin typeface="Arial" panose="020B0604020202020204" pitchFamily="34" charset="0"/>
              </a:rPr>
              <a:t>Urol</a:t>
            </a:r>
            <a:r>
              <a:rPr lang="en-GB" i="1" dirty="0">
                <a:latin typeface="Arial" panose="020B0604020202020204" pitchFamily="34" charset="0"/>
              </a:rPr>
              <a:t> Oncol </a:t>
            </a:r>
            <a:r>
              <a:rPr lang="en-GB" dirty="0">
                <a:latin typeface="Arial" panose="020B0604020202020204" pitchFamily="34" charset="0"/>
              </a:rPr>
              <a:t>2023;41:455.e7–455.e15; 12. Li X et al. Presented at: SABCS; December 10-13, 2024; San Antonio, Texas. </a:t>
            </a:r>
          </a:p>
        </p:txBody>
      </p:sp>
      <p:grpSp>
        <p:nvGrpSpPr>
          <p:cNvPr id="11" name="Group 10">
            <a:extLst>
              <a:ext uri="{FF2B5EF4-FFF2-40B4-BE49-F238E27FC236}">
                <a16:creationId xmlns:a16="http://schemas.microsoft.com/office/drawing/2014/main" id="{EF7FA634-D608-727C-6914-B808AD5C8A84}"/>
              </a:ext>
            </a:extLst>
          </p:cNvPr>
          <p:cNvGrpSpPr/>
          <p:nvPr/>
        </p:nvGrpSpPr>
        <p:grpSpPr>
          <a:xfrm>
            <a:off x="828675" y="1489075"/>
            <a:ext cx="5267325" cy="432240"/>
            <a:chOff x="828675" y="1489075"/>
            <a:chExt cx="5267325" cy="432240"/>
          </a:xfrm>
        </p:grpSpPr>
        <p:sp>
          <p:nvSpPr>
            <p:cNvPr id="6" name="Rectangle 5">
              <a:extLst>
                <a:ext uri="{FF2B5EF4-FFF2-40B4-BE49-F238E27FC236}">
                  <a16:creationId xmlns:a16="http://schemas.microsoft.com/office/drawing/2014/main" id="{9E11F2A9-8E2D-B06D-8A95-ABD339B6C807}"/>
                </a:ext>
              </a:extLst>
            </p:cNvPr>
            <p:cNvSpPr/>
            <p:nvPr/>
          </p:nvSpPr>
          <p:spPr>
            <a:xfrm>
              <a:off x="828675" y="1489075"/>
              <a:ext cx="5267325" cy="43224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IHC</a:t>
              </a:r>
              <a:endParaRPr kumimoji="0" lang="en-GB" sz="1400" b="1" i="0" u="none" strike="noStrike" kern="1200" cap="none" spc="0" normalizeH="0" baseline="30000" noProof="0">
                <a:ln>
                  <a:noFill/>
                </a:ln>
                <a:solidFill>
                  <a:prstClr val="white"/>
                </a:solidFill>
                <a:effectLst/>
                <a:uLnTx/>
                <a:uFillTx/>
                <a:latin typeface="Aptos" panose="02110004020202020204"/>
                <a:ea typeface="+mn-ea"/>
                <a:cs typeface="+mn-cs"/>
              </a:endParaRPr>
            </a:p>
          </p:txBody>
        </p:sp>
        <p:pic>
          <p:nvPicPr>
            <p:cNvPr id="7" name="Graphic 6">
              <a:extLst>
                <a:ext uri="{FF2B5EF4-FFF2-40B4-BE49-F238E27FC236}">
                  <a16:creationId xmlns:a16="http://schemas.microsoft.com/office/drawing/2014/main" id="{1686B0D3-9529-9B98-2D48-9182418D70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3078" y="1576744"/>
              <a:ext cx="247992" cy="247992"/>
            </a:xfrm>
            <a:prstGeom prst="rect">
              <a:avLst/>
            </a:prstGeom>
          </p:spPr>
        </p:pic>
      </p:grpSp>
      <p:grpSp>
        <p:nvGrpSpPr>
          <p:cNvPr id="12" name="Group 11">
            <a:extLst>
              <a:ext uri="{FF2B5EF4-FFF2-40B4-BE49-F238E27FC236}">
                <a16:creationId xmlns:a16="http://schemas.microsoft.com/office/drawing/2014/main" id="{8CC5B11A-0E59-7053-163D-D938F5530704}"/>
              </a:ext>
            </a:extLst>
          </p:cNvPr>
          <p:cNvGrpSpPr/>
          <p:nvPr/>
        </p:nvGrpSpPr>
        <p:grpSpPr>
          <a:xfrm>
            <a:off x="6413500" y="1489075"/>
            <a:ext cx="5372098" cy="432241"/>
            <a:chOff x="6413500" y="1489075"/>
            <a:chExt cx="5372098" cy="432241"/>
          </a:xfrm>
        </p:grpSpPr>
        <p:sp>
          <p:nvSpPr>
            <p:cNvPr id="9" name="Rectangle 8">
              <a:extLst>
                <a:ext uri="{FF2B5EF4-FFF2-40B4-BE49-F238E27FC236}">
                  <a16:creationId xmlns:a16="http://schemas.microsoft.com/office/drawing/2014/main" id="{D971F6F0-0A63-576E-5020-726FAE6D332E}"/>
                </a:ext>
              </a:extLst>
            </p:cNvPr>
            <p:cNvSpPr/>
            <p:nvPr/>
          </p:nvSpPr>
          <p:spPr>
            <a:xfrm>
              <a:off x="6413500" y="1489075"/>
              <a:ext cx="5372098" cy="432241"/>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NGS</a:t>
              </a:r>
              <a:endParaRPr kumimoji="0" lang="en-GB" sz="1400" b="1" i="0" u="none" strike="noStrike" kern="1200" cap="none" spc="0" normalizeH="0" baseline="30000" noProof="0">
                <a:ln>
                  <a:noFill/>
                </a:ln>
                <a:solidFill>
                  <a:prstClr val="white"/>
                </a:solidFill>
                <a:effectLst/>
                <a:uLnTx/>
                <a:uFillTx/>
                <a:latin typeface="Aptos" panose="02110004020202020204"/>
                <a:ea typeface="+mn-ea"/>
                <a:cs typeface="+mn-cs"/>
              </a:endParaRPr>
            </a:p>
          </p:txBody>
        </p:sp>
        <p:pic>
          <p:nvPicPr>
            <p:cNvPr id="10" name="Graphic 9">
              <a:extLst>
                <a:ext uri="{FF2B5EF4-FFF2-40B4-BE49-F238E27FC236}">
                  <a16:creationId xmlns:a16="http://schemas.microsoft.com/office/drawing/2014/main" id="{6A2B2B69-AB9D-1045-3B3E-7051253D37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62660" y="1529064"/>
              <a:ext cx="339587" cy="360000"/>
            </a:xfrm>
            <a:prstGeom prst="rect">
              <a:avLst/>
            </a:prstGeom>
          </p:spPr>
        </p:pic>
      </p:grpSp>
      <p:sp>
        <p:nvSpPr>
          <p:cNvPr id="13" name="Rectangle 12">
            <a:extLst>
              <a:ext uri="{FF2B5EF4-FFF2-40B4-BE49-F238E27FC236}">
                <a16:creationId xmlns:a16="http://schemas.microsoft.com/office/drawing/2014/main" id="{C2F20988-2C09-3D4B-02D3-1ECBC335526E}"/>
              </a:ext>
            </a:extLst>
          </p:cNvPr>
          <p:cNvSpPr/>
          <p:nvPr/>
        </p:nvSpPr>
        <p:spPr>
          <a:xfrm>
            <a:off x="828675" y="1912405"/>
            <a:ext cx="5267324" cy="3939755"/>
          </a:xfrm>
          <a:prstGeom prst="rect">
            <a:avLst/>
          </a:prstGeom>
          <a:solidFill>
            <a:schemeClr val="accent5">
              <a:lumMod val="20000"/>
              <a:lumOff val="8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600"/>
              </a:spcBef>
              <a:spcAft>
                <a:spcPts val="0"/>
              </a:spcAft>
              <a:buClr>
                <a:srgbClr val="A02B93">
                  <a:lumMod val="50000"/>
                </a:srgbClr>
              </a:buClr>
              <a:buSzPct val="120000"/>
              <a:buFontTx/>
              <a:buNone/>
              <a:tabLst/>
              <a:defRPr/>
            </a:pPr>
            <a:r>
              <a:rPr kumimoji="0" lang="en-GB" sz="1400" b="1" i="0" u="none" strike="noStrike" kern="1200" cap="none" spc="0" normalizeH="0" baseline="0" noProof="0">
                <a:ln>
                  <a:noFill/>
                </a:ln>
                <a:solidFill>
                  <a:srgbClr val="000000"/>
                </a:solidFill>
                <a:effectLst/>
                <a:uLnTx/>
                <a:uFillTx/>
                <a:latin typeface="Aptos" panose="02110004020202020204"/>
                <a:ea typeface="+mn-ea"/>
                <a:cs typeface="+mn-cs"/>
              </a:rPr>
              <a:t>Laboratory technique that uses antibodies to detect antigens (markers) in a sample of tissue</a:t>
            </a:r>
            <a:r>
              <a:rPr kumimoji="0" lang="en-GB" sz="1400" b="1" i="0" u="none" strike="noStrike" kern="1200" cap="none" spc="0" normalizeH="0" baseline="30000" noProof="0">
                <a:ln>
                  <a:noFill/>
                </a:ln>
                <a:solidFill>
                  <a:srgbClr val="000000"/>
                </a:solidFill>
                <a:effectLst/>
                <a:uLnTx/>
                <a:uFillTx/>
                <a:latin typeface="Aptos" panose="02110004020202020204"/>
                <a:ea typeface="+mn-ea"/>
                <a:cs typeface="+mn-cs"/>
              </a:rPr>
              <a:t>1</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A264CAFF-CADB-85F4-516D-C1AA65D1237F}"/>
              </a:ext>
            </a:extLst>
          </p:cNvPr>
          <p:cNvSpPr/>
          <p:nvPr/>
        </p:nvSpPr>
        <p:spPr>
          <a:xfrm>
            <a:off x="6413500" y="1912405"/>
            <a:ext cx="5372100" cy="3939755"/>
          </a:xfrm>
          <a:prstGeom prst="rect">
            <a:avLst/>
          </a:prstGeom>
          <a:solidFill>
            <a:schemeClr val="bg1">
              <a:lumMod val="9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600"/>
              </a:spcBef>
              <a:spcAft>
                <a:spcPts val="0"/>
              </a:spcAft>
              <a:buClr>
                <a:srgbClr val="A02B93">
                  <a:lumMod val="50000"/>
                </a:srgbClr>
              </a:buClr>
              <a:buSzPct val="120000"/>
              <a:buFontTx/>
              <a:buNone/>
              <a:tabLst/>
              <a:defRPr/>
            </a:pPr>
            <a:r>
              <a:rPr kumimoji="0" lang="en-GB" sz="1400" b="1"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Technology used for cfDNA and RNA sequencing and variant/mutation detection</a:t>
            </a:r>
            <a:r>
              <a:rPr kumimoji="0" lang="en-GB" sz="1400" b="1" i="0" u="none" strike="noStrike" kern="1200" cap="none" spc="0" normalizeH="0" baseline="30000" noProof="0" dirty="0">
                <a:ln>
                  <a:noFill/>
                </a:ln>
                <a:solidFill>
                  <a:prstClr val="black">
                    <a:lumMod val="50000"/>
                  </a:prstClr>
                </a:solidFill>
                <a:effectLst/>
                <a:uLnTx/>
                <a:uFillTx/>
                <a:latin typeface="Aptos" panose="02110004020202020204"/>
                <a:ea typeface="+mn-ea"/>
                <a:cs typeface="+mn-cs"/>
              </a:rPr>
              <a:t>10,11</a:t>
            </a:r>
          </a:p>
        </p:txBody>
      </p:sp>
      <p:sp>
        <p:nvSpPr>
          <p:cNvPr id="15" name="TextBox 14">
            <a:extLst>
              <a:ext uri="{FF2B5EF4-FFF2-40B4-BE49-F238E27FC236}">
                <a16:creationId xmlns:a16="http://schemas.microsoft.com/office/drawing/2014/main" id="{84084990-2409-6A75-74E1-72203645AECF}"/>
              </a:ext>
            </a:extLst>
          </p:cNvPr>
          <p:cNvSpPr txBox="1"/>
          <p:nvPr/>
        </p:nvSpPr>
        <p:spPr>
          <a:xfrm>
            <a:off x="828676" y="2473950"/>
            <a:ext cx="5267324" cy="2862322"/>
          </a:xfrm>
          <a:prstGeom prst="rect">
            <a:avLst/>
          </a:prstGeom>
          <a:noFill/>
        </p:spPr>
        <p:txBody>
          <a:bodyPr wrap="square" rtlCol="0">
            <a:spAutoFit/>
          </a:bodyPr>
          <a:lstStyle/>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Less expensive and less time-consuming than NGS</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2</a:t>
            </a:r>
          </a:p>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2.5× less biopsy sample/tissue required than NGS</a:t>
            </a:r>
            <a:r>
              <a:rPr kumimoji="0" lang="en-GB" sz="1300" b="0" i="0" u="none" strike="noStrike" kern="1200" cap="none" spc="0" normalizeH="0" baseline="30000" noProof="0" dirty="0">
                <a:ln>
                  <a:noFill/>
                </a:ln>
                <a:solidFill>
                  <a:prstClr val="black">
                    <a:lumMod val="50000"/>
                  </a:prstClr>
                </a:solidFill>
                <a:effectLst/>
                <a:uLnTx/>
                <a:uFillTx/>
                <a:latin typeface="Aptos" panose="02110004020202020204"/>
                <a:ea typeface="+mn-ea"/>
                <a:cs typeface="+mn-cs"/>
              </a:rPr>
              <a:t>3,4</a:t>
            </a:r>
          </a:p>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Can detect PTEN protein levels compromised by mutations </a:t>
            </a:r>
            <a:b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b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in the gene or miRNA or epigenetic-regulated mechanisms, undetectable by NGS</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5,6</a:t>
            </a: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 </a:t>
            </a:r>
          </a:p>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Low testing failure rates of ~5%</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7</a:t>
            </a:r>
          </a:p>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High concordance with NGS for detecting PTEN deficiency (85.5%)</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8</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Dysfunctional PTEN protein as a result of genetic point mutations, is still detected by IHC at the protein level</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9</a:t>
            </a:r>
          </a:p>
        </p:txBody>
      </p:sp>
      <p:sp>
        <p:nvSpPr>
          <p:cNvPr id="16" name="TextBox 15">
            <a:extLst>
              <a:ext uri="{FF2B5EF4-FFF2-40B4-BE49-F238E27FC236}">
                <a16:creationId xmlns:a16="http://schemas.microsoft.com/office/drawing/2014/main" id="{BF1EA402-8922-BC32-A900-FE5CB22523EF}"/>
              </a:ext>
            </a:extLst>
          </p:cNvPr>
          <p:cNvSpPr txBox="1"/>
          <p:nvPr/>
        </p:nvSpPr>
        <p:spPr>
          <a:xfrm>
            <a:off x="6413500" y="2473950"/>
            <a:ext cx="5372098" cy="2262158"/>
          </a:xfrm>
          <a:prstGeom prst="rect">
            <a:avLst/>
          </a:prstGeom>
          <a:noFill/>
        </p:spPr>
        <p:txBody>
          <a:bodyPr wrap="square" lIns="91440" tIns="45720" rIns="91440" bIns="45720" rtlCol="0" anchor="t">
            <a:spAutoFit/>
          </a:bodyPr>
          <a:lstStyle/>
          <a:p>
            <a:pPr marL="252000" marR="0" lvl="0" indent="-252000" algn="l" defTabSz="914400" rtl="0" eaLnBrk="1" fontAlgn="auto" latinLnBrk="0" hangingPunct="1">
              <a:lnSpc>
                <a:spcPct val="100000"/>
              </a:lnSpc>
              <a:spcBef>
                <a:spcPts val="0"/>
              </a:spcBef>
              <a:spcAft>
                <a:spcPts val="1200"/>
              </a:spcAft>
              <a:buClr>
                <a:srgbClr val="A02B93">
                  <a:lumMod val="50000"/>
                </a:srgbClr>
              </a:buClr>
              <a:buSzPct val="120000"/>
              <a:buFont typeface="Wingdings" panose="05000000000000000000" pitchFamily="2" charset="2"/>
              <a:buChar char="ü"/>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mn-cs"/>
              </a:rPr>
              <a:t>Can analyse multiple mutation targets at the same time</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mn-cs"/>
              </a:rPr>
              <a:t>10</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Longer turnaround time and higher associated costs than IHC</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Arial"/>
              </a:rPr>
              <a:t>2</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High </a:t>
            </a:r>
            <a:r>
              <a:rPr kumimoji="0" lang="en-GB" sz="1300" b="0" i="1" u="none" strike="noStrike" kern="1200" cap="none" spc="0" normalizeH="0" baseline="0" noProof="0" dirty="0">
                <a:ln>
                  <a:noFill/>
                </a:ln>
                <a:solidFill>
                  <a:srgbClr val="000000"/>
                </a:solidFill>
                <a:effectLst/>
                <a:uLnTx/>
                <a:uFillTx/>
                <a:latin typeface="Aptos" panose="02110004020202020204"/>
                <a:ea typeface="+mn-ea"/>
                <a:cs typeface="Arial"/>
              </a:rPr>
              <a:t>PTEN</a:t>
            </a: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 testing failure </a:t>
            </a:r>
            <a:r>
              <a:rPr kumimoji="0" lang="en-GB" sz="1300" b="0" i="0" u="none" strike="noStrike" kern="1200" cap="none" spc="0" normalizeH="0" baseline="0" noProof="0" dirty="0">
                <a:ln>
                  <a:noFill/>
                </a:ln>
                <a:solidFill>
                  <a:prstClr val="black">
                    <a:lumMod val="50000"/>
                  </a:prstClr>
                </a:solidFill>
                <a:effectLst/>
                <a:uLnTx/>
                <a:uFillTx/>
                <a:latin typeface="Aptos" panose="02110004020202020204"/>
                <a:ea typeface="+mn-ea"/>
                <a:cs typeface="Arial"/>
              </a:rPr>
              <a:t>rates (~30%)</a:t>
            </a:r>
            <a:r>
              <a:rPr kumimoji="0" lang="en-GB" sz="1300" b="0" i="0" u="none" strike="noStrike" kern="1200" cap="none" spc="0" normalizeH="0" baseline="30000" noProof="0" dirty="0">
                <a:ln>
                  <a:noFill/>
                </a:ln>
                <a:solidFill>
                  <a:prstClr val="black">
                    <a:lumMod val="50000"/>
                  </a:prstClr>
                </a:solidFill>
                <a:effectLst/>
                <a:uLnTx/>
                <a:uFillTx/>
                <a:latin typeface="Aptos" panose="02110004020202020204"/>
                <a:ea typeface="+mn-ea"/>
                <a:cs typeface="Arial"/>
              </a:rPr>
              <a:t>2</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May underestimate the frequency of PTEN deficiency</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Arial"/>
              </a:rPr>
              <a:t>6</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Requires more tumor tissue than IHC</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Arial"/>
              </a:rPr>
              <a:t>2</a:t>
            </a:r>
          </a:p>
          <a:p>
            <a:pPr marL="252000" marR="0" lvl="0" indent="-252000" algn="l" defTabSz="914400" rtl="0" eaLnBrk="1" fontAlgn="auto" latinLnBrk="0" hangingPunct="1">
              <a:lnSpc>
                <a:spcPct val="100000"/>
              </a:lnSpc>
              <a:spcBef>
                <a:spcPts val="0"/>
              </a:spcBef>
              <a:spcAft>
                <a:spcPts val="1200"/>
              </a:spcAft>
              <a:buClr>
                <a:srgbClr val="196B24"/>
              </a:buClr>
              <a:buSzPct val="120000"/>
              <a:buFont typeface="Arial" panose="020B0604020202020204" pitchFamily="34" charset="0"/>
              <a:buChar char="x"/>
              <a:tabLst/>
              <a:defRPr/>
            </a:pP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Full sequencing of the gene is required to reliably detect </a:t>
            </a:r>
            <a:r>
              <a:rPr kumimoji="0" lang="en-GB" sz="1300" b="0" i="1" u="none" strike="noStrike" kern="1200" cap="none" spc="0" normalizeH="0" baseline="0" noProof="0" dirty="0">
                <a:ln>
                  <a:noFill/>
                </a:ln>
                <a:solidFill>
                  <a:srgbClr val="000000"/>
                </a:solidFill>
                <a:effectLst/>
                <a:uLnTx/>
                <a:uFillTx/>
                <a:latin typeface="Aptos" panose="02110004020202020204"/>
                <a:ea typeface="+mn-ea"/>
                <a:cs typeface="Arial"/>
              </a:rPr>
              <a:t>PTEN</a:t>
            </a:r>
            <a:r>
              <a:rPr kumimoji="0" lang="en-GB" sz="1300" b="0" i="0" u="none" strike="noStrike" kern="1200" cap="none" spc="0" normalizeH="0" baseline="0" noProof="0" dirty="0">
                <a:ln>
                  <a:noFill/>
                </a:ln>
                <a:solidFill>
                  <a:srgbClr val="000000"/>
                </a:solidFill>
                <a:effectLst/>
                <a:uLnTx/>
                <a:uFillTx/>
                <a:latin typeface="Aptos" panose="02110004020202020204"/>
                <a:ea typeface="+mn-ea"/>
                <a:cs typeface="Arial"/>
              </a:rPr>
              <a:t> alterations due to gene deletions or rearrangements</a:t>
            </a:r>
            <a:r>
              <a:rPr kumimoji="0" lang="en-GB" sz="1300" b="0" i="0" u="none" strike="noStrike" kern="1200" cap="none" spc="0" normalizeH="0" baseline="30000" noProof="0" dirty="0">
                <a:ln>
                  <a:noFill/>
                </a:ln>
                <a:solidFill>
                  <a:srgbClr val="000000"/>
                </a:solidFill>
                <a:effectLst/>
                <a:uLnTx/>
                <a:uFillTx/>
                <a:latin typeface="Aptos" panose="02110004020202020204"/>
                <a:ea typeface="+mn-ea"/>
                <a:cs typeface="Arial"/>
              </a:rPr>
              <a:t>12</a:t>
            </a:r>
          </a:p>
        </p:txBody>
      </p:sp>
      <p:sp>
        <p:nvSpPr>
          <p:cNvPr id="8" name="CAPItello-281">
            <a:extLst>
              <a:ext uri="{FF2B5EF4-FFF2-40B4-BE49-F238E27FC236}">
                <a16:creationId xmlns:a16="http://schemas.microsoft.com/office/drawing/2014/main" id="{20389596-4877-78FB-FAC5-CBCCA8998FC3}"/>
              </a:ext>
            </a:extLst>
          </p:cNvPr>
          <p:cNvSpPr txBox="1">
            <a:spLocks noGrp="1" noRot="1" noMove="1" noResize="1" noEditPoints="1" noAdjustHandles="1" noChangeArrowheads="1" noChangeShapeType="1"/>
          </p:cNvSpPr>
          <p:nvPr/>
        </p:nvSpPr>
        <p:spPr>
          <a:xfrm rot="16200000">
            <a:off x="-263294" y="3624904"/>
            <a:ext cx="934871" cy="380756"/>
          </a:xfrm>
          <a:prstGeom prst="rect">
            <a:avLst/>
          </a:prstGeom>
          <a:noFill/>
        </p:spPr>
        <p:txBody>
          <a:bodyPr wrap="none" rtlCol="0" anchor="ctr" anchorCtr="0">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GB" sz="9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PItello-281</a:t>
            </a:r>
          </a:p>
        </p:txBody>
      </p:sp>
      <p:cxnSp>
        <p:nvCxnSpPr>
          <p:cNvPr id="18" name="Gold line">
            <a:extLst>
              <a:ext uri="{FF2B5EF4-FFF2-40B4-BE49-F238E27FC236}">
                <a16:creationId xmlns:a16="http://schemas.microsoft.com/office/drawing/2014/main" id="{2751232C-0BFC-D6A1-6C9A-3B31FF6F46E2}"/>
              </a:ext>
            </a:extLst>
          </p:cNvPr>
          <p:cNvCxnSpPr>
            <a:cxnSpLocks noGrp="1" noRot="1" noMove="1" noResize="1" noEditPoints="1" noAdjustHandles="1" noChangeArrowheads="1" noChangeShapeType="1"/>
          </p:cNvCxnSpPr>
          <p:nvPr/>
        </p:nvCxnSpPr>
        <p:spPr>
          <a:xfrm>
            <a:off x="399285" y="3449216"/>
            <a:ext cx="0" cy="720000"/>
          </a:xfrm>
          <a:prstGeom prst="line">
            <a:avLst/>
          </a:prstGeom>
          <a:ln w="38100">
            <a:gradFill>
              <a:gsLst>
                <a:gs pos="20000">
                  <a:schemeClr val="accent2"/>
                </a:gs>
                <a:gs pos="100000">
                  <a:schemeClr val="accent2">
                    <a:lumMod val="20000"/>
                    <a:lumOff val="8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888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F6487-74A8-37D3-0BEA-EC6C87F2432C}"/>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A8B269E8-FDE5-A858-633E-88DD3013686C}"/>
              </a:ext>
            </a:extLst>
          </p:cNvPr>
          <p:cNvSpPr>
            <a:spLocks noGrp="1"/>
          </p:cNvSpPr>
          <p:nvPr>
            <p:ph idx="1"/>
          </p:nvPr>
        </p:nvSpPr>
        <p:spPr/>
        <p:txBody>
          <a:bodyPr>
            <a:normAutofit fontScale="92500"/>
          </a:bodyPr>
          <a:lstStyle/>
          <a:p>
            <a:r>
              <a:rPr lang="en-US" dirty="0"/>
              <a:t>PTEN deficiency is a common genetic alteration in PC that increases with stage and disease states. </a:t>
            </a:r>
          </a:p>
          <a:p>
            <a:r>
              <a:rPr lang="en-US" dirty="0"/>
              <a:t>PTEN regulates the PI3K/AKT pathway, its loss results in unregulated AKT activity, increased cell proliferation and survival</a:t>
            </a:r>
          </a:p>
          <a:p>
            <a:r>
              <a:rPr lang="en-US" dirty="0"/>
              <a:t>PTEN alterations are the most common form of PI3K/AKT dysregulation</a:t>
            </a:r>
          </a:p>
          <a:p>
            <a:r>
              <a:rPr lang="en-US" dirty="0"/>
              <a:t>PTEN deficiency is associated with high grade PC and poor prognosis</a:t>
            </a:r>
          </a:p>
          <a:p>
            <a:r>
              <a:rPr lang="en-US" dirty="0"/>
              <a:t>Crosstalk between androgen receptor and AKT signaling supports the concomitant inhibition strategies</a:t>
            </a:r>
          </a:p>
          <a:p>
            <a:r>
              <a:rPr lang="en-US" dirty="0"/>
              <a:t>PTEN deficiency can lead to AR variant or neuroendocrine PC</a:t>
            </a:r>
          </a:p>
        </p:txBody>
      </p:sp>
    </p:spTree>
    <p:extLst>
      <p:ext uri="{BB962C8B-B14F-4D97-AF65-F5344CB8AC3E}">
        <p14:creationId xmlns:p14="http://schemas.microsoft.com/office/powerpoint/2010/main" val="179656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596B9-A50F-99D9-A71D-98CC08830C69}"/>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772F1582-6B96-5EFD-7F0B-0219E80AD81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F0335FAA-E345-032F-D093-05A34F6BF25D}"/>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8" name="Title 1">
            <a:extLst>
              <a:ext uri="{FF2B5EF4-FFF2-40B4-BE49-F238E27FC236}">
                <a16:creationId xmlns:a16="http://schemas.microsoft.com/office/drawing/2014/main" id="{F88CD78C-F98E-739C-2DF5-EAFF0FD88617}"/>
              </a:ext>
            </a:extLst>
          </p:cNvPr>
          <p:cNvSpPr txBox="1">
            <a:spLocks/>
          </p:cNvSpPr>
          <p:nvPr/>
        </p:nvSpPr>
        <p:spPr bwMode="auto">
          <a:xfrm>
            <a:off x="1846074" y="5115725"/>
            <a:ext cx="4061552"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eraj Agarwal, MD, FASCO</a:t>
            </a:r>
          </a:p>
        </p:txBody>
      </p:sp>
      <p:sp>
        <p:nvSpPr>
          <p:cNvPr id="2" name="Title 1">
            <a:extLst>
              <a:ext uri="{FF2B5EF4-FFF2-40B4-BE49-F238E27FC236}">
                <a16:creationId xmlns:a16="http://schemas.microsoft.com/office/drawing/2014/main" id="{37684C15-AE8E-CC36-1257-42EB2A74F808}"/>
              </a:ext>
            </a:extLst>
          </p:cNvPr>
          <p:cNvSpPr txBox="1">
            <a:spLocks/>
          </p:cNvSpPr>
          <p:nvPr/>
        </p:nvSpPr>
        <p:spPr bwMode="auto">
          <a:xfrm>
            <a:off x="6096000" y="5115725"/>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4" name="Picture 3" descr="A person in a white shirt&#10;&#10;AI-generated content may be incorrect.">
            <a:extLst>
              <a:ext uri="{FF2B5EF4-FFF2-40B4-BE49-F238E27FC236}">
                <a16:creationId xmlns:a16="http://schemas.microsoft.com/office/drawing/2014/main" id="{9FD7D193-3D77-414C-E9DB-C50AC529621E}"/>
              </a:ext>
            </a:extLst>
          </p:cNvPr>
          <p:cNvPicPr>
            <a:picLocks noChangeAspect="1"/>
          </p:cNvPicPr>
          <p:nvPr/>
        </p:nvPicPr>
        <p:blipFill>
          <a:blip r:embed="rId2"/>
          <a:srcRect l="22367" r="19429" b="17523"/>
          <a:stretch>
            <a:fillRect/>
          </a:stretch>
        </p:blipFill>
        <p:spPr>
          <a:xfrm>
            <a:off x="6961222" y="2463965"/>
            <a:ext cx="2651760" cy="2651760"/>
          </a:xfrm>
          <a:prstGeom prst="ellipse">
            <a:avLst/>
          </a:prstGeom>
          <a:effectLst>
            <a:outerShdw blurRad="50800" dist="38100" dir="2700000" algn="tl" rotWithShape="0">
              <a:prstClr val="black">
                <a:alpha val="40000"/>
              </a:prstClr>
            </a:outerShdw>
          </a:effectLst>
        </p:spPr>
      </p:pic>
      <p:pic>
        <p:nvPicPr>
          <p:cNvPr id="7" name="Picture 6" descr="A person wearing a suit and tie&#10;&#10;AI-generated content may be incorrect.">
            <a:extLst>
              <a:ext uri="{FF2B5EF4-FFF2-40B4-BE49-F238E27FC236}">
                <a16:creationId xmlns:a16="http://schemas.microsoft.com/office/drawing/2014/main" id="{493CEB95-4852-A566-215A-BFE9B8FE4828}"/>
              </a:ext>
            </a:extLst>
          </p:cNvPr>
          <p:cNvPicPr>
            <a:picLocks noChangeAspect="1"/>
          </p:cNvPicPr>
          <p:nvPr/>
        </p:nvPicPr>
        <p:blipFill>
          <a:blip r:embed="rId3"/>
          <a:srcRect l="22981" t="3044" r="25493" b="5355"/>
          <a:stretch>
            <a:fillRect/>
          </a:stretch>
        </p:blipFill>
        <p:spPr>
          <a:xfrm>
            <a:off x="2550970" y="2463965"/>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26206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905D8-BFAE-0A79-3D93-266080B5484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E215908-7FD6-00F6-3700-13DC6E010EA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4D0CFB9A-F125-BBDE-579F-119F9ADB250C}"/>
              </a:ext>
            </a:extLst>
          </p:cNvPr>
          <p:cNvSpPr>
            <a:spLocks noGrp="1"/>
          </p:cNvSpPr>
          <p:nvPr>
            <p:ph idx="1"/>
          </p:nvPr>
        </p:nvSpPr>
        <p:spPr>
          <a:xfrm>
            <a:off x="912286" y="1268760"/>
            <a:ext cx="10358967" cy="4799013"/>
          </a:xfrm>
        </p:spPr>
        <p:txBody>
          <a:bodyPr/>
          <a:lstStyle/>
          <a:p>
            <a:pPr marL="98425" indent="0">
              <a:buNone/>
            </a:pPr>
            <a:r>
              <a:rPr lang="en-US" dirty="0">
                <a:solidFill>
                  <a:schemeClr val="tx1"/>
                </a:solidFill>
              </a:rPr>
              <a:t>How early in prostate tumorigenesis does PTEN loss occur, and do you view this primarily as an initiating event or a driver of disease progression? </a:t>
            </a:r>
          </a:p>
          <a:p>
            <a:pPr marL="98425" indent="0">
              <a:buNone/>
            </a:pPr>
            <a:r>
              <a:rPr lang="en-US" dirty="0">
                <a:solidFill>
                  <a:schemeClr val="tx1"/>
                </a:solidFill>
              </a:rPr>
              <a:t>What is the prognostic significance of PTEN deficiency, and how does this compare to other drivers of aggressive disease, such as BRCA2 or TP53 mutations? </a:t>
            </a:r>
          </a:p>
          <a:p>
            <a:pPr marL="98425" indent="0">
              <a:buNone/>
            </a:pPr>
            <a:r>
              <a:rPr lang="en-US" dirty="0">
                <a:solidFill>
                  <a:schemeClr val="tx1"/>
                </a:solidFill>
              </a:rPr>
              <a:t>What is the frequency of PTEN deficiency in localized versus metastatic disease? How often do you see </a:t>
            </a:r>
            <a:r>
              <a:rPr lang="en-US" dirty="0" err="1">
                <a:solidFill>
                  <a:schemeClr val="tx1"/>
                </a:solidFill>
              </a:rPr>
              <a:t>intrapatient</a:t>
            </a:r>
            <a:r>
              <a:rPr lang="en-US" dirty="0">
                <a:solidFill>
                  <a:schemeClr val="tx1"/>
                </a:solidFill>
              </a:rPr>
              <a:t> heterogeneity, wherein PTEN status differs between the primary tumor and metastases? </a:t>
            </a:r>
          </a:p>
        </p:txBody>
      </p:sp>
    </p:spTree>
    <p:extLst>
      <p:ext uri="{BB962C8B-B14F-4D97-AF65-F5344CB8AC3E}">
        <p14:creationId xmlns:p14="http://schemas.microsoft.com/office/powerpoint/2010/main" val="1950721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374173-E554-5BCB-A6E5-278E35B616A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90F621C-3889-C43A-512C-B3CCA77D877E}"/>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02A5D87B-BF24-F8CE-6FFF-3E9C3859665C}"/>
              </a:ext>
            </a:extLst>
          </p:cNvPr>
          <p:cNvSpPr>
            <a:spLocks noGrp="1"/>
          </p:cNvSpPr>
          <p:nvPr>
            <p:ph idx="1"/>
          </p:nvPr>
        </p:nvSpPr>
        <p:spPr>
          <a:xfrm>
            <a:off x="912286" y="1268760"/>
            <a:ext cx="10358967" cy="4799013"/>
          </a:xfrm>
        </p:spPr>
        <p:txBody>
          <a:bodyPr/>
          <a:lstStyle/>
          <a:p>
            <a:pPr marL="98425" indent="0">
              <a:buNone/>
            </a:pPr>
            <a:r>
              <a:rPr lang="en-US" dirty="0">
                <a:solidFill>
                  <a:schemeClr val="tx1"/>
                </a:solidFill>
              </a:rPr>
              <a:t>What is the optimal method to assess PTEN status, and when should testing be done?</a:t>
            </a:r>
          </a:p>
          <a:p>
            <a:pPr marL="98425" indent="0">
              <a:buNone/>
            </a:pPr>
            <a:r>
              <a:rPr lang="en-US" dirty="0">
                <a:solidFill>
                  <a:schemeClr val="tx1"/>
                </a:solidFill>
              </a:rPr>
              <a:t>How does PTEN deficiency influence your treatment decision-making today? Do you think PTEN-deficient disease represents a distinct biological subtype that should be managed differently?</a:t>
            </a:r>
          </a:p>
          <a:p>
            <a:pPr marL="98425" indent="0">
              <a:buNone/>
            </a:pPr>
            <a:endParaRPr lang="en-US" dirty="0">
              <a:solidFill>
                <a:srgbClr val="FF40FF"/>
              </a:solidFill>
            </a:endParaRPr>
          </a:p>
        </p:txBody>
      </p:sp>
    </p:spTree>
    <p:extLst>
      <p:ext uri="{BB962C8B-B14F-4D97-AF65-F5344CB8AC3E}">
        <p14:creationId xmlns:p14="http://schemas.microsoft.com/office/powerpoint/2010/main" val="713936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14325-E095-E1AF-6B47-21B944714E63}"/>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06F50D4F-8F8F-0AA2-2C5A-04A2E966897B}"/>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97403B1-7164-5B3B-4B9D-27BB6A4CCDE5}"/>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8" name="Title 1">
            <a:extLst>
              <a:ext uri="{FF2B5EF4-FFF2-40B4-BE49-F238E27FC236}">
                <a16:creationId xmlns:a16="http://schemas.microsoft.com/office/drawing/2014/main" id="{DAED2335-2687-6946-31B8-833D13BBF6BA}"/>
              </a:ext>
            </a:extLst>
          </p:cNvPr>
          <p:cNvSpPr txBox="1">
            <a:spLocks/>
          </p:cNvSpPr>
          <p:nvPr/>
        </p:nvSpPr>
        <p:spPr bwMode="auto">
          <a:xfrm>
            <a:off x="1593773" y="5133612"/>
            <a:ext cx="4601378"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sp>
        <p:nvSpPr>
          <p:cNvPr id="4" name="Title 1">
            <a:extLst>
              <a:ext uri="{FF2B5EF4-FFF2-40B4-BE49-F238E27FC236}">
                <a16:creationId xmlns:a16="http://schemas.microsoft.com/office/drawing/2014/main" id="{CFD3F09F-E01F-1924-E71A-E70588CD9A8E}"/>
              </a:ext>
            </a:extLst>
          </p:cNvPr>
          <p:cNvSpPr txBox="1">
            <a:spLocks/>
          </p:cNvSpPr>
          <p:nvPr/>
        </p:nvSpPr>
        <p:spPr bwMode="auto">
          <a:xfrm>
            <a:off x="6096000" y="513361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5" name="Picture 4" descr="A person in a white shirt&#10;&#10;AI-generated content may be incorrect.">
            <a:extLst>
              <a:ext uri="{FF2B5EF4-FFF2-40B4-BE49-F238E27FC236}">
                <a16:creationId xmlns:a16="http://schemas.microsoft.com/office/drawing/2014/main" id="{22DA7371-28FC-8B92-6A97-DA9A90C39CA0}"/>
              </a:ext>
            </a:extLst>
          </p:cNvPr>
          <p:cNvPicPr>
            <a:picLocks noChangeAspect="1"/>
          </p:cNvPicPr>
          <p:nvPr/>
        </p:nvPicPr>
        <p:blipFill>
          <a:blip r:embed="rId2"/>
          <a:srcRect l="22367" r="19429" b="17523"/>
          <a:stretch>
            <a:fillRect/>
          </a:stretch>
        </p:blipFill>
        <p:spPr>
          <a:xfrm>
            <a:off x="6961222" y="2481852"/>
            <a:ext cx="2651760" cy="2651760"/>
          </a:xfrm>
          <a:prstGeom prst="ellipse">
            <a:avLst/>
          </a:prstGeom>
          <a:effectLst>
            <a:outerShdw blurRad="50800" dist="38100" dir="2700000" algn="tl" rotWithShape="0">
              <a:prstClr val="black">
                <a:alpha val="40000"/>
              </a:prstClr>
            </a:outerShdw>
          </a:effectLst>
        </p:spPr>
      </p:pic>
      <p:pic>
        <p:nvPicPr>
          <p:cNvPr id="6" name="Picture 5" descr="A person wearing a headset&#10;&#10;AI-generated content may be incorrect.">
            <a:extLst>
              <a:ext uri="{FF2B5EF4-FFF2-40B4-BE49-F238E27FC236}">
                <a16:creationId xmlns:a16="http://schemas.microsoft.com/office/drawing/2014/main" id="{C3BEEE8D-680E-87CE-037C-C6E7DCD176DC}"/>
              </a:ext>
            </a:extLst>
          </p:cNvPr>
          <p:cNvPicPr>
            <a:picLocks noChangeAspect="1"/>
          </p:cNvPicPr>
          <p:nvPr/>
        </p:nvPicPr>
        <p:blipFill>
          <a:blip r:embed="rId3"/>
          <a:srcRect l="24474" t="10529" r="26979" b="3163"/>
          <a:stretch>
            <a:fillRect/>
          </a:stretch>
        </p:blipFill>
        <p:spPr>
          <a:xfrm>
            <a:off x="2473101" y="2481852"/>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60558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C411F-00BD-98CD-5F91-1D3F6EDDF6D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FEDD873-F9C1-F2A6-932B-8733F1B2FE04}"/>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83A2FC99-FB92-5444-3BFB-42E1BFB2F1E5}"/>
              </a:ext>
            </a:extLst>
          </p:cNvPr>
          <p:cNvSpPr>
            <a:spLocks noGrp="1"/>
          </p:cNvSpPr>
          <p:nvPr>
            <p:ph idx="1"/>
          </p:nvPr>
        </p:nvSpPr>
        <p:spPr>
          <a:xfrm>
            <a:off x="912286" y="1222275"/>
            <a:ext cx="10358967" cy="4799013"/>
          </a:xfrm>
        </p:spPr>
        <p:txBody>
          <a:bodyPr/>
          <a:lstStyle/>
          <a:p>
            <a:pPr marL="98425" lvl="0" indent="0">
              <a:buNone/>
            </a:pPr>
            <a:r>
              <a:rPr lang="en-US" dirty="0"/>
              <a:t>How often have you encountered patients with aggressive disease due to PTEN deficiency but relatively low PSA? What accounts for this discordance?</a:t>
            </a:r>
          </a:p>
          <a:p>
            <a:pPr marL="98425" lvl="0" indent="0">
              <a:buNone/>
            </a:pPr>
            <a:r>
              <a:rPr lang="en-US" dirty="0"/>
              <a:t>What would you recommend in this scenario, and how, if at all, would your recommendation differ if capivasertib were available? Would you consider adding capivasertib for this patient who developed metastatic disease while receiving abiraterone/ADT?</a:t>
            </a:r>
          </a:p>
        </p:txBody>
      </p:sp>
    </p:spTree>
    <p:extLst>
      <p:ext uri="{BB962C8B-B14F-4D97-AF65-F5344CB8AC3E}">
        <p14:creationId xmlns:p14="http://schemas.microsoft.com/office/powerpoint/2010/main" val="1515055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C0CE3-5435-9FB2-2E8F-8370E0326C2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1B1E103-6B52-5137-5F39-37282B08C982}"/>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B150EB9B-98AE-9FCD-F2CB-8F213D720A99}"/>
              </a:ext>
            </a:extLst>
          </p:cNvPr>
          <p:cNvSpPr>
            <a:spLocks noGrp="1"/>
          </p:cNvSpPr>
          <p:nvPr>
            <p:ph idx="1"/>
          </p:nvPr>
        </p:nvSpPr>
        <p:spPr>
          <a:xfrm>
            <a:off x="912286" y="1222275"/>
            <a:ext cx="10358967" cy="4799013"/>
          </a:xfrm>
        </p:spPr>
        <p:txBody>
          <a:bodyPr/>
          <a:lstStyle/>
          <a:p>
            <a:pPr marL="98425" lvl="0" indent="0">
              <a:buNone/>
            </a:pPr>
            <a:r>
              <a:rPr lang="en-US" dirty="0"/>
              <a:t>If capivasertib were available, would it be an appropriate option on the basis of NGS testing demonstrating PTEN homozygous deletion on archival primary tissue? Should additional testing </a:t>
            </a:r>
            <a:br>
              <a:rPr lang="en-US" dirty="0"/>
            </a:br>
            <a:r>
              <a:rPr lang="en-US" dirty="0"/>
              <a:t>(eg, IHC) be done?</a:t>
            </a:r>
          </a:p>
          <a:p>
            <a:pPr marL="98425" indent="0">
              <a:buNone/>
            </a:pPr>
            <a:endParaRPr lang="en-US" dirty="0">
              <a:solidFill>
                <a:srgbClr val="FF40FF"/>
              </a:solidFill>
            </a:endParaRPr>
          </a:p>
        </p:txBody>
      </p:sp>
    </p:spTree>
    <p:extLst>
      <p:ext uri="{BB962C8B-B14F-4D97-AF65-F5344CB8AC3E}">
        <p14:creationId xmlns:p14="http://schemas.microsoft.com/office/powerpoint/2010/main" val="4042154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CC433-B39E-51E0-752A-57F9CAB42FB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F91F153-2BBF-2A10-D866-F7A7C83AFB00}"/>
              </a:ext>
            </a:extLst>
          </p:cNvPr>
          <p:cNvSpPr/>
          <p:nvPr/>
        </p:nvSpPr>
        <p:spPr bwMode="auto">
          <a:xfrm>
            <a:off x="740128" y="2348881"/>
            <a:ext cx="10828480"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9571C3E-0A0B-AF90-8A74-3012F865EF15}"/>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26CBEAB-E52B-1DA3-3D5F-E1A74B39CDD9}"/>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linical Implications of and Appropriate Strategies to Identify PTEN Deficiency in Prostate Cancer — Dr George</a:t>
            </a:r>
          </a:p>
          <a:p>
            <a:pPr marL="98425" indent="0">
              <a:lnSpc>
                <a:spcPct val="100000"/>
              </a:lnSpc>
              <a:spcBef>
                <a:spcPts val="1600"/>
              </a:spcBef>
              <a:spcAft>
                <a:spcPts val="0"/>
              </a:spcAft>
              <a:buNone/>
            </a:pPr>
            <a:r>
              <a:rPr lang="en-US" sz="2500" dirty="0">
                <a:solidFill>
                  <a:schemeClr val="bg1"/>
                </a:solidFill>
              </a:rPr>
              <a:t>Module 2: Targeting AKT in Metastatic Prostate Cancer — Prof Karim </a:t>
            </a:r>
            <a:r>
              <a:rPr lang="en-US" sz="2500" dirty="0" err="1">
                <a:solidFill>
                  <a:schemeClr val="bg1"/>
                </a:solidFill>
              </a:rPr>
              <a:t>Fizazi</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Tolerability and Other Practical Considerations with </a:t>
            </a:r>
            <a:r>
              <a:rPr lang="en-US" sz="2500" dirty="0" err="1">
                <a:solidFill>
                  <a:schemeClr val="tx1"/>
                </a:solidFill>
              </a:rPr>
              <a:t>Capivasertib</a:t>
            </a:r>
            <a:r>
              <a:rPr lang="en-US" sz="2500" dirty="0">
                <a:solidFill>
                  <a:schemeClr val="tx1"/>
                </a:solidFill>
              </a:rPr>
              <a:t> — Dr Heath</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88384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487488" y="1685970"/>
            <a:ext cx="10286590" cy="1736258"/>
          </a:xfrm>
          <a:solidFill>
            <a:schemeClr val="bg1"/>
          </a:solidFill>
        </p:spPr>
        <p:txBody>
          <a:bodyPr/>
          <a:lstStyle/>
          <a:p>
            <a:r>
              <a:rPr lang="en-US" b="1" i="1" dirty="0"/>
              <a:t>Targeting AKT in Metastatic Prostate Cancer</a:t>
            </a:r>
            <a:endParaRPr lang="en-US" b="1" dirty="0"/>
          </a:p>
        </p:txBody>
      </p:sp>
      <p:sp>
        <p:nvSpPr>
          <p:cNvPr id="3" name="Sous-titre 2"/>
          <p:cNvSpPr>
            <a:spLocks noGrp="1"/>
          </p:cNvSpPr>
          <p:nvPr>
            <p:ph type="subTitle" idx="1"/>
          </p:nvPr>
        </p:nvSpPr>
        <p:spPr/>
        <p:txBody>
          <a:bodyPr/>
          <a:lstStyle/>
          <a:p>
            <a:r>
              <a:rPr lang="en-US" dirty="0"/>
              <a:t>Karim </a:t>
            </a:r>
            <a:r>
              <a:rPr lang="en-US" dirty="0" err="1"/>
              <a:t>Fizazi</a:t>
            </a:r>
            <a:r>
              <a:rPr lang="en-US" dirty="0"/>
              <a:t>, MD, PhD</a:t>
            </a:r>
          </a:p>
          <a:p>
            <a:r>
              <a:rPr lang="en-US" baseline="0" dirty="0"/>
              <a:t>France</a:t>
            </a:r>
          </a:p>
        </p:txBody>
      </p:sp>
      <p:sp>
        <p:nvSpPr>
          <p:cNvPr id="5" name="Espace réservé de la date 4"/>
          <p:cNvSpPr>
            <a:spLocks noGrp="1"/>
          </p:cNvSpPr>
          <p:nvPr>
            <p:ph type="dt" sz="half"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926E376-13D3-43B0-909B-40D9771621DF}" type="datetime1">
              <a:rPr kumimoji="0" lang="en-US" sz="1200" b="0" i="0" u="none" strike="noStrike" kern="1200" cap="none" spc="0" normalizeH="0" baseline="0" noProof="0" smtClean="0">
                <a:ln>
                  <a:noFill/>
                </a:ln>
                <a:solidFill>
                  <a:srgbClr val="7B1753"/>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7/26</a:t>
            </a:fld>
            <a:endParaRPr kumimoji="0" lang="en-US" sz="1200" b="0" i="0" u="none" strike="noStrike" kern="1200" cap="none" spc="0" normalizeH="0" baseline="0" noProof="0" dirty="0">
              <a:ln>
                <a:noFill/>
              </a:ln>
              <a:solidFill>
                <a:srgbClr val="7B1753"/>
              </a:solidFill>
              <a:effectLst/>
              <a:uLnTx/>
              <a:uFillTx/>
              <a:latin typeface="Calibri"/>
              <a:ea typeface="+mn-ea"/>
              <a:cs typeface="+mn-cs"/>
            </a:endParaRP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4808" y="3813042"/>
            <a:ext cx="3121891" cy="2341418"/>
          </a:xfrm>
          <a:prstGeom prst="rect">
            <a:avLst/>
          </a:prstGeom>
        </p:spPr>
      </p:pic>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112" y="139700"/>
            <a:ext cx="3533775" cy="1295400"/>
          </a:xfrm>
          <a:prstGeom prst="rect">
            <a:avLst/>
          </a:prstGeom>
        </p:spPr>
      </p:pic>
    </p:spTree>
    <p:extLst>
      <p:ext uri="{BB962C8B-B14F-4D97-AF65-F5344CB8AC3E}">
        <p14:creationId xmlns:p14="http://schemas.microsoft.com/office/powerpoint/2010/main" val="539393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Prof </a:t>
            </a:r>
            <a:r>
              <a:rPr lang="en-US" sz="3200" dirty="0" err="1">
                <a:solidFill>
                  <a:srgbClr val="0432FF"/>
                </a:solidFill>
              </a:rPr>
              <a:t>Fizazi</a:t>
            </a:r>
            <a:r>
              <a:rPr lang="en-US" sz="3200" dirty="0">
                <a:solidFill>
                  <a:srgbClr val="0432FF"/>
                </a:solidFill>
              </a:rPr>
              <a:t>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542636103"/>
              </p:ext>
            </p:extLst>
          </p:nvPr>
        </p:nvGraphicFramePr>
        <p:xfrm>
          <a:off x="1236095" y="1960849"/>
          <a:ext cx="9719807" cy="1824608"/>
        </p:xfrm>
        <a:graphic>
          <a:graphicData uri="http://schemas.openxmlformats.org/drawingml/2006/table">
            <a:tbl>
              <a:tblPr firstRow="1" bandRow="1">
                <a:tableStyleId>{F2DE63D5-997A-4646-A377-4702673A728D}</a:tableStyleId>
              </a:tblPr>
              <a:tblGrid>
                <a:gridCol w="2726305">
                  <a:extLst>
                    <a:ext uri="{9D8B030D-6E8A-4147-A177-3AD203B41FA5}">
                      <a16:colId xmlns:a16="http://schemas.microsoft.com/office/drawing/2014/main" val="20000"/>
                    </a:ext>
                  </a:extLst>
                </a:gridCol>
                <a:gridCol w="6993502">
                  <a:extLst>
                    <a:ext uri="{9D8B030D-6E8A-4147-A177-3AD203B41FA5}">
                      <a16:colId xmlns:a16="http://schemas.microsoft.com/office/drawing/2014/main" val="20001"/>
                    </a:ext>
                  </a:extLst>
                </a:gridCol>
              </a:tblGrid>
              <a:tr h="1824608">
                <a:tc>
                  <a:txBody>
                    <a:bodyPr/>
                    <a:lstStyle/>
                    <a:p>
                      <a:r>
                        <a:rPr lang="en-US" sz="2000" b="1" kern="1200" dirty="0">
                          <a:solidFill>
                            <a:schemeClr val="tx1"/>
                          </a:solidFill>
                          <a:effectLst/>
                          <a:latin typeface="+mn-lt"/>
                          <a:ea typeface="+mn-ea"/>
                          <a:cs typeface="+mn-cs"/>
                        </a:rPr>
                        <a:t>Institutional Honorari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dvanced Accelerator Applications, Amgen Inc, Astellas, AstraZeneca Pharmaceuticals LP, Bayer HealthCare Pharmaceuticals, Daiichi Sankyo Inc, Janssen Biotech Inc, Merck, MSD,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83279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2818" name="Titre 1"/>
          <p:cNvSpPr>
            <a:spLocks noGrp="1"/>
          </p:cNvSpPr>
          <p:nvPr>
            <p:ph type="title"/>
          </p:nvPr>
        </p:nvSpPr>
        <p:spPr>
          <a:xfrm>
            <a:off x="895926" y="333375"/>
            <a:ext cx="9512097" cy="1143000"/>
          </a:xfrm>
        </p:spPr>
        <p:txBody>
          <a:bodyPr>
            <a:normAutofit fontScale="90000"/>
          </a:bodyPr>
          <a:lstStyle/>
          <a:p>
            <a:r>
              <a:rPr lang="en-US" dirty="0"/>
              <a:t>Targeting both the AKT and the AR pathways</a:t>
            </a:r>
          </a:p>
        </p:txBody>
      </p:sp>
      <p:grpSp>
        <p:nvGrpSpPr>
          <p:cNvPr id="802819" name="Group 60"/>
          <p:cNvGrpSpPr>
            <a:grpSpLocks/>
          </p:cNvGrpSpPr>
          <p:nvPr/>
        </p:nvGrpSpPr>
        <p:grpSpPr bwMode="auto">
          <a:xfrm>
            <a:off x="2651761" y="1476376"/>
            <a:ext cx="6714308" cy="5249862"/>
            <a:chOff x="2438617" y="1060041"/>
            <a:chExt cx="4266765" cy="3230087"/>
          </a:xfrm>
        </p:grpSpPr>
        <p:pic>
          <p:nvPicPr>
            <p:cNvPr id="802821" name="Picture 16" descr="feedback_slide"/>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38617" y="1060041"/>
              <a:ext cx="4266765" cy="301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2822" name="Rectangle 20"/>
            <p:cNvSpPr>
              <a:spLocks noChangeArrowheads="1"/>
            </p:cNvSpPr>
            <p:nvPr/>
          </p:nvSpPr>
          <p:spPr bwMode="auto">
            <a:xfrm>
              <a:off x="3883812" y="3845592"/>
              <a:ext cx="1296087" cy="157392"/>
            </a:xfrm>
            <a:prstGeom prst="rect">
              <a:avLst/>
            </a:prstGeom>
            <a:solidFill>
              <a:schemeClr val="bg1"/>
            </a:solidFill>
            <a:ln w="9525">
              <a:solidFill>
                <a:schemeClr val="bg1"/>
              </a:solidFill>
              <a:round/>
              <a:headEnd/>
              <a:tailEnd/>
            </a:ln>
          </p:spPr>
          <p:txBody>
            <a:bodyPr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Imago Book"/>
                <a:ea typeface="MS PGothic" panose="020B0600070205080204" pitchFamily="34" charset="-128"/>
                <a:cs typeface="Imago Book"/>
              </a:endParaRPr>
            </a:p>
          </p:txBody>
        </p:sp>
        <p:sp>
          <p:nvSpPr>
            <p:cNvPr id="802823" name="Rectangle 22"/>
            <p:cNvSpPr>
              <a:spLocks noChangeArrowheads="1"/>
            </p:cNvSpPr>
            <p:nvPr/>
          </p:nvSpPr>
          <p:spPr bwMode="auto">
            <a:xfrm rot="-2051649">
              <a:off x="3964100" y="3265211"/>
              <a:ext cx="286745" cy="413152"/>
            </a:xfrm>
            <a:prstGeom prst="rect">
              <a:avLst/>
            </a:prstGeom>
            <a:solidFill>
              <a:srgbClr val="F9FA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Imago Book"/>
                <a:ea typeface="MS PGothic" panose="020B0600070205080204" pitchFamily="34" charset="-128"/>
                <a:cs typeface="Imago Book"/>
              </a:endParaRPr>
            </a:p>
          </p:txBody>
        </p:sp>
        <p:sp>
          <p:nvSpPr>
            <p:cNvPr id="802824" name="Rectangle 25"/>
            <p:cNvSpPr>
              <a:spLocks noChangeArrowheads="1"/>
            </p:cNvSpPr>
            <p:nvPr/>
          </p:nvSpPr>
          <p:spPr bwMode="auto">
            <a:xfrm>
              <a:off x="2438617" y="3461948"/>
              <a:ext cx="634903" cy="109576"/>
            </a:xfrm>
            <a:prstGeom prst="rect">
              <a:avLst/>
            </a:prstGeom>
            <a:solidFill>
              <a:srgbClr val="F6F7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Imago Book"/>
                <a:ea typeface="MS PGothic" panose="020B0600070205080204" pitchFamily="34" charset="-128"/>
                <a:cs typeface="Imago Book"/>
              </a:endParaRPr>
            </a:p>
          </p:txBody>
        </p:sp>
        <p:sp>
          <p:nvSpPr>
            <p:cNvPr id="802825" name="Rectangle 26"/>
            <p:cNvSpPr>
              <a:spLocks noChangeArrowheads="1"/>
            </p:cNvSpPr>
            <p:nvPr/>
          </p:nvSpPr>
          <p:spPr bwMode="auto">
            <a:xfrm>
              <a:off x="2438620" y="2891412"/>
              <a:ext cx="550551" cy="137717"/>
            </a:xfrm>
            <a:prstGeom prst="rect">
              <a:avLst/>
            </a:prstGeom>
            <a:solidFill>
              <a:srgbClr val="EDF1F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Imago Book"/>
                <a:ea typeface="MS PGothic" panose="020B0600070205080204" pitchFamily="34" charset="-128"/>
                <a:cs typeface="Imago Book"/>
              </a:endParaRPr>
            </a:p>
          </p:txBody>
        </p:sp>
        <p:sp>
          <p:nvSpPr>
            <p:cNvPr id="802826" name="TextBox 21"/>
            <p:cNvSpPr txBox="1">
              <a:spLocks noChangeArrowheads="1"/>
            </p:cNvSpPr>
            <p:nvPr/>
          </p:nvSpPr>
          <p:spPr bwMode="auto">
            <a:xfrm>
              <a:off x="3746067" y="3828512"/>
              <a:ext cx="981108" cy="214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AR target genes</a:t>
              </a:r>
            </a:p>
          </p:txBody>
        </p:sp>
        <p:sp>
          <p:nvSpPr>
            <p:cNvPr id="802827" name="TextBox 23"/>
            <p:cNvSpPr txBox="1">
              <a:spLocks noChangeArrowheads="1"/>
            </p:cNvSpPr>
            <p:nvPr/>
          </p:nvSpPr>
          <p:spPr bwMode="auto">
            <a:xfrm rot="3193769">
              <a:off x="3302116" y="3398502"/>
              <a:ext cx="1437641" cy="154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Arial" panose="020B0604020202020204" pitchFamily="34" charset="0"/>
                </a:rPr>
                <a:t>PHLPP/FKBP5</a:t>
              </a:r>
            </a:p>
          </p:txBody>
        </p:sp>
        <p:sp>
          <p:nvSpPr>
            <p:cNvPr id="802828" name="TextBox 30"/>
            <p:cNvSpPr txBox="1">
              <a:spLocks noChangeArrowheads="1"/>
            </p:cNvSpPr>
            <p:nvPr/>
          </p:nvSpPr>
          <p:spPr bwMode="auto">
            <a:xfrm>
              <a:off x="2530469" y="2879498"/>
              <a:ext cx="454786" cy="107109"/>
            </a:xfrm>
            <a:prstGeom prst="rect">
              <a:avLst/>
            </a:prstGeom>
            <a:solidFill>
              <a:srgbClr val="ED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Ipatasertib</a:t>
              </a:r>
            </a:p>
          </p:txBody>
        </p:sp>
        <p:sp>
          <p:nvSpPr>
            <p:cNvPr id="802829" name="TextBox 7"/>
            <p:cNvSpPr txBox="1">
              <a:spLocks noChangeArrowheads="1"/>
            </p:cNvSpPr>
            <p:nvPr/>
          </p:nvSpPr>
          <p:spPr bwMode="auto">
            <a:xfrm>
              <a:off x="5313153" y="1558489"/>
              <a:ext cx="790829" cy="190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synthesis adre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testicular tumor </a:t>
              </a:r>
            </a:p>
          </p:txBody>
        </p:sp>
        <p:sp>
          <p:nvSpPr>
            <p:cNvPr id="802830" name="TextBox 7"/>
            <p:cNvSpPr txBox="1">
              <a:spLocks noChangeArrowheads="1"/>
            </p:cNvSpPr>
            <p:nvPr/>
          </p:nvSpPr>
          <p:spPr bwMode="auto">
            <a:xfrm>
              <a:off x="4584584" y="1413620"/>
              <a:ext cx="598751" cy="190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androge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precursors </a:t>
              </a:r>
            </a:p>
          </p:txBody>
        </p:sp>
        <p:sp>
          <p:nvSpPr>
            <p:cNvPr id="802831" name="TextBox 7"/>
            <p:cNvSpPr txBox="1">
              <a:spLocks noChangeArrowheads="1"/>
            </p:cNvSpPr>
            <p:nvPr/>
          </p:nvSpPr>
          <p:spPr bwMode="auto">
            <a:xfrm>
              <a:off x="6011255" y="2600809"/>
              <a:ext cx="555037" cy="95209"/>
            </a:xfrm>
            <a:prstGeom prst="rect">
              <a:avLst/>
            </a:prstGeom>
            <a:solidFill>
              <a:srgbClr val="EDECF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androgens</a:t>
              </a:r>
            </a:p>
          </p:txBody>
        </p:sp>
        <p:sp>
          <p:nvSpPr>
            <p:cNvPr id="802832" name="TextBox 23"/>
            <p:cNvSpPr txBox="1">
              <a:spLocks noChangeArrowheads="1"/>
            </p:cNvSpPr>
            <p:nvPr/>
          </p:nvSpPr>
          <p:spPr bwMode="auto">
            <a:xfrm rot="3193769">
              <a:off x="3165013" y="3494262"/>
              <a:ext cx="1437641" cy="154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Arial" panose="020B0604020202020204" pitchFamily="34" charset="0"/>
                </a:rPr>
                <a:t>INPP4B</a:t>
              </a:r>
            </a:p>
          </p:txBody>
        </p:sp>
        <p:sp>
          <p:nvSpPr>
            <p:cNvPr id="802833" name="TextBox 7"/>
            <p:cNvSpPr txBox="1">
              <a:spLocks noChangeArrowheads="1"/>
            </p:cNvSpPr>
            <p:nvPr/>
          </p:nvSpPr>
          <p:spPr bwMode="auto">
            <a:xfrm>
              <a:off x="5313153" y="1066179"/>
              <a:ext cx="790829" cy="107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Times New Roman" panose="02020603050405020304" pitchFamily="18" charset="0"/>
                  <a:ea typeface="MS PGothic" panose="020B0600070205080204" pitchFamily="34" charset="-128"/>
                  <a:cs typeface="Imago Book"/>
                </a:rPr>
                <a:t>Abiraterone</a:t>
              </a:r>
            </a:p>
          </p:txBody>
        </p:sp>
      </p:grpSp>
      <p:sp>
        <p:nvSpPr>
          <p:cNvPr id="802820" name="ZoneTexte 16"/>
          <p:cNvSpPr txBox="1">
            <a:spLocks noChangeArrowheads="1"/>
          </p:cNvSpPr>
          <p:nvPr/>
        </p:nvSpPr>
        <p:spPr bwMode="auto">
          <a:xfrm>
            <a:off x="9378270" y="6271932"/>
            <a:ext cx="23653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K </a:t>
            </a:r>
            <a:r>
              <a:rPr kumimoji="0" lang="en-US" sz="18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Fizazi</a:t>
            </a: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personal slide</a:t>
            </a:r>
          </a:p>
        </p:txBody>
      </p:sp>
    </p:spTree>
    <p:extLst>
      <p:ext uri="{BB962C8B-B14F-4D97-AF65-F5344CB8AC3E}">
        <p14:creationId xmlns:p14="http://schemas.microsoft.com/office/powerpoint/2010/main" val="33331901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3842" name="Group 36"/>
          <p:cNvGrpSpPr>
            <a:grpSpLocks/>
          </p:cNvGrpSpPr>
          <p:nvPr/>
        </p:nvGrpSpPr>
        <p:grpSpPr bwMode="auto">
          <a:xfrm>
            <a:off x="2422526" y="1143001"/>
            <a:ext cx="3432175" cy="2894013"/>
            <a:chOff x="898636" y="857250"/>
            <a:chExt cx="3431402" cy="2170786"/>
          </a:xfrm>
        </p:grpSpPr>
        <p:pic>
          <p:nvPicPr>
            <p:cNvPr id="803877"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8636" y="1094080"/>
              <a:ext cx="3290221" cy="1933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3878" name="TextBox 2"/>
            <p:cNvSpPr txBox="1">
              <a:spLocks noChangeArrowheads="1"/>
            </p:cNvSpPr>
            <p:nvPr/>
          </p:nvSpPr>
          <p:spPr bwMode="auto">
            <a:xfrm>
              <a:off x="1929118" y="857250"/>
              <a:ext cx="1678674" cy="20774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Arial Narrow" panose="020B0606020202030204" pitchFamily="34" charset="0"/>
                  <a:cs typeface="Arial Narrow" panose="020B0606020202030204" pitchFamily="34" charset="0"/>
                </a:rPr>
                <a:t>PTEN loss</a:t>
              </a:r>
            </a:p>
          </p:txBody>
        </p:sp>
        <p:sp>
          <p:nvSpPr>
            <p:cNvPr id="803879" name="TextBox 15"/>
            <p:cNvSpPr txBox="1">
              <a:spLocks noChangeArrowheads="1"/>
            </p:cNvSpPr>
            <p:nvPr/>
          </p:nvSpPr>
          <p:spPr bwMode="auto">
            <a:xfrm>
              <a:off x="2736547" y="1208529"/>
              <a:ext cx="1593491" cy="391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HR,</a:t>
              </a:r>
              <a:r>
                <a:rPr kumimoji="0" lang="en-US" sz="1400" b="0" i="0" u="none" strike="noStrike" kern="1200" cap="none" spc="0" normalizeH="0" baseline="3000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a</a:t>
              </a: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rPr>
                <a:t> 0.39 (0.22-0.70)</a:t>
              </a:r>
            </a:p>
          </p:txBody>
        </p:sp>
        <p:cxnSp>
          <p:nvCxnSpPr>
            <p:cNvPr id="19" name="Straight Connector 18"/>
            <p:cNvCxnSpPr/>
            <p:nvPr/>
          </p:nvCxnSpPr>
          <p:spPr>
            <a:xfrm flipV="1">
              <a:off x="1454136" y="1886081"/>
              <a:ext cx="1295108" cy="1191"/>
            </a:xfrm>
            <a:prstGeom prst="line">
              <a:avLst/>
            </a:prstGeom>
            <a:ln w="9525">
              <a:solidFill>
                <a:schemeClr val="tx1">
                  <a:lumMod val="50000"/>
                  <a:lumOff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1998526" y="1887272"/>
              <a:ext cx="0" cy="616822"/>
            </a:xfrm>
            <a:prstGeom prst="line">
              <a:avLst/>
            </a:prstGeom>
            <a:ln w="12700">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736547" y="1868220"/>
              <a:ext cx="0" cy="645401"/>
            </a:xfrm>
            <a:prstGeom prst="line">
              <a:avLst/>
            </a:prstGeom>
            <a:ln w="12700">
              <a:solidFill>
                <a:srgbClr val="2E75B6"/>
              </a:solidFill>
              <a:prstDash val="sysDash"/>
            </a:ln>
            <a:effectLst/>
          </p:spPr>
          <p:style>
            <a:lnRef idx="2">
              <a:schemeClr val="accent1"/>
            </a:lnRef>
            <a:fillRef idx="0">
              <a:schemeClr val="accent1"/>
            </a:fillRef>
            <a:effectRef idx="1">
              <a:schemeClr val="accent1"/>
            </a:effectRef>
            <a:fontRef idx="minor">
              <a:schemeClr val="tx1"/>
            </a:fontRef>
          </p:style>
        </p:cxnSp>
      </p:grpSp>
      <p:sp>
        <p:nvSpPr>
          <p:cNvPr id="803844" name="TextBox 10"/>
          <p:cNvSpPr txBox="1">
            <a:spLocks noChangeArrowheads="1"/>
          </p:cNvSpPr>
          <p:nvPr/>
        </p:nvSpPr>
        <p:spPr bwMode="auto">
          <a:xfrm rot="-5400000">
            <a:off x="865982" y="2550320"/>
            <a:ext cx="2087563" cy="307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Arial Narrow" panose="020B0606020202030204" pitchFamily="34" charset="0"/>
                <a:cs typeface="Arial Narrow" panose="020B0606020202030204" pitchFamily="34" charset="0"/>
              </a:rPr>
              <a:t>400 mg Ipatasertib</a:t>
            </a:r>
          </a:p>
        </p:txBody>
      </p:sp>
      <p:sp>
        <p:nvSpPr>
          <p:cNvPr id="803845" name="TextBox 11"/>
          <p:cNvSpPr txBox="1">
            <a:spLocks noChangeArrowheads="1"/>
          </p:cNvSpPr>
          <p:nvPr/>
        </p:nvSpPr>
        <p:spPr bwMode="auto">
          <a:xfrm rot="-5400000">
            <a:off x="900907" y="4979195"/>
            <a:ext cx="2087563" cy="307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Arial Narrow" panose="020B0606020202030204" pitchFamily="34" charset="0"/>
                <a:cs typeface="Arial Narrow" panose="020B0606020202030204" pitchFamily="34" charset="0"/>
              </a:rPr>
              <a:t>200 mg Ipatasertib</a:t>
            </a:r>
          </a:p>
        </p:txBody>
      </p:sp>
      <p:grpSp>
        <p:nvGrpSpPr>
          <p:cNvPr id="803846" name="Group 37"/>
          <p:cNvGrpSpPr>
            <a:grpSpLocks/>
          </p:cNvGrpSpPr>
          <p:nvPr/>
        </p:nvGrpSpPr>
        <p:grpSpPr bwMode="auto">
          <a:xfrm>
            <a:off x="6315076" y="1143000"/>
            <a:ext cx="4352925" cy="2865438"/>
            <a:chOff x="4791501" y="857250"/>
            <a:chExt cx="4352499" cy="2149559"/>
          </a:xfrm>
        </p:grpSpPr>
        <p:pic>
          <p:nvPicPr>
            <p:cNvPr id="803869"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501" y="1049993"/>
              <a:ext cx="3290221" cy="1956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3870" name="TextBox 9"/>
            <p:cNvSpPr txBox="1">
              <a:spLocks noChangeArrowheads="1"/>
            </p:cNvSpPr>
            <p:nvPr/>
          </p:nvSpPr>
          <p:spPr bwMode="auto">
            <a:xfrm>
              <a:off x="5800649" y="857250"/>
              <a:ext cx="1678674" cy="20774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Arial Narrow" panose="020B0606020202030204" pitchFamily="34" charset="0"/>
                  <a:cs typeface="Arial Narrow" panose="020B0606020202030204" pitchFamily="34" charset="0"/>
                </a:rPr>
                <a:t>PTEN non-loss</a:t>
              </a:r>
            </a:p>
          </p:txBody>
        </p:sp>
        <p:cxnSp>
          <p:nvCxnSpPr>
            <p:cNvPr id="25" name="Straight Connector 24"/>
            <p:cNvCxnSpPr/>
            <p:nvPr/>
          </p:nvCxnSpPr>
          <p:spPr>
            <a:xfrm>
              <a:off x="5345485" y="1892135"/>
              <a:ext cx="898437" cy="0"/>
            </a:xfrm>
            <a:prstGeom prst="line">
              <a:avLst/>
            </a:prstGeom>
            <a:ln w="9525">
              <a:solidFill>
                <a:schemeClr val="tx1">
                  <a:lumMod val="50000"/>
                  <a:lumOff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5993121" y="1892135"/>
              <a:ext cx="0" cy="585918"/>
            </a:xfrm>
            <a:prstGeom prst="line">
              <a:avLst/>
            </a:prstGeom>
            <a:ln w="12700">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6197888" y="1904044"/>
              <a:ext cx="0" cy="574010"/>
            </a:xfrm>
            <a:prstGeom prst="line">
              <a:avLst/>
            </a:prstGeom>
            <a:ln w="12700">
              <a:solidFill>
                <a:srgbClr val="2E75B6"/>
              </a:solidFill>
              <a:prstDash val="sysDash"/>
            </a:ln>
            <a:effectLst/>
          </p:spPr>
          <p:style>
            <a:lnRef idx="2">
              <a:schemeClr val="accent1"/>
            </a:lnRef>
            <a:fillRef idx="0">
              <a:schemeClr val="accent1"/>
            </a:fillRef>
            <a:effectRef idx="1">
              <a:schemeClr val="accent1"/>
            </a:effectRef>
            <a:fontRef idx="minor">
              <a:schemeClr val="tx1"/>
            </a:fontRef>
          </p:style>
        </p:cxnSp>
        <p:sp>
          <p:nvSpPr>
            <p:cNvPr id="803874" name="TextBox 29"/>
            <p:cNvSpPr txBox="1">
              <a:spLocks noChangeArrowheads="1"/>
            </p:cNvSpPr>
            <p:nvPr/>
          </p:nvSpPr>
          <p:spPr bwMode="auto">
            <a:xfrm>
              <a:off x="6672505" y="1176409"/>
              <a:ext cx="1593694" cy="3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HR,</a:t>
              </a:r>
              <a:r>
                <a:rPr kumimoji="0" lang="en-US" sz="1400" b="0" i="0" u="none" strike="noStrike" kern="1200" cap="none" spc="0" normalizeH="0" baseline="3000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a</a:t>
              </a: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rPr>
                <a:t> 0.84 (0.51-1.37)</a:t>
              </a:r>
            </a:p>
          </p:txBody>
        </p:sp>
        <p:sp>
          <p:nvSpPr>
            <p:cNvPr id="803875" name="TextBox 31"/>
            <p:cNvSpPr txBox="1">
              <a:spLocks noChangeArrowheads="1"/>
            </p:cNvSpPr>
            <p:nvPr/>
          </p:nvSpPr>
          <p:spPr bwMode="auto">
            <a:xfrm>
              <a:off x="6521707" y="1621802"/>
              <a:ext cx="1631790" cy="369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400 mg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Ipat</a:t>
              </a: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Median 7.5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endParaRPr>
            </a:p>
          </p:txBody>
        </p:sp>
        <p:sp>
          <p:nvSpPr>
            <p:cNvPr id="803876" name="TextBox 32"/>
            <p:cNvSpPr txBox="1">
              <a:spLocks noChangeArrowheads="1"/>
            </p:cNvSpPr>
            <p:nvPr/>
          </p:nvSpPr>
          <p:spPr bwMode="auto">
            <a:xfrm>
              <a:off x="7772534" y="2021942"/>
              <a:ext cx="1371466" cy="341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2" tIns="27432" rIns="27432" bIns="27432">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Pbo</a:t>
              </a: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Median 5.6 </a:t>
              </a: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endParaRPr>
            </a:p>
          </p:txBody>
        </p:sp>
      </p:grpSp>
      <p:grpSp>
        <p:nvGrpSpPr>
          <p:cNvPr id="803847" name="Group 43"/>
          <p:cNvGrpSpPr>
            <a:grpSpLocks/>
          </p:cNvGrpSpPr>
          <p:nvPr/>
        </p:nvGrpSpPr>
        <p:grpSpPr bwMode="auto">
          <a:xfrm>
            <a:off x="6315075" y="4019549"/>
            <a:ext cx="5861343" cy="2819977"/>
            <a:chOff x="4791501" y="3037223"/>
            <a:chExt cx="5860771" cy="2114764"/>
          </a:xfrm>
        </p:grpSpPr>
        <p:pic>
          <p:nvPicPr>
            <p:cNvPr id="803862" name="Picture 1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91501" y="3049264"/>
              <a:ext cx="3308500" cy="1940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3863" name="TextBox 33"/>
            <p:cNvSpPr txBox="1">
              <a:spLocks noChangeArrowheads="1"/>
            </p:cNvSpPr>
            <p:nvPr/>
          </p:nvSpPr>
          <p:spPr bwMode="auto">
            <a:xfrm>
              <a:off x="6672505" y="3037223"/>
              <a:ext cx="1593694" cy="392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HR,</a:t>
              </a:r>
              <a:r>
                <a:rPr kumimoji="0" lang="en-US" sz="1400" b="0" i="0" u="none" strike="noStrike" kern="1200" cap="none" spc="0" normalizeH="0" baseline="3000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a</a:t>
              </a: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rPr>
                <a:t> 1.13 (0.69-1.85)</a:t>
              </a:r>
            </a:p>
          </p:txBody>
        </p:sp>
        <p:sp>
          <p:nvSpPr>
            <p:cNvPr id="803864" name="TextBox 34"/>
            <p:cNvSpPr txBox="1">
              <a:spLocks noChangeArrowheads="1"/>
            </p:cNvSpPr>
            <p:nvPr/>
          </p:nvSpPr>
          <p:spPr bwMode="auto">
            <a:xfrm>
              <a:off x="5993121" y="3394374"/>
              <a:ext cx="1630202" cy="37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200 mg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Ipat</a:t>
              </a: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Median 4.6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endParaRPr>
            </a:p>
          </p:txBody>
        </p:sp>
        <p:sp>
          <p:nvSpPr>
            <p:cNvPr id="803865" name="TextBox 35"/>
            <p:cNvSpPr txBox="1">
              <a:spLocks noChangeArrowheads="1"/>
            </p:cNvSpPr>
            <p:nvPr/>
          </p:nvSpPr>
          <p:spPr bwMode="auto">
            <a:xfrm>
              <a:off x="7742375" y="4001529"/>
              <a:ext cx="1371466" cy="34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2" tIns="27432" rIns="27432" bIns="27432">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Pbo</a:t>
              </a: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Median 5.6 </a:t>
              </a: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endParaRPr>
            </a:p>
          </p:txBody>
        </p:sp>
        <p:cxnSp>
          <p:nvCxnSpPr>
            <p:cNvPr id="39" name="Straight Connector 38"/>
            <p:cNvCxnSpPr/>
            <p:nvPr/>
          </p:nvCxnSpPr>
          <p:spPr>
            <a:xfrm>
              <a:off x="5329611" y="3828907"/>
              <a:ext cx="663510" cy="0"/>
            </a:xfrm>
            <a:prstGeom prst="line">
              <a:avLst/>
            </a:prstGeom>
            <a:ln w="9525">
              <a:solidFill>
                <a:schemeClr val="tx1">
                  <a:lumMod val="50000"/>
                  <a:lumOff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5885182" y="3828907"/>
              <a:ext cx="0" cy="627394"/>
            </a:xfrm>
            <a:prstGeom prst="line">
              <a:avLst/>
            </a:prstGeom>
            <a:ln w="12700">
              <a:solidFill>
                <a:srgbClr val="2E75B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5993121" y="3826526"/>
              <a:ext cx="0" cy="627394"/>
            </a:xfrm>
            <a:prstGeom prst="line">
              <a:avLst/>
            </a:prstGeom>
            <a:ln w="12700">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8198236" y="4990078"/>
              <a:ext cx="2454035" cy="161908"/>
            </a:xfrm>
            <a:prstGeom prst="rect">
              <a:avLst/>
            </a:prstGeom>
            <a:noFill/>
          </p:spPr>
          <p:txBody>
            <a:bodyPr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ysClr val="windowText" lastClr="000000"/>
                  </a:solidFill>
                  <a:effectLst/>
                  <a:uLnTx/>
                  <a:uFillTx/>
                  <a:latin typeface="Arial Narrow" panose="020B0606020202030204" pitchFamily="34" charset="0"/>
                  <a:ea typeface="+mn-ea"/>
                  <a:cs typeface="+mn-cs"/>
                </a:rPr>
                <a:t>de Bono et al, Ipatasertib, ESMO 2016</a:t>
              </a:r>
            </a:p>
          </p:txBody>
        </p:sp>
      </p:grpSp>
      <p:sp>
        <p:nvSpPr>
          <p:cNvPr id="803848" name="TextBox 17"/>
          <p:cNvSpPr txBox="1">
            <a:spLocks noChangeArrowheads="1"/>
          </p:cNvSpPr>
          <p:nvPr/>
        </p:nvSpPr>
        <p:spPr bwMode="auto">
          <a:xfrm>
            <a:off x="4840288" y="2747963"/>
            <a:ext cx="137160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2" tIns="27432" rIns="27432" bIns="27432">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Pbo</a:t>
            </a: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Median 4.6 </a:t>
            </a: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endParaRPr>
          </a:p>
        </p:txBody>
      </p:sp>
      <p:sp>
        <p:nvSpPr>
          <p:cNvPr id="803849" name="TextBox 16"/>
          <p:cNvSpPr txBox="1">
            <a:spLocks noChangeArrowheads="1"/>
          </p:cNvSpPr>
          <p:nvPr/>
        </p:nvSpPr>
        <p:spPr bwMode="auto">
          <a:xfrm>
            <a:off x="4478338" y="2090738"/>
            <a:ext cx="1630362"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400 mg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Ipat</a:t>
            </a: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Median 11.5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endParaRPr>
          </a:p>
        </p:txBody>
      </p:sp>
      <p:pic>
        <p:nvPicPr>
          <p:cNvPr id="803850" name="Picture 44"/>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74913" y="4008438"/>
            <a:ext cx="3262312"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3851" name="TextBox 45"/>
          <p:cNvSpPr txBox="1">
            <a:spLocks noChangeArrowheads="1"/>
          </p:cNvSpPr>
          <p:nvPr/>
        </p:nvSpPr>
        <p:spPr bwMode="auto">
          <a:xfrm>
            <a:off x="4227513" y="4029076"/>
            <a:ext cx="15922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HR,</a:t>
            </a:r>
            <a:r>
              <a:rPr kumimoji="0" lang="en-US" sz="1400" b="0" i="0" u="none" strike="noStrike" kern="1200" cap="none" spc="0" normalizeH="0" baseline="30000" noProof="0" dirty="0" err="1">
                <a:ln>
                  <a:noFill/>
                </a:ln>
                <a:solidFill>
                  <a:srgbClr val="000000"/>
                </a:solidFill>
                <a:effectLst/>
                <a:uLnTx/>
                <a:uFillTx/>
                <a:latin typeface="Times New Roman" panose="02020603050405020304" pitchFamily="18" charset="0"/>
                <a:ea typeface="+mn-ea"/>
                <a:cs typeface="Arial" panose="020B0604020202020204" pitchFamily="34" charset="0"/>
              </a:rPr>
              <a:t>a</a:t>
            </a: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rPr>
              <a:t> 0.46 (0.25-0.83)</a:t>
            </a:r>
          </a:p>
        </p:txBody>
      </p:sp>
      <p:sp>
        <p:nvSpPr>
          <p:cNvPr id="803852" name="TextBox 46"/>
          <p:cNvSpPr txBox="1">
            <a:spLocks noChangeArrowheads="1"/>
          </p:cNvSpPr>
          <p:nvPr/>
        </p:nvSpPr>
        <p:spPr bwMode="auto">
          <a:xfrm>
            <a:off x="4344988" y="4583113"/>
            <a:ext cx="1630362"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200 mg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Ipat</a:t>
            </a: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rPr>
              <a:t>Median 11.1 </a:t>
            </a:r>
            <a:r>
              <a:rPr kumimoji="0" lang="en-US" sz="1300" b="0" i="0" u="none" strike="noStrike" kern="1200" cap="none" spc="0" normalizeH="0" baseline="0" noProof="0" dirty="0" err="1">
                <a:ln>
                  <a:noFill/>
                </a:ln>
                <a:solidFill>
                  <a:srgbClr val="2E75B6"/>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2E75B6"/>
              </a:solidFill>
              <a:effectLst/>
              <a:uLnTx/>
              <a:uFillTx/>
              <a:latin typeface="Times New Roman" panose="02020603050405020304" pitchFamily="18" charset="0"/>
              <a:ea typeface="+mn-ea"/>
              <a:cs typeface="Arial" panose="020B0604020202020204" pitchFamily="34" charset="0"/>
            </a:endParaRPr>
          </a:p>
        </p:txBody>
      </p:sp>
      <p:sp>
        <p:nvSpPr>
          <p:cNvPr id="803853" name="TextBox 47"/>
          <p:cNvSpPr txBox="1">
            <a:spLocks noChangeArrowheads="1"/>
          </p:cNvSpPr>
          <p:nvPr/>
        </p:nvSpPr>
        <p:spPr bwMode="auto">
          <a:xfrm>
            <a:off x="5105400" y="5302251"/>
            <a:ext cx="13716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2" tIns="27432" rIns="27432" bIns="27432">
            <a:spAutoFit/>
          </a:bodyPr>
          <a:lstStyle>
            <a:lvl1pPr defTabSz="457200">
              <a:defRPr>
                <a:solidFill>
                  <a:schemeClr val="tx1"/>
                </a:solidFill>
                <a:latin typeface="Times New Roman" panose="02020603050405020304" pitchFamily="18" charset="0"/>
              </a:defRPr>
            </a:lvl1pPr>
            <a:lvl2pPr marL="742950" indent="-285750" defTabSz="457200">
              <a:defRPr>
                <a:solidFill>
                  <a:schemeClr val="tx1"/>
                </a:solidFill>
                <a:latin typeface="Times New Roman" panose="02020603050405020304" pitchFamily="18" charset="0"/>
              </a:defRPr>
            </a:lvl2pPr>
            <a:lvl3pPr marL="1143000" indent="-228600" defTabSz="457200">
              <a:defRPr>
                <a:solidFill>
                  <a:schemeClr val="tx1"/>
                </a:solidFill>
                <a:latin typeface="Times New Roman" panose="02020603050405020304" pitchFamily="18" charset="0"/>
              </a:defRPr>
            </a:lvl3pPr>
            <a:lvl4pPr marL="1600200" indent="-228600" defTabSz="457200">
              <a:defRPr>
                <a:solidFill>
                  <a:schemeClr val="tx1"/>
                </a:solidFill>
                <a:latin typeface="Times New Roman" panose="02020603050405020304" pitchFamily="18" charset="0"/>
              </a:defRPr>
            </a:lvl4pPr>
            <a:lvl5pPr marL="2057400" indent="-228600" defTabSz="457200">
              <a:defRPr>
                <a:solidFill>
                  <a:schemeClr val="tx1"/>
                </a:solidFill>
                <a:latin typeface="Times New Roman" panose="02020603050405020304" pitchFamily="18" charset="0"/>
              </a:defRPr>
            </a:lvl5pPr>
            <a:lvl6pPr marL="2514600" indent="-228600" defTabSz="457200"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457200"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457200"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457200" eaLnBrk="0" fontAlgn="base" hangingPunct="0">
              <a:spcBef>
                <a:spcPct val="0"/>
              </a:spcBef>
              <a:spcAft>
                <a:spcPct val="0"/>
              </a:spcAft>
              <a:defRPr>
                <a:solidFill>
                  <a:schemeClr val="tx1"/>
                </a:solidFill>
                <a:latin typeface="Times New Roman"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Pbo</a:t>
            </a: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 + Ab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rPr>
              <a:t>Median 4.6 </a:t>
            </a:r>
            <a:r>
              <a:rPr kumimoji="0" lang="en-US" sz="1300" b="0" i="0" u="none" strike="noStrike" kern="1200" cap="none" spc="0" normalizeH="0" baseline="0" noProof="0" dirty="0" err="1">
                <a:ln>
                  <a:noFill/>
                </a:ln>
                <a:solidFill>
                  <a:srgbClr val="FF0000"/>
                </a:solidFill>
                <a:effectLst/>
                <a:uLnTx/>
                <a:uFillTx/>
                <a:latin typeface="Times New Roman" panose="02020603050405020304" pitchFamily="18" charset="0"/>
                <a:ea typeface="+mn-ea"/>
                <a:cs typeface="Arial" panose="020B0604020202020204" pitchFamily="34" charset="0"/>
              </a:rPr>
              <a:t>mo</a:t>
            </a:r>
            <a:endParaRPr kumimoji="0" lang="en-US" sz="13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Arial" panose="020B0604020202020204" pitchFamily="34" charset="0"/>
            </a:endParaRPr>
          </a:p>
        </p:txBody>
      </p:sp>
      <p:cxnSp>
        <p:nvCxnSpPr>
          <p:cNvPr id="49" name="Straight Connector 48"/>
          <p:cNvCxnSpPr/>
          <p:nvPr/>
        </p:nvCxnSpPr>
        <p:spPr>
          <a:xfrm>
            <a:off x="2978151" y="5110163"/>
            <a:ext cx="1260475" cy="0"/>
          </a:xfrm>
          <a:prstGeom prst="line">
            <a:avLst/>
          </a:prstGeom>
          <a:ln w="9525">
            <a:solidFill>
              <a:schemeClr val="tx1">
                <a:lumMod val="50000"/>
                <a:lumOff val="5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3552825" y="5110164"/>
            <a:ext cx="0" cy="820737"/>
          </a:xfrm>
          <a:prstGeom prst="line">
            <a:avLst/>
          </a:prstGeom>
          <a:ln w="12700">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4227513" y="5076826"/>
            <a:ext cx="0" cy="860425"/>
          </a:xfrm>
          <a:prstGeom prst="line">
            <a:avLst/>
          </a:prstGeom>
          <a:ln w="12700">
            <a:solidFill>
              <a:srgbClr val="2E75B6"/>
            </a:solidFill>
            <a:prstDash val="sysDash"/>
          </a:ln>
          <a:effectLst/>
        </p:spPr>
        <p:style>
          <a:lnRef idx="2">
            <a:schemeClr val="accent1"/>
          </a:lnRef>
          <a:fillRef idx="0">
            <a:schemeClr val="accent1"/>
          </a:fillRef>
          <a:effectRef idx="1">
            <a:schemeClr val="accent1"/>
          </a:effectRef>
          <a:fontRef idx="minor">
            <a:schemeClr val="tx1"/>
          </a:fontRef>
        </p:style>
      </p:cxnSp>
      <p:sp>
        <p:nvSpPr>
          <p:cNvPr id="42" name="Titre 1"/>
          <p:cNvSpPr txBox="1">
            <a:spLocks/>
          </p:cNvSpPr>
          <p:nvPr/>
        </p:nvSpPr>
        <p:spPr bwMode="auto">
          <a:xfrm>
            <a:off x="1981200" y="-100013"/>
            <a:ext cx="8229600" cy="142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Arial"/>
                <a:ea typeface="+mj-ea"/>
                <a:cs typeface="+mj-cs"/>
              </a:rPr>
              <a:t>Abiraterone +/- Ipatasertib (Akt inhibitor) R</a:t>
            </a:r>
            <a:r>
              <a:rPr kumimoji="0" lang="en-US" sz="3200" b="0" i="0" u="none" strike="noStrike" kern="0" cap="none" spc="0" normalizeH="0" baseline="0" noProof="0" dirty="0" err="1">
                <a:ln>
                  <a:noFill/>
                </a:ln>
                <a:solidFill>
                  <a:srgbClr val="000000"/>
                </a:solidFill>
                <a:effectLst/>
                <a:uLnTx/>
                <a:uFillTx/>
                <a:latin typeface="Arial"/>
                <a:ea typeface="+mj-ea"/>
                <a:cs typeface="+mj-cs"/>
              </a:rPr>
              <a:t>andomised</a:t>
            </a:r>
            <a:r>
              <a:rPr kumimoji="0" lang="en-US" sz="3200" b="0" i="0" u="none" strike="noStrike" kern="0" cap="none" spc="0" normalizeH="0" baseline="0" noProof="0" dirty="0">
                <a:ln>
                  <a:noFill/>
                </a:ln>
                <a:solidFill>
                  <a:srgbClr val="000000"/>
                </a:solidFill>
                <a:effectLst/>
                <a:uLnTx/>
                <a:uFillTx/>
                <a:latin typeface="Arial"/>
                <a:ea typeface="+mj-ea"/>
                <a:cs typeface="+mj-cs"/>
              </a:rPr>
              <a:t> phase 2 trial: PFS</a:t>
            </a:r>
          </a:p>
        </p:txBody>
      </p:sp>
      <p:cxnSp>
        <p:nvCxnSpPr>
          <p:cNvPr id="3" name="Connecteur droit 2"/>
          <p:cNvCxnSpPr/>
          <p:nvPr/>
        </p:nvCxnSpPr>
        <p:spPr>
          <a:xfrm>
            <a:off x="6211888" y="1143000"/>
            <a:ext cx="0" cy="567690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554161" y="4029076"/>
            <a:ext cx="8961435" cy="2795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pic>
        <p:nvPicPr>
          <p:cNvPr id="2" name="Imag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16509" y="3163096"/>
            <a:ext cx="2905125" cy="1571625"/>
          </a:xfrm>
          <a:prstGeom prst="rect">
            <a:avLst/>
          </a:prstGeom>
        </p:spPr>
      </p:pic>
      <p:pic>
        <p:nvPicPr>
          <p:cNvPr id="4" name="Image 3"/>
          <p:cNvPicPr>
            <a:picLocks noChangeAspect="1"/>
          </p:cNvPicPr>
          <p:nvPr/>
        </p:nvPicPr>
        <p:blipFill>
          <a:blip r:embed="rId8">
            <a:extLst>
              <a:ext uri="{28A0092B-C50C-407E-A947-70E740481C1C}">
                <a14:useLocalDpi xmlns:a14="http://schemas.microsoft.com/office/drawing/2010/main" val="0"/>
              </a:ext>
            </a:extLst>
          </a:blip>
          <a:srcRect b="8242"/>
          <a:stretch>
            <a:fillRect/>
          </a:stretch>
        </p:blipFill>
        <p:spPr>
          <a:xfrm>
            <a:off x="7004334" y="2898649"/>
            <a:ext cx="2447925" cy="1713037"/>
          </a:xfrm>
          <a:prstGeom prst="rect">
            <a:avLst/>
          </a:prstGeom>
        </p:spPr>
      </p:pic>
    </p:spTree>
    <p:extLst>
      <p:ext uri="{BB962C8B-B14F-4D97-AF65-F5344CB8AC3E}">
        <p14:creationId xmlns:p14="http://schemas.microsoft.com/office/powerpoint/2010/main" val="11519304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a:t>Ipatasertib-Abiraterone </a:t>
            </a:r>
            <a:r>
              <a:rPr lang="en-US" dirty="0"/>
              <a:t>in </a:t>
            </a:r>
            <a:r>
              <a:rPr lang="en-US" dirty="0" err="1"/>
              <a:t>mCRPC</a:t>
            </a:r>
            <a:r>
              <a:rPr lang="en-US" dirty="0"/>
              <a:t>: </a:t>
            </a:r>
            <a:r>
              <a:rPr lang="en-US" dirty="0" err="1"/>
              <a:t>rPFS</a:t>
            </a:r>
            <a:br>
              <a:rPr lang="en-US" dirty="0"/>
            </a:br>
            <a:r>
              <a:rPr lang="en-US" dirty="0"/>
              <a:t>(IPATential150 phase 3 trial)</a:t>
            </a:r>
          </a:p>
        </p:txBody>
      </p:sp>
      <p:pic>
        <p:nvPicPr>
          <p:cNvPr id="5" name="Image 4"/>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59126" y="2467047"/>
            <a:ext cx="6158321" cy="3157243"/>
          </a:xfrm>
          <a:prstGeom prst="rect">
            <a:avLst/>
          </a:prstGeom>
        </p:spPr>
      </p:pic>
      <p:pic>
        <p:nvPicPr>
          <p:cNvPr id="6" name="Image 5"/>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670965" y="3080533"/>
            <a:ext cx="5425280" cy="1269874"/>
          </a:xfrm>
          <a:prstGeom prst="rect">
            <a:avLst/>
          </a:prstGeom>
        </p:spPr>
      </p:pic>
      <p:sp>
        <p:nvSpPr>
          <p:cNvPr id="7" name="ZoneTexte 6"/>
          <p:cNvSpPr txBox="1"/>
          <p:nvPr/>
        </p:nvSpPr>
        <p:spPr>
          <a:xfrm>
            <a:off x="9577632" y="6372520"/>
            <a:ext cx="2448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weeney C, Lancet 2021</a:t>
            </a:r>
          </a:p>
        </p:txBody>
      </p:sp>
    </p:spTree>
    <p:extLst>
      <p:ext uri="{BB962C8B-B14F-4D97-AF65-F5344CB8AC3E}">
        <p14:creationId xmlns:p14="http://schemas.microsoft.com/office/powerpoint/2010/main" val="28301645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822720" y="1880754"/>
            <a:ext cx="8546560" cy="4378835"/>
          </a:xfrm>
          <a:prstGeom prst="rect">
            <a:avLst/>
          </a:prstGeom>
        </p:spPr>
      </p:pic>
      <p:sp>
        <p:nvSpPr>
          <p:cNvPr id="4" name="ZoneTexte 3"/>
          <p:cNvSpPr txBox="1"/>
          <p:nvPr/>
        </p:nvSpPr>
        <p:spPr>
          <a:xfrm>
            <a:off x="9577632" y="6372520"/>
            <a:ext cx="2448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weeney C, Lancet 2021</a:t>
            </a:r>
          </a:p>
        </p:txBody>
      </p:sp>
      <p:sp>
        <p:nvSpPr>
          <p:cNvPr id="5" name="Titre 3"/>
          <p:cNvSpPr>
            <a:spLocks noGrp="1"/>
          </p:cNvSpPr>
          <p:nvPr>
            <p:ph type="title"/>
          </p:nvPr>
        </p:nvSpPr>
        <p:spPr/>
        <p:txBody>
          <a:bodyPr/>
          <a:lstStyle/>
          <a:p>
            <a:r>
              <a:rPr lang="en-US" dirty="0"/>
              <a:t>Ipatasertib-Abiraterone in </a:t>
            </a:r>
            <a:r>
              <a:rPr lang="en-US" dirty="0" err="1"/>
              <a:t>mCRPC</a:t>
            </a:r>
            <a:r>
              <a:rPr lang="en-US" dirty="0"/>
              <a:t>: </a:t>
            </a:r>
            <a:r>
              <a:rPr lang="en-US" dirty="0" err="1"/>
              <a:t>rPFS</a:t>
            </a:r>
            <a:r>
              <a:rPr lang="en-US" dirty="0"/>
              <a:t> in patients with PTEN loss by NGS</a:t>
            </a:r>
          </a:p>
        </p:txBody>
      </p:sp>
    </p:spTree>
    <p:extLst>
      <p:ext uri="{BB962C8B-B14F-4D97-AF65-F5344CB8AC3E}">
        <p14:creationId xmlns:p14="http://schemas.microsoft.com/office/powerpoint/2010/main" val="11691131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Overall survival is not improved by Ipatasertib in </a:t>
            </a:r>
            <a:r>
              <a:rPr lang="en-US" dirty="0" err="1"/>
              <a:t>mCRPC</a:t>
            </a:r>
            <a:r>
              <a:rPr lang="en-US" dirty="0"/>
              <a:t> (</a:t>
            </a:r>
            <a:r>
              <a:rPr lang="en-US" dirty="0" err="1"/>
              <a:t>IPATential</a:t>
            </a:r>
            <a:r>
              <a:rPr lang="en-US" dirty="0"/>
              <a:t> 150 trial)</a:t>
            </a:r>
          </a:p>
        </p:txBody>
      </p:sp>
      <p:pic>
        <p:nvPicPr>
          <p:cNvPr id="3" name="Image 2"/>
          <p:cNvPicPr>
            <a:picLocks noChangeAspect="1"/>
          </p:cNvPicPr>
          <p:nvPr/>
        </p:nvPicPr>
        <p:blipFill>
          <a:blip r:embed="rId2"/>
          <a:stretch>
            <a:fillRect/>
          </a:stretch>
        </p:blipFill>
        <p:spPr>
          <a:xfrm>
            <a:off x="1396407" y="1690688"/>
            <a:ext cx="4007056" cy="4457929"/>
          </a:xfrm>
          <a:prstGeom prst="rect">
            <a:avLst/>
          </a:prstGeom>
        </p:spPr>
      </p:pic>
      <p:pic>
        <p:nvPicPr>
          <p:cNvPr id="4" name="Image 3"/>
          <p:cNvPicPr>
            <a:picLocks noChangeAspect="1"/>
          </p:cNvPicPr>
          <p:nvPr/>
        </p:nvPicPr>
        <p:blipFill>
          <a:blip r:embed="rId3"/>
          <a:stretch>
            <a:fillRect/>
          </a:stretch>
        </p:blipFill>
        <p:spPr>
          <a:xfrm>
            <a:off x="6743789" y="1763716"/>
            <a:ext cx="4153113" cy="4311872"/>
          </a:xfrm>
          <a:prstGeom prst="rect">
            <a:avLst/>
          </a:prstGeom>
        </p:spPr>
      </p:pic>
      <p:cxnSp>
        <p:nvCxnSpPr>
          <p:cNvPr id="6" name="Connecteur droit 5"/>
          <p:cNvCxnSpPr/>
          <p:nvPr/>
        </p:nvCxnSpPr>
        <p:spPr>
          <a:xfrm>
            <a:off x="1989054" y="2686639"/>
            <a:ext cx="13543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p:nvCxnSpPr>
        <p:spPr>
          <a:xfrm>
            <a:off x="7505304" y="2697634"/>
            <a:ext cx="13543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ZoneTexte 7"/>
          <p:cNvSpPr txBox="1"/>
          <p:nvPr/>
        </p:nvSpPr>
        <p:spPr>
          <a:xfrm>
            <a:off x="9238268" y="6334812"/>
            <a:ext cx="25070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 Bono J,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ur</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Uro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spTree>
    <p:extLst>
      <p:ext uri="{BB962C8B-B14F-4D97-AF65-F5344CB8AC3E}">
        <p14:creationId xmlns:p14="http://schemas.microsoft.com/office/powerpoint/2010/main" val="12260871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A061E-0B63-CD23-CEB9-00313B50F8B9}"/>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85CCC5A8-3708-C7EC-A042-6686ABB22158}"/>
              </a:ext>
            </a:extLst>
          </p:cNvPr>
          <p:cNvSpPr txBox="1"/>
          <p:nvPr/>
        </p:nvSpPr>
        <p:spPr>
          <a:xfrm>
            <a:off x="4533927" y="4609116"/>
            <a:ext cx="7245324" cy="1116000"/>
          </a:xfrm>
          <a:prstGeom prst="roundRect">
            <a:avLst>
              <a:gd name="adj" fmla="val 9581"/>
            </a:avLst>
          </a:prstGeom>
          <a:solidFill>
            <a:schemeClr val="bg1">
              <a:lumMod val="85000"/>
            </a:schemeClr>
          </a:solidFill>
          <a:ln w="19050">
            <a:noFill/>
          </a:ln>
        </p:spPr>
        <p:txBody>
          <a:bodyPr wrap="square" lIns="144000" tIns="72000" rtlCol="0">
            <a:noAutofit/>
          </a:bodyPr>
          <a:lstStyle>
            <a:defPPr>
              <a:defRPr lang="en-US"/>
            </a:defPPr>
            <a:lvl1pPr algn="ctr">
              <a:lnSpc>
                <a:spcPct val="90000"/>
              </a:lnSpc>
              <a:spcAft>
                <a:spcPts val="600"/>
              </a:spcAft>
              <a:defRPr sz="1400"/>
            </a:lvl1pPr>
          </a:lstStyle>
          <a:p>
            <a:pPr marL="0" marR="0" lvl="0" indent="0" algn="l" defTabSz="914446" rtl="0" eaLnBrk="1" fontAlgn="auto" latinLnBrk="0" hangingPunct="1">
              <a:lnSpc>
                <a:spcPct val="9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Study timeline</a:t>
            </a:r>
            <a:endParaRPr kumimoji="0" lang="en-US" sz="1400" b="0"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endParaRPr>
          </a:p>
        </p:txBody>
      </p:sp>
      <p:cxnSp>
        <p:nvCxnSpPr>
          <p:cNvPr id="137" name="Connector: Elbow 136">
            <a:extLst>
              <a:ext uri="{FF2B5EF4-FFF2-40B4-BE49-F238E27FC236}">
                <a16:creationId xmlns:a16="http://schemas.microsoft.com/office/drawing/2014/main" id="{F9039FED-A30D-8814-BB67-AFB3B24AAA7F}"/>
              </a:ext>
            </a:extLst>
          </p:cNvPr>
          <p:cNvCxnSpPr>
            <a:cxnSpLocks/>
          </p:cNvCxnSpPr>
          <p:nvPr/>
        </p:nvCxnSpPr>
        <p:spPr>
          <a:xfrm rot="16200000" flipH="1">
            <a:off x="4003359" y="3328044"/>
            <a:ext cx="713740" cy="303044"/>
          </a:xfrm>
          <a:prstGeom prst="bentConnector3">
            <a:avLst>
              <a:gd name="adj1" fmla="val 100382"/>
            </a:avLst>
          </a:prstGeom>
          <a:ln w="28575">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E09C9A9C-6610-3213-B337-BFFCFF09814A}"/>
              </a:ext>
            </a:extLst>
          </p:cNvPr>
          <p:cNvCxnSpPr>
            <a:cxnSpLocks/>
          </p:cNvCxnSpPr>
          <p:nvPr/>
        </p:nvCxnSpPr>
        <p:spPr>
          <a:xfrm rot="5400000" flipH="1" flipV="1">
            <a:off x="4001380" y="2116283"/>
            <a:ext cx="697498" cy="282844"/>
          </a:xfrm>
          <a:prstGeom prst="bentConnector3">
            <a:avLst>
              <a:gd name="adj1" fmla="val 100082"/>
            </a:avLst>
          </a:prstGeom>
          <a:ln w="28575">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D9C9CBA-FFD1-A25F-1BCE-DB3F8EF6982E}"/>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1" name="Subtitle 10">
            <a:extLst>
              <a:ext uri="{FF2B5EF4-FFF2-40B4-BE49-F238E27FC236}">
                <a16:creationId xmlns:a16="http://schemas.microsoft.com/office/drawing/2014/main" id="{86DBA066-C65C-39D1-06B5-1D013EC4B510}"/>
              </a:ext>
            </a:extLst>
          </p:cNvPr>
          <p:cNvSpPr>
            <a:spLocks noGrp="1"/>
          </p:cNvSpPr>
          <p:nvPr>
            <p:ph type="subTitle" idx="2"/>
          </p:nvPr>
        </p:nvSpPr>
        <p:spPr>
          <a:xfrm>
            <a:off x="471530" y="682734"/>
            <a:ext cx="11250286" cy="600000"/>
          </a:xfrm>
        </p:spPr>
        <p:txBody>
          <a:bodyPr/>
          <a:lstStyle/>
          <a:p>
            <a:r>
              <a:rPr lang="en-US" dirty="0"/>
              <a:t>A global, </a:t>
            </a:r>
            <a:r>
              <a:rPr lang="en-US" dirty="0" err="1"/>
              <a:t>multicentre</a:t>
            </a:r>
            <a:r>
              <a:rPr lang="en-US" dirty="0"/>
              <a:t>, randomized, double-blind, Phase 3 study</a:t>
            </a:r>
          </a:p>
        </p:txBody>
      </p:sp>
      <p:sp>
        <p:nvSpPr>
          <p:cNvPr id="2" name="Title 1">
            <a:extLst>
              <a:ext uri="{FF2B5EF4-FFF2-40B4-BE49-F238E27FC236}">
                <a16:creationId xmlns:a16="http://schemas.microsoft.com/office/drawing/2014/main" id="{0AFD7B54-4742-6483-2F17-989DEF5C1F37}"/>
              </a:ext>
            </a:extLst>
          </p:cNvPr>
          <p:cNvSpPr>
            <a:spLocks noGrp="1"/>
          </p:cNvSpPr>
          <p:nvPr>
            <p:ph type="ctrTitle"/>
          </p:nvPr>
        </p:nvSpPr>
        <p:spPr>
          <a:xfrm>
            <a:off x="442914" y="368311"/>
            <a:ext cx="11250106" cy="576000"/>
          </a:xfrm>
        </p:spPr>
        <p:txBody>
          <a:bodyPr/>
          <a:lstStyle/>
          <a:p>
            <a:r>
              <a:rPr lang="en-US" dirty="0"/>
              <a:t>CAPItello-281 Study Design</a:t>
            </a:r>
          </a:p>
        </p:txBody>
      </p:sp>
      <p:sp>
        <p:nvSpPr>
          <p:cNvPr id="50" name="Rectangle 49">
            <a:extLst>
              <a:ext uri="{FF2B5EF4-FFF2-40B4-BE49-F238E27FC236}">
                <a16:creationId xmlns:a16="http://schemas.microsoft.com/office/drawing/2014/main" id="{05CBF899-A104-56EA-FF2C-8FCABF82EA5A}"/>
              </a:ext>
            </a:extLst>
          </p:cNvPr>
          <p:cNvSpPr/>
          <p:nvPr/>
        </p:nvSpPr>
        <p:spPr>
          <a:xfrm>
            <a:off x="500434" y="4702686"/>
            <a:ext cx="3730515" cy="884582"/>
          </a:xfrm>
          <a:prstGeom prst="rect">
            <a:avLst/>
          </a:prstGeom>
          <a:noFill/>
          <a:ln w="28575" cap="flat" cmpd="sng" algn="ctr">
            <a:noFill/>
            <a:prstDash val="solid"/>
          </a:ln>
          <a:effectLst/>
        </p:spPr>
        <p:txBody>
          <a:bodyPr rtlCol="0" anchor="ctr"/>
          <a:lstStyle/>
          <a:p>
            <a:pPr marL="0" marR="0" lvl="0" indent="0" algn="l" defTabSz="6096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Stratification factors:</a:t>
            </a:r>
            <a:r>
              <a:rPr kumimoji="0" lang="en-US" sz="1400" b="1" i="0" u="none" strike="noStrike" kern="0" cap="none" spc="0" normalizeH="0" baseline="30000" noProof="0" dirty="0">
                <a:ln>
                  <a:noFill/>
                </a:ln>
                <a:solidFill>
                  <a:srgbClr val="3F4444">
                    <a:lumMod val="50000"/>
                  </a:srgbClr>
                </a:solidFill>
                <a:effectLst/>
                <a:uLnTx/>
                <a:uFillTx/>
                <a:latin typeface="Arial Narrow" panose="020B0606020202030204" pitchFamily="34" charset="0"/>
                <a:ea typeface="+mn-ea"/>
                <a:cs typeface="+mn-cs"/>
              </a:rPr>
              <a:t>†</a:t>
            </a:r>
          </a:p>
          <a:p>
            <a:pPr marL="179397" marR="0" lvl="0" indent="-179397" algn="l" defTabSz="6096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M1 volume (CHAARTED criteria) and visceral </a:t>
            </a:r>
            <a:r>
              <a:rPr kumimoji="0" lang="en-US" sz="1400" b="0" i="0" u="none" strike="noStrike" kern="0" cap="none" spc="0" normalizeH="0" baseline="0" noProof="0" dirty="0" err="1">
                <a:ln>
                  <a:noFill/>
                </a:ln>
                <a:solidFill>
                  <a:srgbClr val="3F4444">
                    <a:lumMod val="50000"/>
                  </a:srgbClr>
                </a:solidFill>
                <a:effectLst/>
                <a:uLnTx/>
                <a:uFillTx/>
                <a:latin typeface="Arial Narrow" panose="020B0606020202030204" pitchFamily="34" charset="0"/>
                <a:ea typeface="+mn-ea"/>
                <a:cs typeface="+mn-cs"/>
              </a:rPr>
              <a:t>mets</a:t>
            </a:r>
            <a:r>
              <a:rPr kumimoji="0" lang="en-US" sz="1400" b="0" i="0" u="none" strike="noStrike" kern="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 </a:t>
            </a:r>
            <a:endParaRPr kumimoji="0" lang="en-US" sz="1100" b="0" i="0" u="none" strike="noStrike" kern="0" cap="none" spc="0" normalizeH="0" baseline="0" noProof="0" dirty="0">
              <a:ln>
                <a:noFill/>
              </a:ln>
              <a:solidFill>
                <a:srgbClr val="3F4444">
                  <a:lumMod val="50000"/>
                </a:srgbClr>
              </a:solidFill>
              <a:effectLst/>
              <a:uLnTx/>
              <a:uFillTx/>
              <a:latin typeface="Arial Narrow" panose="020B0606020202030204" pitchFamily="34" charset="0"/>
              <a:ea typeface="+mn-ea"/>
              <a:cs typeface="+mn-cs"/>
            </a:endParaRPr>
          </a:p>
          <a:p>
            <a:pPr marL="179397" marR="0" lvl="0" indent="-179397" algn="l" defTabSz="6096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Geography</a:t>
            </a:r>
            <a:endParaRPr kumimoji="0" lang="en-US" sz="1400" b="0" i="0" u="none" strike="noStrike" kern="0" cap="none" spc="0" normalizeH="0" baseline="0" noProof="0" dirty="0">
              <a:ln>
                <a:noFill/>
              </a:ln>
              <a:solidFill>
                <a:srgbClr val="3F4444">
                  <a:lumMod val="50000"/>
                </a:srgbClr>
              </a:solidFill>
              <a:effectLst/>
              <a:highlight>
                <a:srgbClr val="FFFF00"/>
              </a:highlight>
              <a:uLnTx/>
              <a:uFillTx/>
              <a:latin typeface="Arial Narrow" panose="020B0606020202030204" pitchFamily="34" charset="0"/>
              <a:ea typeface="+mn-ea"/>
              <a:cs typeface="+mn-cs"/>
            </a:endParaRPr>
          </a:p>
        </p:txBody>
      </p:sp>
      <p:sp>
        <p:nvSpPr>
          <p:cNvPr id="51" name="TextBox 50">
            <a:extLst>
              <a:ext uri="{FF2B5EF4-FFF2-40B4-BE49-F238E27FC236}">
                <a16:creationId xmlns:a16="http://schemas.microsoft.com/office/drawing/2014/main" id="{96EE7FC9-1B0B-5C2F-C26F-409F1C88AA97}"/>
              </a:ext>
            </a:extLst>
          </p:cNvPr>
          <p:cNvSpPr txBox="1"/>
          <p:nvPr/>
        </p:nvSpPr>
        <p:spPr>
          <a:xfrm>
            <a:off x="8489040" y="1297749"/>
            <a:ext cx="3290210" cy="3148663"/>
          </a:xfrm>
          <a:prstGeom prst="roundRect">
            <a:avLst>
              <a:gd name="adj" fmla="val 3276"/>
            </a:avLst>
          </a:prstGeom>
          <a:solidFill>
            <a:schemeClr val="bg1">
              <a:lumMod val="85000"/>
            </a:schemeClr>
          </a:solidFill>
          <a:ln w="19050">
            <a:noFill/>
          </a:ln>
        </p:spPr>
        <p:txBody>
          <a:bodyPr wrap="square" lIns="144000" tIns="72000" rtlCol="0" anchor="ctr">
            <a:noAutofit/>
          </a:bodyPr>
          <a:lstStyle>
            <a:defPPr>
              <a:defRPr lang="en-US"/>
            </a:defPPr>
            <a:lvl1pPr algn="ctr">
              <a:lnSpc>
                <a:spcPct val="90000"/>
              </a:lnSpc>
              <a:spcAft>
                <a:spcPts val="600"/>
              </a:spcAft>
              <a:defRPr sz="1400"/>
            </a:lvl1pPr>
          </a:lstStyle>
          <a:p>
            <a:pPr marL="0" marR="0" lvl="0" indent="0" algn="l" defTabSz="914446"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Primary endpoint </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Investigator assessed </a:t>
            </a:r>
            <a:r>
              <a:rPr kumimoji="0" lang="en-US" sz="16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endParaRPr kumimoji="0" lang="en-US" sz="16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endParaRPr>
          </a:p>
          <a:p>
            <a:pPr marL="0" marR="0" lvl="0" indent="0" algn="l" defTabSz="914446" rtl="0" eaLnBrk="1" fontAlgn="auto" latinLnBrk="0" hangingPunct="1">
              <a:lnSpc>
                <a:spcPct val="100000"/>
              </a:lnSpc>
              <a:spcBef>
                <a:spcPts val="600"/>
              </a:spcBef>
              <a:spcAft>
                <a:spcPts val="30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Secondary endpoints</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Overall survival</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Time to first subsequent therapy</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Symptomatic skeletal-event free survival</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Time to pain progression</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Time to castration resistance</a:t>
            </a:r>
          </a:p>
          <a:p>
            <a:pPr marL="285764" marR="0" lvl="0" indent="-285764" algn="l" defTabSz="91444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Time to PSA progression</a:t>
            </a:r>
          </a:p>
          <a:p>
            <a:pPr marL="0" marR="0" lvl="0" indent="0" algn="l" defTabSz="914446" rtl="0" eaLnBrk="1" fontAlgn="auto" latinLnBrk="0" hangingPunct="1">
              <a:lnSpc>
                <a:spcPct val="100000"/>
              </a:lnSpc>
              <a:spcBef>
                <a:spcPts val="1200"/>
              </a:spcBef>
              <a:spcAft>
                <a:spcPts val="30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Exploratory </a:t>
            </a:r>
            <a:r>
              <a:rPr kumimoji="0" lang="en-US" sz="1600" b="1" i="1"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post-hoc</a:t>
            </a: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 </a:t>
            </a:r>
            <a:b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b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mn-ea"/>
                <a:cs typeface="+mn-cs"/>
              </a:rPr>
              <a:t>PTEN deficiency subgroups </a:t>
            </a:r>
            <a:endPar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endParaRPr>
          </a:p>
        </p:txBody>
      </p:sp>
      <p:sp>
        <p:nvSpPr>
          <p:cNvPr id="53" name="TextBox 52">
            <a:extLst>
              <a:ext uri="{FF2B5EF4-FFF2-40B4-BE49-F238E27FC236}">
                <a16:creationId xmlns:a16="http://schemas.microsoft.com/office/drawing/2014/main" id="{5CB622E7-00CF-FFD2-7297-1C9392F195E6}"/>
              </a:ext>
            </a:extLst>
          </p:cNvPr>
          <p:cNvSpPr txBox="1"/>
          <p:nvPr/>
        </p:nvSpPr>
        <p:spPr>
          <a:xfrm>
            <a:off x="442913" y="5773170"/>
            <a:ext cx="11596684" cy="553998"/>
          </a:xfrm>
          <a:prstGeom prst="rect">
            <a:avLst/>
          </a:prstGeom>
          <a:noFill/>
        </p:spPr>
        <p:txBody>
          <a:bodyPr wrap="square" lIns="91440" tIns="45720" rIns="91440" bIns="45720" anchor="b">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4444"/>
                </a:solidFill>
                <a:effectLst/>
                <a:uLnTx/>
                <a:uFillTx/>
                <a:latin typeface="Arial Narrow"/>
                <a:ea typeface="+mn-ea"/>
                <a:cs typeface="+mn-cs"/>
              </a:rPr>
              <a:t>NCT04493853. Full eligibility criteria available in the online article. *Determined using investigational</a:t>
            </a:r>
            <a:r>
              <a:rPr kumimoji="0" lang="en-US" sz="1000" b="0" i="0" u="none" strike="noStrike" kern="1200" cap="none" spc="0" normalizeH="0" baseline="0" noProof="0" dirty="0">
                <a:ln>
                  <a:noFill/>
                </a:ln>
                <a:solidFill>
                  <a:srgbClr val="3F4444"/>
                </a:solidFill>
                <a:effectLst/>
                <a:uLnTx/>
                <a:uFillTx/>
                <a:latin typeface="Arial Narrow"/>
                <a:ea typeface="+mn-ea"/>
                <a:cs typeface="Segoe UI"/>
              </a:rPr>
              <a:t> antibody for PTEN (SP218) (Roche Diagnostics)</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 </a:t>
            </a:r>
            <a:br>
              <a:rPr kumimoji="0" lang="en-US" sz="1000" b="0" i="0" u="none" strike="noStrike" kern="1200" cap="none" spc="0" normalizeH="0" baseline="0" noProof="0" dirty="0">
                <a:ln>
                  <a:noFill/>
                </a:ln>
                <a:solidFill>
                  <a:srgbClr val="3F4444"/>
                </a:solidFill>
                <a:effectLst/>
                <a:uLnTx/>
                <a:uFillTx/>
                <a:latin typeface="Arial Narrow"/>
                <a:ea typeface="+mn-ea"/>
                <a:cs typeface="+mn-cs"/>
              </a:rPr>
            </a:br>
            <a:r>
              <a:rPr kumimoji="0" lang="en-US" sz="1000" b="0" i="0" u="none" strike="noStrike" kern="1200" cap="none" spc="0" normalizeH="0" baseline="30000" noProof="0" dirty="0">
                <a:ln>
                  <a:noFill/>
                </a:ln>
                <a:solidFill>
                  <a:srgbClr val="3F4444"/>
                </a:solidFill>
                <a:effectLst/>
                <a:uLnTx/>
                <a:uFillTx/>
                <a:latin typeface="Arial Narrow"/>
                <a:ea typeface="+mn-ea"/>
                <a:cs typeface="+mn-cs"/>
              </a:rPr>
              <a:t>†</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High-vol. disease with visceral </a:t>
            </a:r>
            <a:r>
              <a:rPr kumimoji="0" lang="en-US" sz="1000" b="0" i="0" u="none" strike="noStrike" kern="1200" cap="none" spc="0" normalizeH="0" baseline="0" noProof="0" dirty="0" err="1">
                <a:ln>
                  <a:noFill/>
                </a:ln>
                <a:solidFill>
                  <a:srgbClr val="3F4444"/>
                </a:solidFill>
                <a:effectLst/>
                <a:uLnTx/>
                <a:uFillTx/>
                <a:latin typeface="Arial Narrow"/>
                <a:ea typeface="+mn-ea"/>
                <a:cs typeface="+mn-cs"/>
              </a:rPr>
              <a:t>mets</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 high-vol disease without visceral </a:t>
            </a:r>
            <a:r>
              <a:rPr kumimoji="0" lang="en-US" sz="1000" b="0" i="0" u="none" strike="noStrike" kern="1200" cap="none" spc="0" normalizeH="0" baseline="0" noProof="0" dirty="0" err="1">
                <a:ln>
                  <a:noFill/>
                </a:ln>
                <a:solidFill>
                  <a:srgbClr val="3F4444"/>
                </a:solidFill>
                <a:effectLst/>
                <a:uLnTx/>
                <a:uFillTx/>
                <a:latin typeface="Arial Narrow"/>
                <a:ea typeface="+mn-ea"/>
                <a:cs typeface="+mn-cs"/>
              </a:rPr>
              <a:t>mets</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 low-vol. disease; North America; Western Europe and Australia; Latin America and Eastern Europe; Asia. </a:t>
            </a:r>
            <a:r>
              <a:rPr kumimoji="0" lang="en-US" sz="1000" b="0" i="0" u="none" strike="noStrike" kern="1200" cap="none" spc="0" normalizeH="0" baseline="30000" noProof="0" dirty="0">
                <a:ln>
                  <a:noFill/>
                </a:ln>
                <a:solidFill>
                  <a:srgbClr val="3F4444"/>
                </a:solidFill>
                <a:effectLst/>
                <a:uLnTx/>
                <a:uFillTx/>
                <a:latin typeface="Arial Narrow" panose="020B0606020202030204" pitchFamily="34" charset="0"/>
                <a:ea typeface="+mn-ea"/>
                <a:cs typeface="+mn-cs"/>
              </a:rPr>
              <a:t>‡</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In censored patients.</a:t>
            </a:r>
            <a:b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000" b="0" i="0" u="none" strike="noStrike" kern="1200" cap="none" spc="0" normalizeH="0" baseline="0" noProof="0" dirty="0">
                <a:ln>
                  <a:noFill/>
                </a:ln>
                <a:solidFill>
                  <a:srgbClr val="3F4444"/>
                </a:solidFill>
                <a:effectLst/>
                <a:uLnTx/>
                <a:uFillTx/>
                <a:latin typeface="Arial Narrow"/>
                <a:ea typeface="+mn-ea"/>
                <a:cs typeface="+mn-cs"/>
              </a:rPr>
              <a:t>ADT, androgen deprivation therapy; BID, twice daily; IHC, immunohistochemistry; </a:t>
            </a:r>
            <a:r>
              <a:rPr kumimoji="0" lang="en-US" sz="1000" b="0" i="0" u="none" strike="noStrike" kern="1200" cap="none" spc="0" normalizeH="0" baseline="0" noProof="0" dirty="0" err="1">
                <a:ln>
                  <a:noFill/>
                </a:ln>
                <a:solidFill>
                  <a:srgbClr val="3F4444"/>
                </a:solidFill>
                <a:effectLst/>
                <a:uLnTx/>
                <a:uFillTx/>
                <a:latin typeface="Arial Narrow"/>
                <a:ea typeface="+mn-ea"/>
                <a:cs typeface="+mn-cs"/>
              </a:rPr>
              <a:t>mHSPC</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 metastatic hormone-sensitive prostate cancer; pred, prednisone/prednisolone; QD, once daily; </a:t>
            </a:r>
            <a:r>
              <a:rPr kumimoji="0" lang="en-US" sz="1000" b="0" i="0" u="none" strike="noStrike" kern="1200" cap="none" spc="0" normalizeH="0" baseline="0" noProof="0" dirty="0" err="1">
                <a:ln>
                  <a:noFill/>
                </a:ln>
                <a:solidFill>
                  <a:srgbClr val="3F4444"/>
                </a:solidFill>
                <a:effectLst/>
                <a:uLnTx/>
                <a:uFillTx/>
                <a:latin typeface="Arial Narrow"/>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a:ea typeface="+mn-ea"/>
                <a:cs typeface="+mn-cs"/>
              </a:rPr>
              <a:t>, radiographic progression-free survival</a:t>
            </a:r>
            <a:endParaRPr kumimoji="0" lang="en-US" sz="1800" b="0" i="0" u="none" strike="noStrike" kern="1200" cap="none" spc="0" normalizeH="0" baseline="0" noProof="0" dirty="0">
              <a:ln>
                <a:noFill/>
              </a:ln>
              <a:solidFill>
                <a:srgbClr val="3F4444"/>
              </a:solidFill>
              <a:effectLst/>
              <a:uLnTx/>
              <a:uFillTx/>
              <a:latin typeface="Calibri" panose="020F0502020204030204"/>
              <a:ea typeface="Calibri" panose="020F0502020204030204"/>
              <a:cs typeface="Calibri" panose="020F0502020204030204"/>
            </a:endParaRPr>
          </a:p>
        </p:txBody>
      </p:sp>
      <p:grpSp>
        <p:nvGrpSpPr>
          <p:cNvPr id="3" name="Group 2">
            <a:extLst>
              <a:ext uri="{FF2B5EF4-FFF2-40B4-BE49-F238E27FC236}">
                <a16:creationId xmlns:a16="http://schemas.microsoft.com/office/drawing/2014/main" id="{B20E794B-3E79-5E5E-855B-5DF3C9686603}"/>
              </a:ext>
            </a:extLst>
          </p:cNvPr>
          <p:cNvGrpSpPr/>
          <p:nvPr/>
        </p:nvGrpSpPr>
        <p:grpSpPr>
          <a:xfrm>
            <a:off x="210246" y="1297748"/>
            <a:ext cx="3387725" cy="2177240"/>
            <a:chOff x="356862" y="1306851"/>
            <a:chExt cx="3405512" cy="1198746"/>
          </a:xfrm>
        </p:grpSpPr>
        <p:sp>
          <p:nvSpPr>
            <p:cNvPr id="43" name="TextBox 42">
              <a:extLst>
                <a:ext uri="{FF2B5EF4-FFF2-40B4-BE49-F238E27FC236}">
                  <a16:creationId xmlns:a16="http://schemas.microsoft.com/office/drawing/2014/main" id="{BC7B3168-DC86-2F57-D5C8-0A3CB399F132}"/>
                </a:ext>
              </a:extLst>
            </p:cNvPr>
            <p:cNvSpPr txBox="1"/>
            <p:nvPr/>
          </p:nvSpPr>
          <p:spPr>
            <a:xfrm>
              <a:off x="356862" y="1391317"/>
              <a:ext cx="3405512" cy="1114280"/>
            </a:xfrm>
            <a:prstGeom prst="roundRect">
              <a:avLst>
                <a:gd name="adj" fmla="val 3692"/>
              </a:avLst>
            </a:prstGeom>
            <a:solidFill>
              <a:schemeClr val="bg1">
                <a:lumMod val="85000"/>
              </a:schemeClr>
            </a:solidFill>
            <a:ln w="19050">
              <a:noFill/>
            </a:ln>
          </p:spPr>
          <p:txBody>
            <a:bodyPr wrap="square" rtlCol="0" anchor="b">
              <a:noAutofit/>
            </a:bodyPr>
            <a:lstStyle/>
            <a:p>
              <a:pPr marL="171459" marR="0" lvl="0" indent="-171459" algn="l" defTabSz="914446"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PTEN deficiency: </a:t>
              </a:r>
              <a:b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b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diagnostic cut-off of </a:t>
              </a:r>
              <a:r>
                <a:rPr kumimoji="0" lang="en-US" sz="16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90% </a:t>
              </a: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of viable malignant cells with </a:t>
              </a:r>
              <a:r>
                <a:rPr kumimoji="0" lang="en-US" sz="16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no specific cytoplasmic staining </a:t>
              </a: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by IHC)*</a:t>
              </a:r>
            </a:p>
            <a:p>
              <a:pPr marL="452461" marR="0" lvl="1" indent="-277827" algn="l" defTabSz="914446" rtl="0" eaLnBrk="1" fontAlgn="auto" latinLnBrk="0" hangingPunct="1">
                <a:lnSpc>
                  <a:spcPct val="90000"/>
                </a:lnSpc>
                <a:spcBef>
                  <a:spcPts val="0"/>
                </a:spcBef>
                <a:spcAft>
                  <a:spcPts val="600"/>
                </a:spcAft>
                <a:buClrTx/>
                <a:buSzTx/>
                <a:buFont typeface="Arial Narrow" panose="020B0606020202030204" pitchFamily="34" charset="0"/>
                <a:buChar char="–"/>
                <a:tabLst/>
                <a:defRPr/>
              </a:pP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mn-ea"/>
                  <a:cs typeface="+mn-cs"/>
                </a:rPr>
                <a:t>i.e. ≤10% of cells expressing PTEN by IHC</a:t>
              </a:r>
            </a:p>
          </p:txBody>
        </p:sp>
        <p:sp>
          <p:nvSpPr>
            <p:cNvPr id="56" name="TextBox 55">
              <a:extLst>
                <a:ext uri="{FF2B5EF4-FFF2-40B4-BE49-F238E27FC236}">
                  <a16:creationId xmlns:a16="http://schemas.microsoft.com/office/drawing/2014/main" id="{AC489107-8DED-D292-727D-0E00A23C3965}"/>
                </a:ext>
              </a:extLst>
            </p:cNvPr>
            <p:cNvSpPr txBox="1"/>
            <p:nvPr/>
          </p:nvSpPr>
          <p:spPr>
            <a:xfrm>
              <a:off x="357275" y="1306851"/>
              <a:ext cx="3405099" cy="330909"/>
            </a:xfrm>
            <a:prstGeom prst="round2SameRect">
              <a:avLst/>
            </a:prstGeom>
            <a:solidFill>
              <a:schemeClr val="tx2"/>
            </a:solidFill>
            <a:ln>
              <a:noFill/>
            </a:ln>
          </p:spPr>
          <p:txBody>
            <a:bodyPr wrap="square" tIns="18000" bIns="18000" anchor="ctr">
              <a:noAutofit/>
            </a:bodyPr>
            <a:lstStyle/>
            <a:p>
              <a:pPr marL="0" marR="0" lvl="0" indent="0" algn="ctr" defTabSz="91444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atients with PTEN deficient </a:t>
              </a:r>
              <a:b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br>
              <a:r>
                <a:rPr kumimoji="0" lang="en-US" sz="1600" b="1" i="1"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e novo </a:t>
              </a:r>
              <a:r>
                <a:rPr kumimoji="0" lang="en-US" sz="16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mHSPC</a:t>
              </a:r>
              <a:endPar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grpSp>
      <p:sp>
        <p:nvSpPr>
          <p:cNvPr id="48" name="Rectangle: Rounded Corners 47">
            <a:extLst>
              <a:ext uri="{FF2B5EF4-FFF2-40B4-BE49-F238E27FC236}">
                <a16:creationId xmlns:a16="http://schemas.microsoft.com/office/drawing/2014/main" id="{2BEDF9E0-7DA4-27F2-B2BC-11F63D2BA770}"/>
              </a:ext>
            </a:extLst>
          </p:cNvPr>
          <p:cNvSpPr/>
          <p:nvPr/>
        </p:nvSpPr>
        <p:spPr>
          <a:xfrm>
            <a:off x="3702962" y="2602569"/>
            <a:ext cx="1326239" cy="529653"/>
          </a:xfrm>
          <a:prstGeom prst="roundRect">
            <a:avLst>
              <a:gd name="adj" fmla="val 2973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0" marR="0" lvl="0" indent="0" algn="ctr" defTabSz="91444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1,012 patients </a:t>
            </a:r>
          </a:p>
          <a:p>
            <a:pPr marL="0" marR="0" lvl="0" indent="0" algn="ctr" defTabSz="91444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R 1:1)</a:t>
            </a:r>
          </a:p>
        </p:txBody>
      </p:sp>
      <p:grpSp>
        <p:nvGrpSpPr>
          <p:cNvPr id="33" name="Group 32">
            <a:extLst>
              <a:ext uri="{FF2B5EF4-FFF2-40B4-BE49-F238E27FC236}">
                <a16:creationId xmlns:a16="http://schemas.microsoft.com/office/drawing/2014/main" id="{FE3EFA9F-24D7-B5B3-1956-81F4AD66B613}"/>
              </a:ext>
            </a:extLst>
          </p:cNvPr>
          <p:cNvGrpSpPr/>
          <p:nvPr/>
        </p:nvGrpSpPr>
        <p:grpSpPr>
          <a:xfrm>
            <a:off x="4529386" y="1302966"/>
            <a:ext cx="3702218" cy="1222960"/>
            <a:chOff x="4952860" y="1515599"/>
            <a:chExt cx="3211349" cy="1060811"/>
          </a:xfrm>
        </p:grpSpPr>
        <p:sp>
          <p:nvSpPr>
            <p:cNvPr id="44" name="TextBox 43">
              <a:extLst>
                <a:ext uri="{FF2B5EF4-FFF2-40B4-BE49-F238E27FC236}">
                  <a16:creationId xmlns:a16="http://schemas.microsoft.com/office/drawing/2014/main" id="{D78A6760-7F3E-9552-ACA3-56995DA0EEDF}"/>
                </a:ext>
              </a:extLst>
            </p:cNvPr>
            <p:cNvSpPr txBox="1"/>
            <p:nvPr/>
          </p:nvSpPr>
          <p:spPr>
            <a:xfrm>
              <a:off x="4957626" y="1515599"/>
              <a:ext cx="3206583" cy="522579"/>
            </a:xfrm>
            <a:prstGeom prst="roundRect">
              <a:avLst>
                <a:gd name="adj" fmla="val 14641"/>
              </a:avLst>
            </a:prstGeom>
            <a:solidFill>
              <a:srgbClr val="B7C6DB"/>
            </a:solidFill>
            <a:ln w="19050">
              <a:noFill/>
            </a:ln>
          </p:spPr>
          <p:txBody>
            <a:bodyPr wrap="square" rtlCol="0" anchor="ctr">
              <a:noAutofit/>
            </a:bodyPr>
            <a:lstStyle/>
            <a:p>
              <a:pPr marL="1433585" marR="0" lvl="0" indent="0" algn="ctr" defTabSz="914446"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400 mg BID</a:t>
              </a:r>
              <a:b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4 days on, 3 days off</a:t>
              </a:r>
            </a:p>
          </p:txBody>
        </p:sp>
        <p:sp>
          <p:nvSpPr>
            <p:cNvPr id="130" name="TextBox 129">
              <a:extLst>
                <a:ext uri="{FF2B5EF4-FFF2-40B4-BE49-F238E27FC236}">
                  <a16:creationId xmlns:a16="http://schemas.microsoft.com/office/drawing/2014/main" id="{680229AD-BB0B-03C7-A056-F4E882CBD52F}"/>
                </a:ext>
              </a:extLst>
            </p:cNvPr>
            <p:cNvSpPr txBox="1"/>
            <p:nvPr/>
          </p:nvSpPr>
          <p:spPr>
            <a:xfrm>
              <a:off x="4952860" y="2052636"/>
              <a:ext cx="3206583" cy="523451"/>
            </a:xfrm>
            <a:prstGeom prst="roundRect">
              <a:avLst>
                <a:gd name="adj" fmla="val 14641"/>
              </a:avLst>
            </a:prstGeom>
            <a:solidFill>
              <a:srgbClr val="B7C6DB"/>
            </a:solidFill>
            <a:ln w="19050">
              <a:noFill/>
            </a:ln>
          </p:spPr>
          <p:txBody>
            <a:bodyPr wrap="square" rtlCol="0" anchor="ctr">
              <a:noAutofit/>
            </a:bodyPr>
            <a:lstStyle/>
            <a:p>
              <a:pPr marL="1433585" marR="0" lvl="0" indent="0" algn="ctr" defTabSz="914446"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1000 mg/5 mg QD</a:t>
              </a:r>
              <a:b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DT</a:t>
              </a:r>
            </a:p>
          </p:txBody>
        </p:sp>
        <p:sp>
          <p:nvSpPr>
            <p:cNvPr id="4" name="Rectangle: Top Corners Rounded 3">
              <a:extLst>
                <a:ext uri="{FF2B5EF4-FFF2-40B4-BE49-F238E27FC236}">
                  <a16:creationId xmlns:a16="http://schemas.microsoft.com/office/drawing/2014/main" id="{0648FC8E-C295-65AD-E7FF-A8F307306B4F}"/>
                </a:ext>
              </a:extLst>
            </p:cNvPr>
            <p:cNvSpPr/>
            <p:nvPr/>
          </p:nvSpPr>
          <p:spPr>
            <a:xfrm rot="16200000">
              <a:off x="5373729" y="1100097"/>
              <a:ext cx="521923" cy="1354140"/>
            </a:xfrm>
            <a:prstGeom prst="round2Same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Capivasertib</a:t>
              </a: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6" name="Rectangle: Top Corners Rounded 5">
              <a:extLst>
                <a:ext uri="{FF2B5EF4-FFF2-40B4-BE49-F238E27FC236}">
                  <a16:creationId xmlns:a16="http://schemas.microsoft.com/office/drawing/2014/main" id="{98F5931E-73A0-E7E3-985F-94D1463D6495}"/>
                </a:ext>
              </a:extLst>
            </p:cNvPr>
            <p:cNvSpPr/>
            <p:nvPr/>
          </p:nvSpPr>
          <p:spPr>
            <a:xfrm rot="16200000">
              <a:off x="5372656" y="1637303"/>
              <a:ext cx="523251" cy="1354963"/>
            </a:xfrm>
            <a:prstGeom prst="round2Same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Abiraterone</a:t>
              </a: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red</a:t>
              </a:r>
              <a:br>
                <a:rPr kumimoji="0" lang="en-US" sz="1600" b="0" i="0" u="none" strike="noStrike" kern="1200" cap="none" spc="0" normalizeH="0" baseline="30000" noProof="0" dirty="0">
                  <a:ln>
                    <a:noFill/>
                  </a:ln>
                  <a:solidFill>
                    <a:srgbClr val="FFFFFF"/>
                  </a:solidFill>
                  <a:effectLst/>
                  <a:uLnTx/>
                  <a:uFillTx/>
                  <a:latin typeface="Arial Narrow" panose="020B0606020202030204" pitchFamily="34" charset="0"/>
                  <a:ea typeface="+mn-ea"/>
                  <a:cs typeface="+mn-cs"/>
                </a:rPr>
              </a:b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ADT</a:t>
              </a: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grpSp>
      <p:grpSp>
        <p:nvGrpSpPr>
          <p:cNvPr id="32" name="Group 31">
            <a:extLst>
              <a:ext uri="{FF2B5EF4-FFF2-40B4-BE49-F238E27FC236}">
                <a16:creationId xmlns:a16="http://schemas.microsoft.com/office/drawing/2014/main" id="{EBD45398-16C7-B71B-7DB7-69CFE114CE04}"/>
              </a:ext>
            </a:extLst>
          </p:cNvPr>
          <p:cNvGrpSpPr/>
          <p:nvPr/>
        </p:nvGrpSpPr>
        <p:grpSpPr>
          <a:xfrm>
            <a:off x="4523818" y="3205477"/>
            <a:ext cx="3758678" cy="1240939"/>
            <a:chOff x="4948096" y="3398754"/>
            <a:chExt cx="3216113" cy="1061810"/>
          </a:xfrm>
        </p:grpSpPr>
        <p:sp>
          <p:nvSpPr>
            <p:cNvPr id="45" name="TextBox 44">
              <a:extLst>
                <a:ext uri="{FF2B5EF4-FFF2-40B4-BE49-F238E27FC236}">
                  <a16:creationId xmlns:a16="http://schemas.microsoft.com/office/drawing/2014/main" id="{AB6B9E15-C901-8878-B696-AE73FF772270}"/>
                </a:ext>
              </a:extLst>
            </p:cNvPr>
            <p:cNvSpPr txBox="1"/>
            <p:nvPr/>
          </p:nvSpPr>
          <p:spPr>
            <a:xfrm>
              <a:off x="4957626" y="3398754"/>
              <a:ext cx="3206583" cy="521922"/>
            </a:xfrm>
            <a:prstGeom prst="roundRect">
              <a:avLst>
                <a:gd name="adj" fmla="val 14641"/>
              </a:avLst>
            </a:prstGeom>
            <a:solidFill>
              <a:srgbClr val="F5EBF1"/>
            </a:solidFill>
            <a:ln w="19050">
              <a:noFill/>
            </a:ln>
          </p:spPr>
          <p:txBody>
            <a:bodyPr wrap="square" rtlCol="0" anchor="ctr">
              <a:noAutofit/>
            </a:bodyPr>
            <a:lstStyle/>
            <a:p>
              <a:pPr marL="1433585" marR="0" lvl="0" indent="0" algn="ctr" defTabSz="91444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400 mg BID</a:t>
              </a:r>
              <a:endParaRPr kumimoji="0" lang="en-US" sz="1600" b="0" i="0" u="none" strike="noStrike" kern="1200" cap="none" spc="0" normalizeH="0" baseline="30000" noProof="0" dirty="0">
                <a:ln>
                  <a:noFill/>
                </a:ln>
                <a:solidFill>
                  <a:srgbClr val="3F4444"/>
                </a:solidFill>
                <a:effectLst/>
                <a:uLnTx/>
                <a:uFillTx/>
                <a:latin typeface="Arial Narrow" panose="020B0606020202030204" pitchFamily="34" charset="0"/>
                <a:ea typeface="+mn-ea"/>
                <a:cs typeface="+mn-cs"/>
              </a:endParaRPr>
            </a:p>
            <a:p>
              <a:pPr marL="1433585" marR="0" lvl="0" indent="0" algn="ctr" defTabSz="91444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4 days on, 3 days off</a:t>
              </a:r>
            </a:p>
          </p:txBody>
        </p:sp>
        <p:sp>
          <p:nvSpPr>
            <p:cNvPr id="136" name="TextBox 135">
              <a:extLst>
                <a:ext uri="{FF2B5EF4-FFF2-40B4-BE49-F238E27FC236}">
                  <a16:creationId xmlns:a16="http://schemas.microsoft.com/office/drawing/2014/main" id="{80318B4F-383D-ED1F-A56F-1D04C7C5EA68}"/>
                </a:ext>
              </a:extLst>
            </p:cNvPr>
            <p:cNvSpPr txBox="1"/>
            <p:nvPr/>
          </p:nvSpPr>
          <p:spPr>
            <a:xfrm>
              <a:off x="4952861" y="3938639"/>
              <a:ext cx="3206583" cy="521922"/>
            </a:xfrm>
            <a:prstGeom prst="roundRect">
              <a:avLst>
                <a:gd name="adj" fmla="val 14641"/>
              </a:avLst>
            </a:prstGeom>
            <a:solidFill>
              <a:srgbClr val="F5EBF1"/>
            </a:solidFill>
            <a:ln w="19050">
              <a:noFill/>
            </a:ln>
          </p:spPr>
          <p:txBody>
            <a:bodyPr wrap="square" rtlCol="0" anchor="ctr">
              <a:noAutofit/>
            </a:bodyPr>
            <a:lstStyle/>
            <a:p>
              <a:pPr marL="1433585" marR="0" lvl="0" indent="0" algn="ctr" defTabSz="914446"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1000 mg/5 mg QD</a:t>
              </a:r>
              <a:b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6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DT</a:t>
              </a:r>
            </a:p>
          </p:txBody>
        </p:sp>
        <p:sp>
          <p:nvSpPr>
            <p:cNvPr id="7" name="Rectangle: Top Corners Rounded 6">
              <a:extLst>
                <a:ext uri="{FF2B5EF4-FFF2-40B4-BE49-F238E27FC236}">
                  <a16:creationId xmlns:a16="http://schemas.microsoft.com/office/drawing/2014/main" id="{2A300BB3-B412-F47A-7CC6-19D0F5F93BDB}"/>
                </a:ext>
              </a:extLst>
            </p:cNvPr>
            <p:cNvSpPr/>
            <p:nvPr/>
          </p:nvSpPr>
          <p:spPr>
            <a:xfrm rot="16200000">
              <a:off x="5359753" y="2987097"/>
              <a:ext cx="521923" cy="1345238"/>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lacebo</a:t>
              </a: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8" name="Rectangle: Top Corners Rounded 7">
              <a:extLst>
                <a:ext uri="{FF2B5EF4-FFF2-40B4-BE49-F238E27FC236}">
                  <a16:creationId xmlns:a16="http://schemas.microsoft.com/office/drawing/2014/main" id="{99ADE452-95B3-5A00-99BF-2EB6FBBB52D5}"/>
                </a:ext>
              </a:extLst>
            </p:cNvPr>
            <p:cNvSpPr/>
            <p:nvPr/>
          </p:nvSpPr>
          <p:spPr>
            <a:xfrm rot="16200000">
              <a:off x="5364108" y="3531336"/>
              <a:ext cx="521921" cy="1336536"/>
            </a:xfrm>
            <a:prstGeom prst="round2Same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Abiraterone</a:t>
              </a:r>
              <a:r>
                <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pred</a:t>
              </a:r>
              <a:br>
                <a:rPr kumimoji="0" lang="en-US" sz="1600" b="0" i="0" u="none" strike="noStrike" kern="1200" cap="none" spc="0" normalizeH="0" baseline="30000" noProof="0" dirty="0">
                  <a:ln>
                    <a:noFill/>
                  </a:ln>
                  <a:solidFill>
                    <a:srgbClr val="FFFFFF"/>
                  </a:solidFill>
                  <a:effectLst/>
                  <a:uLnTx/>
                  <a:uFillTx/>
                  <a:latin typeface="Arial Narrow" panose="020B0606020202030204" pitchFamily="34" charset="0"/>
                  <a:ea typeface="+mn-ea"/>
                  <a:cs typeface="+mn-cs"/>
                </a:rPr>
              </a:b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ADT</a:t>
              </a:r>
              <a:endParaRPr kumimoji="0" lang="en-US" sz="16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grpSp>
      <p:sp>
        <p:nvSpPr>
          <p:cNvPr id="21" name="TextBox 20">
            <a:extLst>
              <a:ext uri="{FF2B5EF4-FFF2-40B4-BE49-F238E27FC236}">
                <a16:creationId xmlns:a16="http://schemas.microsoft.com/office/drawing/2014/main" id="{DE53165A-DA1B-BFA3-82F0-EBD4F9CA575B}"/>
              </a:ext>
            </a:extLst>
          </p:cNvPr>
          <p:cNvSpPr txBox="1"/>
          <p:nvPr/>
        </p:nvSpPr>
        <p:spPr>
          <a:xfrm>
            <a:off x="210246" y="3583552"/>
            <a:ext cx="3396707" cy="871180"/>
          </a:xfrm>
          <a:prstGeom prst="roundRect">
            <a:avLst>
              <a:gd name="adj" fmla="val 8988"/>
            </a:avLst>
          </a:prstGeom>
          <a:solidFill>
            <a:schemeClr val="bg1">
              <a:lumMod val="95000"/>
            </a:schemeClr>
          </a:solidFill>
          <a:ln w="28575">
            <a:solidFill>
              <a:schemeClr val="tx2"/>
            </a:solidFill>
          </a:ln>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Of ~6,200 patients submitting </a:t>
            </a:r>
            <a:r>
              <a:rPr kumimoji="0" lang="en-US" sz="1600" b="0" i="0" u="none" strike="noStrike" kern="1200" cap="none" spc="0" normalizeH="0" baseline="0" noProof="0" dirty="0" err="1">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tumour</a:t>
            </a: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 tissue </a:t>
            </a: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Times New Roman" panose="02020603050405020304" pitchFamily="18" charset="0"/>
                <a:cs typeface="+mn-cs"/>
              </a:rPr>
              <a:t>97%</a:t>
            </a: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 had a valid IHC result and </a:t>
            </a:r>
            <a:b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b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Times New Roman" panose="02020603050405020304" pitchFamily="18" charset="0"/>
                <a:cs typeface="+mn-cs"/>
              </a:rPr>
              <a:t>25%</a:t>
            </a:r>
            <a:r>
              <a:rPr kumimoji="0" lang="en-US" sz="1600" b="1"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 </a:t>
            </a:r>
            <a:r>
              <a:rPr kumimoji="0" lang="en-US" sz="1600" b="0" i="0" u="none" strike="noStrike" kern="1200" cap="none" spc="0" normalizeH="0" baseline="0" noProof="0" dirty="0">
                <a:ln>
                  <a:noFill/>
                </a:ln>
                <a:solidFill>
                  <a:srgbClr val="3F4444">
                    <a:lumMod val="50000"/>
                  </a:srgbClr>
                </a:solidFill>
                <a:effectLst/>
                <a:uLnTx/>
                <a:uFillTx/>
                <a:latin typeface="Arial Narrow" panose="020B0606020202030204" pitchFamily="34" charset="0"/>
                <a:ea typeface="Times New Roman" panose="02020603050405020304" pitchFamily="18" charset="0"/>
                <a:cs typeface="+mn-cs"/>
              </a:rPr>
              <a:t>were </a:t>
            </a:r>
            <a:r>
              <a:rPr kumimoji="0" lang="en-US" sz="1600" b="1" i="0" u="none" strike="noStrike" kern="1200" cap="none" spc="0" normalizeH="0" baseline="0" noProof="0" dirty="0">
                <a:ln>
                  <a:noFill/>
                </a:ln>
                <a:solidFill>
                  <a:srgbClr val="002557"/>
                </a:solidFill>
                <a:effectLst/>
                <a:uLnTx/>
                <a:uFillTx/>
                <a:latin typeface="Arial Narrow" panose="020B0606020202030204" pitchFamily="34" charset="0"/>
                <a:ea typeface="Times New Roman" panose="02020603050405020304" pitchFamily="18" charset="0"/>
                <a:cs typeface="+mn-cs"/>
              </a:rPr>
              <a:t>PTEN deficient</a:t>
            </a:r>
          </a:p>
        </p:txBody>
      </p:sp>
      <p:grpSp>
        <p:nvGrpSpPr>
          <p:cNvPr id="55" name="Group 54">
            <a:extLst>
              <a:ext uri="{FF2B5EF4-FFF2-40B4-BE49-F238E27FC236}">
                <a16:creationId xmlns:a16="http://schemas.microsoft.com/office/drawing/2014/main" id="{2411964F-DD4A-55DA-C6F8-8F14236AEAF7}"/>
              </a:ext>
            </a:extLst>
          </p:cNvPr>
          <p:cNvGrpSpPr/>
          <p:nvPr/>
        </p:nvGrpSpPr>
        <p:grpSpPr>
          <a:xfrm>
            <a:off x="5629276" y="4603748"/>
            <a:ext cx="6149975" cy="1103208"/>
            <a:chOff x="6247192" y="4825928"/>
            <a:chExt cx="5570649" cy="1103208"/>
          </a:xfrm>
        </p:grpSpPr>
        <p:grpSp>
          <p:nvGrpSpPr>
            <p:cNvPr id="9" name="Group 8">
              <a:extLst>
                <a:ext uri="{FF2B5EF4-FFF2-40B4-BE49-F238E27FC236}">
                  <a16:creationId xmlns:a16="http://schemas.microsoft.com/office/drawing/2014/main" id="{86B34275-7D19-F430-3B66-2EE82425B089}"/>
                </a:ext>
              </a:extLst>
            </p:cNvPr>
            <p:cNvGrpSpPr/>
            <p:nvPr/>
          </p:nvGrpSpPr>
          <p:grpSpPr>
            <a:xfrm>
              <a:off x="6247192" y="4825928"/>
              <a:ext cx="5570649" cy="1103208"/>
              <a:chOff x="3470005" y="4412015"/>
              <a:chExt cx="5524961" cy="1103208"/>
            </a:xfrm>
          </p:grpSpPr>
          <p:sp>
            <p:nvSpPr>
              <p:cNvPr id="10" name="TextBox 9">
                <a:extLst>
                  <a:ext uri="{FF2B5EF4-FFF2-40B4-BE49-F238E27FC236}">
                    <a16:creationId xmlns:a16="http://schemas.microsoft.com/office/drawing/2014/main" id="{71D31338-F500-125C-9A49-F49293F15AAA}"/>
                  </a:ext>
                </a:extLst>
              </p:cNvPr>
              <p:cNvSpPr txBox="1"/>
              <p:nvPr/>
            </p:nvSpPr>
            <p:spPr>
              <a:xfrm>
                <a:off x="7225628" y="4766134"/>
                <a:ext cx="1769338" cy="738664"/>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Final OS DCO</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Planned for 522 deaths (52.2% maturity)</a:t>
                </a:r>
              </a:p>
            </p:txBody>
          </p:sp>
          <p:grpSp>
            <p:nvGrpSpPr>
              <p:cNvPr id="12" name="Group 11">
                <a:extLst>
                  <a:ext uri="{FF2B5EF4-FFF2-40B4-BE49-F238E27FC236}">
                    <a16:creationId xmlns:a16="http://schemas.microsoft.com/office/drawing/2014/main" id="{3EEEEEB7-6911-28CF-7F30-DFE9F99820DA}"/>
                  </a:ext>
                </a:extLst>
              </p:cNvPr>
              <p:cNvGrpSpPr/>
              <p:nvPr/>
            </p:nvGrpSpPr>
            <p:grpSpPr>
              <a:xfrm>
                <a:off x="3470005" y="4412015"/>
                <a:ext cx="4643569" cy="1103208"/>
                <a:chOff x="3470005" y="4412015"/>
                <a:chExt cx="4643569" cy="1103208"/>
              </a:xfrm>
            </p:grpSpPr>
            <p:cxnSp>
              <p:nvCxnSpPr>
                <p:cNvPr id="13" name="Straight Connector 12">
                  <a:extLst>
                    <a:ext uri="{FF2B5EF4-FFF2-40B4-BE49-F238E27FC236}">
                      <a16:creationId xmlns:a16="http://schemas.microsoft.com/office/drawing/2014/main" id="{D0CF2D25-05F2-1FAE-84BD-E7AC90263A11}"/>
                    </a:ext>
                  </a:extLst>
                </p:cNvPr>
                <p:cNvCxnSpPr>
                  <a:cxnSpLocks/>
                </p:cNvCxnSpPr>
                <p:nvPr/>
              </p:nvCxnSpPr>
              <p:spPr>
                <a:xfrm>
                  <a:off x="3706827" y="4733344"/>
                  <a:ext cx="440347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9B772D5-7F55-1DC7-A0DB-912513F6B370}"/>
                    </a:ext>
                  </a:extLst>
                </p:cNvPr>
                <p:cNvCxnSpPr>
                  <a:cxnSpLocks/>
                </p:cNvCxnSpPr>
                <p:nvPr/>
              </p:nvCxnSpPr>
              <p:spPr>
                <a:xfrm>
                  <a:off x="6449579" y="4685719"/>
                  <a:ext cx="0" cy="10036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1869616-20A8-C0EB-9BE1-C54C3D72DDE7}"/>
                    </a:ext>
                  </a:extLst>
                </p:cNvPr>
                <p:cNvSpPr txBox="1"/>
                <p:nvPr/>
              </p:nvSpPr>
              <p:spPr>
                <a:xfrm>
                  <a:off x="5346170" y="4776559"/>
                  <a:ext cx="2206819" cy="738664"/>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Primary </a:t>
                  </a:r>
                  <a:r>
                    <a:rPr kumimoji="0" lang="en-US" sz="14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DCO</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7 Oct 2024</a:t>
                  </a:r>
                  <a:endPar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endParaRP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4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follow-up:</a:t>
                  </a:r>
                  <a:r>
                    <a:rPr kumimoji="0" lang="en-US" sz="1400" b="0" i="0" u="none" strike="noStrike" kern="1200" cap="none" spc="0" normalizeH="0" baseline="30000" noProof="0" dirty="0">
                      <a:ln>
                        <a:noFill/>
                      </a:ln>
                      <a:solidFill>
                        <a:srgbClr val="3F4444"/>
                      </a:solidFill>
                      <a:effectLst/>
                      <a:uLnTx/>
                      <a:uFillTx/>
                      <a:latin typeface="Arial Narrow" panose="020B0606020202030204" pitchFamily="34" charset="0"/>
                      <a:ea typeface="+mn-ea"/>
                      <a:cs typeface="+mn-cs"/>
                    </a:rPr>
                    <a:t>‡</a:t>
                  </a: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18 </a:t>
                  </a:r>
                  <a:r>
                    <a:rPr kumimoji="0" lang="en-US" sz="14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mo</a:t>
                  </a:r>
                  <a:endPar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endParaRPr>
                </a:p>
              </p:txBody>
            </p:sp>
            <p:cxnSp>
              <p:nvCxnSpPr>
                <p:cNvPr id="20" name="Straight Connector 19">
                  <a:extLst>
                    <a:ext uri="{FF2B5EF4-FFF2-40B4-BE49-F238E27FC236}">
                      <a16:creationId xmlns:a16="http://schemas.microsoft.com/office/drawing/2014/main" id="{83759A36-2265-17E2-A160-20AD5095C27A}"/>
                    </a:ext>
                  </a:extLst>
                </p:cNvPr>
                <p:cNvCxnSpPr>
                  <a:cxnSpLocks/>
                </p:cNvCxnSpPr>
                <p:nvPr/>
              </p:nvCxnSpPr>
              <p:spPr>
                <a:xfrm>
                  <a:off x="8113574" y="4676194"/>
                  <a:ext cx="0" cy="10036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BA42D0FC-71DD-23D8-383D-10D63A700122}"/>
                    </a:ext>
                  </a:extLst>
                </p:cNvPr>
                <p:cNvSpPr txBox="1"/>
                <p:nvPr/>
              </p:nvSpPr>
              <p:spPr>
                <a:xfrm>
                  <a:off x="3470005" y="4776559"/>
                  <a:ext cx="1949084" cy="523220"/>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Enrolment period</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13 July 2020–5 Feb 2024</a:t>
                  </a:r>
                </a:p>
              </p:txBody>
            </p:sp>
            <p:sp>
              <p:nvSpPr>
                <p:cNvPr id="204" name="TextBox 203">
                  <a:extLst>
                    <a:ext uri="{FF2B5EF4-FFF2-40B4-BE49-F238E27FC236}">
                      <a16:creationId xmlns:a16="http://schemas.microsoft.com/office/drawing/2014/main" id="{62282A91-BAC7-0066-6E2D-DCB931AEC2CB}"/>
                    </a:ext>
                  </a:extLst>
                </p:cNvPr>
                <p:cNvSpPr txBox="1"/>
                <p:nvPr/>
              </p:nvSpPr>
              <p:spPr>
                <a:xfrm>
                  <a:off x="5475037" y="4412015"/>
                  <a:ext cx="1949084"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Current analysis</a:t>
                  </a:r>
                </a:p>
              </p:txBody>
            </p:sp>
          </p:grpSp>
        </p:grpSp>
        <p:grpSp>
          <p:nvGrpSpPr>
            <p:cNvPr id="54" name="Group 53">
              <a:extLst>
                <a:ext uri="{FF2B5EF4-FFF2-40B4-BE49-F238E27FC236}">
                  <a16:creationId xmlns:a16="http://schemas.microsoft.com/office/drawing/2014/main" id="{21BCAB83-2EFA-F412-0258-9217509B2E3D}"/>
                </a:ext>
              </a:extLst>
            </p:cNvPr>
            <p:cNvGrpSpPr/>
            <p:nvPr/>
          </p:nvGrpSpPr>
          <p:grpSpPr>
            <a:xfrm>
              <a:off x="6485972" y="5096208"/>
              <a:ext cx="1491466" cy="102077"/>
              <a:chOff x="6485972" y="5096208"/>
              <a:chExt cx="1491466" cy="102077"/>
            </a:xfrm>
          </p:grpSpPr>
          <p:cxnSp>
            <p:nvCxnSpPr>
              <p:cNvPr id="37" name="Straight Connector 36">
                <a:extLst>
                  <a:ext uri="{FF2B5EF4-FFF2-40B4-BE49-F238E27FC236}">
                    <a16:creationId xmlns:a16="http://schemas.microsoft.com/office/drawing/2014/main" id="{6B41A2B1-888F-7B0E-2026-1E5E1ECFAF70}"/>
                  </a:ext>
                </a:extLst>
              </p:cNvPr>
              <p:cNvCxnSpPr>
                <a:cxnSpLocks/>
              </p:cNvCxnSpPr>
              <p:nvPr/>
            </p:nvCxnSpPr>
            <p:spPr>
              <a:xfrm>
                <a:off x="7977438" y="5097920"/>
                <a:ext cx="0" cy="10036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3FDCD2-4487-C9E5-3914-2E31B8F11503}"/>
                  </a:ext>
                </a:extLst>
              </p:cNvPr>
              <p:cNvCxnSpPr>
                <a:cxnSpLocks/>
              </p:cNvCxnSpPr>
              <p:nvPr/>
            </p:nvCxnSpPr>
            <p:spPr>
              <a:xfrm>
                <a:off x="6485972" y="5096208"/>
                <a:ext cx="0" cy="100365"/>
              </a:xfrm>
              <a:prstGeom prst="line">
                <a:avLst/>
              </a:prstGeom>
              <a:ln w="19050"/>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877911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319764D-5FD9-FE97-30FE-3BA0A69B6BF8}"/>
              </a:ext>
            </a:extLst>
          </p:cNvPr>
          <p:cNvCxnSpPr>
            <a:stCxn id="1705" idx="0"/>
          </p:cNvCxnSpPr>
          <p:nvPr/>
        </p:nvCxnSpPr>
        <p:spPr>
          <a:xfrm flipH="1">
            <a:off x="6791325" y="2903652"/>
            <a:ext cx="0" cy="164556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73899A30-7041-8767-D5DA-F4E76FE5525E}"/>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endParaRPr lang="en-US" noProof="0" dirty="0"/>
          </a:p>
        </p:txBody>
      </p:sp>
      <p:graphicFrame>
        <p:nvGraphicFramePr>
          <p:cNvPr id="1482" name="Table 1481">
            <a:extLst>
              <a:ext uri="{FF2B5EF4-FFF2-40B4-BE49-F238E27FC236}">
                <a16:creationId xmlns:a16="http://schemas.microsoft.com/office/drawing/2014/main" id="{03FC7404-5D98-0319-87E6-53A831165558}"/>
              </a:ext>
            </a:extLst>
          </p:cNvPr>
          <p:cNvGraphicFramePr>
            <a:graphicFrameLocks noGrp="1"/>
          </p:cNvGraphicFramePr>
          <p:nvPr/>
        </p:nvGraphicFramePr>
        <p:xfrm>
          <a:off x="6696528" y="1052514"/>
          <a:ext cx="4944610" cy="1568655"/>
        </p:xfrm>
        <a:graphic>
          <a:graphicData uri="http://schemas.openxmlformats.org/drawingml/2006/table">
            <a:tbl>
              <a:tblPr firstRow="1" firstCol="1" bandRow="1"/>
              <a:tblGrid>
                <a:gridCol w="2185226">
                  <a:extLst>
                    <a:ext uri="{9D8B030D-6E8A-4147-A177-3AD203B41FA5}">
                      <a16:colId xmlns:a16="http://schemas.microsoft.com/office/drawing/2014/main" val="2891963951"/>
                    </a:ext>
                  </a:extLst>
                </a:gridCol>
                <a:gridCol w="1379692">
                  <a:extLst>
                    <a:ext uri="{9D8B030D-6E8A-4147-A177-3AD203B41FA5}">
                      <a16:colId xmlns:a16="http://schemas.microsoft.com/office/drawing/2014/main" val="275263577"/>
                    </a:ext>
                  </a:extLst>
                </a:gridCol>
                <a:gridCol w="1379692">
                  <a:extLst>
                    <a:ext uri="{9D8B030D-6E8A-4147-A177-3AD203B41FA5}">
                      <a16:colId xmlns:a16="http://schemas.microsoft.com/office/drawing/2014/main" val="930621322"/>
                    </a:ext>
                  </a:extLst>
                </a:gridCol>
              </a:tblGrid>
              <a:tr h="31373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just">
                        <a:lnSpc>
                          <a:spcPct val="100000"/>
                        </a:lnSpc>
                        <a:spcAft>
                          <a:spcPts val="0"/>
                        </a:spcAft>
                      </a:pPr>
                      <a:r>
                        <a:rPr lang="en-US" sz="1400" noProof="0" dirty="0">
                          <a:effectLst/>
                          <a:latin typeface="Arial Narrow" panose="020B0606020202030204" pitchFamily="34" charset="0"/>
                        </a:rPr>
                        <a:t> </a:t>
                      </a:r>
                      <a:endParaRPr lang="en-US" sz="1400" noProof="0" dirty="0">
                        <a:effectLst/>
                        <a:latin typeface="Arial Narrow" panose="020B0606020202030204" pitchFamily="34" charset="0"/>
                        <a:ea typeface="MS Mincho" panose="02020609040205080304" pitchFamily="49" charset="-128"/>
                      </a:endParaRPr>
                    </a:p>
                  </a:txBody>
                  <a:tcPr marL="36000" marR="36000" marT="36000" marB="36000">
                    <a:lnL w="12700" cap="flat" cmpd="sng" algn="ctr">
                      <a:noFill/>
                      <a:prstDash val="solid"/>
                      <a:round/>
                      <a:headEnd type="none" w="med" len="med"/>
                      <a:tailEnd type="none" w="med" len="med"/>
                    </a:lnL>
                    <a:lnR w="12700" cmpd="sng">
                      <a:solidFill>
                        <a:srgbClr val="FFFFFF"/>
                      </a:solidFill>
                    </a:lnR>
                    <a:lnT w="38100" cmpd="sng">
                      <a:noFill/>
                    </a:lnT>
                    <a:lnB w="38100" cmpd="sng">
                      <a:noFill/>
                    </a:lnB>
                    <a:lnTlToBr w="12700" cmpd="sng">
                      <a:noFill/>
                      <a:prstDash val="solid"/>
                    </a:lnTlToBr>
                    <a:lnBlToTr w="12700" cmpd="sng">
                      <a:noFill/>
                      <a:prstDash val="solid"/>
                    </a:lnBlToTr>
                    <a:no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b="1" noProof="0" dirty="0">
                          <a:solidFill>
                            <a:schemeClr val="bg1"/>
                          </a:solidFill>
                          <a:effectLst/>
                          <a:latin typeface="Arial Narrow" panose="020B0606020202030204" pitchFamily="34" charset="0"/>
                        </a:rPr>
                        <a:t>Capi + </a:t>
                      </a:r>
                      <a:r>
                        <a:rPr lang="en-US" sz="1400" b="1" noProof="0" dirty="0" err="1">
                          <a:solidFill>
                            <a:schemeClr val="bg1"/>
                          </a:solidFill>
                          <a:effectLst/>
                          <a:latin typeface="Arial Narrow" panose="020B0606020202030204" pitchFamily="34" charset="0"/>
                        </a:rPr>
                        <a:t>abi</a:t>
                      </a:r>
                      <a:r>
                        <a:rPr lang="en-US" sz="1400" b="1" noProof="0" dirty="0">
                          <a:solidFill>
                            <a:schemeClr val="bg1"/>
                          </a:solidFill>
                          <a:effectLst/>
                          <a:latin typeface="Arial Narrow" panose="020B0606020202030204" pitchFamily="34" charset="0"/>
                        </a:rPr>
                        <a:t> (N=507)</a:t>
                      </a:r>
                      <a:endParaRPr lang="en-US" sz="1400" b="1" noProof="0" dirty="0">
                        <a:solidFill>
                          <a:schemeClr val="bg1"/>
                        </a:solidFill>
                        <a:effectLst/>
                        <a:latin typeface="Arial Narrow" panose="020B0606020202030204" pitchFamily="34" charset="0"/>
                        <a:ea typeface="MS Mincho" panose="02020609040205080304" pitchFamily="49" charset="-128"/>
                      </a:endParaRPr>
                    </a:p>
                  </a:txBody>
                  <a:tcPr marL="36000" marR="36000" marT="36000" marB="36000">
                    <a:lnL w="12700" cmpd="sng">
                      <a:solidFill>
                        <a:srgbClr val="FFFFFF"/>
                      </a:solidFill>
                    </a:lnL>
                    <a:lnR w="12700" cmpd="sng">
                      <a:solidFill>
                        <a:srgbClr val="FFFFFF"/>
                      </a:solidFill>
                    </a:lnR>
                    <a:lnT w="38100" cmpd="sng">
                      <a:noFill/>
                    </a:lnT>
                    <a:lnB w="38100" cmpd="sng">
                      <a:noFill/>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b="1" noProof="0" dirty="0" err="1">
                          <a:solidFill>
                            <a:schemeClr val="bg1"/>
                          </a:solidFill>
                          <a:effectLst/>
                          <a:latin typeface="Arial Narrow" panose="020B0606020202030204" pitchFamily="34" charset="0"/>
                        </a:rPr>
                        <a:t>Pbo</a:t>
                      </a:r>
                      <a:r>
                        <a:rPr lang="en-US" sz="1400" b="1" noProof="0" dirty="0">
                          <a:solidFill>
                            <a:schemeClr val="bg1"/>
                          </a:solidFill>
                          <a:effectLst/>
                          <a:latin typeface="Arial Narrow" panose="020B0606020202030204" pitchFamily="34" charset="0"/>
                        </a:rPr>
                        <a:t> + </a:t>
                      </a:r>
                      <a:r>
                        <a:rPr lang="en-US" sz="1400" b="1" noProof="0" dirty="0" err="1">
                          <a:solidFill>
                            <a:schemeClr val="bg1"/>
                          </a:solidFill>
                          <a:effectLst/>
                          <a:latin typeface="Arial Narrow" panose="020B0606020202030204" pitchFamily="34" charset="0"/>
                        </a:rPr>
                        <a:t>abi</a:t>
                      </a:r>
                      <a:r>
                        <a:rPr lang="en-US" sz="1400" b="1" noProof="0" dirty="0">
                          <a:solidFill>
                            <a:schemeClr val="bg1"/>
                          </a:solidFill>
                          <a:effectLst/>
                          <a:latin typeface="Arial Narrow" panose="020B0606020202030204" pitchFamily="34" charset="0"/>
                        </a:rPr>
                        <a:t> (N=505)</a:t>
                      </a:r>
                      <a:endParaRPr lang="en-US" sz="1400" b="1" noProof="0" dirty="0">
                        <a:solidFill>
                          <a:schemeClr val="bg1"/>
                        </a:solidFill>
                        <a:effectLst/>
                        <a:latin typeface="Arial Narrow" panose="020B0606020202030204" pitchFamily="34" charset="0"/>
                        <a:ea typeface="MS Mincho" panose="02020609040205080304" pitchFamily="49" charset="-128"/>
                      </a:endParaRPr>
                    </a:p>
                  </a:txBody>
                  <a:tcPr marL="36000" marR="36000" marT="36000" marB="36000">
                    <a:lnL w="12700" cmpd="sng">
                      <a:solidFill>
                        <a:srgbClr val="FFFFFF"/>
                      </a:solidFill>
                    </a:lnL>
                    <a:lnR w="12700" cap="flat" cmpd="sng" algn="ctr">
                      <a:noFill/>
                      <a:prstDash val="solid"/>
                      <a:round/>
                      <a:headEnd type="none" w="med" len="med"/>
                      <a:tailEnd type="none" w="med" len="med"/>
                    </a:lnR>
                    <a:lnT w="381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4420743"/>
                  </a:ext>
                </a:extLst>
              </a:tr>
              <a:tr h="31373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Events, n (%)</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183 (36.1)</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215 (42.6)</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extLst>
                  <a:ext uri="{0D108BD9-81ED-4DB2-BD59-A6C34878D82A}">
                    <a16:rowId xmlns:a16="http://schemas.microsoft.com/office/drawing/2014/main" val="3284079475"/>
                  </a:ext>
                </a:extLst>
              </a:tr>
              <a:tr h="31373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indent="0"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Median </a:t>
                      </a:r>
                      <a:r>
                        <a:rPr lang="en-US" sz="1400" b="0" noProof="0" dirty="0" err="1">
                          <a:solidFill>
                            <a:schemeClr val="tx1">
                              <a:lumMod val="50000"/>
                            </a:schemeClr>
                          </a:solidFill>
                          <a:effectLst/>
                          <a:latin typeface="Arial Narrow" panose="020B0606020202030204" pitchFamily="34" charset="0"/>
                          <a:ea typeface="MS Mincho" panose="02020609040205080304" pitchFamily="49" charset="-128"/>
                        </a:rPr>
                        <a:t>rPFS</a:t>
                      </a: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 months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33.2</a:t>
                      </a: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 (25.8, 44.2)</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25.7</a:t>
                      </a: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 (22.0, 29.9)</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1854622382"/>
                  </a:ext>
                </a:extLst>
              </a:tr>
              <a:tr h="31373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rPr>
                        <a:t>HR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0.81 (0.66, 0.98)</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tint val="20000"/>
                        <a:alpha val="20000"/>
                      </a:schemeClr>
                    </a:solidFill>
                  </a:tcPr>
                </a:tc>
                <a:extLst>
                  <a:ext uri="{0D108BD9-81ED-4DB2-BD59-A6C34878D82A}">
                    <a16:rowId xmlns:a16="http://schemas.microsoft.com/office/drawing/2014/main" val="2304385734"/>
                  </a:ext>
                </a:extLst>
              </a:tr>
              <a:tr h="31373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i="1" noProof="0" dirty="0">
                          <a:solidFill>
                            <a:schemeClr val="tx1">
                              <a:lumMod val="50000"/>
                            </a:schemeClr>
                          </a:solidFill>
                          <a:effectLst/>
                          <a:latin typeface="Arial Narrow" panose="020B0606020202030204" pitchFamily="34" charset="0"/>
                        </a:rPr>
                        <a:t>P</a:t>
                      </a:r>
                      <a:r>
                        <a:rPr lang="en-US" sz="1400" b="0" noProof="0" dirty="0">
                          <a:solidFill>
                            <a:schemeClr val="tx1">
                              <a:lumMod val="50000"/>
                            </a:schemeClr>
                          </a:solidFill>
                          <a:effectLst/>
                          <a:latin typeface="Arial Narrow" panose="020B0606020202030204" pitchFamily="34" charset="0"/>
                        </a:rPr>
                        <a:t>-value</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0.034</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20000"/>
                      </a:schemeClr>
                    </a:solidFill>
                  </a:tcPr>
                </a:tc>
                <a:extLst>
                  <a:ext uri="{0D108BD9-81ED-4DB2-BD59-A6C34878D82A}">
                    <a16:rowId xmlns:a16="http://schemas.microsoft.com/office/drawing/2014/main" val="2987664283"/>
                  </a:ext>
                </a:extLst>
              </a:tr>
            </a:tbl>
          </a:graphicData>
        </a:graphic>
      </p:graphicFrame>
      <p:sp>
        <p:nvSpPr>
          <p:cNvPr id="1483" name="TextBox 1482">
            <a:extLst>
              <a:ext uri="{FF2B5EF4-FFF2-40B4-BE49-F238E27FC236}">
                <a16:creationId xmlns:a16="http://schemas.microsoft.com/office/drawing/2014/main" id="{1F971D10-0628-785C-9D76-1AE9DA4CA76E}"/>
              </a:ext>
            </a:extLst>
          </p:cNvPr>
          <p:cNvSpPr txBox="1"/>
          <p:nvPr/>
        </p:nvSpPr>
        <p:spPr>
          <a:xfrm>
            <a:off x="421342" y="5917226"/>
            <a:ext cx="11481263" cy="400110"/>
          </a:xfrm>
          <a:prstGeom prst="rect">
            <a:avLst/>
          </a:prstGeom>
          <a:noFill/>
        </p:spPr>
        <p:txBody>
          <a:bodyPr wrap="square" anchor="b">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A stratified log-rank test was used to calculate two-sided P values. HRs and 95% CIs were calculated using a stratified Cox proportional-hazards model. Median follow-up: 18.4 months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18.5 months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a:t>
            </a:r>
            <a:b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cxnSp>
        <p:nvCxnSpPr>
          <p:cNvPr id="1484" name="Straight Connector 1483">
            <a:extLst>
              <a:ext uri="{FF2B5EF4-FFF2-40B4-BE49-F238E27FC236}">
                <a16:creationId xmlns:a16="http://schemas.microsoft.com/office/drawing/2014/main" id="{F3C01C59-4267-AAB0-1297-C367C2E85FD6}"/>
              </a:ext>
            </a:extLst>
          </p:cNvPr>
          <p:cNvCxnSpPr>
            <a:cxnSpLocks/>
          </p:cNvCxnSpPr>
          <p:nvPr/>
        </p:nvCxnSpPr>
        <p:spPr>
          <a:xfrm>
            <a:off x="1617930" y="2917777"/>
            <a:ext cx="8655643" cy="0"/>
          </a:xfrm>
          <a:prstGeom prst="line">
            <a:avLst/>
          </a:prstGeom>
          <a:noFill/>
          <a:ln w="9525" cap="flat" cmpd="sng" algn="ctr">
            <a:solidFill>
              <a:srgbClr val="000000"/>
            </a:solidFill>
            <a:prstDash val="dash"/>
          </a:ln>
          <a:effectLst/>
        </p:spPr>
      </p:cxnSp>
      <p:grpSp>
        <p:nvGrpSpPr>
          <p:cNvPr id="1486" name="Group 1485">
            <a:extLst>
              <a:ext uri="{FF2B5EF4-FFF2-40B4-BE49-F238E27FC236}">
                <a16:creationId xmlns:a16="http://schemas.microsoft.com/office/drawing/2014/main" id="{42BD1C95-2427-7417-EDAB-1995A4C45C5F}"/>
              </a:ext>
            </a:extLst>
          </p:cNvPr>
          <p:cNvGrpSpPr/>
          <p:nvPr/>
        </p:nvGrpSpPr>
        <p:grpSpPr>
          <a:xfrm>
            <a:off x="1820345" y="1270363"/>
            <a:ext cx="8585533" cy="2404800"/>
            <a:chOff x="3500437" y="2409824"/>
            <a:chExt cx="5186648" cy="2042255"/>
          </a:xfrm>
        </p:grpSpPr>
        <p:grpSp>
          <p:nvGrpSpPr>
            <p:cNvPr id="1813" name="Graphic 790">
              <a:extLst>
                <a:ext uri="{FF2B5EF4-FFF2-40B4-BE49-F238E27FC236}">
                  <a16:creationId xmlns:a16="http://schemas.microsoft.com/office/drawing/2014/main" id="{A2629886-29FE-CA4A-6183-5EDE1EA4CCE2}"/>
                </a:ext>
              </a:extLst>
            </p:cNvPr>
            <p:cNvGrpSpPr/>
            <p:nvPr/>
          </p:nvGrpSpPr>
          <p:grpSpPr>
            <a:xfrm>
              <a:off x="3865530" y="2479547"/>
              <a:ext cx="4821555" cy="1972532"/>
              <a:chOff x="3865530" y="2479547"/>
              <a:chExt cx="4821555" cy="1972532"/>
            </a:xfrm>
          </p:grpSpPr>
          <p:grpSp>
            <p:nvGrpSpPr>
              <p:cNvPr id="1815" name="Graphic 790">
                <a:extLst>
                  <a:ext uri="{FF2B5EF4-FFF2-40B4-BE49-F238E27FC236}">
                    <a16:creationId xmlns:a16="http://schemas.microsoft.com/office/drawing/2014/main" id="{31DCCD60-3739-0819-8BF0-FD72726D1DB3}"/>
                  </a:ext>
                </a:extLst>
              </p:cNvPr>
              <p:cNvGrpSpPr/>
              <p:nvPr/>
            </p:nvGrpSpPr>
            <p:grpSpPr>
              <a:xfrm>
                <a:off x="8601169" y="4376356"/>
                <a:ext cx="75723" cy="75723"/>
                <a:chOff x="8601169" y="4376356"/>
                <a:chExt cx="75723" cy="75723"/>
              </a:xfrm>
            </p:grpSpPr>
            <p:sp>
              <p:nvSpPr>
                <p:cNvPr id="2154" name="Freeform: Shape 2153">
                  <a:extLst>
                    <a:ext uri="{FF2B5EF4-FFF2-40B4-BE49-F238E27FC236}">
                      <a16:creationId xmlns:a16="http://schemas.microsoft.com/office/drawing/2014/main" id="{4377152D-D8B6-CBE2-A8FC-3F0C016CF9B6}"/>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5" name="Freeform: Shape 2154">
                  <a:extLst>
                    <a:ext uri="{FF2B5EF4-FFF2-40B4-BE49-F238E27FC236}">
                      <a16:creationId xmlns:a16="http://schemas.microsoft.com/office/drawing/2014/main" id="{CF38C1B4-55BE-DEEE-5AFB-F3915609D1D4}"/>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16" name="Graphic 790">
                <a:extLst>
                  <a:ext uri="{FF2B5EF4-FFF2-40B4-BE49-F238E27FC236}">
                    <a16:creationId xmlns:a16="http://schemas.microsoft.com/office/drawing/2014/main" id="{E504E6BB-BC3C-2A55-0BE4-D2D6F738E23B}"/>
                  </a:ext>
                </a:extLst>
              </p:cNvPr>
              <p:cNvGrpSpPr/>
              <p:nvPr/>
            </p:nvGrpSpPr>
            <p:grpSpPr>
              <a:xfrm>
                <a:off x="8611456" y="4376356"/>
                <a:ext cx="75628" cy="75723"/>
                <a:chOff x="8611456" y="4376356"/>
                <a:chExt cx="75628" cy="75723"/>
              </a:xfrm>
            </p:grpSpPr>
            <p:sp>
              <p:nvSpPr>
                <p:cNvPr id="2152" name="Freeform: Shape 2151">
                  <a:extLst>
                    <a:ext uri="{FF2B5EF4-FFF2-40B4-BE49-F238E27FC236}">
                      <a16:creationId xmlns:a16="http://schemas.microsoft.com/office/drawing/2014/main" id="{33B69A10-30FB-17EC-5DF2-D98FBF79BCBC}"/>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3" name="Freeform: Shape 2152">
                  <a:extLst>
                    <a:ext uri="{FF2B5EF4-FFF2-40B4-BE49-F238E27FC236}">
                      <a16:creationId xmlns:a16="http://schemas.microsoft.com/office/drawing/2014/main" id="{9F468C53-67A7-7615-743B-E4CFEF2D6B43}"/>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17" name="Graphic 790">
                <a:extLst>
                  <a:ext uri="{FF2B5EF4-FFF2-40B4-BE49-F238E27FC236}">
                    <a16:creationId xmlns:a16="http://schemas.microsoft.com/office/drawing/2014/main" id="{963AAC61-9323-46AA-045B-E35229946EFE}"/>
                  </a:ext>
                </a:extLst>
              </p:cNvPr>
              <p:cNvGrpSpPr/>
              <p:nvPr/>
            </p:nvGrpSpPr>
            <p:grpSpPr>
              <a:xfrm>
                <a:off x="8583453" y="4106989"/>
                <a:ext cx="75723" cy="75723"/>
                <a:chOff x="8583453" y="4106989"/>
                <a:chExt cx="75723" cy="75723"/>
              </a:xfrm>
            </p:grpSpPr>
            <p:sp>
              <p:nvSpPr>
                <p:cNvPr id="2150" name="Freeform: Shape 2149">
                  <a:extLst>
                    <a:ext uri="{FF2B5EF4-FFF2-40B4-BE49-F238E27FC236}">
                      <a16:creationId xmlns:a16="http://schemas.microsoft.com/office/drawing/2014/main" id="{5340E71B-DD22-1DE1-2C3B-693155C2582C}"/>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1" name="Freeform: Shape 2150">
                  <a:extLst>
                    <a:ext uri="{FF2B5EF4-FFF2-40B4-BE49-F238E27FC236}">
                      <a16:creationId xmlns:a16="http://schemas.microsoft.com/office/drawing/2014/main" id="{D93680B4-B567-A41F-046F-6A4BC282B95B}"/>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18" name="Graphic 790">
                <a:extLst>
                  <a:ext uri="{FF2B5EF4-FFF2-40B4-BE49-F238E27FC236}">
                    <a16:creationId xmlns:a16="http://schemas.microsoft.com/office/drawing/2014/main" id="{7F0327BC-27B4-A4DC-C2C3-CEFB2D6F0AAA}"/>
                  </a:ext>
                </a:extLst>
              </p:cNvPr>
              <p:cNvGrpSpPr/>
              <p:nvPr/>
            </p:nvGrpSpPr>
            <p:grpSpPr>
              <a:xfrm>
                <a:off x="8465057" y="4106989"/>
                <a:ext cx="75723" cy="75723"/>
                <a:chOff x="8465057" y="4106989"/>
                <a:chExt cx="75723" cy="75723"/>
              </a:xfrm>
            </p:grpSpPr>
            <p:sp>
              <p:nvSpPr>
                <p:cNvPr id="2148" name="Freeform: Shape 2147">
                  <a:extLst>
                    <a:ext uri="{FF2B5EF4-FFF2-40B4-BE49-F238E27FC236}">
                      <a16:creationId xmlns:a16="http://schemas.microsoft.com/office/drawing/2014/main" id="{2520DF51-8635-2CBA-AD3B-EDE3154B1AB9}"/>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9" name="Freeform: Shape 2148">
                  <a:extLst>
                    <a:ext uri="{FF2B5EF4-FFF2-40B4-BE49-F238E27FC236}">
                      <a16:creationId xmlns:a16="http://schemas.microsoft.com/office/drawing/2014/main" id="{4F0F03B8-BD92-C3DA-DFAE-DDE6EA0140E1}"/>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19" name="Graphic 790">
                <a:extLst>
                  <a:ext uri="{FF2B5EF4-FFF2-40B4-BE49-F238E27FC236}">
                    <a16:creationId xmlns:a16="http://schemas.microsoft.com/office/drawing/2014/main" id="{4A40A27F-70C4-F7AC-97A5-3783993213BB}"/>
                  </a:ext>
                </a:extLst>
              </p:cNvPr>
              <p:cNvGrpSpPr/>
              <p:nvPr/>
            </p:nvGrpSpPr>
            <p:grpSpPr>
              <a:xfrm>
                <a:off x="8070817" y="3932491"/>
                <a:ext cx="75723" cy="75628"/>
                <a:chOff x="8070817" y="3932491"/>
                <a:chExt cx="75723" cy="75628"/>
              </a:xfrm>
            </p:grpSpPr>
            <p:sp>
              <p:nvSpPr>
                <p:cNvPr id="2146" name="Freeform: Shape 2145">
                  <a:extLst>
                    <a:ext uri="{FF2B5EF4-FFF2-40B4-BE49-F238E27FC236}">
                      <a16:creationId xmlns:a16="http://schemas.microsoft.com/office/drawing/2014/main" id="{EF08D46D-EDCD-A18F-2ECB-821E6997685D}"/>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7" name="Freeform: Shape 2146">
                  <a:extLst>
                    <a:ext uri="{FF2B5EF4-FFF2-40B4-BE49-F238E27FC236}">
                      <a16:creationId xmlns:a16="http://schemas.microsoft.com/office/drawing/2014/main" id="{9EE741D4-0394-AA2B-6CF4-B3A3291BCB4F}"/>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 name="Graphic 790">
                <a:extLst>
                  <a:ext uri="{FF2B5EF4-FFF2-40B4-BE49-F238E27FC236}">
                    <a16:creationId xmlns:a16="http://schemas.microsoft.com/office/drawing/2014/main" id="{D26B903E-3BF7-E2AF-9464-00A8BE02F74D}"/>
                  </a:ext>
                </a:extLst>
              </p:cNvPr>
              <p:cNvGrpSpPr/>
              <p:nvPr/>
            </p:nvGrpSpPr>
            <p:grpSpPr>
              <a:xfrm>
                <a:off x="7717726" y="3838193"/>
                <a:ext cx="75628" cy="75628"/>
                <a:chOff x="7717726" y="3838193"/>
                <a:chExt cx="75628" cy="75628"/>
              </a:xfrm>
            </p:grpSpPr>
            <p:sp>
              <p:nvSpPr>
                <p:cNvPr id="2144" name="Freeform: Shape 2143">
                  <a:extLst>
                    <a:ext uri="{FF2B5EF4-FFF2-40B4-BE49-F238E27FC236}">
                      <a16:creationId xmlns:a16="http://schemas.microsoft.com/office/drawing/2014/main" id="{AC1AD515-E186-3EE8-7A31-EB16E455F5DA}"/>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5" name="Freeform: Shape 2144">
                  <a:extLst>
                    <a:ext uri="{FF2B5EF4-FFF2-40B4-BE49-F238E27FC236}">
                      <a16:creationId xmlns:a16="http://schemas.microsoft.com/office/drawing/2014/main" id="{82F9B1D9-A5ED-D69E-5AC1-E9DEEDC68093}"/>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 name="Graphic 790">
                <a:extLst>
                  <a:ext uri="{FF2B5EF4-FFF2-40B4-BE49-F238E27FC236}">
                    <a16:creationId xmlns:a16="http://schemas.microsoft.com/office/drawing/2014/main" id="{9F3A1CF0-FD59-D07F-7EFE-AAE9062B1B8D}"/>
                  </a:ext>
                </a:extLst>
              </p:cNvPr>
              <p:cNvGrpSpPr/>
              <p:nvPr/>
            </p:nvGrpSpPr>
            <p:grpSpPr>
              <a:xfrm>
                <a:off x="7431499" y="3801712"/>
                <a:ext cx="75723" cy="75723"/>
                <a:chOff x="7431499" y="3801712"/>
                <a:chExt cx="75723" cy="75723"/>
              </a:xfrm>
            </p:grpSpPr>
            <p:sp>
              <p:nvSpPr>
                <p:cNvPr id="2142" name="Freeform: Shape 2141">
                  <a:extLst>
                    <a:ext uri="{FF2B5EF4-FFF2-40B4-BE49-F238E27FC236}">
                      <a16:creationId xmlns:a16="http://schemas.microsoft.com/office/drawing/2014/main" id="{EDA15EF2-D796-4639-9612-7994091D73CA}"/>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3" name="Freeform: Shape 2142">
                  <a:extLst>
                    <a:ext uri="{FF2B5EF4-FFF2-40B4-BE49-F238E27FC236}">
                      <a16:creationId xmlns:a16="http://schemas.microsoft.com/office/drawing/2014/main" id="{FCFDA33C-0135-6CD5-0CF3-4CB95775F336}"/>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 name="Graphic 790">
                <a:extLst>
                  <a:ext uri="{FF2B5EF4-FFF2-40B4-BE49-F238E27FC236}">
                    <a16:creationId xmlns:a16="http://schemas.microsoft.com/office/drawing/2014/main" id="{E3184F14-4A04-42A3-E386-2D39D3E28A8D}"/>
                  </a:ext>
                </a:extLst>
              </p:cNvPr>
              <p:cNvGrpSpPr/>
              <p:nvPr/>
            </p:nvGrpSpPr>
            <p:grpSpPr>
              <a:xfrm>
                <a:off x="7239380" y="3719226"/>
                <a:ext cx="75723" cy="75723"/>
                <a:chOff x="7239380" y="3719226"/>
                <a:chExt cx="75723" cy="75723"/>
              </a:xfrm>
            </p:grpSpPr>
            <p:sp>
              <p:nvSpPr>
                <p:cNvPr id="2140" name="Freeform: Shape 2139">
                  <a:extLst>
                    <a:ext uri="{FF2B5EF4-FFF2-40B4-BE49-F238E27FC236}">
                      <a16:creationId xmlns:a16="http://schemas.microsoft.com/office/drawing/2014/main" id="{6CA9A25A-F669-FAC7-3D3B-21EFC5E88B92}"/>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1" name="Freeform: Shape 2140">
                  <a:extLst>
                    <a:ext uri="{FF2B5EF4-FFF2-40B4-BE49-F238E27FC236}">
                      <a16:creationId xmlns:a16="http://schemas.microsoft.com/office/drawing/2014/main" id="{825355B3-9BAA-C08A-F112-7E695B5611F5}"/>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 name="Graphic 790">
                <a:extLst>
                  <a:ext uri="{FF2B5EF4-FFF2-40B4-BE49-F238E27FC236}">
                    <a16:creationId xmlns:a16="http://schemas.microsoft.com/office/drawing/2014/main" id="{3B489143-B835-3674-BBC4-411A0CA16F0A}"/>
                  </a:ext>
                </a:extLst>
              </p:cNvPr>
              <p:cNvGrpSpPr/>
              <p:nvPr/>
            </p:nvGrpSpPr>
            <p:grpSpPr>
              <a:xfrm>
                <a:off x="7024401" y="3677030"/>
                <a:ext cx="75723" cy="75628"/>
                <a:chOff x="7024401" y="3677030"/>
                <a:chExt cx="75723" cy="75628"/>
              </a:xfrm>
            </p:grpSpPr>
            <p:sp>
              <p:nvSpPr>
                <p:cNvPr id="2138" name="Freeform: Shape 2137">
                  <a:extLst>
                    <a:ext uri="{FF2B5EF4-FFF2-40B4-BE49-F238E27FC236}">
                      <a16:creationId xmlns:a16="http://schemas.microsoft.com/office/drawing/2014/main" id="{91665130-28B3-96F1-CC64-91B652A28EA4}"/>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9" name="Freeform: Shape 2138">
                  <a:extLst>
                    <a:ext uri="{FF2B5EF4-FFF2-40B4-BE49-F238E27FC236}">
                      <a16:creationId xmlns:a16="http://schemas.microsoft.com/office/drawing/2014/main" id="{0E1C2AE3-2463-10A9-9430-899E7DE510B2}"/>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4" name="Graphic 790">
                <a:extLst>
                  <a:ext uri="{FF2B5EF4-FFF2-40B4-BE49-F238E27FC236}">
                    <a16:creationId xmlns:a16="http://schemas.microsoft.com/office/drawing/2014/main" id="{267FD4FA-C31F-A028-995E-C4B7744E1286}"/>
                  </a:ext>
                </a:extLst>
              </p:cNvPr>
              <p:cNvGrpSpPr/>
              <p:nvPr/>
            </p:nvGrpSpPr>
            <p:grpSpPr>
              <a:xfrm>
                <a:off x="6938104" y="3677030"/>
                <a:ext cx="75723" cy="75628"/>
                <a:chOff x="6938104" y="3677030"/>
                <a:chExt cx="75723" cy="75628"/>
              </a:xfrm>
            </p:grpSpPr>
            <p:sp>
              <p:nvSpPr>
                <p:cNvPr id="2136" name="Freeform: Shape 2135">
                  <a:extLst>
                    <a:ext uri="{FF2B5EF4-FFF2-40B4-BE49-F238E27FC236}">
                      <a16:creationId xmlns:a16="http://schemas.microsoft.com/office/drawing/2014/main" id="{AF97D52E-A5AD-2DAF-34A4-C68CD9879FFC}"/>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7" name="Freeform: Shape 2136">
                  <a:extLst>
                    <a:ext uri="{FF2B5EF4-FFF2-40B4-BE49-F238E27FC236}">
                      <a16:creationId xmlns:a16="http://schemas.microsoft.com/office/drawing/2014/main" id="{C924D756-0A3F-7ADE-91B4-0ED93C670855}"/>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5" name="Graphic 790">
                <a:extLst>
                  <a:ext uri="{FF2B5EF4-FFF2-40B4-BE49-F238E27FC236}">
                    <a16:creationId xmlns:a16="http://schemas.microsoft.com/office/drawing/2014/main" id="{28BF67F0-3881-EC84-E1C2-27EA85CD7E6D}"/>
                  </a:ext>
                </a:extLst>
              </p:cNvPr>
              <p:cNvGrpSpPr/>
              <p:nvPr/>
            </p:nvGrpSpPr>
            <p:grpSpPr>
              <a:xfrm>
                <a:off x="6838092" y="3652646"/>
                <a:ext cx="75723" cy="75723"/>
                <a:chOff x="6838092" y="3652646"/>
                <a:chExt cx="75723" cy="75723"/>
              </a:xfrm>
            </p:grpSpPr>
            <p:sp>
              <p:nvSpPr>
                <p:cNvPr id="2134" name="Freeform: Shape 2133">
                  <a:extLst>
                    <a:ext uri="{FF2B5EF4-FFF2-40B4-BE49-F238E27FC236}">
                      <a16:creationId xmlns:a16="http://schemas.microsoft.com/office/drawing/2014/main" id="{310FDB12-2487-051F-6CFD-C4E00B2F3789}"/>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5" name="Freeform: Shape 2134">
                  <a:extLst>
                    <a:ext uri="{FF2B5EF4-FFF2-40B4-BE49-F238E27FC236}">
                      <a16:creationId xmlns:a16="http://schemas.microsoft.com/office/drawing/2014/main" id="{6154AD48-C176-46C2-B58C-246E71B729E7}"/>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6" name="Graphic 790">
                <a:extLst>
                  <a:ext uri="{FF2B5EF4-FFF2-40B4-BE49-F238E27FC236}">
                    <a16:creationId xmlns:a16="http://schemas.microsoft.com/office/drawing/2014/main" id="{BFE41A98-F344-8AAD-1952-82F1C7AFF92E}"/>
                  </a:ext>
                </a:extLst>
              </p:cNvPr>
              <p:cNvGrpSpPr/>
              <p:nvPr/>
            </p:nvGrpSpPr>
            <p:grpSpPr>
              <a:xfrm>
                <a:off x="6516337" y="3639883"/>
                <a:ext cx="75723" cy="75723"/>
                <a:chOff x="6516337" y="3639883"/>
                <a:chExt cx="75723" cy="75723"/>
              </a:xfrm>
            </p:grpSpPr>
            <p:sp>
              <p:nvSpPr>
                <p:cNvPr id="2132" name="Freeform: Shape 2131">
                  <a:extLst>
                    <a:ext uri="{FF2B5EF4-FFF2-40B4-BE49-F238E27FC236}">
                      <a16:creationId xmlns:a16="http://schemas.microsoft.com/office/drawing/2014/main" id="{B90818D8-DA40-0C48-5D58-0CB0944D9C86}"/>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3" name="Freeform: Shape 2132">
                  <a:extLst>
                    <a:ext uri="{FF2B5EF4-FFF2-40B4-BE49-F238E27FC236}">
                      <a16:creationId xmlns:a16="http://schemas.microsoft.com/office/drawing/2014/main" id="{1D9F0EAC-7195-B37A-DD55-4E334F9F609B}"/>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7" name="Graphic 790">
                <a:extLst>
                  <a:ext uri="{FF2B5EF4-FFF2-40B4-BE49-F238E27FC236}">
                    <a16:creationId xmlns:a16="http://schemas.microsoft.com/office/drawing/2014/main" id="{EB083647-6A5A-220A-B4F1-CD2565515BF6}"/>
                  </a:ext>
                </a:extLst>
              </p:cNvPr>
              <p:cNvGrpSpPr/>
              <p:nvPr/>
            </p:nvGrpSpPr>
            <p:grpSpPr>
              <a:xfrm>
                <a:off x="6461950" y="3639883"/>
                <a:ext cx="75628" cy="75723"/>
                <a:chOff x="6461950" y="3639883"/>
                <a:chExt cx="75628" cy="75723"/>
              </a:xfrm>
            </p:grpSpPr>
            <p:sp>
              <p:nvSpPr>
                <p:cNvPr id="2130" name="Freeform: Shape 2129">
                  <a:extLst>
                    <a:ext uri="{FF2B5EF4-FFF2-40B4-BE49-F238E27FC236}">
                      <a16:creationId xmlns:a16="http://schemas.microsoft.com/office/drawing/2014/main" id="{F41CA60F-3072-7763-F287-81509C963D28}"/>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1" name="Freeform: Shape 2130">
                  <a:extLst>
                    <a:ext uri="{FF2B5EF4-FFF2-40B4-BE49-F238E27FC236}">
                      <a16:creationId xmlns:a16="http://schemas.microsoft.com/office/drawing/2014/main" id="{561CA0FB-9C1A-DE32-9740-2360E410B025}"/>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8" name="Graphic 790">
                <a:extLst>
                  <a:ext uri="{FF2B5EF4-FFF2-40B4-BE49-F238E27FC236}">
                    <a16:creationId xmlns:a16="http://schemas.microsoft.com/office/drawing/2014/main" id="{0EF9F111-FDF1-C053-2BE7-03EEB66EFE14}"/>
                  </a:ext>
                </a:extLst>
              </p:cNvPr>
              <p:cNvGrpSpPr/>
              <p:nvPr/>
            </p:nvGrpSpPr>
            <p:grpSpPr>
              <a:xfrm>
                <a:off x="6475475" y="3639883"/>
                <a:ext cx="75723" cy="75723"/>
                <a:chOff x="6475475" y="3639883"/>
                <a:chExt cx="75723" cy="75723"/>
              </a:xfrm>
            </p:grpSpPr>
            <p:sp>
              <p:nvSpPr>
                <p:cNvPr id="2128" name="Freeform: Shape 2127">
                  <a:extLst>
                    <a:ext uri="{FF2B5EF4-FFF2-40B4-BE49-F238E27FC236}">
                      <a16:creationId xmlns:a16="http://schemas.microsoft.com/office/drawing/2014/main" id="{9ADD2C99-47E9-0D29-A4E0-D33B9A094065}"/>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9" name="Freeform: Shape 2128">
                  <a:extLst>
                    <a:ext uri="{FF2B5EF4-FFF2-40B4-BE49-F238E27FC236}">
                      <a16:creationId xmlns:a16="http://schemas.microsoft.com/office/drawing/2014/main" id="{7C37154A-2C7C-ADDC-FD16-8E67B056BD12}"/>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9" name="Graphic 790">
                <a:extLst>
                  <a:ext uri="{FF2B5EF4-FFF2-40B4-BE49-F238E27FC236}">
                    <a16:creationId xmlns:a16="http://schemas.microsoft.com/office/drawing/2014/main" id="{CA908694-1ED8-7F6A-FB97-72F052D3E65D}"/>
                  </a:ext>
                </a:extLst>
              </p:cNvPr>
              <p:cNvGrpSpPr/>
              <p:nvPr/>
            </p:nvGrpSpPr>
            <p:grpSpPr>
              <a:xfrm>
                <a:off x="6489096" y="3639883"/>
                <a:ext cx="75723" cy="75723"/>
                <a:chOff x="6489096" y="3639883"/>
                <a:chExt cx="75723" cy="75723"/>
              </a:xfrm>
            </p:grpSpPr>
            <p:sp>
              <p:nvSpPr>
                <p:cNvPr id="2126" name="Freeform: Shape 2125">
                  <a:extLst>
                    <a:ext uri="{FF2B5EF4-FFF2-40B4-BE49-F238E27FC236}">
                      <a16:creationId xmlns:a16="http://schemas.microsoft.com/office/drawing/2014/main" id="{9E674EED-4378-2316-8A39-02FF4258226E}"/>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7" name="Freeform: Shape 2126">
                  <a:extLst>
                    <a:ext uri="{FF2B5EF4-FFF2-40B4-BE49-F238E27FC236}">
                      <a16:creationId xmlns:a16="http://schemas.microsoft.com/office/drawing/2014/main" id="{10B71149-7BB5-B574-CB44-916C7C630EE2}"/>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0" name="Graphic 790">
                <a:extLst>
                  <a:ext uri="{FF2B5EF4-FFF2-40B4-BE49-F238E27FC236}">
                    <a16:creationId xmlns:a16="http://schemas.microsoft.com/office/drawing/2014/main" id="{B103B42F-D3EE-44EF-2585-435975E62C7E}"/>
                  </a:ext>
                </a:extLst>
              </p:cNvPr>
              <p:cNvGrpSpPr/>
              <p:nvPr/>
            </p:nvGrpSpPr>
            <p:grpSpPr>
              <a:xfrm>
                <a:off x="6399847" y="3598449"/>
                <a:ext cx="75628" cy="75723"/>
                <a:chOff x="6399847" y="3598449"/>
                <a:chExt cx="75628" cy="75723"/>
              </a:xfrm>
            </p:grpSpPr>
            <p:sp>
              <p:nvSpPr>
                <p:cNvPr id="2124" name="Freeform: Shape 2123">
                  <a:extLst>
                    <a:ext uri="{FF2B5EF4-FFF2-40B4-BE49-F238E27FC236}">
                      <a16:creationId xmlns:a16="http://schemas.microsoft.com/office/drawing/2014/main" id="{C1D72A95-BF8B-E900-D9D0-6E7A99297BA1}"/>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5" name="Freeform: Shape 2124">
                  <a:extLst>
                    <a:ext uri="{FF2B5EF4-FFF2-40B4-BE49-F238E27FC236}">
                      <a16:creationId xmlns:a16="http://schemas.microsoft.com/office/drawing/2014/main" id="{42B06ADC-0100-E9AC-FC9B-19D80AB47EF8}"/>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 name="Graphic 790">
                <a:extLst>
                  <a:ext uri="{FF2B5EF4-FFF2-40B4-BE49-F238E27FC236}">
                    <a16:creationId xmlns:a16="http://schemas.microsoft.com/office/drawing/2014/main" id="{A536E7AA-38DB-7999-3F83-44CEF2B800F1}"/>
                  </a:ext>
                </a:extLst>
              </p:cNvPr>
              <p:cNvGrpSpPr/>
              <p:nvPr/>
            </p:nvGrpSpPr>
            <p:grpSpPr>
              <a:xfrm>
                <a:off x="6254590" y="3598449"/>
                <a:ext cx="75723" cy="75723"/>
                <a:chOff x="6254590" y="3598449"/>
                <a:chExt cx="75723" cy="75723"/>
              </a:xfrm>
            </p:grpSpPr>
            <p:sp>
              <p:nvSpPr>
                <p:cNvPr id="2122" name="Freeform: Shape 2121">
                  <a:extLst>
                    <a:ext uri="{FF2B5EF4-FFF2-40B4-BE49-F238E27FC236}">
                      <a16:creationId xmlns:a16="http://schemas.microsoft.com/office/drawing/2014/main" id="{DD8D804F-3922-3488-E819-4A67955FC77A}"/>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3" name="Freeform: Shape 2122">
                  <a:extLst>
                    <a:ext uri="{FF2B5EF4-FFF2-40B4-BE49-F238E27FC236}">
                      <a16:creationId xmlns:a16="http://schemas.microsoft.com/office/drawing/2014/main" id="{23755749-481A-13B6-1658-14F6D88597A4}"/>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 name="Graphic 790">
                <a:extLst>
                  <a:ext uri="{FF2B5EF4-FFF2-40B4-BE49-F238E27FC236}">
                    <a16:creationId xmlns:a16="http://schemas.microsoft.com/office/drawing/2014/main" id="{0DFA2FFB-9F1A-73F4-44BC-B72641EC91AB}"/>
                  </a:ext>
                </a:extLst>
              </p:cNvPr>
              <p:cNvGrpSpPr/>
              <p:nvPr/>
            </p:nvGrpSpPr>
            <p:grpSpPr>
              <a:xfrm>
                <a:off x="6192773" y="3598449"/>
                <a:ext cx="75723" cy="75723"/>
                <a:chOff x="6192773" y="3598449"/>
                <a:chExt cx="75723" cy="75723"/>
              </a:xfrm>
            </p:grpSpPr>
            <p:sp>
              <p:nvSpPr>
                <p:cNvPr id="2120" name="Freeform: Shape 2119">
                  <a:extLst>
                    <a:ext uri="{FF2B5EF4-FFF2-40B4-BE49-F238E27FC236}">
                      <a16:creationId xmlns:a16="http://schemas.microsoft.com/office/drawing/2014/main" id="{DE9B7BAD-54DB-89E9-5176-9CF7886061F1}"/>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1" name="Freeform: Shape 2120">
                  <a:extLst>
                    <a:ext uri="{FF2B5EF4-FFF2-40B4-BE49-F238E27FC236}">
                      <a16:creationId xmlns:a16="http://schemas.microsoft.com/office/drawing/2014/main" id="{7DC9C7CC-79BA-6541-4596-299BC0EA7DAD}"/>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 name="Graphic 790">
                <a:extLst>
                  <a:ext uri="{FF2B5EF4-FFF2-40B4-BE49-F238E27FC236}">
                    <a16:creationId xmlns:a16="http://schemas.microsoft.com/office/drawing/2014/main" id="{3E462371-5E0E-8C72-C73C-D50CEA55C219}"/>
                  </a:ext>
                </a:extLst>
              </p:cNvPr>
              <p:cNvGrpSpPr/>
              <p:nvPr/>
            </p:nvGrpSpPr>
            <p:grpSpPr>
              <a:xfrm>
                <a:off x="6174104" y="3598449"/>
                <a:ext cx="75723" cy="75723"/>
                <a:chOff x="6174104" y="3598449"/>
                <a:chExt cx="75723" cy="75723"/>
              </a:xfrm>
            </p:grpSpPr>
            <p:sp>
              <p:nvSpPr>
                <p:cNvPr id="2118" name="Freeform: Shape 2117">
                  <a:extLst>
                    <a:ext uri="{FF2B5EF4-FFF2-40B4-BE49-F238E27FC236}">
                      <a16:creationId xmlns:a16="http://schemas.microsoft.com/office/drawing/2014/main" id="{68BC7E7B-8231-A2F3-D794-8EB152188305}"/>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9" name="Freeform: Shape 2118">
                  <a:extLst>
                    <a:ext uri="{FF2B5EF4-FFF2-40B4-BE49-F238E27FC236}">
                      <a16:creationId xmlns:a16="http://schemas.microsoft.com/office/drawing/2014/main" id="{4FD0A3C9-9F50-303A-75DD-B3BF88CF2BD3}"/>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 name="Graphic 790">
                <a:extLst>
                  <a:ext uri="{FF2B5EF4-FFF2-40B4-BE49-F238E27FC236}">
                    <a16:creationId xmlns:a16="http://schemas.microsoft.com/office/drawing/2014/main" id="{B520AF98-5778-3A19-5FA3-9DC9921A1D15}"/>
                  </a:ext>
                </a:extLst>
              </p:cNvPr>
              <p:cNvGrpSpPr/>
              <p:nvPr/>
            </p:nvGrpSpPr>
            <p:grpSpPr>
              <a:xfrm>
                <a:off x="6096475" y="3598449"/>
                <a:ext cx="75723" cy="75723"/>
                <a:chOff x="6096475" y="3598449"/>
                <a:chExt cx="75723" cy="75723"/>
              </a:xfrm>
            </p:grpSpPr>
            <p:sp>
              <p:nvSpPr>
                <p:cNvPr id="2116" name="Freeform: Shape 2115">
                  <a:extLst>
                    <a:ext uri="{FF2B5EF4-FFF2-40B4-BE49-F238E27FC236}">
                      <a16:creationId xmlns:a16="http://schemas.microsoft.com/office/drawing/2014/main" id="{35B6F304-E0AC-24C4-D217-356189F973D8}"/>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7" name="Freeform: Shape 2116">
                  <a:extLst>
                    <a:ext uri="{FF2B5EF4-FFF2-40B4-BE49-F238E27FC236}">
                      <a16:creationId xmlns:a16="http://schemas.microsoft.com/office/drawing/2014/main" id="{F1D6CA51-7596-63A6-203A-49FEAF828C36}"/>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 name="Graphic 790">
                <a:extLst>
                  <a:ext uri="{FF2B5EF4-FFF2-40B4-BE49-F238E27FC236}">
                    <a16:creationId xmlns:a16="http://schemas.microsoft.com/office/drawing/2014/main" id="{B089BD50-86FE-5F82-E7BB-E3E1EBE7711A}"/>
                  </a:ext>
                </a:extLst>
              </p:cNvPr>
              <p:cNvGrpSpPr/>
              <p:nvPr/>
            </p:nvGrpSpPr>
            <p:grpSpPr>
              <a:xfrm>
                <a:off x="6078759" y="3598449"/>
                <a:ext cx="75628" cy="75723"/>
                <a:chOff x="6078759" y="3598449"/>
                <a:chExt cx="75628" cy="75723"/>
              </a:xfrm>
            </p:grpSpPr>
            <p:sp>
              <p:nvSpPr>
                <p:cNvPr id="2114" name="Freeform: Shape 2113">
                  <a:extLst>
                    <a:ext uri="{FF2B5EF4-FFF2-40B4-BE49-F238E27FC236}">
                      <a16:creationId xmlns:a16="http://schemas.microsoft.com/office/drawing/2014/main" id="{9A6B62FA-4B26-EE1B-3900-D7D0E662B495}"/>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5" name="Freeform: Shape 2114">
                  <a:extLst>
                    <a:ext uri="{FF2B5EF4-FFF2-40B4-BE49-F238E27FC236}">
                      <a16:creationId xmlns:a16="http://schemas.microsoft.com/office/drawing/2014/main" id="{46B7B87C-9704-8EA6-E64D-62FE893C8DB7}"/>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 name="Graphic 790">
                <a:extLst>
                  <a:ext uri="{FF2B5EF4-FFF2-40B4-BE49-F238E27FC236}">
                    <a16:creationId xmlns:a16="http://schemas.microsoft.com/office/drawing/2014/main" id="{07C854B7-BAC7-3FE2-78AE-5F8F41B35F79}"/>
                  </a:ext>
                </a:extLst>
              </p:cNvPr>
              <p:cNvGrpSpPr/>
              <p:nvPr/>
            </p:nvGrpSpPr>
            <p:grpSpPr>
              <a:xfrm>
                <a:off x="6039135" y="3546442"/>
                <a:ext cx="75723" cy="75628"/>
                <a:chOff x="6039135" y="3546442"/>
                <a:chExt cx="75723" cy="75628"/>
              </a:xfrm>
            </p:grpSpPr>
            <p:sp>
              <p:nvSpPr>
                <p:cNvPr id="2112" name="Freeform: Shape 2111">
                  <a:extLst>
                    <a:ext uri="{FF2B5EF4-FFF2-40B4-BE49-F238E27FC236}">
                      <a16:creationId xmlns:a16="http://schemas.microsoft.com/office/drawing/2014/main" id="{A4A6B523-5208-0254-E738-5DF7C7CDD360}"/>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3" name="Freeform: Shape 2112">
                  <a:extLst>
                    <a:ext uri="{FF2B5EF4-FFF2-40B4-BE49-F238E27FC236}">
                      <a16:creationId xmlns:a16="http://schemas.microsoft.com/office/drawing/2014/main" id="{8933DE1C-D278-EAB8-DE04-B842BE866D26}"/>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 name="Graphic 790">
                <a:extLst>
                  <a:ext uri="{FF2B5EF4-FFF2-40B4-BE49-F238E27FC236}">
                    <a16:creationId xmlns:a16="http://schemas.microsoft.com/office/drawing/2014/main" id="{435829A4-8959-2434-6229-459ACC0BA816}"/>
                  </a:ext>
                </a:extLst>
              </p:cNvPr>
              <p:cNvGrpSpPr/>
              <p:nvPr/>
            </p:nvGrpSpPr>
            <p:grpSpPr>
              <a:xfrm>
                <a:off x="5977984" y="3472814"/>
                <a:ext cx="75628" cy="75723"/>
                <a:chOff x="5977984" y="3472814"/>
                <a:chExt cx="75628" cy="75723"/>
              </a:xfrm>
            </p:grpSpPr>
            <p:sp>
              <p:nvSpPr>
                <p:cNvPr id="2110" name="Freeform: Shape 2109">
                  <a:extLst>
                    <a:ext uri="{FF2B5EF4-FFF2-40B4-BE49-F238E27FC236}">
                      <a16:creationId xmlns:a16="http://schemas.microsoft.com/office/drawing/2014/main" id="{6F77B389-EEDE-A4A1-8AF3-3C3D0FCF450F}"/>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1" name="Freeform: Shape 2110">
                  <a:extLst>
                    <a:ext uri="{FF2B5EF4-FFF2-40B4-BE49-F238E27FC236}">
                      <a16:creationId xmlns:a16="http://schemas.microsoft.com/office/drawing/2014/main" id="{820937BE-F5A9-40A3-B12A-4CA09FD4603F}"/>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 name="Graphic 790">
                <a:extLst>
                  <a:ext uri="{FF2B5EF4-FFF2-40B4-BE49-F238E27FC236}">
                    <a16:creationId xmlns:a16="http://schemas.microsoft.com/office/drawing/2014/main" id="{1EEABC7A-6B71-77F5-58C1-9279CED07567}"/>
                  </a:ext>
                </a:extLst>
              </p:cNvPr>
              <p:cNvGrpSpPr/>
              <p:nvPr/>
            </p:nvGrpSpPr>
            <p:grpSpPr>
              <a:xfrm>
                <a:off x="5730715" y="3443096"/>
                <a:ext cx="75723" cy="75723"/>
                <a:chOff x="5730715" y="3443096"/>
                <a:chExt cx="75723" cy="75723"/>
              </a:xfrm>
            </p:grpSpPr>
            <p:sp>
              <p:nvSpPr>
                <p:cNvPr id="2108" name="Freeform: Shape 2107">
                  <a:extLst>
                    <a:ext uri="{FF2B5EF4-FFF2-40B4-BE49-F238E27FC236}">
                      <a16:creationId xmlns:a16="http://schemas.microsoft.com/office/drawing/2014/main" id="{B94648EE-D236-17C0-03A6-9047DE173D05}"/>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9" name="Freeform: Shape 2108">
                  <a:extLst>
                    <a:ext uri="{FF2B5EF4-FFF2-40B4-BE49-F238E27FC236}">
                      <a16:creationId xmlns:a16="http://schemas.microsoft.com/office/drawing/2014/main" id="{8FD59FA2-E9DD-279C-74C1-CF8A37BD5F62}"/>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 name="Graphic 790">
                <a:extLst>
                  <a:ext uri="{FF2B5EF4-FFF2-40B4-BE49-F238E27FC236}">
                    <a16:creationId xmlns:a16="http://schemas.microsoft.com/office/drawing/2014/main" id="{C3EEA857-8243-E465-5A47-79911EED3598}"/>
                  </a:ext>
                </a:extLst>
              </p:cNvPr>
              <p:cNvGrpSpPr/>
              <p:nvPr/>
            </p:nvGrpSpPr>
            <p:grpSpPr>
              <a:xfrm>
                <a:off x="5503449" y="3300793"/>
                <a:ext cx="75723" cy="75723"/>
                <a:chOff x="5503449" y="3300793"/>
                <a:chExt cx="75723" cy="75723"/>
              </a:xfrm>
            </p:grpSpPr>
            <p:sp>
              <p:nvSpPr>
                <p:cNvPr id="2106" name="Freeform: Shape 2105">
                  <a:extLst>
                    <a:ext uri="{FF2B5EF4-FFF2-40B4-BE49-F238E27FC236}">
                      <a16:creationId xmlns:a16="http://schemas.microsoft.com/office/drawing/2014/main" id="{8A90E336-CFAC-6287-F413-86399D7D8FFA}"/>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7" name="Freeform: Shape 2106">
                  <a:extLst>
                    <a:ext uri="{FF2B5EF4-FFF2-40B4-BE49-F238E27FC236}">
                      <a16:creationId xmlns:a16="http://schemas.microsoft.com/office/drawing/2014/main" id="{3E27CF19-EF77-54B4-0E0C-D93A6AC18017}"/>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 name="Graphic 790">
                <a:extLst>
                  <a:ext uri="{FF2B5EF4-FFF2-40B4-BE49-F238E27FC236}">
                    <a16:creationId xmlns:a16="http://schemas.microsoft.com/office/drawing/2014/main" id="{BE2E8CC8-7655-B329-5F98-8478C22E87AC}"/>
                  </a:ext>
                </a:extLst>
              </p:cNvPr>
              <p:cNvGrpSpPr/>
              <p:nvPr/>
            </p:nvGrpSpPr>
            <p:grpSpPr>
              <a:xfrm>
                <a:off x="5338095" y="3244786"/>
                <a:ext cx="75628" cy="75723"/>
                <a:chOff x="5338095" y="3244786"/>
                <a:chExt cx="75628" cy="75723"/>
              </a:xfrm>
            </p:grpSpPr>
            <p:sp>
              <p:nvSpPr>
                <p:cNvPr id="2104" name="Freeform: Shape 2103">
                  <a:extLst>
                    <a:ext uri="{FF2B5EF4-FFF2-40B4-BE49-F238E27FC236}">
                      <a16:creationId xmlns:a16="http://schemas.microsoft.com/office/drawing/2014/main" id="{70AC2718-BEA1-62A5-2B67-B082A1B50AA6}"/>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5" name="Freeform: Shape 2104">
                  <a:extLst>
                    <a:ext uri="{FF2B5EF4-FFF2-40B4-BE49-F238E27FC236}">
                      <a16:creationId xmlns:a16="http://schemas.microsoft.com/office/drawing/2014/main" id="{D65C088A-CE77-1168-65C3-E123EE75D929}"/>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 name="Graphic 790">
                <a:extLst>
                  <a:ext uri="{FF2B5EF4-FFF2-40B4-BE49-F238E27FC236}">
                    <a16:creationId xmlns:a16="http://schemas.microsoft.com/office/drawing/2014/main" id="{13A2F8F3-55F0-B051-7F0F-019F44D5B4B6}"/>
                  </a:ext>
                </a:extLst>
              </p:cNvPr>
              <p:cNvGrpSpPr/>
              <p:nvPr/>
            </p:nvGrpSpPr>
            <p:grpSpPr>
              <a:xfrm>
                <a:off x="5268753" y="3244786"/>
                <a:ext cx="75723" cy="75723"/>
                <a:chOff x="5268753" y="3244786"/>
                <a:chExt cx="75723" cy="75723"/>
              </a:xfrm>
            </p:grpSpPr>
            <p:sp>
              <p:nvSpPr>
                <p:cNvPr id="2102" name="Freeform: Shape 2101">
                  <a:extLst>
                    <a:ext uri="{FF2B5EF4-FFF2-40B4-BE49-F238E27FC236}">
                      <a16:creationId xmlns:a16="http://schemas.microsoft.com/office/drawing/2014/main" id="{1EEF555E-4353-8229-48FB-3C5BD77B5B60}"/>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3" name="Freeform: Shape 2102">
                  <a:extLst>
                    <a:ext uri="{FF2B5EF4-FFF2-40B4-BE49-F238E27FC236}">
                      <a16:creationId xmlns:a16="http://schemas.microsoft.com/office/drawing/2014/main" id="{4B12DDAB-EA68-6474-7C7A-68C83874580B}"/>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2" name="Graphic 790">
                <a:extLst>
                  <a:ext uri="{FF2B5EF4-FFF2-40B4-BE49-F238E27FC236}">
                    <a16:creationId xmlns:a16="http://schemas.microsoft.com/office/drawing/2014/main" id="{14492316-F311-516C-ADC5-42C2BA0759A8}"/>
                  </a:ext>
                </a:extLst>
              </p:cNvPr>
              <p:cNvGrpSpPr/>
              <p:nvPr/>
            </p:nvGrpSpPr>
            <p:grpSpPr>
              <a:xfrm>
                <a:off x="5234082" y="3244786"/>
                <a:ext cx="75723" cy="75723"/>
                <a:chOff x="5234082" y="3244786"/>
                <a:chExt cx="75723" cy="75723"/>
              </a:xfrm>
            </p:grpSpPr>
            <p:sp>
              <p:nvSpPr>
                <p:cNvPr id="2100" name="Freeform: Shape 2099">
                  <a:extLst>
                    <a:ext uri="{FF2B5EF4-FFF2-40B4-BE49-F238E27FC236}">
                      <a16:creationId xmlns:a16="http://schemas.microsoft.com/office/drawing/2014/main" id="{C329818A-8A60-050C-3FE2-73E74157CDA3}"/>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1" name="Freeform: Shape 2100">
                  <a:extLst>
                    <a:ext uri="{FF2B5EF4-FFF2-40B4-BE49-F238E27FC236}">
                      <a16:creationId xmlns:a16="http://schemas.microsoft.com/office/drawing/2014/main" id="{CBCCD6AC-E88A-5EA7-AE95-C876EFC2A045}"/>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3" name="Graphic 790">
                <a:extLst>
                  <a:ext uri="{FF2B5EF4-FFF2-40B4-BE49-F238E27FC236}">
                    <a16:creationId xmlns:a16="http://schemas.microsoft.com/office/drawing/2014/main" id="{0B5A6201-3218-8CBC-E8FE-A4ABEF87DC8D}"/>
                  </a:ext>
                </a:extLst>
              </p:cNvPr>
              <p:cNvGrpSpPr/>
              <p:nvPr/>
            </p:nvGrpSpPr>
            <p:grpSpPr>
              <a:xfrm>
                <a:off x="5211603" y="3234689"/>
                <a:ext cx="75723" cy="75723"/>
                <a:chOff x="5211603" y="3234689"/>
                <a:chExt cx="75723" cy="75723"/>
              </a:xfrm>
            </p:grpSpPr>
            <p:sp>
              <p:nvSpPr>
                <p:cNvPr id="2098" name="Freeform: Shape 2097">
                  <a:extLst>
                    <a:ext uri="{FF2B5EF4-FFF2-40B4-BE49-F238E27FC236}">
                      <a16:creationId xmlns:a16="http://schemas.microsoft.com/office/drawing/2014/main" id="{59D6664B-D611-DD41-1F11-882510D4F8F4}"/>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9" name="Freeform: Shape 2098">
                  <a:extLst>
                    <a:ext uri="{FF2B5EF4-FFF2-40B4-BE49-F238E27FC236}">
                      <a16:creationId xmlns:a16="http://schemas.microsoft.com/office/drawing/2014/main" id="{EE41B61E-303D-A48D-80B8-B01F40F435F9}"/>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4" name="Graphic 790">
                <a:extLst>
                  <a:ext uri="{FF2B5EF4-FFF2-40B4-BE49-F238E27FC236}">
                    <a16:creationId xmlns:a16="http://schemas.microsoft.com/office/drawing/2014/main" id="{F8551E7F-230D-F6AE-426D-2763F5013624}"/>
                  </a:ext>
                </a:extLst>
              </p:cNvPr>
              <p:cNvGrpSpPr/>
              <p:nvPr/>
            </p:nvGrpSpPr>
            <p:grpSpPr>
              <a:xfrm>
                <a:off x="5196268" y="3222116"/>
                <a:ext cx="75723" cy="75723"/>
                <a:chOff x="5196268" y="3222116"/>
                <a:chExt cx="75723" cy="75723"/>
              </a:xfrm>
            </p:grpSpPr>
            <p:sp>
              <p:nvSpPr>
                <p:cNvPr id="2096" name="Freeform: Shape 2095">
                  <a:extLst>
                    <a:ext uri="{FF2B5EF4-FFF2-40B4-BE49-F238E27FC236}">
                      <a16:creationId xmlns:a16="http://schemas.microsoft.com/office/drawing/2014/main" id="{BC210B21-B9D0-C363-1EA1-416CCDC57DFB}"/>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7" name="Freeform: Shape 2096">
                  <a:extLst>
                    <a:ext uri="{FF2B5EF4-FFF2-40B4-BE49-F238E27FC236}">
                      <a16:creationId xmlns:a16="http://schemas.microsoft.com/office/drawing/2014/main" id="{327F3766-7BF3-9A7F-0722-758343399891}"/>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5" name="Graphic 790">
                <a:extLst>
                  <a:ext uri="{FF2B5EF4-FFF2-40B4-BE49-F238E27FC236}">
                    <a16:creationId xmlns:a16="http://schemas.microsoft.com/office/drawing/2014/main" id="{183E0850-E7AE-CAE3-E2FE-3EADBE48471B}"/>
                  </a:ext>
                </a:extLst>
              </p:cNvPr>
              <p:cNvGrpSpPr/>
              <p:nvPr/>
            </p:nvGrpSpPr>
            <p:grpSpPr>
              <a:xfrm>
                <a:off x="5183599" y="3206971"/>
                <a:ext cx="75723" cy="75723"/>
                <a:chOff x="5183599" y="3206971"/>
                <a:chExt cx="75723" cy="75723"/>
              </a:xfrm>
            </p:grpSpPr>
            <p:sp>
              <p:nvSpPr>
                <p:cNvPr id="2094" name="Freeform: Shape 2093">
                  <a:extLst>
                    <a:ext uri="{FF2B5EF4-FFF2-40B4-BE49-F238E27FC236}">
                      <a16:creationId xmlns:a16="http://schemas.microsoft.com/office/drawing/2014/main" id="{92E4582B-D798-615F-8A49-8FE2BA28ED77}"/>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5" name="Freeform: Shape 2094">
                  <a:extLst>
                    <a:ext uri="{FF2B5EF4-FFF2-40B4-BE49-F238E27FC236}">
                      <a16:creationId xmlns:a16="http://schemas.microsoft.com/office/drawing/2014/main" id="{0A9EDD1C-52B9-9183-FF86-E194913AC2BB}"/>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6" name="Graphic 790">
                <a:extLst>
                  <a:ext uri="{FF2B5EF4-FFF2-40B4-BE49-F238E27FC236}">
                    <a16:creationId xmlns:a16="http://schemas.microsoft.com/office/drawing/2014/main" id="{C7657AC6-31D6-EC71-ED11-ED6927F0C96E}"/>
                  </a:ext>
                </a:extLst>
              </p:cNvPr>
              <p:cNvGrpSpPr/>
              <p:nvPr/>
            </p:nvGrpSpPr>
            <p:grpSpPr>
              <a:xfrm>
                <a:off x="5171217" y="3173729"/>
                <a:ext cx="75628" cy="75723"/>
                <a:chOff x="5171217" y="3173729"/>
                <a:chExt cx="75628" cy="75723"/>
              </a:xfrm>
            </p:grpSpPr>
            <p:sp>
              <p:nvSpPr>
                <p:cNvPr id="2092" name="Freeform: Shape 2091">
                  <a:extLst>
                    <a:ext uri="{FF2B5EF4-FFF2-40B4-BE49-F238E27FC236}">
                      <a16:creationId xmlns:a16="http://schemas.microsoft.com/office/drawing/2014/main" id="{51D4618A-ADC0-CCFD-F826-B147FD286DC0}"/>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3" name="Freeform: Shape 2092">
                  <a:extLst>
                    <a:ext uri="{FF2B5EF4-FFF2-40B4-BE49-F238E27FC236}">
                      <a16:creationId xmlns:a16="http://schemas.microsoft.com/office/drawing/2014/main" id="{0D0FCA50-793F-A491-B6C5-512D0ABF856F}"/>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7" name="Graphic 790">
                <a:extLst>
                  <a:ext uri="{FF2B5EF4-FFF2-40B4-BE49-F238E27FC236}">
                    <a16:creationId xmlns:a16="http://schemas.microsoft.com/office/drawing/2014/main" id="{D335A640-709F-8E89-D27A-D9C9AA70D9A4}"/>
                  </a:ext>
                </a:extLst>
              </p:cNvPr>
              <p:cNvGrpSpPr/>
              <p:nvPr/>
            </p:nvGrpSpPr>
            <p:grpSpPr>
              <a:xfrm>
                <a:off x="5158453" y="3158965"/>
                <a:ext cx="75628" cy="75723"/>
                <a:chOff x="5158453" y="3158965"/>
                <a:chExt cx="75628" cy="75723"/>
              </a:xfrm>
            </p:grpSpPr>
            <p:sp>
              <p:nvSpPr>
                <p:cNvPr id="2090" name="Freeform: Shape 2089">
                  <a:extLst>
                    <a:ext uri="{FF2B5EF4-FFF2-40B4-BE49-F238E27FC236}">
                      <a16:creationId xmlns:a16="http://schemas.microsoft.com/office/drawing/2014/main" id="{C9AFD413-664D-A288-3209-DC8EC82EC021}"/>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1" name="Freeform: Shape 2090">
                  <a:extLst>
                    <a:ext uri="{FF2B5EF4-FFF2-40B4-BE49-F238E27FC236}">
                      <a16:creationId xmlns:a16="http://schemas.microsoft.com/office/drawing/2014/main" id="{453C9935-E0E6-1EB0-F034-5A383178E43E}"/>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8" name="Graphic 790">
                <a:extLst>
                  <a:ext uri="{FF2B5EF4-FFF2-40B4-BE49-F238E27FC236}">
                    <a16:creationId xmlns:a16="http://schemas.microsoft.com/office/drawing/2014/main" id="{D106F33D-030B-20DB-B03D-CD4817660607}"/>
                  </a:ext>
                </a:extLst>
              </p:cNvPr>
              <p:cNvGrpSpPr/>
              <p:nvPr/>
            </p:nvGrpSpPr>
            <p:grpSpPr>
              <a:xfrm>
                <a:off x="5145880" y="3158965"/>
                <a:ext cx="75723" cy="75723"/>
                <a:chOff x="5145880" y="3158965"/>
                <a:chExt cx="75723" cy="75723"/>
              </a:xfrm>
            </p:grpSpPr>
            <p:sp>
              <p:nvSpPr>
                <p:cNvPr id="2088" name="Freeform: Shape 2087">
                  <a:extLst>
                    <a:ext uri="{FF2B5EF4-FFF2-40B4-BE49-F238E27FC236}">
                      <a16:creationId xmlns:a16="http://schemas.microsoft.com/office/drawing/2014/main" id="{8882420A-52C0-3C85-919C-680BBC6F087B}"/>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9" name="Freeform: Shape 2088">
                  <a:extLst>
                    <a:ext uri="{FF2B5EF4-FFF2-40B4-BE49-F238E27FC236}">
                      <a16:creationId xmlns:a16="http://schemas.microsoft.com/office/drawing/2014/main" id="{9CDE5CB3-DCBF-7088-FF57-90382B792635}"/>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9" name="Graphic 790">
                <a:extLst>
                  <a:ext uri="{FF2B5EF4-FFF2-40B4-BE49-F238E27FC236}">
                    <a16:creationId xmlns:a16="http://schemas.microsoft.com/office/drawing/2014/main" id="{01A66395-6474-B3D9-93E6-A63665D8F605}"/>
                  </a:ext>
                </a:extLst>
              </p:cNvPr>
              <p:cNvGrpSpPr/>
              <p:nvPr/>
            </p:nvGrpSpPr>
            <p:grpSpPr>
              <a:xfrm>
                <a:off x="5133307" y="3158965"/>
                <a:ext cx="75723" cy="75723"/>
                <a:chOff x="5133307" y="3158965"/>
                <a:chExt cx="75723" cy="75723"/>
              </a:xfrm>
            </p:grpSpPr>
            <p:sp>
              <p:nvSpPr>
                <p:cNvPr id="2086" name="Freeform: Shape 2085">
                  <a:extLst>
                    <a:ext uri="{FF2B5EF4-FFF2-40B4-BE49-F238E27FC236}">
                      <a16:creationId xmlns:a16="http://schemas.microsoft.com/office/drawing/2014/main" id="{F7EE1E1E-F25B-1929-F092-57A0E6076B40}"/>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7" name="Freeform: Shape 2086">
                  <a:extLst>
                    <a:ext uri="{FF2B5EF4-FFF2-40B4-BE49-F238E27FC236}">
                      <a16:creationId xmlns:a16="http://schemas.microsoft.com/office/drawing/2014/main" id="{316792C6-DC72-A626-50B3-C3ED661FD067}"/>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0" name="Graphic 790">
                <a:extLst>
                  <a:ext uri="{FF2B5EF4-FFF2-40B4-BE49-F238E27FC236}">
                    <a16:creationId xmlns:a16="http://schemas.microsoft.com/office/drawing/2014/main" id="{27C9E519-CA63-AB45-09C2-592AA6B4F105}"/>
                  </a:ext>
                </a:extLst>
              </p:cNvPr>
              <p:cNvGrpSpPr/>
              <p:nvPr/>
            </p:nvGrpSpPr>
            <p:grpSpPr>
              <a:xfrm>
                <a:off x="4973287" y="3133057"/>
                <a:ext cx="75723" cy="75723"/>
                <a:chOff x="4973287" y="3133057"/>
                <a:chExt cx="75723" cy="75723"/>
              </a:xfrm>
            </p:grpSpPr>
            <p:sp>
              <p:nvSpPr>
                <p:cNvPr id="2084" name="Freeform: Shape 2083">
                  <a:extLst>
                    <a:ext uri="{FF2B5EF4-FFF2-40B4-BE49-F238E27FC236}">
                      <a16:creationId xmlns:a16="http://schemas.microsoft.com/office/drawing/2014/main" id="{976D59EC-6D05-E5A4-F489-53E67527E940}"/>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5" name="Freeform: Shape 2084">
                  <a:extLst>
                    <a:ext uri="{FF2B5EF4-FFF2-40B4-BE49-F238E27FC236}">
                      <a16:creationId xmlns:a16="http://schemas.microsoft.com/office/drawing/2014/main" id="{C7F79F2D-9B24-C829-B0AB-DF3F2E7A7B4B}"/>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1" name="Graphic 790">
                <a:extLst>
                  <a:ext uri="{FF2B5EF4-FFF2-40B4-BE49-F238E27FC236}">
                    <a16:creationId xmlns:a16="http://schemas.microsoft.com/office/drawing/2014/main" id="{F5FC43D9-DAF1-BC96-9EB3-5486B4FA1CD7}"/>
                  </a:ext>
                </a:extLst>
              </p:cNvPr>
              <p:cNvGrpSpPr/>
              <p:nvPr/>
            </p:nvGrpSpPr>
            <p:grpSpPr>
              <a:xfrm>
                <a:off x="4802980" y="3087052"/>
                <a:ext cx="75723" cy="75723"/>
                <a:chOff x="4802980" y="3087052"/>
                <a:chExt cx="75723" cy="75723"/>
              </a:xfrm>
            </p:grpSpPr>
            <p:sp>
              <p:nvSpPr>
                <p:cNvPr id="2082" name="Freeform: Shape 2081">
                  <a:extLst>
                    <a:ext uri="{FF2B5EF4-FFF2-40B4-BE49-F238E27FC236}">
                      <a16:creationId xmlns:a16="http://schemas.microsoft.com/office/drawing/2014/main" id="{CFE27E65-8897-6064-C591-FC20FB673159}"/>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3" name="Freeform: Shape 2082">
                  <a:extLst>
                    <a:ext uri="{FF2B5EF4-FFF2-40B4-BE49-F238E27FC236}">
                      <a16:creationId xmlns:a16="http://schemas.microsoft.com/office/drawing/2014/main" id="{D2E238FA-DA1E-D522-A636-D925E2C1A252}"/>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2" name="Graphic 790">
                <a:extLst>
                  <a:ext uri="{FF2B5EF4-FFF2-40B4-BE49-F238E27FC236}">
                    <a16:creationId xmlns:a16="http://schemas.microsoft.com/office/drawing/2014/main" id="{C24AD6AB-4868-7465-E986-A212AAB34E5E}"/>
                  </a:ext>
                </a:extLst>
              </p:cNvPr>
              <p:cNvGrpSpPr/>
              <p:nvPr/>
            </p:nvGrpSpPr>
            <p:grpSpPr>
              <a:xfrm>
                <a:off x="4788502" y="3073240"/>
                <a:ext cx="75723" cy="75723"/>
                <a:chOff x="4788502" y="3073240"/>
                <a:chExt cx="75723" cy="75723"/>
              </a:xfrm>
            </p:grpSpPr>
            <p:sp>
              <p:nvSpPr>
                <p:cNvPr id="2080" name="Freeform: Shape 2079">
                  <a:extLst>
                    <a:ext uri="{FF2B5EF4-FFF2-40B4-BE49-F238E27FC236}">
                      <a16:creationId xmlns:a16="http://schemas.microsoft.com/office/drawing/2014/main" id="{95212D59-6FBD-9328-CF76-D83AD9330A00}"/>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1" name="Freeform: Shape 2080">
                  <a:extLst>
                    <a:ext uri="{FF2B5EF4-FFF2-40B4-BE49-F238E27FC236}">
                      <a16:creationId xmlns:a16="http://schemas.microsoft.com/office/drawing/2014/main" id="{A07902F9-A7B3-3B0F-5993-4B034BA914E3}"/>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3" name="Graphic 790">
                <a:extLst>
                  <a:ext uri="{FF2B5EF4-FFF2-40B4-BE49-F238E27FC236}">
                    <a16:creationId xmlns:a16="http://schemas.microsoft.com/office/drawing/2014/main" id="{DE4D3364-4F02-423C-EA47-E007FCB561B6}"/>
                  </a:ext>
                </a:extLst>
              </p:cNvPr>
              <p:cNvGrpSpPr/>
              <p:nvPr/>
            </p:nvGrpSpPr>
            <p:grpSpPr>
              <a:xfrm>
                <a:off x="4634864" y="2850260"/>
                <a:ext cx="75723" cy="75723"/>
                <a:chOff x="4634864" y="2850260"/>
                <a:chExt cx="75723" cy="75723"/>
              </a:xfrm>
            </p:grpSpPr>
            <p:sp>
              <p:nvSpPr>
                <p:cNvPr id="2078" name="Freeform: Shape 2077">
                  <a:extLst>
                    <a:ext uri="{FF2B5EF4-FFF2-40B4-BE49-F238E27FC236}">
                      <a16:creationId xmlns:a16="http://schemas.microsoft.com/office/drawing/2014/main" id="{24670D72-ADCE-716D-ECF5-2D305844EB2B}"/>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9" name="Freeform: Shape 2078">
                  <a:extLst>
                    <a:ext uri="{FF2B5EF4-FFF2-40B4-BE49-F238E27FC236}">
                      <a16:creationId xmlns:a16="http://schemas.microsoft.com/office/drawing/2014/main" id="{D58B7A64-C359-31F3-B1DE-EB76EBC9AF4B}"/>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4" name="Graphic 790">
                <a:extLst>
                  <a:ext uri="{FF2B5EF4-FFF2-40B4-BE49-F238E27FC236}">
                    <a16:creationId xmlns:a16="http://schemas.microsoft.com/office/drawing/2014/main" id="{629DEF57-BA21-1371-BAAB-8BFF7EECC5D0}"/>
                  </a:ext>
                </a:extLst>
              </p:cNvPr>
              <p:cNvGrpSpPr/>
              <p:nvPr/>
            </p:nvGrpSpPr>
            <p:grpSpPr>
              <a:xfrm>
                <a:off x="4664106" y="2856928"/>
                <a:ext cx="98964" cy="89630"/>
                <a:chOff x="4664106" y="2856928"/>
                <a:chExt cx="98964" cy="89630"/>
              </a:xfrm>
            </p:grpSpPr>
            <p:sp>
              <p:nvSpPr>
                <p:cNvPr id="2074" name="Freeform: Shape 2073">
                  <a:extLst>
                    <a:ext uri="{FF2B5EF4-FFF2-40B4-BE49-F238E27FC236}">
                      <a16:creationId xmlns:a16="http://schemas.microsoft.com/office/drawing/2014/main" id="{EBC43614-1CDF-E121-B486-6B0EB62D67A2}"/>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5" name="Freeform: Shape 2074">
                  <a:extLst>
                    <a:ext uri="{FF2B5EF4-FFF2-40B4-BE49-F238E27FC236}">
                      <a16:creationId xmlns:a16="http://schemas.microsoft.com/office/drawing/2014/main" id="{58B9ED95-6F86-ED22-6975-453C8C318834}"/>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6" name="Freeform: Shape 2075">
                  <a:extLst>
                    <a:ext uri="{FF2B5EF4-FFF2-40B4-BE49-F238E27FC236}">
                      <a16:creationId xmlns:a16="http://schemas.microsoft.com/office/drawing/2014/main" id="{DFAB1FFC-79E3-B7A8-C6F6-9EBB9BCF98F5}"/>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7" name="Freeform: Shape 2076">
                  <a:extLst>
                    <a:ext uri="{FF2B5EF4-FFF2-40B4-BE49-F238E27FC236}">
                      <a16:creationId xmlns:a16="http://schemas.microsoft.com/office/drawing/2014/main" id="{93D47B9B-AF5D-B6A7-0D11-A5F15F5BE102}"/>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5" name="Graphic 790">
                <a:extLst>
                  <a:ext uri="{FF2B5EF4-FFF2-40B4-BE49-F238E27FC236}">
                    <a16:creationId xmlns:a16="http://schemas.microsoft.com/office/drawing/2014/main" id="{FE7E34B4-790C-35BA-1D73-B625CFC98514}"/>
                  </a:ext>
                </a:extLst>
              </p:cNvPr>
              <p:cNvGrpSpPr/>
              <p:nvPr/>
            </p:nvGrpSpPr>
            <p:grpSpPr>
              <a:xfrm>
                <a:off x="4725256" y="2932651"/>
                <a:ext cx="75628" cy="75628"/>
                <a:chOff x="4725256" y="2932651"/>
                <a:chExt cx="75628" cy="75628"/>
              </a:xfrm>
            </p:grpSpPr>
            <p:sp>
              <p:nvSpPr>
                <p:cNvPr id="2072" name="Freeform: Shape 2071">
                  <a:extLst>
                    <a:ext uri="{FF2B5EF4-FFF2-40B4-BE49-F238E27FC236}">
                      <a16:creationId xmlns:a16="http://schemas.microsoft.com/office/drawing/2014/main" id="{7B80AA37-86C0-DE8B-32F4-832B9CB4AD66}"/>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3" name="Freeform: Shape 2072">
                  <a:extLst>
                    <a:ext uri="{FF2B5EF4-FFF2-40B4-BE49-F238E27FC236}">
                      <a16:creationId xmlns:a16="http://schemas.microsoft.com/office/drawing/2014/main" id="{C74C57CB-7D16-8918-5F13-E201176C5C99}"/>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6" name="Graphic 790">
                <a:extLst>
                  <a:ext uri="{FF2B5EF4-FFF2-40B4-BE49-F238E27FC236}">
                    <a16:creationId xmlns:a16="http://schemas.microsoft.com/office/drawing/2014/main" id="{77328237-5DCC-9187-6D37-CE34FB70F648}"/>
                  </a:ext>
                </a:extLst>
              </p:cNvPr>
              <p:cNvGrpSpPr/>
              <p:nvPr/>
            </p:nvGrpSpPr>
            <p:grpSpPr>
              <a:xfrm>
                <a:off x="4734972" y="2977038"/>
                <a:ext cx="75628" cy="75723"/>
                <a:chOff x="4734972" y="2977038"/>
                <a:chExt cx="75628" cy="75723"/>
              </a:xfrm>
            </p:grpSpPr>
            <p:sp>
              <p:nvSpPr>
                <p:cNvPr id="2070" name="Freeform: Shape 2069">
                  <a:extLst>
                    <a:ext uri="{FF2B5EF4-FFF2-40B4-BE49-F238E27FC236}">
                      <a16:creationId xmlns:a16="http://schemas.microsoft.com/office/drawing/2014/main" id="{EAE05877-B17D-291B-D7E9-F0142ECE2AF9}"/>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1" name="Freeform: Shape 2070">
                  <a:extLst>
                    <a:ext uri="{FF2B5EF4-FFF2-40B4-BE49-F238E27FC236}">
                      <a16:creationId xmlns:a16="http://schemas.microsoft.com/office/drawing/2014/main" id="{FB68C94F-71C8-60B5-1965-B280FDF764D1}"/>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7" name="Graphic 790">
                <a:extLst>
                  <a:ext uri="{FF2B5EF4-FFF2-40B4-BE49-F238E27FC236}">
                    <a16:creationId xmlns:a16="http://schemas.microsoft.com/office/drawing/2014/main" id="{1AF1E572-D5EB-76A8-1461-49405126E2B2}"/>
                  </a:ext>
                </a:extLst>
              </p:cNvPr>
              <p:cNvGrpSpPr/>
              <p:nvPr/>
            </p:nvGrpSpPr>
            <p:grpSpPr>
              <a:xfrm>
                <a:off x="4744021" y="3008280"/>
                <a:ext cx="75723" cy="75723"/>
                <a:chOff x="4744021" y="3008280"/>
                <a:chExt cx="75723" cy="75723"/>
              </a:xfrm>
            </p:grpSpPr>
            <p:sp>
              <p:nvSpPr>
                <p:cNvPr id="2068" name="Freeform: Shape 2067">
                  <a:extLst>
                    <a:ext uri="{FF2B5EF4-FFF2-40B4-BE49-F238E27FC236}">
                      <a16:creationId xmlns:a16="http://schemas.microsoft.com/office/drawing/2014/main" id="{559C11E4-50F1-B57F-B8D0-3631D75A2B8B}"/>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9" name="Freeform: Shape 2068">
                  <a:extLst>
                    <a:ext uri="{FF2B5EF4-FFF2-40B4-BE49-F238E27FC236}">
                      <a16:creationId xmlns:a16="http://schemas.microsoft.com/office/drawing/2014/main" id="{F9055062-E678-38BC-86C9-8C08159E8F10}"/>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8" name="Graphic 790">
                <a:extLst>
                  <a:ext uri="{FF2B5EF4-FFF2-40B4-BE49-F238E27FC236}">
                    <a16:creationId xmlns:a16="http://schemas.microsoft.com/office/drawing/2014/main" id="{4AC684FB-1C89-2F72-DE67-5F1503049475}"/>
                  </a:ext>
                </a:extLst>
              </p:cNvPr>
              <p:cNvGrpSpPr/>
              <p:nvPr/>
            </p:nvGrpSpPr>
            <p:grpSpPr>
              <a:xfrm>
                <a:off x="4765166" y="3033045"/>
                <a:ext cx="75628" cy="75723"/>
                <a:chOff x="4765166" y="3033045"/>
                <a:chExt cx="75628" cy="75723"/>
              </a:xfrm>
            </p:grpSpPr>
            <p:sp>
              <p:nvSpPr>
                <p:cNvPr id="2066" name="Freeform: Shape 2065">
                  <a:extLst>
                    <a:ext uri="{FF2B5EF4-FFF2-40B4-BE49-F238E27FC236}">
                      <a16:creationId xmlns:a16="http://schemas.microsoft.com/office/drawing/2014/main" id="{BB11A4AA-B1FC-23DF-6741-FD3AB75627AF}"/>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7" name="Freeform: Shape 2066">
                  <a:extLst>
                    <a:ext uri="{FF2B5EF4-FFF2-40B4-BE49-F238E27FC236}">
                      <a16:creationId xmlns:a16="http://schemas.microsoft.com/office/drawing/2014/main" id="{BD4C4135-1CBD-95CD-4FE3-9F32BA1261C8}"/>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59" name="Graphic 790">
                <a:extLst>
                  <a:ext uri="{FF2B5EF4-FFF2-40B4-BE49-F238E27FC236}">
                    <a16:creationId xmlns:a16="http://schemas.microsoft.com/office/drawing/2014/main" id="{507A55BA-CE71-3A4D-1137-6D51E78A0294}"/>
                  </a:ext>
                </a:extLst>
              </p:cNvPr>
              <p:cNvGrpSpPr/>
              <p:nvPr/>
            </p:nvGrpSpPr>
            <p:grpSpPr>
              <a:xfrm>
                <a:off x="4499895" y="2814732"/>
                <a:ext cx="75628" cy="75723"/>
                <a:chOff x="4499895" y="2814732"/>
                <a:chExt cx="75628" cy="75723"/>
              </a:xfrm>
            </p:grpSpPr>
            <p:sp>
              <p:nvSpPr>
                <p:cNvPr id="2064" name="Freeform: Shape 2063">
                  <a:extLst>
                    <a:ext uri="{FF2B5EF4-FFF2-40B4-BE49-F238E27FC236}">
                      <a16:creationId xmlns:a16="http://schemas.microsoft.com/office/drawing/2014/main" id="{63814282-F44A-7106-77DD-7078FA9DBEF3}"/>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5" name="Freeform: Shape 2064">
                  <a:extLst>
                    <a:ext uri="{FF2B5EF4-FFF2-40B4-BE49-F238E27FC236}">
                      <a16:creationId xmlns:a16="http://schemas.microsoft.com/office/drawing/2014/main" id="{D36D3C99-DA48-BD84-13B1-62A86DFE303E}"/>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0" name="Graphic 790">
                <a:extLst>
                  <a:ext uri="{FF2B5EF4-FFF2-40B4-BE49-F238E27FC236}">
                    <a16:creationId xmlns:a16="http://schemas.microsoft.com/office/drawing/2014/main" id="{7D305CB6-8752-EDE2-7C7A-AEADA331D1BC}"/>
                  </a:ext>
                </a:extLst>
              </p:cNvPr>
              <p:cNvGrpSpPr/>
              <p:nvPr/>
            </p:nvGrpSpPr>
            <p:grpSpPr>
              <a:xfrm>
                <a:off x="4424171" y="2808731"/>
                <a:ext cx="75723" cy="75628"/>
                <a:chOff x="4424171" y="2808731"/>
                <a:chExt cx="75723" cy="75628"/>
              </a:xfrm>
            </p:grpSpPr>
            <p:sp>
              <p:nvSpPr>
                <p:cNvPr id="2062" name="Freeform: Shape 2061">
                  <a:extLst>
                    <a:ext uri="{FF2B5EF4-FFF2-40B4-BE49-F238E27FC236}">
                      <a16:creationId xmlns:a16="http://schemas.microsoft.com/office/drawing/2014/main" id="{3081699A-E528-7702-1B23-7CA94B3B278D}"/>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3" name="Freeform: Shape 2062">
                  <a:extLst>
                    <a:ext uri="{FF2B5EF4-FFF2-40B4-BE49-F238E27FC236}">
                      <a16:creationId xmlns:a16="http://schemas.microsoft.com/office/drawing/2014/main" id="{8A8943D9-5E87-3437-2E4B-A75504009761}"/>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1" name="Graphic 790">
                <a:extLst>
                  <a:ext uri="{FF2B5EF4-FFF2-40B4-BE49-F238E27FC236}">
                    <a16:creationId xmlns:a16="http://schemas.microsoft.com/office/drawing/2014/main" id="{A0AEEB7A-6470-B068-9F49-DB4289A46274}"/>
                  </a:ext>
                </a:extLst>
              </p:cNvPr>
              <p:cNvGrpSpPr/>
              <p:nvPr/>
            </p:nvGrpSpPr>
            <p:grpSpPr>
              <a:xfrm>
                <a:off x="4203286" y="2576416"/>
                <a:ext cx="75723" cy="75723"/>
                <a:chOff x="4203286" y="2576416"/>
                <a:chExt cx="75723" cy="75723"/>
              </a:xfrm>
            </p:grpSpPr>
            <p:sp>
              <p:nvSpPr>
                <p:cNvPr id="2060" name="Freeform: Shape 2059">
                  <a:extLst>
                    <a:ext uri="{FF2B5EF4-FFF2-40B4-BE49-F238E27FC236}">
                      <a16:creationId xmlns:a16="http://schemas.microsoft.com/office/drawing/2014/main" id="{B761C423-2910-A0DD-70CA-63171ECC30BD}"/>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1" name="Freeform: Shape 2060">
                  <a:extLst>
                    <a:ext uri="{FF2B5EF4-FFF2-40B4-BE49-F238E27FC236}">
                      <a16:creationId xmlns:a16="http://schemas.microsoft.com/office/drawing/2014/main" id="{B17F6ACA-1206-8225-33AC-CFC48E9F3EFB}"/>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2" name="Graphic 790">
                <a:extLst>
                  <a:ext uri="{FF2B5EF4-FFF2-40B4-BE49-F238E27FC236}">
                    <a16:creationId xmlns:a16="http://schemas.microsoft.com/office/drawing/2014/main" id="{ED6ACDE4-63ED-6CAC-21B6-D3743F61E6EE}"/>
                  </a:ext>
                </a:extLst>
              </p:cNvPr>
              <p:cNvGrpSpPr/>
              <p:nvPr/>
            </p:nvGrpSpPr>
            <p:grpSpPr>
              <a:xfrm>
                <a:off x="4135849" y="2555176"/>
                <a:ext cx="75723" cy="75723"/>
                <a:chOff x="4135849" y="2555176"/>
                <a:chExt cx="75723" cy="75723"/>
              </a:xfrm>
            </p:grpSpPr>
            <p:sp>
              <p:nvSpPr>
                <p:cNvPr id="2058" name="Freeform: Shape 2057">
                  <a:extLst>
                    <a:ext uri="{FF2B5EF4-FFF2-40B4-BE49-F238E27FC236}">
                      <a16:creationId xmlns:a16="http://schemas.microsoft.com/office/drawing/2014/main" id="{3F7A5EEA-EAE6-FE1E-D8CD-C12F4E8318E9}"/>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9" name="Freeform: Shape 2058">
                  <a:extLst>
                    <a:ext uri="{FF2B5EF4-FFF2-40B4-BE49-F238E27FC236}">
                      <a16:creationId xmlns:a16="http://schemas.microsoft.com/office/drawing/2014/main" id="{C9FDD883-44B9-D0B2-3AD7-000B293E4EA6}"/>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3" name="Graphic 790">
                <a:extLst>
                  <a:ext uri="{FF2B5EF4-FFF2-40B4-BE49-F238E27FC236}">
                    <a16:creationId xmlns:a16="http://schemas.microsoft.com/office/drawing/2014/main" id="{F879104A-F5BE-3113-DE0D-67A06A3A5409}"/>
                  </a:ext>
                </a:extLst>
              </p:cNvPr>
              <p:cNvGrpSpPr/>
              <p:nvPr/>
            </p:nvGrpSpPr>
            <p:grpSpPr>
              <a:xfrm>
                <a:off x="3865530" y="2479547"/>
                <a:ext cx="75723" cy="75628"/>
                <a:chOff x="3865530" y="2479547"/>
                <a:chExt cx="75723" cy="75628"/>
              </a:xfrm>
            </p:grpSpPr>
            <p:sp>
              <p:nvSpPr>
                <p:cNvPr id="2056" name="Freeform: Shape 2055">
                  <a:extLst>
                    <a:ext uri="{FF2B5EF4-FFF2-40B4-BE49-F238E27FC236}">
                      <a16:creationId xmlns:a16="http://schemas.microsoft.com/office/drawing/2014/main" id="{3F051FAD-FE16-577D-D615-8413AC1213B3}"/>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7" name="Freeform: Shape 2056">
                  <a:extLst>
                    <a:ext uri="{FF2B5EF4-FFF2-40B4-BE49-F238E27FC236}">
                      <a16:creationId xmlns:a16="http://schemas.microsoft.com/office/drawing/2014/main" id="{60505DA0-C5E6-8B71-91C5-C94B4F07D414}"/>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4" name="Graphic 790">
                <a:extLst>
                  <a:ext uri="{FF2B5EF4-FFF2-40B4-BE49-F238E27FC236}">
                    <a16:creationId xmlns:a16="http://schemas.microsoft.com/office/drawing/2014/main" id="{6446F72E-A3C6-E524-82B1-39D24E701DE3}"/>
                  </a:ext>
                </a:extLst>
              </p:cNvPr>
              <p:cNvGrpSpPr/>
              <p:nvPr/>
            </p:nvGrpSpPr>
            <p:grpSpPr>
              <a:xfrm>
                <a:off x="3922299" y="2514790"/>
                <a:ext cx="75628" cy="75723"/>
                <a:chOff x="3922299" y="2514790"/>
                <a:chExt cx="75628" cy="75723"/>
              </a:xfrm>
            </p:grpSpPr>
            <p:sp>
              <p:nvSpPr>
                <p:cNvPr id="2054" name="Freeform: Shape 2053">
                  <a:extLst>
                    <a:ext uri="{FF2B5EF4-FFF2-40B4-BE49-F238E27FC236}">
                      <a16:creationId xmlns:a16="http://schemas.microsoft.com/office/drawing/2014/main" id="{2F20EC81-F2D7-FD09-5D0A-196105FE6B81}"/>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5" name="Freeform: Shape 2054">
                  <a:extLst>
                    <a:ext uri="{FF2B5EF4-FFF2-40B4-BE49-F238E27FC236}">
                      <a16:creationId xmlns:a16="http://schemas.microsoft.com/office/drawing/2014/main" id="{7587B742-A497-FEA2-5F9E-FC5AE20B4705}"/>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5" name="Graphic 790">
                <a:extLst>
                  <a:ext uri="{FF2B5EF4-FFF2-40B4-BE49-F238E27FC236}">
                    <a16:creationId xmlns:a16="http://schemas.microsoft.com/office/drawing/2014/main" id="{E6BB9BC0-ABBE-B1F7-F0CB-C2B17C2AB76D}"/>
                  </a:ext>
                </a:extLst>
              </p:cNvPr>
              <p:cNvGrpSpPr/>
              <p:nvPr/>
            </p:nvGrpSpPr>
            <p:grpSpPr>
              <a:xfrm>
                <a:off x="3893629" y="2514790"/>
                <a:ext cx="75628" cy="75723"/>
                <a:chOff x="3893629" y="2514790"/>
                <a:chExt cx="75628" cy="75723"/>
              </a:xfrm>
            </p:grpSpPr>
            <p:sp>
              <p:nvSpPr>
                <p:cNvPr id="2052" name="Freeform: Shape 2051">
                  <a:extLst>
                    <a:ext uri="{FF2B5EF4-FFF2-40B4-BE49-F238E27FC236}">
                      <a16:creationId xmlns:a16="http://schemas.microsoft.com/office/drawing/2014/main" id="{05DF7769-AB84-C678-997C-3F127EFC3EDE}"/>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3" name="Freeform: Shape 2052">
                  <a:extLst>
                    <a:ext uri="{FF2B5EF4-FFF2-40B4-BE49-F238E27FC236}">
                      <a16:creationId xmlns:a16="http://schemas.microsoft.com/office/drawing/2014/main" id="{E91570AA-6FCE-53C1-0D69-A48BB6B38140}"/>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6" name="Graphic 790">
                <a:extLst>
                  <a:ext uri="{FF2B5EF4-FFF2-40B4-BE49-F238E27FC236}">
                    <a16:creationId xmlns:a16="http://schemas.microsoft.com/office/drawing/2014/main" id="{727B28FD-2FD0-4E2C-F9C2-05BD55E1FC40}"/>
                  </a:ext>
                </a:extLst>
              </p:cNvPr>
              <p:cNvGrpSpPr/>
              <p:nvPr/>
            </p:nvGrpSpPr>
            <p:grpSpPr>
              <a:xfrm>
                <a:off x="3909345" y="2514790"/>
                <a:ext cx="75628" cy="75723"/>
                <a:chOff x="3909345" y="2514790"/>
                <a:chExt cx="75628" cy="75723"/>
              </a:xfrm>
            </p:grpSpPr>
            <p:sp>
              <p:nvSpPr>
                <p:cNvPr id="2050" name="Freeform: Shape 2049">
                  <a:extLst>
                    <a:ext uri="{FF2B5EF4-FFF2-40B4-BE49-F238E27FC236}">
                      <a16:creationId xmlns:a16="http://schemas.microsoft.com/office/drawing/2014/main" id="{AC96DCB9-A98D-FC42-4D15-AB8F8220F76A}"/>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1" name="Freeform: Shape 2050">
                  <a:extLst>
                    <a:ext uri="{FF2B5EF4-FFF2-40B4-BE49-F238E27FC236}">
                      <a16:creationId xmlns:a16="http://schemas.microsoft.com/office/drawing/2014/main" id="{AAD80A7A-C32A-3F5C-FED0-95463DDE6C6E}"/>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7" name="Graphic 790">
                <a:extLst>
                  <a:ext uri="{FF2B5EF4-FFF2-40B4-BE49-F238E27FC236}">
                    <a16:creationId xmlns:a16="http://schemas.microsoft.com/office/drawing/2014/main" id="{3D44BECB-32E5-4239-EB87-0BD549D2CA04}"/>
                  </a:ext>
                </a:extLst>
              </p:cNvPr>
              <p:cNvGrpSpPr/>
              <p:nvPr/>
            </p:nvGrpSpPr>
            <p:grpSpPr>
              <a:xfrm>
                <a:off x="4241101" y="2593085"/>
                <a:ext cx="75723" cy="75628"/>
                <a:chOff x="4241101" y="2593085"/>
                <a:chExt cx="75723" cy="75628"/>
              </a:xfrm>
            </p:grpSpPr>
            <p:sp>
              <p:nvSpPr>
                <p:cNvPr id="2048" name="Freeform: Shape 2047">
                  <a:extLst>
                    <a:ext uri="{FF2B5EF4-FFF2-40B4-BE49-F238E27FC236}">
                      <a16:creationId xmlns:a16="http://schemas.microsoft.com/office/drawing/2014/main" id="{495359D8-B1A0-AFDC-3CF9-CA0B6D4390AE}"/>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9" name="Freeform: Shape 2048">
                  <a:extLst>
                    <a:ext uri="{FF2B5EF4-FFF2-40B4-BE49-F238E27FC236}">
                      <a16:creationId xmlns:a16="http://schemas.microsoft.com/office/drawing/2014/main" id="{D90E15AC-F0BE-EF9D-2CB5-2996CB8D2FA4}"/>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8" name="Graphic 790">
                <a:extLst>
                  <a:ext uri="{FF2B5EF4-FFF2-40B4-BE49-F238E27FC236}">
                    <a16:creationId xmlns:a16="http://schemas.microsoft.com/office/drawing/2014/main" id="{32EA2D35-0BCB-E6AF-B6D7-91DF036DD546}"/>
                  </a:ext>
                </a:extLst>
              </p:cNvPr>
              <p:cNvGrpSpPr/>
              <p:nvPr/>
            </p:nvGrpSpPr>
            <p:grpSpPr>
              <a:xfrm>
                <a:off x="4276534" y="2621851"/>
                <a:ext cx="75723" cy="75628"/>
                <a:chOff x="4276534" y="2621851"/>
                <a:chExt cx="75723" cy="75628"/>
              </a:xfrm>
            </p:grpSpPr>
            <p:sp>
              <p:nvSpPr>
                <p:cNvPr id="2046" name="Freeform: Shape 2045">
                  <a:extLst>
                    <a:ext uri="{FF2B5EF4-FFF2-40B4-BE49-F238E27FC236}">
                      <a16:creationId xmlns:a16="http://schemas.microsoft.com/office/drawing/2014/main" id="{668B6337-96A9-3E63-1C5B-E034B92B9883}"/>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7" name="Freeform: Shape 2046">
                  <a:extLst>
                    <a:ext uri="{FF2B5EF4-FFF2-40B4-BE49-F238E27FC236}">
                      <a16:creationId xmlns:a16="http://schemas.microsoft.com/office/drawing/2014/main" id="{BCC649EB-5BA1-3FCD-6C23-C1F378EE6364}"/>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69" name="Graphic 790">
                <a:extLst>
                  <a:ext uri="{FF2B5EF4-FFF2-40B4-BE49-F238E27FC236}">
                    <a16:creationId xmlns:a16="http://schemas.microsoft.com/office/drawing/2014/main" id="{8873A007-3850-385C-B620-9CC675DC22BB}"/>
                  </a:ext>
                </a:extLst>
              </p:cNvPr>
              <p:cNvGrpSpPr/>
              <p:nvPr/>
            </p:nvGrpSpPr>
            <p:grpSpPr>
              <a:xfrm>
                <a:off x="4283868" y="2621851"/>
                <a:ext cx="75628" cy="75628"/>
                <a:chOff x="4283868" y="2621851"/>
                <a:chExt cx="75628" cy="75628"/>
              </a:xfrm>
            </p:grpSpPr>
            <p:sp>
              <p:nvSpPr>
                <p:cNvPr id="2044" name="Freeform: Shape 2043">
                  <a:extLst>
                    <a:ext uri="{FF2B5EF4-FFF2-40B4-BE49-F238E27FC236}">
                      <a16:creationId xmlns:a16="http://schemas.microsoft.com/office/drawing/2014/main" id="{BE93760A-EC1D-8B64-59B1-AE938DC8FADD}"/>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5" name="Freeform: Shape 2044">
                  <a:extLst>
                    <a:ext uri="{FF2B5EF4-FFF2-40B4-BE49-F238E27FC236}">
                      <a16:creationId xmlns:a16="http://schemas.microsoft.com/office/drawing/2014/main" id="{164B477C-960F-EEBB-8A8F-69FCF74E86C4}"/>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0" name="Graphic 790">
                <a:extLst>
                  <a:ext uri="{FF2B5EF4-FFF2-40B4-BE49-F238E27FC236}">
                    <a16:creationId xmlns:a16="http://schemas.microsoft.com/office/drawing/2014/main" id="{7F90138D-4B6D-B374-2D7B-45CF3446D5A9}"/>
                  </a:ext>
                </a:extLst>
              </p:cNvPr>
              <p:cNvGrpSpPr/>
              <p:nvPr/>
            </p:nvGrpSpPr>
            <p:grpSpPr>
              <a:xfrm>
                <a:off x="4295298" y="2656236"/>
                <a:ext cx="75628" cy="75628"/>
                <a:chOff x="4295298" y="2656236"/>
                <a:chExt cx="75628" cy="75628"/>
              </a:xfrm>
            </p:grpSpPr>
            <p:sp>
              <p:nvSpPr>
                <p:cNvPr id="2042" name="Freeform: Shape 2041">
                  <a:extLst>
                    <a:ext uri="{FF2B5EF4-FFF2-40B4-BE49-F238E27FC236}">
                      <a16:creationId xmlns:a16="http://schemas.microsoft.com/office/drawing/2014/main" id="{C6BCF4E9-5E05-6BE3-9677-6DAA7AB06FB5}"/>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3" name="Freeform: Shape 2042">
                  <a:extLst>
                    <a:ext uri="{FF2B5EF4-FFF2-40B4-BE49-F238E27FC236}">
                      <a16:creationId xmlns:a16="http://schemas.microsoft.com/office/drawing/2014/main" id="{0335CBAD-FD8A-CBC4-9F1D-457C91192AD4}"/>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1" name="Graphic 790">
                <a:extLst>
                  <a:ext uri="{FF2B5EF4-FFF2-40B4-BE49-F238E27FC236}">
                    <a16:creationId xmlns:a16="http://schemas.microsoft.com/office/drawing/2014/main" id="{A76B5D01-8E9E-306D-8BF5-CAC9ED4E314D}"/>
                  </a:ext>
                </a:extLst>
              </p:cNvPr>
              <p:cNvGrpSpPr/>
              <p:nvPr/>
            </p:nvGrpSpPr>
            <p:grpSpPr>
              <a:xfrm>
                <a:off x="4301584" y="2656236"/>
                <a:ext cx="75628" cy="75628"/>
                <a:chOff x="4301584" y="2656236"/>
                <a:chExt cx="75628" cy="75628"/>
              </a:xfrm>
            </p:grpSpPr>
            <p:sp>
              <p:nvSpPr>
                <p:cNvPr id="2040" name="Freeform: Shape 2039">
                  <a:extLst>
                    <a:ext uri="{FF2B5EF4-FFF2-40B4-BE49-F238E27FC236}">
                      <a16:creationId xmlns:a16="http://schemas.microsoft.com/office/drawing/2014/main" id="{E24D794C-C453-ACED-D467-101651EA8E49}"/>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1" name="Freeform: Shape 2040">
                  <a:extLst>
                    <a:ext uri="{FF2B5EF4-FFF2-40B4-BE49-F238E27FC236}">
                      <a16:creationId xmlns:a16="http://schemas.microsoft.com/office/drawing/2014/main" id="{62A45D04-7607-1BD3-B5AC-7C41CB883182}"/>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2" name="Graphic 790">
                <a:extLst>
                  <a:ext uri="{FF2B5EF4-FFF2-40B4-BE49-F238E27FC236}">
                    <a16:creationId xmlns:a16="http://schemas.microsoft.com/office/drawing/2014/main" id="{9AB4C63F-92A6-2333-7D81-288FC793948F}"/>
                  </a:ext>
                </a:extLst>
              </p:cNvPr>
              <p:cNvGrpSpPr/>
              <p:nvPr/>
            </p:nvGrpSpPr>
            <p:grpSpPr>
              <a:xfrm>
                <a:off x="4307871" y="2685097"/>
                <a:ext cx="75628" cy="75723"/>
                <a:chOff x="4307871" y="2685097"/>
                <a:chExt cx="75628" cy="75723"/>
              </a:xfrm>
            </p:grpSpPr>
            <p:sp>
              <p:nvSpPr>
                <p:cNvPr id="2038" name="Freeform: Shape 2037">
                  <a:extLst>
                    <a:ext uri="{FF2B5EF4-FFF2-40B4-BE49-F238E27FC236}">
                      <a16:creationId xmlns:a16="http://schemas.microsoft.com/office/drawing/2014/main" id="{A913F741-7D4B-7633-CDF1-E1DFA5C36715}"/>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9" name="Freeform: Shape 2038">
                  <a:extLst>
                    <a:ext uri="{FF2B5EF4-FFF2-40B4-BE49-F238E27FC236}">
                      <a16:creationId xmlns:a16="http://schemas.microsoft.com/office/drawing/2014/main" id="{33ECC5B6-E7A9-5C49-4DD8-E748B5D08EC7}"/>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3" name="Graphic 790">
                <a:extLst>
                  <a:ext uri="{FF2B5EF4-FFF2-40B4-BE49-F238E27FC236}">
                    <a16:creationId xmlns:a16="http://schemas.microsoft.com/office/drawing/2014/main" id="{FF382558-B491-23EC-B6C3-5950A13BDD1D}"/>
                  </a:ext>
                </a:extLst>
              </p:cNvPr>
              <p:cNvGrpSpPr/>
              <p:nvPr/>
            </p:nvGrpSpPr>
            <p:grpSpPr>
              <a:xfrm>
                <a:off x="4314348" y="2685097"/>
                <a:ext cx="75723" cy="75723"/>
                <a:chOff x="4314348" y="2685097"/>
                <a:chExt cx="75723" cy="75723"/>
              </a:xfrm>
            </p:grpSpPr>
            <p:sp>
              <p:nvSpPr>
                <p:cNvPr id="2036" name="Freeform: Shape 2035">
                  <a:extLst>
                    <a:ext uri="{FF2B5EF4-FFF2-40B4-BE49-F238E27FC236}">
                      <a16:creationId xmlns:a16="http://schemas.microsoft.com/office/drawing/2014/main" id="{D177E887-AB61-E98E-4331-A64AAD1A859A}"/>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7" name="Freeform: Shape 2036">
                  <a:extLst>
                    <a:ext uri="{FF2B5EF4-FFF2-40B4-BE49-F238E27FC236}">
                      <a16:creationId xmlns:a16="http://schemas.microsoft.com/office/drawing/2014/main" id="{4B58C196-6B07-9FAA-B231-537532793EDD}"/>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4" name="Graphic 790">
                <a:extLst>
                  <a:ext uri="{FF2B5EF4-FFF2-40B4-BE49-F238E27FC236}">
                    <a16:creationId xmlns:a16="http://schemas.microsoft.com/office/drawing/2014/main" id="{AEA30422-07CC-B8A9-F1D9-211A9607F696}"/>
                  </a:ext>
                </a:extLst>
              </p:cNvPr>
              <p:cNvGrpSpPr/>
              <p:nvPr/>
            </p:nvGrpSpPr>
            <p:grpSpPr>
              <a:xfrm>
                <a:off x="4330540" y="2716910"/>
                <a:ext cx="75723" cy="75723"/>
                <a:chOff x="4330540" y="2716910"/>
                <a:chExt cx="75723" cy="75723"/>
              </a:xfrm>
            </p:grpSpPr>
            <p:sp>
              <p:nvSpPr>
                <p:cNvPr id="2034" name="Freeform: Shape 2033">
                  <a:extLst>
                    <a:ext uri="{FF2B5EF4-FFF2-40B4-BE49-F238E27FC236}">
                      <a16:creationId xmlns:a16="http://schemas.microsoft.com/office/drawing/2014/main" id="{C6824C7A-FB7D-F175-15CF-8EF355D340D7}"/>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5" name="Freeform: Shape 2034">
                  <a:extLst>
                    <a:ext uri="{FF2B5EF4-FFF2-40B4-BE49-F238E27FC236}">
                      <a16:creationId xmlns:a16="http://schemas.microsoft.com/office/drawing/2014/main" id="{A9D6BE6E-D850-E6A3-E260-2B12A720B838}"/>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5" name="Graphic 790">
                <a:extLst>
                  <a:ext uri="{FF2B5EF4-FFF2-40B4-BE49-F238E27FC236}">
                    <a16:creationId xmlns:a16="http://schemas.microsoft.com/office/drawing/2014/main" id="{0DF1585C-F210-4D45-E815-617E849E5E98}"/>
                  </a:ext>
                </a:extLst>
              </p:cNvPr>
              <p:cNvGrpSpPr/>
              <p:nvPr/>
            </p:nvGrpSpPr>
            <p:grpSpPr>
              <a:xfrm>
                <a:off x="4340827" y="2716910"/>
                <a:ext cx="75723" cy="75723"/>
                <a:chOff x="4340827" y="2716910"/>
                <a:chExt cx="75723" cy="75723"/>
              </a:xfrm>
            </p:grpSpPr>
            <p:sp>
              <p:nvSpPr>
                <p:cNvPr id="2032" name="Freeform: Shape 2031">
                  <a:extLst>
                    <a:ext uri="{FF2B5EF4-FFF2-40B4-BE49-F238E27FC236}">
                      <a16:creationId xmlns:a16="http://schemas.microsoft.com/office/drawing/2014/main" id="{70D14574-898F-A873-6164-E48C1F3DD0BC}"/>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3" name="Freeform: Shape 2032">
                  <a:extLst>
                    <a:ext uri="{FF2B5EF4-FFF2-40B4-BE49-F238E27FC236}">
                      <a16:creationId xmlns:a16="http://schemas.microsoft.com/office/drawing/2014/main" id="{41B2C1E3-1E9C-C691-8503-CE5C90CF4C8C}"/>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6" name="Graphic 790">
                <a:extLst>
                  <a:ext uri="{FF2B5EF4-FFF2-40B4-BE49-F238E27FC236}">
                    <a16:creationId xmlns:a16="http://schemas.microsoft.com/office/drawing/2014/main" id="{70F5346F-EF38-3904-2C3C-818023BF852B}"/>
                  </a:ext>
                </a:extLst>
              </p:cNvPr>
              <p:cNvGrpSpPr/>
              <p:nvPr/>
            </p:nvGrpSpPr>
            <p:grpSpPr>
              <a:xfrm>
                <a:off x="4340827" y="2754724"/>
                <a:ext cx="75723" cy="75723"/>
                <a:chOff x="4340827" y="2754724"/>
                <a:chExt cx="75723" cy="75723"/>
              </a:xfrm>
            </p:grpSpPr>
            <p:sp>
              <p:nvSpPr>
                <p:cNvPr id="2030" name="Freeform: Shape 2029">
                  <a:extLst>
                    <a:ext uri="{FF2B5EF4-FFF2-40B4-BE49-F238E27FC236}">
                      <a16:creationId xmlns:a16="http://schemas.microsoft.com/office/drawing/2014/main" id="{AE5AA434-64CC-D511-93F1-79E46A9526AA}"/>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1" name="Freeform: Shape 2030">
                  <a:extLst>
                    <a:ext uri="{FF2B5EF4-FFF2-40B4-BE49-F238E27FC236}">
                      <a16:creationId xmlns:a16="http://schemas.microsoft.com/office/drawing/2014/main" id="{235EB2CF-1134-B3A6-0818-3B44CD30197F}"/>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7" name="Graphic 790">
                <a:extLst>
                  <a:ext uri="{FF2B5EF4-FFF2-40B4-BE49-F238E27FC236}">
                    <a16:creationId xmlns:a16="http://schemas.microsoft.com/office/drawing/2014/main" id="{967B1C09-A7F9-499C-4A76-6A6013D3804B}"/>
                  </a:ext>
                </a:extLst>
              </p:cNvPr>
              <p:cNvGrpSpPr/>
              <p:nvPr/>
            </p:nvGrpSpPr>
            <p:grpSpPr>
              <a:xfrm>
                <a:off x="4352257" y="2754724"/>
                <a:ext cx="75628" cy="75723"/>
                <a:chOff x="4352257" y="2754724"/>
                <a:chExt cx="75628" cy="75723"/>
              </a:xfrm>
            </p:grpSpPr>
            <p:sp>
              <p:nvSpPr>
                <p:cNvPr id="2028" name="Freeform: Shape 2027">
                  <a:extLst>
                    <a:ext uri="{FF2B5EF4-FFF2-40B4-BE49-F238E27FC236}">
                      <a16:creationId xmlns:a16="http://schemas.microsoft.com/office/drawing/2014/main" id="{15365B0F-235E-0790-67B3-5334592083CB}"/>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9" name="Freeform: Shape 2028">
                  <a:extLst>
                    <a:ext uri="{FF2B5EF4-FFF2-40B4-BE49-F238E27FC236}">
                      <a16:creationId xmlns:a16="http://schemas.microsoft.com/office/drawing/2014/main" id="{5926EE1C-B4C9-DCCA-4F1D-62FDDDE542A5}"/>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8" name="Graphic 790">
                <a:extLst>
                  <a:ext uri="{FF2B5EF4-FFF2-40B4-BE49-F238E27FC236}">
                    <a16:creationId xmlns:a16="http://schemas.microsoft.com/office/drawing/2014/main" id="{59B92FDF-3AF4-9AF2-EB9A-EED969B49C59}"/>
                  </a:ext>
                </a:extLst>
              </p:cNvPr>
              <p:cNvGrpSpPr/>
              <p:nvPr/>
            </p:nvGrpSpPr>
            <p:grpSpPr>
              <a:xfrm>
                <a:off x="4368355" y="2754724"/>
                <a:ext cx="75723" cy="75723"/>
                <a:chOff x="4368355" y="2754724"/>
                <a:chExt cx="75723" cy="75723"/>
              </a:xfrm>
            </p:grpSpPr>
            <p:sp>
              <p:nvSpPr>
                <p:cNvPr id="2026" name="Freeform: Shape 2025">
                  <a:extLst>
                    <a:ext uri="{FF2B5EF4-FFF2-40B4-BE49-F238E27FC236}">
                      <a16:creationId xmlns:a16="http://schemas.microsoft.com/office/drawing/2014/main" id="{C26E9F3E-CD62-67EE-D212-639F3C21E6D6}"/>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7" name="Freeform: Shape 2026">
                  <a:extLst>
                    <a:ext uri="{FF2B5EF4-FFF2-40B4-BE49-F238E27FC236}">
                      <a16:creationId xmlns:a16="http://schemas.microsoft.com/office/drawing/2014/main" id="{7643AEC2-4E30-7F1E-0380-184D479C4FAE}"/>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9" name="Graphic 790">
                <a:extLst>
                  <a:ext uri="{FF2B5EF4-FFF2-40B4-BE49-F238E27FC236}">
                    <a16:creationId xmlns:a16="http://schemas.microsoft.com/office/drawing/2014/main" id="{3F91AEC0-FD64-E57E-E467-8A35511A6145}"/>
                  </a:ext>
                </a:extLst>
              </p:cNvPr>
              <p:cNvGrpSpPr/>
              <p:nvPr/>
            </p:nvGrpSpPr>
            <p:grpSpPr>
              <a:xfrm>
                <a:off x="4370926" y="2769202"/>
                <a:ext cx="75723" cy="75723"/>
                <a:chOff x="4370926" y="2769202"/>
                <a:chExt cx="75723" cy="75723"/>
              </a:xfrm>
            </p:grpSpPr>
            <p:sp>
              <p:nvSpPr>
                <p:cNvPr id="2024" name="Freeform: Shape 2023">
                  <a:extLst>
                    <a:ext uri="{FF2B5EF4-FFF2-40B4-BE49-F238E27FC236}">
                      <a16:creationId xmlns:a16="http://schemas.microsoft.com/office/drawing/2014/main" id="{DE7DCFDB-8A8A-0F3C-C636-968EF93D15EA}"/>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5" name="Freeform: Shape 2024">
                  <a:extLst>
                    <a:ext uri="{FF2B5EF4-FFF2-40B4-BE49-F238E27FC236}">
                      <a16:creationId xmlns:a16="http://schemas.microsoft.com/office/drawing/2014/main" id="{5ADBF4FE-032B-C4EA-47EF-EDB01E64230A}"/>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0" name="Graphic 790">
                <a:extLst>
                  <a:ext uri="{FF2B5EF4-FFF2-40B4-BE49-F238E27FC236}">
                    <a16:creationId xmlns:a16="http://schemas.microsoft.com/office/drawing/2014/main" id="{9A646D75-D0EE-462C-1FCC-662D95648309}"/>
                  </a:ext>
                </a:extLst>
              </p:cNvPr>
              <p:cNvGrpSpPr/>
              <p:nvPr/>
            </p:nvGrpSpPr>
            <p:grpSpPr>
              <a:xfrm>
                <a:off x="5061679" y="3133057"/>
                <a:ext cx="75628" cy="75723"/>
                <a:chOff x="5061679" y="3133057"/>
                <a:chExt cx="75628" cy="75723"/>
              </a:xfrm>
            </p:grpSpPr>
            <p:sp>
              <p:nvSpPr>
                <p:cNvPr id="2022" name="Freeform: Shape 2021">
                  <a:extLst>
                    <a:ext uri="{FF2B5EF4-FFF2-40B4-BE49-F238E27FC236}">
                      <a16:creationId xmlns:a16="http://schemas.microsoft.com/office/drawing/2014/main" id="{D2F8ED01-4E70-8EDC-9163-2BE755E91DA0}"/>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3" name="Freeform: Shape 2022">
                  <a:extLst>
                    <a:ext uri="{FF2B5EF4-FFF2-40B4-BE49-F238E27FC236}">
                      <a16:creationId xmlns:a16="http://schemas.microsoft.com/office/drawing/2014/main" id="{544A51D0-5FDB-23DF-9874-D56A1A8FB6CC}"/>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1" name="Graphic 790">
                <a:extLst>
                  <a:ext uri="{FF2B5EF4-FFF2-40B4-BE49-F238E27FC236}">
                    <a16:creationId xmlns:a16="http://schemas.microsoft.com/office/drawing/2014/main" id="{D4E254CD-D0A3-BF45-D390-D0588CCBF50A}"/>
                  </a:ext>
                </a:extLst>
              </p:cNvPr>
              <p:cNvGrpSpPr/>
              <p:nvPr/>
            </p:nvGrpSpPr>
            <p:grpSpPr>
              <a:xfrm>
                <a:off x="5108066" y="3144392"/>
                <a:ext cx="75628" cy="75723"/>
                <a:chOff x="5108066" y="3144392"/>
                <a:chExt cx="75628" cy="75723"/>
              </a:xfrm>
            </p:grpSpPr>
            <p:sp>
              <p:nvSpPr>
                <p:cNvPr id="2020" name="Freeform: Shape 2019">
                  <a:extLst>
                    <a:ext uri="{FF2B5EF4-FFF2-40B4-BE49-F238E27FC236}">
                      <a16:creationId xmlns:a16="http://schemas.microsoft.com/office/drawing/2014/main" id="{6931B9A8-9637-0B9D-149D-51F9FAAF91ED}"/>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1" name="Freeform: Shape 2020">
                  <a:extLst>
                    <a:ext uri="{FF2B5EF4-FFF2-40B4-BE49-F238E27FC236}">
                      <a16:creationId xmlns:a16="http://schemas.microsoft.com/office/drawing/2014/main" id="{68D1B3F1-3394-C91B-5CA3-E78AC3CEA494}"/>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2" name="Graphic 790">
                <a:extLst>
                  <a:ext uri="{FF2B5EF4-FFF2-40B4-BE49-F238E27FC236}">
                    <a16:creationId xmlns:a16="http://schemas.microsoft.com/office/drawing/2014/main" id="{332C8FDE-F09B-0B4C-F0F1-B98F2640D677}"/>
                  </a:ext>
                </a:extLst>
              </p:cNvPr>
              <p:cNvGrpSpPr/>
              <p:nvPr/>
            </p:nvGrpSpPr>
            <p:grpSpPr>
              <a:xfrm>
                <a:off x="5124163" y="3151726"/>
                <a:ext cx="75723" cy="75723"/>
                <a:chOff x="5124163" y="3151726"/>
                <a:chExt cx="75723" cy="75723"/>
              </a:xfrm>
            </p:grpSpPr>
            <p:sp>
              <p:nvSpPr>
                <p:cNvPr id="2018" name="Freeform: Shape 2017">
                  <a:extLst>
                    <a:ext uri="{FF2B5EF4-FFF2-40B4-BE49-F238E27FC236}">
                      <a16:creationId xmlns:a16="http://schemas.microsoft.com/office/drawing/2014/main" id="{56B68CB5-19FD-C348-6DD6-B59CDE96CB34}"/>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9" name="Freeform: Shape 2018">
                  <a:extLst>
                    <a:ext uri="{FF2B5EF4-FFF2-40B4-BE49-F238E27FC236}">
                      <a16:creationId xmlns:a16="http://schemas.microsoft.com/office/drawing/2014/main" id="{2A4C92DF-3819-B8EB-A911-1EF7D032177E}"/>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3" name="Graphic 790">
                <a:extLst>
                  <a:ext uri="{FF2B5EF4-FFF2-40B4-BE49-F238E27FC236}">
                    <a16:creationId xmlns:a16="http://schemas.microsoft.com/office/drawing/2014/main" id="{4C3B1E73-4C00-A285-A363-6009A65A4E73}"/>
                  </a:ext>
                </a:extLst>
              </p:cNvPr>
              <p:cNvGrpSpPr/>
              <p:nvPr/>
            </p:nvGrpSpPr>
            <p:grpSpPr>
              <a:xfrm>
                <a:off x="5568314" y="3300793"/>
                <a:ext cx="75723" cy="75723"/>
                <a:chOff x="5568314" y="3300793"/>
                <a:chExt cx="75723" cy="75723"/>
              </a:xfrm>
            </p:grpSpPr>
            <p:sp>
              <p:nvSpPr>
                <p:cNvPr id="2016" name="Freeform: Shape 2015">
                  <a:extLst>
                    <a:ext uri="{FF2B5EF4-FFF2-40B4-BE49-F238E27FC236}">
                      <a16:creationId xmlns:a16="http://schemas.microsoft.com/office/drawing/2014/main" id="{91FD3C47-3C35-68C4-F5D3-E0B5F26BF5AA}"/>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7" name="Freeform: Shape 2016">
                  <a:extLst>
                    <a:ext uri="{FF2B5EF4-FFF2-40B4-BE49-F238E27FC236}">
                      <a16:creationId xmlns:a16="http://schemas.microsoft.com/office/drawing/2014/main" id="{0B337DA2-6732-D44B-32B9-0C2FE1B482C4}"/>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4" name="Graphic 790">
                <a:extLst>
                  <a:ext uri="{FF2B5EF4-FFF2-40B4-BE49-F238E27FC236}">
                    <a16:creationId xmlns:a16="http://schemas.microsoft.com/office/drawing/2014/main" id="{A598B75A-48BD-99FF-A8D6-C36F10786319}"/>
                  </a:ext>
                </a:extLst>
              </p:cNvPr>
              <p:cNvGrpSpPr/>
              <p:nvPr/>
            </p:nvGrpSpPr>
            <p:grpSpPr>
              <a:xfrm>
                <a:off x="5594603" y="3322319"/>
                <a:ext cx="75723" cy="75723"/>
                <a:chOff x="5594603" y="3322319"/>
                <a:chExt cx="75723" cy="75723"/>
              </a:xfrm>
            </p:grpSpPr>
            <p:sp>
              <p:nvSpPr>
                <p:cNvPr id="2014" name="Freeform: Shape 2013">
                  <a:extLst>
                    <a:ext uri="{FF2B5EF4-FFF2-40B4-BE49-F238E27FC236}">
                      <a16:creationId xmlns:a16="http://schemas.microsoft.com/office/drawing/2014/main" id="{F4B73022-3B1D-6D8E-E1C0-3D0A7E89CE44}"/>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5" name="Freeform: Shape 2014">
                  <a:extLst>
                    <a:ext uri="{FF2B5EF4-FFF2-40B4-BE49-F238E27FC236}">
                      <a16:creationId xmlns:a16="http://schemas.microsoft.com/office/drawing/2014/main" id="{446FA344-72E6-292A-E1A6-9AFD268E4AC7}"/>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5" name="Graphic 790">
                <a:extLst>
                  <a:ext uri="{FF2B5EF4-FFF2-40B4-BE49-F238E27FC236}">
                    <a16:creationId xmlns:a16="http://schemas.microsoft.com/office/drawing/2014/main" id="{3F388464-7AA1-7232-4802-230DFC3DD919}"/>
                  </a:ext>
                </a:extLst>
              </p:cNvPr>
              <p:cNvGrpSpPr/>
              <p:nvPr/>
            </p:nvGrpSpPr>
            <p:grpSpPr>
              <a:xfrm>
                <a:off x="5606224" y="3360133"/>
                <a:ext cx="75628" cy="75723"/>
                <a:chOff x="5606224" y="3360133"/>
                <a:chExt cx="75628" cy="75723"/>
              </a:xfrm>
            </p:grpSpPr>
            <p:sp>
              <p:nvSpPr>
                <p:cNvPr id="2012" name="Freeform: Shape 2011">
                  <a:extLst>
                    <a:ext uri="{FF2B5EF4-FFF2-40B4-BE49-F238E27FC236}">
                      <a16:creationId xmlns:a16="http://schemas.microsoft.com/office/drawing/2014/main" id="{325B14B6-728A-44B8-9332-C1820F177B48}"/>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3" name="Freeform: Shape 2012">
                  <a:extLst>
                    <a:ext uri="{FF2B5EF4-FFF2-40B4-BE49-F238E27FC236}">
                      <a16:creationId xmlns:a16="http://schemas.microsoft.com/office/drawing/2014/main" id="{55497707-5FFC-BBA9-619F-EBB6BA9C16FA}"/>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6" name="Graphic 790">
                <a:extLst>
                  <a:ext uri="{FF2B5EF4-FFF2-40B4-BE49-F238E27FC236}">
                    <a16:creationId xmlns:a16="http://schemas.microsoft.com/office/drawing/2014/main" id="{E419B7DC-0E27-6EE4-E51C-F3DF4D93EB6C}"/>
                  </a:ext>
                </a:extLst>
              </p:cNvPr>
              <p:cNvGrpSpPr/>
              <p:nvPr/>
            </p:nvGrpSpPr>
            <p:grpSpPr>
              <a:xfrm>
                <a:off x="5612224" y="3385660"/>
                <a:ext cx="75723" cy="75723"/>
                <a:chOff x="5612224" y="3385660"/>
                <a:chExt cx="75723" cy="75723"/>
              </a:xfrm>
            </p:grpSpPr>
            <p:sp>
              <p:nvSpPr>
                <p:cNvPr id="2010" name="Freeform: Shape 2009">
                  <a:extLst>
                    <a:ext uri="{FF2B5EF4-FFF2-40B4-BE49-F238E27FC236}">
                      <a16:creationId xmlns:a16="http://schemas.microsoft.com/office/drawing/2014/main" id="{7F98ADFC-722F-4EC5-B5A6-09F9FDBF2A9C}"/>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1" name="Freeform: Shape 2010">
                  <a:extLst>
                    <a:ext uri="{FF2B5EF4-FFF2-40B4-BE49-F238E27FC236}">
                      <a16:creationId xmlns:a16="http://schemas.microsoft.com/office/drawing/2014/main" id="{45EA7F50-9354-ADF7-776A-8910D53316E1}"/>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7" name="Graphic 790">
                <a:extLst>
                  <a:ext uri="{FF2B5EF4-FFF2-40B4-BE49-F238E27FC236}">
                    <a16:creationId xmlns:a16="http://schemas.microsoft.com/office/drawing/2014/main" id="{A0043711-9443-9F14-D0C6-30187DB0E33F}"/>
                  </a:ext>
                </a:extLst>
              </p:cNvPr>
              <p:cNvGrpSpPr/>
              <p:nvPr/>
            </p:nvGrpSpPr>
            <p:grpSpPr>
              <a:xfrm>
                <a:off x="5619749" y="3398043"/>
                <a:ext cx="75628" cy="75628"/>
                <a:chOff x="5619749" y="3398043"/>
                <a:chExt cx="75628" cy="75628"/>
              </a:xfrm>
            </p:grpSpPr>
            <p:sp>
              <p:nvSpPr>
                <p:cNvPr id="2008" name="Freeform: Shape 2007">
                  <a:extLst>
                    <a:ext uri="{FF2B5EF4-FFF2-40B4-BE49-F238E27FC236}">
                      <a16:creationId xmlns:a16="http://schemas.microsoft.com/office/drawing/2014/main" id="{825ED754-5687-6EEE-CCB2-EA50111FAB72}"/>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9" name="Freeform: Shape 2008">
                  <a:extLst>
                    <a:ext uri="{FF2B5EF4-FFF2-40B4-BE49-F238E27FC236}">
                      <a16:creationId xmlns:a16="http://schemas.microsoft.com/office/drawing/2014/main" id="{314E2C19-CF35-2517-F2D4-AF0A61FFABA2}"/>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8" name="Graphic 790">
                <a:extLst>
                  <a:ext uri="{FF2B5EF4-FFF2-40B4-BE49-F238E27FC236}">
                    <a16:creationId xmlns:a16="http://schemas.microsoft.com/office/drawing/2014/main" id="{7C188B9C-4A84-1803-7E7E-8149ECB63CE6}"/>
                  </a:ext>
                </a:extLst>
              </p:cNvPr>
              <p:cNvGrpSpPr/>
              <p:nvPr/>
            </p:nvGrpSpPr>
            <p:grpSpPr>
              <a:xfrm>
                <a:off x="5640514" y="3405282"/>
                <a:ext cx="75723" cy="75628"/>
                <a:chOff x="5640514" y="3405282"/>
                <a:chExt cx="75723" cy="75628"/>
              </a:xfrm>
            </p:grpSpPr>
            <p:sp>
              <p:nvSpPr>
                <p:cNvPr id="2006" name="Freeform: Shape 2005">
                  <a:extLst>
                    <a:ext uri="{FF2B5EF4-FFF2-40B4-BE49-F238E27FC236}">
                      <a16:creationId xmlns:a16="http://schemas.microsoft.com/office/drawing/2014/main" id="{4E140AF9-E0AC-F6B7-A8BB-3856BE6E6602}"/>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7" name="Freeform: Shape 2006">
                  <a:extLst>
                    <a:ext uri="{FF2B5EF4-FFF2-40B4-BE49-F238E27FC236}">
                      <a16:creationId xmlns:a16="http://schemas.microsoft.com/office/drawing/2014/main" id="{6066958B-894D-E154-2965-CAD0B2C6740F}"/>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9" name="Graphic 790">
                <a:extLst>
                  <a:ext uri="{FF2B5EF4-FFF2-40B4-BE49-F238E27FC236}">
                    <a16:creationId xmlns:a16="http://schemas.microsoft.com/office/drawing/2014/main" id="{BC7300CD-AC52-3E22-B7DD-3E2B28E2720F}"/>
                  </a:ext>
                </a:extLst>
              </p:cNvPr>
              <p:cNvGrpSpPr/>
              <p:nvPr/>
            </p:nvGrpSpPr>
            <p:grpSpPr>
              <a:xfrm>
                <a:off x="5579173" y="3322319"/>
                <a:ext cx="75628" cy="75723"/>
                <a:chOff x="5579173" y="3322319"/>
                <a:chExt cx="75628" cy="75723"/>
              </a:xfrm>
            </p:grpSpPr>
            <p:sp>
              <p:nvSpPr>
                <p:cNvPr id="2004" name="Freeform: Shape 2003">
                  <a:extLst>
                    <a:ext uri="{FF2B5EF4-FFF2-40B4-BE49-F238E27FC236}">
                      <a16:creationId xmlns:a16="http://schemas.microsoft.com/office/drawing/2014/main" id="{BF607D6A-B7BE-D676-7951-A6DAFE48A8C9}"/>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5" name="Freeform: Shape 2004">
                  <a:extLst>
                    <a:ext uri="{FF2B5EF4-FFF2-40B4-BE49-F238E27FC236}">
                      <a16:creationId xmlns:a16="http://schemas.microsoft.com/office/drawing/2014/main" id="{9DAEB693-1E6B-2F4B-2973-0F21F7FED7F5}"/>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0" name="Graphic 790">
                <a:extLst>
                  <a:ext uri="{FF2B5EF4-FFF2-40B4-BE49-F238E27FC236}">
                    <a16:creationId xmlns:a16="http://schemas.microsoft.com/office/drawing/2014/main" id="{5FB9CBE1-1504-318A-F179-E925D8668BB8}"/>
                  </a:ext>
                </a:extLst>
              </p:cNvPr>
              <p:cNvGrpSpPr/>
              <p:nvPr/>
            </p:nvGrpSpPr>
            <p:grpSpPr>
              <a:xfrm>
                <a:off x="6010465" y="3480910"/>
                <a:ext cx="75723" cy="75723"/>
                <a:chOff x="6010465" y="3480910"/>
                <a:chExt cx="75723" cy="75723"/>
              </a:xfrm>
            </p:grpSpPr>
            <p:sp>
              <p:nvSpPr>
                <p:cNvPr id="2002" name="Freeform: Shape 2001">
                  <a:extLst>
                    <a:ext uri="{FF2B5EF4-FFF2-40B4-BE49-F238E27FC236}">
                      <a16:creationId xmlns:a16="http://schemas.microsoft.com/office/drawing/2014/main" id="{A376BEB8-6717-FA22-CCF8-5212F97A2DA8}"/>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3" name="Freeform: Shape 2002">
                  <a:extLst>
                    <a:ext uri="{FF2B5EF4-FFF2-40B4-BE49-F238E27FC236}">
                      <a16:creationId xmlns:a16="http://schemas.microsoft.com/office/drawing/2014/main" id="{8E5EC299-FDA4-8CAA-D8DB-C3565830F27F}"/>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1" name="Graphic 790">
                <a:extLst>
                  <a:ext uri="{FF2B5EF4-FFF2-40B4-BE49-F238E27FC236}">
                    <a16:creationId xmlns:a16="http://schemas.microsoft.com/office/drawing/2014/main" id="{5E7108F3-1C8B-2B47-5DA5-6CADFD4B59B5}"/>
                  </a:ext>
                </a:extLst>
              </p:cNvPr>
              <p:cNvGrpSpPr/>
              <p:nvPr/>
            </p:nvGrpSpPr>
            <p:grpSpPr>
              <a:xfrm>
                <a:off x="6029991" y="3480910"/>
                <a:ext cx="75628" cy="75723"/>
                <a:chOff x="6029991" y="3480910"/>
                <a:chExt cx="75628" cy="75723"/>
              </a:xfrm>
            </p:grpSpPr>
            <p:sp>
              <p:nvSpPr>
                <p:cNvPr id="2000" name="Freeform: Shape 1999">
                  <a:extLst>
                    <a:ext uri="{FF2B5EF4-FFF2-40B4-BE49-F238E27FC236}">
                      <a16:creationId xmlns:a16="http://schemas.microsoft.com/office/drawing/2014/main" id="{EE313C30-9EB4-78D8-5076-9B318CC3EF2B}"/>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1" name="Freeform: Shape 2000">
                  <a:extLst>
                    <a:ext uri="{FF2B5EF4-FFF2-40B4-BE49-F238E27FC236}">
                      <a16:creationId xmlns:a16="http://schemas.microsoft.com/office/drawing/2014/main" id="{7B66A687-A42D-F1F6-E17C-3EB69751D2D3}"/>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2" name="Graphic 790">
                <a:extLst>
                  <a:ext uri="{FF2B5EF4-FFF2-40B4-BE49-F238E27FC236}">
                    <a16:creationId xmlns:a16="http://schemas.microsoft.com/office/drawing/2014/main" id="{4AE2057B-FFBB-B16C-4DE0-286B27333F20}"/>
                  </a:ext>
                </a:extLst>
              </p:cNvPr>
              <p:cNvGrpSpPr/>
              <p:nvPr/>
            </p:nvGrpSpPr>
            <p:grpSpPr>
              <a:xfrm>
                <a:off x="6457092" y="3598449"/>
                <a:ext cx="75628" cy="75723"/>
                <a:chOff x="6457092" y="3598449"/>
                <a:chExt cx="75628" cy="75723"/>
              </a:xfrm>
            </p:grpSpPr>
            <p:sp>
              <p:nvSpPr>
                <p:cNvPr id="1998" name="Freeform: Shape 1997">
                  <a:extLst>
                    <a:ext uri="{FF2B5EF4-FFF2-40B4-BE49-F238E27FC236}">
                      <a16:creationId xmlns:a16="http://schemas.microsoft.com/office/drawing/2014/main" id="{8B5CEC54-ACA2-396F-EDC0-775B13A1435A}"/>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9" name="Freeform: Shape 1998">
                  <a:extLst>
                    <a:ext uri="{FF2B5EF4-FFF2-40B4-BE49-F238E27FC236}">
                      <a16:creationId xmlns:a16="http://schemas.microsoft.com/office/drawing/2014/main" id="{1B0B64E7-352C-76C9-49E1-F22EC5210E86}"/>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3" name="Graphic 790">
                <a:extLst>
                  <a:ext uri="{FF2B5EF4-FFF2-40B4-BE49-F238E27FC236}">
                    <a16:creationId xmlns:a16="http://schemas.microsoft.com/office/drawing/2014/main" id="{04602E19-964B-0314-25E9-7EBB64A6D553}"/>
                  </a:ext>
                </a:extLst>
              </p:cNvPr>
              <p:cNvGrpSpPr/>
              <p:nvPr/>
            </p:nvGrpSpPr>
            <p:grpSpPr>
              <a:xfrm>
                <a:off x="6445567" y="3598449"/>
                <a:ext cx="75723" cy="75723"/>
                <a:chOff x="6445567" y="3598449"/>
                <a:chExt cx="75723" cy="75723"/>
              </a:xfrm>
            </p:grpSpPr>
            <p:sp>
              <p:nvSpPr>
                <p:cNvPr id="1996" name="Freeform: Shape 1995">
                  <a:extLst>
                    <a:ext uri="{FF2B5EF4-FFF2-40B4-BE49-F238E27FC236}">
                      <a16:creationId xmlns:a16="http://schemas.microsoft.com/office/drawing/2014/main" id="{1F68C252-A630-4E46-54F5-DD4222041313}"/>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7" name="Freeform: Shape 1996">
                  <a:extLst>
                    <a:ext uri="{FF2B5EF4-FFF2-40B4-BE49-F238E27FC236}">
                      <a16:creationId xmlns:a16="http://schemas.microsoft.com/office/drawing/2014/main" id="{67F75118-C65B-642B-7940-93AB00D5059D}"/>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4" name="Graphic 790">
                <a:extLst>
                  <a:ext uri="{FF2B5EF4-FFF2-40B4-BE49-F238E27FC236}">
                    <a16:creationId xmlns:a16="http://schemas.microsoft.com/office/drawing/2014/main" id="{802F568B-ECCC-91E3-A4D3-261D20C17E53}"/>
                  </a:ext>
                </a:extLst>
              </p:cNvPr>
              <p:cNvGrpSpPr/>
              <p:nvPr/>
            </p:nvGrpSpPr>
            <p:grpSpPr>
              <a:xfrm>
                <a:off x="6434137" y="3598449"/>
                <a:ext cx="75723" cy="75723"/>
                <a:chOff x="6434137" y="3598449"/>
                <a:chExt cx="75723" cy="75723"/>
              </a:xfrm>
            </p:grpSpPr>
            <p:sp>
              <p:nvSpPr>
                <p:cNvPr id="1994" name="Freeform: Shape 1993">
                  <a:extLst>
                    <a:ext uri="{FF2B5EF4-FFF2-40B4-BE49-F238E27FC236}">
                      <a16:creationId xmlns:a16="http://schemas.microsoft.com/office/drawing/2014/main" id="{5F7D5BE1-6CF8-B898-8019-9AE2A21DF09B}"/>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5" name="Freeform: Shape 1994">
                  <a:extLst>
                    <a:ext uri="{FF2B5EF4-FFF2-40B4-BE49-F238E27FC236}">
                      <a16:creationId xmlns:a16="http://schemas.microsoft.com/office/drawing/2014/main" id="{29310CC0-E8E9-A66F-DC44-230F84866C4A}"/>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5" name="Graphic 790">
                <a:extLst>
                  <a:ext uri="{FF2B5EF4-FFF2-40B4-BE49-F238E27FC236}">
                    <a16:creationId xmlns:a16="http://schemas.microsoft.com/office/drawing/2014/main" id="{66BE3F4A-167C-AE0D-A79D-7D7B91E67B01}"/>
                  </a:ext>
                </a:extLst>
              </p:cNvPr>
              <p:cNvGrpSpPr/>
              <p:nvPr/>
            </p:nvGrpSpPr>
            <p:grpSpPr>
              <a:xfrm>
                <a:off x="6422707" y="3598449"/>
                <a:ext cx="75723" cy="75723"/>
                <a:chOff x="6422707" y="3598449"/>
                <a:chExt cx="75723" cy="75723"/>
              </a:xfrm>
            </p:grpSpPr>
            <p:sp>
              <p:nvSpPr>
                <p:cNvPr id="1992" name="Freeform: Shape 1991">
                  <a:extLst>
                    <a:ext uri="{FF2B5EF4-FFF2-40B4-BE49-F238E27FC236}">
                      <a16:creationId xmlns:a16="http://schemas.microsoft.com/office/drawing/2014/main" id="{BFF0C464-C1B9-63A6-EC98-EACEC0999AB1}"/>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3" name="Freeform: Shape 1992">
                  <a:extLst>
                    <a:ext uri="{FF2B5EF4-FFF2-40B4-BE49-F238E27FC236}">
                      <a16:creationId xmlns:a16="http://schemas.microsoft.com/office/drawing/2014/main" id="{20D5493B-EB0A-DA28-1B52-267486553960}"/>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6" name="Graphic 790">
                <a:extLst>
                  <a:ext uri="{FF2B5EF4-FFF2-40B4-BE49-F238E27FC236}">
                    <a16:creationId xmlns:a16="http://schemas.microsoft.com/office/drawing/2014/main" id="{23225778-1FFE-43E4-EC52-9A9CD6AE4888}"/>
                  </a:ext>
                </a:extLst>
              </p:cNvPr>
              <p:cNvGrpSpPr/>
              <p:nvPr/>
            </p:nvGrpSpPr>
            <p:grpSpPr>
              <a:xfrm>
                <a:off x="6411277" y="3598449"/>
                <a:ext cx="75723" cy="75723"/>
                <a:chOff x="6411277" y="3598449"/>
                <a:chExt cx="75723" cy="75723"/>
              </a:xfrm>
            </p:grpSpPr>
            <p:sp>
              <p:nvSpPr>
                <p:cNvPr id="1990" name="Freeform: Shape 1989">
                  <a:extLst>
                    <a:ext uri="{FF2B5EF4-FFF2-40B4-BE49-F238E27FC236}">
                      <a16:creationId xmlns:a16="http://schemas.microsoft.com/office/drawing/2014/main" id="{B37B5E97-C45D-3D5D-191D-48B223476325}"/>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1" name="Freeform: Shape 1990">
                  <a:extLst>
                    <a:ext uri="{FF2B5EF4-FFF2-40B4-BE49-F238E27FC236}">
                      <a16:creationId xmlns:a16="http://schemas.microsoft.com/office/drawing/2014/main" id="{F86A8BC4-C7B8-1368-C683-2E464C9AC69F}"/>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7" name="Graphic 790">
                <a:extLst>
                  <a:ext uri="{FF2B5EF4-FFF2-40B4-BE49-F238E27FC236}">
                    <a16:creationId xmlns:a16="http://schemas.microsoft.com/office/drawing/2014/main" id="{98A0F5E9-91DA-E965-9E60-57A542E1D041}"/>
                  </a:ext>
                </a:extLst>
              </p:cNvPr>
              <p:cNvGrpSpPr/>
              <p:nvPr/>
            </p:nvGrpSpPr>
            <p:grpSpPr>
              <a:xfrm>
                <a:off x="6502717" y="3639883"/>
                <a:ext cx="75723" cy="75723"/>
                <a:chOff x="6502717" y="3639883"/>
                <a:chExt cx="75723" cy="75723"/>
              </a:xfrm>
            </p:grpSpPr>
            <p:sp>
              <p:nvSpPr>
                <p:cNvPr id="1988" name="Freeform: Shape 1987">
                  <a:extLst>
                    <a:ext uri="{FF2B5EF4-FFF2-40B4-BE49-F238E27FC236}">
                      <a16:creationId xmlns:a16="http://schemas.microsoft.com/office/drawing/2014/main" id="{3A37657E-6FD5-D25F-9221-6DB108BC4339}"/>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9" name="Freeform: Shape 1988">
                  <a:extLst>
                    <a:ext uri="{FF2B5EF4-FFF2-40B4-BE49-F238E27FC236}">
                      <a16:creationId xmlns:a16="http://schemas.microsoft.com/office/drawing/2014/main" id="{2377176A-7A02-56BC-0F63-D99CBA71F1C0}"/>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8" name="Graphic 790">
                <a:extLst>
                  <a:ext uri="{FF2B5EF4-FFF2-40B4-BE49-F238E27FC236}">
                    <a16:creationId xmlns:a16="http://schemas.microsoft.com/office/drawing/2014/main" id="{039C7C4F-4039-7D79-5ADA-D03A4A846AF4}"/>
                  </a:ext>
                </a:extLst>
              </p:cNvPr>
              <p:cNvGrpSpPr/>
              <p:nvPr/>
            </p:nvGrpSpPr>
            <p:grpSpPr>
              <a:xfrm>
                <a:off x="6916483" y="3652646"/>
                <a:ext cx="75723" cy="75723"/>
                <a:chOff x="6916483" y="3652646"/>
                <a:chExt cx="75723" cy="75723"/>
              </a:xfrm>
            </p:grpSpPr>
            <p:sp>
              <p:nvSpPr>
                <p:cNvPr id="1986" name="Freeform: Shape 1985">
                  <a:extLst>
                    <a:ext uri="{FF2B5EF4-FFF2-40B4-BE49-F238E27FC236}">
                      <a16:creationId xmlns:a16="http://schemas.microsoft.com/office/drawing/2014/main" id="{DAE7791E-3628-EF50-F63D-B38A16160B87}"/>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7" name="Freeform: Shape 1986">
                  <a:extLst>
                    <a:ext uri="{FF2B5EF4-FFF2-40B4-BE49-F238E27FC236}">
                      <a16:creationId xmlns:a16="http://schemas.microsoft.com/office/drawing/2014/main" id="{EA4070D9-777B-9D6C-E0D6-3D2CD108E312}"/>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9" name="Graphic 790">
                <a:extLst>
                  <a:ext uri="{FF2B5EF4-FFF2-40B4-BE49-F238E27FC236}">
                    <a16:creationId xmlns:a16="http://schemas.microsoft.com/office/drawing/2014/main" id="{E7257D3B-F7A3-E987-C848-81ABC2E9BB7F}"/>
                  </a:ext>
                </a:extLst>
              </p:cNvPr>
              <p:cNvGrpSpPr/>
              <p:nvPr/>
            </p:nvGrpSpPr>
            <p:grpSpPr>
              <a:xfrm>
                <a:off x="6900862" y="3652646"/>
                <a:ext cx="75628" cy="75723"/>
                <a:chOff x="6900862" y="3652646"/>
                <a:chExt cx="75628" cy="75723"/>
              </a:xfrm>
            </p:grpSpPr>
            <p:sp>
              <p:nvSpPr>
                <p:cNvPr id="1984" name="Freeform: Shape 1983">
                  <a:extLst>
                    <a:ext uri="{FF2B5EF4-FFF2-40B4-BE49-F238E27FC236}">
                      <a16:creationId xmlns:a16="http://schemas.microsoft.com/office/drawing/2014/main" id="{6BD06BDD-0B83-4E43-22E0-8FB31ADB438E}"/>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5" name="Freeform: Shape 1984">
                  <a:extLst>
                    <a:ext uri="{FF2B5EF4-FFF2-40B4-BE49-F238E27FC236}">
                      <a16:creationId xmlns:a16="http://schemas.microsoft.com/office/drawing/2014/main" id="{F998A61A-E315-8F0E-220B-1632BE65D28D}"/>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0" name="Graphic 790">
                <a:extLst>
                  <a:ext uri="{FF2B5EF4-FFF2-40B4-BE49-F238E27FC236}">
                    <a16:creationId xmlns:a16="http://schemas.microsoft.com/office/drawing/2014/main" id="{FAAE2B3B-AC40-9D1A-08C5-07D0513722F6}"/>
                  </a:ext>
                </a:extLst>
              </p:cNvPr>
              <p:cNvGrpSpPr/>
              <p:nvPr/>
            </p:nvGrpSpPr>
            <p:grpSpPr>
              <a:xfrm>
                <a:off x="6885145" y="3652646"/>
                <a:ext cx="75723" cy="75723"/>
                <a:chOff x="6885145" y="3652646"/>
                <a:chExt cx="75723" cy="75723"/>
              </a:xfrm>
            </p:grpSpPr>
            <p:sp>
              <p:nvSpPr>
                <p:cNvPr id="1982" name="Freeform: Shape 1981">
                  <a:extLst>
                    <a:ext uri="{FF2B5EF4-FFF2-40B4-BE49-F238E27FC236}">
                      <a16:creationId xmlns:a16="http://schemas.microsoft.com/office/drawing/2014/main" id="{10C3D69F-8B40-D613-D34F-AF4CDE92DDA8}"/>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3" name="Freeform: Shape 1982">
                  <a:extLst>
                    <a:ext uri="{FF2B5EF4-FFF2-40B4-BE49-F238E27FC236}">
                      <a16:creationId xmlns:a16="http://schemas.microsoft.com/office/drawing/2014/main" id="{B953DA35-7DC0-914D-A30E-036135B629CE}"/>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1" name="Graphic 790">
                <a:extLst>
                  <a:ext uri="{FF2B5EF4-FFF2-40B4-BE49-F238E27FC236}">
                    <a16:creationId xmlns:a16="http://schemas.microsoft.com/office/drawing/2014/main" id="{97F5CB6E-1520-C910-CF52-CF6ADE42CD67}"/>
                  </a:ext>
                </a:extLst>
              </p:cNvPr>
              <p:cNvGrpSpPr/>
              <p:nvPr/>
            </p:nvGrpSpPr>
            <p:grpSpPr>
              <a:xfrm>
                <a:off x="6869429" y="3652646"/>
                <a:ext cx="75723" cy="75723"/>
                <a:chOff x="6869429" y="3652646"/>
                <a:chExt cx="75723" cy="75723"/>
              </a:xfrm>
            </p:grpSpPr>
            <p:sp>
              <p:nvSpPr>
                <p:cNvPr id="1980" name="Freeform: Shape 1979">
                  <a:extLst>
                    <a:ext uri="{FF2B5EF4-FFF2-40B4-BE49-F238E27FC236}">
                      <a16:creationId xmlns:a16="http://schemas.microsoft.com/office/drawing/2014/main" id="{CED52EFF-8A55-2C21-BEA8-BEEA339CD517}"/>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1" name="Freeform: Shape 1980">
                  <a:extLst>
                    <a:ext uri="{FF2B5EF4-FFF2-40B4-BE49-F238E27FC236}">
                      <a16:creationId xmlns:a16="http://schemas.microsoft.com/office/drawing/2014/main" id="{7D44BE00-6FF9-3BEC-2837-421D4EAF4B23}"/>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2" name="Graphic 790">
                <a:extLst>
                  <a:ext uri="{FF2B5EF4-FFF2-40B4-BE49-F238E27FC236}">
                    <a16:creationId xmlns:a16="http://schemas.microsoft.com/office/drawing/2014/main" id="{C76B273E-E4E6-55E3-0415-81CFE83F6CDD}"/>
                  </a:ext>
                </a:extLst>
              </p:cNvPr>
              <p:cNvGrpSpPr/>
              <p:nvPr/>
            </p:nvGrpSpPr>
            <p:grpSpPr>
              <a:xfrm>
                <a:off x="6853808" y="3652646"/>
                <a:ext cx="75628" cy="75723"/>
                <a:chOff x="6853808" y="3652646"/>
                <a:chExt cx="75628" cy="75723"/>
              </a:xfrm>
            </p:grpSpPr>
            <p:sp>
              <p:nvSpPr>
                <p:cNvPr id="1978" name="Freeform: Shape 1977">
                  <a:extLst>
                    <a:ext uri="{FF2B5EF4-FFF2-40B4-BE49-F238E27FC236}">
                      <a16:creationId xmlns:a16="http://schemas.microsoft.com/office/drawing/2014/main" id="{ED567DD3-E6AE-B83C-B2BB-558D99C2AA71}"/>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9" name="Freeform: Shape 1978">
                  <a:extLst>
                    <a:ext uri="{FF2B5EF4-FFF2-40B4-BE49-F238E27FC236}">
                      <a16:creationId xmlns:a16="http://schemas.microsoft.com/office/drawing/2014/main" id="{A9A4CF3C-8C35-81DB-2118-F543EFB94FDA}"/>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3" name="Graphic 790">
                <a:extLst>
                  <a:ext uri="{FF2B5EF4-FFF2-40B4-BE49-F238E27FC236}">
                    <a16:creationId xmlns:a16="http://schemas.microsoft.com/office/drawing/2014/main" id="{5B5C4773-99DE-9532-5558-7747774B6C97}"/>
                  </a:ext>
                </a:extLst>
              </p:cNvPr>
              <p:cNvGrpSpPr/>
              <p:nvPr/>
            </p:nvGrpSpPr>
            <p:grpSpPr>
              <a:xfrm>
                <a:off x="6923626" y="3677030"/>
                <a:ext cx="75723" cy="75628"/>
                <a:chOff x="6923626" y="3677030"/>
                <a:chExt cx="75723" cy="75628"/>
              </a:xfrm>
            </p:grpSpPr>
            <p:sp>
              <p:nvSpPr>
                <p:cNvPr id="1976" name="Freeform: Shape 1975">
                  <a:extLst>
                    <a:ext uri="{FF2B5EF4-FFF2-40B4-BE49-F238E27FC236}">
                      <a16:creationId xmlns:a16="http://schemas.microsoft.com/office/drawing/2014/main" id="{C8C7500D-E7F9-87C7-A9F2-A8B4B354ED2D}"/>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7" name="Freeform: Shape 1976">
                  <a:extLst>
                    <a:ext uri="{FF2B5EF4-FFF2-40B4-BE49-F238E27FC236}">
                      <a16:creationId xmlns:a16="http://schemas.microsoft.com/office/drawing/2014/main" id="{9448B543-3FA8-B1FE-08B4-F81C0EA9FAB8}"/>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4" name="Graphic 790">
                <a:extLst>
                  <a:ext uri="{FF2B5EF4-FFF2-40B4-BE49-F238E27FC236}">
                    <a16:creationId xmlns:a16="http://schemas.microsoft.com/office/drawing/2014/main" id="{F146991C-1528-921C-87BB-7F3DC47F5AB5}"/>
                  </a:ext>
                </a:extLst>
              </p:cNvPr>
              <p:cNvGrpSpPr/>
              <p:nvPr/>
            </p:nvGrpSpPr>
            <p:grpSpPr>
              <a:xfrm>
                <a:off x="6908482" y="3677030"/>
                <a:ext cx="75723" cy="75628"/>
                <a:chOff x="6908482" y="3677030"/>
                <a:chExt cx="75723" cy="75628"/>
              </a:xfrm>
            </p:grpSpPr>
            <p:sp>
              <p:nvSpPr>
                <p:cNvPr id="1974" name="Freeform: Shape 1973">
                  <a:extLst>
                    <a:ext uri="{FF2B5EF4-FFF2-40B4-BE49-F238E27FC236}">
                      <a16:creationId xmlns:a16="http://schemas.microsoft.com/office/drawing/2014/main" id="{DD98AADF-33DE-9B0C-1FA5-00BB4C09FB20}"/>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5" name="Freeform: Shape 1974">
                  <a:extLst>
                    <a:ext uri="{FF2B5EF4-FFF2-40B4-BE49-F238E27FC236}">
                      <a16:creationId xmlns:a16="http://schemas.microsoft.com/office/drawing/2014/main" id="{28BCA822-929A-5605-A318-4CECEB02ABFB}"/>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5" name="Graphic 790">
                <a:extLst>
                  <a:ext uri="{FF2B5EF4-FFF2-40B4-BE49-F238E27FC236}">
                    <a16:creationId xmlns:a16="http://schemas.microsoft.com/office/drawing/2014/main" id="{2C88F46E-4789-FE3B-723E-445C2F369F9C}"/>
                  </a:ext>
                </a:extLst>
              </p:cNvPr>
              <p:cNvGrpSpPr/>
              <p:nvPr/>
            </p:nvGrpSpPr>
            <p:grpSpPr>
              <a:xfrm>
                <a:off x="7307960" y="3719226"/>
                <a:ext cx="75628" cy="75723"/>
                <a:chOff x="7307960" y="3719226"/>
                <a:chExt cx="75628" cy="75723"/>
              </a:xfrm>
            </p:grpSpPr>
            <p:sp>
              <p:nvSpPr>
                <p:cNvPr id="1972" name="Freeform: Shape 1971">
                  <a:extLst>
                    <a:ext uri="{FF2B5EF4-FFF2-40B4-BE49-F238E27FC236}">
                      <a16:creationId xmlns:a16="http://schemas.microsoft.com/office/drawing/2014/main" id="{FF9266BC-30AF-7C10-997D-2356A1AFF9DD}"/>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3" name="Freeform: Shape 1972">
                  <a:extLst>
                    <a:ext uri="{FF2B5EF4-FFF2-40B4-BE49-F238E27FC236}">
                      <a16:creationId xmlns:a16="http://schemas.microsoft.com/office/drawing/2014/main" id="{FD419A0D-D72F-A04F-3E80-C8BA7C00742E}"/>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6" name="Graphic 790">
                <a:extLst>
                  <a:ext uri="{FF2B5EF4-FFF2-40B4-BE49-F238E27FC236}">
                    <a16:creationId xmlns:a16="http://schemas.microsoft.com/office/drawing/2014/main" id="{162846D2-7E47-40EB-49B2-0709B19C6DCC}"/>
                  </a:ext>
                </a:extLst>
              </p:cNvPr>
              <p:cNvGrpSpPr/>
              <p:nvPr/>
            </p:nvGrpSpPr>
            <p:grpSpPr>
              <a:xfrm>
                <a:off x="7302150" y="3719226"/>
                <a:ext cx="75723" cy="75723"/>
                <a:chOff x="7302150" y="3719226"/>
                <a:chExt cx="75723" cy="75723"/>
              </a:xfrm>
            </p:grpSpPr>
            <p:sp>
              <p:nvSpPr>
                <p:cNvPr id="1970" name="Freeform: Shape 1969">
                  <a:extLst>
                    <a:ext uri="{FF2B5EF4-FFF2-40B4-BE49-F238E27FC236}">
                      <a16:creationId xmlns:a16="http://schemas.microsoft.com/office/drawing/2014/main" id="{B81FAF02-94A6-0E76-38E2-C85A12D3D308}"/>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1" name="Freeform: Shape 1970">
                  <a:extLst>
                    <a:ext uri="{FF2B5EF4-FFF2-40B4-BE49-F238E27FC236}">
                      <a16:creationId xmlns:a16="http://schemas.microsoft.com/office/drawing/2014/main" id="{4C7C954E-FAD7-C234-D27E-F6E3F3287577}"/>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7" name="Graphic 790">
                <a:extLst>
                  <a:ext uri="{FF2B5EF4-FFF2-40B4-BE49-F238E27FC236}">
                    <a16:creationId xmlns:a16="http://schemas.microsoft.com/office/drawing/2014/main" id="{3386EDFA-BFCC-5FE5-19A0-57900FEEDCD2}"/>
                  </a:ext>
                </a:extLst>
              </p:cNvPr>
              <p:cNvGrpSpPr/>
              <p:nvPr/>
            </p:nvGrpSpPr>
            <p:grpSpPr>
              <a:xfrm>
                <a:off x="7318819" y="3763898"/>
                <a:ext cx="75723" cy="75723"/>
                <a:chOff x="7318819" y="3763898"/>
                <a:chExt cx="75723" cy="75723"/>
              </a:xfrm>
            </p:grpSpPr>
            <p:sp>
              <p:nvSpPr>
                <p:cNvPr id="1968" name="Freeform: Shape 1967">
                  <a:extLst>
                    <a:ext uri="{FF2B5EF4-FFF2-40B4-BE49-F238E27FC236}">
                      <a16:creationId xmlns:a16="http://schemas.microsoft.com/office/drawing/2014/main" id="{DDE9F3C5-C11E-3289-58C8-98D6AD8444E6}"/>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9" name="Freeform: Shape 1968">
                  <a:extLst>
                    <a:ext uri="{FF2B5EF4-FFF2-40B4-BE49-F238E27FC236}">
                      <a16:creationId xmlns:a16="http://schemas.microsoft.com/office/drawing/2014/main" id="{C0563DEF-F244-AC20-1D39-0DCAF573F02E}"/>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8" name="Graphic 790">
                <a:extLst>
                  <a:ext uri="{FF2B5EF4-FFF2-40B4-BE49-F238E27FC236}">
                    <a16:creationId xmlns:a16="http://schemas.microsoft.com/office/drawing/2014/main" id="{DFE93F3D-F2BF-F624-89F3-60B94E8E6588}"/>
                  </a:ext>
                </a:extLst>
              </p:cNvPr>
              <p:cNvGrpSpPr/>
              <p:nvPr/>
            </p:nvGrpSpPr>
            <p:grpSpPr>
              <a:xfrm>
                <a:off x="7329391" y="3772661"/>
                <a:ext cx="75723" cy="75628"/>
                <a:chOff x="7329391" y="3772661"/>
                <a:chExt cx="75723" cy="75628"/>
              </a:xfrm>
            </p:grpSpPr>
            <p:sp>
              <p:nvSpPr>
                <p:cNvPr id="1966" name="Freeform: Shape 1965">
                  <a:extLst>
                    <a:ext uri="{FF2B5EF4-FFF2-40B4-BE49-F238E27FC236}">
                      <a16:creationId xmlns:a16="http://schemas.microsoft.com/office/drawing/2014/main" id="{5E3D3640-B250-3953-BE18-393E7F4622C2}"/>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7" name="Freeform: Shape 1966">
                  <a:extLst>
                    <a:ext uri="{FF2B5EF4-FFF2-40B4-BE49-F238E27FC236}">
                      <a16:creationId xmlns:a16="http://schemas.microsoft.com/office/drawing/2014/main" id="{79C43A90-A19D-B9BC-65CA-3F0E43B636B1}"/>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09" name="Graphic 790">
                <a:extLst>
                  <a:ext uri="{FF2B5EF4-FFF2-40B4-BE49-F238E27FC236}">
                    <a16:creationId xmlns:a16="http://schemas.microsoft.com/office/drawing/2014/main" id="{E5298DBC-916F-7A2E-1CDE-145493CC6AED}"/>
                  </a:ext>
                </a:extLst>
              </p:cNvPr>
              <p:cNvGrpSpPr/>
              <p:nvPr/>
            </p:nvGrpSpPr>
            <p:grpSpPr>
              <a:xfrm>
                <a:off x="7377874" y="3772661"/>
                <a:ext cx="75723" cy="75628"/>
                <a:chOff x="7377874" y="3772661"/>
                <a:chExt cx="75723" cy="75628"/>
              </a:xfrm>
            </p:grpSpPr>
            <p:sp>
              <p:nvSpPr>
                <p:cNvPr id="1964" name="Freeform: Shape 1963">
                  <a:extLst>
                    <a:ext uri="{FF2B5EF4-FFF2-40B4-BE49-F238E27FC236}">
                      <a16:creationId xmlns:a16="http://schemas.microsoft.com/office/drawing/2014/main" id="{5AE44EEF-219B-E48B-CDDD-78F605E33719}"/>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5" name="Freeform: Shape 1964">
                  <a:extLst>
                    <a:ext uri="{FF2B5EF4-FFF2-40B4-BE49-F238E27FC236}">
                      <a16:creationId xmlns:a16="http://schemas.microsoft.com/office/drawing/2014/main" id="{8AD4BF10-346A-0EA8-A11D-F5E8FDA64F79}"/>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0" name="Graphic 790">
                <a:extLst>
                  <a:ext uri="{FF2B5EF4-FFF2-40B4-BE49-F238E27FC236}">
                    <a16:creationId xmlns:a16="http://schemas.microsoft.com/office/drawing/2014/main" id="{DA74F5D3-2BF4-250B-7CE1-2B5F6BA6DD14}"/>
                  </a:ext>
                </a:extLst>
              </p:cNvPr>
              <p:cNvGrpSpPr/>
              <p:nvPr/>
            </p:nvGrpSpPr>
            <p:grpSpPr>
              <a:xfrm>
                <a:off x="7350061" y="3772661"/>
                <a:ext cx="75628" cy="75628"/>
                <a:chOff x="7350061" y="3772661"/>
                <a:chExt cx="75628" cy="75628"/>
              </a:xfrm>
            </p:grpSpPr>
            <p:sp>
              <p:nvSpPr>
                <p:cNvPr id="1962" name="Freeform: Shape 1961">
                  <a:extLst>
                    <a:ext uri="{FF2B5EF4-FFF2-40B4-BE49-F238E27FC236}">
                      <a16:creationId xmlns:a16="http://schemas.microsoft.com/office/drawing/2014/main" id="{9CD87A9A-F8E1-E8BB-C0A4-A5C3EA94A58C}"/>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3" name="Freeform: Shape 1962">
                  <a:extLst>
                    <a:ext uri="{FF2B5EF4-FFF2-40B4-BE49-F238E27FC236}">
                      <a16:creationId xmlns:a16="http://schemas.microsoft.com/office/drawing/2014/main" id="{FA63B7E4-51FA-711B-EB64-5A7E6966A474}"/>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1" name="Graphic 790">
                <a:extLst>
                  <a:ext uri="{FF2B5EF4-FFF2-40B4-BE49-F238E27FC236}">
                    <a16:creationId xmlns:a16="http://schemas.microsoft.com/office/drawing/2014/main" id="{0928F3C9-4AF4-9AEA-B5F3-83AB48053657}"/>
                  </a:ext>
                </a:extLst>
              </p:cNvPr>
              <p:cNvGrpSpPr/>
              <p:nvPr/>
            </p:nvGrpSpPr>
            <p:grpSpPr>
              <a:xfrm>
                <a:off x="7285481" y="3719226"/>
                <a:ext cx="75723" cy="75723"/>
                <a:chOff x="7285481" y="3719226"/>
                <a:chExt cx="75723" cy="75723"/>
              </a:xfrm>
            </p:grpSpPr>
            <p:sp>
              <p:nvSpPr>
                <p:cNvPr id="1960" name="Freeform: Shape 1959">
                  <a:extLst>
                    <a:ext uri="{FF2B5EF4-FFF2-40B4-BE49-F238E27FC236}">
                      <a16:creationId xmlns:a16="http://schemas.microsoft.com/office/drawing/2014/main" id="{708481CE-61AC-D6AB-A871-FFA7D44C7685}"/>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1" name="Freeform: Shape 1960">
                  <a:extLst>
                    <a:ext uri="{FF2B5EF4-FFF2-40B4-BE49-F238E27FC236}">
                      <a16:creationId xmlns:a16="http://schemas.microsoft.com/office/drawing/2014/main" id="{B546770A-B16A-7099-BF60-53B9EBB3AAE9}"/>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2" name="Graphic 790">
                <a:extLst>
                  <a:ext uri="{FF2B5EF4-FFF2-40B4-BE49-F238E27FC236}">
                    <a16:creationId xmlns:a16="http://schemas.microsoft.com/office/drawing/2014/main" id="{5EF32E71-D2E0-5EBC-C2F6-AF3EA299BB01}"/>
                  </a:ext>
                </a:extLst>
              </p:cNvPr>
              <p:cNvGrpSpPr/>
              <p:nvPr/>
            </p:nvGrpSpPr>
            <p:grpSpPr>
              <a:xfrm>
                <a:off x="7730870" y="3838193"/>
                <a:ext cx="75723" cy="75628"/>
                <a:chOff x="7730870" y="3838193"/>
                <a:chExt cx="75723" cy="75628"/>
              </a:xfrm>
            </p:grpSpPr>
            <p:sp>
              <p:nvSpPr>
                <p:cNvPr id="1958" name="Freeform: Shape 1957">
                  <a:extLst>
                    <a:ext uri="{FF2B5EF4-FFF2-40B4-BE49-F238E27FC236}">
                      <a16:creationId xmlns:a16="http://schemas.microsoft.com/office/drawing/2014/main" id="{4C1AAD80-7209-FCBD-C775-304450BC5053}"/>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9" name="Freeform: Shape 1958">
                  <a:extLst>
                    <a:ext uri="{FF2B5EF4-FFF2-40B4-BE49-F238E27FC236}">
                      <a16:creationId xmlns:a16="http://schemas.microsoft.com/office/drawing/2014/main" id="{C1EDB742-13EA-997F-543D-3EF7F10AE07B}"/>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3" name="Graphic 790">
                <a:extLst>
                  <a:ext uri="{FF2B5EF4-FFF2-40B4-BE49-F238E27FC236}">
                    <a16:creationId xmlns:a16="http://schemas.microsoft.com/office/drawing/2014/main" id="{81F423C6-FF05-E012-F227-D6D75C95540A}"/>
                  </a:ext>
                </a:extLst>
              </p:cNvPr>
              <p:cNvGrpSpPr/>
              <p:nvPr/>
            </p:nvGrpSpPr>
            <p:grpSpPr>
              <a:xfrm>
                <a:off x="7744015" y="3838193"/>
                <a:ext cx="75723" cy="75628"/>
                <a:chOff x="7744015" y="3838193"/>
                <a:chExt cx="75723" cy="75628"/>
              </a:xfrm>
            </p:grpSpPr>
            <p:sp>
              <p:nvSpPr>
                <p:cNvPr id="1956" name="Freeform: Shape 1955">
                  <a:extLst>
                    <a:ext uri="{FF2B5EF4-FFF2-40B4-BE49-F238E27FC236}">
                      <a16:creationId xmlns:a16="http://schemas.microsoft.com/office/drawing/2014/main" id="{5FEBDCAD-FF89-F5C3-8C94-71506F53F21D}"/>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7" name="Freeform: Shape 1956">
                  <a:extLst>
                    <a:ext uri="{FF2B5EF4-FFF2-40B4-BE49-F238E27FC236}">
                      <a16:creationId xmlns:a16="http://schemas.microsoft.com/office/drawing/2014/main" id="{E1903081-5C3F-717C-239F-0914914438B0}"/>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4" name="Graphic 790">
                <a:extLst>
                  <a:ext uri="{FF2B5EF4-FFF2-40B4-BE49-F238E27FC236}">
                    <a16:creationId xmlns:a16="http://schemas.microsoft.com/office/drawing/2014/main" id="{560229C2-2CD9-771C-2C98-49F961EA7F8E}"/>
                  </a:ext>
                </a:extLst>
              </p:cNvPr>
              <p:cNvGrpSpPr/>
              <p:nvPr/>
            </p:nvGrpSpPr>
            <p:grpSpPr>
              <a:xfrm>
                <a:off x="7836788" y="3873626"/>
                <a:ext cx="75723" cy="75628"/>
                <a:chOff x="7836788" y="3873626"/>
                <a:chExt cx="75723" cy="75628"/>
              </a:xfrm>
            </p:grpSpPr>
            <p:sp>
              <p:nvSpPr>
                <p:cNvPr id="1954" name="Freeform: Shape 1953">
                  <a:extLst>
                    <a:ext uri="{FF2B5EF4-FFF2-40B4-BE49-F238E27FC236}">
                      <a16:creationId xmlns:a16="http://schemas.microsoft.com/office/drawing/2014/main" id="{10FC0E10-8903-EB85-9754-8613D4A210FA}"/>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5" name="Freeform: Shape 1954">
                  <a:extLst>
                    <a:ext uri="{FF2B5EF4-FFF2-40B4-BE49-F238E27FC236}">
                      <a16:creationId xmlns:a16="http://schemas.microsoft.com/office/drawing/2014/main" id="{5D4F4685-B4D0-D050-BA46-43C78FD7725B}"/>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5" name="Graphic 790">
                <a:extLst>
                  <a:ext uri="{FF2B5EF4-FFF2-40B4-BE49-F238E27FC236}">
                    <a16:creationId xmlns:a16="http://schemas.microsoft.com/office/drawing/2014/main" id="{89EC69A7-BB82-8899-7670-600F22CC8D9C}"/>
                  </a:ext>
                </a:extLst>
              </p:cNvPr>
              <p:cNvGrpSpPr/>
              <p:nvPr/>
            </p:nvGrpSpPr>
            <p:grpSpPr>
              <a:xfrm>
                <a:off x="7788401" y="3873626"/>
                <a:ext cx="75628" cy="75628"/>
                <a:chOff x="7788401" y="3873626"/>
                <a:chExt cx="75628" cy="75628"/>
              </a:xfrm>
            </p:grpSpPr>
            <p:sp>
              <p:nvSpPr>
                <p:cNvPr id="1952" name="Freeform: Shape 1951">
                  <a:extLst>
                    <a:ext uri="{FF2B5EF4-FFF2-40B4-BE49-F238E27FC236}">
                      <a16:creationId xmlns:a16="http://schemas.microsoft.com/office/drawing/2014/main" id="{A8634E1E-C25E-9E3A-6327-3C1CA127F618}"/>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3" name="Freeform: Shape 1952">
                  <a:extLst>
                    <a:ext uri="{FF2B5EF4-FFF2-40B4-BE49-F238E27FC236}">
                      <a16:creationId xmlns:a16="http://schemas.microsoft.com/office/drawing/2014/main" id="{038EECDD-8A3F-84C5-F19B-9ED37C17C433}"/>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6" name="Graphic 790">
                <a:extLst>
                  <a:ext uri="{FF2B5EF4-FFF2-40B4-BE49-F238E27FC236}">
                    <a16:creationId xmlns:a16="http://schemas.microsoft.com/office/drawing/2014/main" id="{C72EA8BF-0212-DDC5-9F52-B0584BB34302}"/>
                  </a:ext>
                </a:extLst>
              </p:cNvPr>
              <p:cNvGrpSpPr/>
              <p:nvPr/>
            </p:nvGrpSpPr>
            <p:grpSpPr>
              <a:xfrm>
                <a:off x="7781924" y="3873626"/>
                <a:ext cx="75628" cy="75628"/>
                <a:chOff x="7781924" y="3873626"/>
                <a:chExt cx="75628" cy="75628"/>
              </a:xfrm>
            </p:grpSpPr>
            <p:sp>
              <p:nvSpPr>
                <p:cNvPr id="1950" name="Freeform: Shape 1949">
                  <a:extLst>
                    <a:ext uri="{FF2B5EF4-FFF2-40B4-BE49-F238E27FC236}">
                      <a16:creationId xmlns:a16="http://schemas.microsoft.com/office/drawing/2014/main" id="{07AA400A-E47C-1A07-DA18-AE440ABF9D6E}"/>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1" name="Freeform: Shape 1950">
                  <a:extLst>
                    <a:ext uri="{FF2B5EF4-FFF2-40B4-BE49-F238E27FC236}">
                      <a16:creationId xmlns:a16="http://schemas.microsoft.com/office/drawing/2014/main" id="{AFAE7B0D-8AC3-73EA-6420-FC3CCD7EE8C6}"/>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7" name="Graphic 790">
                <a:extLst>
                  <a:ext uri="{FF2B5EF4-FFF2-40B4-BE49-F238E27FC236}">
                    <a16:creationId xmlns:a16="http://schemas.microsoft.com/office/drawing/2014/main" id="{A3111984-1F0D-1EF2-12C8-996016490103}"/>
                  </a:ext>
                </a:extLst>
              </p:cNvPr>
              <p:cNvGrpSpPr/>
              <p:nvPr/>
            </p:nvGrpSpPr>
            <p:grpSpPr>
              <a:xfrm>
                <a:off x="7769351" y="3873626"/>
                <a:ext cx="75628" cy="75628"/>
                <a:chOff x="7769351" y="3873626"/>
                <a:chExt cx="75628" cy="75628"/>
              </a:xfrm>
            </p:grpSpPr>
            <p:sp>
              <p:nvSpPr>
                <p:cNvPr id="1948" name="Freeform: Shape 1947">
                  <a:extLst>
                    <a:ext uri="{FF2B5EF4-FFF2-40B4-BE49-F238E27FC236}">
                      <a16:creationId xmlns:a16="http://schemas.microsoft.com/office/drawing/2014/main" id="{5847A8EB-8ADA-6473-229D-70FB3BD316F0}"/>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9" name="Freeform: Shape 1948">
                  <a:extLst>
                    <a:ext uri="{FF2B5EF4-FFF2-40B4-BE49-F238E27FC236}">
                      <a16:creationId xmlns:a16="http://schemas.microsoft.com/office/drawing/2014/main" id="{1D724622-FB04-B190-5931-2C6DE026B473}"/>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8" name="Graphic 790">
                <a:extLst>
                  <a:ext uri="{FF2B5EF4-FFF2-40B4-BE49-F238E27FC236}">
                    <a16:creationId xmlns:a16="http://schemas.microsoft.com/office/drawing/2014/main" id="{57E8FBD9-A2B9-0DB3-AB5B-B5E4439F2283}"/>
                  </a:ext>
                </a:extLst>
              </p:cNvPr>
              <p:cNvGrpSpPr/>
              <p:nvPr/>
            </p:nvGrpSpPr>
            <p:grpSpPr>
              <a:xfrm>
                <a:off x="7762874" y="3873626"/>
                <a:ext cx="75628" cy="75628"/>
                <a:chOff x="7762874" y="3873626"/>
                <a:chExt cx="75628" cy="75628"/>
              </a:xfrm>
            </p:grpSpPr>
            <p:sp>
              <p:nvSpPr>
                <p:cNvPr id="1946" name="Freeform: Shape 1945">
                  <a:extLst>
                    <a:ext uri="{FF2B5EF4-FFF2-40B4-BE49-F238E27FC236}">
                      <a16:creationId xmlns:a16="http://schemas.microsoft.com/office/drawing/2014/main" id="{C33F5F90-2814-A17F-953B-8DA1312184F9}"/>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7" name="Freeform: Shape 1946">
                  <a:extLst>
                    <a:ext uri="{FF2B5EF4-FFF2-40B4-BE49-F238E27FC236}">
                      <a16:creationId xmlns:a16="http://schemas.microsoft.com/office/drawing/2014/main" id="{372DA5BA-20F1-5171-F040-E3F56A45999B}"/>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19" name="Graphic 790">
                <a:extLst>
                  <a:ext uri="{FF2B5EF4-FFF2-40B4-BE49-F238E27FC236}">
                    <a16:creationId xmlns:a16="http://schemas.microsoft.com/office/drawing/2014/main" id="{2070898B-3342-0A9D-5DC2-FB726E6B401E}"/>
                  </a:ext>
                </a:extLst>
              </p:cNvPr>
              <p:cNvGrpSpPr/>
              <p:nvPr/>
            </p:nvGrpSpPr>
            <p:grpSpPr>
              <a:xfrm>
                <a:off x="7753730" y="3873626"/>
                <a:ext cx="75723" cy="75628"/>
                <a:chOff x="7753730" y="3873626"/>
                <a:chExt cx="75723" cy="75628"/>
              </a:xfrm>
            </p:grpSpPr>
            <p:sp>
              <p:nvSpPr>
                <p:cNvPr id="1944" name="Freeform: Shape 1943">
                  <a:extLst>
                    <a:ext uri="{FF2B5EF4-FFF2-40B4-BE49-F238E27FC236}">
                      <a16:creationId xmlns:a16="http://schemas.microsoft.com/office/drawing/2014/main" id="{CD4DB471-ED36-8CE5-01E2-FA3B4E371919}"/>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5" name="Freeform: Shape 1944">
                  <a:extLst>
                    <a:ext uri="{FF2B5EF4-FFF2-40B4-BE49-F238E27FC236}">
                      <a16:creationId xmlns:a16="http://schemas.microsoft.com/office/drawing/2014/main" id="{330B8885-75AC-34ED-DA85-686FEA02552D}"/>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0" name="Graphic 790">
                <a:extLst>
                  <a:ext uri="{FF2B5EF4-FFF2-40B4-BE49-F238E27FC236}">
                    <a16:creationId xmlns:a16="http://schemas.microsoft.com/office/drawing/2014/main" id="{4658E8EF-277C-1ACC-14E3-D362FA5581E1}"/>
                  </a:ext>
                </a:extLst>
              </p:cNvPr>
              <p:cNvGrpSpPr/>
              <p:nvPr/>
            </p:nvGrpSpPr>
            <p:grpSpPr>
              <a:xfrm>
                <a:off x="7747253" y="3873626"/>
                <a:ext cx="75723" cy="75628"/>
                <a:chOff x="7747253" y="3873626"/>
                <a:chExt cx="75723" cy="75628"/>
              </a:xfrm>
            </p:grpSpPr>
            <p:sp>
              <p:nvSpPr>
                <p:cNvPr id="1942" name="Freeform: Shape 1941">
                  <a:extLst>
                    <a:ext uri="{FF2B5EF4-FFF2-40B4-BE49-F238E27FC236}">
                      <a16:creationId xmlns:a16="http://schemas.microsoft.com/office/drawing/2014/main" id="{A477457A-846E-90D4-03C4-64F7EF4EE28D}"/>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3" name="Freeform: Shape 1942">
                  <a:extLst>
                    <a:ext uri="{FF2B5EF4-FFF2-40B4-BE49-F238E27FC236}">
                      <a16:creationId xmlns:a16="http://schemas.microsoft.com/office/drawing/2014/main" id="{3C8579FF-6FF8-4AA3-F20D-9099D7583E4E}"/>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1" name="Graphic 790">
                <a:extLst>
                  <a:ext uri="{FF2B5EF4-FFF2-40B4-BE49-F238E27FC236}">
                    <a16:creationId xmlns:a16="http://schemas.microsoft.com/office/drawing/2014/main" id="{57DA7C88-B657-ACE3-4662-392D813045FF}"/>
                  </a:ext>
                </a:extLst>
              </p:cNvPr>
              <p:cNvGrpSpPr/>
              <p:nvPr/>
            </p:nvGrpSpPr>
            <p:grpSpPr>
              <a:xfrm>
                <a:off x="8155590" y="3932491"/>
                <a:ext cx="75723" cy="75628"/>
                <a:chOff x="8155590" y="3932491"/>
                <a:chExt cx="75723" cy="75628"/>
              </a:xfrm>
            </p:grpSpPr>
            <p:sp>
              <p:nvSpPr>
                <p:cNvPr id="1940" name="Freeform: Shape 1939">
                  <a:extLst>
                    <a:ext uri="{FF2B5EF4-FFF2-40B4-BE49-F238E27FC236}">
                      <a16:creationId xmlns:a16="http://schemas.microsoft.com/office/drawing/2014/main" id="{C66B5477-204C-6A84-11A7-31A1E0553D6E}"/>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1" name="Freeform: Shape 1940">
                  <a:extLst>
                    <a:ext uri="{FF2B5EF4-FFF2-40B4-BE49-F238E27FC236}">
                      <a16:creationId xmlns:a16="http://schemas.microsoft.com/office/drawing/2014/main" id="{C77B1258-9B72-13C1-6967-9973DF73FAE3}"/>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2" name="Graphic 790">
                <a:extLst>
                  <a:ext uri="{FF2B5EF4-FFF2-40B4-BE49-F238E27FC236}">
                    <a16:creationId xmlns:a16="http://schemas.microsoft.com/office/drawing/2014/main" id="{718F81E9-509F-BE53-ED40-7DAA3F28C53A}"/>
                  </a:ext>
                </a:extLst>
              </p:cNvPr>
              <p:cNvGrpSpPr/>
              <p:nvPr/>
            </p:nvGrpSpPr>
            <p:grpSpPr>
              <a:xfrm>
                <a:off x="8236743" y="3932491"/>
                <a:ext cx="75723" cy="75628"/>
                <a:chOff x="8236743" y="3932491"/>
                <a:chExt cx="75723" cy="75628"/>
              </a:xfrm>
            </p:grpSpPr>
            <p:sp>
              <p:nvSpPr>
                <p:cNvPr id="1938" name="Freeform: Shape 1937">
                  <a:extLst>
                    <a:ext uri="{FF2B5EF4-FFF2-40B4-BE49-F238E27FC236}">
                      <a16:creationId xmlns:a16="http://schemas.microsoft.com/office/drawing/2014/main" id="{2E353A8A-0F09-82F2-FC1B-C0C2505BB2E5}"/>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9" name="Freeform: Shape 1938">
                  <a:extLst>
                    <a:ext uri="{FF2B5EF4-FFF2-40B4-BE49-F238E27FC236}">
                      <a16:creationId xmlns:a16="http://schemas.microsoft.com/office/drawing/2014/main" id="{39B172BD-63BC-7322-3CE2-320E6381808D}"/>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3" name="Graphic 790">
                <a:extLst>
                  <a:ext uri="{FF2B5EF4-FFF2-40B4-BE49-F238E27FC236}">
                    <a16:creationId xmlns:a16="http://schemas.microsoft.com/office/drawing/2014/main" id="{00BDE402-86E5-B8D0-7514-13156A08FA47}"/>
                  </a:ext>
                </a:extLst>
              </p:cNvPr>
              <p:cNvGrpSpPr/>
              <p:nvPr/>
            </p:nvGrpSpPr>
            <p:grpSpPr>
              <a:xfrm>
                <a:off x="8224837" y="3932491"/>
                <a:ext cx="75628" cy="75628"/>
                <a:chOff x="8224837" y="3932491"/>
                <a:chExt cx="75628" cy="75628"/>
              </a:xfrm>
            </p:grpSpPr>
            <p:sp>
              <p:nvSpPr>
                <p:cNvPr id="1936" name="Freeform: Shape 1935">
                  <a:extLst>
                    <a:ext uri="{FF2B5EF4-FFF2-40B4-BE49-F238E27FC236}">
                      <a16:creationId xmlns:a16="http://schemas.microsoft.com/office/drawing/2014/main" id="{3A2FFC51-2F7E-EFCD-E45E-767785C1C108}"/>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7" name="Freeform: Shape 1936">
                  <a:extLst>
                    <a:ext uri="{FF2B5EF4-FFF2-40B4-BE49-F238E27FC236}">
                      <a16:creationId xmlns:a16="http://schemas.microsoft.com/office/drawing/2014/main" id="{4FE248EA-2E8C-513C-A7EC-D1ED79230015}"/>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4" name="Graphic 790">
                <a:extLst>
                  <a:ext uri="{FF2B5EF4-FFF2-40B4-BE49-F238E27FC236}">
                    <a16:creationId xmlns:a16="http://schemas.microsoft.com/office/drawing/2014/main" id="{280FB6E3-0FF6-EEAB-63C4-32B9A30F489A}"/>
                  </a:ext>
                </a:extLst>
              </p:cNvPr>
              <p:cNvGrpSpPr/>
              <p:nvPr/>
            </p:nvGrpSpPr>
            <p:grpSpPr>
              <a:xfrm>
                <a:off x="8212835" y="3932491"/>
                <a:ext cx="75723" cy="75628"/>
                <a:chOff x="8212835" y="3932491"/>
                <a:chExt cx="75723" cy="75628"/>
              </a:xfrm>
            </p:grpSpPr>
            <p:sp>
              <p:nvSpPr>
                <p:cNvPr id="1934" name="Freeform: Shape 1933">
                  <a:extLst>
                    <a:ext uri="{FF2B5EF4-FFF2-40B4-BE49-F238E27FC236}">
                      <a16:creationId xmlns:a16="http://schemas.microsoft.com/office/drawing/2014/main" id="{93DD9ACD-F058-0C41-34DB-306E1CC79E46}"/>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5" name="Freeform: Shape 1934">
                  <a:extLst>
                    <a:ext uri="{FF2B5EF4-FFF2-40B4-BE49-F238E27FC236}">
                      <a16:creationId xmlns:a16="http://schemas.microsoft.com/office/drawing/2014/main" id="{17742F6E-3073-7CB9-C06D-72C5CB6DFC65}"/>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5" name="Graphic 790">
                <a:extLst>
                  <a:ext uri="{FF2B5EF4-FFF2-40B4-BE49-F238E27FC236}">
                    <a16:creationId xmlns:a16="http://schemas.microsoft.com/office/drawing/2014/main" id="{9FD9E1B9-F637-F462-5419-7D626CB4CBEA}"/>
                  </a:ext>
                </a:extLst>
              </p:cNvPr>
              <p:cNvGrpSpPr/>
              <p:nvPr/>
            </p:nvGrpSpPr>
            <p:grpSpPr>
              <a:xfrm>
                <a:off x="8146541" y="3932491"/>
                <a:ext cx="75628" cy="75628"/>
                <a:chOff x="8146541" y="3932491"/>
                <a:chExt cx="75628" cy="75628"/>
              </a:xfrm>
            </p:grpSpPr>
            <p:sp>
              <p:nvSpPr>
                <p:cNvPr id="1932" name="Freeform: Shape 1931">
                  <a:extLst>
                    <a:ext uri="{FF2B5EF4-FFF2-40B4-BE49-F238E27FC236}">
                      <a16:creationId xmlns:a16="http://schemas.microsoft.com/office/drawing/2014/main" id="{80DE930A-6475-7B9C-E643-F7AAC845EFCE}"/>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3" name="Freeform: Shape 1932">
                  <a:extLst>
                    <a:ext uri="{FF2B5EF4-FFF2-40B4-BE49-F238E27FC236}">
                      <a16:creationId xmlns:a16="http://schemas.microsoft.com/office/drawing/2014/main" id="{0C25D5C1-679C-8C38-7280-610EB72AA5EE}"/>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6" name="Graphic 790">
                <a:extLst>
                  <a:ext uri="{FF2B5EF4-FFF2-40B4-BE49-F238E27FC236}">
                    <a16:creationId xmlns:a16="http://schemas.microsoft.com/office/drawing/2014/main" id="{D39F7909-35D4-FE5C-7A8C-DE6D09996412}"/>
                  </a:ext>
                </a:extLst>
              </p:cNvPr>
              <p:cNvGrpSpPr/>
              <p:nvPr/>
            </p:nvGrpSpPr>
            <p:grpSpPr>
              <a:xfrm>
                <a:off x="8166544" y="3932491"/>
                <a:ext cx="75723" cy="75628"/>
                <a:chOff x="8166544" y="3932491"/>
                <a:chExt cx="75723" cy="75628"/>
              </a:xfrm>
            </p:grpSpPr>
            <p:sp>
              <p:nvSpPr>
                <p:cNvPr id="1930" name="Freeform: Shape 1929">
                  <a:extLst>
                    <a:ext uri="{FF2B5EF4-FFF2-40B4-BE49-F238E27FC236}">
                      <a16:creationId xmlns:a16="http://schemas.microsoft.com/office/drawing/2014/main" id="{899E3094-6F24-2400-6F44-A7426612ABD6}"/>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1" name="Freeform: Shape 1930">
                  <a:extLst>
                    <a:ext uri="{FF2B5EF4-FFF2-40B4-BE49-F238E27FC236}">
                      <a16:creationId xmlns:a16="http://schemas.microsoft.com/office/drawing/2014/main" id="{7B9B5D35-BF03-17B8-ABC2-33EEEA587E1C}"/>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27" name="Graphic 790">
                <a:extLst>
                  <a:ext uri="{FF2B5EF4-FFF2-40B4-BE49-F238E27FC236}">
                    <a16:creationId xmlns:a16="http://schemas.microsoft.com/office/drawing/2014/main" id="{B47E42E7-5026-9B39-D7BB-699455041A4E}"/>
                  </a:ext>
                </a:extLst>
              </p:cNvPr>
              <p:cNvGrpSpPr/>
              <p:nvPr/>
            </p:nvGrpSpPr>
            <p:grpSpPr>
              <a:xfrm>
                <a:off x="8200929" y="3932491"/>
                <a:ext cx="75628" cy="75628"/>
                <a:chOff x="8200929" y="3932491"/>
                <a:chExt cx="75628" cy="75628"/>
              </a:xfrm>
            </p:grpSpPr>
            <p:sp>
              <p:nvSpPr>
                <p:cNvPr id="1928" name="Freeform: Shape 1927">
                  <a:extLst>
                    <a:ext uri="{FF2B5EF4-FFF2-40B4-BE49-F238E27FC236}">
                      <a16:creationId xmlns:a16="http://schemas.microsoft.com/office/drawing/2014/main" id="{5DD7683C-F3B2-21C9-66C1-CB33FE3A8E93}"/>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9" name="Freeform: Shape 1928">
                  <a:extLst>
                    <a:ext uri="{FF2B5EF4-FFF2-40B4-BE49-F238E27FC236}">
                      <a16:creationId xmlns:a16="http://schemas.microsoft.com/office/drawing/2014/main" id="{E2872B4A-003B-763E-C590-E3DF3FDF1F78}"/>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814" name="Freeform: Shape 1813">
              <a:extLst>
                <a:ext uri="{FF2B5EF4-FFF2-40B4-BE49-F238E27FC236}">
                  <a16:creationId xmlns:a16="http://schemas.microsoft.com/office/drawing/2014/main" id="{9E4E47C6-FB21-A276-2978-8040976A6764}"/>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87" name="Group 1486">
            <a:extLst>
              <a:ext uri="{FF2B5EF4-FFF2-40B4-BE49-F238E27FC236}">
                <a16:creationId xmlns:a16="http://schemas.microsoft.com/office/drawing/2014/main" id="{A86D62C7-D8B7-E63D-58C0-30018234DB58}"/>
              </a:ext>
            </a:extLst>
          </p:cNvPr>
          <p:cNvGrpSpPr/>
          <p:nvPr/>
        </p:nvGrpSpPr>
        <p:grpSpPr>
          <a:xfrm>
            <a:off x="1776160" y="1223743"/>
            <a:ext cx="8701286" cy="2062527"/>
            <a:chOff x="3467100" y="2552700"/>
            <a:chExt cx="5257513" cy="1752409"/>
          </a:xfrm>
        </p:grpSpPr>
        <p:sp>
          <p:nvSpPr>
            <p:cNvPr id="1488" name="Freeform: Shape 1487">
              <a:extLst>
                <a:ext uri="{FF2B5EF4-FFF2-40B4-BE49-F238E27FC236}">
                  <a16:creationId xmlns:a16="http://schemas.microsoft.com/office/drawing/2014/main" id="{31B98052-2550-1A7F-3DFE-6113B84FEC89}"/>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489" name="Graphic 112">
              <a:extLst>
                <a:ext uri="{FF2B5EF4-FFF2-40B4-BE49-F238E27FC236}">
                  <a16:creationId xmlns:a16="http://schemas.microsoft.com/office/drawing/2014/main" id="{577FDAC8-DB07-6097-8364-7D854595DC76}"/>
                </a:ext>
              </a:extLst>
            </p:cNvPr>
            <p:cNvGrpSpPr/>
            <p:nvPr/>
          </p:nvGrpSpPr>
          <p:grpSpPr>
            <a:xfrm>
              <a:off x="3467100" y="2552700"/>
              <a:ext cx="75723" cy="75723"/>
              <a:chOff x="3467100" y="2552700"/>
              <a:chExt cx="75723" cy="75723"/>
            </a:xfrm>
          </p:grpSpPr>
          <p:sp>
            <p:nvSpPr>
              <p:cNvPr id="1811" name="Freeform: Shape 1810">
                <a:extLst>
                  <a:ext uri="{FF2B5EF4-FFF2-40B4-BE49-F238E27FC236}">
                    <a16:creationId xmlns:a16="http://schemas.microsoft.com/office/drawing/2014/main" id="{23EE5197-6C11-D33E-7705-1DBED2ABA69C}"/>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2" name="Freeform: Shape 1811">
                <a:extLst>
                  <a:ext uri="{FF2B5EF4-FFF2-40B4-BE49-F238E27FC236}">
                    <a16:creationId xmlns:a16="http://schemas.microsoft.com/office/drawing/2014/main" id="{B5B786BF-7EBC-605F-B504-0E60E1DEBC0F}"/>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0" name="Graphic 112">
              <a:extLst>
                <a:ext uri="{FF2B5EF4-FFF2-40B4-BE49-F238E27FC236}">
                  <a16:creationId xmlns:a16="http://schemas.microsoft.com/office/drawing/2014/main" id="{D66345B3-4B12-410D-AD10-7724163E11F6}"/>
                </a:ext>
              </a:extLst>
            </p:cNvPr>
            <p:cNvGrpSpPr/>
            <p:nvPr/>
          </p:nvGrpSpPr>
          <p:grpSpPr>
            <a:xfrm>
              <a:off x="3935920" y="2766726"/>
              <a:ext cx="75723" cy="75628"/>
              <a:chOff x="3935920" y="2766726"/>
              <a:chExt cx="75723" cy="75628"/>
            </a:xfrm>
          </p:grpSpPr>
          <p:sp>
            <p:nvSpPr>
              <p:cNvPr id="1809" name="Freeform: Shape 1808">
                <a:extLst>
                  <a:ext uri="{FF2B5EF4-FFF2-40B4-BE49-F238E27FC236}">
                    <a16:creationId xmlns:a16="http://schemas.microsoft.com/office/drawing/2014/main" id="{96B5FA2B-4F39-DADD-A0A4-4C87EFC24EB9}"/>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0" name="Freeform: Shape 1809">
                <a:extLst>
                  <a:ext uri="{FF2B5EF4-FFF2-40B4-BE49-F238E27FC236}">
                    <a16:creationId xmlns:a16="http://schemas.microsoft.com/office/drawing/2014/main" id="{5A197F94-C61C-7C5D-C895-4931AE606D21}"/>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1" name="Graphic 112">
              <a:extLst>
                <a:ext uri="{FF2B5EF4-FFF2-40B4-BE49-F238E27FC236}">
                  <a16:creationId xmlns:a16="http://schemas.microsoft.com/office/drawing/2014/main" id="{EE6C53C1-4852-38F4-DC38-19CD11494829}"/>
                </a:ext>
              </a:extLst>
            </p:cNvPr>
            <p:cNvGrpSpPr/>
            <p:nvPr/>
          </p:nvGrpSpPr>
          <p:grpSpPr>
            <a:xfrm>
              <a:off x="3901440" y="2766726"/>
              <a:ext cx="75723" cy="75628"/>
              <a:chOff x="3901440" y="2766726"/>
              <a:chExt cx="75723" cy="75628"/>
            </a:xfrm>
          </p:grpSpPr>
          <p:sp>
            <p:nvSpPr>
              <p:cNvPr id="1807" name="Freeform: Shape 1806">
                <a:extLst>
                  <a:ext uri="{FF2B5EF4-FFF2-40B4-BE49-F238E27FC236}">
                    <a16:creationId xmlns:a16="http://schemas.microsoft.com/office/drawing/2014/main" id="{7BF5D5A2-5CF5-8B6E-7627-25357E2B07FA}"/>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8" name="Freeform: Shape 1807">
                <a:extLst>
                  <a:ext uri="{FF2B5EF4-FFF2-40B4-BE49-F238E27FC236}">
                    <a16:creationId xmlns:a16="http://schemas.microsoft.com/office/drawing/2014/main" id="{DBA641DF-F99B-32B3-552B-B2F502C9B6F1}"/>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2" name="Graphic 112">
              <a:extLst>
                <a:ext uri="{FF2B5EF4-FFF2-40B4-BE49-F238E27FC236}">
                  <a16:creationId xmlns:a16="http://schemas.microsoft.com/office/drawing/2014/main" id="{BE275F9B-E1E0-A39F-E2A8-E023239B22CF}"/>
                </a:ext>
              </a:extLst>
            </p:cNvPr>
            <p:cNvGrpSpPr/>
            <p:nvPr/>
          </p:nvGrpSpPr>
          <p:grpSpPr>
            <a:xfrm>
              <a:off x="4510373" y="3098673"/>
              <a:ext cx="75628" cy="75723"/>
              <a:chOff x="4510373" y="3098673"/>
              <a:chExt cx="75628" cy="75723"/>
            </a:xfrm>
          </p:grpSpPr>
          <p:sp>
            <p:nvSpPr>
              <p:cNvPr id="1805" name="Freeform: Shape 1804">
                <a:extLst>
                  <a:ext uri="{FF2B5EF4-FFF2-40B4-BE49-F238E27FC236}">
                    <a16:creationId xmlns:a16="http://schemas.microsoft.com/office/drawing/2014/main" id="{ADEC687B-4E63-AB4A-E848-8A2929B18372}"/>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6" name="Freeform: Shape 1805">
                <a:extLst>
                  <a:ext uri="{FF2B5EF4-FFF2-40B4-BE49-F238E27FC236}">
                    <a16:creationId xmlns:a16="http://schemas.microsoft.com/office/drawing/2014/main" id="{F142338E-2BE0-2979-37E1-B21B5829416C}"/>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3" name="Graphic 112">
              <a:extLst>
                <a:ext uri="{FF2B5EF4-FFF2-40B4-BE49-F238E27FC236}">
                  <a16:creationId xmlns:a16="http://schemas.microsoft.com/office/drawing/2014/main" id="{94DACB94-301D-152F-A833-902263CFC8DD}"/>
                </a:ext>
              </a:extLst>
            </p:cNvPr>
            <p:cNvGrpSpPr/>
            <p:nvPr/>
          </p:nvGrpSpPr>
          <p:grpSpPr>
            <a:xfrm>
              <a:off x="4693920" y="3164776"/>
              <a:ext cx="75723" cy="75628"/>
              <a:chOff x="4693920" y="3164776"/>
              <a:chExt cx="75723" cy="75628"/>
            </a:xfrm>
          </p:grpSpPr>
          <p:sp>
            <p:nvSpPr>
              <p:cNvPr id="1803" name="Freeform: Shape 1802">
                <a:extLst>
                  <a:ext uri="{FF2B5EF4-FFF2-40B4-BE49-F238E27FC236}">
                    <a16:creationId xmlns:a16="http://schemas.microsoft.com/office/drawing/2014/main" id="{F3E9A354-9ED8-496C-53B8-4B279CF97801}"/>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4" name="Freeform: Shape 1803">
                <a:extLst>
                  <a:ext uri="{FF2B5EF4-FFF2-40B4-BE49-F238E27FC236}">
                    <a16:creationId xmlns:a16="http://schemas.microsoft.com/office/drawing/2014/main" id="{72E7B4E2-6F6B-A3D1-BD35-2996CB3C86F2}"/>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4" name="Graphic 112">
              <a:extLst>
                <a:ext uri="{FF2B5EF4-FFF2-40B4-BE49-F238E27FC236}">
                  <a16:creationId xmlns:a16="http://schemas.microsoft.com/office/drawing/2014/main" id="{D63BF9E4-1C84-9448-97CE-2574ECCBBF13}"/>
                </a:ext>
              </a:extLst>
            </p:cNvPr>
            <p:cNvGrpSpPr/>
            <p:nvPr/>
          </p:nvGrpSpPr>
          <p:grpSpPr>
            <a:xfrm>
              <a:off x="4786407" y="3343465"/>
              <a:ext cx="75628" cy="75723"/>
              <a:chOff x="4786407" y="3343465"/>
              <a:chExt cx="75628" cy="75723"/>
            </a:xfrm>
          </p:grpSpPr>
          <p:sp>
            <p:nvSpPr>
              <p:cNvPr id="1801" name="Freeform: Shape 1800">
                <a:extLst>
                  <a:ext uri="{FF2B5EF4-FFF2-40B4-BE49-F238E27FC236}">
                    <a16:creationId xmlns:a16="http://schemas.microsoft.com/office/drawing/2014/main" id="{3874FDF0-A8F9-F9FA-0CBE-44C6DAB19FE0}"/>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2" name="Freeform: Shape 1801">
                <a:extLst>
                  <a:ext uri="{FF2B5EF4-FFF2-40B4-BE49-F238E27FC236}">
                    <a16:creationId xmlns:a16="http://schemas.microsoft.com/office/drawing/2014/main" id="{0951A75B-5F85-4808-74F0-C181AC5C9239}"/>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5" name="Graphic 112">
              <a:extLst>
                <a:ext uri="{FF2B5EF4-FFF2-40B4-BE49-F238E27FC236}">
                  <a16:creationId xmlns:a16="http://schemas.microsoft.com/office/drawing/2014/main" id="{9378A4FE-01DB-95FC-3CE6-070D65E8FB0F}"/>
                </a:ext>
              </a:extLst>
            </p:cNvPr>
            <p:cNvGrpSpPr/>
            <p:nvPr/>
          </p:nvGrpSpPr>
          <p:grpSpPr>
            <a:xfrm>
              <a:off x="5238654" y="3598830"/>
              <a:ext cx="75628" cy="75723"/>
              <a:chOff x="5238654" y="3598830"/>
              <a:chExt cx="75628" cy="75723"/>
            </a:xfrm>
          </p:grpSpPr>
          <p:sp>
            <p:nvSpPr>
              <p:cNvPr id="1799" name="Freeform: Shape 1798">
                <a:extLst>
                  <a:ext uri="{FF2B5EF4-FFF2-40B4-BE49-F238E27FC236}">
                    <a16:creationId xmlns:a16="http://schemas.microsoft.com/office/drawing/2014/main" id="{41F4951C-6AC7-D52F-EACD-3170B1A5D66E}"/>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0" name="Freeform: Shape 1799">
                <a:extLst>
                  <a:ext uri="{FF2B5EF4-FFF2-40B4-BE49-F238E27FC236}">
                    <a16:creationId xmlns:a16="http://schemas.microsoft.com/office/drawing/2014/main" id="{24621818-49FF-8A0A-DF68-6660FD17D2C5}"/>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6" name="Graphic 112">
              <a:extLst>
                <a:ext uri="{FF2B5EF4-FFF2-40B4-BE49-F238E27FC236}">
                  <a16:creationId xmlns:a16="http://schemas.microsoft.com/office/drawing/2014/main" id="{823BF2AF-CEF5-5719-826D-6B84952BE63F}"/>
                </a:ext>
              </a:extLst>
            </p:cNvPr>
            <p:cNvGrpSpPr/>
            <p:nvPr/>
          </p:nvGrpSpPr>
          <p:grpSpPr>
            <a:xfrm>
              <a:off x="5690330" y="3775138"/>
              <a:ext cx="75723" cy="75723"/>
              <a:chOff x="5690330" y="3775138"/>
              <a:chExt cx="75723" cy="75723"/>
            </a:xfrm>
          </p:grpSpPr>
          <p:sp>
            <p:nvSpPr>
              <p:cNvPr id="1797" name="Freeform: Shape 1796">
                <a:extLst>
                  <a:ext uri="{FF2B5EF4-FFF2-40B4-BE49-F238E27FC236}">
                    <a16:creationId xmlns:a16="http://schemas.microsoft.com/office/drawing/2014/main" id="{0DBC4D0A-8661-06FC-8084-EF223A52EF23}"/>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8" name="Freeform: Shape 1797">
                <a:extLst>
                  <a:ext uri="{FF2B5EF4-FFF2-40B4-BE49-F238E27FC236}">
                    <a16:creationId xmlns:a16="http://schemas.microsoft.com/office/drawing/2014/main" id="{C36409D5-91DE-436C-FAAC-492B77EA26FB}"/>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7" name="Graphic 112">
              <a:extLst>
                <a:ext uri="{FF2B5EF4-FFF2-40B4-BE49-F238E27FC236}">
                  <a16:creationId xmlns:a16="http://schemas.microsoft.com/office/drawing/2014/main" id="{8A02C431-0D86-64BC-263D-E4D0467DA3C1}"/>
                </a:ext>
              </a:extLst>
            </p:cNvPr>
            <p:cNvGrpSpPr/>
            <p:nvPr/>
          </p:nvGrpSpPr>
          <p:grpSpPr>
            <a:xfrm>
              <a:off x="5902547" y="3795522"/>
              <a:ext cx="75628" cy="75723"/>
              <a:chOff x="5902547" y="3795522"/>
              <a:chExt cx="75628" cy="75723"/>
            </a:xfrm>
          </p:grpSpPr>
          <p:sp>
            <p:nvSpPr>
              <p:cNvPr id="1795" name="Freeform: Shape 1794">
                <a:extLst>
                  <a:ext uri="{FF2B5EF4-FFF2-40B4-BE49-F238E27FC236}">
                    <a16:creationId xmlns:a16="http://schemas.microsoft.com/office/drawing/2014/main" id="{09189FE6-B796-2189-18E9-F47A90325CC3}"/>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6" name="Freeform: Shape 1795">
                <a:extLst>
                  <a:ext uri="{FF2B5EF4-FFF2-40B4-BE49-F238E27FC236}">
                    <a16:creationId xmlns:a16="http://schemas.microsoft.com/office/drawing/2014/main" id="{0665F32A-6D7E-327B-3B14-BD13D5AE8D21}"/>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8" name="Graphic 112">
              <a:extLst>
                <a:ext uri="{FF2B5EF4-FFF2-40B4-BE49-F238E27FC236}">
                  <a16:creationId xmlns:a16="http://schemas.microsoft.com/office/drawing/2014/main" id="{E9391383-94A4-8B6B-3778-97B31715E55A}"/>
                </a:ext>
              </a:extLst>
            </p:cNvPr>
            <p:cNvGrpSpPr/>
            <p:nvPr/>
          </p:nvGrpSpPr>
          <p:grpSpPr>
            <a:xfrm>
              <a:off x="6217443" y="3898296"/>
              <a:ext cx="75723" cy="75628"/>
              <a:chOff x="6217443" y="3898296"/>
              <a:chExt cx="75723" cy="75628"/>
            </a:xfrm>
          </p:grpSpPr>
          <p:sp>
            <p:nvSpPr>
              <p:cNvPr id="1793" name="Freeform: Shape 1792">
                <a:extLst>
                  <a:ext uri="{FF2B5EF4-FFF2-40B4-BE49-F238E27FC236}">
                    <a16:creationId xmlns:a16="http://schemas.microsoft.com/office/drawing/2014/main" id="{840BC26F-E8B8-0CE8-0B86-44613EA69F10}"/>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4" name="Freeform: Shape 1793">
                <a:extLst>
                  <a:ext uri="{FF2B5EF4-FFF2-40B4-BE49-F238E27FC236}">
                    <a16:creationId xmlns:a16="http://schemas.microsoft.com/office/drawing/2014/main" id="{38B0E5AA-EB46-AB8B-03D7-891DC4F37411}"/>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99" name="Graphic 112">
              <a:extLst>
                <a:ext uri="{FF2B5EF4-FFF2-40B4-BE49-F238E27FC236}">
                  <a16:creationId xmlns:a16="http://schemas.microsoft.com/office/drawing/2014/main" id="{88D72FA0-B1A1-3A56-353E-6A35AA51CB0B}"/>
                </a:ext>
              </a:extLst>
            </p:cNvPr>
            <p:cNvGrpSpPr/>
            <p:nvPr/>
          </p:nvGrpSpPr>
          <p:grpSpPr>
            <a:xfrm>
              <a:off x="6334791" y="3909822"/>
              <a:ext cx="75723" cy="75723"/>
              <a:chOff x="6334791" y="3909822"/>
              <a:chExt cx="75723" cy="75723"/>
            </a:xfrm>
          </p:grpSpPr>
          <p:sp>
            <p:nvSpPr>
              <p:cNvPr id="1791" name="Freeform: Shape 1790">
                <a:extLst>
                  <a:ext uri="{FF2B5EF4-FFF2-40B4-BE49-F238E27FC236}">
                    <a16:creationId xmlns:a16="http://schemas.microsoft.com/office/drawing/2014/main" id="{02119C28-E09C-9CC8-7153-5026B21052AC}"/>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2" name="Freeform: Shape 1791">
                <a:extLst>
                  <a:ext uri="{FF2B5EF4-FFF2-40B4-BE49-F238E27FC236}">
                    <a16:creationId xmlns:a16="http://schemas.microsoft.com/office/drawing/2014/main" id="{A7FC29D2-E21D-33B4-F622-A68173ACE240}"/>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0" name="Graphic 112">
              <a:extLst>
                <a:ext uri="{FF2B5EF4-FFF2-40B4-BE49-F238E27FC236}">
                  <a16:creationId xmlns:a16="http://schemas.microsoft.com/office/drawing/2014/main" id="{669A4273-96E1-99A5-61D1-4D3A0236063F}"/>
                </a:ext>
              </a:extLst>
            </p:cNvPr>
            <p:cNvGrpSpPr/>
            <p:nvPr/>
          </p:nvGrpSpPr>
          <p:grpSpPr>
            <a:xfrm>
              <a:off x="6379749" y="3909822"/>
              <a:ext cx="75723" cy="75723"/>
              <a:chOff x="6379749" y="3909822"/>
              <a:chExt cx="75723" cy="75723"/>
            </a:xfrm>
          </p:grpSpPr>
          <p:sp>
            <p:nvSpPr>
              <p:cNvPr id="1789" name="Freeform: Shape 1788">
                <a:extLst>
                  <a:ext uri="{FF2B5EF4-FFF2-40B4-BE49-F238E27FC236}">
                    <a16:creationId xmlns:a16="http://schemas.microsoft.com/office/drawing/2014/main" id="{98D70E67-2D75-BCFA-D28B-2B72832964F6}"/>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0" name="Freeform: Shape 1789">
                <a:extLst>
                  <a:ext uri="{FF2B5EF4-FFF2-40B4-BE49-F238E27FC236}">
                    <a16:creationId xmlns:a16="http://schemas.microsoft.com/office/drawing/2014/main" id="{19189ED0-9E09-F2B5-98E1-12767C8EEDF3}"/>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1" name="Graphic 112">
              <a:extLst>
                <a:ext uri="{FF2B5EF4-FFF2-40B4-BE49-F238E27FC236}">
                  <a16:creationId xmlns:a16="http://schemas.microsoft.com/office/drawing/2014/main" id="{05F5B259-4A23-E903-D0B0-B8EF19BF3014}"/>
                </a:ext>
              </a:extLst>
            </p:cNvPr>
            <p:cNvGrpSpPr/>
            <p:nvPr/>
          </p:nvGrpSpPr>
          <p:grpSpPr>
            <a:xfrm>
              <a:off x="6410515" y="3922585"/>
              <a:ext cx="75628" cy="75723"/>
              <a:chOff x="6410515" y="3922585"/>
              <a:chExt cx="75628" cy="75723"/>
            </a:xfrm>
          </p:grpSpPr>
          <p:sp>
            <p:nvSpPr>
              <p:cNvPr id="1787" name="Freeform: Shape 1786">
                <a:extLst>
                  <a:ext uri="{FF2B5EF4-FFF2-40B4-BE49-F238E27FC236}">
                    <a16:creationId xmlns:a16="http://schemas.microsoft.com/office/drawing/2014/main" id="{AB6722E5-CB02-1E5B-1506-AE2B6682F96A}"/>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8" name="Freeform: Shape 1787">
                <a:extLst>
                  <a:ext uri="{FF2B5EF4-FFF2-40B4-BE49-F238E27FC236}">
                    <a16:creationId xmlns:a16="http://schemas.microsoft.com/office/drawing/2014/main" id="{DF2E4993-3B71-C312-E866-C347E64F5E88}"/>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2" name="Graphic 112">
              <a:extLst>
                <a:ext uri="{FF2B5EF4-FFF2-40B4-BE49-F238E27FC236}">
                  <a16:creationId xmlns:a16="http://schemas.microsoft.com/office/drawing/2014/main" id="{04288B29-1EF6-5C29-479C-9D09730DD664}"/>
                </a:ext>
              </a:extLst>
            </p:cNvPr>
            <p:cNvGrpSpPr/>
            <p:nvPr/>
          </p:nvGrpSpPr>
          <p:grpSpPr>
            <a:xfrm>
              <a:off x="6430232" y="3933539"/>
              <a:ext cx="75723" cy="75628"/>
              <a:chOff x="6430232" y="3933539"/>
              <a:chExt cx="75723" cy="75628"/>
            </a:xfrm>
          </p:grpSpPr>
          <p:sp>
            <p:nvSpPr>
              <p:cNvPr id="1785" name="Freeform: Shape 1784">
                <a:extLst>
                  <a:ext uri="{FF2B5EF4-FFF2-40B4-BE49-F238E27FC236}">
                    <a16:creationId xmlns:a16="http://schemas.microsoft.com/office/drawing/2014/main" id="{CE3C0878-9084-4546-D1F0-E06976DDC3DA}"/>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6" name="Freeform: Shape 1785">
                <a:extLst>
                  <a:ext uri="{FF2B5EF4-FFF2-40B4-BE49-F238E27FC236}">
                    <a16:creationId xmlns:a16="http://schemas.microsoft.com/office/drawing/2014/main" id="{432C62CD-7470-2570-B727-56221EF5F7DB}"/>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3" name="Graphic 112">
              <a:extLst>
                <a:ext uri="{FF2B5EF4-FFF2-40B4-BE49-F238E27FC236}">
                  <a16:creationId xmlns:a16="http://schemas.microsoft.com/office/drawing/2014/main" id="{0FCF1B27-714F-FCEC-1DD4-A023E294113B}"/>
                </a:ext>
              </a:extLst>
            </p:cNvPr>
            <p:cNvGrpSpPr/>
            <p:nvPr/>
          </p:nvGrpSpPr>
          <p:grpSpPr>
            <a:xfrm>
              <a:off x="6450330" y="3947636"/>
              <a:ext cx="75628" cy="75723"/>
              <a:chOff x="6450330" y="3947636"/>
              <a:chExt cx="75628" cy="75723"/>
            </a:xfrm>
          </p:grpSpPr>
          <p:sp>
            <p:nvSpPr>
              <p:cNvPr id="1783" name="Freeform: Shape 1782">
                <a:extLst>
                  <a:ext uri="{FF2B5EF4-FFF2-40B4-BE49-F238E27FC236}">
                    <a16:creationId xmlns:a16="http://schemas.microsoft.com/office/drawing/2014/main" id="{30378AE2-76DA-1177-93E1-192733343C7C}"/>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4" name="Freeform: Shape 1783">
                <a:extLst>
                  <a:ext uri="{FF2B5EF4-FFF2-40B4-BE49-F238E27FC236}">
                    <a16:creationId xmlns:a16="http://schemas.microsoft.com/office/drawing/2014/main" id="{F9BAFADD-1A67-2408-639C-C54D7FF29D7A}"/>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4" name="Graphic 112">
              <a:extLst>
                <a:ext uri="{FF2B5EF4-FFF2-40B4-BE49-F238E27FC236}">
                  <a16:creationId xmlns:a16="http://schemas.microsoft.com/office/drawing/2014/main" id="{5E1A7BBA-2C9A-99B4-4686-57DBC31FB9D0}"/>
                </a:ext>
              </a:extLst>
            </p:cNvPr>
            <p:cNvGrpSpPr/>
            <p:nvPr/>
          </p:nvGrpSpPr>
          <p:grpSpPr>
            <a:xfrm>
              <a:off x="6463665" y="3960399"/>
              <a:ext cx="75723" cy="75723"/>
              <a:chOff x="6463665" y="3960399"/>
              <a:chExt cx="75723" cy="75723"/>
            </a:xfrm>
          </p:grpSpPr>
          <p:sp>
            <p:nvSpPr>
              <p:cNvPr id="1781" name="Freeform: Shape 1780">
                <a:extLst>
                  <a:ext uri="{FF2B5EF4-FFF2-40B4-BE49-F238E27FC236}">
                    <a16:creationId xmlns:a16="http://schemas.microsoft.com/office/drawing/2014/main" id="{9EE8A379-EF57-1D03-5CDE-03F1DC31E5D9}"/>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2" name="Freeform: Shape 1781">
                <a:extLst>
                  <a:ext uri="{FF2B5EF4-FFF2-40B4-BE49-F238E27FC236}">
                    <a16:creationId xmlns:a16="http://schemas.microsoft.com/office/drawing/2014/main" id="{18AA1F94-1065-7892-2083-07E309FD515D}"/>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5" name="Graphic 112">
              <a:extLst>
                <a:ext uri="{FF2B5EF4-FFF2-40B4-BE49-F238E27FC236}">
                  <a16:creationId xmlns:a16="http://schemas.microsoft.com/office/drawing/2014/main" id="{9913A108-73E4-7B5A-C276-197FF0A4731F}"/>
                </a:ext>
              </a:extLst>
            </p:cNvPr>
            <p:cNvGrpSpPr/>
            <p:nvPr/>
          </p:nvGrpSpPr>
          <p:grpSpPr>
            <a:xfrm>
              <a:off x="6520815" y="4015263"/>
              <a:ext cx="75723" cy="75723"/>
              <a:chOff x="6520815" y="4015263"/>
              <a:chExt cx="75723" cy="75723"/>
            </a:xfrm>
          </p:grpSpPr>
          <p:sp>
            <p:nvSpPr>
              <p:cNvPr id="1779" name="Freeform: Shape 1778">
                <a:extLst>
                  <a:ext uri="{FF2B5EF4-FFF2-40B4-BE49-F238E27FC236}">
                    <a16:creationId xmlns:a16="http://schemas.microsoft.com/office/drawing/2014/main" id="{FEB83730-3F7C-C13D-49E8-B8FF72BB9D17}"/>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0" name="Freeform: Shape 1779">
                <a:extLst>
                  <a:ext uri="{FF2B5EF4-FFF2-40B4-BE49-F238E27FC236}">
                    <a16:creationId xmlns:a16="http://schemas.microsoft.com/office/drawing/2014/main" id="{474B5B6E-ED81-5226-1537-005801B576FF}"/>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6" name="Graphic 112">
              <a:extLst>
                <a:ext uri="{FF2B5EF4-FFF2-40B4-BE49-F238E27FC236}">
                  <a16:creationId xmlns:a16="http://schemas.microsoft.com/office/drawing/2014/main" id="{E964203C-FA17-9059-3B3E-C19082C22B14}"/>
                </a:ext>
              </a:extLst>
            </p:cNvPr>
            <p:cNvGrpSpPr/>
            <p:nvPr/>
          </p:nvGrpSpPr>
          <p:grpSpPr>
            <a:xfrm>
              <a:off x="6771322" y="4036123"/>
              <a:ext cx="75723" cy="75723"/>
              <a:chOff x="6771322" y="4036123"/>
              <a:chExt cx="75723" cy="75723"/>
            </a:xfrm>
          </p:grpSpPr>
          <p:sp>
            <p:nvSpPr>
              <p:cNvPr id="1777" name="Freeform: Shape 1776">
                <a:extLst>
                  <a:ext uri="{FF2B5EF4-FFF2-40B4-BE49-F238E27FC236}">
                    <a16:creationId xmlns:a16="http://schemas.microsoft.com/office/drawing/2014/main" id="{EEC8DEB5-5C90-8EC6-1F4E-C6BC6F6E45B4}"/>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8" name="Freeform: Shape 1777">
                <a:extLst>
                  <a:ext uri="{FF2B5EF4-FFF2-40B4-BE49-F238E27FC236}">
                    <a16:creationId xmlns:a16="http://schemas.microsoft.com/office/drawing/2014/main" id="{52A59D64-2F42-8E4F-6D50-B38A40F1DCAB}"/>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7" name="Graphic 112">
              <a:extLst>
                <a:ext uri="{FF2B5EF4-FFF2-40B4-BE49-F238E27FC236}">
                  <a16:creationId xmlns:a16="http://schemas.microsoft.com/office/drawing/2014/main" id="{2C9E6426-2C87-09F0-4210-5AC04FA8F7F8}"/>
                </a:ext>
              </a:extLst>
            </p:cNvPr>
            <p:cNvGrpSpPr/>
            <p:nvPr/>
          </p:nvGrpSpPr>
          <p:grpSpPr>
            <a:xfrm>
              <a:off x="6871620" y="4036123"/>
              <a:ext cx="75723" cy="75723"/>
              <a:chOff x="6871620" y="4036123"/>
              <a:chExt cx="75723" cy="75723"/>
            </a:xfrm>
          </p:grpSpPr>
          <p:sp>
            <p:nvSpPr>
              <p:cNvPr id="1775" name="Freeform: Shape 1774">
                <a:extLst>
                  <a:ext uri="{FF2B5EF4-FFF2-40B4-BE49-F238E27FC236}">
                    <a16:creationId xmlns:a16="http://schemas.microsoft.com/office/drawing/2014/main" id="{EE233E14-E59E-E3B3-7127-D26E3E0DC10E}"/>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6" name="Freeform: Shape 1775">
                <a:extLst>
                  <a:ext uri="{FF2B5EF4-FFF2-40B4-BE49-F238E27FC236}">
                    <a16:creationId xmlns:a16="http://schemas.microsoft.com/office/drawing/2014/main" id="{AC792AF9-EE6C-2829-91D9-5DF2F7500C76}"/>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8" name="Graphic 112">
              <a:extLst>
                <a:ext uri="{FF2B5EF4-FFF2-40B4-BE49-F238E27FC236}">
                  <a16:creationId xmlns:a16="http://schemas.microsoft.com/office/drawing/2014/main" id="{286B0D32-F1C5-CD91-241A-CC3A687D7CE8}"/>
                </a:ext>
              </a:extLst>
            </p:cNvPr>
            <p:cNvGrpSpPr/>
            <p:nvPr/>
          </p:nvGrpSpPr>
          <p:grpSpPr>
            <a:xfrm>
              <a:off x="6885051" y="4036123"/>
              <a:ext cx="75628" cy="75723"/>
              <a:chOff x="6885051" y="4036123"/>
              <a:chExt cx="75628" cy="75723"/>
            </a:xfrm>
          </p:grpSpPr>
          <p:sp>
            <p:nvSpPr>
              <p:cNvPr id="1773" name="Freeform: Shape 1772">
                <a:extLst>
                  <a:ext uri="{FF2B5EF4-FFF2-40B4-BE49-F238E27FC236}">
                    <a16:creationId xmlns:a16="http://schemas.microsoft.com/office/drawing/2014/main" id="{5DE6F117-B4C5-B544-4795-C3E56F2A9F04}"/>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4" name="Freeform: Shape 1773">
                <a:extLst>
                  <a:ext uri="{FF2B5EF4-FFF2-40B4-BE49-F238E27FC236}">
                    <a16:creationId xmlns:a16="http://schemas.microsoft.com/office/drawing/2014/main" id="{B9ECF95F-F1C5-5901-3891-F818C861C231}"/>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09" name="Graphic 112">
              <a:extLst>
                <a:ext uri="{FF2B5EF4-FFF2-40B4-BE49-F238E27FC236}">
                  <a16:creationId xmlns:a16="http://schemas.microsoft.com/office/drawing/2014/main" id="{58AA6649-B0BF-FCFF-C283-6EC4C42E04A5}"/>
                </a:ext>
              </a:extLst>
            </p:cNvPr>
            <p:cNvGrpSpPr/>
            <p:nvPr/>
          </p:nvGrpSpPr>
          <p:grpSpPr>
            <a:xfrm>
              <a:off x="7015353" y="4135183"/>
              <a:ext cx="75628" cy="75723"/>
              <a:chOff x="7015353" y="4135183"/>
              <a:chExt cx="75628" cy="75723"/>
            </a:xfrm>
          </p:grpSpPr>
          <p:sp>
            <p:nvSpPr>
              <p:cNvPr id="1771" name="Freeform: Shape 1770">
                <a:extLst>
                  <a:ext uri="{FF2B5EF4-FFF2-40B4-BE49-F238E27FC236}">
                    <a16:creationId xmlns:a16="http://schemas.microsoft.com/office/drawing/2014/main" id="{9F517BD6-C4C3-9C53-950F-D1D926470931}"/>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2" name="Freeform: Shape 1771">
                <a:extLst>
                  <a:ext uri="{FF2B5EF4-FFF2-40B4-BE49-F238E27FC236}">
                    <a16:creationId xmlns:a16="http://schemas.microsoft.com/office/drawing/2014/main" id="{28ECB410-7724-C6D7-608A-ABD2F25F8C31}"/>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0" name="Graphic 112">
              <a:extLst>
                <a:ext uri="{FF2B5EF4-FFF2-40B4-BE49-F238E27FC236}">
                  <a16:creationId xmlns:a16="http://schemas.microsoft.com/office/drawing/2014/main" id="{1DF3E6AB-9DD5-EDCB-8230-892DE9B33083}"/>
                </a:ext>
              </a:extLst>
            </p:cNvPr>
            <p:cNvGrpSpPr/>
            <p:nvPr/>
          </p:nvGrpSpPr>
          <p:grpSpPr>
            <a:xfrm>
              <a:off x="7368349" y="4229481"/>
              <a:ext cx="75723" cy="75628"/>
              <a:chOff x="7368349" y="4229481"/>
              <a:chExt cx="75723" cy="75628"/>
            </a:xfrm>
          </p:grpSpPr>
          <p:sp>
            <p:nvSpPr>
              <p:cNvPr id="1769" name="Freeform: Shape 1768">
                <a:extLst>
                  <a:ext uri="{FF2B5EF4-FFF2-40B4-BE49-F238E27FC236}">
                    <a16:creationId xmlns:a16="http://schemas.microsoft.com/office/drawing/2014/main" id="{8A6654A1-3FD2-995B-B66A-9CB4B9405644}"/>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0" name="Freeform: Shape 1769">
                <a:extLst>
                  <a:ext uri="{FF2B5EF4-FFF2-40B4-BE49-F238E27FC236}">
                    <a16:creationId xmlns:a16="http://schemas.microsoft.com/office/drawing/2014/main" id="{85AABDAD-62E9-08E2-6D3B-EBF44590C688}"/>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1" name="Graphic 112">
              <a:extLst>
                <a:ext uri="{FF2B5EF4-FFF2-40B4-BE49-F238E27FC236}">
                  <a16:creationId xmlns:a16="http://schemas.microsoft.com/office/drawing/2014/main" id="{5C558752-4CF0-6351-9250-233F6AC39BBF}"/>
                </a:ext>
              </a:extLst>
            </p:cNvPr>
            <p:cNvGrpSpPr/>
            <p:nvPr/>
          </p:nvGrpSpPr>
          <p:grpSpPr>
            <a:xfrm>
              <a:off x="7638288" y="4229481"/>
              <a:ext cx="75723" cy="75628"/>
              <a:chOff x="7638288" y="4229481"/>
              <a:chExt cx="75723" cy="75628"/>
            </a:xfrm>
          </p:grpSpPr>
          <p:sp>
            <p:nvSpPr>
              <p:cNvPr id="1767" name="Freeform: Shape 1766">
                <a:extLst>
                  <a:ext uri="{FF2B5EF4-FFF2-40B4-BE49-F238E27FC236}">
                    <a16:creationId xmlns:a16="http://schemas.microsoft.com/office/drawing/2014/main" id="{8A26F0F9-F692-5F6B-F441-44DF509ACB9F}"/>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8" name="Freeform: Shape 1767">
                <a:extLst>
                  <a:ext uri="{FF2B5EF4-FFF2-40B4-BE49-F238E27FC236}">
                    <a16:creationId xmlns:a16="http://schemas.microsoft.com/office/drawing/2014/main" id="{2AA91555-FB08-C6F5-C3C1-C6684380C08C}"/>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2" name="Graphic 112">
              <a:extLst>
                <a:ext uri="{FF2B5EF4-FFF2-40B4-BE49-F238E27FC236}">
                  <a16:creationId xmlns:a16="http://schemas.microsoft.com/office/drawing/2014/main" id="{34D3B416-DCB5-5714-1B9B-A644C6B6D609}"/>
                </a:ext>
              </a:extLst>
            </p:cNvPr>
            <p:cNvGrpSpPr/>
            <p:nvPr/>
          </p:nvGrpSpPr>
          <p:grpSpPr>
            <a:xfrm>
              <a:off x="7722203" y="4229481"/>
              <a:ext cx="75723" cy="75628"/>
              <a:chOff x="7722203" y="4229481"/>
              <a:chExt cx="75723" cy="75628"/>
            </a:xfrm>
          </p:grpSpPr>
          <p:sp>
            <p:nvSpPr>
              <p:cNvPr id="1765" name="Freeform: Shape 1764">
                <a:extLst>
                  <a:ext uri="{FF2B5EF4-FFF2-40B4-BE49-F238E27FC236}">
                    <a16:creationId xmlns:a16="http://schemas.microsoft.com/office/drawing/2014/main" id="{C060662D-634B-6776-2DA4-A97B4A57565A}"/>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6" name="Freeform: Shape 1765">
                <a:extLst>
                  <a:ext uri="{FF2B5EF4-FFF2-40B4-BE49-F238E27FC236}">
                    <a16:creationId xmlns:a16="http://schemas.microsoft.com/office/drawing/2014/main" id="{CD3E761C-4DB1-A69A-1C7F-CCB8DE5708A1}"/>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3" name="Graphic 112">
              <a:extLst>
                <a:ext uri="{FF2B5EF4-FFF2-40B4-BE49-F238E27FC236}">
                  <a16:creationId xmlns:a16="http://schemas.microsoft.com/office/drawing/2014/main" id="{8D871663-BAAD-B47F-FA07-EDD196DE72C4}"/>
                </a:ext>
              </a:extLst>
            </p:cNvPr>
            <p:cNvGrpSpPr/>
            <p:nvPr/>
          </p:nvGrpSpPr>
          <p:grpSpPr>
            <a:xfrm>
              <a:off x="7755064" y="4229481"/>
              <a:ext cx="75628" cy="75628"/>
              <a:chOff x="7755064" y="4229481"/>
              <a:chExt cx="75628" cy="75628"/>
            </a:xfrm>
          </p:grpSpPr>
          <p:sp>
            <p:nvSpPr>
              <p:cNvPr id="1763" name="Freeform: Shape 1762">
                <a:extLst>
                  <a:ext uri="{FF2B5EF4-FFF2-40B4-BE49-F238E27FC236}">
                    <a16:creationId xmlns:a16="http://schemas.microsoft.com/office/drawing/2014/main" id="{C5ABCD90-2637-BBB5-63FC-68026B732EA0}"/>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4" name="Freeform: Shape 1763">
                <a:extLst>
                  <a:ext uri="{FF2B5EF4-FFF2-40B4-BE49-F238E27FC236}">
                    <a16:creationId xmlns:a16="http://schemas.microsoft.com/office/drawing/2014/main" id="{48110575-B8E5-0243-0F7F-3E30746F0858}"/>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4" name="Graphic 112">
              <a:extLst>
                <a:ext uri="{FF2B5EF4-FFF2-40B4-BE49-F238E27FC236}">
                  <a16:creationId xmlns:a16="http://schemas.microsoft.com/office/drawing/2014/main" id="{D0E5D161-594A-0525-BA96-5B48A457DF28}"/>
                </a:ext>
              </a:extLst>
            </p:cNvPr>
            <p:cNvGrpSpPr/>
            <p:nvPr/>
          </p:nvGrpSpPr>
          <p:grpSpPr>
            <a:xfrm>
              <a:off x="7760017" y="4229481"/>
              <a:ext cx="75723" cy="75628"/>
              <a:chOff x="7760017" y="4229481"/>
              <a:chExt cx="75723" cy="75628"/>
            </a:xfrm>
          </p:grpSpPr>
          <p:sp>
            <p:nvSpPr>
              <p:cNvPr id="1761" name="Freeform: Shape 1760">
                <a:extLst>
                  <a:ext uri="{FF2B5EF4-FFF2-40B4-BE49-F238E27FC236}">
                    <a16:creationId xmlns:a16="http://schemas.microsoft.com/office/drawing/2014/main" id="{0F15D889-A9C7-51CB-CFF2-B51AA011A8D6}"/>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2" name="Freeform: Shape 1761">
                <a:extLst>
                  <a:ext uri="{FF2B5EF4-FFF2-40B4-BE49-F238E27FC236}">
                    <a16:creationId xmlns:a16="http://schemas.microsoft.com/office/drawing/2014/main" id="{24987CE3-76A7-6174-0A1B-8F755FE8A951}"/>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5" name="Graphic 112">
              <a:extLst>
                <a:ext uri="{FF2B5EF4-FFF2-40B4-BE49-F238E27FC236}">
                  <a16:creationId xmlns:a16="http://schemas.microsoft.com/office/drawing/2014/main" id="{8D6B104D-A15D-CFC2-3253-4DC144749665}"/>
                </a:ext>
              </a:extLst>
            </p:cNvPr>
            <p:cNvGrpSpPr/>
            <p:nvPr/>
          </p:nvGrpSpPr>
          <p:grpSpPr>
            <a:xfrm>
              <a:off x="7800594" y="4229481"/>
              <a:ext cx="75723" cy="75628"/>
              <a:chOff x="7800594" y="4229481"/>
              <a:chExt cx="75723" cy="75628"/>
            </a:xfrm>
          </p:grpSpPr>
          <p:sp>
            <p:nvSpPr>
              <p:cNvPr id="1759" name="Freeform: Shape 1758">
                <a:extLst>
                  <a:ext uri="{FF2B5EF4-FFF2-40B4-BE49-F238E27FC236}">
                    <a16:creationId xmlns:a16="http://schemas.microsoft.com/office/drawing/2014/main" id="{2151316F-ECAC-65E3-4271-CB6F106EF066}"/>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0" name="Freeform: Shape 1759">
                <a:extLst>
                  <a:ext uri="{FF2B5EF4-FFF2-40B4-BE49-F238E27FC236}">
                    <a16:creationId xmlns:a16="http://schemas.microsoft.com/office/drawing/2014/main" id="{178CCF01-3194-429D-3FC8-8F2F45C5CE88}"/>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6" name="Graphic 112">
              <a:extLst>
                <a:ext uri="{FF2B5EF4-FFF2-40B4-BE49-F238E27FC236}">
                  <a16:creationId xmlns:a16="http://schemas.microsoft.com/office/drawing/2014/main" id="{210E8137-106C-1793-50C2-45FDBFAB972D}"/>
                </a:ext>
              </a:extLst>
            </p:cNvPr>
            <p:cNvGrpSpPr/>
            <p:nvPr/>
          </p:nvGrpSpPr>
          <p:grpSpPr>
            <a:xfrm>
              <a:off x="7805451" y="4229481"/>
              <a:ext cx="75723" cy="75628"/>
              <a:chOff x="7805451" y="4229481"/>
              <a:chExt cx="75723" cy="75628"/>
            </a:xfrm>
          </p:grpSpPr>
          <p:sp>
            <p:nvSpPr>
              <p:cNvPr id="1757" name="Freeform: Shape 1756">
                <a:extLst>
                  <a:ext uri="{FF2B5EF4-FFF2-40B4-BE49-F238E27FC236}">
                    <a16:creationId xmlns:a16="http://schemas.microsoft.com/office/drawing/2014/main" id="{9A703587-8A40-7336-348C-DEBD3C4A5864}"/>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58" name="Freeform: Shape 1757">
                <a:extLst>
                  <a:ext uri="{FF2B5EF4-FFF2-40B4-BE49-F238E27FC236}">
                    <a16:creationId xmlns:a16="http://schemas.microsoft.com/office/drawing/2014/main" id="{BA6508DE-30C0-508F-3DCC-49663A18E5B0}"/>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7" name="Graphic 112">
              <a:extLst>
                <a:ext uri="{FF2B5EF4-FFF2-40B4-BE49-F238E27FC236}">
                  <a16:creationId xmlns:a16="http://schemas.microsoft.com/office/drawing/2014/main" id="{F8A22CBF-14D2-042E-4C70-5E699DDF50E0}"/>
                </a:ext>
              </a:extLst>
            </p:cNvPr>
            <p:cNvGrpSpPr/>
            <p:nvPr/>
          </p:nvGrpSpPr>
          <p:grpSpPr>
            <a:xfrm>
              <a:off x="8124729" y="4229481"/>
              <a:ext cx="75628" cy="75628"/>
              <a:chOff x="8124729" y="4229481"/>
              <a:chExt cx="75628" cy="75628"/>
            </a:xfrm>
          </p:grpSpPr>
          <p:sp>
            <p:nvSpPr>
              <p:cNvPr id="1755" name="Freeform: Shape 1754">
                <a:extLst>
                  <a:ext uri="{FF2B5EF4-FFF2-40B4-BE49-F238E27FC236}">
                    <a16:creationId xmlns:a16="http://schemas.microsoft.com/office/drawing/2014/main" id="{D487419E-4141-2DAE-7D91-B613F23CB0BF}"/>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56" name="Freeform: Shape 1755">
                <a:extLst>
                  <a:ext uri="{FF2B5EF4-FFF2-40B4-BE49-F238E27FC236}">
                    <a16:creationId xmlns:a16="http://schemas.microsoft.com/office/drawing/2014/main" id="{50CC8948-493E-8A05-2CC0-00D86723C458}"/>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8" name="Graphic 112">
              <a:extLst>
                <a:ext uri="{FF2B5EF4-FFF2-40B4-BE49-F238E27FC236}">
                  <a16:creationId xmlns:a16="http://schemas.microsoft.com/office/drawing/2014/main" id="{6D572352-21F8-E5F0-CC33-3F489B3CC4F6}"/>
                </a:ext>
              </a:extLst>
            </p:cNvPr>
            <p:cNvGrpSpPr/>
            <p:nvPr/>
          </p:nvGrpSpPr>
          <p:grpSpPr>
            <a:xfrm>
              <a:off x="8143875" y="4229481"/>
              <a:ext cx="75628" cy="75628"/>
              <a:chOff x="8143875" y="4229481"/>
              <a:chExt cx="75628" cy="75628"/>
            </a:xfrm>
          </p:grpSpPr>
          <p:sp>
            <p:nvSpPr>
              <p:cNvPr id="1753" name="Freeform: Shape 1752">
                <a:extLst>
                  <a:ext uri="{FF2B5EF4-FFF2-40B4-BE49-F238E27FC236}">
                    <a16:creationId xmlns:a16="http://schemas.microsoft.com/office/drawing/2014/main" id="{A4343BDF-FEB7-760B-4AD3-7E7768C62814}"/>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54" name="Freeform: Shape 1753">
                <a:extLst>
                  <a:ext uri="{FF2B5EF4-FFF2-40B4-BE49-F238E27FC236}">
                    <a16:creationId xmlns:a16="http://schemas.microsoft.com/office/drawing/2014/main" id="{66BC9789-CA2D-4AD2-A0C7-C20D7A73F841}"/>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9" name="Graphic 112">
              <a:extLst>
                <a:ext uri="{FF2B5EF4-FFF2-40B4-BE49-F238E27FC236}">
                  <a16:creationId xmlns:a16="http://schemas.microsoft.com/office/drawing/2014/main" id="{DC90C280-4A8E-A36E-FD40-DBC25FFAE211}"/>
                </a:ext>
              </a:extLst>
            </p:cNvPr>
            <p:cNvGrpSpPr/>
            <p:nvPr/>
          </p:nvGrpSpPr>
          <p:grpSpPr>
            <a:xfrm>
              <a:off x="8163020" y="4229481"/>
              <a:ext cx="75628" cy="75628"/>
              <a:chOff x="8163020" y="4229481"/>
              <a:chExt cx="75628" cy="75628"/>
            </a:xfrm>
          </p:grpSpPr>
          <p:sp>
            <p:nvSpPr>
              <p:cNvPr id="1751" name="Freeform: Shape 1750">
                <a:extLst>
                  <a:ext uri="{FF2B5EF4-FFF2-40B4-BE49-F238E27FC236}">
                    <a16:creationId xmlns:a16="http://schemas.microsoft.com/office/drawing/2014/main" id="{C8FDA7CB-D6EA-35BF-83C2-C21402942C56}"/>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52" name="Freeform: Shape 1751">
                <a:extLst>
                  <a:ext uri="{FF2B5EF4-FFF2-40B4-BE49-F238E27FC236}">
                    <a16:creationId xmlns:a16="http://schemas.microsoft.com/office/drawing/2014/main" id="{BCD44BC6-D64B-FC9D-BAF5-0BF7466557AE}"/>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0" name="Graphic 112">
              <a:extLst>
                <a:ext uri="{FF2B5EF4-FFF2-40B4-BE49-F238E27FC236}">
                  <a16:creationId xmlns:a16="http://schemas.microsoft.com/office/drawing/2014/main" id="{3CD0CA23-C0EA-AAC5-177B-F3B84F04F0F8}"/>
                </a:ext>
              </a:extLst>
            </p:cNvPr>
            <p:cNvGrpSpPr/>
            <p:nvPr/>
          </p:nvGrpSpPr>
          <p:grpSpPr>
            <a:xfrm>
              <a:off x="8182165" y="4229481"/>
              <a:ext cx="75628" cy="75628"/>
              <a:chOff x="8182165" y="4229481"/>
              <a:chExt cx="75628" cy="75628"/>
            </a:xfrm>
          </p:grpSpPr>
          <p:sp>
            <p:nvSpPr>
              <p:cNvPr id="1749" name="Freeform: Shape 1748">
                <a:extLst>
                  <a:ext uri="{FF2B5EF4-FFF2-40B4-BE49-F238E27FC236}">
                    <a16:creationId xmlns:a16="http://schemas.microsoft.com/office/drawing/2014/main" id="{51A21A5D-0A26-9271-0165-C730C7F73EED}"/>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50" name="Freeform: Shape 1749">
                <a:extLst>
                  <a:ext uri="{FF2B5EF4-FFF2-40B4-BE49-F238E27FC236}">
                    <a16:creationId xmlns:a16="http://schemas.microsoft.com/office/drawing/2014/main" id="{BB1358C4-0CD3-44E5-AEA6-04D6B1C31DA7}"/>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1" name="Graphic 112">
              <a:extLst>
                <a:ext uri="{FF2B5EF4-FFF2-40B4-BE49-F238E27FC236}">
                  <a16:creationId xmlns:a16="http://schemas.microsoft.com/office/drawing/2014/main" id="{1663C816-C94F-0BC1-5DD4-4DDCC0401F87}"/>
                </a:ext>
              </a:extLst>
            </p:cNvPr>
            <p:cNvGrpSpPr/>
            <p:nvPr/>
          </p:nvGrpSpPr>
          <p:grpSpPr>
            <a:xfrm>
              <a:off x="8201310" y="4229481"/>
              <a:ext cx="75628" cy="75628"/>
              <a:chOff x="8201310" y="4229481"/>
              <a:chExt cx="75628" cy="75628"/>
            </a:xfrm>
          </p:grpSpPr>
          <p:sp>
            <p:nvSpPr>
              <p:cNvPr id="1747" name="Freeform: Shape 1746">
                <a:extLst>
                  <a:ext uri="{FF2B5EF4-FFF2-40B4-BE49-F238E27FC236}">
                    <a16:creationId xmlns:a16="http://schemas.microsoft.com/office/drawing/2014/main" id="{2FDBDB7F-DD22-FBB9-A838-FEF242599AC1}"/>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48" name="Freeform: Shape 1747">
                <a:extLst>
                  <a:ext uri="{FF2B5EF4-FFF2-40B4-BE49-F238E27FC236}">
                    <a16:creationId xmlns:a16="http://schemas.microsoft.com/office/drawing/2014/main" id="{84D4E9F6-CD47-E1A4-DED6-F4140010ADB1}"/>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2" name="Graphic 112">
              <a:extLst>
                <a:ext uri="{FF2B5EF4-FFF2-40B4-BE49-F238E27FC236}">
                  <a16:creationId xmlns:a16="http://schemas.microsoft.com/office/drawing/2014/main" id="{E2435372-5730-7F7B-89F1-7CF59B6E5580}"/>
                </a:ext>
              </a:extLst>
            </p:cNvPr>
            <p:cNvGrpSpPr/>
            <p:nvPr/>
          </p:nvGrpSpPr>
          <p:grpSpPr>
            <a:xfrm>
              <a:off x="8239601" y="4229481"/>
              <a:ext cx="75723" cy="75628"/>
              <a:chOff x="8239601" y="4229481"/>
              <a:chExt cx="75723" cy="75628"/>
            </a:xfrm>
          </p:grpSpPr>
          <p:sp>
            <p:nvSpPr>
              <p:cNvPr id="1745" name="Freeform: Shape 1744">
                <a:extLst>
                  <a:ext uri="{FF2B5EF4-FFF2-40B4-BE49-F238E27FC236}">
                    <a16:creationId xmlns:a16="http://schemas.microsoft.com/office/drawing/2014/main" id="{7C21B45A-DE81-E3C8-3050-36F9B66614A5}"/>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46" name="Freeform: Shape 1745">
                <a:extLst>
                  <a:ext uri="{FF2B5EF4-FFF2-40B4-BE49-F238E27FC236}">
                    <a16:creationId xmlns:a16="http://schemas.microsoft.com/office/drawing/2014/main" id="{0B5F49D5-54F3-D5F2-693E-DAE2A6342C22}"/>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 name="Graphic 112">
              <a:extLst>
                <a:ext uri="{FF2B5EF4-FFF2-40B4-BE49-F238E27FC236}">
                  <a16:creationId xmlns:a16="http://schemas.microsoft.com/office/drawing/2014/main" id="{362C23E4-80E2-EF80-DD87-61BF965B1577}"/>
                </a:ext>
              </a:extLst>
            </p:cNvPr>
            <p:cNvGrpSpPr/>
            <p:nvPr/>
          </p:nvGrpSpPr>
          <p:grpSpPr>
            <a:xfrm>
              <a:off x="8463915" y="4229481"/>
              <a:ext cx="75723" cy="75628"/>
              <a:chOff x="8463915" y="4229481"/>
              <a:chExt cx="75723" cy="75628"/>
            </a:xfrm>
          </p:grpSpPr>
          <p:sp>
            <p:nvSpPr>
              <p:cNvPr id="1743" name="Freeform: Shape 1742">
                <a:extLst>
                  <a:ext uri="{FF2B5EF4-FFF2-40B4-BE49-F238E27FC236}">
                    <a16:creationId xmlns:a16="http://schemas.microsoft.com/office/drawing/2014/main" id="{3EA5D14F-9365-02AA-CAA8-A3DEB4D04C30}"/>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44" name="Freeform: Shape 1743">
                <a:extLst>
                  <a:ext uri="{FF2B5EF4-FFF2-40B4-BE49-F238E27FC236}">
                    <a16:creationId xmlns:a16="http://schemas.microsoft.com/office/drawing/2014/main" id="{E331CBEB-C766-38DD-FAEC-40A7C70362D9}"/>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 name="Graphic 112">
              <a:extLst>
                <a:ext uri="{FF2B5EF4-FFF2-40B4-BE49-F238E27FC236}">
                  <a16:creationId xmlns:a16="http://schemas.microsoft.com/office/drawing/2014/main" id="{3DA0E92D-5D99-BD44-6BE9-7F7BFFBD1A07}"/>
                </a:ext>
              </a:extLst>
            </p:cNvPr>
            <p:cNvGrpSpPr/>
            <p:nvPr/>
          </p:nvGrpSpPr>
          <p:grpSpPr>
            <a:xfrm>
              <a:off x="8598884" y="4229481"/>
              <a:ext cx="75723" cy="75628"/>
              <a:chOff x="8598884" y="4229481"/>
              <a:chExt cx="75723" cy="75628"/>
            </a:xfrm>
          </p:grpSpPr>
          <p:sp>
            <p:nvSpPr>
              <p:cNvPr id="1741" name="Freeform: Shape 1740">
                <a:extLst>
                  <a:ext uri="{FF2B5EF4-FFF2-40B4-BE49-F238E27FC236}">
                    <a16:creationId xmlns:a16="http://schemas.microsoft.com/office/drawing/2014/main" id="{B1835B12-4B20-1E12-3F27-452EB8553DEF}"/>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42" name="Freeform: Shape 1741">
                <a:extLst>
                  <a:ext uri="{FF2B5EF4-FFF2-40B4-BE49-F238E27FC236}">
                    <a16:creationId xmlns:a16="http://schemas.microsoft.com/office/drawing/2014/main" id="{6F30C931-3C4B-AD2B-7428-67EB768A7AD3}"/>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5" name="Graphic 112">
              <a:extLst>
                <a:ext uri="{FF2B5EF4-FFF2-40B4-BE49-F238E27FC236}">
                  <a16:creationId xmlns:a16="http://schemas.microsoft.com/office/drawing/2014/main" id="{D7AAD15C-7EF5-3A7A-3CEE-2A9774C548EC}"/>
                </a:ext>
              </a:extLst>
            </p:cNvPr>
            <p:cNvGrpSpPr/>
            <p:nvPr/>
          </p:nvGrpSpPr>
          <p:grpSpPr>
            <a:xfrm>
              <a:off x="8611457" y="4229481"/>
              <a:ext cx="75628" cy="75628"/>
              <a:chOff x="8611457" y="4229481"/>
              <a:chExt cx="75628" cy="75628"/>
            </a:xfrm>
          </p:grpSpPr>
          <p:sp>
            <p:nvSpPr>
              <p:cNvPr id="1739" name="Freeform: Shape 1738">
                <a:extLst>
                  <a:ext uri="{FF2B5EF4-FFF2-40B4-BE49-F238E27FC236}">
                    <a16:creationId xmlns:a16="http://schemas.microsoft.com/office/drawing/2014/main" id="{84E76AB6-B52D-9F08-7361-BFB27F19085F}"/>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40" name="Freeform: Shape 1739">
                <a:extLst>
                  <a:ext uri="{FF2B5EF4-FFF2-40B4-BE49-F238E27FC236}">
                    <a16:creationId xmlns:a16="http://schemas.microsoft.com/office/drawing/2014/main" id="{67A86A8B-9278-7044-9C0A-B098B798CBDD}"/>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 name="Graphic 112">
              <a:extLst>
                <a:ext uri="{FF2B5EF4-FFF2-40B4-BE49-F238E27FC236}">
                  <a16:creationId xmlns:a16="http://schemas.microsoft.com/office/drawing/2014/main" id="{7F69E584-BF3C-F5FD-A8BC-6D4251115F9C}"/>
                </a:ext>
              </a:extLst>
            </p:cNvPr>
            <p:cNvGrpSpPr/>
            <p:nvPr/>
          </p:nvGrpSpPr>
          <p:grpSpPr>
            <a:xfrm>
              <a:off x="8623935" y="4229481"/>
              <a:ext cx="75628" cy="75628"/>
              <a:chOff x="8623935" y="4229481"/>
              <a:chExt cx="75628" cy="75628"/>
            </a:xfrm>
          </p:grpSpPr>
          <p:sp>
            <p:nvSpPr>
              <p:cNvPr id="1737" name="Freeform: Shape 1736">
                <a:extLst>
                  <a:ext uri="{FF2B5EF4-FFF2-40B4-BE49-F238E27FC236}">
                    <a16:creationId xmlns:a16="http://schemas.microsoft.com/office/drawing/2014/main" id="{B47B1516-6464-D409-E71E-CB3E5637F4B9}"/>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38" name="Freeform: Shape 1737">
                <a:extLst>
                  <a:ext uri="{FF2B5EF4-FFF2-40B4-BE49-F238E27FC236}">
                    <a16:creationId xmlns:a16="http://schemas.microsoft.com/office/drawing/2014/main" id="{54C21FE4-90E1-2D5F-41C3-F520D9340786}"/>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 name="Graphic 112">
              <a:extLst>
                <a:ext uri="{FF2B5EF4-FFF2-40B4-BE49-F238E27FC236}">
                  <a16:creationId xmlns:a16="http://schemas.microsoft.com/office/drawing/2014/main" id="{59CD0413-61E3-560C-54F1-4827BEEDD10A}"/>
                </a:ext>
              </a:extLst>
            </p:cNvPr>
            <p:cNvGrpSpPr/>
            <p:nvPr/>
          </p:nvGrpSpPr>
          <p:grpSpPr>
            <a:xfrm>
              <a:off x="8648890" y="4229481"/>
              <a:ext cx="75723" cy="75628"/>
              <a:chOff x="8648890" y="4229481"/>
              <a:chExt cx="75723" cy="75628"/>
            </a:xfrm>
          </p:grpSpPr>
          <p:sp>
            <p:nvSpPr>
              <p:cNvPr id="1735" name="Freeform: Shape 1734">
                <a:extLst>
                  <a:ext uri="{FF2B5EF4-FFF2-40B4-BE49-F238E27FC236}">
                    <a16:creationId xmlns:a16="http://schemas.microsoft.com/office/drawing/2014/main" id="{7F228E88-440A-BD01-9515-59325F613BFE}"/>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36" name="Freeform: Shape 1735">
                <a:extLst>
                  <a:ext uri="{FF2B5EF4-FFF2-40B4-BE49-F238E27FC236}">
                    <a16:creationId xmlns:a16="http://schemas.microsoft.com/office/drawing/2014/main" id="{68199BD0-2FE2-30B4-7661-D1B2ED7F8EB8}"/>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 name="Graphic 112">
              <a:extLst>
                <a:ext uri="{FF2B5EF4-FFF2-40B4-BE49-F238E27FC236}">
                  <a16:creationId xmlns:a16="http://schemas.microsoft.com/office/drawing/2014/main" id="{7A1383B8-0010-CD74-5B24-A677FBFF177C}"/>
                </a:ext>
              </a:extLst>
            </p:cNvPr>
            <p:cNvGrpSpPr/>
            <p:nvPr/>
          </p:nvGrpSpPr>
          <p:grpSpPr>
            <a:xfrm>
              <a:off x="8636412" y="4229481"/>
              <a:ext cx="75723" cy="75628"/>
              <a:chOff x="8636412" y="4229481"/>
              <a:chExt cx="75723" cy="75628"/>
            </a:xfrm>
          </p:grpSpPr>
          <p:sp>
            <p:nvSpPr>
              <p:cNvPr id="1733" name="Freeform: Shape 1732">
                <a:extLst>
                  <a:ext uri="{FF2B5EF4-FFF2-40B4-BE49-F238E27FC236}">
                    <a16:creationId xmlns:a16="http://schemas.microsoft.com/office/drawing/2014/main" id="{25BC0C75-A416-BACD-8ACA-0597DDC69183}"/>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34" name="Freeform: Shape 1733">
                <a:extLst>
                  <a:ext uri="{FF2B5EF4-FFF2-40B4-BE49-F238E27FC236}">
                    <a16:creationId xmlns:a16="http://schemas.microsoft.com/office/drawing/2014/main" id="{CFFBD88E-ECC7-BDDA-8620-CF452F5A5770}"/>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 name="Graphic 112">
              <a:extLst>
                <a:ext uri="{FF2B5EF4-FFF2-40B4-BE49-F238E27FC236}">
                  <a16:creationId xmlns:a16="http://schemas.microsoft.com/office/drawing/2014/main" id="{545F5BCE-8436-0C72-7B7D-51AC4D47417A}"/>
                </a:ext>
              </a:extLst>
            </p:cNvPr>
            <p:cNvGrpSpPr/>
            <p:nvPr/>
          </p:nvGrpSpPr>
          <p:grpSpPr>
            <a:xfrm>
              <a:off x="8220456" y="4229481"/>
              <a:ext cx="75723" cy="75628"/>
              <a:chOff x="8220456" y="4229481"/>
              <a:chExt cx="75723" cy="75628"/>
            </a:xfrm>
          </p:grpSpPr>
          <p:sp>
            <p:nvSpPr>
              <p:cNvPr id="1731" name="Freeform: Shape 1730">
                <a:extLst>
                  <a:ext uri="{FF2B5EF4-FFF2-40B4-BE49-F238E27FC236}">
                    <a16:creationId xmlns:a16="http://schemas.microsoft.com/office/drawing/2014/main" id="{009992EB-F0E0-5A75-883F-CA3DA112F874}"/>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32" name="Freeform: Shape 1731">
                <a:extLst>
                  <a:ext uri="{FF2B5EF4-FFF2-40B4-BE49-F238E27FC236}">
                    <a16:creationId xmlns:a16="http://schemas.microsoft.com/office/drawing/2014/main" id="{A15BA0B1-F61A-9CF6-1CF0-94615A89A756}"/>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 name="Graphic 112">
              <a:extLst>
                <a:ext uri="{FF2B5EF4-FFF2-40B4-BE49-F238E27FC236}">
                  <a16:creationId xmlns:a16="http://schemas.microsoft.com/office/drawing/2014/main" id="{409D68F4-8B0A-281D-6DFB-6481D3CD1DD2}"/>
                </a:ext>
              </a:extLst>
            </p:cNvPr>
            <p:cNvGrpSpPr/>
            <p:nvPr/>
          </p:nvGrpSpPr>
          <p:grpSpPr>
            <a:xfrm>
              <a:off x="7790307" y="4229481"/>
              <a:ext cx="75723" cy="75628"/>
              <a:chOff x="7790307" y="4229481"/>
              <a:chExt cx="75723" cy="75628"/>
            </a:xfrm>
          </p:grpSpPr>
          <p:sp>
            <p:nvSpPr>
              <p:cNvPr id="1729" name="Freeform: Shape 1728">
                <a:extLst>
                  <a:ext uri="{FF2B5EF4-FFF2-40B4-BE49-F238E27FC236}">
                    <a16:creationId xmlns:a16="http://schemas.microsoft.com/office/drawing/2014/main" id="{5114820A-14DA-C914-3F42-A81E0804165F}"/>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30" name="Freeform: Shape 1729">
                <a:extLst>
                  <a:ext uri="{FF2B5EF4-FFF2-40B4-BE49-F238E27FC236}">
                    <a16:creationId xmlns:a16="http://schemas.microsoft.com/office/drawing/2014/main" id="{B25CA5D2-66DB-49F2-CE26-E8263AD6E5CE}"/>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1" name="Graphic 112">
              <a:extLst>
                <a:ext uri="{FF2B5EF4-FFF2-40B4-BE49-F238E27FC236}">
                  <a16:creationId xmlns:a16="http://schemas.microsoft.com/office/drawing/2014/main" id="{1A366973-7B53-A47E-7119-FFFB52216365}"/>
                </a:ext>
              </a:extLst>
            </p:cNvPr>
            <p:cNvGrpSpPr/>
            <p:nvPr/>
          </p:nvGrpSpPr>
          <p:grpSpPr>
            <a:xfrm>
              <a:off x="7330535" y="4205763"/>
              <a:ext cx="75628" cy="75628"/>
              <a:chOff x="7330535" y="4205763"/>
              <a:chExt cx="75628" cy="75628"/>
            </a:xfrm>
          </p:grpSpPr>
          <p:sp>
            <p:nvSpPr>
              <p:cNvPr id="1727" name="Freeform: Shape 1726">
                <a:extLst>
                  <a:ext uri="{FF2B5EF4-FFF2-40B4-BE49-F238E27FC236}">
                    <a16:creationId xmlns:a16="http://schemas.microsoft.com/office/drawing/2014/main" id="{7FC005AC-1145-3785-F088-D4F63A44ADAE}"/>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28" name="Freeform: Shape 1727">
                <a:extLst>
                  <a:ext uri="{FF2B5EF4-FFF2-40B4-BE49-F238E27FC236}">
                    <a16:creationId xmlns:a16="http://schemas.microsoft.com/office/drawing/2014/main" id="{BB91CE64-E6C1-9771-4F0F-7256D52FF520}"/>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2" name="Graphic 112">
              <a:extLst>
                <a:ext uri="{FF2B5EF4-FFF2-40B4-BE49-F238E27FC236}">
                  <a16:creationId xmlns:a16="http://schemas.microsoft.com/office/drawing/2014/main" id="{DE8F418F-4954-7A91-0FDD-694E68AF0C5A}"/>
                </a:ext>
              </a:extLst>
            </p:cNvPr>
            <p:cNvGrpSpPr/>
            <p:nvPr/>
          </p:nvGrpSpPr>
          <p:grpSpPr>
            <a:xfrm>
              <a:off x="7299007" y="4153757"/>
              <a:ext cx="75723" cy="75723"/>
              <a:chOff x="7299007" y="4153757"/>
              <a:chExt cx="75723" cy="75723"/>
            </a:xfrm>
          </p:grpSpPr>
          <p:sp>
            <p:nvSpPr>
              <p:cNvPr id="1725" name="Freeform: Shape 1724">
                <a:extLst>
                  <a:ext uri="{FF2B5EF4-FFF2-40B4-BE49-F238E27FC236}">
                    <a16:creationId xmlns:a16="http://schemas.microsoft.com/office/drawing/2014/main" id="{EC2D3B1E-E613-868E-6495-A91EE353E866}"/>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26" name="Freeform: Shape 1725">
                <a:extLst>
                  <a:ext uri="{FF2B5EF4-FFF2-40B4-BE49-F238E27FC236}">
                    <a16:creationId xmlns:a16="http://schemas.microsoft.com/office/drawing/2014/main" id="{B783CF8B-CAB6-56DA-C386-B86F02C8F86D}"/>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3" name="Graphic 112">
              <a:extLst>
                <a:ext uri="{FF2B5EF4-FFF2-40B4-BE49-F238E27FC236}">
                  <a16:creationId xmlns:a16="http://schemas.microsoft.com/office/drawing/2014/main" id="{731FE0B2-0FF4-BB91-EF2B-76FB11873E5E}"/>
                </a:ext>
              </a:extLst>
            </p:cNvPr>
            <p:cNvGrpSpPr/>
            <p:nvPr/>
          </p:nvGrpSpPr>
          <p:grpSpPr>
            <a:xfrm>
              <a:off x="7287482" y="4153757"/>
              <a:ext cx="75723" cy="75723"/>
              <a:chOff x="7287482" y="4153757"/>
              <a:chExt cx="75723" cy="75723"/>
            </a:xfrm>
          </p:grpSpPr>
          <p:sp>
            <p:nvSpPr>
              <p:cNvPr id="1723" name="Freeform: Shape 1722">
                <a:extLst>
                  <a:ext uri="{FF2B5EF4-FFF2-40B4-BE49-F238E27FC236}">
                    <a16:creationId xmlns:a16="http://schemas.microsoft.com/office/drawing/2014/main" id="{10DA59D7-A885-37A5-9CF5-B62AA2CEDA9F}"/>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24" name="Freeform: Shape 1723">
                <a:extLst>
                  <a:ext uri="{FF2B5EF4-FFF2-40B4-BE49-F238E27FC236}">
                    <a16:creationId xmlns:a16="http://schemas.microsoft.com/office/drawing/2014/main" id="{592108E6-85EF-BAF0-0E22-E7E8D4C027AB}"/>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4" name="Graphic 112">
              <a:extLst>
                <a:ext uri="{FF2B5EF4-FFF2-40B4-BE49-F238E27FC236}">
                  <a16:creationId xmlns:a16="http://schemas.microsoft.com/office/drawing/2014/main" id="{FE451E67-E622-3F19-8B1F-04BD27E23B3C}"/>
                </a:ext>
              </a:extLst>
            </p:cNvPr>
            <p:cNvGrpSpPr/>
            <p:nvPr/>
          </p:nvGrpSpPr>
          <p:grpSpPr>
            <a:xfrm>
              <a:off x="7312437" y="4153757"/>
              <a:ext cx="75723" cy="75723"/>
              <a:chOff x="7312437" y="4153757"/>
              <a:chExt cx="75723" cy="75723"/>
            </a:xfrm>
          </p:grpSpPr>
          <p:sp>
            <p:nvSpPr>
              <p:cNvPr id="1721" name="Freeform: Shape 1720">
                <a:extLst>
                  <a:ext uri="{FF2B5EF4-FFF2-40B4-BE49-F238E27FC236}">
                    <a16:creationId xmlns:a16="http://schemas.microsoft.com/office/drawing/2014/main" id="{E224E8AC-1909-869E-7DC8-91EFB8B4FEC7}"/>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22" name="Freeform: Shape 1721">
                <a:extLst>
                  <a:ext uri="{FF2B5EF4-FFF2-40B4-BE49-F238E27FC236}">
                    <a16:creationId xmlns:a16="http://schemas.microsoft.com/office/drawing/2014/main" id="{752E8D96-4DAC-EF4E-2278-8E3B969C9FCA}"/>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5" name="Graphic 112">
              <a:extLst>
                <a:ext uri="{FF2B5EF4-FFF2-40B4-BE49-F238E27FC236}">
                  <a16:creationId xmlns:a16="http://schemas.microsoft.com/office/drawing/2014/main" id="{73BF0BC9-04D5-ED8F-BCE7-75190860ED05}"/>
                </a:ext>
              </a:extLst>
            </p:cNvPr>
            <p:cNvGrpSpPr/>
            <p:nvPr/>
          </p:nvGrpSpPr>
          <p:grpSpPr>
            <a:xfrm>
              <a:off x="7002399" y="4135183"/>
              <a:ext cx="75628" cy="75723"/>
              <a:chOff x="7002399" y="4135183"/>
              <a:chExt cx="75628" cy="75723"/>
            </a:xfrm>
          </p:grpSpPr>
          <p:sp>
            <p:nvSpPr>
              <p:cNvPr id="1719" name="Freeform: Shape 1718">
                <a:extLst>
                  <a:ext uri="{FF2B5EF4-FFF2-40B4-BE49-F238E27FC236}">
                    <a16:creationId xmlns:a16="http://schemas.microsoft.com/office/drawing/2014/main" id="{B5577025-32B5-41B8-B3B1-E545B4B433D3}"/>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20" name="Freeform: Shape 1719">
                <a:extLst>
                  <a:ext uri="{FF2B5EF4-FFF2-40B4-BE49-F238E27FC236}">
                    <a16:creationId xmlns:a16="http://schemas.microsoft.com/office/drawing/2014/main" id="{B1C3785F-CF2A-EEF9-50A8-7E84365B9519}"/>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6" name="Graphic 112">
              <a:extLst>
                <a:ext uri="{FF2B5EF4-FFF2-40B4-BE49-F238E27FC236}">
                  <a16:creationId xmlns:a16="http://schemas.microsoft.com/office/drawing/2014/main" id="{53F6C354-E326-314B-75CE-5D7882A95532}"/>
                </a:ext>
              </a:extLst>
            </p:cNvPr>
            <p:cNvGrpSpPr/>
            <p:nvPr/>
          </p:nvGrpSpPr>
          <p:grpSpPr>
            <a:xfrm>
              <a:off x="6947344" y="4111847"/>
              <a:ext cx="75723" cy="75628"/>
              <a:chOff x="6947344" y="4111847"/>
              <a:chExt cx="75723" cy="75628"/>
            </a:xfrm>
          </p:grpSpPr>
          <p:sp>
            <p:nvSpPr>
              <p:cNvPr id="1717" name="Freeform: Shape 1716">
                <a:extLst>
                  <a:ext uri="{FF2B5EF4-FFF2-40B4-BE49-F238E27FC236}">
                    <a16:creationId xmlns:a16="http://schemas.microsoft.com/office/drawing/2014/main" id="{9D481C52-D509-A855-4905-B6A9FF846EE0}"/>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18" name="Freeform: Shape 1717">
                <a:extLst>
                  <a:ext uri="{FF2B5EF4-FFF2-40B4-BE49-F238E27FC236}">
                    <a16:creationId xmlns:a16="http://schemas.microsoft.com/office/drawing/2014/main" id="{555DFE1E-8D90-786B-9491-C472E2288F2D}"/>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7" name="Graphic 112">
              <a:extLst>
                <a:ext uri="{FF2B5EF4-FFF2-40B4-BE49-F238E27FC236}">
                  <a16:creationId xmlns:a16="http://schemas.microsoft.com/office/drawing/2014/main" id="{785DA45C-909C-1BE2-85AB-13B384C5BC74}"/>
                </a:ext>
              </a:extLst>
            </p:cNvPr>
            <p:cNvGrpSpPr/>
            <p:nvPr/>
          </p:nvGrpSpPr>
          <p:grpSpPr>
            <a:xfrm>
              <a:off x="6928199" y="4090987"/>
              <a:ext cx="75723" cy="75723"/>
              <a:chOff x="6928199" y="4090987"/>
              <a:chExt cx="75723" cy="75723"/>
            </a:xfrm>
          </p:grpSpPr>
          <p:sp>
            <p:nvSpPr>
              <p:cNvPr id="1715" name="Freeform: Shape 1714">
                <a:extLst>
                  <a:ext uri="{FF2B5EF4-FFF2-40B4-BE49-F238E27FC236}">
                    <a16:creationId xmlns:a16="http://schemas.microsoft.com/office/drawing/2014/main" id="{F9E4AE4B-9B6F-EB7C-71C9-97DE4A1BE146}"/>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16" name="Freeform: Shape 1715">
                <a:extLst>
                  <a:ext uri="{FF2B5EF4-FFF2-40B4-BE49-F238E27FC236}">
                    <a16:creationId xmlns:a16="http://schemas.microsoft.com/office/drawing/2014/main" id="{6A40BECC-A5A5-1DA8-4D5E-66EE530DFB1B}"/>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8" name="Graphic 112">
              <a:extLst>
                <a:ext uri="{FF2B5EF4-FFF2-40B4-BE49-F238E27FC236}">
                  <a16:creationId xmlns:a16="http://schemas.microsoft.com/office/drawing/2014/main" id="{641B2832-1031-1AD5-7367-391C98507A6E}"/>
                </a:ext>
              </a:extLst>
            </p:cNvPr>
            <p:cNvGrpSpPr/>
            <p:nvPr/>
          </p:nvGrpSpPr>
          <p:grpSpPr>
            <a:xfrm>
              <a:off x="6912959" y="4073937"/>
              <a:ext cx="75723" cy="75723"/>
              <a:chOff x="6912959" y="4073937"/>
              <a:chExt cx="75723" cy="75723"/>
            </a:xfrm>
          </p:grpSpPr>
          <p:sp>
            <p:nvSpPr>
              <p:cNvPr id="1713" name="Freeform: Shape 1712">
                <a:extLst>
                  <a:ext uri="{FF2B5EF4-FFF2-40B4-BE49-F238E27FC236}">
                    <a16:creationId xmlns:a16="http://schemas.microsoft.com/office/drawing/2014/main" id="{F29713CB-624F-AE48-E173-64CA7EA78A25}"/>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14" name="Freeform: Shape 1713">
                <a:extLst>
                  <a:ext uri="{FF2B5EF4-FFF2-40B4-BE49-F238E27FC236}">
                    <a16:creationId xmlns:a16="http://schemas.microsoft.com/office/drawing/2014/main" id="{116A28C8-F49E-93FE-1F1C-B79A0515BB39}"/>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9" name="Graphic 112">
              <a:extLst>
                <a:ext uri="{FF2B5EF4-FFF2-40B4-BE49-F238E27FC236}">
                  <a16:creationId xmlns:a16="http://schemas.microsoft.com/office/drawing/2014/main" id="{E5457A3B-262C-F62E-7A1D-EC1AE5162A06}"/>
                </a:ext>
              </a:extLst>
            </p:cNvPr>
            <p:cNvGrpSpPr/>
            <p:nvPr/>
          </p:nvGrpSpPr>
          <p:grpSpPr>
            <a:xfrm>
              <a:off x="6895338" y="4053173"/>
              <a:ext cx="75723" cy="75628"/>
              <a:chOff x="6895338" y="4053173"/>
              <a:chExt cx="75723" cy="75628"/>
            </a:xfrm>
          </p:grpSpPr>
          <p:sp>
            <p:nvSpPr>
              <p:cNvPr id="1711" name="Freeform: Shape 1710">
                <a:extLst>
                  <a:ext uri="{FF2B5EF4-FFF2-40B4-BE49-F238E27FC236}">
                    <a16:creationId xmlns:a16="http://schemas.microsoft.com/office/drawing/2014/main" id="{A10887EC-B836-BE92-3686-C761DF84DA3A}"/>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12" name="Freeform: Shape 1711">
                <a:extLst>
                  <a:ext uri="{FF2B5EF4-FFF2-40B4-BE49-F238E27FC236}">
                    <a16:creationId xmlns:a16="http://schemas.microsoft.com/office/drawing/2014/main" id="{DAC0872B-178D-8E86-469B-1835B2D8D19B}"/>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0" name="Graphic 112">
              <a:extLst>
                <a:ext uri="{FF2B5EF4-FFF2-40B4-BE49-F238E27FC236}">
                  <a16:creationId xmlns:a16="http://schemas.microsoft.com/office/drawing/2014/main" id="{F3544980-47E7-C042-D2DD-A01BCBB2CE44}"/>
                </a:ext>
              </a:extLst>
            </p:cNvPr>
            <p:cNvGrpSpPr/>
            <p:nvPr/>
          </p:nvGrpSpPr>
          <p:grpSpPr>
            <a:xfrm>
              <a:off x="6501574" y="4015263"/>
              <a:ext cx="75628" cy="75723"/>
              <a:chOff x="6501574" y="4015263"/>
              <a:chExt cx="75628" cy="75723"/>
            </a:xfrm>
          </p:grpSpPr>
          <p:sp>
            <p:nvSpPr>
              <p:cNvPr id="1709" name="Freeform: Shape 1708">
                <a:extLst>
                  <a:ext uri="{FF2B5EF4-FFF2-40B4-BE49-F238E27FC236}">
                    <a16:creationId xmlns:a16="http://schemas.microsoft.com/office/drawing/2014/main" id="{5D8989F5-B6F0-D480-0DDF-AB808B060D78}"/>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10" name="Freeform: Shape 1709">
                <a:extLst>
                  <a:ext uri="{FF2B5EF4-FFF2-40B4-BE49-F238E27FC236}">
                    <a16:creationId xmlns:a16="http://schemas.microsoft.com/office/drawing/2014/main" id="{88BC91AF-D2E9-0A67-5341-D93983A2D6B5}"/>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1" name="Graphic 112">
              <a:extLst>
                <a:ext uri="{FF2B5EF4-FFF2-40B4-BE49-F238E27FC236}">
                  <a16:creationId xmlns:a16="http://schemas.microsoft.com/office/drawing/2014/main" id="{7E12BDB1-D499-5E9D-D060-2F23C796BA6D}"/>
                </a:ext>
              </a:extLst>
            </p:cNvPr>
            <p:cNvGrpSpPr/>
            <p:nvPr/>
          </p:nvGrpSpPr>
          <p:grpSpPr>
            <a:xfrm>
              <a:off x="6483000" y="3998309"/>
              <a:ext cx="75723" cy="75628"/>
              <a:chOff x="6483000" y="3998309"/>
              <a:chExt cx="75723" cy="75628"/>
            </a:xfrm>
          </p:grpSpPr>
          <p:sp>
            <p:nvSpPr>
              <p:cNvPr id="1707" name="Freeform: Shape 1706">
                <a:extLst>
                  <a:ext uri="{FF2B5EF4-FFF2-40B4-BE49-F238E27FC236}">
                    <a16:creationId xmlns:a16="http://schemas.microsoft.com/office/drawing/2014/main" id="{E565D103-F570-FD1C-A9BE-C83EAB048F47}"/>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08" name="Freeform: Shape 1707">
                <a:extLst>
                  <a:ext uri="{FF2B5EF4-FFF2-40B4-BE49-F238E27FC236}">
                    <a16:creationId xmlns:a16="http://schemas.microsoft.com/office/drawing/2014/main" id="{CA8EB758-1169-9411-1FBC-25997114A2BA}"/>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2" name="Graphic 112">
              <a:extLst>
                <a:ext uri="{FF2B5EF4-FFF2-40B4-BE49-F238E27FC236}">
                  <a16:creationId xmlns:a16="http://schemas.microsoft.com/office/drawing/2014/main" id="{D74F34D1-A4DB-A2E0-125D-D1FBD0EE76FE}"/>
                </a:ext>
              </a:extLst>
            </p:cNvPr>
            <p:cNvGrpSpPr/>
            <p:nvPr/>
          </p:nvGrpSpPr>
          <p:grpSpPr>
            <a:xfrm>
              <a:off x="6468141" y="3980021"/>
              <a:ext cx="75628" cy="75723"/>
              <a:chOff x="6468141" y="3980021"/>
              <a:chExt cx="75628" cy="75723"/>
            </a:xfrm>
          </p:grpSpPr>
          <p:sp>
            <p:nvSpPr>
              <p:cNvPr id="1705" name="Freeform: Shape 1704">
                <a:extLst>
                  <a:ext uri="{FF2B5EF4-FFF2-40B4-BE49-F238E27FC236}">
                    <a16:creationId xmlns:a16="http://schemas.microsoft.com/office/drawing/2014/main" id="{51E26402-A8E8-661B-061E-0DEF6C60A079}"/>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06" name="Freeform: Shape 1705">
                <a:extLst>
                  <a:ext uri="{FF2B5EF4-FFF2-40B4-BE49-F238E27FC236}">
                    <a16:creationId xmlns:a16="http://schemas.microsoft.com/office/drawing/2014/main" id="{98F3D663-6302-7425-EB73-9FC09711108C}"/>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3" name="Graphic 112">
              <a:extLst>
                <a:ext uri="{FF2B5EF4-FFF2-40B4-BE49-F238E27FC236}">
                  <a16:creationId xmlns:a16="http://schemas.microsoft.com/office/drawing/2014/main" id="{7B210270-7164-5142-A251-856F20412E78}"/>
                </a:ext>
              </a:extLst>
            </p:cNvPr>
            <p:cNvGrpSpPr/>
            <p:nvPr/>
          </p:nvGrpSpPr>
          <p:grpSpPr>
            <a:xfrm>
              <a:off x="6095714" y="3871245"/>
              <a:ext cx="75723" cy="75628"/>
              <a:chOff x="6095714" y="3871245"/>
              <a:chExt cx="75723" cy="75628"/>
            </a:xfrm>
          </p:grpSpPr>
          <p:sp>
            <p:nvSpPr>
              <p:cNvPr id="1703" name="Freeform: Shape 1702">
                <a:extLst>
                  <a:ext uri="{FF2B5EF4-FFF2-40B4-BE49-F238E27FC236}">
                    <a16:creationId xmlns:a16="http://schemas.microsoft.com/office/drawing/2014/main" id="{6F36CF64-278D-6B40-7AFB-77FA16E234AF}"/>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04" name="Freeform: Shape 1703">
                <a:extLst>
                  <a:ext uri="{FF2B5EF4-FFF2-40B4-BE49-F238E27FC236}">
                    <a16:creationId xmlns:a16="http://schemas.microsoft.com/office/drawing/2014/main" id="{B96C7BD0-5CF4-46BF-02A0-8694BFFE588E}"/>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4" name="Graphic 112">
              <a:extLst>
                <a:ext uri="{FF2B5EF4-FFF2-40B4-BE49-F238E27FC236}">
                  <a16:creationId xmlns:a16="http://schemas.microsoft.com/office/drawing/2014/main" id="{671F6F06-FC07-2EF1-D461-3A030E463A1A}"/>
                </a:ext>
              </a:extLst>
            </p:cNvPr>
            <p:cNvGrpSpPr/>
            <p:nvPr/>
          </p:nvGrpSpPr>
          <p:grpSpPr>
            <a:xfrm>
              <a:off x="6059995" y="3862673"/>
              <a:ext cx="75723" cy="75723"/>
              <a:chOff x="6059995" y="3862673"/>
              <a:chExt cx="75723" cy="75723"/>
            </a:xfrm>
          </p:grpSpPr>
          <p:sp>
            <p:nvSpPr>
              <p:cNvPr id="1701" name="Freeform: Shape 1700">
                <a:extLst>
                  <a:ext uri="{FF2B5EF4-FFF2-40B4-BE49-F238E27FC236}">
                    <a16:creationId xmlns:a16="http://schemas.microsoft.com/office/drawing/2014/main" id="{7FBDF501-0A56-676A-8C86-897D06619747}"/>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02" name="Freeform: Shape 1701">
                <a:extLst>
                  <a:ext uri="{FF2B5EF4-FFF2-40B4-BE49-F238E27FC236}">
                    <a16:creationId xmlns:a16="http://schemas.microsoft.com/office/drawing/2014/main" id="{090283A1-AAD3-C733-06E4-62E437023E74}"/>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5" name="Graphic 112">
              <a:extLst>
                <a:ext uri="{FF2B5EF4-FFF2-40B4-BE49-F238E27FC236}">
                  <a16:creationId xmlns:a16="http://schemas.microsoft.com/office/drawing/2014/main" id="{9F1BEC1B-8540-CA0A-4392-D646C11A3100}"/>
                </a:ext>
              </a:extLst>
            </p:cNvPr>
            <p:cNvGrpSpPr/>
            <p:nvPr/>
          </p:nvGrpSpPr>
          <p:grpSpPr>
            <a:xfrm>
              <a:off x="6072282" y="3867531"/>
              <a:ext cx="75723" cy="75723"/>
              <a:chOff x="6072282" y="3867531"/>
              <a:chExt cx="75723" cy="75723"/>
            </a:xfrm>
          </p:grpSpPr>
          <p:sp>
            <p:nvSpPr>
              <p:cNvPr id="1699" name="Freeform: Shape 1698">
                <a:extLst>
                  <a:ext uri="{FF2B5EF4-FFF2-40B4-BE49-F238E27FC236}">
                    <a16:creationId xmlns:a16="http://schemas.microsoft.com/office/drawing/2014/main" id="{971BCEBA-5354-3ED4-72DF-2519DB9F849A}"/>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00" name="Freeform: Shape 1699">
                <a:extLst>
                  <a:ext uri="{FF2B5EF4-FFF2-40B4-BE49-F238E27FC236}">
                    <a16:creationId xmlns:a16="http://schemas.microsoft.com/office/drawing/2014/main" id="{3CBE1025-F3D8-CF0A-8187-59484274C392}"/>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6" name="Graphic 112">
              <a:extLst>
                <a:ext uri="{FF2B5EF4-FFF2-40B4-BE49-F238E27FC236}">
                  <a16:creationId xmlns:a16="http://schemas.microsoft.com/office/drawing/2014/main" id="{4544FFC3-C16F-D869-BEE2-C1845B6952C8}"/>
                </a:ext>
              </a:extLst>
            </p:cNvPr>
            <p:cNvGrpSpPr/>
            <p:nvPr/>
          </p:nvGrpSpPr>
          <p:grpSpPr>
            <a:xfrm>
              <a:off x="6045422" y="3850862"/>
              <a:ext cx="75628" cy="75628"/>
              <a:chOff x="6045422" y="3850862"/>
              <a:chExt cx="75628" cy="75628"/>
            </a:xfrm>
          </p:grpSpPr>
          <p:sp>
            <p:nvSpPr>
              <p:cNvPr id="1697" name="Freeform: Shape 1696">
                <a:extLst>
                  <a:ext uri="{FF2B5EF4-FFF2-40B4-BE49-F238E27FC236}">
                    <a16:creationId xmlns:a16="http://schemas.microsoft.com/office/drawing/2014/main" id="{B21D7AE3-523E-1788-699F-CB039647E231}"/>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98" name="Freeform: Shape 1697">
                <a:extLst>
                  <a:ext uri="{FF2B5EF4-FFF2-40B4-BE49-F238E27FC236}">
                    <a16:creationId xmlns:a16="http://schemas.microsoft.com/office/drawing/2014/main" id="{86A133BB-AA0E-9C67-781F-C7DD9D00521C}"/>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7" name="Graphic 112">
              <a:extLst>
                <a:ext uri="{FF2B5EF4-FFF2-40B4-BE49-F238E27FC236}">
                  <a16:creationId xmlns:a16="http://schemas.microsoft.com/office/drawing/2014/main" id="{A2260A93-FC37-0408-8575-5942A7F51F3B}"/>
                </a:ext>
              </a:extLst>
            </p:cNvPr>
            <p:cNvGrpSpPr/>
            <p:nvPr/>
          </p:nvGrpSpPr>
          <p:grpSpPr>
            <a:xfrm>
              <a:off x="6034468" y="3840670"/>
              <a:ext cx="75723" cy="75723"/>
              <a:chOff x="6034468" y="3840670"/>
              <a:chExt cx="75723" cy="75723"/>
            </a:xfrm>
          </p:grpSpPr>
          <p:sp>
            <p:nvSpPr>
              <p:cNvPr id="1695" name="Freeform: Shape 1694">
                <a:extLst>
                  <a:ext uri="{FF2B5EF4-FFF2-40B4-BE49-F238E27FC236}">
                    <a16:creationId xmlns:a16="http://schemas.microsoft.com/office/drawing/2014/main" id="{9C43A9FD-EED4-4C2B-8AD8-C0A21E97AA2C}"/>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96" name="Freeform: Shape 1695">
                <a:extLst>
                  <a:ext uri="{FF2B5EF4-FFF2-40B4-BE49-F238E27FC236}">
                    <a16:creationId xmlns:a16="http://schemas.microsoft.com/office/drawing/2014/main" id="{B1FBDDDD-CA60-4AD9-E357-F5E28062962A}"/>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8" name="Graphic 112">
              <a:extLst>
                <a:ext uri="{FF2B5EF4-FFF2-40B4-BE49-F238E27FC236}">
                  <a16:creationId xmlns:a16="http://schemas.microsoft.com/office/drawing/2014/main" id="{94D39BF5-65A6-9AA2-637C-1FAE142600DE}"/>
                </a:ext>
              </a:extLst>
            </p:cNvPr>
            <p:cNvGrpSpPr/>
            <p:nvPr/>
          </p:nvGrpSpPr>
          <p:grpSpPr>
            <a:xfrm>
              <a:off x="6025324" y="3833336"/>
              <a:ext cx="75723" cy="75723"/>
              <a:chOff x="6025324" y="3833336"/>
              <a:chExt cx="75723" cy="75723"/>
            </a:xfrm>
          </p:grpSpPr>
          <p:sp>
            <p:nvSpPr>
              <p:cNvPr id="1693" name="Freeform: Shape 1692">
                <a:extLst>
                  <a:ext uri="{FF2B5EF4-FFF2-40B4-BE49-F238E27FC236}">
                    <a16:creationId xmlns:a16="http://schemas.microsoft.com/office/drawing/2014/main" id="{B361FB70-B0F4-5860-5349-C639F2AB7A7C}"/>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94" name="Freeform: Shape 1693">
                <a:extLst>
                  <a:ext uri="{FF2B5EF4-FFF2-40B4-BE49-F238E27FC236}">
                    <a16:creationId xmlns:a16="http://schemas.microsoft.com/office/drawing/2014/main" id="{96DDF735-2EA5-8A49-C27A-E5D216A75818}"/>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9" name="Graphic 112">
              <a:extLst>
                <a:ext uri="{FF2B5EF4-FFF2-40B4-BE49-F238E27FC236}">
                  <a16:creationId xmlns:a16="http://schemas.microsoft.com/office/drawing/2014/main" id="{29F8F010-DEB6-A13B-219F-D2E7828FC6C1}"/>
                </a:ext>
              </a:extLst>
            </p:cNvPr>
            <p:cNvGrpSpPr/>
            <p:nvPr/>
          </p:nvGrpSpPr>
          <p:grpSpPr>
            <a:xfrm>
              <a:off x="6015037" y="3806571"/>
              <a:ext cx="75628" cy="75723"/>
              <a:chOff x="6015037" y="3806571"/>
              <a:chExt cx="75628" cy="75723"/>
            </a:xfrm>
          </p:grpSpPr>
          <p:sp>
            <p:nvSpPr>
              <p:cNvPr id="1691" name="Freeform: Shape 1690">
                <a:extLst>
                  <a:ext uri="{FF2B5EF4-FFF2-40B4-BE49-F238E27FC236}">
                    <a16:creationId xmlns:a16="http://schemas.microsoft.com/office/drawing/2014/main" id="{D07E8F78-E2AA-FCEC-C6E0-4258B49C7917}"/>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92" name="Freeform: Shape 1691">
                <a:extLst>
                  <a:ext uri="{FF2B5EF4-FFF2-40B4-BE49-F238E27FC236}">
                    <a16:creationId xmlns:a16="http://schemas.microsoft.com/office/drawing/2014/main" id="{ECE6379C-84EA-1E3D-445A-205286AF6EE3}"/>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0" name="Graphic 112">
              <a:extLst>
                <a:ext uri="{FF2B5EF4-FFF2-40B4-BE49-F238E27FC236}">
                  <a16:creationId xmlns:a16="http://schemas.microsoft.com/office/drawing/2014/main" id="{77B24584-940C-DCA7-3CF9-0A8F14DA20EE}"/>
                </a:ext>
              </a:extLst>
            </p:cNvPr>
            <p:cNvGrpSpPr/>
            <p:nvPr/>
          </p:nvGrpSpPr>
          <p:grpSpPr>
            <a:xfrm>
              <a:off x="5953029" y="3802856"/>
              <a:ext cx="75628" cy="75628"/>
              <a:chOff x="5953029" y="3802856"/>
              <a:chExt cx="75628" cy="75628"/>
            </a:xfrm>
          </p:grpSpPr>
          <p:sp>
            <p:nvSpPr>
              <p:cNvPr id="1689" name="Freeform: Shape 1688">
                <a:extLst>
                  <a:ext uri="{FF2B5EF4-FFF2-40B4-BE49-F238E27FC236}">
                    <a16:creationId xmlns:a16="http://schemas.microsoft.com/office/drawing/2014/main" id="{F60FE5EA-5F77-8DF2-6F39-45D74AE6134F}"/>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90" name="Freeform: Shape 1689">
                <a:extLst>
                  <a:ext uri="{FF2B5EF4-FFF2-40B4-BE49-F238E27FC236}">
                    <a16:creationId xmlns:a16="http://schemas.microsoft.com/office/drawing/2014/main" id="{C52A9C92-FD2A-D3AB-A21B-51DC9B6BD454}"/>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1" name="Graphic 112">
              <a:extLst>
                <a:ext uri="{FF2B5EF4-FFF2-40B4-BE49-F238E27FC236}">
                  <a16:creationId xmlns:a16="http://schemas.microsoft.com/office/drawing/2014/main" id="{4AC4CDCD-3553-62D3-1564-22294152F58C}"/>
                </a:ext>
              </a:extLst>
            </p:cNvPr>
            <p:cNvGrpSpPr/>
            <p:nvPr/>
          </p:nvGrpSpPr>
          <p:grpSpPr>
            <a:xfrm>
              <a:off x="5999130" y="3806571"/>
              <a:ext cx="75723" cy="75723"/>
              <a:chOff x="5999130" y="3806571"/>
              <a:chExt cx="75723" cy="75723"/>
            </a:xfrm>
          </p:grpSpPr>
          <p:sp>
            <p:nvSpPr>
              <p:cNvPr id="1687" name="Freeform: Shape 1686">
                <a:extLst>
                  <a:ext uri="{FF2B5EF4-FFF2-40B4-BE49-F238E27FC236}">
                    <a16:creationId xmlns:a16="http://schemas.microsoft.com/office/drawing/2014/main" id="{D0DA3608-046C-46D2-86CF-30FB2204C262}"/>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8" name="Freeform: Shape 1687">
                <a:extLst>
                  <a:ext uri="{FF2B5EF4-FFF2-40B4-BE49-F238E27FC236}">
                    <a16:creationId xmlns:a16="http://schemas.microsoft.com/office/drawing/2014/main" id="{423C661C-0972-6EE1-0AC9-C1A16AE264F4}"/>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2" name="Graphic 112">
              <a:extLst>
                <a:ext uri="{FF2B5EF4-FFF2-40B4-BE49-F238E27FC236}">
                  <a16:creationId xmlns:a16="http://schemas.microsoft.com/office/drawing/2014/main" id="{E64B749E-227D-C0C2-2E1B-E7F21C3798C0}"/>
                </a:ext>
              </a:extLst>
            </p:cNvPr>
            <p:cNvGrpSpPr/>
            <p:nvPr/>
          </p:nvGrpSpPr>
          <p:grpSpPr>
            <a:xfrm>
              <a:off x="5553551" y="3678459"/>
              <a:ext cx="75723" cy="75723"/>
              <a:chOff x="5553551" y="3678459"/>
              <a:chExt cx="75723" cy="75723"/>
            </a:xfrm>
          </p:grpSpPr>
          <p:sp>
            <p:nvSpPr>
              <p:cNvPr id="1685" name="Freeform: Shape 1684">
                <a:extLst>
                  <a:ext uri="{FF2B5EF4-FFF2-40B4-BE49-F238E27FC236}">
                    <a16:creationId xmlns:a16="http://schemas.microsoft.com/office/drawing/2014/main" id="{5EE5388F-DA24-F084-EA52-E1699E97AFFE}"/>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6" name="Freeform: Shape 1685">
                <a:extLst>
                  <a:ext uri="{FF2B5EF4-FFF2-40B4-BE49-F238E27FC236}">
                    <a16:creationId xmlns:a16="http://schemas.microsoft.com/office/drawing/2014/main" id="{E60F8393-736E-53D9-D99D-83442DE31882}"/>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3" name="Graphic 112">
              <a:extLst>
                <a:ext uri="{FF2B5EF4-FFF2-40B4-BE49-F238E27FC236}">
                  <a16:creationId xmlns:a16="http://schemas.microsoft.com/office/drawing/2014/main" id="{AC3EA0C3-A20E-B676-E632-9D64D6D0081B}"/>
                </a:ext>
              </a:extLst>
            </p:cNvPr>
            <p:cNvGrpSpPr/>
            <p:nvPr/>
          </p:nvGrpSpPr>
          <p:grpSpPr>
            <a:xfrm>
              <a:off x="5569362" y="3685794"/>
              <a:ext cx="75723" cy="75628"/>
              <a:chOff x="5569362" y="3685794"/>
              <a:chExt cx="75723" cy="75628"/>
            </a:xfrm>
          </p:grpSpPr>
          <p:sp>
            <p:nvSpPr>
              <p:cNvPr id="1683" name="Freeform: Shape 1682">
                <a:extLst>
                  <a:ext uri="{FF2B5EF4-FFF2-40B4-BE49-F238E27FC236}">
                    <a16:creationId xmlns:a16="http://schemas.microsoft.com/office/drawing/2014/main" id="{E307CD5C-4C88-E934-6050-A7EFEE7E14A9}"/>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4" name="Freeform: Shape 1683">
                <a:extLst>
                  <a:ext uri="{FF2B5EF4-FFF2-40B4-BE49-F238E27FC236}">
                    <a16:creationId xmlns:a16="http://schemas.microsoft.com/office/drawing/2014/main" id="{697E6217-D625-2BC6-AFA0-B8C8FBE046C1}"/>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4" name="Graphic 112">
              <a:extLst>
                <a:ext uri="{FF2B5EF4-FFF2-40B4-BE49-F238E27FC236}">
                  <a16:creationId xmlns:a16="http://schemas.microsoft.com/office/drawing/2014/main" id="{7A32B502-D11A-C1BC-06E8-9D87AFDA0C73}"/>
                </a:ext>
              </a:extLst>
            </p:cNvPr>
            <p:cNvGrpSpPr/>
            <p:nvPr/>
          </p:nvGrpSpPr>
          <p:grpSpPr>
            <a:xfrm>
              <a:off x="5586412" y="3694271"/>
              <a:ext cx="75628" cy="75723"/>
              <a:chOff x="5586412" y="3694271"/>
              <a:chExt cx="75628" cy="75723"/>
            </a:xfrm>
          </p:grpSpPr>
          <p:sp>
            <p:nvSpPr>
              <p:cNvPr id="1681" name="Freeform: Shape 1680">
                <a:extLst>
                  <a:ext uri="{FF2B5EF4-FFF2-40B4-BE49-F238E27FC236}">
                    <a16:creationId xmlns:a16="http://schemas.microsoft.com/office/drawing/2014/main" id="{DBB02158-32A4-C29C-CDE3-9B3D2C8061D9}"/>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 name="Freeform: Shape 1681">
                <a:extLst>
                  <a:ext uri="{FF2B5EF4-FFF2-40B4-BE49-F238E27FC236}">
                    <a16:creationId xmlns:a16="http://schemas.microsoft.com/office/drawing/2014/main" id="{2BFC316C-2B50-D131-A45B-0B72DBFF6423}"/>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5" name="Graphic 112">
              <a:extLst>
                <a:ext uri="{FF2B5EF4-FFF2-40B4-BE49-F238E27FC236}">
                  <a16:creationId xmlns:a16="http://schemas.microsoft.com/office/drawing/2014/main" id="{484CF4A3-F03B-7857-B47C-1EA6E5E33450}"/>
                </a:ext>
              </a:extLst>
            </p:cNvPr>
            <p:cNvGrpSpPr/>
            <p:nvPr/>
          </p:nvGrpSpPr>
          <p:grpSpPr>
            <a:xfrm>
              <a:off x="5599176" y="3699414"/>
              <a:ext cx="75628" cy="75723"/>
              <a:chOff x="5599176" y="3699414"/>
              <a:chExt cx="75628" cy="75723"/>
            </a:xfrm>
          </p:grpSpPr>
          <p:sp>
            <p:nvSpPr>
              <p:cNvPr id="1679" name="Freeform: Shape 1678">
                <a:extLst>
                  <a:ext uri="{FF2B5EF4-FFF2-40B4-BE49-F238E27FC236}">
                    <a16:creationId xmlns:a16="http://schemas.microsoft.com/office/drawing/2014/main" id="{5CC4BFF5-59F4-D4B5-A581-037E7FEC95B2}"/>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 name="Freeform: Shape 1679">
                <a:extLst>
                  <a:ext uri="{FF2B5EF4-FFF2-40B4-BE49-F238E27FC236}">
                    <a16:creationId xmlns:a16="http://schemas.microsoft.com/office/drawing/2014/main" id="{092E2374-93D3-8671-6A63-E1E21F24F29D}"/>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6" name="Graphic 112">
              <a:extLst>
                <a:ext uri="{FF2B5EF4-FFF2-40B4-BE49-F238E27FC236}">
                  <a16:creationId xmlns:a16="http://schemas.microsoft.com/office/drawing/2014/main" id="{4E729FB6-0B64-122A-32D4-4D8B810F23F5}"/>
                </a:ext>
              </a:extLst>
            </p:cNvPr>
            <p:cNvGrpSpPr/>
            <p:nvPr/>
          </p:nvGrpSpPr>
          <p:grpSpPr>
            <a:xfrm>
              <a:off x="5610701" y="3709130"/>
              <a:ext cx="75723" cy="75723"/>
              <a:chOff x="5610701" y="3709130"/>
              <a:chExt cx="75723" cy="75723"/>
            </a:xfrm>
          </p:grpSpPr>
          <p:sp>
            <p:nvSpPr>
              <p:cNvPr id="1677" name="Freeform: Shape 1676">
                <a:extLst>
                  <a:ext uri="{FF2B5EF4-FFF2-40B4-BE49-F238E27FC236}">
                    <a16:creationId xmlns:a16="http://schemas.microsoft.com/office/drawing/2014/main" id="{80FC01E0-37CD-0F30-7ECE-2FBE67CC578F}"/>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 name="Freeform: Shape 1677">
                <a:extLst>
                  <a:ext uri="{FF2B5EF4-FFF2-40B4-BE49-F238E27FC236}">
                    <a16:creationId xmlns:a16="http://schemas.microsoft.com/office/drawing/2014/main" id="{FB2ED241-FADB-D80E-BFA6-2A5733AB0B34}"/>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7" name="Graphic 112">
              <a:extLst>
                <a:ext uri="{FF2B5EF4-FFF2-40B4-BE49-F238E27FC236}">
                  <a16:creationId xmlns:a16="http://schemas.microsoft.com/office/drawing/2014/main" id="{D5F0C863-6A32-BA21-A520-3CE663FF7E7C}"/>
                </a:ext>
              </a:extLst>
            </p:cNvPr>
            <p:cNvGrpSpPr/>
            <p:nvPr/>
          </p:nvGrpSpPr>
          <p:grpSpPr>
            <a:xfrm>
              <a:off x="5619845" y="3716274"/>
              <a:ext cx="75628" cy="75723"/>
              <a:chOff x="5619845" y="3716274"/>
              <a:chExt cx="75628" cy="75723"/>
            </a:xfrm>
          </p:grpSpPr>
          <p:sp>
            <p:nvSpPr>
              <p:cNvPr id="1675" name="Freeform: Shape 1674">
                <a:extLst>
                  <a:ext uri="{FF2B5EF4-FFF2-40B4-BE49-F238E27FC236}">
                    <a16:creationId xmlns:a16="http://schemas.microsoft.com/office/drawing/2014/main" id="{F9D3AC0B-2357-3A1D-B0AD-BC9420EC2133}"/>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 name="Freeform: Shape 1675">
                <a:extLst>
                  <a:ext uri="{FF2B5EF4-FFF2-40B4-BE49-F238E27FC236}">
                    <a16:creationId xmlns:a16="http://schemas.microsoft.com/office/drawing/2014/main" id="{BC3EC0C8-2F91-1F7C-BA58-FEEB1395D92E}"/>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8" name="Graphic 112">
              <a:extLst>
                <a:ext uri="{FF2B5EF4-FFF2-40B4-BE49-F238E27FC236}">
                  <a16:creationId xmlns:a16="http://schemas.microsoft.com/office/drawing/2014/main" id="{4FFC92A2-AFA8-3D38-254F-19D4F9930701}"/>
                </a:ext>
              </a:extLst>
            </p:cNvPr>
            <p:cNvGrpSpPr/>
            <p:nvPr/>
          </p:nvGrpSpPr>
          <p:grpSpPr>
            <a:xfrm>
              <a:off x="5619845" y="3737324"/>
              <a:ext cx="75628" cy="75628"/>
              <a:chOff x="5619845" y="3737324"/>
              <a:chExt cx="75628" cy="75628"/>
            </a:xfrm>
          </p:grpSpPr>
          <p:sp>
            <p:nvSpPr>
              <p:cNvPr id="1673" name="Freeform: Shape 1672">
                <a:extLst>
                  <a:ext uri="{FF2B5EF4-FFF2-40B4-BE49-F238E27FC236}">
                    <a16:creationId xmlns:a16="http://schemas.microsoft.com/office/drawing/2014/main" id="{2BEF62C1-EC49-A3C7-0757-961DF9D74325}"/>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 name="Freeform: Shape 1673">
                <a:extLst>
                  <a:ext uri="{FF2B5EF4-FFF2-40B4-BE49-F238E27FC236}">
                    <a16:creationId xmlns:a16="http://schemas.microsoft.com/office/drawing/2014/main" id="{9B5486EA-9BF6-4412-F4AD-43F1A0885CAA}"/>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9" name="Graphic 112">
              <a:extLst>
                <a:ext uri="{FF2B5EF4-FFF2-40B4-BE49-F238E27FC236}">
                  <a16:creationId xmlns:a16="http://schemas.microsoft.com/office/drawing/2014/main" id="{7D3073D5-E95F-03A9-07AF-60551D17F93E}"/>
                </a:ext>
              </a:extLst>
            </p:cNvPr>
            <p:cNvGrpSpPr/>
            <p:nvPr/>
          </p:nvGrpSpPr>
          <p:grpSpPr>
            <a:xfrm>
              <a:off x="5619845" y="3757707"/>
              <a:ext cx="75628" cy="75628"/>
              <a:chOff x="5619845" y="3757707"/>
              <a:chExt cx="75628" cy="75628"/>
            </a:xfrm>
          </p:grpSpPr>
          <p:sp>
            <p:nvSpPr>
              <p:cNvPr id="1671" name="Freeform: Shape 1670">
                <a:extLst>
                  <a:ext uri="{FF2B5EF4-FFF2-40B4-BE49-F238E27FC236}">
                    <a16:creationId xmlns:a16="http://schemas.microsoft.com/office/drawing/2014/main" id="{EC980338-8B39-1AAD-CD20-8CDF55449EC4}"/>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 name="Freeform: Shape 1671">
                <a:extLst>
                  <a:ext uri="{FF2B5EF4-FFF2-40B4-BE49-F238E27FC236}">
                    <a16:creationId xmlns:a16="http://schemas.microsoft.com/office/drawing/2014/main" id="{EB491A48-0338-0D5E-37C1-706F6DFA1A89}"/>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0" name="Graphic 112">
              <a:extLst>
                <a:ext uri="{FF2B5EF4-FFF2-40B4-BE49-F238E27FC236}">
                  <a16:creationId xmlns:a16="http://schemas.microsoft.com/office/drawing/2014/main" id="{C60FD92D-7DF0-BBD5-ED33-47DF099EDD92}"/>
                </a:ext>
              </a:extLst>
            </p:cNvPr>
            <p:cNvGrpSpPr/>
            <p:nvPr/>
          </p:nvGrpSpPr>
          <p:grpSpPr>
            <a:xfrm>
              <a:off x="5631942" y="3764946"/>
              <a:ext cx="75723" cy="75723"/>
              <a:chOff x="5631942" y="3764946"/>
              <a:chExt cx="75723" cy="75723"/>
            </a:xfrm>
          </p:grpSpPr>
          <p:sp>
            <p:nvSpPr>
              <p:cNvPr id="1669" name="Freeform: Shape 1668">
                <a:extLst>
                  <a:ext uri="{FF2B5EF4-FFF2-40B4-BE49-F238E27FC236}">
                    <a16:creationId xmlns:a16="http://schemas.microsoft.com/office/drawing/2014/main" id="{36494D73-034D-C0C9-11BF-68F667214546}"/>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 name="Freeform: Shape 1669">
                <a:extLst>
                  <a:ext uri="{FF2B5EF4-FFF2-40B4-BE49-F238E27FC236}">
                    <a16:creationId xmlns:a16="http://schemas.microsoft.com/office/drawing/2014/main" id="{B1AA751D-FD10-52C8-255D-23BCABAD6222}"/>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1" name="Graphic 112">
              <a:extLst>
                <a:ext uri="{FF2B5EF4-FFF2-40B4-BE49-F238E27FC236}">
                  <a16:creationId xmlns:a16="http://schemas.microsoft.com/office/drawing/2014/main" id="{320ED889-DA2E-D207-8C76-B63C93226424}"/>
                </a:ext>
              </a:extLst>
            </p:cNvPr>
            <p:cNvGrpSpPr/>
            <p:nvPr/>
          </p:nvGrpSpPr>
          <p:grpSpPr>
            <a:xfrm>
              <a:off x="5648515" y="3764946"/>
              <a:ext cx="75723" cy="75723"/>
              <a:chOff x="5648515" y="3764946"/>
              <a:chExt cx="75723" cy="75723"/>
            </a:xfrm>
          </p:grpSpPr>
          <p:sp>
            <p:nvSpPr>
              <p:cNvPr id="1667" name="Freeform: Shape 1666">
                <a:extLst>
                  <a:ext uri="{FF2B5EF4-FFF2-40B4-BE49-F238E27FC236}">
                    <a16:creationId xmlns:a16="http://schemas.microsoft.com/office/drawing/2014/main" id="{772147E2-7DCD-652C-4CF9-462CF09DBD18}"/>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 name="Freeform: Shape 1667">
                <a:extLst>
                  <a:ext uri="{FF2B5EF4-FFF2-40B4-BE49-F238E27FC236}">
                    <a16:creationId xmlns:a16="http://schemas.microsoft.com/office/drawing/2014/main" id="{1974B9BD-0EEC-A9E4-DDA3-0A3C980F0E1E}"/>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2" name="Graphic 112">
              <a:extLst>
                <a:ext uri="{FF2B5EF4-FFF2-40B4-BE49-F238E27FC236}">
                  <a16:creationId xmlns:a16="http://schemas.microsoft.com/office/drawing/2014/main" id="{93D3B533-E4D6-AB80-B00A-13FB613254EE}"/>
                </a:ext>
              </a:extLst>
            </p:cNvPr>
            <p:cNvGrpSpPr/>
            <p:nvPr/>
          </p:nvGrpSpPr>
          <p:grpSpPr>
            <a:xfrm>
              <a:off x="5662041" y="3764946"/>
              <a:ext cx="75723" cy="75723"/>
              <a:chOff x="5662041" y="3764946"/>
              <a:chExt cx="75723" cy="75723"/>
            </a:xfrm>
          </p:grpSpPr>
          <p:sp>
            <p:nvSpPr>
              <p:cNvPr id="1665" name="Freeform: Shape 1664">
                <a:extLst>
                  <a:ext uri="{FF2B5EF4-FFF2-40B4-BE49-F238E27FC236}">
                    <a16:creationId xmlns:a16="http://schemas.microsoft.com/office/drawing/2014/main" id="{EA2B490D-4DFF-4F3C-762B-2C959BE1A2AE}"/>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 name="Freeform: Shape 1665">
                <a:extLst>
                  <a:ext uri="{FF2B5EF4-FFF2-40B4-BE49-F238E27FC236}">
                    <a16:creationId xmlns:a16="http://schemas.microsoft.com/office/drawing/2014/main" id="{52F052D8-A5A3-A4F5-CBB3-F34ED6625F73}"/>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3" name="Graphic 112">
              <a:extLst>
                <a:ext uri="{FF2B5EF4-FFF2-40B4-BE49-F238E27FC236}">
                  <a16:creationId xmlns:a16="http://schemas.microsoft.com/office/drawing/2014/main" id="{A2B74D26-CF0C-348B-A83B-608098F76D43}"/>
                </a:ext>
              </a:extLst>
            </p:cNvPr>
            <p:cNvGrpSpPr/>
            <p:nvPr/>
          </p:nvGrpSpPr>
          <p:grpSpPr>
            <a:xfrm>
              <a:off x="5075110" y="3425571"/>
              <a:ext cx="75628" cy="75723"/>
              <a:chOff x="5075110" y="3425571"/>
              <a:chExt cx="75628" cy="75723"/>
            </a:xfrm>
          </p:grpSpPr>
          <p:sp>
            <p:nvSpPr>
              <p:cNvPr id="1663" name="Freeform: Shape 1662">
                <a:extLst>
                  <a:ext uri="{FF2B5EF4-FFF2-40B4-BE49-F238E27FC236}">
                    <a16:creationId xmlns:a16="http://schemas.microsoft.com/office/drawing/2014/main" id="{6CEA62D1-A442-B43A-0FD9-040117E45571}"/>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 name="Freeform: Shape 1663">
                <a:extLst>
                  <a:ext uri="{FF2B5EF4-FFF2-40B4-BE49-F238E27FC236}">
                    <a16:creationId xmlns:a16="http://schemas.microsoft.com/office/drawing/2014/main" id="{A43B5CF7-D1C4-6764-E5F8-F20766A4FAF0}"/>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4" name="Graphic 112">
              <a:extLst>
                <a:ext uri="{FF2B5EF4-FFF2-40B4-BE49-F238E27FC236}">
                  <a16:creationId xmlns:a16="http://schemas.microsoft.com/office/drawing/2014/main" id="{8A1AC44C-1348-1E3A-ECB7-B4A33C6871BD}"/>
                </a:ext>
              </a:extLst>
            </p:cNvPr>
            <p:cNvGrpSpPr/>
            <p:nvPr/>
          </p:nvGrpSpPr>
          <p:grpSpPr>
            <a:xfrm>
              <a:off x="5099970" y="3425571"/>
              <a:ext cx="75723" cy="75723"/>
              <a:chOff x="5099970" y="3425571"/>
              <a:chExt cx="75723" cy="75723"/>
            </a:xfrm>
          </p:grpSpPr>
          <p:sp>
            <p:nvSpPr>
              <p:cNvPr id="1661" name="Freeform: Shape 1660">
                <a:extLst>
                  <a:ext uri="{FF2B5EF4-FFF2-40B4-BE49-F238E27FC236}">
                    <a16:creationId xmlns:a16="http://schemas.microsoft.com/office/drawing/2014/main" id="{F47399EE-F1D4-DC23-2124-DCFF5C1B9D96}"/>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 name="Freeform: Shape 1661">
                <a:extLst>
                  <a:ext uri="{FF2B5EF4-FFF2-40B4-BE49-F238E27FC236}">
                    <a16:creationId xmlns:a16="http://schemas.microsoft.com/office/drawing/2014/main" id="{EAD8C4A1-9C3B-A2BC-5658-A8AC68564B2A}"/>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5" name="Graphic 112">
              <a:extLst>
                <a:ext uri="{FF2B5EF4-FFF2-40B4-BE49-F238E27FC236}">
                  <a16:creationId xmlns:a16="http://schemas.microsoft.com/office/drawing/2014/main" id="{6D1ED98C-48FE-F015-3346-88422AB3BC8D}"/>
                </a:ext>
              </a:extLst>
            </p:cNvPr>
            <p:cNvGrpSpPr/>
            <p:nvPr/>
          </p:nvGrpSpPr>
          <p:grpSpPr>
            <a:xfrm>
              <a:off x="5137880" y="3463385"/>
              <a:ext cx="75628" cy="75723"/>
              <a:chOff x="5137880" y="3463385"/>
              <a:chExt cx="75628" cy="75723"/>
            </a:xfrm>
          </p:grpSpPr>
          <p:sp>
            <p:nvSpPr>
              <p:cNvPr id="1659" name="Freeform: Shape 1658">
                <a:extLst>
                  <a:ext uri="{FF2B5EF4-FFF2-40B4-BE49-F238E27FC236}">
                    <a16:creationId xmlns:a16="http://schemas.microsoft.com/office/drawing/2014/main" id="{5A9AC8A3-5220-A3A0-1E04-54827315A94B}"/>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 name="Freeform: Shape 1659">
                <a:extLst>
                  <a:ext uri="{FF2B5EF4-FFF2-40B4-BE49-F238E27FC236}">
                    <a16:creationId xmlns:a16="http://schemas.microsoft.com/office/drawing/2014/main" id="{19735CE8-AE4D-7634-20C7-EDB95B8BDBC5}"/>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6" name="Graphic 112">
              <a:extLst>
                <a:ext uri="{FF2B5EF4-FFF2-40B4-BE49-F238E27FC236}">
                  <a16:creationId xmlns:a16="http://schemas.microsoft.com/office/drawing/2014/main" id="{216B7A6D-9DF3-A771-D5F3-40EBFA3115A8}"/>
                </a:ext>
              </a:extLst>
            </p:cNvPr>
            <p:cNvGrpSpPr/>
            <p:nvPr/>
          </p:nvGrpSpPr>
          <p:grpSpPr>
            <a:xfrm>
              <a:off x="5152167" y="3463385"/>
              <a:ext cx="75723" cy="75723"/>
              <a:chOff x="5152167" y="3463385"/>
              <a:chExt cx="75723" cy="75723"/>
            </a:xfrm>
          </p:grpSpPr>
          <p:sp>
            <p:nvSpPr>
              <p:cNvPr id="1657" name="Freeform: Shape 1656">
                <a:extLst>
                  <a:ext uri="{FF2B5EF4-FFF2-40B4-BE49-F238E27FC236}">
                    <a16:creationId xmlns:a16="http://schemas.microsoft.com/office/drawing/2014/main" id="{A764DBDC-9FA8-738E-F95B-70FD8844D958}"/>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 name="Freeform: Shape 1657">
                <a:extLst>
                  <a:ext uri="{FF2B5EF4-FFF2-40B4-BE49-F238E27FC236}">
                    <a16:creationId xmlns:a16="http://schemas.microsoft.com/office/drawing/2014/main" id="{00BF6059-9397-AE14-D763-26476653257B}"/>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7" name="Graphic 112">
              <a:extLst>
                <a:ext uri="{FF2B5EF4-FFF2-40B4-BE49-F238E27FC236}">
                  <a16:creationId xmlns:a16="http://schemas.microsoft.com/office/drawing/2014/main" id="{193D762A-3608-8766-97A6-A5014754FD29}"/>
                </a:ext>
              </a:extLst>
            </p:cNvPr>
            <p:cNvGrpSpPr/>
            <p:nvPr/>
          </p:nvGrpSpPr>
          <p:grpSpPr>
            <a:xfrm>
              <a:off x="5166550" y="3463385"/>
              <a:ext cx="75628" cy="75723"/>
              <a:chOff x="5166550" y="3463385"/>
              <a:chExt cx="75628" cy="75723"/>
            </a:xfrm>
          </p:grpSpPr>
          <p:sp>
            <p:nvSpPr>
              <p:cNvPr id="1655" name="Freeform: Shape 1654">
                <a:extLst>
                  <a:ext uri="{FF2B5EF4-FFF2-40B4-BE49-F238E27FC236}">
                    <a16:creationId xmlns:a16="http://schemas.microsoft.com/office/drawing/2014/main" id="{B3338CC1-A482-C367-6B27-153CC9682EB4}"/>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 name="Freeform: Shape 1655">
                <a:extLst>
                  <a:ext uri="{FF2B5EF4-FFF2-40B4-BE49-F238E27FC236}">
                    <a16:creationId xmlns:a16="http://schemas.microsoft.com/office/drawing/2014/main" id="{FD78833E-DB77-A9DE-99B3-280D680B642A}"/>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8" name="Graphic 112">
              <a:extLst>
                <a:ext uri="{FF2B5EF4-FFF2-40B4-BE49-F238E27FC236}">
                  <a16:creationId xmlns:a16="http://schemas.microsoft.com/office/drawing/2014/main" id="{7434C6FC-2133-DC79-714B-5EEDE8226BBD}"/>
                </a:ext>
              </a:extLst>
            </p:cNvPr>
            <p:cNvGrpSpPr/>
            <p:nvPr/>
          </p:nvGrpSpPr>
          <p:grpSpPr>
            <a:xfrm>
              <a:off x="5180838" y="3523107"/>
              <a:ext cx="75723" cy="75723"/>
              <a:chOff x="5180838" y="3523107"/>
              <a:chExt cx="75723" cy="75723"/>
            </a:xfrm>
          </p:grpSpPr>
          <p:sp>
            <p:nvSpPr>
              <p:cNvPr id="1653" name="Freeform: Shape 1652">
                <a:extLst>
                  <a:ext uri="{FF2B5EF4-FFF2-40B4-BE49-F238E27FC236}">
                    <a16:creationId xmlns:a16="http://schemas.microsoft.com/office/drawing/2014/main" id="{5EF10336-F87D-ED7A-C3ED-8C970E69736A}"/>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 name="Freeform: Shape 1653">
                <a:extLst>
                  <a:ext uri="{FF2B5EF4-FFF2-40B4-BE49-F238E27FC236}">
                    <a16:creationId xmlns:a16="http://schemas.microsoft.com/office/drawing/2014/main" id="{E95845B5-5D36-5963-29E5-C3D0868B2034}"/>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 name="Graphic 112">
              <a:extLst>
                <a:ext uri="{FF2B5EF4-FFF2-40B4-BE49-F238E27FC236}">
                  <a16:creationId xmlns:a16="http://schemas.microsoft.com/office/drawing/2014/main" id="{701A516C-CBB4-53BF-9B05-F87809E844E1}"/>
                </a:ext>
              </a:extLst>
            </p:cNvPr>
            <p:cNvGrpSpPr/>
            <p:nvPr/>
          </p:nvGrpSpPr>
          <p:grpSpPr>
            <a:xfrm>
              <a:off x="5227701" y="3598830"/>
              <a:ext cx="75628" cy="75723"/>
              <a:chOff x="5227701" y="3598830"/>
              <a:chExt cx="75628" cy="75723"/>
            </a:xfrm>
          </p:grpSpPr>
          <p:sp>
            <p:nvSpPr>
              <p:cNvPr id="1651" name="Freeform: Shape 1650">
                <a:extLst>
                  <a:ext uri="{FF2B5EF4-FFF2-40B4-BE49-F238E27FC236}">
                    <a16:creationId xmlns:a16="http://schemas.microsoft.com/office/drawing/2014/main" id="{E7A887D4-5B28-73A9-C724-AA9446123BFF}"/>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2" name="Freeform: Shape 1651">
                <a:extLst>
                  <a:ext uri="{FF2B5EF4-FFF2-40B4-BE49-F238E27FC236}">
                    <a16:creationId xmlns:a16="http://schemas.microsoft.com/office/drawing/2014/main" id="{DD6DFD9F-48D3-5BB1-72D6-139726E04A5C}"/>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 name="Graphic 112">
              <a:extLst>
                <a:ext uri="{FF2B5EF4-FFF2-40B4-BE49-F238E27FC236}">
                  <a16:creationId xmlns:a16="http://schemas.microsoft.com/office/drawing/2014/main" id="{AD3A1596-6CDF-12D4-25E7-A727313219CD}"/>
                </a:ext>
              </a:extLst>
            </p:cNvPr>
            <p:cNvGrpSpPr/>
            <p:nvPr/>
          </p:nvGrpSpPr>
          <p:grpSpPr>
            <a:xfrm>
              <a:off x="5195316" y="3549015"/>
              <a:ext cx="75628" cy="75628"/>
              <a:chOff x="5195316" y="3549015"/>
              <a:chExt cx="75628" cy="75628"/>
            </a:xfrm>
          </p:grpSpPr>
          <p:sp>
            <p:nvSpPr>
              <p:cNvPr id="1649" name="Freeform: Shape 1648">
                <a:extLst>
                  <a:ext uri="{FF2B5EF4-FFF2-40B4-BE49-F238E27FC236}">
                    <a16:creationId xmlns:a16="http://schemas.microsoft.com/office/drawing/2014/main" id="{44EEE5CF-77F1-F900-3E3D-66DEE8F121A8}"/>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0" name="Freeform: Shape 1649">
                <a:extLst>
                  <a:ext uri="{FF2B5EF4-FFF2-40B4-BE49-F238E27FC236}">
                    <a16:creationId xmlns:a16="http://schemas.microsoft.com/office/drawing/2014/main" id="{3B7D6605-41EB-A02F-0B00-F5252AE54034}"/>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 name="Graphic 112">
              <a:extLst>
                <a:ext uri="{FF2B5EF4-FFF2-40B4-BE49-F238E27FC236}">
                  <a16:creationId xmlns:a16="http://schemas.microsoft.com/office/drawing/2014/main" id="{E45D74A1-2D61-9465-93BB-758F31836341}"/>
                </a:ext>
              </a:extLst>
            </p:cNvPr>
            <p:cNvGrpSpPr/>
            <p:nvPr/>
          </p:nvGrpSpPr>
          <p:grpSpPr>
            <a:xfrm>
              <a:off x="5184362" y="3549015"/>
              <a:ext cx="75723" cy="75628"/>
              <a:chOff x="5184362" y="3549015"/>
              <a:chExt cx="75723" cy="75628"/>
            </a:xfrm>
          </p:grpSpPr>
          <p:sp>
            <p:nvSpPr>
              <p:cNvPr id="1647" name="Freeform: Shape 1646">
                <a:extLst>
                  <a:ext uri="{FF2B5EF4-FFF2-40B4-BE49-F238E27FC236}">
                    <a16:creationId xmlns:a16="http://schemas.microsoft.com/office/drawing/2014/main" id="{925E8A96-077E-0850-4C77-F1D26A2F7306}"/>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8" name="Freeform: Shape 1647">
                <a:extLst>
                  <a:ext uri="{FF2B5EF4-FFF2-40B4-BE49-F238E27FC236}">
                    <a16:creationId xmlns:a16="http://schemas.microsoft.com/office/drawing/2014/main" id="{37519084-E5F1-8455-3E92-EC980BD90F7C}"/>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 name="Graphic 112">
              <a:extLst>
                <a:ext uri="{FF2B5EF4-FFF2-40B4-BE49-F238E27FC236}">
                  <a16:creationId xmlns:a16="http://schemas.microsoft.com/office/drawing/2014/main" id="{BAB8A9D1-692F-916A-7408-E2B7858AD32A}"/>
                </a:ext>
              </a:extLst>
            </p:cNvPr>
            <p:cNvGrpSpPr/>
            <p:nvPr/>
          </p:nvGrpSpPr>
          <p:grpSpPr>
            <a:xfrm>
              <a:off x="4769643" y="3323272"/>
              <a:ext cx="75723" cy="75628"/>
              <a:chOff x="4769643" y="3323272"/>
              <a:chExt cx="75723" cy="75628"/>
            </a:xfrm>
          </p:grpSpPr>
          <p:sp>
            <p:nvSpPr>
              <p:cNvPr id="1645" name="Freeform: Shape 1644">
                <a:extLst>
                  <a:ext uri="{FF2B5EF4-FFF2-40B4-BE49-F238E27FC236}">
                    <a16:creationId xmlns:a16="http://schemas.microsoft.com/office/drawing/2014/main" id="{335C8631-3C89-0AE1-4C21-6F938FCEC871}"/>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 name="Freeform: Shape 1645">
                <a:extLst>
                  <a:ext uri="{FF2B5EF4-FFF2-40B4-BE49-F238E27FC236}">
                    <a16:creationId xmlns:a16="http://schemas.microsoft.com/office/drawing/2014/main" id="{0098CDB2-B3F5-16AB-CD78-4AD6B834881F}"/>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 name="Graphic 112">
              <a:extLst>
                <a:ext uri="{FF2B5EF4-FFF2-40B4-BE49-F238E27FC236}">
                  <a16:creationId xmlns:a16="http://schemas.microsoft.com/office/drawing/2014/main" id="{17967296-E12C-4A94-1C99-39C8ABD38B2D}"/>
                </a:ext>
              </a:extLst>
            </p:cNvPr>
            <p:cNvGrpSpPr/>
            <p:nvPr/>
          </p:nvGrpSpPr>
          <p:grpSpPr>
            <a:xfrm>
              <a:off x="4755165" y="3323272"/>
              <a:ext cx="75723" cy="75628"/>
              <a:chOff x="4755165" y="3323272"/>
              <a:chExt cx="75723" cy="75628"/>
            </a:xfrm>
          </p:grpSpPr>
          <p:sp>
            <p:nvSpPr>
              <p:cNvPr id="1643" name="Freeform: Shape 1642">
                <a:extLst>
                  <a:ext uri="{FF2B5EF4-FFF2-40B4-BE49-F238E27FC236}">
                    <a16:creationId xmlns:a16="http://schemas.microsoft.com/office/drawing/2014/main" id="{EF81597F-61B1-F51C-519A-010AB70BAA1B}"/>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 name="Freeform: Shape 1643">
                <a:extLst>
                  <a:ext uri="{FF2B5EF4-FFF2-40B4-BE49-F238E27FC236}">
                    <a16:creationId xmlns:a16="http://schemas.microsoft.com/office/drawing/2014/main" id="{CEC8A042-4701-4A25-4A6D-3C55354960E9}"/>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 name="Graphic 112">
              <a:extLst>
                <a:ext uri="{FF2B5EF4-FFF2-40B4-BE49-F238E27FC236}">
                  <a16:creationId xmlns:a16="http://schemas.microsoft.com/office/drawing/2014/main" id="{F577C347-82AB-854C-D920-4F81277D5B08}"/>
                </a:ext>
              </a:extLst>
            </p:cNvPr>
            <p:cNvGrpSpPr/>
            <p:nvPr/>
          </p:nvGrpSpPr>
          <p:grpSpPr>
            <a:xfrm>
              <a:off x="4762404" y="3323272"/>
              <a:ext cx="75723" cy="75628"/>
              <a:chOff x="4762404" y="3323272"/>
              <a:chExt cx="75723" cy="75628"/>
            </a:xfrm>
          </p:grpSpPr>
          <p:sp>
            <p:nvSpPr>
              <p:cNvPr id="1641" name="Freeform: Shape 1640">
                <a:extLst>
                  <a:ext uri="{FF2B5EF4-FFF2-40B4-BE49-F238E27FC236}">
                    <a16:creationId xmlns:a16="http://schemas.microsoft.com/office/drawing/2014/main" id="{A6EC35D5-C484-6A83-7336-25275F589479}"/>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 name="Freeform: Shape 1641">
                <a:extLst>
                  <a:ext uri="{FF2B5EF4-FFF2-40B4-BE49-F238E27FC236}">
                    <a16:creationId xmlns:a16="http://schemas.microsoft.com/office/drawing/2014/main" id="{341466CE-6B9C-B2A4-3857-F614BE34A401}"/>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5" name="Graphic 112">
              <a:extLst>
                <a:ext uri="{FF2B5EF4-FFF2-40B4-BE49-F238E27FC236}">
                  <a16:creationId xmlns:a16="http://schemas.microsoft.com/office/drawing/2014/main" id="{7950EDF3-0ECF-9BEC-617B-5A36F2AA2633}"/>
                </a:ext>
              </a:extLst>
            </p:cNvPr>
            <p:cNvGrpSpPr/>
            <p:nvPr/>
          </p:nvGrpSpPr>
          <p:grpSpPr>
            <a:xfrm>
              <a:off x="4724590" y="3199257"/>
              <a:ext cx="75628" cy="75628"/>
              <a:chOff x="4724590" y="3199257"/>
              <a:chExt cx="75628" cy="75628"/>
            </a:xfrm>
          </p:grpSpPr>
          <p:sp>
            <p:nvSpPr>
              <p:cNvPr id="1639" name="Freeform: Shape 1638">
                <a:extLst>
                  <a:ext uri="{FF2B5EF4-FFF2-40B4-BE49-F238E27FC236}">
                    <a16:creationId xmlns:a16="http://schemas.microsoft.com/office/drawing/2014/main" id="{2F58AEF3-CD42-F67B-920F-989D88C85920}"/>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 name="Freeform: Shape 1639">
                <a:extLst>
                  <a:ext uri="{FF2B5EF4-FFF2-40B4-BE49-F238E27FC236}">
                    <a16:creationId xmlns:a16="http://schemas.microsoft.com/office/drawing/2014/main" id="{E1CD9F01-BD05-F2B4-7C54-59CB1C28518E}"/>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6" name="Graphic 112">
              <a:extLst>
                <a:ext uri="{FF2B5EF4-FFF2-40B4-BE49-F238E27FC236}">
                  <a16:creationId xmlns:a16="http://schemas.microsoft.com/office/drawing/2014/main" id="{E9512DD7-9000-09AB-3A64-ACE2B098D558}"/>
                </a:ext>
              </a:extLst>
            </p:cNvPr>
            <p:cNvGrpSpPr/>
            <p:nvPr/>
          </p:nvGrpSpPr>
          <p:grpSpPr>
            <a:xfrm>
              <a:off x="4710112" y="3199257"/>
              <a:ext cx="75628" cy="75628"/>
              <a:chOff x="4710112" y="3199257"/>
              <a:chExt cx="75628" cy="75628"/>
            </a:xfrm>
          </p:grpSpPr>
          <p:sp>
            <p:nvSpPr>
              <p:cNvPr id="1637" name="Freeform: Shape 1636">
                <a:extLst>
                  <a:ext uri="{FF2B5EF4-FFF2-40B4-BE49-F238E27FC236}">
                    <a16:creationId xmlns:a16="http://schemas.microsoft.com/office/drawing/2014/main" id="{42FB3749-3741-8847-C240-A2246EB5FD79}"/>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 name="Freeform: Shape 1637">
                <a:extLst>
                  <a:ext uri="{FF2B5EF4-FFF2-40B4-BE49-F238E27FC236}">
                    <a16:creationId xmlns:a16="http://schemas.microsoft.com/office/drawing/2014/main" id="{C28CEEC9-DB14-5C9F-33FE-AD3171D7143A}"/>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7" name="Graphic 112">
              <a:extLst>
                <a:ext uri="{FF2B5EF4-FFF2-40B4-BE49-F238E27FC236}">
                  <a16:creationId xmlns:a16="http://schemas.microsoft.com/office/drawing/2014/main" id="{177A70ED-A303-34E1-BBB4-DAACB4ECAE63}"/>
                </a:ext>
              </a:extLst>
            </p:cNvPr>
            <p:cNvGrpSpPr/>
            <p:nvPr/>
          </p:nvGrpSpPr>
          <p:grpSpPr>
            <a:xfrm>
              <a:off x="4717351" y="3199257"/>
              <a:ext cx="75628" cy="75628"/>
              <a:chOff x="4717351" y="3199257"/>
              <a:chExt cx="75628" cy="75628"/>
            </a:xfrm>
          </p:grpSpPr>
          <p:sp>
            <p:nvSpPr>
              <p:cNvPr id="1635" name="Freeform: Shape 1634">
                <a:extLst>
                  <a:ext uri="{FF2B5EF4-FFF2-40B4-BE49-F238E27FC236}">
                    <a16:creationId xmlns:a16="http://schemas.microsoft.com/office/drawing/2014/main" id="{F7CF9296-98DC-A821-923C-9B2229291092}"/>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 name="Freeform: Shape 1635">
                <a:extLst>
                  <a:ext uri="{FF2B5EF4-FFF2-40B4-BE49-F238E27FC236}">
                    <a16:creationId xmlns:a16="http://schemas.microsoft.com/office/drawing/2014/main" id="{66FF1B01-5763-27B6-E4B3-89010C0B662A}"/>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8" name="Graphic 112">
              <a:extLst>
                <a:ext uri="{FF2B5EF4-FFF2-40B4-BE49-F238E27FC236}">
                  <a16:creationId xmlns:a16="http://schemas.microsoft.com/office/drawing/2014/main" id="{BE20F438-95CD-CD1F-BDB8-3953BA0DF50B}"/>
                </a:ext>
              </a:extLst>
            </p:cNvPr>
            <p:cNvGrpSpPr/>
            <p:nvPr/>
          </p:nvGrpSpPr>
          <p:grpSpPr>
            <a:xfrm>
              <a:off x="4731829" y="3199257"/>
              <a:ext cx="75628" cy="75628"/>
              <a:chOff x="4731829" y="3199257"/>
              <a:chExt cx="75628" cy="75628"/>
            </a:xfrm>
          </p:grpSpPr>
          <p:sp>
            <p:nvSpPr>
              <p:cNvPr id="1633" name="Freeform: Shape 1632">
                <a:extLst>
                  <a:ext uri="{FF2B5EF4-FFF2-40B4-BE49-F238E27FC236}">
                    <a16:creationId xmlns:a16="http://schemas.microsoft.com/office/drawing/2014/main" id="{5D8F5B56-40F1-FC3E-8655-285AB9963E2F}"/>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4" name="Freeform: Shape 1633">
                <a:extLst>
                  <a:ext uri="{FF2B5EF4-FFF2-40B4-BE49-F238E27FC236}">
                    <a16:creationId xmlns:a16="http://schemas.microsoft.com/office/drawing/2014/main" id="{CF7501BC-4D63-E276-5BC3-7F94B53A75E8}"/>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9" name="Graphic 112">
              <a:extLst>
                <a:ext uri="{FF2B5EF4-FFF2-40B4-BE49-F238E27FC236}">
                  <a16:creationId xmlns:a16="http://schemas.microsoft.com/office/drawing/2014/main" id="{C21B27FD-ADCF-2EC1-0CF6-ECD584562F99}"/>
                </a:ext>
              </a:extLst>
            </p:cNvPr>
            <p:cNvGrpSpPr/>
            <p:nvPr/>
          </p:nvGrpSpPr>
          <p:grpSpPr>
            <a:xfrm>
              <a:off x="4751546" y="3244024"/>
              <a:ext cx="75723" cy="75628"/>
              <a:chOff x="4751546" y="3244024"/>
              <a:chExt cx="75723" cy="75628"/>
            </a:xfrm>
          </p:grpSpPr>
          <p:sp>
            <p:nvSpPr>
              <p:cNvPr id="1631" name="Freeform: Shape 1630">
                <a:extLst>
                  <a:ext uri="{FF2B5EF4-FFF2-40B4-BE49-F238E27FC236}">
                    <a16:creationId xmlns:a16="http://schemas.microsoft.com/office/drawing/2014/main" id="{6237A0ED-98FB-CE60-B5E7-A32F43E1B4C3}"/>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2" name="Freeform: Shape 1631">
                <a:extLst>
                  <a:ext uri="{FF2B5EF4-FFF2-40B4-BE49-F238E27FC236}">
                    <a16:creationId xmlns:a16="http://schemas.microsoft.com/office/drawing/2014/main" id="{A3E0EFD8-14D4-5EDE-964C-D8DC562CA532}"/>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0" name="Graphic 112">
              <a:extLst>
                <a:ext uri="{FF2B5EF4-FFF2-40B4-BE49-F238E27FC236}">
                  <a16:creationId xmlns:a16="http://schemas.microsoft.com/office/drawing/2014/main" id="{8AF6A9F2-1C58-0DF5-7147-CF13F63B80B3}"/>
                </a:ext>
              </a:extLst>
            </p:cNvPr>
            <p:cNvGrpSpPr/>
            <p:nvPr/>
          </p:nvGrpSpPr>
          <p:grpSpPr>
            <a:xfrm>
              <a:off x="4737068" y="3244024"/>
              <a:ext cx="75723" cy="75628"/>
              <a:chOff x="4737068" y="3244024"/>
              <a:chExt cx="75723" cy="75628"/>
            </a:xfrm>
          </p:grpSpPr>
          <p:sp>
            <p:nvSpPr>
              <p:cNvPr id="1629" name="Freeform: Shape 1628">
                <a:extLst>
                  <a:ext uri="{FF2B5EF4-FFF2-40B4-BE49-F238E27FC236}">
                    <a16:creationId xmlns:a16="http://schemas.microsoft.com/office/drawing/2014/main" id="{CB1BEB66-A4CA-AEE4-BB26-10DFBE5EB442}"/>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 name="Freeform: Shape 1629">
                <a:extLst>
                  <a:ext uri="{FF2B5EF4-FFF2-40B4-BE49-F238E27FC236}">
                    <a16:creationId xmlns:a16="http://schemas.microsoft.com/office/drawing/2014/main" id="{4F7CEC56-EC8A-82B2-909C-2F557BCE81F8}"/>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1" name="Graphic 112">
              <a:extLst>
                <a:ext uri="{FF2B5EF4-FFF2-40B4-BE49-F238E27FC236}">
                  <a16:creationId xmlns:a16="http://schemas.microsoft.com/office/drawing/2014/main" id="{839D0B4C-6215-2A5B-45C3-1E7EF8E94D1A}"/>
                </a:ext>
              </a:extLst>
            </p:cNvPr>
            <p:cNvGrpSpPr/>
            <p:nvPr/>
          </p:nvGrpSpPr>
          <p:grpSpPr>
            <a:xfrm>
              <a:off x="4744307" y="3244024"/>
              <a:ext cx="75723" cy="75628"/>
              <a:chOff x="4744307" y="3244024"/>
              <a:chExt cx="75723" cy="75628"/>
            </a:xfrm>
          </p:grpSpPr>
          <p:sp>
            <p:nvSpPr>
              <p:cNvPr id="1627" name="Freeform: Shape 1626">
                <a:extLst>
                  <a:ext uri="{FF2B5EF4-FFF2-40B4-BE49-F238E27FC236}">
                    <a16:creationId xmlns:a16="http://schemas.microsoft.com/office/drawing/2014/main" id="{C887DFA2-5955-A5F2-7CEF-CA14ACDBF0CA}"/>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 name="Freeform: Shape 1627">
                <a:extLst>
                  <a:ext uri="{FF2B5EF4-FFF2-40B4-BE49-F238E27FC236}">
                    <a16:creationId xmlns:a16="http://schemas.microsoft.com/office/drawing/2014/main" id="{85CD18DE-D0F9-5293-1FDA-CB0B5CE87671}"/>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2" name="Graphic 112">
              <a:extLst>
                <a:ext uri="{FF2B5EF4-FFF2-40B4-BE49-F238E27FC236}">
                  <a16:creationId xmlns:a16="http://schemas.microsoft.com/office/drawing/2014/main" id="{63F577D9-8751-C423-2079-8B37F20A773C}"/>
                </a:ext>
              </a:extLst>
            </p:cNvPr>
            <p:cNvGrpSpPr/>
            <p:nvPr/>
          </p:nvGrpSpPr>
          <p:grpSpPr>
            <a:xfrm>
              <a:off x="4758785" y="3244024"/>
              <a:ext cx="75723" cy="75628"/>
              <a:chOff x="4758785" y="3244024"/>
              <a:chExt cx="75723" cy="75628"/>
            </a:xfrm>
          </p:grpSpPr>
          <p:sp>
            <p:nvSpPr>
              <p:cNvPr id="1625" name="Freeform: Shape 1624">
                <a:extLst>
                  <a:ext uri="{FF2B5EF4-FFF2-40B4-BE49-F238E27FC236}">
                    <a16:creationId xmlns:a16="http://schemas.microsoft.com/office/drawing/2014/main" id="{03ADC48D-29E3-F2E6-203A-C14EBD1A4678}"/>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 name="Freeform: Shape 1625">
                <a:extLst>
                  <a:ext uri="{FF2B5EF4-FFF2-40B4-BE49-F238E27FC236}">
                    <a16:creationId xmlns:a16="http://schemas.microsoft.com/office/drawing/2014/main" id="{DCDCAC34-6D87-C19B-F123-9F36E693A731}"/>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3" name="Graphic 112">
              <a:extLst>
                <a:ext uri="{FF2B5EF4-FFF2-40B4-BE49-F238E27FC236}">
                  <a16:creationId xmlns:a16="http://schemas.microsoft.com/office/drawing/2014/main" id="{ECF07B5F-CBA4-46BB-C6E9-989A0179D157}"/>
                </a:ext>
              </a:extLst>
            </p:cNvPr>
            <p:cNvGrpSpPr/>
            <p:nvPr/>
          </p:nvGrpSpPr>
          <p:grpSpPr>
            <a:xfrm>
              <a:off x="4747926" y="3261264"/>
              <a:ext cx="75723" cy="75628"/>
              <a:chOff x="4747926" y="3261264"/>
              <a:chExt cx="75723" cy="75628"/>
            </a:xfrm>
          </p:grpSpPr>
          <p:sp>
            <p:nvSpPr>
              <p:cNvPr id="1623" name="Freeform: Shape 1622">
                <a:extLst>
                  <a:ext uri="{FF2B5EF4-FFF2-40B4-BE49-F238E27FC236}">
                    <a16:creationId xmlns:a16="http://schemas.microsoft.com/office/drawing/2014/main" id="{D9A1DD69-52EC-414F-EF43-D074E5319D32}"/>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 name="Freeform: Shape 1623">
                <a:extLst>
                  <a:ext uri="{FF2B5EF4-FFF2-40B4-BE49-F238E27FC236}">
                    <a16:creationId xmlns:a16="http://schemas.microsoft.com/office/drawing/2014/main" id="{6F543709-E016-BF7B-CE3D-2E22C42AF35B}"/>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4" name="Graphic 112">
              <a:extLst>
                <a:ext uri="{FF2B5EF4-FFF2-40B4-BE49-F238E27FC236}">
                  <a16:creationId xmlns:a16="http://schemas.microsoft.com/office/drawing/2014/main" id="{0686470C-9E4F-0BC0-C49F-4A64D37DAADF}"/>
                </a:ext>
              </a:extLst>
            </p:cNvPr>
            <p:cNvGrpSpPr/>
            <p:nvPr/>
          </p:nvGrpSpPr>
          <p:grpSpPr>
            <a:xfrm>
              <a:off x="4755165" y="3261264"/>
              <a:ext cx="75723" cy="75628"/>
              <a:chOff x="4755165" y="3261264"/>
              <a:chExt cx="75723" cy="75628"/>
            </a:xfrm>
          </p:grpSpPr>
          <p:sp>
            <p:nvSpPr>
              <p:cNvPr id="1621" name="Freeform: Shape 1620">
                <a:extLst>
                  <a:ext uri="{FF2B5EF4-FFF2-40B4-BE49-F238E27FC236}">
                    <a16:creationId xmlns:a16="http://schemas.microsoft.com/office/drawing/2014/main" id="{6D258B36-5676-89FA-0C7D-6FCFB0104838}"/>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 name="Freeform: Shape 1621">
                <a:extLst>
                  <a:ext uri="{FF2B5EF4-FFF2-40B4-BE49-F238E27FC236}">
                    <a16:creationId xmlns:a16="http://schemas.microsoft.com/office/drawing/2014/main" id="{17FF529B-E4D0-6848-7EF8-D41A0A187105}"/>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5" name="Graphic 112">
              <a:extLst>
                <a:ext uri="{FF2B5EF4-FFF2-40B4-BE49-F238E27FC236}">
                  <a16:creationId xmlns:a16="http://schemas.microsoft.com/office/drawing/2014/main" id="{B9D309D8-6E96-B7D6-0568-48282FEEAD10}"/>
                </a:ext>
              </a:extLst>
            </p:cNvPr>
            <p:cNvGrpSpPr/>
            <p:nvPr/>
          </p:nvGrpSpPr>
          <p:grpSpPr>
            <a:xfrm>
              <a:off x="4436078" y="3075527"/>
              <a:ext cx="75723" cy="75628"/>
              <a:chOff x="4436078" y="3075527"/>
              <a:chExt cx="75723" cy="75628"/>
            </a:xfrm>
          </p:grpSpPr>
          <p:sp>
            <p:nvSpPr>
              <p:cNvPr id="1619" name="Freeform: Shape 1618">
                <a:extLst>
                  <a:ext uri="{FF2B5EF4-FFF2-40B4-BE49-F238E27FC236}">
                    <a16:creationId xmlns:a16="http://schemas.microsoft.com/office/drawing/2014/main" id="{3E7F3B1C-3EB5-B8CB-4FED-4D9480643A13}"/>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 name="Freeform: Shape 1619">
                <a:extLst>
                  <a:ext uri="{FF2B5EF4-FFF2-40B4-BE49-F238E27FC236}">
                    <a16:creationId xmlns:a16="http://schemas.microsoft.com/office/drawing/2014/main" id="{0FC5A622-14D0-CECF-DFD8-320FA41673B8}"/>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6" name="Graphic 112">
              <a:extLst>
                <a:ext uri="{FF2B5EF4-FFF2-40B4-BE49-F238E27FC236}">
                  <a16:creationId xmlns:a16="http://schemas.microsoft.com/office/drawing/2014/main" id="{EF254A58-B031-D305-7284-7CB30B9D5B03}"/>
                </a:ext>
              </a:extLst>
            </p:cNvPr>
            <p:cNvGrpSpPr/>
            <p:nvPr/>
          </p:nvGrpSpPr>
          <p:grpSpPr>
            <a:xfrm>
              <a:off x="4372927" y="3062954"/>
              <a:ext cx="75628" cy="75628"/>
              <a:chOff x="4372927" y="3062954"/>
              <a:chExt cx="75628" cy="75628"/>
            </a:xfrm>
          </p:grpSpPr>
          <p:sp>
            <p:nvSpPr>
              <p:cNvPr id="1617" name="Freeform: Shape 1616">
                <a:extLst>
                  <a:ext uri="{FF2B5EF4-FFF2-40B4-BE49-F238E27FC236}">
                    <a16:creationId xmlns:a16="http://schemas.microsoft.com/office/drawing/2014/main" id="{660D7AF9-00B0-AD8D-C4E0-8EBE0666A6F7}"/>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 name="Freeform: Shape 1617">
                <a:extLst>
                  <a:ext uri="{FF2B5EF4-FFF2-40B4-BE49-F238E27FC236}">
                    <a16:creationId xmlns:a16="http://schemas.microsoft.com/office/drawing/2014/main" id="{67770828-6BDF-B8CC-D256-02F5662621F9}"/>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7" name="Graphic 112">
              <a:extLst>
                <a:ext uri="{FF2B5EF4-FFF2-40B4-BE49-F238E27FC236}">
                  <a16:creationId xmlns:a16="http://schemas.microsoft.com/office/drawing/2014/main" id="{BD8276CD-C864-D294-4904-15810178FF1C}"/>
                </a:ext>
              </a:extLst>
            </p:cNvPr>
            <p:cNvGrpSpPr/>
            <p:nvPr/>
          </p:nvGrpSpPr>
          <p:grpSpPr>
            <a:xfrm>
              <a:off x="4337589" y="3037617"/>
              <a:ext cx="75723" cy="75723"/>
              <a:chOff x="4337589" y="3037617"/>
              <a:chExt cx="75723" cy="75723"/>
            </a:xfrm>
          </p:grpSpPr>
          <p:sp>
            <p:nvSpPr>
              <p:cNvPr id="1615" name="Freeform: Shape 1614">
                <a:extLst>
                  <a:ext uri="{FF2B5EF4-FFF2-40B4-BE49-F238E27FC236}">
                    <a16:creationId xmlns:a16="http://schemas.microsoft.com/office/drawing/2014/main" id="{9CCFFA30-713D-2DB6-A5E8-976F77597E00}"/>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 name="Freeform: Shape 1615">
                <a:extLst>
                  <a:ext uri="{FF2B5EF4-FFF2-40B4-BE49-F238E27FC236}">
                    <a16:creationId xmlns:a16="http://schemas.microsoft.com/office/drawing/2014/main" id="{9FE66615-8D01-AF0E-06B3-6FB928A69A4F}"/>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8" name="Graphic 112">
              <a:extLst>
                <a:ext uri="{FF2B5EF4-FFF2-40B4-BE49-F238E27FC236}">
                  <a16:creationId xmlns:a16="http://schemas.microsoft.com/office/drawing/2014/main" id="{EF210467-60BC-5460-D063-D9A445037867}"/>
                </a:ext>
              </a:extLst>
            </p:cNvPr>
            <p:cNvGrpSpPr/>
            <p:nvPr/>
          </p:nvGrpSpPr>
          <p:grpSpPr>
            <a:xfrm>
              <a:off x="4343876" y="3037617"/>
              <a:ext cx="75723" cy="75723"/>
              <a:chOff x="4343876" y="3037617"/>
              <a:chExt cx="75723" cy="75723"/>
            </a:xfrm>
          </p:grpSpPr>
          <p:sp>
            <p:nvSpPr>
              <p:cNvPr id="1613" name="Freeform: Shape 1612">
                <a:extLst>
                  <a:ext uri="{FF2B5EF4-FFF2-40B4-BE49-F238E27FC236}">
                    <a16:creationId xmlns:a16="http://schemas.microsoft.com/office/drawing/2014/main" id="{65ED5E70-2ADD-80F1-C67C-4E4931629F6A}"/>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 name="Freeform: Shape 1613">
                <a:extLst>
                  <a:ext uri="{FF2B5EF4-FFF2-40B4-BE49-F238E27FC236}">
                    <a16:creationId xmlns:a16="http://schemas.microsoft.com/office/drawing/2014/main" id="{02FD804B-1FF6-6161-61AC-10771A30F6BC}"/>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9" name="Graphic 112">
              <a:extLst>
                <a:ext uri="{FF2B5EF4-FFF2-40B4-BE49-F238E27FC236}">
                  <a16:creationId xmlns:a16="http://schemas.microsoft.com/office/drawing/2014/main" id="{EF78FE36-1CA5-4E66-ECBF-A0A53E46F6F2}"/>
                </a:ext>
              </a:extLst>
            </p:cNvPr>
            <p:cNvGrpSpPr/>
            <p:nvPr/>
          </p:nvGrpSpPr>
          <p:grpSpPr>
            <a:xfrm>
              <a:off x="4350162" y="3037617"/>
              <a:ext cx="75723" cy="75723"/>
              <a:chOff x="4350162" y="3037617"/>
              <a:chExt cx="75723" cy="75723"/>
            </a:xfrm>
          </p:grpSpPr>
          <p:sp>
            <p:nvSpPr>
              <p:cNvPr id="1611" name="Freeform: Shape 1610">
                <a:extLst>
                  <a:ext uri="{FF2B5EF4-FFF2-40B4-BE49-F238E27FC236}">
                    <a16:creationId xmlns:a16="http://schemas.microsoft.com/office/drawing/2014/main" id="{3A2F8FD3-56CC-2A9A-B799-AD00EED0BB5B}"/>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 name="Freeform: Shape 1611">
                <a:extLst>
                  <a:ext uri="{FF2B5EF4-FFF2-40B4-BE49-F238E27FC236}">
                    <a16:creationId xmlns:a16="http://schemas.microsoft.com/office/drawing/2014/main" id="{FFFD9AC5-D1EE-6B69-B6D0-60660068FE57}"/>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0" name="Graphic 112">
              <a:extLst>
                <a:ext uri="{FF2B5EF4-FFF2-40B4-BE49-F238E27FC236}">
                  <a16:creationId xmlns:a16="http://schemas.microsoft.com/office/drawing/2014/main" id="{B3358068-E423-DCD8-B2D1-D4EEF8B03CA0}"/>
                </a:ext>
              </a:extLst>
            </p:cNvPr>
            <p:cNvGrpSpPr/>
            <p:nvPr/>
          </p:nvGrpSpPr>
          <p:grpSpPr>
            <a:xfrm>
              <a:off x="4329112" y="2975895"/>
              <a:ext cx="75723" cy="75628"/>
              <a:chOff x="4329112" y="2975895"/>
              <a:chExt cx="75723" cy="75628"/>
            </a:xfrm>
          </p:grpSpPr>
          <p:sp>
            <p:nvSpPr>
              <p:cNvPr id="1609" name="Freeform: Shape 1608">
                <a:extLst>
                  <a:ext uri="{FF2B5EF4-FFF2-40B4-BE49-F238E27FC236}">
                    <a16:creationId xmlns:a16="http://schemas.microsoft.com/office/drawing/2014/main" id="{C31C7E30-4FF4-D754-713B-30F13C5DC126}"/>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 name="Freeform: Shape 1609">
                <a:extLst>
                  <a:ext uri="{FF2B5EF4-FFF2-40B4-BE49-F238E27FC236}">
                    <a16:creationId xmlns:a16="http://schemas.microsoft.com/office/drawing/2014/main" id="{E686C216-3394-5BE1-2CCA-5112E31C56D4}"/>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1" name="Graphic 112">
              <a:extLst>
                <a:ext uri="{FF2B5EF4-FFF2-40B4-BE49-F238E27FC236}">
                  <a16:creationId xmlns:a16="http://schemas.microsoft.com/office/drawing/2014/main" id="{3451D415-4490-C1A8-D48F-1A6FA3CB0D4C}"/>
                </a:ext>
              </a:extLst>
            </p:cNvPr>
            <p:cNvGrpSpPr/>
            <p:nvPr/>
          </p:nvGrpSpPr>
          <p:grpSpPr>
            <a:xfrm>
              <a:off x="4283487" y="2903696"/>
              <a:ext cx="75723" cy="75723"/>
              <a:chOff x="4283487" y="2903696"/>
              <a:chExt cx="75723" cy="75723"/>
            </a:xfrm>
          </p:grpSpPr>
          <p:sp>
            <p:nvSpPr>
              <p:cNvPr id="1607" name="Freeform: Shape 1606">
                <a:extLst>
                  <a:ext uri="{FF2B5EF4-FFF2-40B4-BE49-F238E27FC236}">
                    <a16:creationId xmlns:a16="http://schemas.microsoft.com/office/drawing/2014/main" id="{61A696F6-2CE7-90E0-AFA1-62FDB6824BD8}"/>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 name="Freeform: Shape 1607">
                <a:extLst>
                  <a:ext uri="{FF2B5EF4-FFF2-40B4-BE49-F238E27FC236}">
                    <a16:creationId xmlns:a16="http://schemas.microsoft.com/office/drawing/2014/main" id="{1D39F098-12F8-4117-A673-883E147BBF5A}"/>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2" name="Graphic 112">
              <a:extLst>
                <a:ext uri="{FF2B5EF4-FFF2-40B4-BE49-F238E27FC236}">
                  <a16:creationId xmlns:a16="http://schemas.microsoft.com/office/drawing/2014/main" id="{6AADDD1F-0D22-C1A8-22AF-421BF9B9C763}"/>
                </a:ext>
              </a:extLst>
            </p:cNvPr>
            <p:cNvGrpSpPr/>
            <p:nvPr/>
          </p:nvGrpSpPr>
          <p:grpSpPr>
            <a:xfrm>
              <a:off x="4288345" y="2903696"/>
              <a:ext cx="75723" cy="75723"/>
              <a:chOff x="4288345" y="2903696"/>
              <a:chExt cx="75723" cy="75723"/>
            </a:xfrm>
          </p:grpSpPr>
          <p:sp>
            <p:nvSpPr>
              <p:cNvPr id="1605" name="Freeform: Shape 1604">
                <a:extLst>
                  <a:ext uri="{FF2B5EF4-FFF2-40B4-BE49-F238E27FC236}">
                    <a16:creationId xmlns:a16="http://schemas.microsoft.com/office/drawing/2014/main" id="{6E16CA12-53D1-AAE9-EBB8-3A9EEB9AC310}"/>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6" name="Freeform: Shape 1605">
                <a:extLst>
                  <a:ext uri="{FF2B5EF4-FFF2-40B4-BE49-F238E27FC236}">
                    <a16:creationId xmlns:a16="http://schemas.microsoft.com/office/drawing/2014/main" id="{08EBAFFD-5A61-1E52-35A0-F4BE9FE03BF8}"/>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 name="Graphic 112">
              <a:extLst>
                <a:ext uri="{FF2B5EF4-FFF2-40B4-BE49-F238E27FC236}">
                  <a16:creationId xmlns:a16="http://schemas.microsoft.com/office/drawing/2014/main" id="{65850FC7-4D2C-DB74-4738-B808F3B3F8F4}"/>
                </a:ext>
              </a:extLst>
            </p:cNvPr>
            <p:cNvGrpSpPr/>
            <p:nvPr/>
          </p:nvGrpSpPr>
          <p:grpSpPr>
            <a:xfrm>
              <a:off x="4297394" y="2949892"/>
              <a:ext cx="75628" cy="75723"/>
              <a:chOff x="4297394" y="2949892"/>
              <a:chExt cx="75628" cy="75723"/>
            </a:xfrm>
          </p:grpSpPr>
          <p:sp>
            <p:nvSpPr>
              <p:cNvPr id="1603" name="Freeform: Shape 1602">
                <a:extLst>
                  <a:ext uri="{FF2B5EF4-FFF2-40B4-BE49-F238E27FC236}">
                    <a16:creationId xmlns:a16="http://schemas.microsoft.com/office/drawing/2014/main" id="{54F8FADF-16D1-73F7-4462-E4DAD6E73AAC}"/>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4" name="Freeform: Shape 1603">
                <a:extLst>
                  <a:ext uri="{FF2B5EF4-FFF2-40B4-BE49-F238E27FC236}">
                    <a16:creationId xmlns:a16="http://schemas.microsoft.com/office/drawing/2014/main" id="{7630FCDE-2742-8A27-1979-0E025C44A11F}"/>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 name="Graphic 112">
              <a:extLst>
                <a:ext uri="{FF2B5EF4-FFF2-40B4-BE49-F238E27FC236}">
                  <a16:creationId xmlns:a16="http://schemas.microsoft.com/office/drawing/2014/main" id="{78C054F0-912D-E457-EDD5-5C265F5CDC3B}"/>
                </a:ext>
              </a:extLst>
            </p:cNvPr>
            <p:cNvGrpSpPr/>
            <p:nvPr/>
          </p:nvGrpSpPr>
          <p:grpSpPr>
            <a:xfrm>
              <a:off x="4304823" y="2949892"/>
              <a:ext cx="75723" cy="75723"/>
              <a:chOff x="4304823" y="2949892"/>
              <a:chExt cx="75723" cy="75723"/>
            </a:xfrm>
          </p:grpSpPr>
          <p:sp>
            <p:nvSpPr>
              <p:cNvPr id="1601" name="Freeform: Shape 1600">
                <a:extLst>
                  <a:ext uri="{FF2B5EF4-FFF2-40B4-BE49-F238E27FC236}">
                    <a16:creationId xmlns:a16="http://schemas.microsoft.com/office/drawing/2014/main" id="{245883DB-C515-A63B-C92E-F9411B707176}"/>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2" name="Freeform: Shape 1601">
                <a:extLst>
                  <a:ext uri="{FF2B5EF4-FFF2-40B4-BE49-F238E27FC236}">
                    <a16:creationId xmlns:a16="http://schemas.microsoft.com/office/drawing/2014/main" id="{D054BB23-D01B-366F-1571-E7A518DCF060}"/>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 name="Graphic 112">
              <a:extLst>
                <a:ext uri="{FF2B5EF4-FFF2-40B4-BE49-F238E27FC236}">
                  <a16:creationId xmlns:a16="http://schemas.microsoft.com/office/drawing/2014/main" id="{47538287-4353-BB4D-0F66-F3D7E20D5B97}"/>
                </a:ext>
              </a:extLst>
            </p:cNvPr>
            <p:cNvGrpSpPr/>
            <p:nvPr/>
          </p:nvGrpSpPr>
          <p:grpSpPr>
            <a:xfrm>
              <a:off x="4312348" y="2949892"/>
              <a:ext cx="75723" cy="75723"/>
              <a:chOff x="4312348" y="2949892"/>
              <a:chExt cx="75723" cy="75723"/>
            </a:xfrm>
          </p:grpSpPr>
          <p:sp>
            <p:nvSpPr>
              <p:cNvPr id="1599" name="Freeform: Shape 1598">
                <a:extLst>
                  <a:ext uri="{FF2B5EF4-FFF2-40B4-BE49-F238E27FC236}">
                    <a16:creationId xmlns:a16="http://schemas.microsoft.com/office/drawing/2014/main" id="{4365AE5A-856E-72A1-7F99-4AE131ABB3AE}"/>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0" name="Freeform: Shape 1599">
                <a:extLst>
                  <a:ext uri="{FF2B5EF4-FFF2-40B4-BE49-F238E27FC236}">
                    <a16:creationId xmlns:a16="http://schemas.microsoft.com/office/drawing/2014/main" id="{6602571C-1A81-DAD8-139C-2E0A1344FB8D}"/>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6" name="Graphic 112">
              <a:extLst>
                <a:ext uri="{FF2B5EF4-FFF2-40B4-BE49-F238E27FC236}">
                  <a16:creationId xmlns:a16="http://schemas.microsoft.com/office/drawing/2014/main" id="{6DFF85EE-B8BD-43CC-1F0C-21C2F5BDBA6F}"/>
                </a:ext>
              </a:extLst>
            </p:cNvPr>
            <p:cNvGrpSpPr/>
            <p:nvPr/>
          </p:nvGrpSpPr>
          <p:grpSpPr>
            <a:xfrm>
              <a:off x="3888962" y="2740056"/>
              <a:ext cx="75628" cy="75723"/>
              <a:chOff x="3888962" y="2740056"/>
              <a:chExt cx="75628" cy="75723"/>
            </a:xfrm>
          </p:grpSpPr>
          <p:sp>
            <p:nvSpPr>
              <p:cNvPr id="1597" name="Freeform: Shape 1596">
                <a:extLst>
                  <a:ext uri="{FF2B5EF4-FFF2-40B4-BE49-F238E27FC236}">
                    <a16:creationId xmlns:a16="http://schemas.microsoft.com/office/drawing/2014/main" id="{4A188614-22D5-C986-CBF9-70895DFFE8D8}"/>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8" name="Freeform: Shape 1597">
                <a:extLst>
                  <a:ext uri="{FF2B5EF4-FFF2-40B4-BE49-F238E27FC236}">
                    <a16:creationId xmlns:a16="http://schemas.microsoft.com/office/drawing/2014/main" id="{817EB712-59CE-E884-9136-FA95583F971A}"/>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2168" name="TextBox 2167">
            <a:extLst>
              <a:ext uri="{FF2B5EF4-FFF2-40B4-BE49-F238E27FC236}">
                <a16:creationId xmlns:a16="http://schemas.microsoft.com/office/drawing/2014/main" id="{801B680F-831E-F4B2-4F33-904D6E3908EC}"/>
              </a:ext>
            </a:extLst>
          </p:cNvPr>
          <p:cNvSpPr txBox="1"/>
          <p:nvPr/>
        </p:nvSpPr>
        <p:spPr>
          <a:xfrm rot="16200000">
            <a:off x="444188" y="2752302"/>
            <a:ext cx="1412566"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2169" name="Group 2168">
            <a:extLst>
              <a:ext uri="{FF2B5EF4-FFF2-40B4-BE49-F238E27FC236}">
                <a16:creationId xmlns:a16="http://schemas.microsoft.com/office/drawing/2014/main" id="{6B341993-EB5F-4C5E-B9F8-D3A19D51E102}"/>
              </a:ext>
            </a:extLst>
          </p:cNvPr>
          <p:cNvGrpSpPr/>
          <p:nvPr/>
        </p:nvGrpSpPr>
        <p:grpSpPr>
          <a:xfrm>
            <a:off x="1173449" y="1125584"/>
            <a:ext cx="9494551" cy="4013893"/>
            <a:chOff x="640728" y="1342517"/>
            <a:chExt cx="7198454" cy="4013893"/>
          </a:xfrm>
        </p:grpSpPr>
        <p:sp>
          <p:nvSpPr>
            <p:cNvPr id="2170" name="TextBox 2169">
              <a:extLst>
                <a:ext uri="{FF2B5EF4-FFF2-40B4-BE49-F238E27FC236}">
                  <a16:creationId xmlns:a16="http://schemas.microsoft.com/office/drawing/2014/main" id="{6550C671-5CDB-56CB-EC6A-CD79E1E450C1}"/>
                </a:ext>
              </a:extLst>
            </p:cNvPr>
            <p:cNvSpPr txBox="1"/>
            <p:nvPr/>
          </p:nvSpPr>
          <p:spPr>
            <a:xfrm>
              <a:off x="640728" y="3971237"/>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2171" name="TextBox 2170">
              <a:extLst>
                <a:ext uri="{FF2B5EF4-FFF2-40B4-BE49-F238E27FC236}">
                  <a16:creationId xmlns:a16="http://schemas.microsoft.com/office/drawing/2014/main" id="{B8E13E91-4CE4-F908-6FD1-792266EFFE65}"/>
                </a:ext>
              </a:extLst>
            </p:cNvPr>
            <p:cNvSpPr txBox="1"/>
            <p:nvPr/>
          </p:nvSpPr>
          <p:spPr>
            <a:xfrm>
              <a:off x="650882" y="1342517"/>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2172" name="TextBox 2171">
              <a:extLst>
                <a:ext uri="{FF2B5EF4-FFF2-40B4-BE49-F238E27FC236}">
                  <a16:creationId xmlns:a16="http://schemas.microsoft.com/office/drawing/2014/main" id="{8863B5EF-36FB-DEEB-6B4F-B32F345AFAD7}"/>
                </a:ext>
              </a:extLst>
            </p:cNvPr>
            <p:cNvSpPr txBox="1"/>
            <p:nvPr/>
          </p:nvSpPr>
          <p:spPr>
            <a:xfrm>
              <a:off x="640728" y="1999697"/>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2173" name="TextBox 2172">
              <a:extLst>
                <a:ext uri="{FF2B5EF4-FFF2-40B4-BE49-F238E27FC236}">
                  <a16:creationId xmlns:a16="http://schemas.microsoft.com/office/drawing/2014/main" id="{B9D79AA9-4AFB-AB7B-399D-94C975944180}"/>
                </a:ext>
              </a:extLst>
            </p:cNvPr>
            <p:cNvSpPr txBox="1"/>
            <p:nvPr/>
          </p:nvSpPr>
          <p:spPr>
            <a:xfrm>
              <a:off x="640728" y="2656877"/>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2174" name="TextBox 2173">
              <a:extLst>
                <a:ext uri="{FF2B5EF4-FFF2-40B4-BE49-F238E27FC236}">
                  <a16:creationId xmlns:a16="http://schemas.microsoft.com/office/drawing/2014/main" id="{D641C6F0-2FC8-CAF7-58E3-76A1DFD82979}"/>
                </a:ext>
              </a:extLst>
            </p:cNvPr>
            <p:cNvSpPr txBox="1"/>
            <p:nvPr/>
          </p:nvSpPr>
          <p:spPr>
            <a:xfrm>
              <a:off x="640728" y="3314057"/>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2175" name="TextBox 2174">
              <a:extLst>
                <a:ext uri="{FF2B5EF4-FFF2-40B4-BE49-F238E27FC236}">
                  <a16:creationId xmlns:a16="http://schemas.microsoft.com/office/drawing/2014/main" id="{5C89D750-5CDE-48C4-DF74-1911AC0E7F65}"/>
                </a:ext>
              </a:extLst>
            </p:cNvPr>
            <p:cNvSpPr txBox="1"/>
            <p:nvPr/>
          </p:nvSpPr>
          <p:spPr>
            <a:xfrm>
              <a:off x="640728" y="4628415"/>
              <a:ext cx="424171" cy="307777"/>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2176" name="Straight Connector 2175">
              <a:extLst>
                <a:ext uri="{FF2B5EF4-FFF2-40B4-BE49-F238E27FC236}">
                  <a16:creationId xmlns:a16="http://schemas.microsoft.com/office/drawing/2014/main" id="{D5D60032-7854-ABA5-5BF0-DC57451FB058}"/>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2177" name="Straight Connector 2176">
              <a:extLst>
                <a:ext uri="{FF2B5EF4-FFF2-40B4-BE49-F238E27FC236}">
                  <a16:creationId xmlns:a16="http://schemas.microsoft.com/office/drawing/2014/main" id="{AB823C44-6F60-BFFF-0A15-7B1633899CF0}"/>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2178" name="Straight Connector 2177">
              <a:extLst>
                <a:ext uri="{FF2B5EF4-FFF2-40B4-BE49-F238E27FC236}">
                  <a16:creationId xmlns:a16="http://schemas.microsoft.com/office/drawing/2014/main" id="{7D803890-08DC-FA75-DAD2-764B53E170D9}"/>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2179" name="Straight Connector 2178">
              <a:extLst>
                <a:ext uri="{FF2B5EF4-FFF2-40B4-BE49-F238E27FC236}">
                  <a16:creationId xmlns:a16="http://schemas.microsoft.com/office/drawing/2014/main" id="{199A4100-015B-56EB-7F1F-976DE5B40BC0}"/>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2180" name="Straight Connector 2179">
              <a:extLst>
                <a:ext uri="{FF2B5EF4-FFF2-40B4-BE49-F238E27FC236}">
                  <a16:creationId xmlns:a16="http://schemas.microsoft.com/office/drawing/2014/main" id="{18F77C88-6DAE-DC32-AAE7-380A5057515E}"/>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2181" name="TextBox 2180">
              <a:extLst>
                <a:ext uri="{FF2B5EF4-FFF2-40B4-BE49-F238E27FC236}">
                  <a16:creationId xmlns:a16="http://schemas.microsoft.com/office/drawing/2014/main" id="{4B9967A6-C87A-BB3A-772A-39235CE39524}"/>
                </a:ext>
              </a:extLst>
            </p:cNvPr>
            <p:cNvSpPr txBox="1"/>
            <p:nvPr/>
          </p:nvSpPr>
          <p:spPr>
            <a:xfrm>
              <a:off x="943618" y="4802344"/>
              <a:ext cx="287452"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2182" name="TextBox 2181">
              <a:extLst>
                <a:ext uri="{FF2B5EF4-FFF2-40B4-BE49-F238E27FC236}">
                  <a16:creationId xmlns:a16="http://schemas.microsoft.com/office/drawing/2014/main" id="{DB2548E1-C716-551E-C582-034E82FD1D27}"/>
                </a:ext>
              </a:extLst>
            </p:cNvPr>
            <p:cNvSpPr txBox="1"/>
            <p:nvPr/>
          </p:nvSpPr>
          <p:spPr>
            <a:xfrm>
              <a:off x="3019847" y="5048633"/>
              <a:ext cx="2692744"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2183" name="Straight Connector 2182">
              <a:extLst>
                <a:ext uri="{FF2B5EF4-FFF2-40B4-BE49-F238E27FC236}">
                  <a16:creationId xmlns:a16="http://schemas.microsoft.com/office/drawing/2014/main" id="{C0657C60-3111-17F6-BD17-E6E78157CC20}"/>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2184" name="TextBox 2183">
              <a:extLst>
                <a:ext uri="{FF2B5EF4-FFF2-40B4-BE49-F238E27FC236}">
                  <a16:creationId xmlns:a16="http://schemas.microsoft.com/office/drawing/2014/main" id="{8EC2B266-DF0D-63E2-70D3-3F1FF4179B90}"/>
                </a:ext>
              </a:extLst>
            </p:cNvPr>
            <p:cNvSpPr txBox="1"/>
            <p:nvPr/>
          </p:nvSpPr>
          <p:spPr>
            <a:xfrm>
              <a:off x="7461155"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2185" name="Straight Connector 2184">
              <a:extLst>
                <a:ext uri="{FF2B5EF4-FFF2-40B4-BE49-F238E27FC236}">
                  <a16:creationId xmlns:a16="http://schemas.microsoft.com/office/drawing/2014/main" id="{8AFB0643-AA5B-9685-1E6E-0443B19ACE59}"/>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2186" name="TextBox 2185">
              <a:extLst>
                <a:ext uri="{FF2B5EF4-FFF2-40B4-BE49-F238E27FC236}">
                  <a16:creationId xmlns:a16="http://schemas.microsoft.com/office/drawing/2014/main" id="{1C94AAC2-495D-F154-88DA-15A0EF0C8F53}"/>
                </a:ext>
              </a:extLst>
            </p:cNvPr>
            <p:cNvSpPr txBox="1"/>
            <p:nvPr/>
          </p:nvSpPr>
          <p:spPr>
            <a:xfrm>
              <a:off x="1381140" y="4802344"/>
              <a:ext cx="287452"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2187" name="Straight Connector 2186">
              <a:extLst>
                <a:ext uri="{FF2B5EF4-FFF2-40B4-BE49-F238E27FC236}">
                  <a16:creationId xmlns:a16="http://schemas.microsoft.com/office/drawing/2014/main" id="{CCF3C423-D073-3547-C5C9-D8F215ABBCCA}"/>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2188" name="TextBox 2187">
              <a:extLst>
                <a:ext uri="{FF2B5EF4-FFF2-40B4-BE49-F238E27FC236}">
                  <a16:creationId xmlns:a16="http://schemas.microsoft.com/office/drawing/2014/main" id="{127A9604-8DAD-C0E2-F08F-B1FC550B2000}"/>
                </a:ext>
              </a:extLst>
            </p:cNvPr>
            <p:cNvSpPr txBox="1"/>
            <p:nvPr/>
          </p:nvSpPr>
          <p:spPr>
            <a:xfrm>
              <a:off x="1818663" y="4802344"/>
              <a:ext cx="287452"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2189" name="Straight Connector 2188">
              <a:extLst>
                <a:ext uri="{FF2B5EF4-FFF2-40B4-BE49-F238E27FC236}">
                  <a16:creationId xmlns:a16="http://schemas.microsoft.com/office/drawing/2014/main" id="{53735DC0-175E-D1B8-6B02-3A61DC521398}"/>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2190" name="TextBox 2189">
              <a:extLst>
                <a:ext uri="{FF2B5EF4-FFF2-40B4-BE49-F238E27FC236}">
                  <a16:creationId xmlns:a16="http://schemas.microsoft.com/office/drawing/2014/main" id="{B8493FE2-B8F0-5865-866D-8C25DCFCF58D}"/>
                </a:ext>
              </a:extLst>
            </p:cNvPr>
            <p:cNvSpPr txBox="1"/>
            <p:nvPr/>
          </p:nvSpPr>
          <p:spPr>
            <a:xfrm>
              <a:off x="2256186" y="4802344"/>
              <a:ext cx="287452"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2191" name="Straight Connector 2190">
              <a:extLst>
                <a:ext uri="{FF2B5EF4-FFF2-40B4-BE49-F238E27FC236}">
                  <a16:creationId xmlns:a16="http://schemas.microsoft.com/office/drawing/2014/main" id="{D52BB732-5032-C6D4-E655-EC3324F47D81}"/>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2192" name="TextBox 2191">
              <a:extLst>
                <a:ext uri="{FF2B5EF4-FFF2-40B4-BE49-F238E27FC236}">
                  <a16:creationId xmlns:a16="http://schemas.microsoft.com/office/drawing/2014/main" id="{1EA93B8D-B882-2F6B-310E-33A94D68013E}"/>
                </a:ext>
              </a:extLst>
            </p:cNvPr>
            <p:cNvSpPr txBox="1"/>
            <p:nvPr/>
          </p:nvSpPr>
          <p:spPr>
            <a:xfrm>
              <a:off x="2648421"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2193" name="Straight Connector 2192">
              <a:extLst>
                <a:ext uri="{FF2B5EF4-FFF2-40B4-BE49-F238E27FC236}">
                  <a16:creationId xmlns:a16="http://schemas.microsoft.com/office/drawing/2014/main" id="{BC3D588F-951D-AFD2-CE64-D3E7D38408FC}"/>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2194" name="TextBox 2193">
              <a:extLst>
                <a:ext uri="{FF2B5EF4-FFF2-40B4-BE49-F238E27FC236}">
                  <a16:creationId xmlns:a16="http://schemas.microsoft.com/office/drawing/2014/main" id="{2D0FB353-6790-A609-373D-5FB9C2730DE1}"/>
                </a:ext>
              </a:extLst>
            </p:cNvPr>
            <p:cNvSpPr txBox="1"/>
            <p:nvPr/>
          </p:nvSpPr>
          <p:spPr>
            <a:xfrm>
              <a:off x="3085941"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2195" name="Straight Connector 2194">
              <a:extLst>
                <a:ext uri="{FF2B5EF4-FFF2-40B4-BE49-F238E27FC236}">
                  <a16:creationId xmlns:a16="http://schemas.microsoft.com/office/drawing/2014/main" id="{B8824924-317B-9965-5C2F-17A58A7DE507}"/>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2196" name="TextBox 2195">
              <a:extLst>
                <a:ext uri="{FF2B5EF4-FFF2-40B4-BE49-F238E27FC236}">
                  <a16:creationId xmlns:a16="http://schemas.microsoft.com/office/drawing/2014/main" id="{84A77A77-A830-5491-0D05-2953A2C5C6B9}"/>
                </a:ext>
              </a:extLst>
            </p:cNvPr>
            <p:cNvSpPr txBox="1"/>
            <p:nvPr/>
          </p:nvSpPr>
          <p:spPr>
            <a:xfrm>
              <a:off x="3523464"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2197" name="Straight Connector 2196">
              <a:extLst>
                <a:ext uri="{FF2B5EF4-FFF2-40B4-BE49-F238E27FC236}">
                  <a16:creationId xmlns:a16="http://schemas.microsoft.com/office/drawing/2014/main" id="{341C616A-2DED-92D2-61A8-67FFFFE043C6}"/>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2198" name="TextBox 2197">
              <a:extLst>
                <a:ext uri="{FF2B5EF4-FFF2-40B4-BE49-F238E27FC236}">
                  <a16:creationId xmlns:a16="http://schemas.microsoft.com/office/drawing/2014/main" id="{BD59A447-2B61-5939-8E8B-C085D65F8034}"/>
                </a:ext>
              </a:extLst>
            </p:cNvPr>
            <p:cNvSpPr txBox="1"/>
            <p:nvPr/>
          </p:nvSpPr>
          <p:spPr>
            <a:xfrm>
              <a:off x="3960984"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2199" name="Straight Connector 2198">
              <a:extLst>
                <a:ext uri="{FF2B5EF4-FFF2-40B4-BE49-F238E27FC236}">
                  <a16:creationId xmlns:a16="http://schemas.microsoft.com/office/drawing/2014/main" id="{D5C0C302-08BF-3A64-3009-9662DE07AF1A}"/>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2200" name="TextBox 2199">
              <a:extLst>
                <a:ext uri="{FF2B5EF4-FFF2-40B4-BE49-F238E27FC236}">
                  <a16:creationId xmlns:a16="http://schemas.microsoft.com/office/drawing/2014/main" id="{29FB8F78-B362-4459-27D6-3C5DE405E47C}"/>
                </a:ext>
              </a:extLst>
            </p:cNvPr>
            <p:cNvSpPr txBox="1"/>
            <p:nvPr/>
          </p:nvSpPr>
          <p:spPr>
            <a:xfrm>
              <a:off x="4398507"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2201" name="Straight Connector 2200">
              <a:extLst>
                <a:ext uri="{FF2B5EF4-FFF2-40B4-BE49-F238E27FC236}">
                  <a16:creationId xmlns:a16="http://schemas.microsoft.com/office/drawing/2014/main" id="{F9C2C080-0250-20A0-4342-8E5C7F8F056B}"/>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2202" name="TextBox 2201">
              <a:extLst>
                <a:ext uri="{FF2B5EF4-FFF2-40B4-BE49-F238E27FC236}">
                  <a16:creationId xmlns:a16="http://schemas.microsoft.com/office/drawing/2014/main" id="{A20DB853-E957-982D-6B88-D07BD9210139}"/>
                </a:ext>
              </a:extLst>
            </p:cNvPr>
            <p:cNvSpPr txBox="1"/>
            <p:nvPr/>
          </p:nvSpPr>
          <p:spPr>
            <a:xfrm>
              <a:off x="4836028"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2203" name="Straight Connector 2202">
              <a:extLst>
                <a:ext uri="{FF2B5EF4-FFF2-40B4-BE49-F238E27FC236}">
                  <a16:creationId xmlns:a16="http://schemas.microsoft.com/office/drawing/2014/main" id="{D41B1299-34E9-BA0F-A623-0C8F01861E48}"/>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2204" name="TextBox 2203">
              <a:extLst>
                <a:ext uri="{FF2B5EF4-FFF2-40B4-BE49-F238E27FC236}">
                  <a16:creationId xmlns:a16="http://schemas.microsoft.com/office/drawing/2014/main" id="{AEE5311F-239D-465D-162B-A1D9E21B7E14}"/>
                </a:ext>
              </a:extLst>
            </p:cNvPr>
            <p:cNvSpPr txBox="1"/>
            <p:nvPr/>
          </p:nvSpPr>
          <p:spPr>
            <a:xfrm>
              <a:off x="5273550"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2205" name="Straight Connector 2204">
              <a:extLst>
                <a:ext uri="{FF2B5EF4-FFF2-40B4-BE49-F238E27FC236}">
                  <a16:creationId xmlns:a16="http://schemas.microsoft.com/office/drawing/2014/main" id="{C94D27D6-3B7E-83FD-7A61-D75D8052C293}"/>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2206" name="TextBox 2205">
              <a:extLst>
                <a:ext uri="{FF2B5EF4-FFF2-40B4-BE49-F238E27FC236}">
                  <a16:creationId xmlns:a16="http://schemas.microsoft.com/office/drawing/2014/main" id="{847B234C-5AD1-8D33-BEE2-E9D8226FDC32}"/>
                </a:ext>
              </a:extLst>
            </p:cNvPr>
            <p:cNvSpPr txBox="1"/>
            <p:nvPr/>
          </p:nvSpPr>
          <p:spPr>
            <a:xfrm>
              <a:off x="5711071"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2207" name="Straight Connector 2206">
              <a:extLst>
                <a:ext uri="{FF2B5EF4-FFF2-40B4-BE49-F238E27FC236}">
                  <a16:creationId xmlns:a16="http://schemas.microsoft.com/office/drawing/2014/main" id="{D20929C6-D0B2-8C61-1F38-1A71E8DAFB7E}"/>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2208" name="TextBox 2207">
              <a:extLst>
                <a:ext uri="{FF2B5EF4-FFF2-40B4-BE49-F238E27FC236}">
                  <a16:creationId xmlns:a16="http://schemas.microsoft.com/office/drawing/2014/main" id="{A510A486-C9B4-0836-F569-1F27A8B30970}"/>
                </a:ext>
              </a:extLst>
            </p:cNvPr>
            <p:cNvSpPr txBox="1"/>
            <p:nvPr/>
          </p:nvSpPr>
          <p:spPr>
            <a:xfrm>
              <a:off x="6148593"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2209" name="Straight Connector 2208">
              <a:extLst>
                <a:ext uri="{FF2B5EF4-FFF2-40B4-BE49-F238E27FC236}">
                  <a16:creationId xmlns:a16="http://schemas.microsoft.com/office/drawing/2014/main" id="{B361B940-4736-69E8-24F4-BBCC873F5200}"/>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2210" name="TextBox 2209">
              <a:extLst>
                <a:ext uri="{FF2B5EF4-FFF2-40B4-BE49-F238E27FC236}">
                  <a16:creationId xmlns:a16="http://schemas.microsoft.com/office/drawing/2014/main" id="{9BAB45B0-E7DD-AD80-9AA5-F319603D1E9F}"/>
                </a:ext>
              </a:extLst>
            </p:cNvPr>
            <p:cNvSpPr txBox="1"/>
            <p:nvPr/>
          </p:nvSpPr>
          <p:spPr>
            <a:xfrm>
              <a:off x="6586114"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2211" name="Straight Connector 2210">
              <a:extLst>
                <a:ext uri="{FF2B5EF4-FFF2-40B4-BE49-F238E27FC236}">
                  <a16:creationId xmlns:a16="http://schemas.microsoft.com/office/drawing/2014/main" id="{142B35A6-958A-8D3A-DB10-D33ACF997444}"/>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2212" name="TextBox 2211">
              <a:extLst>
                <a:ext uri="{FF2B5EF4-FFF2-40B4-BE49-F238E27FC236}">
                  <a16:creationId xmlns:a16="http://schemas.microsoft.com/office/drawing/2014/main" id="{8343B186-D7D2-97A0-67CA-B357DFD8B9FE}"/>
                </a:ext>
              </a:extLst>
            </p:cNvPr>
            <p:cNvSpPr txBox="1"/>
            <p:nvPr/>
          </p:nvSpPr>
          <p:spPr>
            <a:xfrm>
              <a:off x="7023636" y="4802344"/>
              <a:ext cx="378027"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2213" name="Straight Connector 2212">
              <a:extLst>
                <a:ext uri="{FF2B5EF4-FFF2-40B4-BE49-F238E27FC236}">
                  <a16:creationId xmlns:a16="http://schemas.microsoft.com/office/drawing/2014/main" id="{A053FEF9-F36B-21BB-C2EB-B0432B54CA64}"/>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2214" name="Straight Connector 2213">
              <a:extLst>
                <a:ext uri="{FF2B5EF4-FFF2-40B4-BE49-F238E27FC236}">
                  <a16:creationId xmlns:a16="http://schemas.microsoft.com/office/drawing/2014/main" id="{969EE5BC-5EB6-7023-4827-08E6DC0127AD}"/>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2215" name="Freeform: Shape 2214">
              <a:extLst>
                <a:ext uri="{FF2B5EF4-FFF2-40B4-BE49-F238E27FC236}">
                  <a16:creationId xmlns:a16="http://schemas.microsoft.com/office/drawing/2014/main" id="{64F21DC0-2A8E-3E48-4F43-8A52C29FFE3C}"/>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2216" name="Straight Connector 2215">
              <a:extLst>
                <a:ext uri="{FF2B5EF4-FFF2-40B4-BE49-F238E27FC236}">
                  <a16:creationId xmlns:a16="http://schemas.microsoft.com/office/drawing/2014/main" id="{C87DF0F5-0494-A8C5-B7DC-FF7D8F9F9227}"/>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sp>
        <p:nvSpPr>
          <p:cNvPr id="2217" name="Title 1">
            <a:extLst>
              <a:ext uri="{FF2B5EF4-FFF2-40B4-BE49-F238E27FC236}">
                <a16:creationId xmlns:a16="http://schemas.microsoft.com/office/drawing/2014/main" id="{A03438F5-4FCD-9741-C599-71528C8826E0}"/>
              </a:ext>
            </a:extLst>
          </p:cNvPr>
          <p:cNvSpPr txBox="1">
            <a:spLocks/>
          </p:cNvSpPr>
          <p:nvPr/>
        </p:nvSpPr>
        <p:spPr>
          <a:xfrm>
            <a:off x="489636" y="357717"/>
            <a:ext cx="10552739"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46"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557"/>
                </a:solidFill>
                <a:effectLst/>
                <a:uLnTx/>
                <a:uFillTx/>
                <a:latin typeface="Arial Narrow"/>
                <a:cs typeface="Arial Narrow"/>
                <a:sym typeface="Arial Narrow"/>
              </a:rPr>
              <a:t>CAPItello-281 Primary endpoint: investigator-assessed </a:t>
            </a:r>
            <a:r>
              <a:rPr kumimoji="0" lang="en-US" sz="3200" b="1" i="0" u="none" strike="noStrike" kern="0" cap="none" spc="0" normalizeH="0" baseline="0" noProof="0" dirty="0" err="1">
                <a:ln>
                  <a:noFill/>
                </a:ln>
                <a:solidFill>
                  <a:srgbClr val="002557"/>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557"/>
              </a:solidFill>
              <a:effectLst/>
              <a:uLnTx/>
              <a:uFillTx/>
              <a:latin typeface="Arial Narrow"/>
              <a:cs typeface="Arial Narrow"/>
              <a:sym typeface="Arial Narrow"/>
            </a:endParaRPr>
          </a:p>
        </p:txBody>
      </p:sp>
      <p:graphicFrame>
        <p:nvGraphicFramePr>
          <p:cNvPr id="2218" name="Table 2217">
            <a:extLst>
              <a:ext uri="{FF2B5EF4-FFF2-40B4-BE49-F238E27FC236}">
                <a16:creationId xmlns:a16="http://schemas.microsoft.com/office/drawing/2014/main" id="{7F099381-E933-870F-CA52-67EA06B27449}"/>
              </a:ext>
            </a:extLst>
          </p:cNvPr>
          <p:cNvGraphicFramePr>
            <a:graphicFrameLocks noGrp="1"/>
          </p:cNvGraphicFramePr>
          <p:nvPr/>
        </p:nvGraphicFramePr>
        <p:xfrm>
          <a:off x="602556" y="5256847"/>
          <a:ext cx="10122342" cy="548640"/>
        </p:xfrm>
        <a:graphic>
          <a:graphicData uri="http://schemas.openxmlformats.org/drawingml/2006/table">
            <a:tbl>
              <a:tblPr firstRow="1" firstCol="1" bandRow="1"/>
              <a:tblGrid>
                <a:gridCol w="909190">
                  <a:extLst>
                    <a:ext uri="{9D8B030D-6E8A-4147-A177-3AD203B41FA5}">
                      <a16:colId xmlns:a16="http://schemas.microsoft.com/office/drawing/2014/main" val="275263577"/>
                    </a:ext>
                  </a:extLst>
                </a:gridCol>
                <a:gridCol w="575822">
                  <a:extLst>
                    <a:ext uri="{9D8B030D-6E8A-4147-A177-3AD203B41FA5}">
                      <a16:colId xmlns:a16="http://schemas.microsoft.com/office/drawing/2014/main" val="930621322"/>
                    </a:ext>
                  </a:extLst>
                </a:gridCol>
                <a:gridCol w="575822">
                  <a:extLst>
                    <a:ext uri="{9D8B030D-6E8A-4147-A177-3AD203B41FA5}">
                      <a16:colId xmlns:a16="http://schemas.microsoft.com/office/drawing/2014/main" val="1787202177"/>
                    </a:ext>
                  </a:extLst>
                </a:gridCol>
                <a:gridCol w="575822">
                  <a:extLst>
                    <a:ext uri="{9D8B030D-6E8A-4147-A177-3AD203B41FA5}">
                      <a16:colId xmlns:a16="http://schemas.microsoft.com/office/drawing/2014/main" val="4212611929"/>
                    </a:ext>
                  </a:extLst>
                </a:gridCol>
                <a:gridCol w="575822">
                  <a:extLst>
                    <a:ext uri="{9D8B030D-6E8A-4147-A177-3AD203B41FA5}">
                      <a16:colId xmlns:a16="http://schemas.microsoft.com/office/drawing/2014/main" val="4094995161"/>
                    </a:ext>
                  </a:extLst>
                </a:gridCol>
                <a:gridCol w="575822">
                  <a:extLst>
                    <a:ext uri="{9D8B030D-6E8A-4147-A177-3AD203B41FA5}">
                      <a16:colId xmlns:a16="http://schemas.microsoft.com/office/drawing/2014/main" val="1171412445"/>
                    </a:ext>
                  </a:extLst>
                </a:gridCol>
                <a:gridCol w="575822">
                  <a:extLst>
                    <a:ext uri="{9D8B030D-6E8A-4147-A177-3AD203B41FA5}">
                      <a16:colId xmlns:a16="http://schemas.microsoft.com/office/drawing/2014/main" val="3463120197"/>
                    </a:ext>
                  </a:extLst>
                </a:gridCol>
                <a:gridCol w="575822">
                  <a:extLst>
                    <a:ext uri="{9D8B030D-6E8A-4147-A177-3AD203B41FA5}">
                      <a16:colId xmlns:a16="http://schemas.microsoft.com/office/drawing/2014/main" val="676029926"/>
                    </a:ext>
                  </a:extLst>
                </a:gridCol>
                <a:gridCol w="575822">
                  <a:extLst>
                    <a:ext uri="{9D8B030D-6E8A-4147-A177-3AD203B41FA5}">
                      <a16:colId xmlns:a16="http://schemas.microsoft.com/office/drawing/2014/main" val="3446215395"/>
                    </a:ext>
                  </a:extLst>
                </a:gridCol>
                <a:gridCol w="575822">
                  <a:extLst>
                    <a:ext uri="{9D8B030D-6E8A-4147-A177-3AD203B41FA5}">
                      <a16:colId xmlns:a16="http://schemas.microsoft.com/office/drawing/2014/main" val="218313714"/>
                    </a:ext>
                  </a:extLst>
                </a:gridCol>
                <a:gridCol w="575822">
                  <a:extLst>
                    <a:ext uri="{9D8B030D-6E8A-4147-A177-3AD203B41FA5}">
                      <a16:colId xmlns:a16="http://schemas.microsoft.com/office/drawing/2014/main" val="756470874"/>
                    </a:ext>
                  </a:extLst>
                </a:gridCol>
                <a:gridCol w="575822">
                  <a:extLst>
                    <a:ext uri="{9D8B030D-6E8A-4147-A177-3AD203B41FA5}">
                      <a16:colId xmlns:a16="http://schemas.microsoft.com/office/drawing/2014/main" val="1607062919"/>
                    </a:ext>
                  </a:extLst>
                </a:gridCol>
                <a:gridCol w="575822">
                  <a:extLst>
                    <a:ext uri="{9D8B030D-6E8A-4147-A177-3AD203B41FA5}">
                      <a16:colId xmlns:a16="http://schemas.microsoft.com/office/drawing/2014/main" val="1037410751"/>
                    </a:ext>
                  </a:extLst>
                </a:gridCol>
                <a:gridCol w="575822">
                  <a:extLst>
                    <a:ext uri="{9D8B030D-6E8A-4147-A177-3AD203B41FA5}">
                      <a16:colId xmlns:a16="http://schemas.microsoft.com/office/drawing/2014/main" val="4000495381"/>
                    </a:ext>
                  </a:extLst>
                </a:gridCol>
                <a:gridCol w="575822">
                  <a:extLst>
                    <a:ext uri="{9D8B030D-6E8A-4147-A177-3AD203B41FA5}">
                      <a16:colId xmlns:a16="http://schemas.microsoft.com/office/drawing/2014/main" val="3805554009"/>
                    </a:ext>
                  </a:extLst>
                </a:gridCol>
                <a:gridCol w="575822">
                  <a:extLst>
                    <a:ext uri="{9D8B030D-6E8A-4147-A177-3AD203B41FA5}">
                      <a16:colId xmlns:a16="http://schemas.microsoft.com/office/drawing/2014/main" val="2902074778"/>
                    </a:ext>
                  </a:extLst>
                </a:gridCol>
                <a:gridCol w="575822">
                  <a:extLst>
                    <a:ext uri="{9D8B030D-6E8A-4147-A177-3AD203B41FA5}">
                      <a16:colId xmlns:a16="http://schemas.microsoft.com/office/drawing/2014/main" val="3275083197"/>
                    </a:ext>
                  </a:extLst>
                </a:gridCol>
              </a:tblGrid>
              <a:tr h="27432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noProof="0" dirty="0">
                          <a:effectLst/>
                          <a:latin typeface="Arial Narrow" panose="020B0606020202030204" pitchFamily="34" charset="0"/>
                        </a:rPr>
                        <a:t>Capi + </a:t>
                      </a:r>
                      <a:r>
                        <a:rPr lang="en-US" sz="1200" noProof="0" dirty="0" err="1">
                          <a:effectLst/>
                          <a:latin typeface="Arial Narrow" panose="020B0606020202030204" pitchFamily="34" charset="0"/>
                        </a:rPr>
                        <a:t>abi</a:t>
                      </a:r>
                      <a:endParaRPr lang="en-US" sz="1200" noProof="0" dirty="0">
                        <a:effectLst/>
                        <a:latin typeface="Arial Narrow" panose="020B0606020202030204" pitchFamily="34" charset="0"/>
                        <a:ea typeface="MS Mincho" panose="02020609040205080304" pitchFamily="49" charset="-128"/>
                      </a:endParaRPr>
                    </a:p>
                  </a:txBody>
                  <a:tcPr marL="45720" marR="4572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0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60</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35</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35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8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3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1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65</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2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93</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9</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1</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1</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45720" marR="4572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extLst>
                  <a:ext uri="{0D108BD9-81ED-4DB2-BD59-A6C34878D82A}">
                    <a16:rowId xmlns:a16="http://schemas.microsoft.com/office/drawing/2014/main" val="3654420743"/>
                  </a:ext>
                </a:extLst>
              </a:tr>
              <a:tr h="27432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Pbo</a:t>
                      </a:r>
                      <a:r>
                        <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 </a:t>
                      </a:r>
                      <a:r>
                        <a:rPr kumimoji="0" lang="en-US" sz="12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abi</a:t>
                      </a:r>
                      <a:endPar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S Mincho" panose="02020609040205080304" pitchFamily="49" charset="-128"/>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50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47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44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35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276</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21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9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54</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1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8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5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51</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37</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2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3284079475"/>
                  </a:ext>
                </a:extLst>
              </a:tr>
            </a:tbl>
          </a:graphicData>
        </a:graphic>
      </p:graphicFrame>
      <p:sp>
        <p:nvSpPr>
          <p:cNvPr id="2219" name="TextBox 2218">
            <a:extLst>
              <a:ext uri="{FF2B5EF4-FFF2-40B4-BE49-F238E27FC236}">
                <a16:creationId xmlns:a16="http://schemas.microsoft.com/office/drawing/2014/main" id="{52B1845F-B743-DC4C-D277-3CCF0FF1873D}"/>
              </a:ext>
            </a:extLst>
          </p:cNvPr>
          <p:cNvSpPr txBox="1"/>
          <p:nvPr/>
        </p:nvSpPr>
        <p:spPr>
          <a:xfrm>
            <a:off x="547814" y="4979278"/>
            <a:ext cx="2034394" cy="276999"/>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umber of patients at risk</a:t>
            </a:r>
          </a:p>
        </p:txBody>
      </p:sp>
      <p:cxnSp>
        <p:nvCxnSpPr>
          <p:cNvPr id="5" name="Straight Connector 4">
            <a:extLst>
              <a:ext uri="{FF2B5EF4-FFF2-40B4-BE49-F238E27FC236}">
                <a16:creationId xmlns:a16="http://schemas.microsoft.com/office/drawing/2014/main" id="{B3E8CB15-C206-CCA3-4567-1595FD1B7D47}"/>
              </a:ext>
            </a:extLst>
          </p:cNvPr>
          <p:cNvCxnSpPr/>
          <p:nvPr/>
        </p:nvCxnSpPr>
        <p:spPr>
          <a:xfrm flipH="1">
            <a:off x="8229600" y="2903652"/>
            <a:ext cx="0" cy="164556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F64F7B1-2438-2053-8A9C-3EEF0D0000B3}"/>
              </a:ext>
            </a:extLst>
          </p:cNvPr>
          <p:cNvSpPr txBox="1"/>
          <p:nvPr/>
        </p:nvSpPr>
        <p:spPr>
          <a:xfrm>
            <a:off x="5268833" y="3457292"/>
            <a:ext cx="1520483" cy="369332"/>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0006F"/>
                </a:solidFill>
                <a:effectLst/>
                <a:uLnTx/>
                <a:uFillTx/>
                <a:latin typeface="Arial Narrow" panose="020B0606020202030204" pitchFamily="34" charset="0"/>
                <a:ea typeface="+mn-ea"/>
                <a:cs typeface="+mn-cs"/>
              </a:rPr>
              <a:t>25.7 months</a:t>
            </a:r>
          </a:p>
        </p:txBody>
      </p:sp>
      <p:sp>
        <p:nvSpPr>
          <p:cNvPr id="8" name="TextBox 7">
            <a:extLst>
              <a:ext uri="{FF2B5EF4-FFF2-40B4-BE49-F238E27FC236}">
                <a16:creationId xmlns:a16="http://schemas.microsoft.com/office/drawing/2014/main" id="{12CADDA2-BAA6-B8ED-F66E-6DBBBFF4A39B}"/>
              </a:ext>
            </a:extLst>
          </p:cNvPr>
          <p:cNvSpPr txBox="1"/>
          <p:nvPr/>
        </p:nvSpPr>
        <p:spPr>
          <a:xfrm>
            <a:off x="8241472" y="3457292"/>
            <a:ext cx="1520483" cy="369332"/>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33.2 months</a:t>
            </a:r>
          </a:p>
        </p:txBody>
      </p:sp>
      <p:grpSp>
        <p:nvGrpSpPr>
          <p:cNvPr id="9" name="Group 8">
            <a:extLst>
              <a:ext uri="{FF2B5EF4-FFF2-40B4-BE49-F238E27FC236}">
                <a16:creationId xmlns:a16="http://schemas.microsoft.com/office/drawing/2014/main" id="{BD69A01B-270C-D02B-3F27-EB12839FE576}"/>
              </a:ext>
            </a:extLst>
          </p:cNvPr>
          <p:cNvGrpSpPr/>
          <p:nvPr/>
        </p:nvGrpSpPr>
        <p:grpSpPr>
          <a:xfrm>
            <a:off x="1835403" y="4016755"/>
            <a:ext cx="2586327" cy="461665"/>
            <a:chOff x="2454284" y="3508591"/>
            <a:chExt cx="1815443" cy="494308"/>
          </a:xfrm>
        </p:grpSpPr>
        <p:sp>
          <p:nvSpPr>
            <p:cNvPr id="10" name="TextBox 98">
              <a:extLst>
                <a:ext uri="{FF2B5EF4-FFF2-40B4-BE49-F238E27FC236}">
                  <a16:creationId xmlns:a16="http://schemas.microsoft.com/office/drawing/2014/main" id="{754E3D67-4555-3794-4386-1A7A7AA320C2}"/>
                </a:ext>
              </a:extLst>
            </p:cNvPr>
            <p:cNvSpPr txBox="1"/>
            <p:nvPr/>
          </p:nvSpPr>
          <p:spPr>
            <a:xfrm>
              <a:off x="2745203" y="3508591"/>
              <a:ext cx="1524524" cy="494308"/>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 (N=507)</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lacebo + Abiraterone (N=505)</a:t>
              </a:r>
            </a:p>
          </p:txBody>
        </p:sp>
        <p:grpSp>
          <p:nvGrpSpPr>
            <p:cNvPr id="11" name="Group 10">
              <a:extLst>
                <a:ext uri="{FF2B5EF4-FFF2-40B4-BE49-F238E27FC236}">
                  <a16:creationId xmlns:a16="http://schemas.microsoft.com/office/drawing/2014/main" id="{F62B4B1A-BC96-ED97-8B75-E489C9E5459E}"/>
                </a:ext>
              </a:extLst>
            </p:cNvPr>
            <p:cNvGrpSpPr/>
            <p:nvPr/>
          </p:nvGrpSpPr>
          <p:grpSpPr>
            <a:xfrm>
              <a:off x="2459420" y="3626364"/>
              <a:ext cx="313728" cy="72000"/>
              <a:chOff x="2459420" y="3626364"/>
              <a:chExt cx="313728" cy="72000"/>
            </a:xfrm>
          </p:grpSpPr>
          <p:cxnSp>
            <p:nvCxnSpPr>
              <p:cNvPr id="15" name="Straight Connector 14">
                <a:extLst>
                  <a:ext uri="{FF2B5EF4-FFF2-40B4-BE49-F238E27FC236}">
                    <a16:creationId xmlns:a16="http://schemas.microsoft.com/office/drawing/2014/main" id="{48F656F8-DC80-F1B7-DF5A-5332313571D9}"/>
                  </a:ext>
                </a:extLst>
              </p:cNvPr>
              <p:cNvCxnSpPr>
                <a:cxnSpLocks/>
              </p:cNvCxnSpPr>
              <p:nvPr/>
            </p:nvCxnSpPr>
            <p:spPr>
              <a:xfrm>
                <a:off x="2459420" y="3662363"/>
                <a:ext cx="313728" cy="0"/>
              </a:xfrm>
              <a:prstGeom prst="line">
                <a:avLst/>
              </a:prstGeom>
              <a:noFill/>
              <a:ln w="12700" cap="flat" cmpd="sng" algn="ctr">
                <a:solidFill>
                  <a:schemeClr val="tx2">
                    <a:lumMod val="75000"/>
                    <a:lumOff val="25000"/>
                  </a:schemeClr>
                </a:solidFill>
                <a:prstDash val="solid"/>
              </a:ln>
              <a:effectLst/>
            </p:spPr>
          </p:cxnSp>
          <p:cxnSp>
            <p:nvCxnSpPr>
              <p:cNvPr id="16" name="Straight Connector 15">
                <a:extLst>
                  <a:ext uri="{FF2B5EF4-FFF2-40B4-BE49-F238E27FC236}">
                    <a16:creationId xmlns:a16="http://schemas.microsoft.com/office/drawing/2014/main" id="{765ABC36-B50C-56F4-EF1F-DAB3A570E421}"/>
                  </a:ext>
                </a:extLst>
              </p:cNvPr>
              <p:cNvCxnSpPr>
                <a:cxnSpLocks/>
              </p:cNvCxnSpPr>
              <p:nvPr/>
            </p:nvCxnSpPr>
            <p:spPr>
              <a:xfrm rot="16200000" flipH="1">
                <a:off x="2580284" y="3662364"/>
                <a:ext cx="72000" cy="0"/>
              </a:xfrm>
              <a:prstGeom prst="line">
                <a:avLst/>
              </a:prstGeom>
              <a:noFill/>
              <a:ln w="9525" cap="flat" cmpd="sng" algn="ctr">
                <a:solidFill>
                  <a:schemeClr val="tx2">
                    <a:lumMod val="75000"/>
                    <a:lumOff val="25000"/>
                  </a:schemeClr>
                </a:solidFill>
                <a:prstDash val="solid"/>
              </a:ln>
              <a:effectLst/>
            </p:spPr>
          </p:cxnSp>
        </p:grpSp>
        <p:grpSp>
          <p:nvGrpSpPr>
            <p:cNvPr id="12" name="Group 11">
              <a:extLst>
                <a:ext uri="{FF2B5EF4-FFF2-40B4-BE49-F238E27FC236}">
                  <a16:creationId xmlns:a16="http://schemas.microsoft.com/office/drawing/2014/main" id="{679351CB-BD3D-74CD-91A8-95E0503CBB90}"/>
                </a:ext>
              </a:extLst>
            </p:cNvPr>
            <p:cNvGrpSpPr/>
            <p:nvPr/>
          </p:nvGrpSpPr>
          <p:grpSpPr>
            <a:xfrm>
              <a:off x="2454284" y="3812101"/>
              <a:ext cx="324000" cy="72000"/>
              <a:chOff x="2454284" y="3812101"/>
              <a:chExt cx="324000" cy="72000"/>
            </a:xfrm>
          </p:grpSpPr>
          <p:cxnSp>
            <p:nvCxnSpPr>
              <p:cNvPr id="13" name="Straight Connector 12">
                <a:extLst>
                  <a:ext uri="{FF2B5EF4-FFF2-40B4-BE49-F238E27FC236}">
                    <a16:creationId xmlns:a16="http://schemas.microsoft.com/office/drawing/2014/main" id="{23AAC4CC-FEB2-4FCD-4A47-7D1BF47DB562}"/>
                  </a:ext>
                </a:extLst>
              </p:cNvPr>
              <p:cNvCxnSpPr>
                <a:cxnSpLocks/>
              </p:cNvCxnSpPr>
              <p:nvPr/>
            </p:nvCxnSpPr>
            <p:spPr>
              <a:xfrm>
                <a:off x="2454284" y="3848100"/>
                <a:ext cx="324000" cy="0"/>
              </a:xfrm>
              <a:prstGeom prst="line">
                <a:avLst/>
              </a:prstGeom>
              <a:noFill/>
              <a:ln w="12700" cap="flat" cmpd="sng" algn="ctr">
                <a:solidFill>
                  <a:schemeClr val="accent3"/>
                </a:solidFill>
                <a:prstDash val="solid"/>
              </a:ln>
              <a:effectLst/>
            </p:spPr>
          </p:cxnSp>
          <p:cxnSp>
            <p:nvCxnSpPr>
              <p:cNvPr id="14" name="Straight Connector 13">
                <a:extLst>
                  <a:ext uri="{FF2B5EF4-FFF2-40B4-BE49-F238E27FC236}">
                    <a16:creationId xmlns:a16="http://schemas.microsoft.com/office/drawing/2014/main" id="{D48F4423-6229-3780-F261-235579E9D203}"/>
                  </a:ext>
                </a:extLst>
              </p:cNvPr>
              <p:cNvCxnSpPr>
                <a:cxnSpLocks/>
              </p:cNvCxnSpPr>
              <p:nvPr/>
            </p:nvCxnSpPr>
            <p:spPr>
              <a:xfrm rot="16200000" flipH="1">
                <a:off x="2580284" y="3848101"/>
                <a:ext cx="72000" cy="0"/>
              </a:xfrm>
              <a:prstGeom prst="line">
                <a:avLst/>
              </a:prstGeom>
              <a:noFill/>
              <a:ln w="9525" cap="flat" cmpd="sng" algn="ctr">
                <a:solidFill>
                  <a:schemeClr val="accent3"/>
                </a:solidFill>
                <a:prstDash val="solid"/>
              </a:ln>
              <a:effectLst/>
            </p:spPr>
          </p:cxnSp>
        </p:grpSp>
      </p:grpSp>
      <p:cxnSp>
        <p:nvCxnSpPr>
          <p:cNvPr id="6" name="Straight Arrow Connector 5">
            <a:extLst>
              <a:ext uri="{FF2B5EF4-FFF2-40B4-BE49-F238E27FC236}">
                <a16:creationId xmlns:a16="http://schemas.microsoft.com/office/drawing/2014/main" id="{2ECB9308-9293-F6B5-65F1-7C28DC3FBB12}"/>
              </a:ext>
            </a:extLst>
          </p:cNvPr>
          <p:cNvCxnSpPr/>
          <p:nvPr/>
        </p:nvCxnSpPr>
        <p:spPr>
          <a:xfrm>
            <a:off x="6789316" y="3810434"/>
            <a:ext cx="144028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9F7485D-5F9B-8610-20ED-2414994FD99D}"/>
              </a:ext>
            </a:extLst>
          </p:cNvPr>
          <p:cNvSpPr txBox="1"/>
          <p:nvPr/>
        </p:nvSpPr>
        <p:spPr>
          <a:xfrm>
            <a:off x="6952883" y="3457293"/>
            <a:ext cx="1520483" cy="338554"/>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7.5 months</a:t>
            </a:r>
          </a:p>
        </p:txBody>
      </p:sp>
    </p:spTree>
    <p:extLst>
      <p:ext uri="{BB962C8B-B14F-4D97-AF65-F5344CB8AC3E}">
        <p14:creationId xmlns:p14="http://schemas.microsoft.com/office/powerpoint/2010/main" val="3747377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5E161-736C-22A6-141E-2C0D264E3B72}"/>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B8B991C-7C9C-9E5C-D82F-1447B5A42551}"/>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endParaRPr lang="en-US" sz="1200" b="1"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endParaRPr lang="en-US" sz="1200" b="0" noProof="0" dirty="0">
                        <a:solidFill>
                          <a:schemeClr val="tx1"/>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endParaRPr lang="en-US" sz="1200" b="0" noProof="0" dirty="0">
                        <a:solidFill>
                          <a:schemeClr val="tx1"/>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endParaRPr lang="en-US" sz="1200" b="1"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endParaRPr lang="en-US" sz="1200" b="0" noProof="0" dirty="0">
                        <a:solidFill>
                          <a:schemeClr val="tx1"/>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endParaRPr lang="en-US" sz="1200" b="0" noProof="0" dirty="0">
                        <a:solidFill>
                          <a:schemeClr val="tx1"/>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endParaRPr lang="en-US" sz="1200" b="1"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endParaRPr lang="en-US" sz="1200" b="0" noProof="0" dirty="0">
                        <a:solidFill>
                          <a:schemeClr val="tx1"/>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sp>
        <p:nvSpPr>
          <p:cNvPr id="14707" name="Rectangle 14706">
            <a:extLst>
              <a:ext uri="{FF2B5EF4-FFF2-40B4-BE49-F238E27FC236}">
                <a16:creationId xmlns:a16="http://schemas.microsoft.com/office/drawing/2014/main" id="{CD9ECD85-29F4-64B5-C701-123F80154C3F}"/>
              </a:ext>
            </a:extLst>
          </p:cNvPr>
          <p:cNvSpPr/>
          <p:nvPr/>
        </p:nvSpPr>
        <p:spPr>
          <a:xfrm>
            <a:off x="9796077" y="1842751"/>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7F4DDE51-2103-1F4D-13EC-B90C1D7F0180}"/>
              </a:ext>
            </a:extLst>
          </p:cNvPr>
          <p:cNvGrpSpPr/>
          <p:nvPr/>
        </p:nvGrpSpPr>
        <p:grpSpPr>
          <a:xfrm>
            <a:off x="8595610" y="5537803"/>
            <a:ext cx="3422910" cy="621403"/>
            <a:chOff x="6947747" y="5927550"/>
            <a:chExt cx="3422910" cy="621403"/>
          </a:xfrm>
        </p:grpSpPr>
        <p:grpSp>
          <p:nvGrpSpPr>
            <p:cNvPr id="15243" name="Group 15242">
              <a:extLst>
                <a:ext uri="{FF2B5EF4-FFF2-40B4-BE49-F238E27FC236}">
                  <a16:creationId xmlns:a16="http://schemas.microsoft.com/office/drawing/2014/main" id="{A0D7AC23-DC58-969D-40CC-AC086E1C7FBB}"/>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568CA635-0A67-DF77-03CD-82FECD260F86}"/>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AADF6C77-A2BC-2A68-E79C-4338BDD41FD8}"/>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20CA0553-0317-A592-4FFC-03F2A8A5F263}"/>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AF7AA9D8-0842-A412-7ACC-35A8A84F151F}"/>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D8BD18B3-0404-7997-78BF-B297B22D78FD}"/>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D2C6E367-10DE-D559-0825-A79C8D9997A0}"/>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49578A26-FA2F-837C-8AF3-02F9AAA00D9F}"/>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78CFBD0D-8920-1C4B-0E10-5620EDE0B048}"/>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83155C5C-1CF0-ED7B-FD68-7392D9729B01}"/>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10624DDB-5A65-DE35-649C-B5428B15F488}"/>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1A9CAF98-EE2E-890A-2231-6A9D6E689848}"/>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F200E598-2E18-B8BE-7A95-95E8307E84BD}"/>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F0672C4A-BF88-6C6F-BF05-77B035D439F5}"/>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058BD0AF-7F41-0069-F439-7771860C8E4A}"/>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cxnSp>
        <p:nvCxnSpPr>
          <p:cNvPr id="15234" name="Straight Connector 15233">
            <a:extLst>
              <a:ext uri="{FF2B5EF4-FFF2-40B4-BE49-F238E27FC236}">
                <a16:creationId xmlns:a16="http://schemas.microsoft.com/office/drawing/2014/main" id="{25FA2EF7-CE6A-855D-4EB8-9AF483106C71}"/>
              </a:ext>
            </a:extLst>
          </p:cNvPr>
          <p:cNvCxnSpPr>
            <a:cxnSpLocks/>
          </p:cNvCxnSpPr>
          <p:nvPr/>
        </p:nvCxnSpPr>
        <p:spPr>
          <a:xfrm>
            <a:off x="10281933" y="1841319"/>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18E28611-7592-93DA-1F68-DF7AF16AC458}"/>
              </a:ext>
            </a:extLst>
          </p:cNvPr>
          <p:cNvGrpSpPr>
            <a:grpSpLocks/>
          </p:cNvGrpSpPr>
          <p:nvPr/>
        </p:nvGrpSpPr>
        <p:grpSpPr>
          <a:xfrm>
            <a:off x="9791204" y="2185436"/>
            <a:ext cx="467997" cy="231865"/>
            <a:chOff x="4760816" y="3665683"/>
            <a:chExt cx="467997" cy="231865"/>
          </a:xfrm>
        </p:grpSpPr>
        <p:sp>
          <p:nvSpPr>
            <p:cNvPr id="15311" name="Oval 15310">
              <a:extLst>
                <a:ext uri="{FF2B5EF4-FFF2-40B4-BE49-F238E27FC236}">
                  <a16:creationId xmlns:a16="http://schemas.microsoft.com/office/drawing/2014/main" id="{CEDA7932-25DA-87A7-D4D7-FB92AF02D9FD}"/>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6FD7BCE2-B0B3-225E-1D31-29B223C47740}"/>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0143F3A1-F5AD-E2ED-4FA0-E446F6B4A726}"/>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11DF093F-4533-D369-2F75-97734752B6FB}"/>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95E53832-42DB-A5EE-C678-C0103717870C}"/>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sp>
        <p:nvSpPr>
          <p:cNvPr id="2" name="Text Placeholder 1">
            <a:extLst>
              <a:ext uri="{FF2B5EF4-FFF2-40B4-BE49-F238E27FC236}">
                <a16:creationId xmlns:a16="http://schemas.microsoft.com/office/drawing/2014/main" id="{6083757B-E6C4-961F-E5BB-CC5738CB4212}"/>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3182" name="Rectangle 13181" hidden="1">
            <a:extLst>
              <a:ext uri="{FF2B5EF4-FFF2-40B4-BE49-F238E27FC236}">
                <a16:creationId xmlns:a16="http://schemas.microsoft.com/office/drawing/2014/main" id="{13F09BA9-90D2-2BD0-442D-8F1FE11864F9}"/>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378763BD-3404-AAA1-E372-120926D4F7A2}"/>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DE726547-E2D9-AAE5-47C2-378FDB452D01}"/>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B1F87734-A07A-43C9-A03F-53D788F423FF}"/>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47BCFF76-CC57-1604-EF0D-F615C49E18DD}"/>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D64E55E0-B214-2FC5-805A-2534C9593292}"/>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7152DAB2-6C74-1B7E-0689-A805D0FD59E6}"/>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3B3548C4-8ECA-3C6D-7827-BA054F492C17}"/>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5FCB6728-574F-3DC8-CDDA-EC694784502F}"/>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87B7F931-64DD-84F0-BFEA-B42FF67CF458}"/>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A311230B-928C-0F9A-BB59-F5718047311D}"/>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AF07D4CD-33A5-510C-D28A-AD04055F98F7}"/>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22C0EFF4-C74D-9C7A-91F6-65FBDED259F3}"/>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BCEBF62A-96FF-EC80-E28E-C9254FDA2DE7}"/>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556BF7E3-1909-7935-6755-F2EB33078C48}"/>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3B9829CF-9523-E581-E436-1CE1A09224FC}"/>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B26D619F-8997-FC6D-158D-04E56D07320E}"/>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B6145E36-0B0D-A2D0-36EC-1A7C450A26C5}"/>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CFB41577-2171-DCC7-1F98-EEC6085B2FC8}"/>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9E998FE4-82CC-76EA-7E2A-143209E4B957}"/>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5F1CD5DD-4679-4988-2266-3A87395853E7}"/>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5CF1D0C6-16FE-1F17-8270-E1544A708ECD}"/>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5F501AE8-5AB3-B998-6749-2980E77BC1EA}"/>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00DEDD92-6FB3-8DF3-8E4A-116F7BE2924D}"/>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1A014F41-20C8-2B5B-3E16-26FB08A906D5}"/>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E48C42EA-66AB-B32E-4262-5296E47BFDB2}"/>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558B6C3C-B633-8B67-30DF-7F483A41780C}"/>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5C4A1C0E-CEE6-45EB-EAD3-1D4E1F6DBBE2}"/>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C960571F-5395-56B9-BE2B-4F1CC299DCBB}"/>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F7E24EA7-C06B-3F4D-429C-D40CF57CC8CC}"/>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4CC27E77-E896-22E4-97F6-5EABEF7BBEAB}"/>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002BEF92-637D-E6A2-12CA-0717563F425B}"/>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4FDF71F6-4020-7011-E901-93B36EFEF269}"/>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4BA10DD0-6D2E-A6D7-B4E5-72EB32E21D33}"/>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5EA42CA7-CEA2-E62A-7DCB-FC956E97CDF5}"/>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3478F61F-1C60-68D7-817A-00748ED4B3E1}"/>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15EF227B-2438-CF76-C9CC-FB41F0AB6AF2}"/>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E8166D2A-1BC7-F515-413B-11741416FEFE}"/>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53DF925B-3FDD-9000-DD52-9C800B861171}"/>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140DCB63-D21E-BDF3-4985-53000F409C35}"/>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59E6F56C-3FE3-899A-17A9-4049F3EA3FEB}"/>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B980F923-7E92-1560-52EE-602CF3534FE2}"/>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06BFD118-3488-6CD0-3221-79A55D2B185D}"/>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6CB2E7B0-B57C-8318-3B62-D5C6F753B3AD}"/>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7BA6204B-7EFC-D103-89F3-4F757A264BB4}"/>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6921C1F8-FCB9-F877-6B2F-1416F5AB8DB4}"/>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44B1881A-A7D1-EE96-344B-5FB2F2DCA266}"/>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7BFCD54F-4B74-153C-AA9C-A2482A1B1749}"/>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BEFEE0D7-0A38-A274-5AC1-057194C9A5E5}"/>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8A6862F7-F693-58C2-B859-E1666C4411AF}"/>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06160B8B-AC0D-F88D-44EF-B9599DABA096}"/>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ED9C01BA-4038-41AC-3D99-267C35748EF9}"/>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634AF1C9-83BF-7272-1906-13F7D4E76924}"/>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8D651B47-4721-EAC7-5F29-51025883F20E}"/>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41665FD3-316B-B126-8791-8E8B8A32E829}"/>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A043F044-B8D7-4C31-2B7E-BA5441A9BEB2}"/>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8EBD8F74-1412-5199-A806-81626F2E87F2}"/>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C9F59389-1B18-D8DC-E456-03258A4A59D9}"/>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B7615F97-3153-0FE6-36DF-A21A97E75CD8}"/>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FAF7684C-EB1F-B25E-133F-DEFA291E6990}"/>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4AFF628C-150D-DE9D-096C-8B164CDA1D7A}"/>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87FE883F-5E36-5FAB-505E-27D8A055D718}"/>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117FB5C9-8237-ED16-5344-CE08C49A6D7D}"/>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D96CE495-3E59-8BFC-9EFE-18C0ED8E0C3B}"/>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7AE6DFB0-FBD3-FC38-4573-3D0E53908DF3}"/>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3F547138-D4B2-D215-CE2F-44EC8E39187A}"/>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DFC60B80-A15D-0D1F-31B5-C123C9B9E499}"/>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B4844660-01EC-FDF2-41CA-14AC60EE7C65}"/>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E6B61D05-D27E-A16F-D3BF-8074331C2E0B}"/>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583F2FE9-B945-49BD-E7CD-9C44C6995826}"/>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D97F0E00-E3E8-2197-F722-DE80D5824B26}"/>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0DAC70E0-04EB-906C-1CB6-E2EABA33B093}"/>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0F3556B5-327C-DACA-3700-EF355619C0B4}"/>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E2C93ED7-3E10-FBBD-AC88-0AEE2517C9E5}"/>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8DD8F173-8AD4-29F0-ACEB-1D639AFABED6}"/>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B7D175EC-7520-7DB3-A044-7E91F734F964}"/>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F0CCA338-FAA1-1BBB-C280-E3323F52F5E9}"/>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5E85E3D0-7CA1-447F-0790-29FBAED66D7D}"/>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1E556357-6D5E-F469-BC6D-C013F37ED21B}"/>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1EABB90E-BAB9-ABCB-39EA-A6C2688B763D}"/>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5AAB5CA0-A7B0-AC9B-2FDB-67D26329E59A}"/>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41C23E2C-E841-58A4-05F2-37D4CF39A0C4}"/>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B8179981-2DF9-287B-58ED-4F9682D6F3B2}"/>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C7473553-5334-FBEA-287B-7370BF89006C}"/>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873A76CD-55F5-CF1B-A86E-900959BBB82B}"/>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3D93DC98-4177-2767-3CA3-DE5F55DBCE19}"/>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CE44EB51-9FA9-9BE5-7D5A-80DFF9C50072}"/>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1EE0EFD5-6BC1-4EDC-9542-AD02A8BC8260}"/>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D7ABB298-E2D0-B2C5-D550-E23A737E544F}"/>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032FA9DF-46AB-12CC-17BF-86924BD3D36F}"/>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8FFE9154-F431-2C54-2E16-76F2830EC0B4}"/>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AF1E6B97-63A5-C901-BADC-DA511BFD07BD}"/>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FBF96F6C-8D06-8661-5483-D6D916DA54D3}"/>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571A741C-03EB-A79A-3DA7-F06E559B72B5}"/>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6ACBEF3A-6C5A-8DF1-AC1B-DA9386AE4B6A}"/>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BE6088E7-B85A-679D-8AD5-C1DF377DFB11}"/>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6BD7D7F2-E2B1-868D-BA08-3631A5642FAE}"/>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345386B5-6300-0C9B-8853-04E32A070E85}"/>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2D8C2550-FB6A-341B-937E-EFC18FFCE186}"/>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DDAD3D99-D3E5-3E15-94FF-1095E64B96DA}"/>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AD22D306-4B9F-1513-B860-98049EF14874}"/>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45AF442A-10A4-529D-5D91-FE237596245C}"/>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437D8E08-1140-6271-B279-40A60B56C9BE}"/>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15CC0238-5E99-7061-ED48-7BA2E3B29FBA}"/>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AD32C7C3-280C-0A3B-7805-250881D89D4B}"/>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9658A07D-DEE5-B164-2AEA-A1E7557FA475}"/>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3CE2F2A7-1FA3-B2DD-90CA-A7ECAD47387A}"/>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3AA239AC-1EC7-91F0-1493-919D91CADF4A}"/>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888B46B6-57F1-EF64-348A-37F5607512CA}"/>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476280DC-E298-D955-231E-76600E4A3369}"/>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4ABB6BC7-CB66-A8DE-1BB9-AE3AC9AA3EEF}"/>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12E30E23-8974-022E-7EE0-652B2C2AF905}"/>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240C454C-ED37-B40F-6D83-19E42D71F5A9}"/>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8E270457-0C12-56CF-3C78-B143889C0E5A}"/>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F86C1807-8822-7201-7C7F-E8A936C283FF}"/>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5D4183C3-4078-8E84-AF9E-F0CA35CEB437}"/>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96EA0EBB-1CD4-314E-D7CE-7F669F845027}"/>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E41E8347-ACEE-4599-9F52-B4039353A075}"/>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26D60E01-2BEB-A420-E224-EA0555460B1F}"/>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F6E611AD-F449-5D0F-1182-FB724E51A3CB}"/>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8DC45BE6-588E-2A85-D634-4FF4D3747240}"/>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6ADD8F0E-446A-9AE3-B834-9665B68683B5}"/>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CE2BE7B5-C418-9BDB-7460-F85F96018179}"/>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1A084DBF-ACCD-7613-736B-3450FE8F749E}"/>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452FC192-1026-0D7D-AB94-E0B6C288A8A2}"/>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E486BB2E-5A30-335E-1FEC-4F0A02D1BFC9}"/>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77656AD9-E64F-3206-D848-46187E36EEBF}"/>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686417D5-9E18-1CFA-BA3E-1B80C8D15A12}"/>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2D497DE4-90D2-E91E-2719-FE82704BEF10}"/>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7B3915D3-5E39-1A04-1F33-DBFDCA658356}"/>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A7724B92-6A0E-D4CA-31A8-5B17CA27727F}"/>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F69BD7AC-1171-D065-FD59-E8BAA1EF978D}"/>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D1D7AF82-C0E9-CA7B-0EF6-D6B0B2B2DAE2}"/>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647F91A0-450B-4936-21F4-0417082B32ED}"/>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56C64A06-A36E-BBCF-9D6C-ADA6EFF108A9}"/>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1F170D4D-A2C6-E0ED-7C0A-560AAD8EB343}"/>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773C855A-E28C-9F4F-19E8-CA7BA8753149}"/>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14CD56A1-DF58-04DC-AB42-DED3E7FD2034}"/>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7ACFAB51-F49D-E453-C31F-DDB9F0607027}"/>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549FE909-2120-AEC6-98DC-9D232AC58779}"/>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7D161484-DE09-4234-3A3B-55D3A7614975}"/>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A7DECBFA-66AD-94F6-0E70-9DFC1F67317C}"/>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284425C9-5E63-A86B-C5D4-53A9475B7DE2}"/>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14225BDA-4063-4938-DA36-77408A818C2D}"/>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F701A574-D2A2-1051-756A-9DD46D94583D}"/>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6F877847-4F0A-A05A-5447-6A9E54ECA405}"/>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71A9B822-677D-ECA6-2A19-02CAE93AFF70}"/>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348CE515-6B73-4A46-435F-DE6726CD3E4C}"/>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FB6B5F76-00A0-AFB2-56D0-4AF4C733A776}"/>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F1324CCB-2369-E443-548E-DA1674CB2D95}"/>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C5ED99FF-4A95-B8DC-2EED-8F04C5F5059C}"/>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489A3038-D11B-E58E-E523-14FD4CAF257F}"/>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4C0E9847-1620-3DB1-0FCE-20F1ED046F70}"/>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AF6178EF-DBE5-1153-C612-B4FBAAEC3321}"/>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221442EE-B780-F81A-3C28-C4D14EC1FD0D}"/>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A58556ED-E7BB-E80A-5D7D-70501CE3E1C0}"/>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B7E10FD5-3DE5-8A23-80B0-E9D39B5C8C71}"/>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92C20E21-9FA4-7939-1FD6-195A69230E43}"/>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67DE8367-9372-CA7E-ACB8-70BF0C6EC624}"/>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1B554321-FBEC-CDDD-5B07-3BF2137B4D46}"/>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7AEDFE76-638F-7585-FD09-B9AAC7BA76CB}"/>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5A72A2C7-8C98-E437-60E8-1F7C801B53F3}"/>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CF7354A0-4B25-E8B2-80B4-150A81BA3FF8}"/>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7DC9B00B-9D59-451A-2CC7-ED52BC516144}"/>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631693EC-5CD6-92F3-729F-DAE7F142D8D0}"/>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053FCC65-58C2-D19A-31E4-D67C833CFAD6}"/>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4333B02B-7B3F-524A-B26C-74A8545568F9}"/>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C04A2283-1B63-92E6-8F0F-8A3ECB4F38B5}"/>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B1CE99F5-8788-9EE0-C68A-E693E108480D}"/>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BC2CE243-18B5-1089-C242-DC0EE29B6023}"/>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E2932F14-21F4-42C3-215C-44C1EA532149}"/>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8B4BEAA2-87C3-8434-C88A-3F6263CA163E}"/>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5CD677BE-3120-0225-FDAA-98641935A826}"/>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ED8F98DC-08C1-CA3B-E8C0-18F5A77FD036}"/>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940D77C2-D97D-ED2B-FE4D-6C19FC2839CF}"/>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8ACF7C2C-D63B-00D4-9CC7-0F068B3F6A15}"/>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5054CD80-4FF0-B8E0-6103-D364B2BA00C6}"/>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08E92ADC-36AF-78E7-BA0C-1D90AFBE8BEC}"/>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9448FE13-50BC-6CDA-4B88-15C24A7B127D}"/>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01D94E19-D38D-0F7E-DE7B-8474A5A2FDB6}"/>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DE9121C7-38CA-16A0-8836-9731F7241914}"/>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117FD7F3-5086-841F-6AF6-52EBDC49C8FB}"/>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EA0A5C85-D3CC-3089-776F-D0F0576B7B62}"/>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BC831AC6-F9A6-D0C6-D8BE-1083A3A6A702}"/>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ADB78E49-4070-215A-24B7-AC2505524E72}"/>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74CD2A55-4BF7-D1B9-84CD-B332B61A0015}"/>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367C8551-C3F0-DA37-CAD9-A3AE78A03EFA}"/>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29B89816-23F7-2355-8EB9-1A4B6DACD512}"/>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156DCB1E-A9BF-BBA9-E667-4048A71124FA}"/>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5DEF08A4-5A88-3954-EAF9-7E1B6BAD4645}"/>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5DEE274E-F03A-CCD4-561E-851FFD36C39E}"/>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D5C71B1A-B493-6944-0823-1C2F25660ACB}"/>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81EDAF3D-A6E5-E070-D88C-146F62EDF627}"/>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ED3CA435-A01F-6D25-EF48-651136609A8C}"/>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60363828-0EF7-6DB4-47D6-8593BF2CC2DF}"/>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92670A88-EB21-780B-6396-D95C6CD8A544}"/>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4D2387B5-DBCE-1639-0994-BDDF03711E72}"/>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9D1B114B-BDD0-7824-AD2A-CDDF467DD51D}"/>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7A63122C-13CA-07D4-5E8C-996E6DA4ECC0}"/>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05D4B5F7-43B8-03E9-6597-1C012F71865F}"/>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4F54609F-4B74-1529-A4F1-F999CA1FEFE5}"/>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D1FE23E5-AB07-976B-B096-D06E1A404AC7}"/>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500C169A-FBCE-99A8-D420-10592951514F}"/>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5B79B019-3F8D-2A5C-E13F-01672C6A579F}"/>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BE51E164-60E5-E2A4-5E5E-DA55C0AE896A}"/>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2B3A83F5-488B-3C1C-95BA-42D4ED011ECE}"/>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546F74A2-593D-3DC3-2C85-433BDD2E9097}"/>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BBF67DFB-CB32-0B84-957F-4DD714CE2445}"/>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66706FBE-75AC-A971-89A8-57D36A893791}"/>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45D4AA2E-E841-3F3A-88E5-5515FB041917}"/>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7D1633FC-8CD9-AF47-FFE2-B750DA9751F0}"/>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2BDEB8FD-CEDC-4640-05FF-1C31732CF453}"/>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F2F7B760-F2A7-7567-3DC1-7F8B3EF6C9CF}"/>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5235435D-F1F5-075A-CA4D-F2710B7B12AE}"/>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0C35C1FB-02D6-7C17-38FC-674A534AD9BD}"/>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04B8A8C1-A68D-0724-C515-7219EB93C469}"/>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D73B17C9-33A8-1700-C1DC-04A40E2B39A6}"/>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893193C8-A5B9-E82A-169C-DA699598855A}"/>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F865C2D5-2481-4738-E461-A7A82F23DD2D}"/>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FCC8B3CD-5CC9-F6E2-BC30-5C5428A34FCE}"/>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F0C67E4E-66F3-6C2A-FBB7-77174137C37A}"/>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E439CEA1-C69E-2F4C-DB2B-CA6BC88FE974}"/>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654AA04F-6BDD-C430-1CD3-1B8FE04E89D2}"/>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95777ED1-D288-71A5-D0B4-B7CBDA75871A}"/>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D2712CC3-9C2D-D815-CF58-77500E5955C9}"/>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526AAE54-4908-2100-AC27-B915B5C2A800}"/>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EFA2F779-5C90-27E7-173B-088528C361C6}"/>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EE83709D-807B-E47D-BB73-7AB9AE639081}"/>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1D41F32E-0577-0C03-0785-5DF036B6F80F}"/>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C39DA0A8-5137-722E-B24B-3250C7D121E9}"/>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063BF51C-CA20-6020-B052-FA0150AE126E}"/>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EEA12009-A28D-61B2-B3AE-76EDF32794BA}"/>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8FD55F84-470B-E8E9-6EBB-17AAB1195CE3}"/>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FAC64FCC-9CF9-185B-FD74-26B1B18A8100}"/>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990F8C3D-02C7-4AAF-411D-D4A000B97547}"/>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175F91D2-2F45-7DB1-1C4D-B156B15B7183}"/>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A8183943-E1C7-4540-24A6-E4FF9C931581}"/>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CFD66705-0657-DF82-9E9A-93901DC1282E}"/>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AC7D0034-AABC-9192-B0E1-5EB561A104B7}"/>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CBA65F9F-3FD0-ECE1-27F6-224625CF8783}"/>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4AF2E399-FCFF-6CB1-DAA4-470B473B4845}"/>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5C5E89C8-F1F6-B169-F08C-605FDED2B2FC}"/>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846D3FE2-B2BF-41E6-520C-8715D6A198B7}"/>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09BC166C-86B7-6E5E-E5B9-8D804F2BF1B1}"/>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80CEA3B5-E7F3-4C88-818C-C098813ED62B}"/>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B2F7C9D7-8FA7-35A5-2009-1F94443253C6}"/>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3FEC23E2-CE81-C18F-9D21-321DD9C1D006}"/>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4839639C-9D0C-CBC6-5DAD-C024A71F4C80}"/>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A414CE29-6288-1EE0-2AEE-30750EDAD1D4}"/>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EBE7E7B9-5479-80D3-EBDD-DC5EF557678B}"/>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AABC2F1D-E640-5F65-AC5B-20C1A5F31635}"/>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3E8C6432-03C5-32AB-FC3A-6BAC13B5F700}"/>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89920A69-0921-17F4-414A-052ADD38693B}"/>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88E030C7-0010-07F0-228D-AE49DDB5A1FC}"/>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A1CEB477-E198-3FA4-57BE-C67FE043E691}"/>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4AF60B92-E58D-FCDC-D9AD-99BE2CC167E9}"/>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E559D19B-0F62-7A7D-07D0-4CCF785873D8}"/>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E50B7054-8CA5-D26C-0725-B4CB90C575EC}"/>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97D1F363-FD93-5D4F-220F-D8D2B76964FA}"/>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AE8D6669-3CF2-74A8-59B2-C2DFAA861804}"/>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33EE0C09-9F7C-0396-4F73-4ADEEBC2FF55}"/>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65D74F9C-56C7-B65F-94FF-4193B439D873}"/>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892E3D84-A7BF-A37B-FB27-CFD8AD2456CA}"/>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7C3A816C-536A-3551-CC9F-D3050B891576}"/>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7646EB0F-1D95-B8AB-D76A-E3D6E2066F8B}"/>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6D239FDF-F2CE-2352-2EF8-BC30C4B291D2}"/>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D4E2060D-4543-6119-7FAC-92117BE0DE16}"/>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84C98C7B-D7D5-F830-47E5-C69DE37DE5FF}"/>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EA0B9C5D-C485-5084-D192-C34879C7CA83}"/>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9764979C-CE4E-ADD6-DD92-F4B6E763745A}"/>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21E891D7-92E8-3620-190A-4B3CA663A93F}"/>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DA39F36E-2BE6-A0FC-FC30-3201B571A326}"/>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2B85282D-AA5D-31B6-25C7-CBEF50B661B1}"/>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7257293A-27C4-0B46-07F2-BD796327D073}"/>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FBC9FD04-AEFF-2429-1AEF-6E5D676B007B}"/>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D85401A9-7741-10FB-106C-22C0D84DAA60}"/>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BB9D839D-3658-2ED4-1AF8-AC8434487F8F}"/>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4F849586-8A1F-1C6C-D71F-425A61F6A0ED}"/>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F0EC8F29-A6CB-9D1E-B749-7EBE63C1317B}"/>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55FED486-2BE7-FC2C-F11D-FB69B49B077D}"/>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D227ED6C-01AA-71F6-0E04-FFBFD0AE14EA}"/>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663168BD-EA74-9498-BA0E-4B0E4F8250E7}"/>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5708A536-222B-DE10-EE3F-8175AD24ACE9}"/>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C360EE63-D2D4-0BF2-CFD7-872F8B4A7E9E}"/>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D31C8043-233F-63BA-64A6-ECBF48CA55EC}"/>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B997BBEB-6936-6460-7A8F-0A872B188F07}"/>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22A3306D-3529-4E2D-D01A-F55F5AB12F2C}"/>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BB1612B1-89D8-1376-BB26-A25810D0110E}"/>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CEC3844C-FA02-8C87-8E5C-13FB9BDD94F8}"/>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2D6176D2-E19C-1B8A-B7BC-E86B981F6156}"/>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545C0A73-F8E8-5501-AB13-12D748721D53}"/>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6745BBC9-3319-620D-3734-36755E299A6C}"/>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804ADF2B-2971-8B59-1239-48AF5352D839}"/>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EFB2299B-498C-FC0E-21EC-50CE8F76F1B1}"/>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1FAAFF47-D933-8EF9-9A95-0BE9E842692B}"/>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215EDFB6-142F-A3F7-A372-2B0B9B850EDD}"/>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412502D3-AB24-F438-361C-09B3F52CB42B}"/>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B0EF713B-2F62-5E7B-057D-DA5B5CACA2B9}"/>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6C907C8B-732D-45EB-6EED-5E45DD0B3DB5}"/>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F4BC76C2-ABEE-815A-CC89-E7C1662CC053}"/>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642B3485-958A-CE3A-4E9F-142A6C96BFC8}"/>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15267ACA-D09B-19A8-A8B6-119B091EDF53}"/>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E518CF9D-EFF7-76BD-A037-E129B0EBA497}"/>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B7926F0E-034C-A9F7-95FC-C52457277112}"/>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94831749-2AC9-A5ED-95DD-004C60A90B1D}"/>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716B76DC-F19E-9E78-9E72-C6F25876DAF9}"/>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D3227476-1EFE-8AB4-3EA9-51E9DB0956DD}"/>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09104FFD-B73F-3407-0E7D-D0CD967EEA01}"/>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B6101F24-FAD9-A641-8517-920A9E4CBEB2}"/>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C116964E-D742-32D2-73DA-D183B6F5CD47}"/>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3F8F55E3-FB8E-6CF0-4AEF-9D3D32636925}"/>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C7D5C25E-FACB-ABB6-0FF8-67A7168C3BE3}"/>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85A15ABD-E50A-CE6E-9BF6-DC5B4B0C58A0}"/>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E06EF841-293C-9A18-8A5F-0B4BE73A7624}"/>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B49AC694-7E53-DAEC-625E-41DB585D23FF}"/>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E5D14060-2219-FE7C-4E4E-53F8DD4FE04D}"/>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A1425501-02E7-A442-79A6-C4F34C1A459C}"/>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D07B92D1-4DA9-EC18-4200-EA1464B67719}"/>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F9BF3CFB-DD99-4FFD-D5EF-B1BECBE2AF57}"/>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54077853-6D37-954E-346F-363B4DBC2DBC}"/>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0D0178D3-4290-C814-1346-530A24083D01}"/>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12D913FE-EA6D-799A-0FA3-FE481F930AA4}"/>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31484127-96A9-FDF7-19FC-B98343CF334D}"/>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BCCA22AB-A521-86F5-2800-8FE2BDDAF439}"/>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DFA86992-8A91-4B49-4DC5-99D7FD9048C9}"/>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875BA20E-0CF1-5B92-A2A6-33144A73B9F6}"/>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16D12DBC-BAAD-10CB-EBAD-ABD8D44675C3}"/>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882F00BA-078F-8E73-41A0-09C2722CD10E}"/>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0064B473-E0E3-AE31-71DC-0D04126D1443}"/>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0A203A5B-7A05-E655-2A78-366B0A51ACCE}"/>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F08AB1DE-2DD2-A73D-CC27-C88F0993110E}"/>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AB120A09-F7A5-80FF-041F-2CDFF0C9BBB7}"/>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4F9CF450-404D-737D-ABA8-E75EF6CAFAA5}"/>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C158DDE6-4BDF-9F9E-3EE2-BBC2C2A3DA20}"/>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370CBD1D-33FD-773F-78FB-9A6A489608B8}"/>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900E42ED-699C-F6C8-3F1B-7B07308B0050}"/>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412FC347-CB4D-FF98-E2B5-8DE6C312FADE}"/>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53CDC532-6EB6-7EC3-DB0B-A7FD67E75FAD}"/>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08FEA2CE-2529-65C1-08FE-D361DE96F5C2}"/>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6A7E979E-5279-C157-A9D3-48AF0DFD65BE}"/>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58DF6F30-824A-9D0C-81ED-EFA515DBF076}"/>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0D25A2D6-0EE4-232F-DDDC-F6FA1AD6135C}"/>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D81584E3-1A89-B429-569B-E402812E8A74}"/>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4C71204C-8433-B195-D9FC-E0CBA0A4D4D0}"/>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273CEF4E-09A4-1C61-636F-2CCEE7225D3C}"/>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A48F6F60-2704-8722-FCE6-6FD60D308470}"/>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C9A0F922-EB99-31D7-541F-DC343929C5FA}"/>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54D43E9B-C9E0-4E1A-9183-008F0C97F2E7}"/>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7C1320D6-8B60-504E-9A17-CAA5E1C05014}"/>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20724347-5061-C3BC-6EE8-70202A031C7C}"/>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8124F4E4-13E7-3FC7-81C4-87BF966449EB}"/>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5D964934-99F5-8085-D7FA-07CD8338AE63}"/>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4B6BA4E9-99A0-B619-F9EC-CB5E4327EE53}"/>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927997B4-9A99-5F00-401B-DF46BA2BF534}"/>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78C5A46F-DE57-BB6D-E2B1-A80236B5BF20}"/>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283F4EA3-148A-666A-DCB9-770299B29046}"/>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83A40258-523B-6AF2-E60C-7AD49E8DBC06}"/>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5AF26F5C-C5F7-5E00-8063-2571BACBC5CD}"/>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F2DB829A-9856-BF86-F433-7DE52184CC2C}"/>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340D4C15-1B57-84F3-5BAF-086FE7B5B8BF}"/>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EE7FD3E3-39E5-BF19-7254-FA2530183906}"/>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0DD1FE63-CB40-BFD7-3240-734319FE816C}"/>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B8547C35-2F25-9631-697F-0006D57EE452}"/>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1F60478D-3BC9-66B3-41F1-902BFDE7A608}"/>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4CBC496A-753E-0929-AE67-EFF871299DFB}"/>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BD9F0541-D1E5-6792-95BB-F1F0DF68F1A4}"/>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E2C0D9CE-187E-DC60-8F7C-ABE8A44031B3}"/>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D5DAD5DF-7E0C-D94E-EDB4-75166AE53185}"/>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6ACBAF26-C1F2-A86D-C6C9-7A714A2ABD6E}"/>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20EAA1EB-7A7B-555B-2052-74CC58B0FC52}"/>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DD45EAF8-C18A-0776-3097-88110AC6A937}"/>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6EE72C94-410E-18B1-F94F-BD596F4C4799}"/>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8A43B8F8-712E-C1B1-0A9C-299D820CD409}"/>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4BD1F30F-5BA3-3F3E-6A74-39807A7B0793}"/>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088A6F44-9AF2-D4FD-6A94-B601A4E6103C}"/>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12F6EA7D-0D3C-F006-BB72-E5F165C22790}"/>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626E828A-39EA-3246-629E-94B86C201476}"/>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B07025EC-9D33-6FF0-9914-CDC80B205C7A}"/>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DD3ABE0E-A5CC-8EC8-148D-E1B66B4C2576}"/>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4B9B99B9-F6BE-F2CE-D546-0C970B08435C}"/>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3C5A678F-ABC8-EF2B-6DAD-8953241DB82F}"/>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5846E0DE-8A48-321F-247B-E1D23A445095}"/>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95B83421-3B93-E9A8-0B1E-90A59FA73F48}"/>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D1F454B4-B548-262F-3FE7-2D025F312449}"/>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8C38E661-1D07-E4D6-F4B5-35AB383E027D}"/>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6C774DFA-FD5D-C158-5621-83F0070A8FF9}"/>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2DDD8DF7-B074-D6AE-FD12-A37215EC1C8B}"/>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A6A4DA62-2F5F-5B8D-1B2C-D0C03AF6CFE9}"/>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572791C4-873D-C580-B401-046A27FCBBA4}"/>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18CC980C-D407-DBDC-DAEB-ECD5092B5028}"/>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B3082575-8988-301F-E02A-CA050C4532E5}"/>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949411A8-57AC-EBDC-284B-7F4E926EC831}"/>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14E1DF24-C327-0C22-6868-14DE7257D8E4}"/>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B4212A67-15E9-1919-02B4-89D21BC40D6A}"/>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D9DDD59F-9719-7A1C-2403-88B253504238}"/>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DB8E9BF5-50E0-A9DB-FEC7-2CF1404652B3}"/>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D76FE946-357A-8AB6-983E-866234F97D7D}"/>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2FB99684-D1FF-F1B1-04E9-1B4DA1FA0C6D}"/>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E945AD1A-C766-E495-E994-4E893302B4F8}"/>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FA9653E1-F730-ACC7-7DD1-BCFA226C967D}"/>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DD1161E4-6570-C361-AE39-8B0ACC98CBB0}"/>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E4FF8E0C-2274-405F-C78F-42DC9300DE62}"/>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A558A3A9-089A-E679-DF09-A22FC6788D34}"/>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C3E3620A-5ADD-3B01-75AF-18DFC9BF9CDE}"/>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2BD91986-432B-F689-3FBD-CF37D34C30FB}"/>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59CEC26A-B57C-BC7C-864F-90D098720F27}"/>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3515435C-C0EC-1D0F-788B-DAA35D95E24F}"/>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82E326AF-97AE-9F91-2C0F-B401AF858475}"/>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CD21399B-E6DB-1CC1-1B58-0C02C0953B7F}"/>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0703868A-2E22-7C56-811B-16B605E8CD2E}"/>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BA56CCE5-AD29-D726-10F0-B615EB9372E8}"/>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AE814B5F-0184-E94D-EE91-77A2605BA69F}"/>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AE8A98B0-4727-3771-1042-34B0771D1D2C}"/>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FB029083-B7EC-A3B6-187C-AFA87C31DA32}"/>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E2635748-2796-ABD1-D0BB-3C26FA316FD5}"/>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EBF83EA3-FB5B-F324-5BAB-5AFC3144062D}"/>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D14271D8-DFAE-6119-D585-30E994E17938}"/>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D232B5DD-578A-D289-63E9-A0C8CF0CEC89}"/>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7FEFB5B2-D4B4-5AE7-8E73-F4326171DD7F}"/>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9283AD8A-2EEF-871B-F0A3-A45D7A6C2B37}"/>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5D2CB771-92B2-592C-5414-5028B2BAE1E1}"/>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4C667DBA-8CBC-5716-B6CD-9447AE7ED547}"/>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BB5CD3B0-E334-E931-3ECC-12DB69EB33AC}"/>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56DD4B43-D14B-35AC-92E8-F32B61EFBA5D}"/>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93B5A2A4-F345-A5D6-2420-980BF3F0529A}"/>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D295D6D2-DAFA-B8D5-0A33-2418A2E14617}"/>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04DBB314-EF37-3751-3A7D-0F6BFC586FD9}"/>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F19795C6-CB8D-A693-FDAC-30850290E79F}"/>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9170454C-B971-34CC-84D7-8DE4024BAA2E}"/>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54B96681-EE99-8C91-5326-13595EED675E}"/>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C6475020-B8F2-2CCB-C5F1-4455087C4775}"/>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38960903-E914-FAAA-DF1B-C12D44FBF919}"/>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1F87B2E4-DCEE-BAD2-7D2E-5200481D48D9}"/>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CB1D6E7D-AE5D-D0F6-FA33-61AB3C9C0468}"/>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972B4B12-46E4-999F-900A-3120D7040974}"/>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A5E527ED-70D8-02F5-CB44-8FDF5D9A41C7}"/>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8C18055F-386E-B073-0EEC-1195FFA2D27B}"/>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B570CE28-E759-67D4-7E07-56650081F9EB}"/>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74E62914-B627-3CCB-4FB9-D3DD2520F657}"/>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11F8446B-C64C-E857-0A4C-DA7CC19C8188}"/>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A2C18A79-B47C-8B91-2A4D-D7FF67B7698D}"/>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391C226D-91D6-331C-6C64-0E705233216D}"/>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966F73C5-B03F-B907-9782-B0786E7B088E}"/>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35936ACE-8251-BF4F-BB79-DDF1E8A6D6D8}"/>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0813C076-FF88-3798-7280-DF5668BF8F3B}"/>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A383F78E-8F2C-2FC3-1CB7-A59692AF37A0}"/>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6CA768A2-3864-F861-6A84-49775DC4451C}"/>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256553E0-6485-DAB2-6A4E-0D36BBBBD9D3}"/>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DE3D7369-2A40-8C35-C153-78E51F34FF86}"/>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CDF8D21B-EB1E-5DFD-D609-5B9232EC46F6}"/>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EBBF4F1C-A4FE-510E-F1AF-47A2EF24650A}"/>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73FF73BB-68EE-C94C-BADA-398A5FC8784C}"/>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76084A1E-FEA9-5E13-F817-1DF52EF6F341}"/>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81473416-1F28-25E7-D2DE-54ABBE6086D6}"/>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7434E183-71FA-BFE5-E766-0648C7B3E591}"/>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97ABAD4A-4F1B-A5A6-59BF-7E18AD3F40BE}"/>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FED7EBF5-C2A8-E237-DB92-3363FF8D7FA5}"/>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89E99811-6886-B095-3817-E2DD733AAFA0}"/>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B7759414-B30E-8A04-80BB-26D8652CA109}"/>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3B697316-CAC0-C8B8-4446-81FBF200EAB8}"/>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205E512A-DFE5-00FA-6C37-BF5E7E3837C8}"/>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3B19D92F-80C1-BDE9-EE1F-9126C9877BF8}"/>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8BE78F2C-299E-8D20-29AD-42FEEB986A5A}"/>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3E55C8C3-B69E-769A-59A1-ACC18015B963}"/>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52562EB6-1078-ABE2-2F70-0567F2C5B418}"/>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022AECB1-D47A-BD04-FF21-CB7DA0F0AE93}"/>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62EF05CD-84F0-7AE9-742F-E9742A420392}"/>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2A30EF53-FEB2-1259-6D47-8F78574A3921}"/>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8BCAA06A-4216-AE83-47CD-275543B9588C}"/>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3B3514B6-FA37-62D4-FFE0-76322ADB384E}"/>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32E60FC1-B292-8ED0-64BC-053E40A8E98D}"/>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7ABE2C5C-2BFA-0F8E-187C-2A685CDCF8D1}"/>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C84FAEC1-4848-9379-B545-1605BF1F7166}"/>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2FAF6CDE-87C6-A059-490D-663FBE109042}"/>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D9340F38-B19D-1B08-1FC4-C5B69E1F99E5}"/>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AB25D9C8-6BBA-0595-52FE-6BC008333573}"/>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B9C4FCCF-7FE4-81BC-430B-63D303952A68}"/>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8E983CA9-AACB-0629-A439-861A400E34A9}"/>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5D3C60CE-B3D5-3D01-1F4D-8A953B92C58E}"/>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9F693B5E-9591-8FB8-C671-C2B752DF9546}"/>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45972582-A0B0-C53F-370C-6163CAA08837}"/>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68389A40-C374-7258-282B-0A8CCDCF183C}"/>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2A99C8A8-8CFD-1F51-D815-D6CD14BDCCA6}"/>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EEDEAEB2-5CC6-72BB-1123-9E06C3AC6D7A}"/>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78C2953E-2461-5667-014F-DC2CCF57BA4C}"/>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6E38A2C4-DD4D-2C65-4F41-F9801C39CB12}"/>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433FC0F5-8ACB-A11E-FDBD-3B3B8E7C2B45}"/>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F51C9CAC-B5DA-0CC6-4106-526EE5BA735A}"/>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DA5C9D70-A8FB-BEA7-5520-7F656051B73F}"/>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5EB67A77-5423-19B4-A61E-1A3D0F35148D}"/>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3973DEAA-5371-2759-174F-60E23C047A2D}"/>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2138F1DD-B372-446F-15A9-C5752C812971}"/>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A210426C-6B64-78E2-0E20-154C974BB571}"/>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CFF3DCDD-7E10-CB22-8D46-63192AB6949E}"/>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107B487F-03C0-E9ED-147D-1C1628268440}"/>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DF96F14B-6C2D-DFDF-38CF-2861459C9412}"/>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E4E68B0D-F701-A351-D895-2322C507F0D9}"/>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3E73371B-59A1-B6EC-05F8-F29C089D2763}"/>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D57A82E6-68D8-0623-82B3-F51A072ABC98}"/>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356FD5CF-1641-7129-4896-887BC7593959}"/>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DC9CD5B5-AB9A-3FB8-D50D-B2675A5E2E1C}"/>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C1D7E958-2DB6-4AB5-DB29-49F6EA40B976}"/>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5D14341D-FA1B-889F-333C-84A558A1B7E6}"/>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F542DB7F-9CBB-EA3A-C95B-AE60740352BB}"/>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6FFBAB1D-ECCF-2228-DAC9-446F16CD462E}"/>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C12EAF7D-A19A-21C7-33B2-6318B1730DD2}"/>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5E729F79-FBA2-9EB5-1F5C-D4835D371729}"/>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12AC4C05-D005-4BD7-14D2-39906FBD6142}"/>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3C21E3AB-9D9E-3367-C100-BF2B36FD1729}"/>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5A6B01C2-F120-FD19-66D9-9FD79C8C9C8D}"/>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6540C62D-3B19-0E3C-1B91-6E05418DC700}"/>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E2D59F92-E769-2F53-550C-1EB564014009}"/>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308F56D7-3E4D-6837-C645-9C5A4409D683}"/>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CC34AF4F-F203-4425-9ACF-05FCDC7FDB02}"/>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9710428B-CD59-3F3D-BF77-6669F0C5B3C2}"/>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8B0D2539-AB74-68C1-3953-686C4FFA666F}"/>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046BEFC4-7427-1351-B9E3-1C3D20E8249C}"/>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E29E15C0-6B21-FF8A-99B0-414391A98842}"/>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27785A56-D9DA-C49B-05E8-DA62B7226D99}"/>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D1E125E4-0B4F-CCD8-570D-D88738369135}"/>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78B59ACA-A231-0228-7E69-9AAD7B6CE27B}"/>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CAB24575-8D54-81E9-E424-A87C516D771D}"/>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25042DF4-E7B7-8601-E025-4923F4589061}"/>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14340CC8-8EB0-0BC9-F923-71CA56139E89}"/>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16B2F291-2022-764C-3105-FE0F512ED759}"/>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EF320FE9-384E-F2DF-5F64-4A413A427CA9}"/>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9DEFE40F-927F-3ABA-4D80-78737BCCEE38}"/>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B80D6D91-043E-5D78-E2D7-E6DF64E82C53}"/>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EAF95633-71AA-8FFE-789C-6C0F384F91CD}"/>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D31BC453-89C4-41CE-4737-5257C7EC29F1}"/>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9FCBC1F6-8D49-8A56-6BEC-D436BD259D2D}"/>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B0248696-BAAB-FC50-9045-07EC974669BE}"/>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1B6D9F4C-28B5-AA90-F712-FF0DDB634452}"/>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79C6E48D-DA30-1496-CA86-EA0DDCD827AD}"/>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1659A0AD-686E-826F-7F58-6E396EAB3254}"/>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7ABD5749-C685-193E-F6CD-BAB85AE0C740}"/>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E2D35A3F-200D-3CE4-7F03-097D253E7447}"/>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5867185E-49E3-57E5-23EB-07ABD12E607D}"/>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A5918A6C-9F76-FFA8-ADE7-B4438E05FB53}"/>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D0331F60-8F45-995E-1151-D312145E526A}"/>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1C970ED3-71A6-F0D2-2431-724B6FB56752}"/>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7575A859-1697-3A45-999C-2DEE11497EB6}"/>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BACBCCA7-4624-921E-10C2-C635D83B3FE9}"/>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1513BF56-F7BE-6000-7AE1-224512395F0A}"/>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2D0ED708-3C0A-26C6-8431-399C5B5E406B}"/>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9BA0C69C-82EF-D397-E4B1-0109194E3F0E}"/>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5B293C5F-9E19-7BF0-2A83-9B30D1E9A7D4}"/>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4EAED19D-20F1-16B2-92E7-84CBB07D3827}"/>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C266F3E8-6DCE-7304-1F5B-8A9D848045E4}"/>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0F58A237-0DC9-8EA4-53D0-1D51B5238D54}"/>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B8359061-F453-FC3F-C23D-FA0E09473375}"/>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894C01B5-5BE9-4FBA-81B0-99DA2DBB595A}"/>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ACDD9DA7-E63C-4D30-203C-7465F7A74668}"/>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C7D66ACD-2A20-D81D-2BB3-BB73D303131A}"/>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4E0569A6-F091-7FE3-DC69-43FEEDD582E4}"/>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33FC4A34-12E6-4F56-9EE5-5CC7C12D2310}"/>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76189577-A76E-6142-5F5F-0D145410EF95}"/>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2D7F5144-E3E7-44B7-8A25-A9297381C0A2}"/>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F3DBC225-4BB9-CDAE-F101-D9903984FC70}"/>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C2F31B3D-3F5F-D6D6-C44A-C03BB80749F5}"/>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0F5DD1E4-0BB7-C94A-B48D-BECEA7DF1824}"/>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517DFAC0-9D5B-B4EE-4701-395B13B7756D}"/>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9CC8644A-59AB-07C2-D74D-E134A3D363C5}"/>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844AA1ED-0C70-E735-D947-48580A229DFB}"/>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6B699E64-173D-495F-8D10-F510C845BFFD}"/>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32E3146B-BFBD-A1A7-F2B0-3CF5A5B30672}"/>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5FC991CA-7A44-F0AD-7B6E-2D5B1DE12354}"/>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00A72FE2-B0D5-B2C6-3E20-2A89EA3B7E96}"/>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C955743A-4478-8667-D178-CD0C3040191C}"/>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640805BF-60A3-99AC-29A8-35A68B3B96A3}"/>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77CF4EB6-01D6-52C8-C267-84452F4C9083}"/>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5CF57EC2-6B72-0248-CB26-81F0217A07F4}"/>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1BB4531C-D53D-BCDB-F5AB-D413EC61A179}"/>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423F7D27-BEE1-5477-DC3C-700B5F21627F}"/>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93353785-158C-8EEF-56E6-DC69C6A79F09}"/>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90CE6D1B-CBE2-4F2A-0815-02BDF21074EA}"/>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C2F7E7F4-8AC3-80B2-4D0E-DA000D9C1D47}"/>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ECB22086-423B-FD66-6BE8-C5A92A6010BD}"/>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99DEC6FF-18A7-3ADB-0950-4510FE56DC2D}"/>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3A6F712F-5AFD-3253-299B-21817F6F794F}"/>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6089C08E-6587-F2DA-70B2-B0DD3F3028C2}"/>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CF9C6F3A-EA65-C769-5578-D5F8DE2E3B01}"/>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15AD51DA-F10D-10F4-32D1-18F6698EB0DC}"/>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F26AE12F-E384-052C-6D41-B6CB602224B5}"/>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A6585B8F-F39A-2E8E-C6D4-2F9725D0219F}"/>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2D449C51-A4B2-EC81-0BAF-165D21F9E592}"/>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8C770637-E84B-E6FA-8032-FDD7D15F44E6}"/>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F1B2EF92-B904-1ADB-1CCE-5F62D9E53A02}"/>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2D12973C-052D-956E-6CCB-3693EF6A7DA5}"/>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B8063037-574A-4191-CE51-2D5557C3D093}"/>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E370F76D-C41F-8450-BE85-6C860FDBD643}"/>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5A2BDC2C-D4CA-7481-49ED-8298882EBBA7}"/>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5B1C99A8-C423-82DA-063A-7224BAE6D1AB}"/>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D235E9A7-EC1A-02B0-350F-311B9901B959}"/>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A9570443-F581-54A1-69F4-F3592205C0F8}"/>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C5790A85-D6AB-9545-93AA-DA64AD8ACF1C}"/>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0E0A8EE5-5A6A-48BC-DDD1-6DC3811988D8}"/>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4F03A180-0B9C-946E-6B1F-99DEA2DA9CB2}"/>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FC31B9FE-E13B-25DF-69AF-3E23000E589D}"/>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FAC8D6F7-B00C-10F6-0DDD-1F54333FC623}"/>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64E62771-75E7-90F0-9078-2C196B1F3EAE}"/>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F87638AA-24C0-2206-5417-F9303C94698E}"/>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8902E3DB-31E2-C2DA-0DD2-237459F83811}"/>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174100E3-7DE9-B08E-BB44-44CC01C4EE89}"/>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8E59967F-32DC-0735-ABDC-7B77A5F9BAEC}"/>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2462F4D5-A5DE-A178-6640-762D23600441}"/>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0F5306F3-7613-F334-0103-63814A39F528}"/>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9C7D66F7-B41E-997D-74A2-F0B1020A9985}"/>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CB86E50E-8A13-2F69-6F8C-C3C4D68BD1F6}"/>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7A7575B8-5389-A230-7F43-86C51AFD2236}"/>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F6B30C93-4F18-36E3-4DAC-7AE187DFC31D}"/>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606E651D-FEB1-EA44-2C5C-0AA0E43DDD3F}"/>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0BEF603F-A826-9304-F42E-325E1F707D31}"/>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971F3CC8-7DA6-70F2-82AA-13E633961EFC}"/>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841A9269-7D09-7BFC-A82C-CCBBBA8E5C0D}"/>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E25418DC-88C5-F6D1-2DB1-5349A5DC73B2}"/>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C2D81C0D-0C86-86EF-0362-57E14422270F}"/>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A34CECE8-F815-B2A1-146C-FDF46AFFE509}"/>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36D26162-BEC3-6053-6D5F-6A3E993E45AB}"/>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B2196573-CD0D-B9D3-2D05-890D4858CE85}"/>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9D3B2E36-A508-74EE-2A18-4375130F1B1B}"/>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C884B779-3AFB-AE4D-6701-C5A1A6C2D39B}"/>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49AB2B89-3488-0AD3-7DB8-93F2911AA30A}"/>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D434CBBC-4149-C511-B306-59949DACE586}"/>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E36C17AE-5F9C-CF4B-D141-75FB080E5CDF}"/>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65209B4E-AF06-CABE-8D6E-0461C5C93C8F}"/>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8B9D99C7-5139-FFBF-3F7A-184AD9323424}"/>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759DDB93-1E95-E3CE-24C3-272628B3CC2B}"/>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B6506292-9A9C-3118-A9E1-2C85123096D7}"/>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27203789-352C-0EEE-5A37-3267BE21E71B}"/>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EAE36EBA-8E99-766A-DBA5-F573D46A1F2B}"/>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8BAAE56C-51EB-D4F1-FE28-6632E6A0103A}"/>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4F7AF88B-7AF1-D30C-45D6-431DCB26066F}"/>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260AAC02-2547-CB2D-BB6A-51BE58BB8887}"/>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8C0B4709-D964-B35B-703A-476D553A9551}"/>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DB9296E0-483F-70F2-151E-2BB3E88A783F}"/>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38520D20-8C44-EA87-E40B-00C5A8CDAD5F}"/>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B6A46329-F83E-56D1-79E7-E6D2E2B31064}"/>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45A0C2E5-1A18-07B1-FA9B-28137AB6F4CB}"/>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55597C3F-F70F-1FAC-51BB-DA292DDBCF5B}"/>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3DE0B0CB-A043-7C36-19BD-730AEB9FF5DF}"/>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FDD44D7D-3B47-8FAE-D419-43E8502B24CB}"/>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A56D1B0A-5912-1E67-5AEF-E098A842DADC}"/>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A1DCF6FB-6645-F1B4-C7EE-82B5639C301F}"/>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9956BB98-D612-6F8F-FECB-9177AB96811C}"/>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A67DFA27-CE71-3144-0690-5DA176F7328C}"/>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D5A3B6CD-E327-2163-ED57-6DB13F83A326}"/>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44FAE035-8A8D-3057-51E3-8AEC1C1A72AA}"/>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9139327E-DB71-D04D-A290-9B0264C0E0BE}"/>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DB245786-5729-4A12-6CA9-6F762EAF13BB}"/>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40713080-723F-ABB7-E893-DB49B75EC33A}"/>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E5AA852B-9EE5-C965-B34E-7BA821B65BB9}"/>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54B2EAFC-CCAD-3A23-8E83-FE48C6500949}"/>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EC8CFE2F-2CEB-9E37-7A34-AF104D3065C3}"/>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03BCBC96-A385-1507-5D26-7B171952EBEA}"/>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4E1A5905-E3B7-4A34-B28B-3EBF934211DA}"/>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A37BC50E-6D5B-EE3F-8670-35FD47F03D36}"/>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F84D870C-4EBF-2CD4-2C55-C198F6CC94B6}"/>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6D0C989C-A138-9540-CC78-3E58BBA14710}"/>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BE9F64B0-1F9D-84F3-1BB7-CCB3351A2B09}"/>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B007AFE5-A47E-7214-D4A1-1C295FC4C454}"/>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3F785655-0429-1A1B-675C-A87A125655E0}"/>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EACFC490-873B-F897-1D50-8C2526A71A9E}"/>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1D74F213-3870-058A-0051-33C291F3120D}"/>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B328EAE5-7E5F-7BFF-55EC-1848358C0252}"/>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B274ED90-7CF5-0250-E2F9-FECDC21556AF}"/>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E5FBDB16-4ADE-0C8B-F2BD-CC460990E109}"/>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10179FFE-9C1B-A5BE-2437-C3707FE1F68F}"/>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DC38B667-D66A-50C5-4B12-F48F5B4F1E8A}"/>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4A59133A-186B-DCF4-086A-D64A99D20101}"/>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07836A10-8920-B9E5-8C2F-916BF8A52966}"/>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B8703538-A85B-34F6-B438-317FB5B749D0}"/>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66E9B9B3-8617-0E78-677E-CB1C2FBC82C1}"/>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F0612B68-73F8-85E4-BDAE-A9C95AD37800}"/>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7A7B70FC-0250-C4B6-09E2-7AEFBB2B5329}"/>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046A779D-E26E-F3B4-FA70-3FA82BE2A969}"/>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272FFC9B-138A-5650-AFB4-167AF4F182B4}"/>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F4D125A8-0A38-4BCF-ADE5-A2E6ADAFC4C1}"/>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4ABE6FE4-52AE-3014-6279-B55204651AF7}"/>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B555640F-9E52-012D-876C-709AD02B9FB3}"/>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3D77D0FE-6913-7ABF-88D6-54F984C53445}"/>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32AE73C6-1F3F-55A6-DDC7-7BA7A46BD47E}"/>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11196BC8-B4D1-64E3-CCEF-1179536E1B00}"/>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4EE44A13-4E06-37FE-A539-C9AC60D3F3F0}"/>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CCA66052-0DD8-04A0-26DB-6F43BFF70793}"/>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D29DAE47-6B12-641E-55F1-C583213C5F98}"/>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A96313D5-E11B-CD6E-7708-53B348472C0D}"/>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7898AD1D-F0A2-57FF-A314-7A690EE8B52B}"/>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2FE8A20F-EE9C-B6E6-2591-088C7AE25CDE}"/>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16A6A238-4566-DADE-97F2-FC159E5190C6}"/>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4FDAA7B1-83B7-4AC4-5192-8D8A25E1074D}"/>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075244B7-F0D5-2DCF-5D0A-518AC1DDB509}"/>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D117EF1A-DB28-D445-2FAE-87C6894A505D}"/>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3EB711AC-CC39-1E4F-086D-BA9AC4EC5258}"/>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82BCBA8E-84E8-DD61-3046-01C877783471}"/>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C31D2FFF-B806-8625-1B40-A69A33B7DDAE}"/>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8506452F-DCF4-00FC-14C4-2FDF4FDD35DD}"/>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451DF275-3123-C38B-3907-6B6F87A94283}"/>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CC182504-7A88-4FB7-367D-12D94413F53D}"/>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04CDF3DA-6701-B744-EB0D-B4AA6A4A7EA9}"/>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D79ABD3F-9550-903D-BA4F-13CEB9F803A9}"/>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C2B8D361-003B-CC96-E390-EDE11FD85EB7}"/>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B10D891E-7383-8F56-BDB6-CA2043FAD783}"/>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F55CA444-1BF4-EF19-2DB9-1B2AC8991F27}"/>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D6CDEFBC-26DD-9734-B3EB-6CA65D6B9E9C}"/>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FAFC6F11-3969-6C3D-E554-7CD50116ED18}"/>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E6A74C97-260A-D974-6CEC-A22B0E39623B}"/>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6ECAE2AD-F89F-3695-9FA0-975B575CCE65}"/>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F87935E0-AD6D-E73B-BF6C-D2337E44E3D9}"/>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224C4825-81FA-AFBC-170C-0C8A3C92443D}"/>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0988317B-479C-AC00-6CAD-C71AEA72097E}"/>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C0359F6C-04FC-74C3-5038-48075BC50EE9}"/>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E7D13B60-76EF-6F91-829B-CDF196D3CC20}"/>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E7BE56B9-5DB7-061A-65EF-F3E4E42EBE15}"/>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2B21869F-444D-E6F3-1C17-5ED0F4874500}"/>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B5F90EF0-A0F1-D317-5E6B-4F9F6598DCE4}"/>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F91FD474-D715-B2DA-CF44-6DE2DE15584E}"/>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01D0BE5C-B30C-AD13-DA8B-6FC9C14219D8}"/>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8B445006-F4AF-8E1D-1D03-3952104649F5}"/>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A23CE633-E5F1-0FCA-176B-1D72083EB287}"/>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51E75412-CDC7-B4D8-D7D1-D5701773319B}"/>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9DA22245-021C-8EE8-DC49-9874B390FD7E}"/>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06954324-2F43-EE0D-71ED-C831EA871C5F}"/>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AA47E833-B016-8C3C-3E88-061C50667D84}"/>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69B9DBC7-3A32-1B63-9CBD-8CA99C91E596}"/>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ADC2FF19-0E07-8810-C79B-F672D1902182}"/>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05790347-A124-3AEF-8EEB-71BF4B0C83F7}"/>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341D394A-884C-BD0D-97EB-5C155498EE7C}"/>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6310805B-3644-DCDD-638C-CE4ADB15C3C7}"/>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D19D2ABE-A225-E3AF-D23B-85CBF873AD58}"/>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981EC5EF-AE26-AC9E-FCEC-0615D4798E29}"/>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143285BF-8FED-EB25-F56B-62667BAC0A78}"/>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EBED8A94-77F6-9913-5098-7D770983CCD2}"/>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72ACD7C7-3038-A905-9D08-25386916F57C}"/>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4A2ABBD7-72EB-3ACE-245A-E43AA1F44551}"/>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27BD6557-0B8D-0C73-8330-28DF1638071D}"/>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AB35B1A1-835E-3E8F-D965-63C118475D0A}"/>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CEEE35E4-6AC5-4EDE-5234-DE5509BFC41A}"/>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04B2B045-1B91-0A21-D791-77C6571A0ABC}"/>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32B4A1C2-1FAE-6A21-A664-C8E68FA1B1F0}"/>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754CB09D-6E80-74E1-904B-B6AE023DF062}"/>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9146AB78-C679-0C17-EE72-1D941C3B76A6}"/>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C6BE5637-631B-85E7-5A0D-43BDD9377880}"/>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D0772480-FF86-6199-4B76-98DF8A983DE8}"/>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4B061D6A-8620-44B2-8519-8C2C49F2A74C}"/>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E0265752-EA3F-83D9-0F56-7B7CD166D5E1}"/>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D3251455-AD49-879E-B139-98413D2262AB}"/>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4D1709F4-F678-7D9D-6A96-F819B595E195}"/>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2F34B116-9556-9A2F-4463-300FA8A0C919}"/>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C3F89548-9E49-6F9B-265B-1D8DD794E330}"/>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63033239-4210-CBD4-CFB0-F1E888217536}"/>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C7AC9673-4B9F-FC32-E3CC-255C5ED111EB}"/>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F4846243-777A-D23B-5475-E32EBD946D6B}"/>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9A37170B-3EF5-3C09-D002-AA86F0CD041B}"/>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E6D65662-A32A-49B1-4AFD-147B76EC6D7B}"/>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993819D3-1568-DDC2-27DD-E0DF0E7DB62F}"/>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DF40AE2E-2603-1654-8E72-A4C749FAF2A1}"/>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E449D05C-BAFD-B8AF-CC89-9F3CF41B8674}"/>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399C2A6F-A38D-BD46-61AF-49B78C1DAAFF}"/>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0856D1B4-A189-0C1B-0D21-8A7D564E69D9}"/>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F88E31DC-C13E-4F07-65AD-1EBB6AE91DDC}"/>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A23B2F0E-78AB-3BCF-38E3-0F6B0147B054}"/>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98EA133A-FA70-C95D-E6A4-60B50DAD2AF0}"/>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C574809B-BFB1-9410-AD7F-69F6A5DE52E8}"/>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E66CEAF9-D4D8-0C79-F0E3-57C4AE1C32DE}"/>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6ED9179D-087B-07E9-7B26-DF93C8F43F67}"/>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406A85F5-AE56-F8CA-42D7-87D451845841}"/>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A6F41D7A-1BD4-1365-8E08-D2D746CF61B4}"/>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CE209173-7878-4679-46A3-1F16B8254341}"/>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A99D7746-6D84-937D-8B06-6498C0E3AACC}"/>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AAD7FCE6-C67A-BE61-DC82-D0377BF36AF0}"/>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D18A7DBC-C73A-9345-94E1-5557A9216C1F}"/>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26D3B184-24E6-6D8E-11C5-BA1D69541AA4}"/>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E2B50B75-3F2F-C92D-D707-45AE3AEF4783}"/>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3E8FC3E1-1D05-7377-1773-0F76F9FF14EB}"/>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962487F0-7913-81CB-8071-4362FF29E70F}"/>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3155BC6F-C968-053A-FCDA-3356C741D23B}"/>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643E2A62-30C0-238B-999C-E9CDCE654C7C}"/>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2C9CA448-9144-DC8C-8CB4-C061161DB01D}"/>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B89C6501-560B-02E9-E6B8-3AEF71962273}"/>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19E517A3-4B9B-3CBB-8955-75C3DC619207}"/>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5145C1AD-94F9-A28F-C9BB-640E20E0670A}"/>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81F1DBFD-79BD-2D9D-FA13-41064DEA26D6}"/>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691D8F0F-4A24-7D39-ADC4-27F63610AF38}"/>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74041C53-4E21-AFDD-1352-9B2C78B8D37B}"/>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899C0D5F-8A53-AE9C-820A-C290D6E1394F}"/>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04619E50-47A2-7451-D3B0-2DA8862A63BB}"/>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38A1A395-BA0B-AC5A-15EA-8203D4BEED13}"/>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5B65170D-4FE5-2815-F03A-1BFDA024DE2D}"/>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6BDACE77-8297-18AD-BB2C-8100093B5510}"/>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87485121-7A19-59E4-64B6-DC9D70128C98}"/>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F1F8FA4F-D0AD-DE11-C527-0D363CF3A699}"/>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C1CA9DB9-F2D9-66A9-CAD6-F77A6566D0DE}"/>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4096D0E1-BC48-43D1-559A-DF7CBD8C91AA}"/>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8FD1F276-16A1-D62F-0F3F-8A229E459990}"/>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C8A09BAD-1A21-2510-1750-755D240EC222}"/>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0CB963B1-25C6-E95E-E5CC-8E4300A811C9}"/>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F3A6ADE3-B964-433D-C1FF-414E2F6E6B35}"/>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44FBEBFA-0AF6-C80F-3D5B-39ACD46F2888}"/>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99125593-7DAB-88F7-3534-6106D74E7403}"/>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67731EBF-F209-180A-335B-00AE2CE7E492}"/>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33C96C75-E59A-6C5E-16DE-504EB5511548}"/>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5462FE30-6D83-93AF-EE1B-2B673754E7E3}"/>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0A18AEDC-59E6-AAC9-BFB7-8478439C6F08}"/>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59F17732-C806-D60F-E85F-4FB4AE45219B}"/>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DBD7EBD5-BFCD-E2DD-2D27-5712ECD296FE}"/>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E180E3BB-99D3-7BF2-BBA5-CA3AF8742714}"/>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68F33FBA-E4E6-5773-2061-9E0D43FEAABB}"/>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96A31BCD-55EF-D4EA-B563-712FF84ED369}"/>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030BCE2F-31FF-6E09-0DCE-F98ADF11D2B9}"/>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BE561D33-8AC2-9831-BCDE-601D8A806D41}"/>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4720DE34-9211-8465-EEFB-AB29B8931AAE}"/>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147210F6-0ED5-1390-B54A-0A7F7E371B67}"/>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C178FA86-6412-078E-C8A7-3735CFE931E6}"/>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024C5D24-1FFE-713E-4466-7E2ECDCEF36F}"/>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FE4F2506-D43C-F62A-F228-058C30F3BC22}"/>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4AE93212-9973-B8E0-B1F3-8FDCBEE483EC}"/>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A6FFD5EB-2FBA-BBE5-97AB-877AF6113E9C}"/>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AEC192D7-C4E8-E91F-1BD6-EB80869E8DFF}"/>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ECF75F45-5398-5AD8-FA37-3F84BC8F6382}"/>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7BF80BB2-804F-4C2B-94F2-F590DC4A2533}"/>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87CB4ECD-7BE1-BB11-BBEB-E3E97CEA988E}"/>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473C4F9B-DBC1-F76A-4CF4-61FB4CAC8774}"/>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B3DDD8E3-A601-C181-96C8-71B91F1AC652}"/>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19EA021E-8F76-E21F-071D-4CC160E9EAC7}"/>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06FB9797-3CFF-3262-BEEF-AF332E94FF40}"/>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F863D120-DF3B-A00F-B210-15AB7A96B74C}"/>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0F52B31A-F37B-E97E-6464-36B956ED143C}"/>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3D646696-E3C5-0CE9-0D73-1436CD59EF83}"/>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4F9A0A1F-0736-09AC-BF8C-00FB544DDAFE}"/>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798FC59A-D09A-FBBF-F5B6-014FFFEBE37D}"/>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A580C7DD-769E-BF4B-E95A-4B56C2CE09FA}"/>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B012CCC3-B44D-CA8C-B706-56207A2DE542}"/>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CFA602FF-67CA-7C86-974F-E427FE499A00}"/>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917B4D5D-AF8A-71E0-11AE-F2DDF48D322B}"/>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7DA2A4E8-FFE3-2E84-0C50-95FD79E6F54A}"/>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DF321127-0496-2A9B-C0C9-9AC2ECF290E0}"/>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5D737C5D-25E4-9EDE-C750-FF5D85C27648}"/>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5F08CF7B-58E8-3930-69F9-1378EC7640F3}"/>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C665D223-295F-670D-A214-E0C53FFAD85B}"/>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F73BD0F8-BE20-8851-3AFF-33EB554F14DE}"/>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91051E8D-E1BE-FE51-20EE-21AC03A9A403}"/>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2002105A-376D-9CAF-F75F-785E0998ED1A}"/>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143DFA22-AFDF-234C-D122-E819B712B4A3}"/>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F02DE23D-2BC6-B442-989E-762968BF19CC}"/>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7DB8BEA1-5C0E-3788-1E5A-9DC050FA7203}"/>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8BC36A0A-3EC7-4FAE-82FD-1350AE1519E2}"/>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DF74A6E7-2E22-D3A0-4218-96DE6968A161}"/>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7709F909-9FA6-9923-04F3-8F409FA1658E}"/>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015E64DB-C80F-D8D1-018B-874A7BE709B7}"/>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25B1CAC2-C877-8AC7-AFEB-9F1A3662B18C}"/>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00343D28-976C-2821-ABD5-0BA63BB55B67}"/>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A87195C2-B764-BFEB-C328-3984E4147A80}"/>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37D3F5D1-6902-FEFB-EB92-A80DDE4AD215}"/>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29270A22-F5F5-A956-3B72-71F67F7D2EB7}"/>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C6726585-36B4-756E-5A71-0B4F7EEC0794}"/>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0DEEAB77-22A1-6782-2F5A-603AB8CF8303}"/>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7A2A1961-2119-CC24-C15D-71D8E71FF536}"/>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19989016-E97F-43DE-7C0E-6FA24A5B87DA}"/>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44879DAE-6E63-1510-2E6C-2F9CB873E60F}"/>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A96A72E8-C02E-8314-22FB-6BD0ABFEFB1F}"/>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271F3A12-64E5-82DA-B79F-020C2D3B4067}"/>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977319A1-EE4F-213A-C723-4D7B6C1EB43F}"/>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D3F73DC7-0BEB-FF0D-AAC5-14D1261FE32C}"/>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DB6FED4F-CF44-FC90-56C7-B9368A1EF55E}"/>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31022F7C-67A8-9E19-E646-09FEE835A542}"/>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9D539B68-CBCE-CD82-2124-AFC84F99FA67}"/>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CF3B046D-CEEC-C70B-8E09-29D778FAEC0B}"/>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5A39C938-427A-CBB5-5A10-FFCDF35A7B68}"/>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1C4AEE10-2584-1806-CFA6-2D67515FD039}"/>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EA19D784-6B1E-31EA-9A90-02E19B7D9468}"/>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14A06208-1AD5-6327-BF83-27F4DCFDC5EE}"/>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D09C7277-B328-69E0-C5DE-0F57062951F5}"/>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ED2C41D2-4582-CC04-625C-36153D3157DC}"/>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46FD0468-CF3C-5D4C-A291-22B5A14F0D45}"/>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0651BC76-D3BB-FB8B-BFE6-1C56A2AFA940}"/>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3F6FF2D8-35D2-8659-F620-032617D06C30}"/>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C1949B66-29CC-FCC7-3E49-6BF88C3606D3}"/>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0F861375-C14E-AFDA-B8EF-A7CEE53D9147}"/>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3EF94C4E-0ECF-02BE-7056-7274EB5FB130}"/>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8D18E11F-62F6-9590-837E-33527A888F89}"/>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14A5653B-A506-6470-7CD0-6CEBE666C4BE}"/>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8D5FE5B8-CF11-6691-BB30-D20B935DE356}"/>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A21C544C-CFDD-4799-5099-067B94EF43F5}"/>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22F56A4C-35C7-8FAF-0C33-17C07944CC39}"/>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D7207439-9CF1-4AA9-5B27-99D97DE9DE7A}"/>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CD821447-98BE-9FF0-DFA5-3778917F7AC3}"/>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DC5F8D07-289A-81C6-E16D-632BE7B0DA80}"/>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EC6A274D-7A94-95A3-0422-D54DB42843B1}"/>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D5249854-6B00-1CC9-409B-6E315EFA2E77}"/>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996BD350-5470-16A1-AB45-2118504B4C4B}"/>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F2755668-C908-741F-CF44-86703562BE77}"/>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613E2440-6A9E-AB04-5A29-85FC5C5C5A25}"/>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2B41EECE-963A-E3B0-0AF0-8F09DF242CA7}"/>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DC7F1895-0E0D-754A-91E6-8280B3FC1EF3}"/>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A054B5A2-15B0-9023-2FD2-0ACF2A6E1829}"/>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B9A0688E-B5FC-880F-FF1B-065448871EC2}"/>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1C7B2930-B559-B0CA-9043-D0AE48E14070}"/>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AC3448AE-C597-5A48-01F2-DF713386C417}"/>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63104B79-9419-92A0-B35C-CCA33443A192}"/>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BDC8EC27-2297-14AE-CD1C-C70B38BABB08}"/>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E35D12D7-CED4-A0AA-4BCA-69205DADCC5B}"/>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634FEC86-A7FC-AC38-1EDA-954EA4276F43}"/>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4A08EBDA-22A5-3046-4FC6-79687D546EFA}"/>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83467E61-47D9-677B-50A4-FF0F99DF9598}"/>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375BC049-29B1-B58A-3DC3-27DD14E33C86}"/>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B4AAC637-68F6-954F-E7EC-E8EB8D06B4E8}"/>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CC360270-5182-A61E-DAF5-646BC6B8482D}"/>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9CA99257-B0C9-F182-038A-9F88FEC2A3A7}"/>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E933EA32-A518-5C07-0CAE-A72D36979098}"/>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C45892AD-9D6C-5FD0-1FC8-8B8A8888B0D7}"/>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5B369057-BBF1-19E8-113C-7E31EB6EA4C4}"/>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FFA4A06A-A403-41F9-A336-93E71881F58A}"/>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A576DEC1-74CE-42AF-EE91-5AA7D7A55DD7}"/>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822F1B9F-88FC-1B15-D06C-893E9871D7D0}"/>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529CBB69-63D0-7CB9-825B-8AC71FD7EA64}"/>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8DC22E37-4020-5170-FB05-14B63A5FA9CD}"/>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35265F42-89F4-770A-1817-533975ABA329}"/>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C0FB3CCC-F67F-D244-D3E6-6DC71F8C100B}"/>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8E5341D3-CADB-F3BB-1DAB-0625C9EC35F3}"/>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870FF4B9-3F69-17F5-85AA-23FB45388EFE}"/>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2B191D62-D732-1329-0B2B-3E12CC2FA125}"/>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43D69CB0-4DBA-3B94-BE90-E38DACD5EFB0}"/>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16A52D3E-83BB-3DC2-E072-6118885A5AE3}"/>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33A370B9-57F2-3685-7349-EB0D0CDA2943}"/>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8BD433B3-FAD1-6612-2563-888D38596ED1}"/>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46C2C827-F3A9-977D-8AAD-4DB9B9EE3282}"/>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5F1944DA-7383-6960-11BC-F52294DDDB6D}"/>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73CBF007-F8D2-2836-87C5-D75CF7854C13}"/>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56624FE0-274B-3332-CA43-588C00F37007}"/>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670314AD-5D75-B754-0241-76BA86005D8A}"/>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32126E04-5265-5482-F8A0-BF5B98E1574B}"/>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467E997A-83BE-3CB5-338A-FEE86FCA83EC}"/>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CE9473AB-751E-4B56-9AA5-8DE792C9E738}"/>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E35D3D87-571F-9A1A-D788-7E72368079B6}"/>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300374C8-724E-A745-793B-E7A50FD9A23B}"/>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F61033B5-532F-D52C-22B7-6CACC9D08916}"/>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1DB4B293-1679-1D47-41D6-3DC4B824C978}"/>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F4CCAD36-4579-56E4-B532-AF24E4EAB239}"/>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1EA1118A-F07F-DEB1-7E4B-F1CBB72F09A6}"/>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4C87EA54-789E-5BF1-5573-D0C7B7D89471}"/>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3E8FE992-E931-87FF-05EC-F1E03C500F5E}"/>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07BAD61E-37C6-9867-5E36-E57DF57DD21A}"/>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8DD36A57-6D72-9E18-9542-203E2219B250}"/>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31C5E4C2-4F11-6F32-0FAA-EA95368B5FC1}"/>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D50D9287-17C0-B9C2-4D7F-B37BE7FD2D4B}"/>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D351A1D3-3D39-AB55-6CF0-20866183AF52}"/>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68000A17-8EF1-8087-D249-331C086E478B}"/>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FA0088E7-60C5-E235-0E9E-C9998E4017C1}"/>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6DF99A2F-EAB5-D6EA-AD35-5712F857A0E2}"/>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B985F0DE-D724-1881-92B0-969E7FA77CE5}"/>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CCB75CEF-EC41-0EE8-B51E-1B6B0583D4E0}"/>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797D3C18-70DE-61E8-E88D-AC08CF7C9F4D}"/>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E5AC8EF2-FA75-D723-4946-8133D73CE58B}"/>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AF04DAAA-E319-B1F0-FCC2-F2331CBCBA82}"/>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5E7E0D67-EA1B-2BF3-364E-85E06BFF1D07}"/>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7E22AE39-CA3D-B5E5-5242-8E22AF7311DA}"/>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C93145B6-8916-1356-7D9A-8B78F846C907}"/>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F7B6773D-5B3A-445A-C908-86C5D5B5861A}"/>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3C5557B9-BE5E-024F-1E94-808DCB2EE6B8}"/>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CBB88554-8F25-08C5-771E-9A7C94B6FB45}"/>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E246C9AF-82ED-D71C-31D9-F96CAFBB6404}"/>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AD08D2DD-1364-33BC-A97E-54081D562734}"/>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26B64E79-B115-4E47-F2FA-F2B9393AF5AE}"/>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AC5AC540-78F7-5F21-DD89-10042A67BEAD}"/>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B5596126-7F93-A50D-3242-EECFDBE5CF3F}"/>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1615D24D-01FB-9797-7701-09E675ABDA71}"/>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90D7E84E-D92E-9116-2261-A7EC6FFF38E2}"/>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BF44BD5C-17CF-7FA8-2CED-AE4BB80E375F}"/>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AF61233A-6456-DA19-B45F-89BD79B752FD}"/>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12F8ED9D-F7D1-E2E1-D259-E6EBA503851B}"/>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6CD7B0C1-EC81-A5F7-7287-3ACB1F0BB99A}"/>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456E7365-08A1-3F01-ED72-4FDBF87ED143}"/>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0B63AF06-8198-301F-789C-862755A9E80E}"/>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DCA62B0C-FC06-4C57-C05A-B8F2013D4468}"/>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5440222E-AF38-F92B-B712-A0331E0E8356}"/>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AFBC3E6C-8DD4-981E-63E5-5BE7FA486E7B}"/>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903E6DEC-8DB5-EEA0-D07B-2D1CABF8434E}"/>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29A297B1-D50D-EB13-ADC1-6610B79B2D18}"/>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A345F105-941E-5CEB-CF3C-EBBF97931551}"/>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49A03AC8-6A35-E87F-65C8-B23B6F5965F7}"/>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3902485E-F435-66E7-F54A-08A8A3D3D5C7}"/>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4DA7BBD1-46A1-F171-27F6-2241DF80C104}"/>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324CE3AA-E420-871C-3AEB-96089EB119C8}"/>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0D16C41B-0DA1-2FCF-BE87-793FB4C7D0B1}"/>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52344DDB-BD46-41EF-DACB-1BCDDE71599E}"/>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91590C0C-D794-5657-8657-1C4A7C49FF9A}"/>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5402A788-EBCB-2D0A-D35D-5558AB202231}"/>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47ED311A-75F5-A163-C2ED-FDF4477DA8D0}"/>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48B248D6-9529-1884-C251-BD12238767A8}"/>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42E81831-FBAF-15F7-5916-BA4B940341C4}"/>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0566A59A-6AD4-FD3F-629E-8280D444C2EA}"/>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03FEF5B1-2F85-93C8-2CD4-A2173B913A81}"/>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0EB043CE-C89F-277D-037F-37D9887CDB13}"/>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F8C4A8EF-4E72-29D9-4390-4DE595C4A58C}"/>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587DDCF8-B59E-C663-DEE1-8B80373664D9}"/>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0B47C59B-5B50-5439-DA49-A1D0AD62071F}"/>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79C4C286-8920-F69C-88E5-AE691DC155E8}"/>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B41F7E95-14A6-0AD3-8EBD-40C2533A909C}"/>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123671D1-4387-85BC-A08C-A93DC1CD3390}"/>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407282CD-52BD-3462-1A44-B7203D4D75B2}"/>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5B5034BA-6735-DE63-9492-0A6AE15FCE79}"/>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020DEF72-C03D-D68C-B356-8E44D67F6515}"/>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579CE85F-E1E7-EEA4-CA3E-24ABADC22645}"/>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31DF73E1-3B27-6664-2902-A860C526A7DA}"/>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6E27D357-C655-F34D-7297-20B82E2DC4D1}"/>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CB1B71C0-ADC5-0179-3D11-D792E6DC9807}"/>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1D3D3E28-6088-0128-05E2-430E6DDE97FB}"/>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40BA0BC0-67FA-7059-1653-961BBCE8A75E}"/>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940546EE-32C0-5203-7A3E-2E61B039142A}"/>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FD34776B-6715-4594-23D8-B08EBDA7F4E2}"/>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7B1F5AF5-7869-9B7A-D0A2-47EAB7B4412B}"/>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FEFB330E-9E6E-AE57-D255-4363C55BACDC}"/>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9821F2DE-8C2E-659A-69CB-33AF3C3FB511}"/>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1A5DB08C-BAEC-275E-EE02-DBB1DBA13180}"/>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545CFFAA-A8E3-6AFC-1CEB-AD7B03E214BB}"/>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CB50C144-DFCE-4501-15B4-C9D7BB28EC05}"/>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F8274F72-BF1F-0C3A-D539-0D9EE860DDE7}"/>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486EBF04-7633-2B28-CAC1-F390AA0E4348}"/>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4D1C4071-8C15-2D2A-1476-2427D6D95365}"/>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27B00703-2782-B19C-434E-6712226E13D5}"/>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3365E856-BA71-6724-1C73-5E63774321E9}"/>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1D05B6A2-0941-8DE0-2C3C-6658F61D0F59}"/>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8CF9B0D9-A989-4E99-87E5-D0E1060FEAC9}"/>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58CA0E90-14C8-BC5A-412E-5F512BE012DD}"/>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A8BCEBF9-1122-4630-829F-C7C2471688E0}"/>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D3DF4372-0990-8302-2DC9-B228EF0BE5F4}"/>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74B28ACA-496B-79FE-B43B-8A8C18F35576}"/>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C2126CD9-E1EC-611C-4D96-38927E5540E0}"/>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4DBFA0EC-441C-63D8-4C34-39094B5743DA}"/>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54DDBAB9-DD7F-975E-AA21-0DB9ED75479E}"/>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71691056-BA6B-BDAF-ED39-9F78DA6CFF9E}"/>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E413D4BB-6C2F-88E7-A0FD-B967C157886F}"/>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457FD5BE-CF3C-0646-A101-66718F679022}"/>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112912E1-C297-BE41-D0AF-89EC9F005CBF}"/>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63E02080-CC3F-B6D8-756F-57F2AFE42AFF}"/>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22437B50-C25D-C42C-47C1-B11B88BD410B}"/>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4339D69B-D87D-AEB5-F5BF-46077085037B}"/>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5B13D553-958B-1B58-455E-CAA4A4F8BBB8}"/>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EAD1369C-BAB8-AE6F-63CC-B451937E2AAC}"/>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B72FA6B0-A313-2F7A-CB2B-6C3B90D03435}"/>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58087BA8-7A3D-6539-66AE-900DD17B3D66}"/>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grpSp>
        <p:nvGrpSpPr>
          <p:cNvPr id="12513" name="Group 12512">
            <a:extLst>
              <a:ext uri="{FF2B5EF4-FFF2-40B4-BE49-F238E27FC236}">
                <a16:creationId xmlns:a16="http://schemas.microsoft.com/office/drawing/2014/main" id="{E7F834BE-1975-7351-ABA8-05DEFE3830E0}"/>
              </a:ext>
            </a:extLst>
          </p:cNvPr>
          <p:cNvGrpSpPr/>
          <p:nvPr/>
        </p:nvGrpSpPr>
        <p:grpSpPr>
          <a:xfrm>
            <a:off x="644389" y="1431150"/>
            <a:ext cx="6925055" cy="2062527"/>
            <a:chOff x="3467100" y="2552700"/>
            <a:chExt cx="5257513" cy="1752409"/>
          </a:xfrm>
        </p:grpSpPr>
        <p:sp>
          <p:nvSpPr>
            <p:cNvPr id="12514" name="Freeform: Shape 12513">
              <a:extLst>
                <a:ext uri="{FF2B5EF4-FFF2-40B4-BE49-F238E27FC236}">
                  <a16:creationId xmlns:a16="http://schemas.microsoft.com/office/drawing/2014/main" id="{FAA5AD6D-9E2D-7122-10A5-53A2DC3D5A0C}"/>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2515" name="Graphic 112">
              <a:extLst>
                <a:ext uri="{FF2B5EF4-FFF2-40B4-BE49-F238E27FC236}">
                  <a16:creationId xmlns:a16="http://schemas.microsoft.com/office/drawing/2014/main" id="{D9568C79-990A-2AF4-2D37-1B582D2C72D0}"/>
                </a:ext>
              </a:extLst>
            </p:cNvPr>
            <p:cNvGrpSpPr/>
            <p:nvPr/>
          </p:nvGrpSpPr>
          <p:grpSpPr>
            <a:xfrm>
              <a:off x="3467100" y="2552700"/>
              <a:ext cx="75723" cy="75723"/>
              <a:chOff x="3467100" y="2552700"/>
              <a:chExt cx="75723" cy="75723"/>
            </a:xfrm>
          </p:grpSpPr>
          <p:sp>
            <p:nvSpPr>
              <p:cNvPr id="12837" name="Freeform: Shape 12836">
                <a:extLst>
                  <a:ext uri="{FF2B5EF4-FFF2-40B4-BE49-F238E27FC236}">
                    <a16:creationId xmlns:a16="http://schemas.microsoft.com/office/drawing/2014/main" id="{45B3E0B1-16BA-7A3C-3563-4FFECC034E6C}"/>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38" name="Freeform: Shape 12837">
                <a:extLst>
                  <a:ext uri="{FF2B5EF4-FFF2-40B4-BE49-F238E27FC236}">
                    <a16:creationId xmlns:a16="http://schemas.microsoft.com/office/drawing/2014/main" id="{2B9DBFDC-BFED-4D6D-8A59-2C5DACC85CF4}"/>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16" name="Graphic 112">
              <a:extLst>
                <a:ext uri="{FF2B5EF4-FFF2-40B4-BE49-F238E27FC236}">
                  <a16:creationId xmlns:a16="http://schemas.microsoft.com/office/drawing/2014/main" id="{E82F8CD2-BE6C-9CEC-AAB5-9612BB75F191}"/>
                </a:ext>
              </a:extLst>
            </p:cNvPr>
            <p:cNvGrpSpPr/>
            <p:nvPr/>
          </p:nvGrpSpPr>
          <p:grpSpPr>
            <a:xfrm>
              <a:off x="3935920" y="2766726"/>
              <a:ext cx="75723" cy="75628"/>
              <a:chOff x="3935920" y="2766726"/>
              <a:chExt cx="75723" cy="75628"/>
            </a:xfrm>
          </p:grpSpPr>
          <p:sp>
            <p:nvSpPr>
              <p:cNvPr id="12835" name="Freeform: Shape 12834">
                <a:extLst>
                  <a:ext uri="{FF2B5EF4-FFF2-40B4-BE49-F238E27FC236}">
                    <a16:creationId xmlns:a16="http://schemas.microsoft.com/office/drawing/2014/main" id="{ADE7CFB8-6C0E-092D-A39B-8F046E84386F}"/>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36" name="Freeform: Shape 12835">
                <a:extLst>
                  <a:ext uri="{FF2B5EF4-FFF2-40B4-BE49-F238E27FC236}">
                    <a16:creationId xmlns:a16="http://schemas.microsoft.com/office/drawing/2014/main" id="{1BB23C2E-B8E2-DE3C-D505-8D56EBE3CA49}"/>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17" name="Graphic 112">
              <a:extLst>
                <a:ext uri="{FF2B5EF4-FFF2-40B4-BE49-F238E27FC236}">
                  <a16:creationId xmlns:a16="http://schemas.microsoft.com/office/drawing/2014/main" id="{A46E0712-021C-CEA1-6580-54493BA5132A}"/>
                </a:ext>
              </a:extLst>
            </p:cNvPr>
            <p:cNvGrpSpPr/>
            <p:nvPr/>
          </p:nvGrpSpPr>
          <p:grpSpPr>
            <a:xfrm>
              <a:off x="3901440" y="2766726"/>
              <a:ext cx="75723" cy="75628"/>
              <a:chOff x="3901440" y="2766726"/>
              <a:chExt cx="75723" cy="75628"/>
            </a:xfrm>
          </p:grpSpPr>
          <p:sp>
            <p:nvSpPr>
              <p:cNvPr id="12833" name="Freeform: Shape 12832">
                <a:extLst>
                  <a:ext uri="{FF2B5EF4-FFF2-40B4-BE49-F238E27FC236}">
                    <a16:creationId xmlns:a16="http://schemas.microsoft.com/office/drawing/2014/main" id="{E979AAC3-0557-1936-5A54-889E7D676CB0}"/>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34" name="Freeform: Shape 12833">
                <a:extLst>
                  <a:ext uri="{FF2B5EF4-FFF2-40B4-BE49-F238E27FC236}">
                    <a16:creationId xmlns:a16="http://schemas.microsoft.com/office/drawing/2014/main" id="{B1EBCAF9-20BB-41F6-FE9D-CF3907E1F9F1}"/>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18" name="Graphic 112">
              <a:extLst>
                <a:ext uri="{FF2B5EF4-FFF2-40B4-BE49-F238E27FC236}">
                  <a16:creationId xmlns:a16="http://schemas.microsoft.com/office/drawing/2014/main" id="{2A28A786-1965-1966-3B51-2A3FEC92802B}"/>
                </a:ext>
              </a:extLst>
            </p:cNvPr>
            <p:cNvGrpSpPr/>
            <p:nvPr/>
          </p:nvGrpSpPr>
          <p:grpSpPr>
            <a:xfrm>
              <a:off x="4510373" y="3098673"/>
              <a:ext cx="75628" cy="75723"/>
              <a:chOff x="4510373" y="3098673"/>
              <a:chExt cx="75628" cy="75723"/>
            </a:xfrm>
          </p:grpSpPr>
          <p:sp>
            <p:nvSpPr>
              <p:cNvPr id="12831" name="Freeform: Shape 12830">
                <a:extLst>
                  <a:ext uri="{FF2B5EF4-FFF2-40B4-BE49-F238E27FC236}">
                    <a16:creationId xmlns:a16="http://schemas.microsoft.com/office/drawing/2014/main" id="{9FEF91F2-259E-5642-A02D-7B16C2B7B458}"/>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32" name="Freeform: Shape 12831">
                <a:extLst>
                  <a:ext uri="{FF2B5EF4-FFF2-40B4-BE49-F238E27FC236}">
                    <a16:creationId xmlns:a16="http://schemas.microsoft.com/office/drawing/2014/main" id="{9B8EE3BF-0CD1-DF6F-CAA2-8BD5384A43FE}"/>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19" name="Graphic 112">
              <a:extLst>
                <a:ext uri="{FF2B5EF4-FFF2-40B4-BE49-F238E27FC236}">
                  <a16:creationId xmlns:a16="http://schemas.microsoft.com/office/drawing/2014/main" id="{A4452D02-3862-99F9-F8FF-33C504E05143}"/>
                </a:ext>
              </a:extLst>
            </p:cNvPr>
            <p:cNvGrpSpPr/>
            <p:nvPr/>
          </p:nvGrpSpPr>
          <p:grpSpPr>
            <a:xfrm>
              <a:off x="4693920" y="3164776"/>
              <a:ext cx="75723" cy="75628"/>
              <a:chOff x="4693920" y="3164776"/>
              <a:chExt cx="75723" cy="75628"/>
            </a:xfrm>
          </p:grpSpPr>
          <p:sp>
            <p:nvSpPr>
              <p:cNvPr id="12829" name="Freeform: Shape 12828">
                <a:extLst>
                  <a:ext uri="{FF2B5EF4-FFF2-40B4-BE49-F238E27FC236}">
                    <a16:creationId xmlns:a16="http://schemas.microsoft.com/office/drawing/2014/main" id="{6981ED6E-71F8-9E87-9134-F44A427063E7}"/>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30" name="Freeform: Shape 12829">
                <a:extLst>
                  <a:ext uri="{FF2B5EF4-FFF2-40B4-BE49-F238E27FC236}">
                    <a16:creationId xmlns:a16="http://schemas.microsoft.com/office/drawing/2014/main" id="{8539DCFE-0DF8-A5DF-A86A-DF41CCA54972}"/>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0" name="Graphic 112">
              <a:extLst>
                <a:ext uri="{FF2B5EF4-FFF2-40B4-BE49-F238E27FC236}">
                  <a16:creationId xmlns:a16="http://schemas.microsoft.com/office/drawing/2014/main" id="{6E7B99EF-687D-CB8B-1146-0B24093BC332}"/>
                </a:ext>
              </a:extLst>
            </p:cNvPr>
            <p:cNvGrpSpPr/>
            <p:nvPr/>
          </p:nvGrpSpPr>
          <p:grpSpPr>
            <a:xfrm>
              <a:off x="4786407" y="3343465"/>
              <a:ext cx="75628" cy="75723"/>
              <a:chOff x="4786407" y="3343465"/>
              <a:chExt cx="75628" cy="75723"/>
            </a:xfrm>
          </p:grpSpPr>
          <p:sp>
            <p:nvSpPr>
              <p:cNvPr id="12827" name="Freeform: Shape 12826">
                <a:extLst>
                  <a:ext uri="{FF2B5EF4-FFF2-40B4-BE49-F238E27FC236}">
                    <a16:creationId xmlns:a16="http://schemas.microsoft.com/office/drawing/2014/main" id="{E0FA7154-AFDD-4473-663E-6EE7F3F17DA4}"/>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28" name="Freeform: Shape 12827">
                <a:extLst>
                  <a:ext uri="{FF2B5EF4-FFF2-40B4-BE49-F238E27FC236}">
                    <a16:creationId xmlns:a16="http://schemas.microsoft.com/office/drawing/2014/main" id="{C4508EF9-6D41-557B-F074-E1DD10D1B8BB}"/>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1" name="Graphic 112">
              <a:extLst>
                <a:ext uri="{FF2B5EF4-FFF2-40B4-BE49-F238E27FC236}">
                  <a16:creationId xmlns:a16="http://schemas.microsoft.com/office/drawing/2014/main" id="{19A99AD8-0BD1-2099-2990-AD3756A98B69}"/>
                </a:ext>
              </a:extLst>
            </p:cNvPr>
            <p:cNvGrpSpPr/>
            <p:nvPr/>
          </p:nvGrpSpPr>
          <p:grpSpPr>
            <a:xfrm>
              <a:off x="5238654" y="3598830"/>
              <a:ext cx="75628" cy="75723"/>
              <a:chOff x="5238654" y="3598830"/>
              <a:chExt cx="75628" cy="75723"/>
            </a:xfrm>
          </p:grpSpPr>
          <p:sp>
            <p:nvSpPr>
              <p:cNvPr id="12825" name="Freeform: Shape 12824">
                <a:extLst>
                  <a:ext uri="{FF2B5EF4-FFF2-40B4-BE49-F238E27FC236}">
                    <a16:creationId xmlns:a16="http://schemas.microsoft.com/office/drawing/2014/main" id="{1A6C4223-972F-9BAD-7304-C5EC9E834F56}"/>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26" name="Freeform: Shape 12825">
                <a:extLst>
                  <a:ext uri="{FF2B5EF4-FFF2-40B4-BE49-F238E27FC236}">
                    <a16:creationId xmlns:a16="http://schemas.microsoft.com/office/drawing/2014/main" id="{57F52734-6743-DFCA-87D9-345E43263ABD}"/>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2" name="Graphic 112">
              <a:extLst>
                <a:ext uri="{FF2B5EF4-FFF2-40B4-BE49-F238E27FC236}">
                  <a16:creationId xmlns:a16="http://schemas.microsoft.com/office/drawing/2014/main" id="{58FB5FAD-6BFF-D21E-628D-8B93CD9F0CBC}"/>
                </a:ext>
              </a:extLst>
            </p:cNvPr>
            <p:cNvGrpSpPr/>
            <p:nvPr/>
          </p:nvGrpSpPr>
          <p:grpSpPr>
            <a:xfrm>
              <a:off x="5690330" y="3775138"/>
              <a:ext cx="75723" cy="75723"/>
              <a:chOff x="5690330" y="3775138"/>
              <a:chExt cx="75723" cy="75723"/>
            </a:xfrm>
          </p:grpSpPr>
          <p:sp>
            <p:nvSpPr>
              <p:cNvPr id="12823" name="Freeform: Shape 12822">
                <a:extLst>
                  <a:ext uri="{FF2B5EF4-FFF2-40B4-BE49-F238E27FC236}">
                    <a16:creationId xmlns:a16="http://schemas.microsoft.com/office/drawing/2014/main" id="{F23C985D-B661-BC7B-7EA1-0206FA3C8B14}"/>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24" name="Freeform: Shape 12823">
                <a:extLst>
                  <a:ext uri="{FF2B5EF4-FFF2-40B4-BE49-F238E27FC236}">
                    <a16:creationId xmlns:a16="http://schemas.microsoft.com/office/drawing/2014/main" id="{C91F6BC8-FC43-5165-36A7-F941335447A0}"/>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3" name="Graphic 112">
              <a:extLst>
                <a:ext uri="{FF2B5EF4-FFF2-40B4-BE49-F238E27FC236}">
                  <a16:creationId xmlns:a16="http://schemas.microsoft.com/office/drawing/2014/main" id="{493E97FD-25F8-82E8-6301-AEE2B806B556}"/>
                </a:ext>
              </a:extLst>
            </p:cNvPr>
            <p:cNvGrpSpPr/>
            <p:nvPr/>
          </p:nvGrpSpPr>
          <p:grpSpPr>
            <a:xfrm>
              <a:off x="5902547" y="3795522"/>
              <a:ext cx="75628" cy="75723"/>
              <a:chOff x="5902547" y="3795522"/>
              <a:chExt cx="75628" cy="75723"/>
            </a:xfrm>
          </p:grpSpPr>
          <p:sp>
            <p:nvSpPr>
              <p:cNvPr id="12821" name="Freeform: Shape 12820">
                <a:extLst>
                  <a:ext uri="{FF2B5EF4-FFF2-40B4-BE49-F238E27FC236}">
                    <a16:creationId xmlns:a16="http://schemas.microsoft.com/office/drawing/2014/main" id="{0D723B4E-733D-64C3-84B8-B155113BB89D}"/>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22" name="Freeform: Shape 12821">
                <a:extLst>
                  <a:ext uri="{FF2B5EF4-FFF2-40B4-BE49-F238E27FC236}">
                    <a16:creationId xmlns:a16="http://schemas.microsoft.com/office/drawing/2014/main" id="{B01D87E0-8238-961E-19FC-3C2308808A28}"/>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4" name="Graphic 112">
              <a:extLst>
                <a:ext uri="{FF2B5EF4-FFF2-40B4-BE49-F238E27FC236}">
                  <a16:creationId xmlns:a16="http://schemas.microsoft.com/office/drawing/2014/main" id="{08546C47-A492-EBF6-EA7B-2198B9E941FB}"/>
                </a:ext>
              </a:extLst>
            </p:cNvPr>
            <p:cNvGrpSpPr/>
            <p:nvPr/>
          </p:nvGrpSpPr>
          <p:grpSpPr>
            <a:xfrm>
              <a:off x="6217443" y="3898296"/>
              <a:ext cx="75723" cy="75628"/>
              <a:chOff x="6217443" y="3898296"/>
              <a:chExt cx="75723" cy="75628"/>
            </a:xfrm>
          </p:grpSpPr>
          <p:sp>
            <p:nvSpPr>
              <p:cNvPr id="12819" name="Freeform: Shape 12818">
                <a:extLst>
                  <a:ext uri="{FF2B5EF4-FFF2-40B4-BE49-F238E27FC236}">
                    <a16:creationId xmlns:a16="http://schemas.microsoft.com/office/drawing/2014/main" id="{BE5A2253-7071-4ED5-04AB-B509B208E938}"/>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20" name="Freeform: Shape 12819">
                <a:extLst>
                  <a:ext uri="{FF2B5EF4-FFF2-40B4-BE49-F238E27FC236}">
                    <a16:creationId xmlns:a16="http://schemas.microsoft.com/office/drawing/2014/main" id="{ACCE2A7C-1132-C3B0-8507-D9773FC1BBC8}"/>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5" name="Graphic 112">
              <a:extLst>
                <a:ext uri="{FF2B5EF4-FFF2-40B4-BE49-F238E27FC236}">
                  <a16:creationId xmlns:a16="http://schemas.microsoft.com/office/drawing/2014/main" id="{CAD25AD0-B547-FEC3-DCD6-949410E9ECBE}"/>
                </a:ext>
              </a:extLst>
            </p:cNvPr>
            <p:cNvGrpSpPr/>
            <p:nvPr/>
          </p:nvGrpSpPr>
          <p:grpSpPr>
            <a:xfrm>
              <a:off x="6334791" y="3909822"/>
              <a:ext cx="75723" cy="75723"/>
              <a:chOff x="6334791" y="3909822"/>
              <a:chExt cx="75723" cy="75723"/>
            </a:xfrm>
          </p:grpSpPr>
          <p:sp>
            <p:nvSpPr>
              <p:cNvPr id="12817" name="Freeform: Shape 12816">
                <a:extLst>
                  <a:ext uri="{FF2B5EF4-FFF2-40B4-BE49-F238E27FC236}">
                    <a16:creationId xmlns:a16="http://schemas.microsoft.com/office/drawing/2014/main" id="{31AC7929-D0BC-3B63-71FB-40C4E29A5A28}"/>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18" name="Freeform: Shape 12817">
                <a:extLst>
                  <a:ext uri="{FF2B5EF4-FFF2-40B4-BE49-F238E27FC236}">
                    <a16:creationId xmlns:a16="http://schemas.microsoft.com/office/drawing/2014/main" id="{8E42AF2B-28E5-900D-4112-622BFE958523}"/>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6" name="Graphic 112">
              <a:extLst>
                <a:ext uri="{FF2B5EF4-FFF2-40B4-BE49-F238E27FC236}">
                  <a16:creationId xmlns:a16="http://schemas.microsoft.com/office/drawing/2014/main" id="{24961662-3136-9F7B-BFC4-8050453CD1F6}"/>
                </a:ext>
              </a:extLst>
            </p:cNvPr>
            <p:cNvGrpSpPr/>
            <p:nvPr/>
          </p:nvGrpSpPr>
          <p:grpSpPr>
            <a:xfrm>
              <a:off x="6379749" y="3909822"/>
              <a:ext cx="75723" cy="75723"/>
              <a:chOff x="6379749" y="3909822"/>
              <a:chExt cx="75723" cy="75723"/>
            </a:xfrm>
          </p:grpSpPr>
          <p:sp>
            <p:nvSpPr>
              <p:cNvPr id="12815" name="Freeform: Shape 12814">
                <a:extLst>
                  <a:ext uri="{FF2B5EF4-FFF2-40B4-BE49-F238E27FC236}">
                    <a16:creationId xmlns:a16="http://schemas.microsoft.com/office/drawing/2014/main" id="{9C1B810B-0A4E-7306-BE2E-6B52696A1A6B}"/>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16" name="Freeform: Shape 12815">
                <a:extLst>
                  <a:ext uri="{FF2B5EF4-FFF2-40B4-BE49-F238E27FC236}">
                    <a16:creationId xmlns:a16="http://schemas.microsoft.com/office/drawing/2014/main" id="{A7FCE9B2-A000-874E-A6C5-42A61C8489DB}"/>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7" name="Graphic 112">
              <a:extLst>
                <a:ext uri="{FF2B5EF4-FFF2-40B4-BE49-F238E27FC236}">
                  <a16:creationId xmlns:a16="http://schemas.microsoft.com/office/drawing/2014/main" id="{9370F682-162C-AC27-1FC8-1E25439556EC}"/>
                </a:ext>
              </a:extLst>
            </p:cNvPr>
            <p:cNvGrpSpPr/>
            <p:nvPr/>
          </p:nvGrpSpPr>
          <p:grpSpPr>
            <a:xfrm>
              <a:off x="6410515" y="3922585"/>
              <a:ext cx="75628" cy="75723"/>
              <a:chOff x="6410515" y="3922585"/>
              <a:chExt cx="75628" cy="75723"/>
            </a:xfrm>
          </p:grpSpPr>
          <p:sp>
            <p:nvSpPr>
              <p:cNvPr id="12813" name="Freeform: Shape 12812">
                <a:extLst>
                  <a:ext uri="{FF2B5EF4-FFF2-40B4-BE49-F238E27FC236}">
                    <a16:creationId xmlns:a16="http://schemas.microsoft.com/office/drawing/2014/main" id="{FA4A299F-B839-2EB2-EE1F-59CB95B2A6B9}"/>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14" name="Freeform: Shape 12813">
                <a:extLst>
                  <a:ext uri="{FF2B5EF4-FFF2-40B4-BE49-F238E27FC236}">
                    <a16:creationId xmlns:a16="http://schemas.microsoft.com/office/drawing/2014/main" id="{590BA4AE-4C86-3A09-9037-F6EB8C81A15C}"/>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8" name="Graphic 112">
              <a:extLst>
                <a:ext uri="{FF2B5EF4-FFF2-40B4-BE49-F238E27FC236}">
                  <a16:creationId xmlns:a16="http://schemas.microsoft.com/office/drawing/2014/main" id="{7BD03ABF-3DC8-284B-0821-8EDAD3BD1A68}"/>
                </a:ext>
              </a:extLst>
            </p:cNvPr>
            <p:cNvGrpSpPr/>
            <p:nvPr/>
          </p:nvGrpSpPr>
          <p:grpSpPr>
            <a:xfrm>
              <a:off x="6430232" y="3933539"/>
              <a:ext cx="75723" cy="75628"/>
              <a:chOff x="6430232" y="3933539"/>
              <a:chExt cx="75723" cy="75628"/>
            </a:xfrm>
          </p:grpSpPr>
          <p:sp>
            <p:nvSpPr>
              <p:cNvPr id="12811" name="Freeform: Shape 12810">
                <a:extLst>
                  <a:ext uri="{FF2B5EF4-FFF2-40B4-BE49-F238E27FC236}">
                    <a16:creationId xmlns:a16="http://schemas.microsoft.com/office/drawing/2014/main" id="{0345DFA4-B36E-EFD7-5DB7-E5802FEFE3C1}"/>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12" name="Freeform: Shape 12811">
                <a:extLst>
                  <a:ext uri="{FF2B5EF4-FFF2-40B4-BE49-F238E27FC236}">
                    <a16:creationId xmlns:a16="http://schemas.microsoft.com/office/drawing/2014/main" id="{0150DC88-C506-1C66-62F7-7125091C53BD}"/>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29" name="Graphic 112">
              <a:extLst>
                <a:ext uri="{FF2B5EF4-FFF2-40B4-BE49-F238E27FC236}">
                  <a16:creationId xmlns:a16="http://schemas.microsoft.com/office/drawing/2014/main" id="{A912179B-AEA2-B3AA-3F78-FADD8AC9AF01}"/>
                </a:ext>
              </a:extLst>
            </p:cNvPr>
            <p:cNvGrpSpPr/>
            <p:nvPr/>
          </p:nvGrpSpPr>
          <p:grpSpPr>
            <a:xfrm>
              <a:off x="6450330" y="3947636"/>
              <a:ext cx="75628" cy="75723"/>
              <a:chOff x="6450330" y="3947636"/>
              <a:chExt cx="75628" cy="75723"/>
            </a:xfrm>
          </p:grpSpPr>
          <p:sp>
            <p:nvSpPr>
              <p:cNvPr id="12809" name="Freeform: Shape 12808">
                <a:extLst>
                  <a:ext uri="{FF2B5EF4-FFF2-40B4-BE49-F238E27FC236}">
                    <a16:creationId xmlns:a16="http://schemas.microsoft.com/office/drawing/2014/main" id="{344291AB-8682-822F-8D75-3721209D60E6}"/>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10" name="Freeform: Shape 12809">
                <a:extLst>
                  <a:ext uri="{FF2B5EF4-FFF2-40B4-BE49-F238E27FC236}">
                    <a16:creationId xmlns:a16="http://schemas.microsoft.com/office/drawing/2014/main" id="{73282325-63E2-5619-A567-898A5F45B399}"/>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0" name="Graphic 112">
              <a:extLst>
                <a:ext uri="{FF2B5EF4-FFF2-40B4-BE49-F238E27FC236}">
                  <a16:creationId xmlns:a16="http://schemas.microsoft.com/office/drawing/2014/main" id="{7B232D80-E3CD-5C3D-FAEF-609E51DE5BD8}"/>
                </a:ext>
              </a:extLst>
            </p:cNvPr>
            <p:cNvGrpSpPr/>
            <p:nvPr/>
          </p:nvGrpSpPr>
          <p:grpSpPr>
            <a:xfrm>
              <a:off x="6463665" y="3960399"/>
              <a:ext cx="75723" cy="75723"/>
              <a:chOff x="6463665" y="3960399"/>
              <a:chExt cx="75723" cy="75723"/>
            </a:xfrm>
          </p:grpSpPr>
          <p:sp>
            <p:nvSpPr>
              <p:cNvPr id="12807" name="Freeform: Shape 12806">
                <a:extLst>
                  <a:ext uri="{FF2B5EF4-FFF2-40B4-BE49-F238E27FC236}">
                    <a16:creationId xmlns:a16="http://schemas.microsoft.com/office/drawing/2014/main" id="{D6F2F9E4-51D8-B627-488E-956861C67DFF}"/>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08" name="Freeform: Shape 12807">
                <a:extLst>
                  <a:ext uri="{FF2B5EF4-FFF2-40B4-BE49-F238E27FC236}">
                    <a16:creationId xmlns:a16="http://schemas.microsoft.com/office/drawing/2014/main" id="{FC987EBC-D0C3-4F17-C2DB-7E6957A174FC}"/>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1" name="Graphic 112">
              <a:extLst>
                <a:ext uri="{FF2B5EF4-FFF2-40B4-BE49-F238E27FC236}">
                  <a16:creationId xmlns:a16="http://schemas.microsoft.com/office/drawing/2014/main" id="{55D6E8F5-9E81-D8CA-B2E5-660E9A8F566C}"/>
                </a:ext>
              </a:extLst>
            </p:cNvPr>
            <p:cNvGrpSpPr/>
            <p:nvPr/>
          </p:nvGrpSpPr>
          <p:grpSpPr>
            <a:xfrm>
              <a:off x="6520815" y="4015263"/>
              <a:ext cx="75723" cy="75723"/>
              <a:chOff x="6520815" y="4015263"/>
              <a:chExt cx="75723" cy="75723"/>
            </a:xfrm>
          </p:grpSpPr>
          <p:sp>
            <p:nvSpPr>
              <p:cNvPr id="12805" name="Freeform: Shape 12804">
                <a:extLst>
                  <a:ext uri="{FF2B5EF4-FFF2-40B4-BE49-F238E27FC236}">
                    <a16:creationId xmlns:a16="http://schemas.microsoft.com/office/drawing/2014/main" id="{C52BF07E-1913-0AB8-EF7A-C382193F5DEE}"/>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06" name="Freeform: Shape 12805">
                <a:extLst>
                  <a:ext uri="{FF2B5EF4-FFF2-40B4-BE49-F238E27FC236}">
                    <a16:creationId xmlns:a16="http://schemas.microsoft.com/office/drawing/2014/main" id="{B7E2CC27-FDA4-ECC9-B2CF-01EAFB2885E3}"/>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2" name="Graphic 112">
              <a:extLst>
                <a:ext uri="{FF2B5EF4-FFF2-40B4-BE49-F238E27FC236}">
                  <a16:creationId xmlns:a16="http://schemas.microsoft.com/office/drawing/2014/main" id="{4C64218D-05F0-2ED7-73AE-C9EB2C33A187}"/>
                </a:ext>
              </a:extLst>
            </p:cNvPr>
            <p:cNvGrpSpPr/>
            <p:nvPr/>
          </p:nvGrpSpPr>
          <p:grpSpPr>
            <a:xfrm>
              <a:off x="6771322" y="4036123"/>
              <a:ext cx="75723" cy="75723"/>
              <a:chOff x="6771322" y="4036123"/>
              <a:chExt cx="75723" cy="75723"/>
            </a:xfrm>
          </p:grpSpPr>
          <p:sp>
            <p:nvSpPr>
              <p:cNvPr id="12803" name="Freeform: Shape 12802">
                <a:extLst>
                  <a:ext uri="{FF2B5EF4-FFF2-40B4-BE49-F238E27FC236}">
                    <a16:creationId xmlns:a16="http://schemas.microsoft.com/office/drawing/2014/main" id="{9052CCF3-B6D5-D766-E442-7B0380A004D9}"/>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04" name="Freeform: Shape 12803">
                <a:extLst>
                  <a:ext uri="{FF2B5EF4-FFF2-40B4-BE49-F238E27FC236}">
                    <a16:creationId xmlns:a16="http://schemas.microsoft.com/office/drawing/2014/main" id="{464E9691-7CDC-DAE5-A7A5-9A21C73FE646}"/>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3" name="Graphic 112">
              <a:extLst>
                <a:ext uri="{FF2B5EF4-FFF2-40B4-BE49-F238E27FC236}">
                  <a16:creationId xmlns:a16="http://schemas.microsoft.com/office/drawing/2014/main" id="{BCC11DB6-5D99-3C76-54EE-1B35A148B51D}"/>
                </a:ext>
              </a:extLst>
            </p:cNvPr>
            <p:cNvGrpSpPr/>
            <p:nvPr/>
          </p:nvGrpSpPr>
          <p:grpSpPr>
            <a:xfrm>
              <a:off x="6871620" y="4036123"/>
              <a:ext cx="75723" cy="75723"/>
              <a:chOff x="6871620" y="4036123"/>
              <a:chExt cx="75723" cy="75723"/>
            </a:xfrm>
          </p:grpSpPr>
          <p:sp>
            <p:nvSpPr>
              <p:cNvPr id="12801" name="Freeform: Shape 12800">
                <a:extLst>
                  <a:ext uri="{FF2B5EF4-FFF2-40B4-BE49-F238E27FC236}">
                    <a16:creationId xmlns:a16="http://schemas.microsoft.com/office/drawing/2014/main" id="{0B18C7F5-66D2-2A55-2B95-5783680E17DD}"/>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02" name="Freeform: Shape 12801">
                <a:extLst>
                  <a:ext uri="{FF2B5EF4-FFF2-40B4-BE49-F238E27FC236}">
                    <a16:creationId xmlns:a16="http://schemas.microsoft.com/office/drawing/2014/main" id="{A4590975-BA8C-D5E5-CBCD-1C75B68B6763}"/>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4" name="Graphic 112">
              <a:extLst>
                <a:ext uri="{FF2B5EF4-FFF2-40B4-BE49-F238E27FC236}">
                  <a16:creationId xmlns:a16="http://schemas.microsoft.com/office/drawing/2014/main" id="{1EF8843B-9E3F-794B-79E5-C36D743AF1A9}"/>
                </a:ext>
              </a:extLst>
            </p:cNvPr>
            <p:cNvGrpSpPr/>
            <p:nvPr/>
          </p:nvGrpSpPr>
          <p:grpSpPr>
            <a:xfrm>
              <a:off x="6885051" y="4036123"/>
              <a:ext cx="75628" cy="75723"/>
              <a:chOff x="6885051" y="4036123"/>
              <a:chExt cx="75628" cy="75723"/>
            </a:xfrm>
          </p:grpSpPr>
          <p:sp>
            <p:nvSpPr>
              <p:cNvPr id="12799" name="Freeform: Shape 12798">
                <a:extLst>
                  <a:ext uri="{FF2B5EF4-FFF2-40B4-BE49-F238E27FC236}">
                    <a16:creationId xmlns:a16="http://schemas.microsoft.com/office/drawing/2014/main" id="{6D04696E-D879-0548-833A-56F6F8AE63C8}"/>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800" name="Freeform: Shape 12799">
                <a:extLst>
                  <a:ext uri="{FF2B5EF4-FFF2-40B4-BE49-F238E27FC236}">
                    <a16:creationId xmlns:a16="http://schemas.microsoft.com/office/drawing/2014/main" id="{F42C551B-B367-63B1-F917-D563C3580199}"/>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5" name="Graphic 112">
              <a:extLst>
                <a:ext uri="{FF2B5EF4-FFF2-40B4-BE49-F238E27FC236}">
                  <a16:creationId xmlns:a16="http://schemas.microsoft.com/office/drawing/2014/main" id="{673971FA-1AB2-D335-415F-15C00481A6B3}"/>
                </a:ext>
              </a:extLst>
            </p:cNvPr>
            <p:cNvGrpSpPr/>
            <p:nvPr/>
          </p:nvGrpSpPr>
          <p:grpSpPr>
            <a:xfrm>
              <a:off x="7015353" y="4135183"/>
              <a:ext cx="75628" cy="75723"/>
              <a:chOff x="7015353" y="4135183"/>
              <a:chExt cx="75628" cy="75723"/>
            </a:xfrm>
          </p:grpSpPr>
          <p:sp>
            <p:nvSpPr>
              <p:cNvPr id="12797" name="Freeform: Shape 12796">
                <a:extLst>
                  <a:ext uri="{FF2B5EF4-FFF2-40B4-BE49-F238E27FC236}">
                    <a16:creationId xmlns:a16="http://schemas.microsoft.com/office/drawing/2014/main" id="{0B94BA9D-9006-CD87-56CE-77636FDA489D}"/>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98" name="Freeform: Shape 12797">
                <a:extLst>
                  <a:ext uri="{FF2B5EF4-FFF2-40B4-BE49-F238E27FC236}">
                    <a16:creationId xmlns:a16="http://schemas.microsoft.com/office/drawing/2014/main" id="{9B63E6A3-DA25-C86C-78FD-10B2C9C3DD85}"/>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6" name="Graphic 112">
              <a:extLst>
                <a:ext uri="{FF2B5EF4-FFF2-40B4-BE49-F238E27FC236}">
                  <a16:creationId xmlns:a16="http://schemas.microsoft.com/office/drawing/2014/main" id="{4EF37FC2-B652-BE0B-7E5E-3BC3F130F9D4}"/>
                </a:ext>
              </a:extLst>
            </p:cNvPr>
            <p:cNvGrpSpPr/>
            <p:nvPr/>
          </p:nvGrpSpPr>
          <p:grpSpPr>
            <a:xfrm>
              <a:off x="7368349" y="4229481"/>
              <a:ext cx="75723" cy="75628"/>
              <a:chOff x="7368349" y="4229481"/>
              <a:chExt cx="75723" cy="75628"/>
            </a:xfrm>
          </p:grpSpPr>
          <p:sp>
            <p:nvSpPr>
              <p:cNvPr id="12795" name="Freeform: Shape 12794">
                <a:extLst>
                  <a:ext uri="{FF2B5EF4-FFF2-40B4-BE49-F238E27FC236}">
                    <a16:creationId xmlns:a16="http://schemas.microsoft.com/office/drawing/2014/main" id="{35FBB4C2-44F1-A1D2-B3AD-56175C6D4A1D}"/>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96" name="Freeform: Shape 12795">
                <a:extLst>
                  <a:ext uri="{FF2B5EF4-FFF2-40B4-BE49-F238E27FC236}">
                    <a16:creationId xmlns:a16="http://schemas.microsoft.com/office/drawing/2014/main" id="{F492BAB5-03A5-4435-0DC2-54BF4C860528}"/>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7" name="Graphic 112">
              <a:extLst>
                <a:ext uri="{FF2B5EF4-FFF2-40B4-BE49-F238E27FC236}">
                  <a16:creationId xmlns:a16="http://schemas.microsoft.com/office/drawing/2014/main" id="{0C76A9E3-EA4D-D3E6-C8A8-1160C7535340}"/>
                </a:ext>
              </a:extLst>
            </p:cNvPr>
            <p:cNvGrpSpPr/>
            <p:nvPr/>
          </p:nvGrpSpPr>
          <p:grpSpPr>
            <a:xfrm>
              <a:off x="7638288" y="4229481"/>
              <a:ext cx="75723" cy="75628"/>
              <a:chOff x="7638288" y="4229481"/>
              <a:chExt cx="75723" cy="75628"/>
            </a:xfrm>
          </p:grpSpPr>
          <p:sp>
            <p:nvSpPr>
              <p:cNvPr id="12793" name="Freeform: Shape 12792">
                <a:extLst>
                  <a:ext uri="{FF2B5EF4-FFF2-40B4-BE49-F238E27FC236}">
                    <a16:creationId xmlns:a16="http://schemas.microsoft.com/office/drawing/2014/main" id="{8FF73D3F-A5EC-8F39-8AF6-EC9E04745EAD}"/>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94" name="Freeform: Shape 12793">
                <a:extLst>
                  <a:ext uri="{FF2B5EF4-FFF2-40B4-BE49-F238E27FC236}">
                    <a16:creationId xmlns:a16="http://schemas.microsoft.com/office/drawing/2014/main" id="{4C7273AF-A572-7571-CF81-8F8007DFF120}"/>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8" name="Graphic 112">
              <a:extLst>
                <a:ext uri="{FF2B5EF4-FFF2-40B4-BE49-F238E27FC236}">
                  <a16:creationId xmlns:a16="http://schemas.microsoft.com/office/drawing/2014/main" id="{9EAB7CFA-7298-A5D0-FE7B-B545A29E58B3}"/>
                </a:ext>
              </a:extLst>
            </p:cNvPr>
            <p:cNvGrpSpPr/>
            <p:nvPr/>
          </p:nvGrpSpPr>
          <p:grpSpPr>
            <a:xfrm>
              <a:off x="7722203" y="4229481"/>
              <a:ext cx="75723" cy="75628"/>
              <a:chOff x="7722203" y="4229481"/>
              <a:chExt cx="75723" cy="75628"/>
            </a:xfrm>
          </p:grpSpPr>
          <p:sp>
            <p:nvSpPr>
              <p:cNvPr id="12791" name="Freeform: Shape 12790">
                <a:extLst>
                  <a:ext uri="{FF2B5EF4-FFF2-40B4-BE49-F238E27FC236}">
                    <a16:creationId xmlns:a16="http://schemas.microsoft.com/office/drawing/2014/main" id="{456EADF5-9C01-044B-A4B7-ECDF7724F086}"/>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92" name="Freeform: Shape 12791">
                <a:extLst>
                  <a:ext uri="{FF2B5EF4-FFF2-40B4-BE49-F238E27FC236}">
                    <a16:creationId xmlns:a16="http://schemas.microsoft.com/office/drawing/2014/main" id="{7264F03D-7E1E-10A8-5314-D1C93FE8FBC2}"/>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39" name="Graphic 112">
              <a:extLst>
                <a:ext uri="{FF2B5EF4-FFF2-40B4-BE49-F238E27FC236}">
                  <a16:creationId xmlns:a16="http://schemas.microsoft.com/office/drawing/2014/main" id="{A1C94F15-934F-1532-174E-A537E20DDB68}"/>
                </a:ext>
              </a:extLst>
            </p:cNvPr>
            <p:cNvGrpSpPr/>
            <p:nvPr/>
          </p:nvGrpSpPr>
          <p:grpSpPr>
            <a:xfrm>
              <a:off x="7755064" y="4229481"/>
              <a:ext cx="75628" cy="75628"/>
              <a:chOff x="7755064" y="4229481"/>
              <a:chExt cx="75628" cy="75628"/>
            </a:xfrm>
          </p:grpSpPr>
          <p:sp>
            <p:nvSpPr>
              <p:cNvPr id="12789" name="Freeform: Shape 12788">
                <a:extLst>
                  <a:ext uri="{FF2B5EF4-FFF2-40B4-BE49-F238E27FC236}">
                    <a16:creationId xmlns:a16="http://schemas.microsoft.com/office/drawing/2014/main" id="{87482719-245D-EBA5-C098-65DFAF162B4C}"/>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90" name="Freeform: Shape 12789">
                <a:extLst>
                  <a:ext uri="{FF2B5EF4-FFF2-40B4-BE49-F238E27FC236}">
                    <a16:creationId xmlns:a16="http://schemas.microsoft.com/office/drawing/2014/main" id="{657E4A7F-CD1F-03B9-16C2-8293940D59CD}"/>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0" name="Graphic 112">
              <a:extLst>
                <a:ext uri="{FF2B5EF4-FFF2-40B4-BE49-F238E27FC236}">
                  <a16:creationId xmlns:a16="http://schemas.microsoft.com/office/drawing/2014/main" id="{298377F3-E4AB-1A80-DCB5-67E600A88F2C}"/>
                </a:ext>
              </a:extLst>
            </p:cNvPr>
            <p:cNvGrpSpPr/>
            <p:nvPr/>
          </p:nvGrpSpPr>
          <p:grpSpPr>
            <a:xfrm>
              <a:off x="7760017" y="4229481"/>
              <a:ext cx="75723" cy="75628"/>
              <a:chOff x="7760017" y="4229481"/>
              <a:chExt cx="75723" cy="75628"/>
            </a:xfrm>
          </p:grpSpPr>
          <p:sp>
            <p:nvSpPr>
              <p:cNvPr id="12787" name="Freeform: Shape 12786">
                <a:extLst>
                  <a:ext uri="{FF2B5EF4-FFF2-40B4-BE49-F238E27FC236}">
                    <a16:creationId xmlns:a16="http://schemas.microsoft.com/office/drawing/2014/main" id="{EA12F3AC-EC22-3360-BD20-E5F9B0213B84}"/>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88" name="Freeform: Shape 12787">
                <a:extLst>
                  <a:ext uri="{FF2B5EF4-FFF2-40B4-BE49-F238E27FC236}">
                    <a16:creationId xmlns:a16="http://schemas.microsoft.com/office/drawing/2014/main" id="{CD200AFB-40C8-E80D-DB01-671C9B215B04}"/>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1" name="Graphic 112">
              <a:extLst>
                <a:ext uri="{FF2B5EF4-FFF2-40B4-BE49-F238E27FC236}">
                  <a16:creationId xmlns:a16="http://schemas.microsoft.com/office/drawing/2014/main" id="{35EB3909-1C5B-D853-1728-D92E65FC3D8F}"/>
                </a:ext>
              </a:extLst>
            </p:cNvPr>
            <p:cNvGrpSpPr/>
            <p:nvPr/>
          </p:nvGrpSpPr>
          <p:grpSpPr>
            <a:xfrm>
              <a:off x="7800594" y="4229481"/>
              <a:ext cx="75723" cy="75628"/>
              <a:chOff x="7800594" y="4229481"/>
              <a:chExt cx="75723" cy="75628"/>
            </a:xfrm>
          </p:grpSpPr>
          <p:sp>
            <p:nvSpPr>
              <p:cNvPr id="12785" name="Freeform: Shape 12784">
                <a:extLst>
                  <a:ext uri="{FF2B5EF4-FFF2-40B4-BE49-F238E27FC236}">
                    <a16:creationId xmlns:a16="http://schemas.microsoft.com/office/drawing/2014/main" id="{891AF2F6-3661-D438-81C5-F0002784974D}"/>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86" name="Freeform: Shape 12785">
                <a:extLst>
                  <a:ext uri="{FF2B5EF4-FFF2-40B4-BE49-F238E27FC236}">
                    <a16:creationId xmlns:a16="http://schemas.microsoft.com/office/drawing/2014/main" id="{7E2BF3D1-A894-3D32-5A8E-3A8A80DD5130}"/>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2" name="Graphic 112">
              <a:extLst>
                <a:ext uri="{FF2B5EF4-FFF2-40B4-BE49-F238E27FC236}">
                  <a16:creationId xmlns:a16="http://schemas.microsoft.com/office/drawing/2014/main" id="{115D6B28-7DE4-E220-3DEF-B175C909A072}"/>
                </a:ext>
              </a:extLst>
            </p:cNvPr>
            <p:cNvGrpSpPr/>
            <p:nvPr/>
          </p:nvGrpSpPr>
          <p:grpSpPr>
            <a:xfrm>
              <a:off x="7805451" y="4229481"/>
              <a:ext cx="75723" cy="75628"/>
              <a:chOff x="7805451" y="4229481"/>
              <a:chExt cx="75723" cy="75628"/>
            </a:xfrm>
          </p:grpSpPr>
          <p:sp>
            <p:nvSpPr>
              <p:cNvPr id="12783" name="Freeform: Shape 12782">
                <a:extLst>
                  <a:ext uri="{FF2B5EF4-FFF2-40B4-BE49-F238E27FC236}">
                    <a16:creationId xmlns:a16="http://schemas.microsoft.com/office/drawing/2014/main" id="{C61DEF9D-8B25-B7A7-65E4-FCDA4EFFFF7E}"/>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84" name="Freeform: Shape 12783">
                <a:extLst>
                  <a:ext uri="{FF2B5EF4-FFF2-40B4-BE49-F238E27FC236}">
                    <a16:creationId xmlns:a16="http://schemas.microsoft.com/office/drawing/2014/main" id="{5F0CF144-BB7C-7034-A15B-8037EAA09DE7}"/>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3" name="Graphic 112">
              <a:extLst>
                <a:ext uri="{FF2B5EF4-FFF2-40B4-BE49-F238E27FC236}">
                  <a16:creationId xmlns:a16="http://schemas.microsoft.com/office/drawing/2014/main" id="{DCCE146A-0A56-0000-8277-DFE36E9D8E92}"/>
                </a:ext>
              </a:extLst>
            </p:cNvPr>
            <p:cNvGrpSpPr/>
            <p:nvPr/>
          </p:nvGrpSpPr>
          <p:grpSpPr>
            <a:xfrm>
              <a:off x="8124729" y="4229481"/>
              <a:ext cx="75628" cy="75628"/>
              <a:chOff x="8124729" y="4229481"/>
              <a:chExt cx="75628" cy="75628"/>
            </a:xfrm>
          </p:grpSpPr>
          <p:sp>
            <p:nvSpPr>
              <p:cNvPr id="12781" name="Freeform: Shape 12780">
                <a:extLst>
                  <a:ext uri="{FF2B5EF4-FFF2-40B4-BE49-F238E27FC236}">
                    <a16:creationId xmlns:a16="http://schemas.microsoft.com/office/drawing/2014/main" id="{FA35CA7A-452A-E0D1-FC2E-C9D795D04F5A}"/>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82" name="Freeform: Shape 12781">
                <a:extLst>
                  <a:ext uri="{FF2B5EF4-FFF2-40B4-BE49-F238E27FC236}">
                    <a16:creationId xmlns:a16="http://schemas.microsoft.com/office/drawing/2014/main" id="{ECB93ED0-9DE8-2BFC-3345-D34C1F9CD41B}"/>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4" name="Graphic 112">
              <a:extLst>
                <a:ext uri="{FF2B5EF4-FFF2-40B4-BE49-F238E27FC236}">
                  <a16:creationId xmlns:a16="http://schemas.microsoft.com/office/drawing/2014/main" id="{BE6E7965-C1FE-AC76-BD90-654A05F26040}"/>
                </a:ext>
              </a:extLst>
            </p:cNvPr>
            <p:cNvGrpSpPr/>
            <p:nvPr/>
          </p:nvGrpSpPr>
          <p:grpSpPr>
            <a:xfrm>
              <a:off x="8143875" y="4229481"/>
              <a:ext cx="75628" cy="75628"/>
              <a:chOff x="8143875" y="4229481"/>
              <a:chExt cx="75628" cy="75628"/>
            </a:xfrm>
          </p:grpSpPr>
          <p:sp>
            <p:nvSpPr>
              <p:cNvPr id="12779" name="Freeform: Shape 12778">
                <a:extLst>
                  <a:ext uri="{FF2B5EF4-FFF2-40B4-BE49-F238E27FC236}">
                    <a16:creationId xmlns:a16="http://schemas.microsoft.com/office/drawing/2014/main" id="{36707831-9EA5-32DB-6BE6-481D46478A57}"/>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80" name="Freeform: Shape 12779">
                <a:extLst>
                  <a:ext uri="{FF2B5EF4-FFF2-40B4-BE49-F238E27FC236}">
                    <a16:creationId xmlns:a16="http://schemas.microsoft.com/office/drawing/2014/main" id="{A7FF5331-B912-8AAC-F12A-C2536C426A92}"/>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5" name="Graphic 112">
              <a:extLst>
                <a:ext uri="{FF2B5EF4-FFF2-40B4-BE49-F238E27FC236}">
                  <a16:creationId xmlns:a16="http://schemas.microsoft.com/office/drawing/2014/main" id="{915B1658-FA25-BAFF-2622-407FD91DCDF6}"/>
                </a:ext>
              </a:extLst>
            </p:cNvPr>
            <p:cNvGrpSpPr/>
            <p:nvPr/>
          </p:nvGrpSpPr>
          <p:grpSpPr>
            <a:xfrm>
              <a:off x="8163020" y="4229481"/>
              <a:ext cx="75628" cy="75628"/>
              <a:chOff x="8163020" y="4229481"/>
              <a:chExt cx="75628" cy="75628"/>
            </a:xfrm>
          </p:grpSpPr>
          <p:sp>
            <p:nvSpPr>
              <p:cNvPr id="12777" name="Freeform: Shape 12776">
                <a:extLst>
                  <a:ext uri="{FF2B5EF4-FFF2-40B4-BE49-F238E27FC236}">
                    <a16:creationId xmlns:a16="http://schemas.microsoft.com/office/drawing/2014/main" id="{B52BC773-17BC-9364-F90B-98E2C7B79C81}"/>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78" name="Freeform: Shape 12777">
                <a:extLst>
                  <a:ext uri="{FF2B5EF4-FFF2-40B4-BE49-F238E27FC236}">
                    <a16:creationId xmlns:a16="http://schemas.microsoft.com/office/drawing/2014/main" id="{CE75A64D-42C5-4DA8-2CE2-35AB848955C9}"/>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6" name="Graphic 112">
              <a:extLst>
                <a:ext uri="{FF2B5EF4-FFF2-40B4-BE49-F238E27FC236}">
                  <a16:creationId xmlns:a16="http://schemas.microsoft.com/office/drawing/2014/main" id="{B76BC1D5-E014-9BED-CB5A-620D5A946F08}"/>
                </a:ext>
              </a:extLst>
            </p:cNvPr>
            <p:cNvGrpSpPr/>
            <p:nvPr/>
          </p:nvGrpSpPr>
          <p:grpSpPr>
            <a:xfrm>
              <a:off x="8182165" y="4229481"/>
              <a:ext cx="75628" cy="75628"/>
              <a:chOff x="8182165" y="4229481"/>
              <a:chExt cx="75628" cy="75628"/>
            </a:xfrm>
          </p:grpSpPr>
          <p:sp>
            <p:nvSpPr>
              <p:cNvPr id="12775" name="Freeform: Shape 12774">
                <a:extLst>
                  <a:ext uri="{FF2B5EF4-FFF2-40B4-BE49-F238E27FC236}">
                    <a16:creationId xmlns:a16="http://schemas.microsoft.com/office/drawing/2014/main" id="{CCB691B5-4249-BC4B-BC03-F9E53992BD99}"/>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76" name="Freeform: Shape 12775">
                <a:extLst>
                  <a:ext uri="{FF2B5EF4-FFF2-40B4-BE49-F238E27FC236}">
                    <a16:creationId xmlns:a16="http://schemas.microsoft.com/office/drawing/2014/main" id="{50FA0702-EEF9-C9FE-A74D-7007EA5D0522}"/>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7" name="Graphic 112">
              <a:extLst>
                <a:ext uri="{FF2B5EF4-FFF2-40B4-BE49-F238E27FC236}">
                  <a16:creationId xmlns:a16="http://schemas.microsoft.com/office/drawing/2014/main" id="{1DE3257D-D6D9-0AB6-6EC7-FA381DAAD0B4}"/>
                </a:ext>
              </a:extLst>
            </p:cNvPr>
            <p:cNvGrpSpPr/>
            <p:nvPr/>
          </p:nvGrpSpPr>
          <p:grpSpPr>
            <a:xfrm>
              <a:off x="8201310" y="4229481"/>
              <a:ext cx="75628" cy="75628"/>
              <a:chOff x="8201310" y="4229481"/>
              <a:chExt cx="75628" cy="75628"/>
            </a:xfrm>
          </p:grpSpPr>
          <p:sp>
            <p:nvSpPr>
              <p:cNvPr id="12773" name="Freeform: Shape 12772">
                <a:extLst>
                  <a:ext uri="{FF2B5EF4-FFF2-40B4-BE49-F238E27FC236}">
                    <a16:creationId xmlns:a16="http://schemas.microsoft.com/office/drawing/2014/main" id="{8F4C0309-AACC-22A0-CD04-64FCE0365B8E}"/>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74" name="Freeform: Shape 12773">
                <a:extLst>
                  <a:ext uri="{FF2B5EF4-FFF2-40B4-BE49-F238E27FC236}">
                    <a16:creationId xmlns:a16="http://schemas.microsoft.com/office/drawing/2014/main" id="{179067B5-1293-2F58-FC55-09EB645FEC5B}"/>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8" name="Graphic 112">
              <a:extLst>
                <a:ext uri="{FF2B5EF4-FFF2-40B4-BE49-F238E27FC236}">
                  <a16:creationId xmlns:a16="http://schemas.microsoft.com/office/drawing/2014/main" id="{8D1EBC95-869A-A5C4-4F33-55F083CE69AA}"/>
                </a:ext>
              </a:extLst>
            </p:cNvPr>
            <p:cNvGrpSpPr/>
            <p:nvPr/>
          </p:nvGrpSpPr>
          <p:grpSpPr>
            <a:xfrm>
              <a:off x="8239601" y="4229481"/>
              <a:ext cx="75723" cy="75628"/>
              <a:chOff x="8239601" y="4229481"/>
              <a:chExt cx="75723" cy="75628"/>
            </a:xfrm>
          </p:grpSpPr>
          <p:sp>
            <p:nvSpPr>
              <p:cNvPr id="12771" name="Freeform: Shape 12770">
                <a:extLst>
                  <a:ext uri="{FF2B5EF4-FFF2-40B4-BE49-F238E27FC236}">
                    <a16:creationId xmlns:a16="http://schemas.microsoft.com/office/drawing/2014/main" id="{DDE9CA15-C489-235C-146C-9EC705C7D291}"/>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72" name="Freeform: Shape 12771">
                <a:extLst>
                  <a:ext uri="{FF2B5EF4-FFF2-40B4-BE49-F238E27FC236}">
                    <a16:creationId xmlns:a16="http://schemas.microsoft.com/office/drawing/2014/main" id="{801F7E0C-DFF0-02D6-AB14-057607F28BC2}"/>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49" name="Graphic 112">
              <a:extLst>
                <a:ext uri="{FF2B5EF4-FFF2-40B4-BE49-F238E27FC236}">
                  <a16:creationId xmlns:a16="http://schemas.microsoft.com/office/drawing/2014/main" id="{F8A4AFEC-764F-977A-FCB8-A5891F1B25FE}"/>
                </a:ext>
              </a:extLst>
            </p:cNvPr>
            <p:cNvGrpSpPr/>
            <p:nvPr/>
          </p:nvGrpSpPr>
          <p:grpSpPr>
            <a:xfrm>
              <a:off x="8463915" y="4229481"/>
              <a:ext cx="75723" cy="75628"/>
              <a:chOff x="8463915" y="4229481"/>
              <a:chExt cx="75723" cy="75628"/>
            </a:xfrm>
          </p:grpSpPr>
          <p:sp>
            <p:nvSpPr>
              <p:cNvPr id="12769" name="Freeform: Shape 12768">
                <a:extLst>
                  <a:ext uri="{FF2B5EF4-FFF2-40B4-BE49-F238E27FC236}">
                    <a16:creationId xmlns:a16="http://schemas.microsoft.com/office/drawing/2014/main" id="{2D302C72-F872-0C69-213D-514A97D9B23E}"/>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70" name="Freeform: Shape 12769">
                <a:extLst>
                  <a:ext uri="{FF2B5EF4-FFF2-40B4-BE49-F238E27FC236}">
                    <a16:creationId xmlns:a16="http://schemas.microsoft.com/office/drawing/2014/main" id="{227F7EEF-2B25-D3A7-F635-502B81FA49D0}"/>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0" name="Graphic 112">
              <a:extLst>
                <a:ext uri="{FF2B5EF4-FFF2-40B4-BE49-F238E27FC236}">
                  <a16:creationId xmlns:a16="http://schemas.microsoft.com/office/drawing/2014/main" id="{211524C0-AB9C-60D5-AAF2-52BE5DE259F1}"/>
                </a:ext>
              </a:extLst>
            </p:cNvPr>
            <p:cNvGrpSpPr/>
            <p:nvPr/>
          </p:nvGrpSpPr>
          <p:grpSpPr>
            <a:xfrm>
              <a:off x="8598884" y="4229481"/>
              <a:ext cx="75723" cy="75628"/>
              <a:chOff x="8598884" y="4229481"/>
              <a:chExt cx="75723" cy="75628"/>
            </a:xfrm>
          </p:grpSpPr>
          <p:sp>
            <p:nvSpPr>
              <p:cNvPr id="12767" name="Freeform: Shape 12766">
                <a:extLst>
                  <a:ext uri="{FF2B5EF4-FFF2-40B4-BE49-F238E27FC236}">
                    <a16:creationId xmlns:a16="http://schemas.microsoft.com/office/drawing/2014/main" id="{8E7B7181-A03B-C450-D6DD-B2562DBABDF3}"/>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68" name="Freeform: Shape 12767">
                <a:extLst>
                  <a:ext uri="{FF2B5EF4-FFF2-40B4-BE49-F238E27FC236}">
                    <a16:creationId xmlns:a16="http://schemas.microsoft.com/office/drawing/2014/main" id="{2CB2CEE4-1680-3DD6-2474-071E193A7514}"/>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1" name="Graphic 112">
              <a:extLst>
                <a:ext uri="{FF2B5EF4-FFF2-40B4-BE49-F238E27FC236}">
                  <a16:creationId xmlns:a16="http://schemas.microsoft.com/office/drawing/2014/main" id="{2C1ECDFF-6AA7-E3ED-E9BA-697C3B994E29}"/>
                </a:ext>
              </a:extLst>
            </p:cNvPr>
            <p:cNvGrpSpPr/>
            <p:nvPr/>
          </p:nvGrpSpPr>
          <p:grpSpPr>
            <a:xfrm>
              <a:off x="8611457" y="4229481"/>
              <a:ext cx="75628" cy="75628"/>
              <a:chOff x="8611457" y="4229481"/>
              <a:chExt cx="75628" cy="75628"/>
            </a:xfrm>
          </p:grpSpPr>
          <p:sp>
            <p:nvSpPr>
              <p:cNvPr id="12765" name="Freeform: Shape 12764">
                <a:extLst>
                  <a:ext uri="{FF2B5EF4-FFF2-40B4-BE49-F238E27FC236}">
                    <a16:creationId xmlns:a16="http://schemas.microsoft.com/office/drawing/2014/main" id="{EB961968-A87F-8D9E-8D55-D61BECA8197E}"/>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66" name="Freeform: Shape 12765">
                <a:extLst>
                  <a:ext uri="{FF2B5EF4-FFF2-40B4-BE49-F238E27FC236}">
                    <a16:creationId xmlns:a16="http://schemas.microsoft.com/office/drawing/2014/main" id="{65AD623E-6D85-7F31-B547-DAD0DD87C3E2}"/>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2" name="Graphic 112">
              <a:extLst>
                <a:ext uri="{FF2B5EF4-FFF2-40B4-BE49-F238E27FC236}">
                  <a16:creationId xmlns:a16="http://schemas.microsoft.com/office/drawing/2014/main" id="{6225270E-6738-55E3-5727-C6E92077DCE7}"/>
                </a:ext>
              </a:extLst>
            </p:cNvPr>
            <p:cNvGrpSpPr/>
            <p:nvPr/>
          </p:nvGrpSpPr>
          <p:grpSpPr>
            <a:xfrm>
              <a:off x="8623935" y="4229481"/>
              <a:ext cx="75628" cy="75628"/>
              <a:chOff x="8623935" y="4229481"/>
              <a:chExt cx="75628" cy="75628"/>
            </a:xfrm>
          </p:grpSpPr>
          <p:sp>
            <p:nvSpPr>
              <p:cNvPr id="12763" name="Freeform: Shape 12762">
                <a:extLst>
                  <a:ext uri="{FF2B5EF4-FFF2-40B4-BE49-F238E27FC236}">
                    <a16:creationId xmlns:a16="http://schemas.microsoft.com/office/drawing/2014/main" id="{CC0B5D0D-B6B8-A2CC-67B0-2E339F2267DB}"/>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64" name="Freeform: Shape 12763">
                <a:extLst>
                  <a:ext uri="{FF2B5EF4-FFF2-40B4-BE49-F238E27FC236}">
                    <a16:creationId xmlns:a16="http://schemas.microsoft.com/office/drawing/2014/main" id="{A13D7936-E338-1F17-C02D-EA25C73E2985}"/>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3" name="Graphic 112">
              <a:extLst>
                <a:ext uri="{FF2B5EF4-FFF2-40B4-BE49-F238E27FC236}">
                  <a16:creationId xmlns:a16="http://schemas.microsoft.com/office/drawing/2014/main" id="{E5BF0C2E-2A43-567B-540C-15BBD6549932}"/>
                </a:ext>
              </a:extLst>
            </p:cNvPr>
            <p:cNvGrpSpPr/>
            <p:nvPr/>
          </p:nvGrpSpPr>
          <p:grpSpPr>
            <a:xfrm>
              <a:off x="8648890" y="4229481"/>
              <a:ext cx="75723" cy="75628"/>
              <a:chOff x="8648890" y="4229481"/>
              <a:chExt cx="75723" cy="75628"/>
            </a:xfrm>
          </p:grpSpPr>
          <p:sp>
            <p:nvSpPr>
              <p:cNvPr id="12761" name="Freeform: Shape 12760">
                <a:extLst>
                  <a:ext uri="{FF2B5EF4-FFF2-40B4-BE49-F238E27FC236}">
                    <a16:creationId xmlns:a16="http://schemas.microsoft.com/office/drawing/2014/main" id="{38BB4B82-5426-5712-A1AA-AB7CEEA34C81}"/>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62" name="Freeform: Shape 12761">
                <a:extLst>
                  <a:ext uri="{FF2B5EF4-FFF2-40B4-BE49-F238E27FC236}">
                    <a16:creationId xmlns:a16="http://schemas.microsoft.com/office/drawing/2014/main" id="{F62CC701-31A9-1081-A1B1-34504BF70D30}"/>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4" name="Graphic 112">
              <a:extLst>
                <a:ext uri="{FF2B5EF4-FFF2-40B4-BE49-F238E27FC236}">
                  <a16:creationId xmlns:a16="http://schemas.microsoft.com/office/drawing/2014/main" id="{3F03B528-BE17-69AF-9D54-165164F69933}"/>
                </a:ext>
              </a:extLst>
            </p:cNvPr>
            <p:cNvGrpSpPr/>
            <p:nvPr/>
          </p:nvGrpSpPr>
          <p:grpSpPr>
            <a:xfrm>
              <a:off x="8636412" y="4229481"/>
              <a:ext cx="75723" cy="75628"/>
              <a:chOff x="8636412" y="4229481"/>
              <a:chExt cx="75723" cy="75628"/>
            </a:xfrm>
          </p:grpSpPr>
          <p:sp>
            <p:nvSpPr>
              <p:cNvPr id="12759" name="Freeform: Shape 12758">
                <a:extLst>
                  <a:ext uri="{FF2B5EF4-FFF2-40B4-BE49-F238E27FC236}">
                    <a16:creationId xmlns:a16="http://schemas.microsoft.com/office/drawing/2014/main" id="{5D5DF6C7-B45C-7901-7E05-A8B986ED3FA9}"/>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60" name="Freeform: Shape 12759">
                <a:extLst>
                  <a:ext uri="{FF2B5EF4-FFF2-40B4-BE49-F238E27FC236}">
                    <a16:creationId xmlns:a16="http://schemas.microsoft.com/office/drawing/2014/main" id="{04C5C20D-D5C0-1930-42B7-43EF72BD0DA2}"/>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5" name="Graphic 112">
              <a:extLst>
                <a:ext uri="{FF2B5EF4-FFF2-40B4-BE49-F238E27FC236}">
                  <a16:creationId xmlns:a16="http://schemas.microsoft.com/office/drawing/2014/main" id="{5F36434F-BF20-BA99-FDDE-E860420D682E}"/>
                </a:ext>
              </a:extLst>
            </p:cNvPr>
            <p:cNvGrpSpPr/>
            <p:nvPr/>
          </p:nvGrpSpPr>
          <p:grpSpPr>
            <a:xfrm>
              <a:off x="8220456" y="4229481"/>
              <a:ext cx="75723" cy="75628"/>
              <a:chOff x="8220456" y="4229481"/>
              <a:chExt cx="75723" cy="75628"/>
            </a:xfrm>
          </p:grpSpPr>
          <p:sp>
            <p:nvSpPr>
              <p:cNvPr id="12757" name="Freeform: Shape 12756">
                <a:extLst>
                  <a:ext uri="{FF2B5EF4-FFF2-40B4-BE49-F238E27FC236}">
                    <a16:creationId xmlns:a16="http://schemas.microsoft.com/office/drawing/2014/main" id="{C650A5D8-312C-C6CE-49B1-F1BF4CE84619}"/>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58" name="Freeform: Shape 12757">
                <a:extLst>
                  <a:ext uri="{FF2B5EF4-FFF2-40B4-BE49-F238E27FC236}">
                    <a16:creationId xmlns:a16="http://schemas.microsoft.com/office/drawing/2014/main" id="{F5EDFB3F-D224-99F7-9D2A-B85E73B43734}"/>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6" name="Graphic 112">
              <a:extLst>
                <a:ext uri="{FF2B5EF4-FFF2-40B4-BE49-F238E27FC236}">
                  <a16:creationId xmlns:a16="http://schemas.microsoft.com/office/drawing/2014/main" id="{A8E9B6BA-0C46-C4A0-9E21-0E7FE197FE78}"/>
                </a:ext>
              </a:extLst>
            </p:cNvPr>
            <p:cNvGrpSpPr/>
            <p:nvPr/>
          </p:nvGrpSpPr>
          <p:grpSpPr>
            <a:xfrm>
              <a:off x="7790307" y="4229481"/>
              <a:ext cx="75723" cy="75628"/>
              <a:chOff x="7790307" y="4229481"/>
              <a:chExt cx="75723" cy="75628"/>
            </a:xfrm>
          </p:grpSpPr>
          <p:sp>
            <p:nvSpPr>
              <p:cNvPr id="12755" name="Freeform: Shape 12754">
                <a:extLst>
                  <a:ext uri="{FF2B5EF4-FFF2-40B4-BE49-F238E27FC236}">
                    <a16:creationId xmlns:a16="http://schemas.microsoft.com/office/drawing/2014/main" id="{47C51021-0D15-1ED2-4738-9E1D2103946B}"/>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56" name="Freeform: Shape 12755">
                <a:extLst>
                  <a:ext uri="{FF2B5EF4-FFF2-40B4-BE49-F238E27FC236}">
                    <a16:creationId xmlns:a16="http://schemas.microsoft.com/office/drawing/2014/main" id="{F4C52041-7EBB-AAB4-0A7C-C08E1D398A35}"/>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7" name="Graphic 112">
              <a:extLst>
                <a:ext uri="{FF2B5EF4-FFF2-40B4-BE49-F238E27FC236}">
                  <a16:creationId xmlns:a16="http://schemas.microsoft.com/office/drawing/2014/main" id="{8E619D94-A7D1-4BB3-F34B-4DD77B5FCE98}"/>
                </a:ext>
              </a:extLst>
            </p:cNvPr>
            <p:cNvGrpSpPr/>
            <p:nvPr/>
          </p:nvGrpSpPr>
          <p:grpSpPr>
            <a:xfrm>
              <a:off x="7330535" y="4205763"/>
              <a:ext cx="75628" cy="75628"/>
              <a:chOff x="7330535" y="4205763"/>
              <a:chExt cx="75628" cy="75628"/>
            </a:xfrm>
          </p:grpSpPr>
          <p:sp>
            <p:nvSpPr>
              <p:cNvPr id="12753" name="Freeform: Shape 12752">
                <a:extLst>
                  <a:ext uri="{FF2B5EF4-FFF2-40B4-BE49-F238E27FC236}">
                    <a16:creationId xmlns:a16="http://schemas.microsoft.com/office/drawing/2014/main" id="{A8555A94-E9F6-DE3B-9960-6894FA8A0E58}"/>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54" name="Freeform: Shape 12753">
                <a:extLst>
                  <a:ext uri="{FF2B5EF4-FFF2-40B4-BE49-F238E27FC236}">
                    <a16:creationId xmlns:a16="http://schemas.microsoft.com/office/drawing/2014/main" id="{50F28661-DF96-A4BC-7AC2-1C88EE122069}"/>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8" name="Graphic 112">
              <a:extLst>
                <a:ext uri="{FF2B5EF4-FFF2-40B4-BE49-F238E27FC236}">
                  <a16:creationId xmlns:a16="http://schemas.microsoft.com/office/drawing/2014/main" id="{4C583BDD-675D-D711-B991-7936E015E6FB}"/>
                </a:ext>
              </a:extLst>
            </p:cNvPr>
            <p:cNvGrpSpPr/>
            <p:nvPr/>
          </p:nvGrpSpPr>
          <p:grpSpPr>
            <a:xfrm>
              <a:off x="7299007" y="4153757"/>
              <a:ext cx="75723" cy="75723"/>
              <a:chOff x="7299007" y="4153757"/>
              <a:chExt cx="75723" cy="75723"/>
            </a:xfrm>
          </p:grpSpPr>
          <p:sp>
            <p:nvSpPr>
              <p:cNvPr id="12751" name="Freeform: Shape 12750">
                <a:extLst>
                  <a:ext uri="{FF2B5EF4-FFF2-40B4-BE49-F238E27FC236}">
                    <a16:creationId xmlns:a16="http://schemas.microsoft.com/office/drawing/2014/main" id="{B36F8A55-7328-53AB-6A4C-00C0880C8920}"/>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52" name="Freeform: Shape 12751">
                <a:extLst>
                  <a:ext uri="{FF2B5EF4-FFF2-40B4-BE49-F238E27FC236}">
                    <a16:creationId xmlns:a16="http://schemas.microsoft.com/office/drawing/2014/main" id="{91A9F268-FB1F-8E07-DA91-5AFD35269B44}"/>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59" name="Graphic 112">
              <a:extLst>
                <a:ext uri="{FF2B5EF4-FFF2-40B4-BE49-F238E27FC236}">
                  <a16:creationId xmlns:a16="http://schemas.microsoft.com/office/drawing/2014/main" id="{073456DF-D229-E2F5-7EBA-EF403C94250B}"/>
                </a:ext>
              </a:extLst>
            </p:cNvPr>
            <p:cNvGrpSpPr/>
            <p:nvPr/>
          </p:nvGrpSpPr>
          <p:grpSpPr>
            <a:xfrm>
              <a:off x="7287482" y="4153757"/>
              <a:ext cx="75723" cy="75723"/>
              <a:chOff x="7287482" y="4153757"/>
              <a:chExt cx="75723" cy="75723"/>
            </a:xfrm>
          </p:grpSpPr>
          <p:sp>
            <p:nvSpPr>
              <p:cNvPr id="12749" name="Freeform: Shape 12748">
                <a:extLst>
                  <a:ext uri="{FF2B5EF4-FFF2-40B4-BE49-F238E27FC236}">
                    <a16:creationId xmlns:a16="http://schemas.microsoft.com/office/drawing/2014/main" id="{851A589C-D0BB-C678-7FD2-C82D6D8786E0}"/>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50" name="Freeform: Shape 12749">
                <a:extLst>
                  <a:ext uri="{FF2B5EF4-FFF2-40B4-BE49-F238E27FC236}">
                    <a16:creationId xmlns:a16="http://schemas.microsoft.com/office/drawing/2014/main" id="{9AFAA886-97FA-6FD9-56B9-46CCFE5432E9}"/>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0" name="Graphic 112">
              <a:extLst>
                <a:ext uri="{FF2B5EF4-FFF2-40B4-BE49-F238E27FC236}">
                  <a16:creationId xmlns:a16="http://schemas.microsoft.com/office/drawing/2014/main" id="{9F42944E-2A87-503D-18EA-1444C7529304}"/>
                </a:ext>
              </a:extLst>
            </p:cNvPr>
            <p:cNvGrpSpPr/>
            <p:nvPr/>
          </p:nvGrpSpPr>
          <p:grpSpPr>
            <a:xfrm>
              <a:off x="7312437" y="4153757"/>
              <a:ext cx="75723" cy="75723"/>
              <a:chOff x="7312437" y="4153757"/>
              <a:chExt cx="75723" cy="75723"/>
            </a:xfrm>
          </p:grpSpPr>
          <p:sp>
            <p:nvSpPr>
              <p:cNvPr id="12747" name="Freeform: Shape 12746">
                <a:extLst>
                  <a:ext uri="{FF2B5EF4-FFF2-40B4-BE49-F238E27FC236}">
                    <a16:creationId xmlns:a16="http://schemas.microsoft.com/office/drawing/2014/main" id="{5014B590-13AA-C8AB-7BB5-D285980269C6}"/>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48" name="Freeform: Shape 12747">
                <a:extLst>
                  <a:ext uri="{FF2B5EF4-FFF2-40B4-BE49-F238E27FC236}">
                    <a16:creationId xmlns:a16="http://schemas.microsoft.com/office/drawing/2014/main" id="{00EDFD2C-460E-565A-FBA1-C1C882D59E77}"/>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1" name="Graphic 112">
              <a:extLst>
                <a:ext uri="{FF2B5EF4-FFF2-40B4-BE49-F238E27FC236}">
                  <a16:creationId xmlns:a16="http://schemas.microsoft.com/office/drawing/2014/main" id="{5174FB47-BC13-DA2C-1E26-4A0D5C441353}"/>
                </a:ext>
              </a:extLst>
            </p:cNvPr>
            <p:cNvGrpSpPr/>
            <p:nvPr/>
          </p:nvGrpSpPr>
          <p:grpSpPr>
            <a:xfrm>
              <a:off x="7002399" y="4135183"/>
              <a:ext cx="75628" cy="75723"/>
              <a:chOff x="7002399" y="4135183"/>
              <a:chExt cx="75628" cy="75723"/>
            </a:xfrm>
          </p:grpSpPr>
          <p:sp>
            <p:nvSpPr>
              <p:cNvPr id="12745" name="Freeform: Shape 12744">
                <a:extLst>
                  <a:ext uri="{FF2B5EF4-FFF2-40B4-BE49-F238E27FC236}">
                    <a16:creationId xmlns:a16="http://schemas.microsoft.com/office/drawing/2014/main" id="{F2C3FB6D-8B8D-B899-690D-37581D4E95CF}"/>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46" name="Freeform: Shape 12745">
                <a:extLst>
                  <a:ext uri="{FF2B5EF4-FFF2-40B4-BE49-F238E27FC236}">
                    <a16:creationId xmlns:a16="http://schemas.microsoft.com/office/drawing/2014/main" id="{DAE83CDD-37D5-30E4-29C7-04A12635CC1D}"/>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2" name="Graphic 112">
              <a:extLst>
                <a:ext uri="{FF2B5EF4-FFF2-40B4-BE49-F238E27FC236}">
                  <a16:creationId xmlns:a16="http://schemas.microsoft.com/office/drawing/2014/main" id="{19C0E972-6886-91F4-EDB6-C7DC34E06538}"/>
                </a:ext>
              </a:extLst>
            </p:cNvPr>
            <p:cNvGrpSpPr/>
            <p:nvPr/>
          </p:nvGrpSpPr>
          <p:grpSpPr>
            <a:xfrm>
              <a:off x="6947344" y="4111847"/>
              <a:ext cx="75723" cy="75628"/>
              <a:chOff x="6947344" y="4111847"/>
              <a:chExt cx="75723" cy="75628"/>
            </a:xfrm>
          </p:grpSpPr>
          <p:sp>
            <p:nvSpPr>
              <p:cNvPr id="12743" name="Freeform: Shape 12742">
                <a:extLst>
                  <a:ext uri="{FF2B5EF4-FFF2-40B4-BE49-F238E27FC236}">
                    <a16:creationId xmlns:a16="http://schemas.microsoft.com/office/drawing/2014/main" id="{BE4763EC-02FC-2CDD-398B-EC033199FCC0}"/>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44" name="Freeform: Shape 12743">
                <a:extLst>
                  <a:ext uri="{FF2B5EF4-FFF2-40B4-BE49-F238E27FC236}">
                    <a16:creationId xmlns:a16="http://schemas.microsoft.com/office/drawing/2014/main" id="{2B3029B3-FAD4-0795-BCAF-BDD44118FAD2}"/>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3" name="Graphic 112">
              <a:extLst>
                <a:ext uri="{FF2B5EF4-FFF2-40B4-BE49-F238E27FC236}">
                  <a16:creationId xmlns:a16="http://schemas.microsoft.com/office/drawing/2014/main" id="{48B78952-7307-AB51-9F52-C9787EC18989}"/>
                </a:ext>
              </a:extLst>
            </p:cNvPr>
            <p:cNvGrpSpPr/>
            <p:nvPr/>
          </p:nvGrpSpPr>
          <p:grpSpPr>
            <a:xfrm>
              <a:off x="6928199" y="4090987"/>
              <a:ext cx="75723" cy="75723"/>
              <a:chOff x="6928199" y="4090987"/>
              <a:chExt cx="75723" cy="75723"/>
            </a:xfrm>
          </p:grpSpPr>
          <p:sp>
            <p:nvSpPr>
              <p:cNvPr id="12741" name="Freeform: Shape 12740">
                <a:extLst>
                  <a:ext uri="{FF2B5EF4-FFF2-40B4-BE49-F238E27FC236}">
                    <a16:creationId xmlns:a16="http://schemas.microsoft.com/office/drawing/2014/main" id="{6E88A13A-61C0-7D6D-4A55-85F0EADBCEDD}"/>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42" name="Freeform: Shape 12741">
                <a:extLst>
                  <a:ext uri="{FF2B5EF4-FFF2-40B4-BE49-F238E27FC236}">
                    <a16:creationId xmlns:a16="http://schemas.microsoft.com/office/drawing/2014/main" id="{77D34DE7-4492-CA9A-78AE-724C8F46245F}"/>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4" name="Graphic 112">
              <a:extLst>
                <a:ext uri="{FF2B5EF4-FFF2-40B4-BE49-F238E27FC236}">
                  <a16:creationId xmlns:a16="http://schemas.microsoft.com/office/drawing/2014/main" id="{5AFA881E-772D-4A96-B601-CBFFDA501E4E}"/>
                </a:ext>
              </a:extLst>
            </p:cNvPr>
            <p:cNvGrpSpPr/>
            <p:nvPr/>
          </p:nvGrpSpPr>
          <p:grpSpPr>
            <a:xfrm>
              <a:off x="6912959" y="4073937"/>
              <a:ext cx="75723" cy="75723"/>
              <a:chOff x="6912959" y="4073937"/>
              <a:chExt cx="75723" cy="75723"/>
            </a:xfrm>
          </p:grpSpPr>
          <p:sp>
            <p:nvSpPr>
              <p:cNvPr id="12739" name="Freeform: Shape 12738">
                <a:extLst>
                  <a:ext uri="{FF2B5EF4-FFF2-40B4-BE49-F238E27FC236}">
                    <a16:creationId xmlns:a16="http://schemas.microsoft.com/office/drawing/2014/main" id="{A7F4DD71-0D1A-EFB4-120F-76DC5F48AC4D}"/>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40" name="Freeform: Shape 12739">
                <a:extLst>
                  <a:ext uri="{FF2B5EF4-FFF2-40B4-BE49-F238E27FC236}">
                    <a16:creationId xmlns:a16="http://schemas.microsoft.com/office/drawing/2014/main" id="{039BA7B9-DE18-BE92-72D4-5C9E90C566DA}"/>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5" name="Graphic 112">
              <a:extLst>
                <a:ext uri="{FF2B5EF4-FFF2-40B4-BE49-F238E27FC236}">
                  <a16:creationId xmlns:a16="http://schemas.microsoft.com/office/drawing/2014/main" id="{F9542B34-66B8-B2CB-43B1-7FC25DB89F59}"/>
                </a:ext>
              </a:extLst>
            </p:cNvPr>
            <p:cNvGrpSpPr/>
            <p:nvPr/>
          </p:nvGrpSpPr>
          <p:grpSpPr>
            <a:xfrm>
              <a:off x="6895338" y="4053173"/>
              <a:ext cx="75723" cy="75628"/>
              <a:chOff x="6895338" y="4053173"/>
              <a:chExt cx="75723" cy="75628"/>
            </a:xfrm>
          </p:grpSpPr>
          <p:sp>
            <p:nvSpPr>
              <p:cNvPr id="12737" name="Freeform: Shape 12736">
                <a:extLst>
                  <a:ext uri="{FF2B5EF4-FFF2-40B4-BE49-F238E27FC236}">
                    <a16:creationId xmlns:a16="http://schemas.microsoft.com/office/drawing/2014/main" id="{09174082-7B3C-D73E-9912-BEB1ABF97194}"/>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38" name="Freeform: Shape 12737">
                <a:extLst>
                  <a:ext uri="{FF2B5EF4-FFF2-40B4-BE49-F238E27FC236}">
                    <a16:creationId xmlns:a16="http://schemas.microsoft.com/office/drawing/2014/main" id="{DDC41104-0391-2936-432B-C1222915802D}"/>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6" name="Graphic 112">
              <a:extLst>
                <a:ext uri="{FF2B5EF4-FFF2-40B4-BE49-F238E27FC236}">
                  <a16:creationId xmlns:a16="http://schemas.microsoft.com/office/drawing/2014/main" id="{BD641E68-0FF9-BA60-F354-28ABAAAE9EB6}"/>
                </a:ext>
              </a:extLst>
            </p:cNvPr>
            <p:cNvGrpSpPr/>
            <p:nvPr/>
          </p:nvGrpSpPr>
          <p:grpSpPr>
            <a:xfrm>
              <a:off x="6501574" y="4015263"/>
              <a:ext cx="75628" cy="75723"/>
              <a:chOff x="6501574" y="4015263"/>
              <a:chExt cx="75628" cy="75723"/>
            </a:xfrm>
          </p:grpSpPr>
          <p:sp>
            <p:nvSpPr>
              <p:cNvPr id="12735" name="Freeform: Shape 12734">
                <a:extLst>
                  <a:ext uri="{FF2B5EF4-FFF2-40B4-BE49-F238E27FC236}">
                    <a16:creationId xmlns:a16="http://schemas.microsoft.com/office/drawing/2014/main" id="{8FF45141-DF7A-5B75-E8B6-7C7DA18EE78A}"/>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36" name="Freeform: Shape 12735">
                <a:extLst>
                  <a:ext uri="{FF2B5EF4-FFF2-40B4-BE49-F238E27FC236}">
                    <a16:creationId xmlns:a16="http://schemas.microsoft.com/office/drawing/2014/main" id="{E1A9F26F-BCCE-D46E-E220-A38036968BC9}"/>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7" name="Graphic 112">
              <a:extLst>
                <a:ext uri="{FF2B5EF4-FFF2-40B4-BE49-F238E27FC236}">
                  <a16:creationId xmlns:a16="http://schemas.microsoft.com/office/drawing/2014/main" id="{347C1129-4806-D24D-0C30-B875F01E5C15}"/>
                </a:ext>
              </a:extLst>
            </p:cNvPr>
            <p:cNvGrpSpPr/>
            <p:nvPr/>
          </p:nvGrpSpPr>
          <p:grpSpPr>
            <a:xfrm>
              <a:off x="6483000" y="3998309"/>
              <a:ext cx="75723" cy="75628"/>
              <a:chOff x="6483000" y="3998309"/>
              <a:chExt cx="75723" cy="75628"/>
            </a:xfrm>
          </p:grpSpPr>
          <p:sp>
            <p:nvSpPr>
              <p:cNvPr id="12733" name="Freeform: Shape 12732">
                <a:extLst>
                  <a:ext uri="{FF2B5EF4-FFF2-40B4-BE49-F238E27FC236}">
                    <a16:creationId xmlns:a16="http://schemas.microsoft.com/office/drawing/2014/main" id="{50A97E03-0C5F-7B79-EAAF-086D35E79F08}"/>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34" name="Freeform: Shape 12733">
                <a:extLst>
                  <a:ext uri="{FF2B5EF4-FFF2-40B4-BE49-F238E27FC236}">
                    <a16:creationId xmlns:a16="http://schemas.microsoft.com/office/drawing/2014/main" id="{1631E025-9B1E-3040-0005-3CC23E2C1C3A}"/>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8" name="Graphic 112">
              <a:extLst>
                <a:ext uri="{FF2B5EF4-FFF2-40B4-BE49-F238E27FC236}">
                  <a16:creationId xmlns:a16="http://schemas.microsoft.com/office/drawing/2014/main" id="{31715A93-6194-3185-2DA2-818598CA9C7D}"/>
                </a:ext>
              </a:extLst>
            </p:cNvPr>
            <p:cNvGrpSpPr/>
            <p:nvPr/>
          </p:nvGrpSpPr>
          <p:grpSpPr>
            <a:xfrm>
              <a:off x="6468141" y="3980021"/>
              <a:ext cx="75628" cy="75723"/>
              <a:chOff x="6468141" y="3980021"/>
              <a:chExt cx="75628" cy="75723"/>
            </a:xfrm>
          </p:grpSpPr>
          <p:sp>
            <p:nvSpPr>
              <p:cNvPr id="12731" name="Freeform: Shape 12730">
                <a:extLst>
                  <a:ext uri="{FF2B5EF4-FFF2-40B4-BE49-F238E27FC236}">
                    <a16:creationId xmlns:a16="http://schemas.microsoft.com/office/drawing/2014/main" id="{553A1579-A8CB-C31C-F0C4-F47EE69923B6}"/>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32" name="Freeform: Shape 12731">
                <a:extLst>
                  <a:ext uri="{FF2B5EF4-FFF2-40B4-BE49-F238E27FC236}">
                    <a16:creationId xmlns:a16="http://schemas.microsoft.com/office/drawing/2014/main" id="{925619A8-B9E5-A068-9A39-25600F4BD37D}"/>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69" name="Graphic 112">
              <a:extLst>
                <a:ext uri="{FF2B5EF4-FFF2-40B4-BE49-F238E27FC236}">
                  <a16:creationId xmlns:a16="http://schemas.microsoft.com/office/drawing/2014/main" id="{7AC656F9-69EE-6417-B86C-520998497B14}"/>
                </a:ext>
              </a:extLst>
            </p:cNvPr>
            <p:cNvGrpSpPr/>
            <p:nvPr/>
          </p:nvGrpSpPr>
          <p:grpSpPr>
            <a:xfrm>
              <a:off x="6095714" y="3871245"/>
              <a:ext cx="75723" cy="75628"/>
              <a:chOff x="6095714" y="3871245"/>
              <a:chExt cx="75723" cy="75628"/>
            </a:xfrm>
          </p:grpSpPr>
          <p:sp>
            <p:nvSpPr>
              <p:cNvPr id="12729" name="Freeform: Shape 12728">
                <a:extLst>
                  <a:ext uri="{FF2B5EF4-FFF2-40B4-BE49-F238E27FC236}">
                    <a16:creationId xmlns:a16="http://schemas.microsoft.com/office/drawing/2014/main" id="{187942E5-91B0-552A-A59A-27989E6AD112}"/>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30" name="Freeform: Shape 12729">
                <a:extLst>
                  <a:ext uri="{FF2B5EF4-FFF2-40B4-BE49-F238E27FC236}">
                    <a16:creationId xmlns:a16="http://schemas.microsoft.com/office/drawing/2014/main" id="{9CDFCCF7-4B85-2444-50D9-96AAF9753286}"/>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0" name="Graphic 112">
              <a:extLst>
                <a:ext uri="{FF2B5EF4-FFF2-40B4-BE49-F238E27FC236}">
                  <a16:creationId xmlns:a16="http://schemas.microsoft.com/office/drawing/2014/main" id="{A4727EC5-AAF1-BA1E-5921-26B69878B02E}"/>
                </a:ext>
              </a:extLst>
            </p:cNvPr>
            <p:cNvGrpSpPr/>
            <p:nvPr/>
          </p:nvGrpSpPr>
          <p:grpSpPr>
            <a:xfrm>
              <a:off x="6059995" y="3862673"/>
              <a:ext cx="75723" cy="75723"/>
              <a:chOff x="6059995" y="3862673"/>
              <a:chExt cx="75723" cy="75723"/>
            </a:xfrm>
          </p:grpSpPr>
          <p:sp>
            <p:nvSpPr>
              <p:cNvPr id="12727" name="Freeform: Shape 12726">
                <a:extLst>
                  <a:ext uri="{FF2B5EF4-FFF2-40B4-BE49-F238E27FC236}">
                    <a16:creationId xmlns:a16="http://schemas.microsoft.com/office/drawing/2014/main" id="{32DDA598-126E-4BC3-78D1-2643A4D2AB00}"/>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28" name="Freeform: Shape 12727">
                <a:extLst>
                  <a:ext uri="{FF2B5EF4-FFF2-40B4-BE49-F238E27FC236}">
                    <a16:creationId xmlns:a16="http://schemas.microsoft.com/office/drawing/2014/main" id="{EEB675C2-E01A-145A-6C51-D2F943F3AFF1}"/>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1" name="Graphic 112">
              <a:extLst>
                <a:ext uri="{FF2B5EF4-FFF2-40B4-BE49-F238E27FC236}">
                  <a16:creationId xmlns:a16="http://schemas.microsoft.com/office/drawing/2014/main" id="{6E671350-D813-3211-D764-9CF7FBD959B2}"/>
                </a:ext>
              </a:extLst>
            </p:cNvPr>
            <p:cNvGrpSpPr/>
            <p:nvPr/>
          </p:nvGrpSpPr>
          <p:grpSpPr>
            <a:xfrm>
              <a:off x="6072282" y="3867531"/>
              <a:ext cx="75723" cy="75723"/>
              <a:chOff x="6072282" y="3867531"/>
              <a:chExt cx="75723" cy="75723"/>
            </a:xfrm>
          </p:grpSpPr>
          <p:sp>
            <p:nvSpPr>
              <p:cNvPr id="12725" name="Freeform: Shape 12724">
                <a:extLst>
                  <a:ext uri="{FF2B5EF4-FFF2-40B4-BE49-F238E27FC236}">
                    <a16:creationId xmlns:a16="http://schemas.microsoft.com/office/drawing/2014/main" id="{C80A4920-FCA0-8308-60F6-21CBA7D79EE8}"/>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26" name="Freeform: Shape 12725">
                <a:extLst>
                  <a:ext uri="{FF2B5EF4-FFF2-40B4-BE49-F238E27FC236}">
                    <a16:creationId xmlns:a16="http://schemas.microsoft.com/office/drawing/2014/main" id="{7958467A-A03E-2224-2E8A-02540C131E99}"/>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2" name="Graphic 112">
              <a:extLst>
                <a:ext uri="{FF2B5EF4-FFF2-40B4-BE49-F238E27FC236}">
                  <a16:creationId xmlns:a16="http://schemas.microsoft.com/office/drawing/2014/main" id="{376A02BC-63BF-AAEE-D737-AD34EB734D5A}"/>
                </a:ext>
              </a:extLst>
            </p:cNvPr>
            <p:cNvGrpSpPr/>
            <p:nvPr/>
          </p:nvGrpSpPr>
          <p:grpSpPr>
            <a:xfrm>
              <a:off x="6045422" y="3850862"/>
              <a:ext cx="75628" cy="75628"/>
              <a:chOff x="6045422" y="3850862"/>
              <a:chExt cx="75628" cy="75628"/>
            </a:xfrm>
          </p:grpSpPr>
          <p:sp>
            <p:nvSpPr>
              <p:cNvPr id="12723" name="Freeform: Shape 12722">
                <a:extLst>
                  <a:ext uri="{FF2B5EF4-FFF2-40B4-BE49-F238E27FC236}">
                    <a16:creationId xmlns:a16="http://schemas.microsoft.com/office/drawing/2014/main" id="{E2F6E640-2B0E-E0BB-7063-537F456E66A4}"/>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24" name="Freeform: Shape 12723">
                <a:extLst>
                  <a:ext uri="{FF2B5EF4-FFF2-40B4-BE49-F238E27FC236}">
                    <a16:creationId xmlns:a16="http://schemas.microsoft.com/office/drawing/2014/main" id="{744158A3-48AC-63DF-5B89-B89C1904E2CC}"/>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3" name="Graphic 112">
              <a:extLst>
                <a:ext uri="{FF2B5EF4-FFF2-40B4-BE49-F238E27FC236}">
                  <a16:creationId xmlns:a16="http://schemas.microsoft.com/office/drawing/2014/main" id="{19CECEA2-6575-12E3-69BC-FBD374517B6A}"/>
                </a:ext>
              </a:extLst>
            </p:cNvPr>
            <p:cNvGrpSpPr/>
            <p:nvPr/>
          </p:nvGrpSpPr>
          <p:grpSpPr>
            <a:xfrm>
              <a:off x="6034468" y="3840670"/>
              <a:ext cx="75723" cy="75723"/>
              <a:chOff x="6034468" y="3840670"/>
              <a:chExt cx="75723" cy="75723"/>
            </a:xfrm>
          </p:grpSpPr>
          <p:sp>
            <p:nvSpPr>
              <p:cNvPr id="12721" name="Freeform: Shape 12720">
                <a:extLst>
                  <a:ext uri="{FF2B5EF4-FFF2-40B4-BE49-F238E27FC236}">
                    <a16:creationId xmlns:a16="http://schemas.microsoft.com/office/drawing/2014/main" id="{E22F1B2B-8934-029F-219A-8103EA4009AD}"/>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22" name="Freeform: Shape 12721">
                <a:extLst>
                  <a:ext uri="{FF2B5EF4-FFF2-40B4-BE49-F238E27FC236}">
                    <a16:creationId xmlns:a16="http://schemas.microsoft.com/office/drawing/2014/main" id="{058F2DC9-9889-F453-2E0D-D916AC0B16A8}"/>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4" name="Graphic 112">
              <a:extLst>
                <a:ext uri="{FF2B5EF4-FFF2-40B4-BE49-F238E27FC236}">
                  <a16:creationId xmlns:a16="http://schemas.microsoft.com/office/drawing/2014/main" id="{D376AC64-1B91-9DA2-31F7-6D45C6F86F5C}"/>
                </a:ext>
              </a:extLst>
            </p:cNvPr>
            <p:cNvGrpSpPr/>
            <p:nvPr/>
          </p:nvGrpSpPr>
          <p:grpSpPr>
            <a:xfrm>
              <a:off x="6025324" y="3833336"/>
              <a:ext cx="75723" cy="75723"/>
              <a:chOff x="6025324" y="3833336"/>
              <a:chExt cx="75723" cy="75723"/>
            </a:xfrm>
          </p:grpSpPr>
          <p:sp>
            <p:nvSpPr>
              <p:cNvPr id="12719" name="Freeform: Shape 12718">
                <a:extLst>
                  <a:ext uri="{FF2B5EF4-FFF2-40B4-BE49-F238E27FC236}">
                    <a16:creationId xmlns:a16="http://schemas.microsoft.com/office/drawing/2014/main" id="{096E7157-F026-430E-1D25-0F71BEB7FDCF}"/>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20" name="Freeform: Shape 12719">
                <a:extLst>
                  <a:ext uri="{FF2B5EF4-FFF2-40B4-BE49-F238E27FC236}">
                    <a16:creationId xmlns:a16="http://schemas.microsoft.com/office/drawing/2014/main" id="{D38E4962-D15B-4D95-951E-E52AC0B66E98}"/>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5" name="Graphic 112">
              <a:extLst>
                <a:ext uri="{FF2B5EF4-FFF2-40B4-BE49-F238E27FC236}">
                  <a16:creationId xmlns:a16="http://schemas.microsoft.com/office/drawing/2014/main" id="{0103089D-841B-46CA-00E5-B669313EE845}"/>
                </a:ext>
              </a:extLst>
            </p:cNvPr>
            <p:cNvGrpSpPr/>
            <p:nvPr/>
          </p:nvGrpSpPr>
          <p:grpSpPr>
            <a:xfrm>
              <a:off x="6015037" y="3806571"/>
              <a:ext cx="75628" cy="75723"/>
              <a:chOff x="6015037" y="3806571"/>
              <a:chExt cx="75628" cy="75723"/>
            </a:xfrm>
          </p:grpSpPr>
          <p:sp>
            <p:nvSpPr>
              <p:cNvPr id="12717" name="Freeform: Shape 12716">
                <a:extLst>
                  <a:ext uri="{FF2B5EF4-FFF2-40B4-BE49-F238E27FC236}">
                    <a16:creationId xmlns:a16="http://schemas.microsoft.com/office/drawing/2014/main" id="{627FEF5F-5021-EF52-EF37-6D234E8BA216}"/>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18" name="Freeform: Shape 12717">
                <a:extLst>
                  <a:ext uri="{FF2B5EF4-FFF2-40B4-BE49-F238E27FC236}">
                    <a16:creationId xmlns:a16="http://schemas.microsoft.com/office/drawing/2014/main" id="{81F4571D-120B-1E8A-75ED-C5334AAA1373}"/>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6" name="Graphic 112">
              <a:extLst>
                <a:ext uri="{FF2B5EF4-FFF2-40B4-BE49-F238E27FC236}">
                  <a16:creationId xmlns:a16="http://schemas.microsoft.com/office/drawing/2014/main" id="{82DEA2F1-042E-757F-C984-E6D8EA5B8B44}"/>
                </a:ext>
              </a:extLst>
            </p:cNvPr>
            <p:cNvGrpSpPr/>
            <p:nvPr/>
          </p:nvGrpSpPr>
          <p:grpSpPr>
            <a:xfrm>
              <a:off x="5953029" y="3802856"/>
              <a:ext cx="75628" cy="75628"/>
              <a:chOff x="5953029" y="3802856"/>
              <a:chExt cx="75628" cy="75628"/>
            </a:xfrm>
          </p:grpSpPr>
          <p:sp>
            <p:nvSpPr>
              <p:cNvPr id="12715" name="Freeform: Shape 12714">
                <a:extLst>
                  <a:ext uri="{FF2B5EF4-FFF2-40B4-BE49-F238E27FC236}">
                    <a16:creationId xmlns:a16="http://schemas.microsoft.com/office/drawing/2014/main" id="{9D97DE49-95A2-1AD9-138A-A3B0FA4D26B7}"/>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16" name="Freeform: Shape 12715">
                <a:extLst>
                  <a:ext uri="{FF2B5EF4-FFF2-40B4-BE49-F238E27FC236}">
                    <a16:creationId xmlns:a16="http://schemas.microsoft.com/office/drawing/2014/main" id="{1FB7749C-9F21-9A67-0415-EF561A842F32}"/>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7" name="Graphic 112">
              <a:extLst>
                <a:ext uri="{FF2B5EF4-FFF2-40B4-BE49-F238E27FC236}">
                  <a16:creationId xmlns:a16="http://schemas.microsoft.com/office/drawing/2014/main" id="{1C4E65AE-2816-69E6-D74C-756CD3D9C786}"/>
                </a:ext>
              </a:extLst>
            </p:cNvPr>
            <p:cNvGrpSpPr/>
            <p:nvPr/>
          </p:nvGrpSpPr>
          <p:grpSpPr>
            <a:xfrm>
              <a:off x="5999130" y="3806571"/>
              <a:ext cx="75723" cy="75723"/>
              <a:chOff x="5999130" y="3806571"/>
              <a:chExt cx="75723" cy="75723"/>
            </a:xfrm>
          </p:grpSpPr>
          <p:sp>
            <p:nvSpPr>
              <p:cNvPr id="12713" name="Freeform: Shape 12712">
                <a:extLst>
                  <a:ext uri="{FF2B5EF4-FFF2-40B4-BE49-F238E27FC236}">
                    <a16:creationId xmlns:a16="http://schemas.microsoft.com/office/drawing/2014/main" id="{ECF8D68B-A1D5-E292-D79B-8C9A1577C4E9}"/>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14" name="Freeform: Shape 12713">
                <a:extLst>
                  <a:ext uri="{FF2B5EF4-FFF2-40B4-BE49-F238E27FC236}">
                    <a16:creationId xmlns:a16="http://schemas.microsoft.com/office/drawing/2014/main" id="{2395ED83-3FEE-8D13-8E54-E75BDA92A2AC}"/>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8" name="Graphic 112">
              <a:extLst>
                <a:ext uri="{FF2B5EF4-FFF2-40B4-BE49-F238E27FC236}">
                  <a16:creationId xmlns:a16="http://schemas.microsoft.com/office/drawing/2014/main" id="{467C2EBB-49D1-5BAA-4BE0-40BBEF9F7142}"/>
                </a:ext>
              </a:extLst>
            </p:cNvPr>
            <p:cNvGrpSpPr/>
            <p:nvPr/>
          </p:nvGrpSpPr>
          <p:grpSpPr>
            <a:xfrm>
              <a:off x="5553551" y="3678459"/>
              <a:ext cx="75723" cy="75723"/>
              <a:chOff x="5553551" y="3678459"/>
              <a:chExt cx="75723" cy="75723"/>
            </a:xfrm>
          </p:grpSpPr>
          <p:sp>
            <p:nvSpPr>
              <p:cNvPr id="12711" name="Freeform: Shape 12710">
                <a:extLst>
                  <a:ext uri="{FF2B5EF4-FFF2-40B4-BE49-F238E27FC236}">
                    <a16:creationId xmlns:a16="http://schemas.microsoft.com/office/drawing/2014/main" id="{0347EF79-1BC3-6380-B3E0-819CBACA2C77}"/>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12" name="Freeform: Shape 12711">
                <a:extLst>
                  <a:ext uri="{FF2B5EF4-FFF2-40B4-BE49-F238E27FC236}">
                    <a16:creationId xmlns:a16="http://schemas.microsoft.com/office/drawing/2014/main" id="{7117B581-75C8-FA6F-E6B8-813795331656}"/>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79" name="Graphic 112">
              <a:extLst>
                <a:ext uri="{FF2B5EF4-FFF2-40B4-BE49-F238E27FC236}">
                  <a16:creationId xmlns:a16="http://schemas.microsoft.com/office/drawing/2014/main" id="{5039D31E-2ED5-CC60-2958-CE48E9E84F6B}"/>
                </a:ext>
              </a:extLst>
            </p:cNvPr>
            <p:cNvGrpSpPr/>
            <p:nvPr/>
          </p:nvGrpSpPr>
          <p:grpSpPr>
            <a:xfrm>
              <a:off x="5569362" y="3685794"/>
              <a:ext cx="75723" cy="75628"/>
              <a:chOff x="5569362" y="3685794"/>
              <a:chExt cx="75723" cy="75628"/>
            </a:xfrm>
          </p:grpSpPr>
          <p:sp>
            <p:nvSpPr>
              <p:cNvPr id="12709" name="Freeform: Shape 12708">
                <a:extLst>
                  <a:ext uri="{FF2B5EF4-FFF2-40B4-BE49-F238E27FC236}">
                    <a16:creationId xmlns:a16="http://schemas.microsoft.com/office/drawing/2014/main" id="{C5B989A1-EA62-5596-C56D-81C23EC41343}"/>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10" name="Freeform: Shape 12709">
                <a:extLst>
                  <a:ext uri="{FF2B5EF4-FFF2-40B4-BE49-F238E27FC236}">
                    <a16:creationId xmlns:a16="http://schemas.microsoft.com/office/drawing/2014/main" id="{F332FBF9-5C0F-F8F4-58FC-933D002F419C}"/>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0" name="Graphic 112">
              <a:extLst>
                <a:ext uri="{FF2B5EF4-FFF2-40B4-BE49-F238E27FC236}">
                  <a16:creationId xmlns:a16="http://schemas.microsoft.com/office/drawing/2014/main" id="{BEA8B1C0-69F7-5F54-930A-6B943EF15671}"/>
                </a:ext>
              </a:extLst>
            </p:cNvPr>
            <p:cNvGrpSpPr/>
            <p:nvPr/>
          </p:nvGrpSpPr>
          <p:grpSpPr>
            <a:xfrm>
              <a:off x="5586412" y="3694271"/>
              <a:ext cx="75628" cy="75723"/>
              <a:chOff x="5586412" y="3694271"/>
              <a:chExt cx="75628" cy="75723"/>
            </a:xfrm>
          </p:grpSpPr>
          <p:sp>
            <p:nvSpPr>
              <p:cNvPr id="12707" name="Freeform: Shape 12706">
                <a:extLst>
                  <a:ext uri="{FF2B5EF4-FFF2-40B4-BE49-F238E27FC236}">
                    <a16:creationId xmlns:a16="http://schemas.microsoft.com/office/drawing/2014/main" id="{963F9A9E-CA00-5D7E-54EC-C68F8D622826}"/>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08" name="Freeform: Shape 12707">
                <a:extLst>
                  <a:ext uri="{FF2B5EF4-FFF2-40B4-BE49-F238E27FC236}">
                    <a16:creationId xmlns:a16="http://schemas.microsoft.com/office/drawing/2014/main" id="{0FDB462A-1FD4-2993-8B56-097E3DFDEF3B}"/>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1" name="Graphic 112">
              <a:extLst>
                <a:ext uri="{FF2B5EF4-FFF2-40B4-BE49-F238E27FC236}">
                  <a16:creationId xmlns:a16="http://schemas.microsoft.com/office/drawing/2014/main" id="{23A288F9-C347-6892-6CD5-1FB1D65701E4}"/>
                </a:ext>
              </a:extLst>
            </p:cNvPr>
            <p:cNvGrpSpPr/>
            <p:nvPr/>
          </p:nvGrpSpPr>
          <p:grpSpPr>
            <a:xfrm>
              <a:off x="5599176" y="3699414"/>
              <a:ext cx="75628" cy="75723"/>
              <a:chOff x="5599176" y="3699414"/>
              <a:chExt cx="75628" cy="75723"/>
            </a:xfrm>
          </p:grpSpPr>
          <p:sp>
            <p:nvSpPr>
              <p:cNvPr id="12705" name="Freeform: Shape 12704">
                <a:extLst>
                  <a:ext uri="{FF2B5EF4-FFF2-40B4-BE49-F238E27FC236}">
                    <a16:creationId xmlns:a16="http://schemas.microsoft.com/office/drawing/2014/main" id="{A6D8B80B-3DBB-8978-453E-2C00828CA9F0}"/>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06" name="Freeform: Shape 12705">
                <a:extLst>
                  <a:ext uri="{FF2B5EF4-FFF2-40B4-BE49-F238E27FC236}">
                    <a16:creationId xmlns:a16="http://schemas.microsoft.com/office/drawing/2014/main" id="{0E7F6EA8-897F-0E6A-AFF9-A4D16CE6695F}"/>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2" name="Graphic 112">
              <a:extLst>
                <a:ext uri="{FF2B5EF4-FFF2-40B4-BE49-F238E27FC236}">
                  <a16:creationId xmlns:a16="http://schemas.microsoft.com/office/drawing/2014/main" id="{5D5C3C6F-F02A-6F02-2862-1CF912EB8B7B}"/>
                </a:ext>
              </a:extLst>
            </p:cNvPr>
            <p:cNvGrpSpPr/>
            <p:nvPr/>
          </p:nvGrpSpPr>
          <p:grpSpPr>
            <a:xfrm>
              <a:off x="5610701" y="3709130"/>
              <a:ext cx="75723" cy="75723"/>
              <a:chOff x="5610701" y="3709130"/>
              <a:chExt cx="75723" cy="75723"/>
            </a:xfrm>
          </p:grpSpPr>
          <p:sp>
            <p:nvSpPr>
              <p:cNvPr id="12703" name="Freeform: Shape 12702">
                <a:extLst>
                  <a:ext uri="{FF2B5EF4-FFF2-40B4-BE49-F238E27FC236}">
                    <a16:creationId xmlns:a16="http://schemas.microsoft.com/office/drawing/2014/main" id="{C259686B-D95F-2C00-A30B-A56AB74EF1DE}"/>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04" name="Freeform: Shape 12703">
                <a:extLst>
                  <a:ext uri="{FF2B5EF4-FFF2-40B4-BE49-F238E27FC236}">
                    <a16:creationId xmlns:a16="http://schemas.microsoft.com/office/drawing/2014/main" id="{070A3CA6-1059-F5D6-5DAF-C8DA886261E5}"/>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3" name="Graphic 112">
              <a:extLst>
                <a:ext uri="{FF2B5EF4-FFF2-40B4-BE49-F238E27FC236}">
                  <a16:creationId xmlns:a16="http://schemas.microsoft.com/office/drawing/2014/main" id="{0E8A8E6D-2259-2E92-8E5C-5011F0212C28}"/>
                </a:ext>
              </a:extLst>
            </p:cNvPr>
            <p:cNvGrpSpPr/>
            <p:nvPr/>
          </p:nvGrpSpPr>
          <p:grpSpPr>
            <a:xfrm>
              <a:off x="5619845" y="3716274"/>
              <a:ext cx="75628" cy="75723"/>
              <a:chOff x="5619845" y="3716274"/>
              <a:chExt cx="75628" cy="75723"/>
            </a:xfrm>
          </p:grpSpPr>
          <p:sp>
            <p:nvSpPr>
              <p:cNvPr id="12701" name="Freeform: Shape 12700">
                <a:extLst>
                  <a:ext uri="{FF2B5EF4-FFF2-40B4-BE49-F238E27FC236}">
                    <a16:creationId xmlns:a16="http://schemas.microsoft.com/office/drawing/2014/main" id="{497A8B7B-F4A8-A704-99DD-7E396B48ECE8}"/>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02" name="Freeform: Shape 12701">
                <a:extLst>
                  <a:ext uri="{FF2B5EF4-FFF2-40B4-BE49-F238E27FC236}">
                    <a16:creationId xmlns:a16="http://schemas.microsoft.com/office/drawing/2014/main" id="{5D9AA4B6-DC1A-D21B-5855-ADA11FB1BBAD}"/>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4" name="Graphic 112">
              <a:extLst>
                <a:ext uri="{FF2B5EF4-FFF2-40B4-BE49-F238E27FC236}">
                  <a16:creationId xmlns:a16="http://schemas.microsoft.com/office/drawing/2014/main" id="{7D06F62C-F152-B51E-D8B0-44CB31E7E9DA}"/>
                </a:ext>
              </a:extLst>
            </p:cNvPr>
            <p:cNvGrpSpPr/>
            <p:nvPr/>
          </p:nvGrpSpPr>
          <p:grpSpPr>
            <a:xfrm>
              <a:off x="5619845" y="3737324"/>
              <a:ext cx="75628" cy="75628"/>
              <a:chOff x="5619845" y="3737324"/>
              <a:chExt cx="75628" cy="75628"/>
            </a:xfrm>
          </p:grpSpPr>
          <p:sp>
            <p:nvSpPr>
              <p:cNvPr id="12699" name="Freeform: Shape 12698">
                <a:extLst>
                  <a:ext uri="{FF2B5EF4-FFF2-40B4-BE49-F238E27FC236}">
                    <a16:creationId xmlns:a16="http://schemas.microsoft.com/office/drawing/2014/main" id="{9B86E43D-C890-E9F5-AA32-AEDADE9E9F5A}"/>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700" name="Freeform: Shape 12699">
                <a:extLst>
                  <a:ext uri="{FF2B5EF4-FFF2-40B4-BE49-F238E27FC236}">
                    <a16:creationId xmlns:a16="http://schemas.microsoft.com/office/drawing/2014/main" id="{DFC3F577-6DAD-006E-E2CE-00A95A287544}"/>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5" name="Graphic 112">
              <a:extLst>
                <a:ext uri="{FF2B5EF4-FFF2-40B4-BE49-F238E27FC236}">
                  <a16:creationId xmlns:a16="http://schemas.microsoft.com/office/drawing/2014/main" id="{84463724-48A7-25B3-CA20-8B5AC4ACC2EB}"/>
                </a:ext>
              </a:extLst>
            </p:cNvPr>
            <p:cNvGrpSpPr/>
            <p:nvPr/>
          </p:nvGrpSpPr>
          <p:grpSpPr>
            <a:xfrm>
              <a:off x="5619845" y="3757707"/>
              <a:ext cx="75628" cy="75628"/>
              <a:chOff x="5619845" y="3757707"/>
              <a:chExt cx="75628" cy="75628"/>
            </a:xfrm>
          </p:grpSpPr>
          <p:sp>
            <p:nvSpPr>
              <p:cNvPr id="12697" name="Freeform: Shape 12696">
                <a:extLst>
                  <a:ext uri="{FF2B5EF4-FFF2-40B4-BE49-F238E27FC236}">
                    <a16:creationId xmlns:a16="http://schemas.microsoft.com/office/drawing/2014/main" id="{1D120CDF-8140-656F-8215-95DE7EEB6639}"/>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98" name="Freeform: Shape 12697">
                <a:extLst>
                  <a:ext uri="{FF2B5EF4-FFF2-40B4-BE49-F238E27FC236}">
                    <a16:creationId xmlns:a16="http://schemas.microsoft.com/office/drawing/2014/main" id="{C61AC7E7-287C-F5A6-ED14-80E0D53C2688}"/>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6" name="Graphic 112">
              <a:extLst>
                <a:ext uri="{FF2B5EF4-FFF2-40B4-BE49-F238E27FC236}">
                  <a16:creationId xmlns:a16="http://schemas.microsoft.com/office/drawing/2014/main" id="{DCAA1DAF-364B-62FC-3D01-1086800F9726}"/>
                </a:ext>
              </a:extLst>
            </p:cNvPr>
            <p:cNvGrpSpPr/>
            <p:nvPr/>
          </p:nvGrpSpPr>
          <p:grpSpPr>
            <a:xfrm>
              <a:off x="5631942" y="3764946"/>
              <a:ext cx="75723" cy="75723"/>
              <a:chOff x="5631942" y="3764946"/>
              <a:chExt cx="75723" cy="75723"/>
            </a:xfrm>
          </p:grpSpPr>
          <p:sp>
            <p:nvSpPr>
              <p:cNvPr id="12695" name="Freeform: Shape 12694">
                <a:extLst>
                  <a:ext uri="{FF2B5EF4-FFF2-40B4-BE49-F238E27FC236}">
                    <a16:creationId xmlns:a16="http://schemas.microsoft.com/office/drawing/2014/main" id="{74F35BB8-7B56-CCD4-9ED3-C36C860328AD}"/>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96" name="Freeform: Shape 12695">
                <a:extLst>
                  <a:ext uri="{FF2B5EF4-FFF2-40B4-BE49-F238E27FC236}">
                    <a16:creationId xmlns:a16="http://schemas.microsoft.com/office/drawing/2014/main" id="{81B2BAF3-FA5B-A548-802E-D5370728D33F}"/>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7" name="Graphic 112">
              <a:extLst>
                <a:ext uri="{FF2B5EF4-FFF2-40B4-BE49-F238E27FC236}">
                  <a16:creationId xmlns:a16="http://schemas.microsoft.com/office/drawing/2014/main" id="{DA79AFDE-307E-1E35-EE9A-200D37E55A66}"/>
                </a:ext>
              </a:extLst>
            </p:cNvPr>
            <p:cNvGrpSpPr/>
            <p:nvPr/>
          </p:nvGrpSpPr>
          <p:grpSpPr>
            <a:xfrm>
              <a:off x="5648515" y="3764946"/>
              <a:ext cx="75723" cy="75723"/>
              <a:chOff x="5648515" y="3764946"/>
              <a:chExt cx="75723" cy="75723"/>
            </a:xfrm>
          </p:grpSpPr>
          <p:sp>
            <p:nvSpPr>
              <p:cNvPr id="12693" name="Freeform: Shape 12692">
                <a:extLst>
                  <a:ext uri="{FF2B5EF4-FFF2-40B4-BE49-F238E27FC236}">
                    <a16:creationId xmlns:a16="http://schemas.microsoft.com/office/drawing/2014/main" id="{36F9658A-FBB3-2C10-BF69-58E4FFD2EE73}"/>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94" name="Freeform: Shape 12693">
                <a:extLst>
                  <a:ext uri="{FF2B5EF4-FFF2-40B4-BE49-F238E27FC236}">
                    <a16:creationId xmlns:a16="http://schemas.microsoft.com/office/drawing/2014/main" id="{8A98442B-49AF-F8C3-BCA1-EA1F21096990}"/>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8" name="Graphic 112">
              <a:extLst>
                <a:ext uri="{FF2B5EF4-FFF2-40B4-BE49-F238E27FC236}">
                  <a16:creationId xmlns:a16="http://schemas.microsoft.com/office/drawing/2014/main" id="{CA75DEFD-4E05-3497-3DD5-212021159E44}"/>
                </a:ext>
              </a:extLst>
            </p:cNvPr>
            <p:cNvGrpSpPr/>
            <p:nvPr/>
          </p:nvGrpSpPr>
          <p:grpSpPr>
            <a:xfrm>
              <a:off x="5662041" y="3764946"/>
              <a:ext cx="75723" cy="75723"/>
              <a:chOff x="5662041" y="3764946"/>
              <a:chExt cx="75723" cy="75723"/>
            </a:xfrm>
          </p:grpSpPr>
          <p:sp>
            <p:nvSpPr>
              <p:cNvPr id="12691" name="Freeform: Shape 12690">
                <a:extLst>
                  <a:ext uri="{FF2B5EF4-FFF2-40B4-BE49-F238E27FC236}">
                    <a16:creationId xmlns:a16="http://schemas.microsoft.com/office/drawing/2014/main" id="{E87F39BF-0554-2B3A-A8BA-D9D1AA94BA8E}"/>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92" name="Freeform: Shape 12691">
                <a:extLst>
                  <a:ext uri="{FF2B5EF4-FFF2-40B4-BE49-F238E27FC236}">
                    <a16:creationId xmlns:a16="http://schemas.microsoft.com/office/drawing/2014/main" id="{A33B0678-10A2-84F9-2B10-B197F966CBA1}"/>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89" name="Graphic 112">
              <a:extLst>
                <a:ext uri="{FF2B5EF4-FFF2-40B4-BE49-F238E27FC236}">
                  <a16:creationId xmlns:a16="http://schemas.microsoft.com/office/drawing/2014/main" id="{3816F335-392C-2345-C5FF-0CAD92CBA370}"/>
                </a:ext>
              </a:extLst>
            </p:cNvPr>
            <p:cNvGrpSpPr/>
            <p:nvPr/>
          </p:nvGrpSpPr>
          <p:grpSpPr>
            <a:xfrm>
              <a:off x="5075110" y="3425571"/>
              <a:ext cx="75628" cy="75723"/>
              <a:chOff x="5075110" y="3425571"/>
              <a:chExt cx="75628" cy="75723"/>
            </a:xfrm>
          </p:grpSpPr>
          <p:sp>
            <p:nvSpPr>
              <p:cNvPr id="12689" name="Freeform: Shape 12688">
                <a:extLst>
                  <a:ext uri="{FF2B5EF4-FFF2-40B4-BE49-F238E27FC236}">
                    <a16:creationId xmlns:a16="http://schemas.microsoft.com/office/drawing/2014/main" id="{3F8663FB-C68D-5E93-A21A-A48D7F2541CC}"/>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90" name="Freeform: Shape 12689">
                <a:extLst>
                  <a:ext uri="{FF2B5EF4-FFF2-40B4-BE49-F238E27FC236}">
                    <a16:creationId xmlns:a16="http://schemas.microsoft.com/office/drawing/2014/main" id="{5B0566AD-B730-A218-D975-AD4423890FE1}"/>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0" name="Graphic 112">
              <a:extLst>
                <a:ext uri="{FF2B5EF4-FFF2-40B4-BE49-F238E27FC236}">
                  <a16:creationId xmlns:a16="http://schemas.microsoft.com/office/drawing/2014/main" id="{C8F6D2BA-4884-4380-CB08-A2103C6605B2}"/>
                </a:ext>
              </a:extLst>
            </p:cNvPr>
            <p:cNvGrpSpPr/>
            <p:nvPr/>
          </p:nvGrpSpPr>
          <p:grpSpPr>
            <a:xfrm>
              <a:off x="5099970" y="3425571"/>
              <a:ext cx="75723" cy="75723"/>
              <a:chOff x="5099970" y="3425571"/>
              <a:chExt cx="75723" cy="75723"/>
            </a:xfrm>
          </p:grpSpPr>
          <p:sp>
            <p:nvSpPr>
              <p:cNvPr id="12687" name="Freeform: Shape 12686">
                <a:extLst>
                  <a:ext uri="{FF2B5EF4-FFF2-40B4-BE49-F238E27FC236}">
                    <a16:creationId xmlns:a16="http://schemas.microsoft.com/office/drawing/2014/main" id="{D1A226E2-3DB3-C6A4-FF4E-D0894E73EFFE}"/>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88" name="Freeform: Shape 12687">
                <a:extLst>
                  <a:ext uri="{FF2B5EF4-FFF2-40B4-BE49-F238E27FC236}">
                    <a16:creationId xmlns:a16="http://schemas.microsoft.com/office/drawing/2014/main" id="{57F2B8C6-AE80-8A69-9B65-A8C91DB35CCA}"/>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1" name="Graphic 112">
              <a:extLst>
                <a:ext uri="{FF2B5EF4-FFF2-40B4-BE49-F238E27FC236}">
                  <a16:creationId xmlns:a16="http://schemas.microsoft.com/office/drawing/2014/main" id="{A3D327CA-D5F2-63D7-3285-CAA874D4C3D1}"/>
                </a:ext>
              </a:extLst>
            </p:cNvPr>
            <p:cNvGrpSpPr/>
            <p:nvPr/>
          </p:nvGrpSpPr>
          <p:grpSpPr>
            <a:xfrm>
              <a:off x="5137880" y="3463385"/>
              <a:ext cx="75628" cy="75723"/>
              <a:chOff x="5137880" y="3463385"/>
              <a:chExt cx="75628" cy="75723"/>
            </a:xfrm>
          </p:grpSpPr>
          <p:sp>
            <p:nvSpPr>
              <p:cNvPr id="12685" name="Freeform: Shape 12684">
                <a:extLst>
                  <a:ext uri="{FF2B5EF4-FFF2-40B4-BE49-F238E27FC236}">
                    <a16:creationId xmlns:a16="http://schemas.microsoft.com/office/drawing/2014/main" id="{674D44E1-40F7-2406-E94C-124C0E36ED3C}"/>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86" name="Freeform: Shape 12685">
                <a:extLst>
                  <a:ext uri="{FF2B5EF4-FFF2-40B4-BE49-F238E27FC236}">
                    <a16:creationId xmlns:a16="http://schemas.microsoft.com/office/drawing/2014/main" id="{FB860131-07B5-34DE-0089-7B04E677AF78}"/>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2" name="Graphic 112">
              <a:extLst>
                <a:ext uri="{FF2B5EF4-FFF2-40B4-BE49-F238E27FC236}">
                  <a16:creationId xmlns:a16="http://schemas.microsoft.com/office/drawing/2014/main" id="{F91F2758-A8E4-F174-7276-E8A3BFC5B04F}"/>
                </a:ext>
              </a:extLst>
            </p:cNvPr>
            <p:cNvGrpSpPr/>
            <p:nvPr/>
          </p:nvGrpSpPr>
          <p:grpSpPr>
            <a:xfrm>
              <a:off x="5152167" y="3463385"/>
              <a:ext cx="75723" cy="75723"/>
              <a:chOff x="5152167" y="3463385"/>
              <a:chExt cx="75723" cy="75723"/>
            </a:xfrm>
          </p:grpSpPr>
          <p:sp>
            <p:nvSpPr>
              <p:cNvPr id="12683" name="Freeform: Shape 12682">
                <a:extLst>
                  <a:ext uri="{FF2B5EF4-FFF2-40B4-BE49-F238E27FC236}">
                    <a16:creationId xmlns:a16="http://schemas.microsoft.com/office/drawing/2014/main" id="{2C584F08-A61A-346A-77DA-8CD5285C44DF}"/>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84" name="Freeform: Shape 12683">
                <a:extLst>
                  <a:ext uri="{FF2B5EF4-FFF2-40B4-BE49-F238E27FC236}">
                    <a16:creationId xmlns:a16="http://schemas.microsoft.com/office/drawing/2014/main" id="{31F57EA7-E300-961C-8E1B-3F39B713D0B1}"/>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3" name="Graphic 112">
              <a:extLst>
                <a:ext uri="{FF2B5EF4-FFF2-40B4-BE49-F238E27FC236}">
                  <a16:creationId xmlns:a16="http://schemas.microsoft.com/office/drawing/2014/main" id="{94254DCF-6B65-480B-D2E2-EE6D0BA9109D}"/>
                </a:ext>
              </a:extLst>
            </p:cNvPr>
            <p:cNvGrpSpPr/>
            <p:nvPr/>
          </p:nvGrpSpPr>
          <p:grpSpPr>
            <a:xfrm>
              <a:off x="5166550" y="3463385"/>
              <a:ext cx="75628" cy="75723"/>
              <a:chOff x="5166550" y="3463385"/>
              <a:chExt cx="75628" cy="75723"/>
            </a:xfrm>
          </p:grpSpPr>
          <p:sp>
            <p:nvSpPr>
              <p:cNvPr id="12681" name="Freeform: Shape 12680">
                <a:extLst>
                  <a:ext uri="{FF2B5EF4-FFF2-40B4-BE49-F238E27FC236}">
                    <a16:creationId xmlns:a16="http://schemas.microsoft.com/office/drawing/2014/main" id="{D483E27D-AF6C-40DF-1B53-4D78C66FE21A}"/>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82" name="Freeform: Shape 12681">
                <a:extLst>
                  <a:ext uri="{FF2B5EF4-FFF2-40B4-BE49-F238E27FC236}">
                    <a16:creationId xmlns:a16="http://schemas.microsoft.com/office/drawing/2014/main" id="{302DCFA7-D259-5B64-BB49-3AA02C5547D4}"/>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4" name="Graphic 112">
              <a:extLst>
                <a:ext uri="{FF2B5EF4-FFF2-40B4-BE49-F238E27FC236}">
                  <a16:creationId xmlns:a16="http://schemas.microsoft.com/office/drawing/2014/main" id="{C0C2EF52-3262-4E1E-9842-68D70B281042}"/>
                </a:ext>
              </a:extLst>
            </p:cNvPr>
            <p:cNvGrpSpPr/>
            <p:nvPr/>
          </p:nvGrpSpPr>
          <p:grpSpPr>
            <a:xfrm>
              <a:off x="5180838" y="3523107"/>
              <a:ext cx="75723" cy="75723"/>
              <a:chOff x="5180838" y="3523107"/>
              <a:chExt cx="75723" cy="75723"/>
            </a:xfrm>
          </p:grpSpPr>
          <p:sp>
            <p:nvSpPr>
              <p:cNvPr id="12679" name="Freeform: Shape 12678">
                <a:extLst>
                  <a:ext uri="{FF2B5EF4-FFF2-40B4-BE49-F238E27FC236}">
                    <a16:creationId xmlns:a16="http://schemas.microsoft.com/office/drawing/2014/main" id="{B8E01FBA-88AB-C509-80BB-36445D11784E}"/>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80" name="Freeform: Shape 12679">
                <a:extLst>
                  <a:ext uri="{FF2B5EF4-FFF2-40B4-BE49-F238E27FC236}">
                    <a16:creationId xmlns:a16="http://schemas.microsoft.com/office/drawing/2014/main" id="{617EC984-A2CD-FBCC-609C-56A706E5B544}"/>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5" name="Graphic 112">
              <a:extLst>
                <a:ext uri="{FF2B5EF4-FFF2-40B4-BE49-F238E27FC236}">
                  <a16:creationId xmlns:a16="http://schemas.microsoft.com/office/drawing/2014/main" id="{2CF6828C-22C9-036C-4B68-71E9E91EBEF0}"/>
                </a:ext>
              </a:extLst>
            </p:cNvPr>
            <p:cNvGrpSpPr/>
            <p:nvPr/>
          </p:nvGrpSpPr>
          <p:grpSpPr>
            <a:xfrm>
              <a:off x="5227701" y="3598830"/>
              <a:ext cx="75628" cy="75723"/>
              <a:chOff x="5227701" y="3598830"/>
              <a:chExt cx="75628" cy="75723"/>
            </a:xfrm>
          </p:grpSpPr>
          <p:sp>
            <p:nvSpPr>
              <p:cNvPr id="12677" name="Freeform: Shape 12676">
                <a:extLst>
                  <a:ext uri="{FF2B5EF4-FFF2-40B4-BE49-F238E27FC236}">
                    <a16:creationId xmlns:a16="http://schemas.microsoft.com/office/drawing/2014/main" id="{72D9AF15-FCFE-29F7-B3BF-1D50D6F6FAD8}"/>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78" name="Freeform: Shape 12677">
                <a:extLst>
                  <a:ext uri="{FF2B5EF4-FFF2-40B4-BE49-F238E27FC236}">
                    <a16:creationId xmlns:a16="http://schemas.microsoft.com/office/drawing/2014/main" id="{65B1D421-FF8E-C1B3-8D51-051CD594F330}"/>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6" name="Graphic 112">
              <a:extLst>
                <a:ext uri="{FF2B5EF4-FFF2-40B4-BE49-F238E27FC236}">
                  <a16:creationId xmlns:a16="http://schemas.microsoft.com/office/drawing/2014/main" id="{A5FDF61D-1B4F-2F3C-918E-AEFA1FD2EBD3}"/>
                </a:ext>
              </a:extLst>
            </p:cNvPr>
            <p:cNvGrpSpPr/>
            <p:nvPr/>
          </p:nvGrpSpPr>
          <p:grpSpPr>
            <a:xfrm>
              <a:off x="5195316" y="3549015"/>
              <a:ext cx="75628" cy="75628"/>
              <a:chOff x="5195316" y="3549015"/>
              <a:chExt cx="75628" cy="75628"/>
            </a:xfrm>
          </p:grpSpPr>
          <p:sp>
            <p:nvSpPr>
              <p:cNvPr id="12675" name="Freeform: Shape 12674">
                <a:extLst>
                  <a:ext uri="{FF2B5EF4-FFF2-40B4-BE49-F238E27FC236}">
                    <a16:creationId xmlns:a16="http://schemas.microsoft.com/office/drawing/2014/main" id="{6CE1DC7B-DFA2-032E-F615-8ED50F708C5E}"/>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76" name="Freeform: Shape 12675">
                <a:extLst>
                  <a:ext uri="{FF2B5EF4-FFF2-40B4-BE49-F238E27FC236}">
                    <a16:creationId xmlns:a16="http://schemas.microsoft.com/office/drawing/2014/main" id="{582488AF-9D36-972C-85CA-797A17C64C36}"/>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7" name="Graphic 112">
              <a:extLst>
                <a:ext uri="{FF2B5EF4-FFF2-40B4-BE49-F238E27FC236}">
                  <a16:creationId xmlns:a16="http://schemas.microsoft.com/office/drawing/2014/main" id="{4D31F829-B7BC-A7EB-245C-C18A5DEF6AF4}"/>
                </a:ext>
              </a:extLst>
            </p:cNvPr>
            <p:cNvGrpSpPr/>
            <p:nvPr/>
          </p:nvGrpSpPr>
          <p:grpSpPr>
            <a:xfrm>
              <a:off x="5184362" y="3549015"/>
              <a:ext cx="75723" cy="75628"/>
              <a:chOff x="5184362" y="3549015"/>
              <a:chExt cx="75723" cy="75628"/>
            </a:xfrm>
          </p:grpSpPr>
          <p:sp>
            <p:nvSpPr>
              <p:cNvPr id="12673" name="Freeform: Shape 12672">
                <a:extLst>
                  <a:ext uri="{FF2B5EF4-FFF2-40B4-BE49-F238E27FC236}">
                    <a16:creationId xmlns:a16="http://schemas.microsoft.com/office/drawing/2014/main" id="{D5918C5F-484F-8A41-9528-CAAD2731A4BF}"/>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74" name="Freeform: Shape 12673">
                <a:extLst>
                  <a:ext uri="{FF2B5EF4-FFF2-40B4-BE49-F238E27FC236}">
                    <a16:creationId xmlns:a16="http://schemas.microsoft.com/office/drawing/2014/main" id="{8C2E8BB7-8F4E-5A19-132D-AE5E74458235}"/>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8" name="Graphic 112">
              <a:extLst>
                <a:ext uri="{FF2B5EF4-FFF2-40B4-BE49-F238E27FC236}">
                  <a16:creationId xmlns:a16="http://schemas.microsoft.com/office/drawing/2014/main" id="{6EA0D6F1-A3CA-A77E-0E21-CC5A8F378CA3}"/>
                </a:ext>
              </a:extLst>
            </p:cNvPr>
            <p:cNvGrpSpPr/>
            <p:nvPr/>
          </p:nvGrpSpPr>
          <p:grpSpPr>
            <a:xfrm>
              <a:off x="4769643" y="3323272"/>
              <a:ext cx="75723" cy="75628"/>
              <a:chOff x="4769643" y="3323272"/>
              <a:chExt cx="75723" cy="75628"/>
            </a:xfrm>
          </p:grpSpPr>
          <p:sp>
            <p:nvSpPr>
              <p:cNvPr id="12671" name="Freeform: Shape 12670">
                <a:extLst>
                  <a:ext uri="{FF2B5EF4-FFF2-40B4-BE49-F238E27FC236}">
                    <a16:creationId xmlns:a16="http://schemas.microsoft.com/office/drawing/2014/main" id="{BB52BD00-DCF6-DDB5-01A5-C5E3B27A54FF}"/>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72" name="Freeform: Shape 12671">
                <a:extLst>
                  <a:ext uri="{FF2B5EF4-FFF2-40B4-BE49-F238E27FC236}">
                    <a16:creationId xmlns:a16="http://schemas.microsoft.com/office/drawing/2014/main" id="{1762CE0B-6CDB-0B24-E7CA-63C57B2BB7F7}"/>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599" name="Graphic 112">
              <a:extLst>
                <a:ext uri="{FF2B5EF4-FFF2-40B4-BE49-F238E27FC236}">
                  <a16:creationId xmlns:a16="http://schemas.microsoft.com/office/drawing/2014/main" id="{50ECF41B-6DB1-6732-7A7F-D58E8B9388F7}"/>
                </a:ext>
              </a:extLst>
            </p:cNvPr>
            <p:cNvGrpSpPr/>
            <p:nvPr/>
          </p:nvGrpSpPr>
          <p:grpSpPr>
            <a:xfrm>
              <a:off x="4755165" y="3323272"/>
              <a:ext cx="75723" cy="75628"/>
              <a:chOff x="4755165" y="3323272"/>
              <a:chExt cx="75723" cy="75628"/>
            </a:xfrm>
          </p:grpSpPr>
          <p:sp>
            <p:nvSpPr>
              <p:cNvPr id="12669" name="Freeform: Shape 12668">
                <a:extLst>
                  <a:ext uri="{FF2B5EF4-FFF2-40B4-BE49-F238E27FC236}">
                    <a16:creationId xmlns:a16="http://schemas.microsoft.com/office/drawing/2014/main" id="{51919066-84B2-1875-8B3B-18670B8E42F7}"/>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70" name="Freeform: Shape 12669">
                <a:extLst>
                  <a:ext uri="{FF2B5EF4-FFF2-40B4-BE49-F238E27FC236}">
                    <a16:creationId xmlns:a16="http://schemas.microsoft.com/office/drawing/2014/main" id="{A5460EAE-1F32-D297-2A14-A96F45263ACB}"/>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0" name="Graphic 112">
              <a:extLst>
                <a:ext uri="{FF2B5EF4-FFF2-40B4-BE49-F238E27FC236}">
                  <a16:creationId xmlns:a16="http://schemas.microsoft.com/office/drawing/2014/main" id="{9ADDA933-1A3B-9F01-72EA-03968139A7B6}"/>
                </a:ext>
              </a:extLst>
            </p:cNvPr>
            <p:cNvGrpSpPr/>
            <p:nvPr/>
          </p:nvGrpSpPr>
          <p:grpSpPr>
            <a:xfrm>
              <a:off x="4762404" y="3323272"/>
              <a:ext cx="75723" cy="75628"/>
              <a:chOff x="4762404" y="3323272"/>
              <a:chExt cx="75723" cy="75628"/>
            </a:xfrm>
          </p:grpSpPr>
          <p:sp>
            <p:nvSpPr>
              <p:cNvPr id="12667" name="Freeform: Shape 12666">
                <a:extLst>
                  <a:ext uri="{FF2B5EF4-FFF2-40B4-BE49-F238E27FC236}">
                    <a16:creationId xmlns:a16="http://schemas.microsoft.com/office/drawing/2014/main" id="{EDD7D405-E3CE-A483-CE55-B66ECA7C3B67}"/>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68" name="Freeform: Shape 12667">
                <a:extLst>
                  <a:ext uri="{FF2B5EF4-FFF2-40B4-BE49-F238E27FC236}">
                    <a16:creationId xmlns:a16="http://schemas.microsoft.com/office/drawing/2014/main" id="{24BAFF9A-E3A0-0064-48CA-8857973793CA}"/>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1" name="Graphic 112">
              <a:extLst>
                <a:ext uri="{FF2B5EF4-FFF2-40B4-BE49-F238E27FC236}">
                  <a16:creationId xmlns:a16="http://schemas.microsoft.com/office/drawing/2014/main" id="{AE5C6840-ED33-60F0-5110-B5D1C913F792}"/>
                </a:ext>
              </a:extLst>
            </p:cNvPr>
            <p:cNvGrpSpPr/>
            <p:nvPr/>
          </p:nvGrpSpPr>
          <p:grpSpPr>
            <a:xfrm>
              <a:off x="4724590" y="3199257"/>
              <a:ext cx="75628" cy="75628"/>
              <a:chOff x="4724590" y="3199257"/>
              <a:chExt cx="75628" cy="75628"/>
            </a:xfrm>
          </p:grpSpPr>
          <p:sp>
            <p:nvSpPr>
              <p:cNvPr id="12665" name="Freeform: Shape 12664">
                <a:extLst>
                  <a:ext uri="{FF2B5EF4-FFF2-40B4-BE49-F238E27FC236}">
                    <a16:creationId xmlns:a16="http://schemas.microsoft.com/office/drawing/2014/main" id="{5A9DF46D-7AE2-8683-FD17-8CC8C3B645B3}"/>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66" name="Freeform: Shape 12665">
                <a:extLst>
                  <a:ext uri="{FF2B5EF4-FFF2-40B4-BE49-F238E27FC236}">
                    <a16:creationId xmlns:a16="http://schemas.microsoft.com/office/drawing/2014/main" id="{F5E8AC73-DB34-A25C-7905-385BDB2BB7CF}"/>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2" name="Graphic 112">
              <a:extLst>
                <a:ext uri="{FF2B5EF4-FFF2-40B4-BE49-F238E27FC236}">
                  <a16:creationId xmlns:a16="http://schemas.microsoft.com/office/drawing/2014/main" id="{96BB21A5-662C-75F6-7052-E21461CBE8E2}"/>
                </a:ext>
              </a:extLst>
            </p:cNvPr>
            <p:cNvGrpSpPr/>
            <p:nvPr/>
          </p:nvGrpSpPr>
          <p:grpSpPr>
            <a:xfrm>
              <a:off x="4710112" y="3199257"/>
              <a:ext cx="75628" cy="75628"/>
              <a:chOff x="4710112" y="3199257"/>
              <a:chExt cx="75628" cy="75628"/>
            </a:xfrm>
          </p:grpSpPr>
          <p:sp>
            <p:nvSpPr>
              <p:cNvPr id="12663" name="Freeform: Shape 12662">
                <a:extLst>
                  <a:ext uri="{FF2B5EF4-FFF2-40B4-BE49-F238E27FC236}">
                    <a16:creationId xmlns:a16="http://schemas.microsoft.com/office/drawing/2014/main" id="{2867B002-2898-39E6-C0BC-636701256FDC}"/>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64" name="Freeform: Shape 12663">
                <a:extLst>
                  <a:ext uri="{FF2B5EF4-FFF2-40B4-BE49-F238E27FC236}">
                    <a16:creationId xmlns:a16="http://schemas.microsoft.com/office/drawing/2014/main" id="{0FC8E1D4-86FC-7CBB-2502-AE3690848D59}"/>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3" name="Graphic 112">
              <a:extLst>
                <a:ext uri="{FF2B5EF4-FFF2-40B4-BE49-F238E27FC236}">
                  <a16:creationId xmlns:a16="http://schemas.microsoft.com/office/drawing/2014/main" id="{54358A5C-AE5D-CFB2-D4A2-873E8041F490}"/>
                </a:ext>
              </a:extLst>
            </p:cNvPr>
            <p:cNvGrpSpPr/>
            <p:nvPr/>
          </p:nvGrpSpPr>
          <p:grpSpPr>
            <a:xfrm>
              <a:off x="4717351" y="3199257"/>
              <a:ext cx="75628" cy="75628"/>
              <a:chOff x="4717351" y="3199257"/>
              <a:chExt cx="75628" cy="75628"/>
            </a:xfrm>
          </p:grpSpPr>
          <p:sp>
            <p:nvSpPr>
              <p:cNvPr id="12661" name="Freeform: Shape 12660">
                <a:extLst>
                  <a:ext uri="{FF2B5EF4-FFF2-40B4-BE49-F238E27FC236}">
                    <a16:creationId xmlns:a16="http://schemas.microsoft.com/office/drawing/2014/main" id="{EC097C05-AF41-CCFF-31DD-2F033C8DEA9C}"/>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62" name="Freeform: Shape 12661">
                <a:extLst>
                  <a:ext uri="{FF2B5EF4-FFF2-40B4-BE49-F238E27FC236}">
                    <a16:creationId xmlns:a16="http://schemas.microsoft.com/office/drawing/2014/main" id="{CF9E50B5-7FED-4142-B480-87E4F73E914E}"/>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4" name="Graphic 112">
              <a:extLst>
                <a:ext uri="{FF2B5EF4-FFF2-40B4-BE49-F238E27FC236}">
                  <a16:creationId xmlns:a16="http://schemas.microsoft.com/office/drawing/2014/main" id="{920ACECA-637F-EF98-C3CB-2E664EAF475D}"/>
                </a:ext>
              </a:extLst>
            </p:cNvPr>
            <p:cNvGrpSpPr/>
            <p:nvPr/>
          </p:nvGrpSpPr>
          <p:grpSpPr>
            <a:xfrm>
              <a:off x="4731829" y="3199257"/>
              <a:ext cx="75628" cy="75628"/>
              <a:chOff x="4731829" y="3199257"/>
              <a:chExt cx="75628" cy="75628"/>
            </a:xfrm>
          </p:grpSpPr>
          <p:sp>
            <p:nvSpPr>
              <p:cNvPr id="12659" name="Freeform: Shape 12658">
                <a:extLst>
                  <a:ext uri="{FF2B5EF4-FFF2-40B4-BE49-F238E27FC236}">
                    <a16:creationId xmlns:a16="http://schemas.microsoft.com/office/drawing/2014/main" id="{C4FA07D4-8FFA-9860-B7F0-EE87ABB4A00D}"/>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60" name="Freeform: Shape 12659">
                <a:extLst>
                  <a:ext uri="{FF2B5EF4-FFF2-40B4-BE49-F238E27FC236}">
                    <a16:creationId xmlns:a16="http://schemas.microsoft.com/office/drawing/2014/main" id="{22B34851-AAD3-2D2B-7BF0-FE4BB132F5ED}"/>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5" name="Graphic 112">
              <a:extLst>
                <a:ext uri="{FF2B5EF4-FFF2-40B4-BE49-F238E27FC236}">
                  <a16:creationId xmlns:a16="http://schemas.microsoft.com/office/drawing/2014/main" id="{337BBD81-7292-C0DA-0D10-2F7B479AC863}"/>
                </a:ext>
              </a:extLst>
            </p:cNvPr>
            <p:cNvGrpSpPr/>
            <p:nvPr/>
          </p:nvGrpSpPr>
          <p:grpSpPr>
            <a:xfrm>
              <a:off x="4751546" y="3244024"/>
              <a:ext cx="75723" cy="75628"/>
              <a:chOff x="4751546" y="3244024"/>
              <a:chExt cx="75723" cy="75628"/>
            </a:xfrm>
          </p:grpSpPr>
          <p:sp>
            <p:nvSpPr>
              <p:cNvPr id="12657" name="Freeform: Shape 12656">
                <a:extLst>
                  <a:ext uri="{FF2B5EF4-FFF2-40B4-BE49-F238E27FC236}">
                    <a16:creationId xmlns:a16="http://schemas.microsoft.com/office/drawing/2014/main" id="{2D59D156-5385-0F8C-6EE1-E9CCA5858423}"/>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58" name="Freeform: Shape 12657">
                <a:extLst>
                  <a:ext uri="{FF2B5EF4-FFF2-40B4-BE49-F238E27FC236}">
                    <a16:creationId xmlns:a16="http://schemas.microsoft.com/office/drawing/2014/main" id="{16A91473-2E92-9D34-F24A-729061E10903}"/>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6" name="Graphic 112">
              <a:extLst>
                <a:ext uri="{FF2B5EF4-FFF2-40B4-BE49-F238E27FC236}">
                  <a16:creationId xmlns:a16="http://schemas.microsoft.com/office/drawing/2014/main" id="{3FE67B31-CCD9-A23C-9278-C9DC3832EE66}"/>
                </a:ext>
              </a:extLst>
            </p:cNvPr>
            <p:cNvGrpSpPr/>
            <p:nvPr/>
          </p:nvGrpSpPr>
          <p:grpSpPr>
            <a:xfrm>
              <a:off x="4737068" y="3244024"/>
              <a:ext cx="75723" cy="75628"/>
              <a:chOff x="4737068" y="3244024"/>
              <a:chExt cx="75723" cy="75628"/>
            </a:xfrm>
          </p:grpSpPr>
          <p:sp>
            <p:nvSpPr>
              <p:cNvPr id="12655" name="Freeform: Shape 12654">
                <a:extLst>
                  <a:ext uri="{FF2B5EF4-FFF2-40B4-BE49-F238E27FC236}">
                    <a16:creationId xmlns:a16="http://schemas.microsoft.com/office/drawing/2014/main" id="{E1C7FD4A-1891-6567-333D-4F328A9EE05E}"/>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56" name="Freeform: Shape 12655">
                <a:extLst>
                  <a:ext uri="{FF2B5EF4-FFF2-40B4-BE49-F238E27FC236}">
                    <a16:creationId xmlns:a16="http://schemas.microsoft.com/office/drawing/2014/main" id="{1699221E-3512-142F-B1D4-51089CE53FA1}"/>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7" name="Graphic 112">
              <a:extLst>
                <a:ext uri="{FF2B5EF4-FFF2-40B4-BE49-F238E27FC236}">
                  <a16:creationId xmlns:a16="http://schemas.microsoft.com/office/drawing/2014/main" id="{4342FB16-4E05-7D79-386D-C51A560B5E5B}"/>
                </a:ext>
              </a:extLst>
            </p:cNvPr>
            <p:cNvGrpSpPr/>
            <p:nvPr/>
          </p:nvGrpSpPr>
          <p:grpSpPr>
            <a:xfrm>
              <a:off x="4744307" y="3244024"/>
              <a:ext cx="75723" cy="75628"/>
              <a:chOff x="4744307" y="3244024"/>
              <a:chExt cx="75723" cy="75628"/>
            </a:xfrm>
          </p:grpSpPr>
          <p:sp>
            <p:nvSpPr>
              <p:cNvPr id="12653" name="Freeform: Shape 12652">
                <a:extLst>
                  <a:ext uri="{FF2B5EF4-FFF2-40B4-BE49-F238E27FC236}">
                    <a16:creationId xmlns:a16="http://schemas.microsoft.com/office/drawing/2014/main" id="{57D81CA4-653B-83E3-FB72-DE51C5BE74FF}"/>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54" name="Freeform: Shape 12653">
                <a:extLst>
                  <a:ext uri="{FF2B5EF4-FFF2-40B4-BE49-F238E27FC236}">
                    <a16:creationId xmlns:a16="http://schemas.microsoft.com/office/drawing/2014/main" id="{FB8AD8F0-7E52-54A5-D9C7-9FCEBC37D026}"/>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8" name="Graphic 112">
              <a:extLst>
                <a:ext uri="{FF2B5EF4-FFF2-40B4-BE49-F238E27FC236}">
                  <a16:creationId xmlns:a16="http://schemas.microsoft.com/office/drawing/2014/main" id="{623A6F36-801B-C2BC-C5EA-19525C4AB205}"/>
                </a:ext>
              </a:extLst>
            </p:cNvPr>
            <p:cNvGrpSpPr/>
            <p:nvPr/>
          </p:nvGrpSpPr>
          <p:grpSpPr>
            <a:xfrm>
              <a:off x="4758785" y="3244024"/>
              <a:ext cx="75723" cy="75628"/>
              <a:chOff x="4758785" y="3244024"/>
              <a:chExt cx="75723" cy="75628"/>
            </a:xfrm>
          </p:grpSpPr>
          <p:sp>
            <p:nvSpPr>
              <p:cNvPr id="12651" name="Freeform: Shape 12650">
                <a:extLst>
                  <a:ext uri="{FF2B5EF4-FFF2-40B4-BE49-F238E27FC236}">
                    <a16:creationId xmlns:a16="http://schemas.microsoft.com/office/drawing/2014/main" id="{A9C0FFDA-2304-2082-F732-93EF7D54DAE2}"/>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52" name="Freeform: Shape 12651">
                <a:extLst>
                  <a:ext uri="{FF2B5EF4-FFF2-40B4-BE49-F238E27FC236}">
                    <a16:creationId xmlns:a16="http://schemas.microsoft.com/office/drawing/2014/main" id="{1F7D143E-B68F-54B0-1E38-AA53F180CBBC}"/>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09" name="Graphic 112">
              <a:extLst>
                <a:ext uri="{FF2B5EF4-FFF2-40B4-BE49-F238E27FC236}">
                  <a16:creationId xmlns:a16="http://schemas.microsoft.com/office/drawing/2014/main" id="{D8D97CC4-DCAB-BF7D-E563-E5C5CFACA079}"/>
                </a:ext>
              </a:extLst>
            </p:cNvPr>
            <p:cNvGrpSpPr/>
            <p:nvPr/>
          </p:nvGrpSpPr>
          <p:grpSpPr>
            <a:xfrm>
              <a:off x="4747926" y="3261264"/>
              <a:ext cx="75723" cy="75628"/>
              <a:chOff x="4747926" y="3261264"/>
              <a:chExt cx="75723" cy="75628"/>
            </a:xfrm>
          </p:grpSpPr>
          <p:sp>
            <p:nvSpPr>
              <p:cNvPr id="12649" name="Freeform: Shape 12648">
                <a:extLst>
                  <a:ext uri="{FF2B5EF4-FFF2-40B4-BE49-F238E27FC236}">
                    <a16:creationId xmlns:a16="http://schemas.microsoft.com/office/drawing/2014/main" id="{F5E26BB1-26ED-AC52-B6A7-12C4C5D11333}"/>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50" name="Freeform: Shape 12649">
                <a:extLst>
                  <a:ext uri="{FF2B5EF4-FFF2-40B4-BE49-F238E27FC236}">
                    <a16:creationId xmlns:a16="http://schemas.microsoft.com/office/drawing/2014/main" id="{608B7BD5-0B03-DEF6-761F-6966A3763EBB}"/>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0" name="Graphic 112">
              <a:extLst>
                <a:ext uri="{FF2B5EF4-FFF2-40B4-BE49-F238E27FC236}">
                  <a16:creationId xmlns:a16="http://schemas.microsoft.com/office/drawing/2014/main" id="{2629DE79-C91F-3921-B125-DA5A8DCE278D}"/>
                </a:ext>
              </a:extLst>
            </p:cNvPr>
            <p:cNvGrpSpPr/>
            <p:nvPr/>
          </p:nvGrpSpPr>
          <p:grpSpPr>
            <a:xfrm>
              <a:off x="4755165" y="3261264"/>
              <a:ext cx="75723" cy="75628"/>
              <a:chOff x="4755165" y="3261264"/>
              <a:chExt cx="75723" cy="75628"/>
            </a:xfrm>
          </p:grpSpPr>
          <p:sp>
            <p:nvSpPr>
              <p:cNvPr id="12647" name="Freeform: Shape 12646">
                <a:extLst>
                  <a:ext uri="{FF2B5EF4-FFF2-40B4-BE49-F238E27FC236}">
                    <a16:creationId xmlns:a16="http://schemas.microsoft.com/office/drawing/2014/main" id="{4278BD36-371B-6CAA-1162-1ECA7C213105}"/>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48" name="Freeform: Shape 12647">
                <a:extLst>
                  <a:ext uri="{FF2B5EF4-FFF2-40B4-BE49-F238E27FC236}">
                    <a16:creationId xmlns:a16="http://schemas.microsoft.com/office/drawing/2014/main" id="{FF546FCE-A6AB-1935-6348-4B39E65B2C46}"/>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1" name="Graphic 112">
              <a:extLst>
                <a:ext uri="{FF2B5EF4-FFF2-40B4-BE49-F238E27FC236}">
                  <a16:creationId xmlns:a16="http://schemas.microsoft.com/office/drawing/2014/main" id="{D03C1ED2-58EB-95B1-25D1-955B061BDC12}"/>
                </a:ext>
              </a:extLst>
            </p:cNvPr>
            <p:cNvGrpSpPr/>
            <p:nvPr/>
          </p:nvGrpSpPr>
          <p:grpSpPr>
            <a:xfrm>
              <a:off x="4436078" y="3075527"/>
              <a:ext cx="75723" cy="75628"/>
              <a:chOff x="4436078" y="3075527"/>
              <a:chExt cx="75723" cy="75628"/>
            </a:xfrm>
          </p:grpSpPr>
          <p:sp>
            <p:nvSpPr>
              <p:cNvPr id="12645" name="Freeform: Shape 12644">
                <a:extLst>
                  <a:ext uri="{FF2B5EF4-FFF2-40B4-BE49-F238E27FC236}">
                    <a16:creationId xmlns:a16="http://schemas.microsoft.com/office/drawing/2014/main" id="{CB9EF819-4BCE-9CF5-DC07-C2A98636FF17}"/>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46" name="Freeform: Shape 12645">
                <a:extLst>
                  <a:ext uri="{FF2B5EF4-FFF2-40B4-BE49-F238E27FC236}">
                    <a16:creationId xmlns:a16="http://schemas.microsoft.com/office/drawing/2014/main" id="{4F3327B7-1782-D7AA-9184-D3607931CAC1}"/>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2" name="Graphic 112">
              <a:extLst>
                <a:ext uri="{FF2B5EF4-FFF2-40B4-BE49-F238E27FC236}">
                  <a16:creationId xmlns:a16="http://schemas.microsoft.com/office/drawing/2014/main" id="{2E0DA01E-BD1A-368A-6A5B-3E30F9D5BFDA}"/>
                </a:ext>
              </a:extLst>
            </p:cNvPr>
            <p:cNvGrpSpPr/>
            <p:nvPr/>
          </p:nvGrpSpPr>
          <p:grpSpPr>
            <a:xfrm>
              <a:off x="4372927" y="3062954"/>
              <a:ext cx="75628" cy="75628"/>
              <a:chOff x="4372927" y="3062954"/>
              <a:chExt cx="75628" cy="75628"/>
            </a:xfrm>
          </p:grpSpPr>
          <p:sp>
            <p:nvSpPr>
              <p:cNvPr id="12643" name="Freeform: Shape 12642">
                <a:extLst>
                  <a:ext uri="{FF2B5EF4-FFF2-40B4-BE49-F238E27FC236}">
                    <a16:creationId xmlns:a16="http://schemas.microsoft.com/office/drawing/2014/main" id="{325E6EB3-8C83-1A41-B5D9-B9363C450E87}"/>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44" name="Freeform: Shape 12643">
                <a:extLst>
                  <a:ext uri="{FF2B5EF4-FFF2-40B4-BE49-F238E27FC236}">
                    <a16:creationId xmlns:a16="http://schemas.microsoft.com/office/drawing/2014/main" id="{73FDD87B-4FEF-55D7-E646-E4BA73C48519}"/>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3" name="Graphic 112">
              <a:extLst>
                <a:ext uri="{FF2B5EF4-FFF2-40B4-BE49-F238E27FC236}">
                  <a16:creationId xmlns:a16="http://schemas.microsoft.com/office/drawing/2014/main" id="{E162001E-261D-171D-E997-198A7E39AEC6}"/>
                </a:ext>
              </a:extLst>
            </p:cNvPr>
            <p:cNvGrpSpPr/>
            <p:nvPr/>
          </p:nvGrpSpPr>
          <p:grpSpPr>
            <a:xfrm>
              <a:off x="4337589" y="3037617"/>
              <a:ext cx="75723" cy="75723"/>
              <a:chOff x="4337589" y="3037617"/>
              <a:chExt cx="75723" cy="75723"/>
            </a:xfrm>
          </p:grpSpPr>
          <p:sp>
            <p:nvSpPr>
              <p:cNvPr id="12641" name="Freeform: Shape 12640">
                <a:extLst>
                  <a:ext uri="{FF2B5EF4-FFF2-40B4-BE49-F238E27FC236}">
                    <a16:creationId xmlns:a16="http://schemas.microsoft.com/office/drawing/2014/main" id="{D03BABD3-C446-92B2-F6AB-FC5BB6238D07}"/>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42" name="Freeform: Shape 12641">
                <a:extLst>
                  <a:ext uri="{FF2B5EF4-FFF2-40B4-BE49-F238E27FC236}">
                    <a16:creationId xmlns:a16="http://schemas.microsoft.com/office/drawing/2014/main" id="{61C5D7EF-606B-EEDF-4EF1-C4A548215734}"/>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4" name="Graphic 112">
              <a:extLst>
                <a:ext uri="{FF2B5EF4-FFF2-40B4-BE49-F238E27FC236}">
                  <a16:creationId xmlns:a16="http://schemas.microsoft.com/office/drawing/2014/main" id="{D0CB605A-AD2A-9087-6317-441CCE03D1BA}"/>
                </a:ext>
              </a:extLst>
            </p:cNvPr>
            <p:cNvGrpSpPr/>
            <p:nvPr/>
          </p:nvGrpSpPr>
          <p:grpSpPr>
            <a:xfrm>
              <a:off x="4343876" y="3037617"/>
              <a:ext cx="75723" cy="75723"/>
              <a:chOff x="4343876" y="3037617"/>
              <a:chExt cx="75723" cy="75723"/>
            </a:xfrm>
          </p:grpSpPr>
          <p:sp>
            <p:nvSpPr>
              <p:cNvPr id="12639" name="Freeform: Shape 12638">
                <a:extLst>
                  <a:ext uri="{FF2B5EF4-FFF2-40B4-BE49-F238E27FC236}">
                    <a16:creationId xmlns:a16="http://schemas.microsoft.com/office/drawing/2014/main" id="{E72403E7-BCDB-1E07-25C8-5989036B6A40}"/>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40" name="Freeform: Shape 12639">
                <a:extLst>
                  <a:ext uri="{FF2B5EF4-FFF2-40B4-BE49-F238E27FC236}">
                    <a16:creationId xmlns:a16="http://schemas.microsoft.com/office/drawing/2014/main" id="{8C8AD043-B78B-F972-5B01-5EACCD9D68F2}"/>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5" name="Graphic 112">
              <a:extLst>
                <a:ext uri="{FF2B5EF4-FFF2-40B4-BE49-F238E27FC236}">
                  <a16:creationId xmlns:a16="http://schemas.microsoft.com/office/drawing/2014/main" id="{E15CD3EA-FD84-7B8E-87E5-7F43343CE6CF}"/>
                </a:ext>
              </a:extLst>
            </p:cNvPr>
            <p:cNvGrpSpPr/>
            <p:nvPr/>
          </p:nvGrpSpPr>
          <p:grpSpPr>
            <a:xfrm>
              <a:off x="4350162" y="3037617"/>
              <a:ext cx="75723" cy="75723"/>
              <a:chOff x="4350162" y="3037617"/>
              <a:chExt cx="75723" cy="75723"/>
            </a:xfrm>
          </p:grpSpPr>
          <p:sp>
            <p:nvSpPr>
              <p:cNvPr id="12637" name="Freeform: Shape 12636">
                <a:extLst>
                  <a:ext uri="{FF2B5EF4-FFF2-40B4-BE49-F238E27FC236}">
                    <a16:creationId xmlns:a16="http://schemas.microsoft.com/office/drawing/2014/main" id="{1D8D4CF9-D82B-E2E0-230B-76A9C59F7E01}"/>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38" name="Freeform: Shape 12637">
                <a:extLst>
                  <a:ext uri="{FF2B5EF4-FFF2-40B4-BE49-F238E27FC236}">
                    <a16:creationId xmlns:a16="http://schemas.microsoft.com/office/drawing/2014/main" id="{0E188CC0-582D-5835-6C4B-BA45B7BAB370}"/>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6" name="Graphic 112">
              <a:extLst>
                <a:ext uri="{FF2B5EF4-FFF2-40B4-BE49-F238E27FC236}">
                  <a16:creationId xmlns:a16="http://schemas.microsoft.com/office/drawing/2014/main" id="{E06AF588-190B-43D4-DEF9-FC7B4C066C22}"/>
                </a:ext>
              </a:extLst>
            </p:cNvPr>
            <p:cNvGrpSpPr/>
            <p:nvPr/>
          </p:nvGrpSpPr>
          <p:grpSpPr>
            <a:xfrm>
              <a:off x="4329112" y="2975895"/>
              <a:ext cx="75723" cy="75628"/>
              <a:chOff x="4329112" y="2975895"/>
              <a:chExt cx="75723" cy="75628"/>
            </a:xfrm>
          </p:grpSpPr>
          <p:sp>
            <p:nvSpPr>
              <p:cNvPr id="12635" name="Freeform: Shape 12634">
                <a:extLst>
                  <a:ext uri="{FF2B5EF4-FFF2-40B4-BE49-F238E27FC236}">
                    <a16:creationId xmlns:a16="http://schemas.microsoft.com/office/drawing/2014/main" id="{B48022FC-DC54-406B-9BDB-934001F0DB7A}"/>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36" name="Freeform: Shape 12635">
                <a:extLst>
                  <a:ext uri="{FF2B5EF4-FFF2-40B4-BE49-F238E27FC236}">
                    <a16:creationId xmlns:a16="http://schemas.microsoft.com/office/drawing/2014/main" id="{810F13FA-69B9-2E89-6DDD-8B9A5C095C98}"/>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7" name="Graphic 112">
              <a:extLst>
                <a:ext uri="{FF2B5EF4-FFF2-40B4-BE49-F238E27FC236}">
                  <a16:creationId xmlns:a16="http://schemas.microsoft.com/office/drawing/2014/main" id="{8CC611A5-B3C8-7C37-4059-8AF34573B434}"/>
                </a:ext>
              </a:extLst>
            </p:cNvPr>
            <p:cNvGrpSpPr/>
            <p:nvPr/>
          </p:nvGrpSpPr>
          <p:grpSpPr>
            <a:xfrm>
              <a:off x="4283487" y="2903696"/>
              <a:ext cx="75723" cy="75723"/>
              <a:chOff x="4283487" y="2903696"/>
              <a:chExt cx="75723" cy="75723"/>
            </a:xfrm>
          </p:grpSpPr>
          <p:sp>
            <p:nvSpPr>
              <p:cNvPr id="12633" name="Freeform: Shape 12632">
                <a:extLst>
                  <a:ext uri="{FF2B5EF4-FFF2-40B4-BE49-F238E27FC236}">
                    <a16:creationId xmlns:a16="http://schemas.microsoft.com/office/drawing/2014/main" id="{7863E69E-4BFD-5D67-6203-27E076E23017}"/>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34" name="Freeform: Shape 12633">
                <a:extLst>
                  <a:ext uri="{FF2B5EF4-FFF2-40B4-BE49-F238E27FC236}">
                    <a16:creationId xmlns:a16="http://schemas.microsoft.com/office/drawing/2014/main" id="{41DFC67E-1320-C74A-F871-4977DE6C0387}"/>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8" name="Graphic 112">
              <a:extLst>
                <a:ext uri="{FF2B5EF4-FFF2-40B4-BE49-F238E27FC236}">
                  <a16:creationId xmlns:a16="http://schemas.microsoft.com/office/drawing/2014/main" id="{0D3D90C3-52E8-4904-3126-DB7EEB038879}"/>
                </a:ext>
              </a:extLst>
            </p:cNvPr>
            <p:cNvGrpSpPr/>
            <p:nvPr/>
          </p:nvGrpSpPr>
          <p:grpSpPr>
            <a:xfrm>
              <a:off x="4288345" y="2903696"/>
              <a:ext cx="75723" cy="75723"/>
              <a:chOff x="4288345" y="2903696"/>
              <a:chExt cx="75723" cy="75723"/>
            </a:xfrm>
          </p:grpSpPr>
          <p:sp>
            <p:nvSpPr>
              <p:cNvPr id="12631" name="Freeform: Shape 12630">
                <a:extLst>
                  <a:ext uri="{FF2B5EF4-FFF2-40B4-BE49-F238E27FC236}">
                    <a16:creationId xmlns:a16="http://schemas.microsoft.com/office/drawing/2014/main" id="{389DDF66-C828-5B4A-6B25-BE69CFE3218B}"/>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32" name="Freeform: Shape 12631">
                <a:extLst>
                  <a:ext uri="{FF2B5EF4-FFF2-40B4-BE49-F238E27FC236}">
                    <a16:creationId xmlns:a16="http://schemas.microsoft.com/office/drawing/2014/main" id="{5587BEDE-513D-357E-B264-19E9D7DD0170}"/>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19" name="Graphic 112">
              <a:extLst>
                <a:ext uri="{FF2B5EF4-FFF2-40B4-BE49-F238E27FC236}">
                  <a16:creationId xmlns:a16="http://schemas.microsoft.com/office/drawing/2014/main" id="{36234956-6EA1-DAB3-B129-2080F89EDC18}"/>
                </a:ext>
              </a:extLst>
            </p:cNvPr>
            <p:cNvGrpSpPr/>
            <p:nvPr/>
          </p:nvGrpSpPr>
          <p:grpSpPr>
            <a:xfrm>
              <a:off x="4297394" y="2949892"/>
              <a:ext cx="75628" cy="75723"/>
              <a:chOff x="4297394" y="2949892"/>
              <a:chExt cx="75628" cy="75723"/>
            </a:xfrm>
          </p:grpSpPr>
          <p:sp>
            <p:nvSpPr>
              <p:cNvPr id="12629" name="Freeform: Shape 12628">
                <a:extLst>
                  <a:ext uri="{FF2B5EF4-FFF2-40B4-BE49-F238E27FC236}">
                    <a16:creationId xmlns:a16="http://schemas.microsoft.com/office/drawing/2014/main" id="{2E2E86B6-4C06-FDC9-5C0C-3E3A9A0604DF}"/>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30" name="Freeform: Shape 12629">
                <a:extLst>
                  <a:ext uri="{FF2B5EF4-FFF2-40B4-BE49-F238E27FC236}">
                    <a16:creationId xmlns:a16="http://schemas.microsoft.com/office/drawing/2014/main" id="{7C7E303D-9D6F-B426-CA2E-FBF563EEC9A7}"/>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20" name="Graphic 112">
              <a:extLst>
                <a:ext uri="{FF2B5EF4-FFF2-40B4-BE49-F238E27FC236}">
                  <a16:creationId xmlns:a16="http://schemas.microsoft.com/office/drawing/2014/main" id="{9D7B99BA-4C0A-7DA5-F7A8-471B9396B165}"/>
                </a:ext>
              </a:extLst>
            </p:cNvPr>
            <p:cNvGrpSpPr/>
            <p:nvPr/>
          </p:nvGrpSpPr>
          <p:grpSpPr>
            <a:xfrm>
              <a:off x="4304823" y="2949892"/>
              <a:ext cx="75723" cy="75723"/>
              <a:chOff x="4304823" y="2949892"/>
              <a:chExt cx="75723" cy="75723"/>
            </a:xfrm>
          </p:grpSpPr>
          <p:sp>
            <p:nvSpPr>
              <p:cNvPr id="12627" name="Freeform: Shape 12626">
                <a:extLst>
                  <a:ext uri="{FF2B5EF4-FFF2-40B4-BE49-F238E27FC236}">
                    <a16:creationId xmlns:a16="http://schemas.microsoft.com/office/drawing/2014/main" id="{E6023C5D-7F16-A5AF-6B66-FBB45B4FC944}"/>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28" name="Freeform: Shape 12627">
                <a:extLst>
                  <a:ext uri="{FF2B5EF4-FFF2-40B4-BE49-F238E27FC236}">
                    <a16:creationId xmlns:a16="http://schemas.microsoft.com/office/drawing/2014/main" id="{7478042D-2007-2B1F-5BF8-72C8EED9A95C}"/>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21" name="Graphic 112">
              <a:extLst>
                <a:ext uri="{FF2B5EF4-FFF2-40B4-BE49-F238E27FC236}">
                  <a16:creationId xmlns:a16="http://schemas.microsoft.com/office/drawing/2014/main" id="{190B6545-84BD-7842-B980-22F90961708E}"/>
                </a:ext>
              </a:extLst>
            </p:cNvPr>
            <p:cNvGrpSpPr/>
            <p:nvPr/>
          </p:nvGrpSpPr>
          <p:grpSpPr>
            <a:xfrm>
              <a:off x="4312348" y="2949892"/>
              <a:ext cx="75723" cy="75723"/>
              <a:chOff x="4312348" y="2949892"/>
              <a:chExt cx="75723" cy="75723"/>
            </a:xfrm>
          </p:grpSpPr>
          <p:sp>
            <p:nvSpPr>
              <p:cNvPr id="12625" name="Freeform: Shape 12624">
                <a:extLst>
                  <a:ext uri="{FF2B5EF4-FFF2-40B4-BE49-F238E27FC236}">
                    <a16:creationId xmlns:a16="http://schemas.microsoft.com/office/drawing/2014/main" id="{86BE5FEF-50ED-F044-8F77-C2C7686E7C34}"/>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26" name="Freeform: Shape 12625">
                <a:extLst>
                  <a:ext uri="{FF2B5EF4-FFF2-40B4-BE49-F238E27FC236}">
                    <a16:creationId xmlns:a16="http://schemas.microsoft.com/office/drawing/2014/main" id="{7EACAFD3-08B9-FF77-4EF3-170976F76A37}"/>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622" name="Graphic 112">
              <a:extLst>
                <a:ext uri="{FF2B5EF4-FFF2-40B4-BE49-F238E27FC236}">
                  <a16:creationId xmlns:a16="http://schemas.microsoft.com/office/drawing/2014/main" id="{A04CA036-1CF4-8576-7C1A-359F0E618070}"/>
                </a:ext>
              </a:extLst>
            </p:cNvPr>
            <p:cNvGrpSpPr/>
            <p:nvPr/>
          </p:nvGrpSpPr>
          <p:grpSpPr>
            <a:xfrm>
              <a:off x="3888962" y="2740056"/>
              <a:ext cx="75628" cy="75723"/>
              <a:chOff x="3888962" y="2740056"/>
              <a:chExt cx="75628" cy="75723"/>
            </a:xfrm>
          </p:grpSpPr>
          <p:sp>
            <p:nvSpPr>
              <p:cNvPr id="12623" name="Freeform: Shape 12622">
                <a:extLst>
                  <a:ext uri="{FF2B5EF4-FFF2-40B4-BE49-F238E27FC236}">
                    <a16:creationId xmlns:a16="http://schemas.microsoft.com/office/drawing/2014/main" id="{F030A880-5569-44F8-6653-A85834CC2037}"/>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624" name="Freeform: Shape 12623">
                <a:extLst>
                  <a:ext uri="{FF2B5EF4-FFF2-40B4-BE49-F238E27FC236}">
                    <a16:creationId xmlns:a16="http://schemas.microsoft.com/office/drawing/2014/main" id="{FB54210A-64CB-EF72-74E3-CDBBED1A041E}"/>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2512" name="Group 12511">
            <a:extLst>
              <a:ext uri="{FF2B5EF4-FFF2-40B4-BE49-F238E27FC236}">
                <a16:creationId xmlns:a16="http://schemas.microsoft.com/office/drawing/2014/main" id="{FDF810F0-4CA6-3454-98D9-6A32B4DB12EC}"/>
              </a:ext>
            </a:extLst>
          </p:cNvPr>
          <p:cNvGrpSpPr/>
          <p:nvPr/>
        </p:nvGrpSpPr>
        <p:grpSpPr>
          <a:xfrm>
            <a:off x="677822" y="1468806"/>
            <a:ext cx="6832931" cy="2404800"/>
            <a:chOff x="3500437" y="2409824"/>
            <a:chExt cx="5186648" cy="2042255"/>
          </a:xfrm>
        </p:grpSpPr>
        <p:grpSp>
          <p:nvGrpSpPr>
            <p:cNvPr id="12839" name="Graphic 790">
              <a:extLst>
                <a:ext uri="{FF2B5EF4-FFF2-40B4-BE49-F238E27FC236}">
                  <a16:creationId xmlns:a16="http://schemas.microsoft.com/office/drawing/2014/main" id="{02F24935-C65A-E289-800C-3A052A31DCA2}"/>
                </a:ext>
              </a:extLst>
            </p:cNvPr>
            <p:cNvGrpSpPr/>
            <p:nvPr/>
          </p:nvGrpSpPr>
          <p:grpSpPr>
            <a:xfrm>
              <a:off x="3865530" y="2479547"/>
              <a:ext cx="4821555" cy="1972532"/>
              <a:chOff x="3865530" y="2479547"/>
              <a:chExt cx="4821555" cy="1972532"/>
            </a:xfrm>
          </p:grpSpPr>
          <p:grpSp>
            <p:nvGrpSpPr>
              <p:cNvPr id="12841" name="Graphic 790">
                <a:extLst>
                  <a:ext uri="{FF2B5EF4-FFF2-40B4-BE49-F238E27FC236}">
                    <a16:creationId xmlns:a16="http://schemas.microsoft.com/office/drawing/2014/main" id="{C1755E0E-4617-B59C-2739-7B77BF5D4C5B}"/>
                  </a:ext>
                </a:extLst>
              </p:cNvPr>
              <p:cNvGrpSpPr/>
              <p:nvPr/>
            </p:nvGrpSpPr>
            <p:grpSpPr>
              <a:xfrm>
                <a:off x="8601169" y="4376356"/>
                <a:ext cx="75723" cy="75723"/>
                <a:chOff x="8601169" y="4376356"/>
                <a:chExt cx="75723" cy="75723"/>
              </a:xfrm>
            </p:grpSpPr>
            <p:sp>
              <p:nvSpPr>
                <p:cNvPr id="13180" name="Freeform: Shape 13179">
                  <a:extLst>
                    <a:ext uri="{FF2B5EF4-FFF2-40B4-BE49-F238E27FC236}">
                      <a16:creationId xmlns:a16="http://schemas.microsoft.com/office/drawing/2014/main" id="{C55A3DE6-917C-87B0-6EA6-EC7EB28A9205}"/>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81" name="Freeform: Shape 13180">
                  <a:extLst>
                    <a:ext uri="{FF2B5EF4-FFF2-40B4-BE49-F238E27FC236}">
                      <a16:creationId xmlns:a16="http://schemas.microsoft.com/office/drawing/2014/main" id="{BF4C17FC-5161-3C2A-FD32-F424FAB0609E}"/>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2" name="Graphic 790">
                <a:extLst>
                  <a:ext uri="{FF2B5EF4-FFF2-40B4-BE49-F238E27FC236}">
                    <a16:creationId xmlns:a16="http://schemas.microsoft.com/office/drawing/2014/main" id="{8B4A62BA-80B1-74D6-2F75-92FD983C0FE0}"/>
                  </a:ext>
                </a:extLst>
              </p:cNvPr>
              <p:cNvGrpSpPr/>
              <p:nvPr/>
            </p:nvGrpSpPr>
            <p:grpSpPr>
              <a:xfrm>
                <a:off x="8611456" y="4376356"/>
                <a:ext cx="75628" cy="75723"/>
                <a:chOff x="8611456" y="4376356"/>
                <a:chExt cx="75628" cy="75723"/>
              </a:xfrm>
            </p:grpSpPr>
            <p:sp>
              <p:nvSpPr>
                <p:cNvPr id="13178" name="Freeform: Shape 13177">
                  <a:extLst>
                    <a:ext uri="{FF2B5EF4-FFF2-40B4-BE49-F238E27FC236}">
                      <a16:creationId xmlns:a16="http://schemas.microsoft.com/office/drawing/2014/main" id="{48A10C8D-4BD2-3C51-EF40-C603DA962B49}"/>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79" name="Freeform: Shape 13178">
                  <a:extLst>
                    <a:ext uri="{FF2B5EF4-FFF2-40B4-BE49-F238E27FC236}">
                      <a16:creationId xmlns:a16="http://schemas.microsoft.com/office/drawing/2014/main" id="{01F6AB32-3423-4030-AA14-D45F84AF7E7E}"/>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3" name="Graphic 790">
                <a:extLst>
                  <a:ext uri="{FF2B5EF4-FFF2-40B4-BE49-F238E27FC236}">
                    <a16:creationId xmlns:a16="http://schemas.microsoft.com/office/drawing/2014/main" id="{9FE200FA-7CA2-7BF1-FB68-7C2FDB1F171A}"/>
                  </a:ext>
                </a:extLst>
              </p:cNvPr>
              <p:cNvGrpSpPr/>
              <p:nvPr/>
            </p:nvGrpSpPr>
            <p:grpSpPr>
              <a:xfrm>
                <a:off x="8583453" y="4106989"/>
                <a:ext cx="75723" cy="75723"/>
                <a:chOff x="8583453" y="4106989"/>
                <a:chExt cx="75723" cy="75723"/>
              </a:xfrm>
            </p:grpSpPr>
            <p:sp>
              <p:nvSpPr>
                <p:cNvPr id="13176" name="Freeform: Shape 13175">
                  <a:extLst>
                    <a:ext uri="{FF2B5EF4-FFF2-40B4-BE49-F238E27FC236}">
                      <a16:creationId xmlns:a16="http://schemas.microsoft.com/office/drawing/2014/main" id="{A39DDDB9-12C1-9BC2-BA67-D0BBADE5DF88}"/>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77" name="Freeform: Shape 13176">
                  <a:extLst>
                    <a:ext uri="{FF2B5EF4-FFF2-40B4-BE49-F238E27FC236}">
                      <a16:creationId xmlns:a16="http://schemas.microsoft.com/office/drawing/2014/main" id="{DB3BB3F9-1206-96C1-5D0F-0237B0E38C7D}"/>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4" name="Graphic 790">
                <a:extLst>
                  <a:ext uri="{FF2B5EF4-FFF2-40B4-BE49-F238E27FC236}">
                    <a16:creationId xmlns:a16="http://schemas.microsoft.com/office/drawing/2014/main" id="{3D0DEBD9-9E43-693B-2921-14F9DB7EAB3C}"/>
                  </a:ext>
                </a:extLst>
              </p:cNvPr>
              <p:cNvGrpSpPr/>
              <p:nvPr/>
            </p:nvGrpSpPr>
            <p:grpSpPr>
              <a:xfrm>
                <a:off x="8465057" y="4106989"/>
                <a:ext cx="75723" cy="75723"/>
                <a:chOff x="8465057" y="4106989"/>
                <a:chExt cx="75723" cy="75723"/>
              </a:xfrm>
            </p:grpSpPr>
            <p:sp>
              <p:nvSpPr>
                <p:cNvPr id="13174" name="Freeform: Shape 13173">
                  <a:extLst>
                    <a:ext uri="{FF2B5EF4-FFF2-40B4-BE49-F238E27FC236}">
                      <a16:creationId xmlns:a16="http://schemas.microsoft.com/office/drawing/2014/main" id="{AF76A052-07B2-B1BE-286C-AE9EFAC95387}"/>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75" name="Freeform: Shape 13174">
                  <a:extLst>
                    <a:ext uri="{FF2B5EF4-FFF2-40B4-BE49-F238E27FC236}">
                      <a16:creationId xmlns:a16="http://schemas.microsoft.com/office/drawing/2014/main" id="{3FE242E7-4F50-804C-B3F5-D3E6787909BF}"/>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5" name="Graphic 790">
                <a:extLst>
                  <a:ext uri="{FF2B5EF4-FFF2-40B4-BE49-F238E27FC236}">
                    <a16:creationId xmlns:a16="http://schemas.microsoft.com/office/drawing/2014/main" id="{16716CFE-367C-E6C7-F618-F12217894E9D}"/>
                  </a:ext>
                </a:extLst>
              </p:cNvPr>
              <p:cNvGrpSpPr/>
              <p:nvPr/>
            </p:nvGrpSpPr>
            <p:grpSpPr>
              <a:xfrm>
                <a:off x="8070817" y="3932491"/>
                <a:ext cx="75723" cy="75628"/>
                <a:chOff x="8070817" y="3932491"/>
                <a:chExt cx="75723" cy="75628"/>
              </a:xfrm>
            </p:grpSpPr>
            <p:sp>
              <p:nvSpPr>
                <p:cNvPr id="13172" name="Freeform: Shape 13171">
                  <a:extLst>
                    <a:ext uri="{FF2B5EF4-FFF2-40B4-BE49-F238E27FC236}">
                      <a16:creationId xmlns:a16="http://schemas.microsoft.com/office/drawing/2014/main" id="{F4FCD43D-C616-0952-B2C0-9B221C0CD156}"/>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73" name="Freeform: Shape 13172">
                  <a:extLst>
                    <a:ext uri="{FF2B5EF4-FFF2-40B4-BE49-F238E27FC236}">
                      <a16:creationId xmlns:a16="http://schemas.microsoft.com/office/drawing/2014/main" id="{4BC55F12-5FF6-4546-E1BB-070BFFB8CFD5}"/>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6" name="Graphic 790">
                <a:extLst>
                  <a:ext uri="{FF2B5EF4-FFF2-40B4-BE49-F238E27FC236}">
                    <a16:creationId xmlns:a16="http://schemas.microsoft.com/office/drawing/2014/main" id="{66034578-6DA1-BB9E-EA72-CCD6E7E90E9A}"/>
                  </a:ext>
                </a:extLst>
              </p:cNvPr>
              <p:cNvGrpSpPr/>
              <p:nvPr/>
            </p:nvGrpSpPr>
            <p:grpSpPr>
              <a:xfrm>
                <a:off x="7717726" y="3838193"/>
                <a:ext cx="75628" cy="75628"/>
                <a:chOff x="7717726" y="3838193"/>
                <a:chExt cx="75628" cy="75628"/>
              </a:xfrm>
            </p:grpSpPr>
            <p:sp>
              <p:nvSpPr>
                <p:cNvPr id="13170" name="Freeform: Shape 13169">
                  <a:extLst>
                    <a:ext uri="{FF2B5EF4-FFF2-40B4-BE49-F238E27FC236}">
                      <a16:creationId xmlns:a16="http://schemas.microsoft.com/office/drawing/2014/main" id="{0B2C9A92-EBA1-E205-2223-96164DD44FBF}"/>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71" name="Freeform: Shape 13170">
                  <a:extLst>
                    <a:ext uri="{FF2B5EF4-FFF2-40B4-BE49-F238E27FC236}">
                      <a16:creationId xmlns:a16="http://schemas.microsoft.com/office/drawing/2014/main" id="{F4C2F935-B398-2634-CF73-ABA578281433}"/>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7" name="Graphic 790">
                <a:extLst>
                  <a:ext uri="{FF2B5EF4-FFF2-40B4-BE49-F238E27FC236}">
                    <a16:creationId xmlns:a16="http://schemas.microsoft.com/office/drawing/2014/main" id="{6879F6B9-67C1-1F1A-8D80-60FF84BAE832}"/>
                  </a:ext>
                </a:extLst>
              </p:cNvPr>
              <p:cNvGrpSpPr/>
              <p:nvPr/>
            </p:nvGrpSpPr>
            <p:grpSpPr>
              <a:xfrm>
                <a:off x="7431499" y="3801712"/>
                <a:ext cx="75723" cy="75723"/>
                <a:chOff x="7431499" y="3801712"/>
                <a:chExt cx="75723" cy="75723"/>
              </a:xfrm>
            </p:grpSpPr>
            <p:sp>
              <p:nvSpPr>
                <p:cNvPr id="13168" name="Freeform: Shape 13167">
                  <a:extLst>
                    <a:ext uri="{FF2B5EF4-FFF2-40B4-BE49-F238E27FC236}">
                      <a16:creationId xmlns:a16="http://schemas.microsoft.com/office/drawing/2014/main" id="{C2159A17-3B92-5D73-B20E-3E6C7DEC8E62}"/>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69" name="Freeform: Shape 13168">
                  <a:extLst>
                    <a:ext uri="{FF2B5EF4-FFF2-40B4-BE49-F238E27FC236}">
                      <a16:creationId xmlns:a16="http://schemas.microsoft.com/office/drawing/2014/main" id="{CBD7645B-9B1D-6C67-20CC-2E6CCA734211}"/>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8" name="Graphic 790">
                <a:extLst>
                  <a:ext uri="{FF2B5EF4-FFF2-40B4-BE49-F238E27FC236}">
                    <a16:creationId xmlns:a16="http://schemas.microsoft.com/office/drawing/2014/main" id="{35AD91A6-0B60-CB4D-580B-519AD4DA9C60}"/>
                  </a:ext>
                </a:extLst>
              </p:cNvPr>
              <p:cNvGrpSpPr/>
              <p:nvPr/>
            </p:nvGrpSpPr>
            <p:grpSpPr>
              <a:xfrm>
                <a:off x="7239380" y="3719226"/>
                <a:ext cx="75723" cy="75723"/>
                <a:chOff x="7239380" y="3719226"/>
                <a:chExt cx="75723" cy="75723"/>
              </a:xfrm>
            </p:grpSpPr>
            <p:sp>
              <p:nvSpPr>
                <p:cNvPr id="13166" name="Freeform: Shape 13165">
                  <a:extLst>
                    <a:ext uri="{FF2B5EF4-FFF2-40B4-BE49-F238E27FC236}">
                      <a16:creationId xmlns:a16="http://schemas.microsoft.com/office/drawing/2014/main" id="{923A7005-82BF-7E78-CA6C-0100B002F188}"/>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67" name="Freeform: Shape 13166">
                  <a:extLst>
                    <a:ext uri="{FF2B5EF4-FFF2-40B4-BE49-F238E27FC236}">
                      <a16:creationId xmlns:a16="http://schemas.microsoft.com/office/drawing/2014/main" id="{56AC50C4-DBB6-3D19-CB5A-F6A50B538080}"/>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49" name="Graphic 790">
                <a:extLst>
                  <a:ext uri="{FF2B5EF4-FFF2-40B4-BE49-F238E27FC236}">
                    <a16:creationId xmlns:a16="http://schemas.microsoft.com/office/drawing/2014/main" id="{AF69E008-28A6-D26E-96CF-D262D8DAC678}"/>
                  </a:ext>
                </a:extLst>
              </p:cNvPr>
              <p:cNvGrpSpPr/>
              <p:nvPr/>
            </p:nvGrpSpPr>
            <p:grpSpPr>
              <a:xfrm>
                <a:off x="7024401" y="3677030"/>
                <a:ext cx="75723" cy="75628"/>
                <a:chOff x="7024401" y="3677030"/>
                <a:chExt cx="75723" cy="75628"/>
              </a:xfrm>
            </p:grpSpPr>
            <p:sp>
              <p:nvSpPr>
                <p:cNvPr id="13164" name="Freeform: Shape 13163">
                  <a:extLst>
                    <a:ext uri="{FF2B5EF4-FFF2-40B4-BE49-F238E27FC236}">
                      <a16:creationId xmlns:a16="http://schemas.microsoft.com/office/drawing/2014/main" id="{9841B1FE-171A-CA44-0463-1DB67FA23B89}"/>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65" name="Freeform: Shape 13164">
                  <a:extLst>
                    <a:ext uri="{FF2B5EF4-FFF2-40B4-BE49-F238E27FC236}">
                      <a16:creationId xmlns:a16="http://schemas.microsoft.com/office/drawing/2014/main" id="{9FDEBC52-19FC-F0BC-0B6C-66FB2176A512}"/>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0" name="Graphic 790">
                <a:extLst>
                  <a:ext uri="{FF2B5EF4-FFF2-40B4-BE49-F238E27FC236}">
                    <a16:creationId xmlns:a16="http://schemas.microsoft.com/office/drawing/2014/main" id="{7E5AA0FF-661F-0C2A-A2BA-798F28239DF0}"/>
                  </a:ext>
                </a:extLst>
              </p:cNvPr>
              <p:cNvGrpSpPr/>
              <p:nvPr/>
            </p:nvGrpSpPr>
            <p:grpSpPr>
              <a:xfrm>
                <a:off x="6938104" y="3677030"/>
                <a:ext cx="75723" cy="75628"/>
                <a:chOff x="6938104" y="3677030"/>
                <a:chExt cx="75723" cy="75628"/>
              </a:xfrm>
            </p:grpSpPr>
            <p:sp>
              <p:nvSpPr>
                <p:cNvPr id="13162" name="Freeform: Shape 13161">
                  <a:extLst>
                    <a:ext uri="{FF2B5EF4-FFF2-40B4-BE49-F238E27FC236}">
                      <a16:creationId xmlns:a16="http://schemas.microsoft.com/office/drawing/2014/main" id="{8BCA1251-50C0-D2A3-9909-65DFC2997505}"/>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63" name="Freeform: Shape 13162">
                  <a:extLst>
                    <a:ext uri="{FF2B5EF4-FFF2-40B4-BE49-F238E27FC236}">
                      <a16:creationId xmlns:a16="http://schemas.microsoft.com/office/drawing/2014/main" id="{69F00EF6-1F87-15DD-7A53-9BE8E6054DD0}"/>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1" name="Graphic 790">
                <a:extLst>
                  <a:ext uri="{FF2B5EF4-FFF2-40B4-BE49-F238E27FC236}">
                    <a16:creationId xmlns:a16="http://schemas.microsoft.com/office/drawing/2014/main" id="{CBB07BC1-327C-AEF5-D9A8-BC24E6CF16CF}"/>
                  </a:ext>
                </a:extLst>
              </p:cNvPr>
              <p:cNvGrpSpPr/>
              <p:nvPr/>
            </p:nvGrpSpPr>
            <p:grpSpPr>
              <a:xfrm>
                <a:off x="6838092" y="3652646"/>
                <a:ext cx="75723" cy="75723"/>
                <a:chOff x="6838092" y="3652646"/>
                <a:chExt cx="75723" cy="75723"/>
              </a:xfrm>
            </p:grpSpPr>
            <p:sp>
              <p:nvSpPr>
                <p:cNvPr id="13160" name="Freeform: Shape 13159">
                  <a:extLst>
                    <a:ext uri="{FF2B5EF4-FFF2-40B4-BE49-F238E27FC236}">
                      <a16:creationId xmlns:a16="http://schemas.microsoft.com/office/drawing/2014/main" id="{6244D431-E1C8-111F-DCEA-DE2852812A86}"/>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61" name="Freeform: Shape 13160">
                  <a:extLst>
                    <a:ext uri="{FF2B5EF4-FFF2-40B4-BE49-F238E27FC236}">
                      <a16:creationId xmlns:a16="http://schemas.microsoft.com/office/drawing/2014/main" id="{99F4ED8B-ED59-C3A1-4E3B-93552CD2DE0E}"/>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2" name="Graphic 790">
                <a:extLst>
                  <a:ext uri="{FF2B5EF4-FFF2-40B4-BE49-F238E27FC236}">
                    <a16:creationId xmlns:a16="http://schemas.microsoft.com/office/drawing/2014/main" id="{BE03D583-BB00-368D-9188-CA12AD8299BC}"/>
                  </a:ext>
                </a:extLst>
              </p:cNvPr>
              <p:cNvGrpSpPr/>
              <p:nvPr/>
            </p:nvGrpSpPr>
            <p:grpSpPr>
              <a:xfrm>
                <a:off x="6516337" y="3639883"/>
                <a:ext cx="75723" cy="75723"/>
                <a:chOff x="6516337" y="3639883"/>
                <a:chExt cx="75723" cy="75723"/>
              </a:xfrm>
            </p:grpSpPr>
            <p:sp>
              <p:nvSpPr>
                <p:cNvPr id="13158" name="Freeform: Shape 13157">
                  <a:extLst>
                    <a:ext uri="{FF2B5EF4-FFF2-40B4-BE49-F238E27FC236}">
                      <a16:creationId xmlns:a16="http://schemas.microsoft.com/office/drawing/2014/main" id="{3640E52F-4902-1ED0-F381-B26F971ED987}"/>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59" name="Freeform: Shape 13158">
                  <a:extLst>
                    <a:ext uri="{FF2B5EF4-FFF2-40B4-BE49-F238E27FC236}">
                      <a16:creationId xmlns:a16="http://schemas.microsoft.com/office/drawing/2014/main" id="{E6BA93AE-0715-C004-0F55-331365640973}"/>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3" name="Graphic 790">
                <a:extLst>
                  <a:ext uri="{FF2B5EF4-FFF2-40B4-BE49-F238E27FC236}">
                    <a16:creationId xmlns:a16="http://schemas.microsoft.com/office/drawing/2014/main" id="{E214E061-0737-5636-3710-66EC9DCECE03}"/>
                  </a:ext>
                </a:extLst>
              </p:cNvPr>
              <p:cNvGrpSpPr/>
              <p:nvPr/>
            </p:nvGrpSpPr>
            <p:grpSpPr>
              <a:xfrm>
                <a:off x="6461950" y="3639883"/>
                <a:ext cx="75628" cy="75723"/>
                <a:chOff x="6461950" y="3639883"/>
                <a:chExt cx="75628" cy="75723"/>
              </a:xfrm>
            </p:grpSpPr>
            <p:sp>
              <p:nvSpPr>
                <p:cNvPr id="13156" name="Freeform: Shape 13155">
                  <a:extLst>
                    <a:ext uri="{FF2B5EF4-FFF2-40B4-BE49-F238E27FC236}">
                      <a16:creationId xmlns:a16="http://schemas.microsoft.com/office/drawing/2014/main" id="{41E4A53E-ED94-720E-19A1-9D7CF9BD5365}"/>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57" name="Freeform: Shape 13156">
                  <a:extLst>
                    <a:ext uri="{FF2B5EF4-FFF2-40B4-BE49-F238E27FC236}">
                      <a16:creationId xmlns:a16="http://schemas.microsoft.com/office/drawing/2014/main" id="{2204D8C2-E856-4440-ECA6-316AE004C03A}"/>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4" name="Graphic 790">
                <a:extLst>
                  <a:ext uri="{FF2B5EF4-FFF2-40B4-BE49-F238E27FC236}">
                    <a16:creationId xmlns:a16="http://schemas.microsoft.com/office/drawing/2014/main" id="{86B47BE2-9789-7F68-C559-7B1660EDB217}"/>
                  </a:ext>
                </a:extLst>
              </p:cNvPr>
              <p:cNvGrpSpPr/>
              <p:nvPr/>
            </p:nvGrpSpPr>
            <p:grpSpPr>
              <a:xfrm>
                <a:off x="6475475" y="3639883"/>
                <a:ext cx="75723" cy="75723"/>
                <a:chOff x="6475475" y="3639883"/>
                <a:chExt cx="75723" cy="75723"/>
              </a:xfrm>
            </p:grpSpPr>
            <p:sp>
              <p:nvSpPr>
                <p:cNvPr id="13154" name="Freeform: Shape 13153">
                  <a:extLst>
                    <a:ext uri="{FF2B5EF4-FFF2-40B4-BE49-F238E27FC236}">
                      <a16:creationId xmlns:a16="http://schemas.microsoft.com/office/drawing/2014/main" id="{49D1F147-A9C7-4BC3-D3A3-EC4B98231968}"/>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55" name="Freeform: Shape 13154">
                  <a:extLst>
                    <a:ext uri="{FF2B5EF4-FFF2-40B4-BE49-F238E27FC236}">
                      <a16:creationId xmlns:a16="http://schemas.microsoft.com/office/drawing/2014/main" id="{C3DC9B04-5337-2297-7341-E48C9FACF043}"/>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5" name="Graphic 790">
                <a:extLst>
                  <a:ext uri="{FF2B5EF4-FFF2-40B4-BE49-F238E27FC236}">
                    <a16:creationId xmlns:a16="http://schemas.microsoft.com/office/drawing/2014/main" id="{BEED2AD1-34EB-1706-9356-0FB85865D9A5}"/>
                  </a:ext>
                </a:extLst>
              </p:cNvPr>
              <p:cNvGrpSpPr/>
              <p:nvPr/>
            </p:nvGrpSpPr>
            <p:grpSpPr>
              <a:xfrm>
                <a:off x="6489096" y="3639883"/>
                <a:ext cx="75723" cy="75723"/>
                <a:chOff x="6489096" y="3639883"/>
                <a:chExt cx="75723" cy="75723"/>
              </a:xfrm>
            </p:grpSpPr>
            <p:sp>
              <p:nvSpPr>
                <p:cNvPr id="13152" name="Freeform: Shape 13151">
                  <a:extLst>
                    <a:ext uri="{FF2B5EF4-FFF2-40B4-BE49-F238E27FC236}">
                      <a16:creationId xmlns:a16="http://schemas.microsoft.com/office/drawing/2014/main" id="{B87E92B0-7E97-6074-D7F0-01A519597400}"/>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53" name="Freeform: Shape 13152">
                  <a:extLst>
                    <a:ext uri="{FF2B5EF4-FFF2-40B4-BE49-F238E27FC236}">
                      <a16:creationId xmlns:a16="http://schemas.microsoft.com/office/drawing/2014/main" id="{3D47E293-E2AB-8C88-0B90-D728EB577F0F}"/>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6" name="Graphic 790">
                <a:extLst>
                  <a:ext uri="{FF2B5EF4-FFF2-40B4-BE49-F238E27FC236}">
                    <a16:creationId xmlns:a16="http://schemas.microsoft.com/office/drawing/2014/main" id="{E976CF4E-A073-DE3C-73D7-49DB988E1E09}"/>
                  </a:ext>
                </a:extLst>
              </p:cNvPr>
              <p:cNvGrpSpPr/>
              <p:nvPr/>
            </p:nvGrpSpPr>
            <p:grpSpPr>
              <a:xfrm>
                <a:off x="6399847" y="3598449"/>
                <a:ext cx="75628" cy="75723"/>
                <a:chOff x="6399847" y="3598449"/>
                <a:chExt cx="75628" cy="75723"/>
              </a:xfrm>
            </p:grpSpPr>
            <p:sp>
              <p:nvSpPr>
                <p:cNvPr id="13150" name="Freeform: Shape 13149">
                  <a:extLst>
                    <a:ext uri="{FF2B5EF4-FFF2-40B4-BE49-F238E27FC236}">
                      <a16:creationId xmlns:a16="http://schemas.microsoft.com/office/drawing/2014/main" id="{0A1C2AD8-DE46-38AE-AEF2-5132E2EDF083}"/>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51" name="Freeform: Shape 13150">
                  <a:extLst>
                    <a:ext uri="{FF2B5EF4-FFF2-40B4-BE49-F238E27FC236}">
                      <a16:creationId xmlns:a16="http://schemas.microsoft.com/office/drawing/2014/main" id="{8780AC57-3644-FB63-1028-9C23089A226A}"/>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7" name="Graphic 790">
                <a:extLst>
                  <a:ext uri="{FF2B5EF4-FFF2-40B4-BE49-F238E27FC236}">
                    <a16:creationId xmlns:a16="http://schemas.microsoft.com/office/drawing/2014/main" id="{FEB67872-8387-639F-28B1-A747878AB5A4}"/>
                  </a:ext>
                </a:extLst>
              </p:cNvPr>
              <p:cNvGrpSpPr/>
              <p:nvPr/>
            </p:nvGrpSpPr>
            <p:grpSpPr>
              <a:xfrm>
                <a:off x="6254590" y="3598449"/>
                <a:ext cx="75723" cy="75723"/>
                <a:chOff x="6254590" y="3598449"/>
                <a:chExt cx="75723" cy="75723"/>
              </a:xfrm>
            </p:grpSpPr>
            <p:sp>
              <p:nvSpPr>
                <p:cNvPr id="13148" name="Freeform: Shape 13147">
                  <a:extLst>
                    <a:ext uri="{FF2B5EF4-FFF2-40B4-BE49-F238E27FC236}">
                      <a16:creationId xmlns:a16="http://schemas.microsoft.com/office/drawing/2014/main" id="{E3B6658C-9AD1-A142-BA62-CA6D01656ED2}"/>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9" name="Freeform: Shape 13148">
                  <a:extLst>
                    <a:ext uri="{FF2B5EF4-FFF2-40B4-BE49-F238E27FC236}">
                      <a16:creationId xmlns:a16="http://schemas.microsoft.com/office/drawing/2014/main" id="{3D7ABDE0-F20C-2C19-DB1F-4F6E5045D623}"/>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8" name="Graphic 790">
                <a:extLst>
                  <a:ext uri="{FF2B5EF4-FFF2-40B4-BE49-F238E27FC236}">
                    <a16:creationId xmlns:a16="http://schemas.microsoft.com/office/drawing/2014/main" id="{BA31170F-729D-CA25-F7C3-A50C7357C499}"/>
                  </a:ext>
                </a:extLst>
              </p:cNvPr>
              <p:cNvGrpSpPr/>
              <p:nvPr/>
            </p:nvGrpSpPr>
            <p:grpSpPr>
              <a:xfrm>
                <a:off x="6192773" y="3598449"/>
                <a:ext cx="75723" cy="75723"/>
                <a:chOff x="6192773" y="3598449"/>
                <a:chExt cx="75723" cy="75723"/>
              </a:xfrm>
            </p:grpSpPr>
            <p:sp>
              <p:nvSpPr>
                <p:cNvPr id="13146" name="Freeform: Shape 13145">
                  <a:extLst>
                    <a:ext uri="{FF2B5EF4-FFF2-40B4-BE49-F238E27FC236}">
                      <a16:creationId xmlns:a16="http://schemas.microsoft.com/office/drawing/2014/main" id="{02A73953-BF6A-AE07-9A12-111B69290EFD}"/>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7" name="Freeform: Shape 13146">
                  <a:extLst>
                    <a:ext uri="{FF2B5EF4-FFF2-40B4-BE49-F238E27FC236}">
                      <a16:creationId xmlns:a16="http://schemas.microsoft.com/office/drawing/2014/main" id="{FE7D20BB-CC2F-B7FB-2DD2-CC57FCF3B8B4}"/>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59" name="Graphic 790">
                <a:extLst>
                  <a:ext uri="{FF2B5EF4-FFF2-40B4-BE49-F238E27FC236}">
                    <a16:creationId xmlns:a16="http://schemas.microsoft.com/office/drawing/2014/main" id="{F2277A98-A12C-D0F3-1831-FEE080B55BA3}"/>
                  </a:ext>
                </a:extLst>
              </p:cNvPr>
              <p:cNvGrpSpPr/>
              <p:nvPr/>
            </p:nvGrpSpPr>
            <p:grpSpPr>
              <a:xfrm>
                <a:off x="6174104" y="3598449"/>
                <a:ext cx="75723" cy="75723"/>
                <a:chOff x="6174104" y="3598449"/>
                <a:chExt cx="75723" cy="75723"/>
              </a:xfrm>
            </p:grpSpPr>
            <p:sp>
              <p:nvSpPr>
                <p:cNvPr id="13144" name="Freeform: Shape 13143">
                  <a:extLst>
                    <a:ext uri="{FF2B5EF4-FFF2-40B4-BE49-F238E27FC236}">
                      <a16:creationId xmlns:a16="http://schemas.microsoft.com/office/drawing/2014/main" id="{524EC02F-E87B-242A-F46F-B0F33B014B01}"/>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5" name="Freeform: Shape 13144">
                  <a:extLst>
                    <a:ext uri="{FF2B5EF4-FFF2-40B4-BE49-F238E27FC236}">
                      <a16:creationId xmlns:a16="http://schemas.microsoft.com/office/drawing/2014/main" id="{DB5ACECD-CF90-16E6-BB80-7C2437ABABBC}"/>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0" name="Graphic 790">
                <a:extLst>
                  <a:ext uri="{FF2B5EF4-FFF2-40B4-BE49-F238E27FC236}">
                    <a16:creationId xmlns:a16="http://schemas.microsoft.com/office/drawing/2014/main" id="{008B2CDA-2735-7C70-DF08-823F6E389F9D}"/>
                  </a:ext>
                </a:extLst>
              </p:cNvPr>
              <p:cNvGrpSpPr/>
              <p:nvPr/>
            </p:nvGrpSpPr>
            <p:grpSpPr>
              <a:xfrm>
                <a:off x="6096475" y="3598449"/>
                <a:ext cx="75723" cy="75723"/>
                <a:chOff x="6096475" y="3598449"/>
                <a:chExt cx="75723" cy="75723"/>
              </a:xfrm>
            </p:grpSpPr>
            <p:sp>
              <p:nvSpPr>
                <p:cNvPr id="13142" name="Freeform: Shape 13141">
                  <a:extLst>
                    <a:ext uri="{FF2B5EF4-FFF2-40B4-BE49-F238E27FC236}">
                      <a16:creationId xmlns:a16="http://schemas.microsoft.com/office/drawing/2014/main" id="{1D51A949-D523-AB3D-AAE4-E4C0EF8C726D}"/>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3" name="Freeform: Shape 13142">
                  <a:extLst>
                    <a:ext uri="{FF2B5EF4-FFF2-40B4-BE49-F238E27FC236}">
                      <a16:creationId xmlns:a16="http://schemas.microsoft.com/office/drawing/2014/main" id="{BCF3852A-C3CB-104F-07CA-826D10727A0A}"/>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1" name="Graphic 790">
                <a:extLst>
                  <a:ext uri="{FF2B5EF4-FFF2-40B4-BE49-F238E27FC236}">
                    <a16:creationId xmlns:a16="http://schemas.microsoft.com/office/drawing/2014/main" id="{7A0B1E07-77C4-A2E1-3713-2FB4E3E9F105}"/>
                  </a:ext>
                </a:extLst>
              </p:cNvPr>
              <p:cNvGrpSpPr/>
              <p:nvPr/>
            </p:nvGrpSpPr>
            <p:grpSpPr>
              <a:xfrm>
                <a:off x="6078759" y="3598449"/>
                <a:ext cx="75628" cy="75723"/>
                <a:chOff x="6078759" y="3598449"/>
                <a:chExt cx="75628" cy="75723"/>
              </a:xfrm>
            </p:grpSpPr>
            <p:sp>
              <p:nvSpPr>
                <p:cNvPr id="13140" name="Freeform: Shape 13139">
                  <a:extLst>
                    <a:ext uri="{FF2B5EF4-FFF2-40B4-BE49-F238E27FC236}">
                      <a16:creationId xmlns:a16="http://schemas.microsoft.com/office/drawing/2014/main" id="{DC5E32E1-ACED-1709-A836-FEF89FE416CF}"/>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1" name="Freeform: Shape 13140">
                  <a:extLst>
                    <a:ext uri="{FF2B5EF4-FFF2-40B4-BE49-F238E27FC236}">
                      <a16:creationId xmlns:a16="http://schemas.microsoft.com/office/drawing/2014/main" id="{2FBC1C65-F72D-678B-E015-1452273A84DF}"/>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2" name="Graphic 790">
                <a:extLst>
                  <a:ext uri="{FF2B5EF4-FFF2-40B4-BE49-F238E27FC236}">
                    <a16:creationId xmlns:a16="http://schemas.microsoft.com/office/drawing/2014/main" id="{91B65A66-6602-A2B7-7E4E-B36FF0F1BF94}"/>
                  </a:ext>
                </a:extLst>
              </p:cNvPr>
              <p:cNvGrpSpPr/>
              <p:nvPr/>
            </p:nvGrpSpPr>
            <p:grpSpPr>
              <a:xfrm>
                <a:off x="6039135" y="3546442"/>
                <a:ext cx="75723" cy="75628"/>
                <a:chOff x="6039135" y="3546442"/>
                <a:chExt cx="75723" cy="75628"/>
              </a:xfrm>
            </p:grpSpPr>
            <p:sp>
              <p:nvSpPr>
                <p:cNvPr id="13138" name="Freeform: Shape 13137">
                  <a:extLst>
                    <a:ext uri="{FF2B5EF4-FFF2-40B4-BE49-F238E27FC236}">
                      <a16:creationId xmlns:a16="http://schemas.microsoft.com/office/drawing/2014/main" id="{74E3578F-3E9D-BAC6-FE19-9CE876E90166}"/>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9" name="Freeform: Shape 13138">
                  <a:extLst>
                    <a:ext uri="{FF2B5EF4-FFF2-40B4-BE49-F238E27FC236}">
                      <a16:creationId xmlns:a16="http://schemas.microsoft.com/office/drawing/2014/main" id="{9BAA4D24-97F7-13E9-1CE3-74F4C2861DD5}"/>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3" name="Graphic 790">
                <a:extLst>
                  <a:ext uri="{FF2B5EF4-FFF2-40B4-BE49-F238E27FC236}">
                    <a16:creationId xmlns:a16="http://schemas.microsoft.com/office/drawing/2014/main" id="{445932C1-B021-A057-8714-CFFEEC6C86AA}"/>
                  </a:ext>
                </a:extLst>
              </p:cNvPr>
              <p:cNvGrpSpPr/>
              <p:nvPr/>
            </p:nvGrpSpPr>
            <p:grpSpPr>
              <a:xfrm>
                <a:off x="5977984" y="3472814"/>
                <a:ext cx="75628" cy="75723"/>
                <a:chOff x="5977984" y="3472814"/>
                <a:chExt cx="75628" cy="75723"/>
              </a:xfrm>
            </p:grpSpPr>
            <p:sp>
              <p:nvSpPr>
                <p:cNvPr id="13136" name="Freeform: Shape 13135">
                  <a:extLst>
                    <a:ext uri="{FF2B5EF4-FFF2-40B4-BE49-F238E27FC236}">
                      <a16:creationId xmlns:a16="http://schemas.microsoft.com/office/drawing/2014/main" id="{89FBA21C-8093-1392-7ED5-99EBAA1DCC29}"/>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7" name="Freeform: Shape 13136">
                  <a:extLst>
                    <a:ext uri="{FF2B5EF4-FFF2-40B4-BE49-F238E27FC236}">
                      <a16:creationId xmlns:a16="http://schemas.microsoft.com/office/drawing/2014/main" id="{C36A8EC9-03B5-E6AC-A132-9CD96704ED5D}"/>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4" name="Graphic 790">
                <a:extLst>
                  <a:ext uri="{FF2B5EF4-FFF2-40B4-BE49-F238E27FC236}">
                    <a16:creationId xmlns:a16="http://schemas.microsoft.com/office/drawing/2014/main" id="{6B32324B-4CBD-FCB6-2ACA-EB6BBA8768BB}"/>
                  </a:ext>
                </a:extLst>
              </p:cNvPr>
              <p:cNvGrpSpPr/>
              <p:nvPr/>
            </p:nvGrpSpPr>
            <p:grpSpPr>
              <a:xfrm>
                <a:off x="5730715" y="3443096"/>
                <a:ext cx="75723" cy="75723"/>
                <a:chOff x="5730715" y="3443096"/>
                <a:chExt cx="75723" cy="75723"/>
              </a:xfrm>
            </p:grpSpPr>
            <p:sp>
              <p:nvSpPr>
                <p:cNvPr id="13134" name="Freeform: Shape 13133">
                  <a:extLst>
                    <a:ext uri="{FF2B5EF4-FFF2-40B4-BE49-F238E27FC236}">
                      <a16:creationId xmlns:a16="http://schemas.microsoft.com/office/drawing/2014/main" id="{1B83A574-20E2-43C1-5F16-106928D2B420}"/>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5" name="Freeform: Shape 13134">
                  <a:extLst>
                    <a:ext uri="{FF2B5EF4-FFF2-40B4-BE49-F238E27FC236}">
                      <a16:creationId xmlns:a16="http://schemas.microsoft.com/office/drawing/2014/main" id="{2D3C793F-06FB-6B33-F148-750AC21F7D04}"/>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5" name="Graphic 790">
                <a:extLst>
                  <a:ext uri="{FF2B5EF4-FFF2-40B4-BE49-F238E27FC236}">
                    <a16:creationId xmlns:a16="http://schemas.microsoft.com/office/drawing/2014/main" id="{1A24B046-854E-76C7-72C1-39E20049DA59}"/>
                  </a:ext>
                </a:extLst>
              </p:cNvPr>
              <p:cNvGrpSpPr/>
              <p:nvPr/>
            </p:nvGrpSpPr>
            <p:grpSpPr>
              <a:xfrm>
                <a:off x="5503449" y="3300793"/>
                <a:ext cx="75723" cy="75723"/>
                <a:chOff x="5503449" y="3300793"/>
                <a:chExt cx="75723" cy="75723"/>
              </a:xfrm>
            </p:grpSpPr>
            <p:sp>
              <p:nvSpPr>
                <p:cNvPr id="13132" name="Freeform: Shape 13131">
                  <a:extLst>
                    <a:ext uri="{FF2B5EF4-FFF2-40B4-BE49-F238E27FC236}">
                      <a16:creationId xmlns:a16="http://schemas.microsoft.com/office/drawing/2014/main" id="{AD0F24F1-32CA-7975-719A-456B515E7CB9}"/>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3" name="Freeform: Shape 13132">
                  <a:extLst>
                    <a:ext uri="{FF2B5EF4-FFF2-40B4-BE49-F238E27FC236}">
                      <a16:creationId xmlns:a16="http://schemas.microsoft.com/office/drawing/2014/main" id="{0AD5A74B-432D-B44E-59BD-D4C7F727E10E}"/>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6" name="Graphic 790">
                <a:extLst>
                  <a:ext uri="{FF2B5EF4-FFF2-40B4-BE49-F238E27FC236}">
                    <a16:creationId xmlns:a16="http://schemas.microsoft.com/office/drawing/2014/main" id="{5859E58B-36D6-DAC5-8DCB-D50B0B5D4CDC}"/>
                  </a:ext>
                </a:extLst>
              </p:cNvPr>
              <p:cNvGrpSpPr/>
              <p:nvPr/>
            </p:nvGrpSpPr>
            <p:grpSpPr>
              <a:xfrm>
                <a:off x="5338095" y="3244786"/>
                <a:ext cx="75628" cy="75723"/>
                <a:chOff x="5338095" y="3244786"/>
                <a:chExt cx="75628" cy="75723"/>
              </a:xfrm>
            </p:grpSpPr>
            <p:sp>
              <p:nvSpPr>
                <p:cNvPr id="13130" name="Freeform: Shape 13129">
                  <a:extLst>
                    <a:ext uri="{FF2B5EF4-FFF2-40B4-BE49-F238E27FC236}">
                      <a16:creationId xmlns:a16="http://schemas.microsoft.com/office/drawing/2014/main" id="{F4F20696-D6E7-E752-68A8-0ACFE20E6560}"/>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1" name="Freeform: Shape 13130">
                  <a:extLst>
                    <a:ext uri="{FF2B5EF4-FFF2-40B4-BE49-F238E27FC236}">
                      <a16:creationId xmlns:a16="http://schemas.microsoft.com/office/drawing/2014/main" id="{91082B2F-9CE0-A6DC-A0EA-94D754E8EA85}"/>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7" name="Graphic 790">
                <a:extLst>
                  <a:ext uri="{FF2B5EF4-FFF2-40B4-BE49-F238E27FC236}">
                    <a16:creationId xmlns:a16="http://schemas.microsoft.com/office/drawing/2014/main" id="{6C6010A2-95B8-C8C8-FB82-700955B9213F}"/>
                  </a:ext>
                </a:extLst>
              </p:cNvPr>
              <p:cNvGrpSpPr/>
              <p:nvPr/>
            </p:nvGrpSpPr>
            <p:grpSpPr>
              <a:xfrm>
                <a:off x="5268753" y="3244786"/>
                <a:ext cx="75723" cy="75723"/>
                <a:chOff x="5268753" y="3244786"/>
                <a:chExt cx="75723" cy="75723"/>
              </a:xfrm>
            </p:grpSpPr>
            <p:sp>
              <p:nvSpPr>
                <p:cNvPr id="13128" name="Freeform: Shape 13127">
                  <a:extLst>
                    <a:ext uri="{FF2B5EF4-FFF2-40B4-BE49-F238E27FC236}">
                      <a16:creationId xmlns:a16="http://schemas.microsoft.com/office/drawing/2014/main" id="{9B696A98-F405-73F8-BC9E-4FAA8E625B7F}"/>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9" name="Freeform: Shape 13128">
                  <a:extLst>
                    <a:ext uri="{FF2B5EF4-FFF2-40B4-BE49-F238E27FC236}">
                      <a16:creationId xmlns:a16="http://schemas.microsoft.com/office/drawing/2014/main" id="{28894494-FA2C-C04D-DCDF-6D679DB0CF6A}"/>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8" name="Graphic 790">
                <a:extLst>
                  <a:ext uri="{FF2B5EF4-FFF2-40B4-BE49-F238E27FC236}">
                    <a16:creationId xmlns:a16="http://schemas.microsoft.com/office/drawing/2014/main" id="{42F8E67E-53B8-9E55-D9E0-8C5877024D4A}"/>
                  </a:ext>
                </a:extLst>
              </p:cNvPr>
              <p:cNvGrpSpPr/>
              <p:nvPr/>
            </p:nvGrpSpPr>
            <p:grpSpPr>
              <a:xfrm>
                <a:off x="5234082" y="3244786"/>
                <a:ext cx="75723" cy="75723"/>
                <a:chOff x="5234082" y="3244786"/>
                <a:chExt cx="75723" cy="75723"/>
              </a:xfrm>
            </p:grpSpPr>
            <p:sp>
              <p:nvSpPr>
                <p:cNvPr id="13126" name="Freeform: Shape 13125">
                  <a:extLst>
                    <a:ext uri="{FF2B5EF4-FFF2-40B4-BE49-F238E27FC236}">
                      <a16:creationId xmlns:a16="http://schemas.microsoft.com/office/drawing/2014/main" id="{728ACCA2-A9B9-1CE6-FA89-D151ED398829}"/>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7" name="Freeform: Shape 13126">
                  <a:extLst>
                    <a:ext uri="{FF2B5EF4-FFF2-40B4-BE49-F238E27FC236}">
                      <a16:creationId xmlns:a16="http://schemas.microsoft.com/office/drawing/2014/main" id="{0D9DE8D4-8081-8099-18F1-9F50FBC71E57}"/>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69" name="Graphic 790">
                <a:extLst>
                  <a:ext uri="{FF2B5EF4-FFF2-40B4-BE49-F238E27FC236}">
                    <a16:creationId xmlns:a16="http://schemas.microsoft.com/office/drawing/2014/main" id="{F7FA39C7-6960-1855-E385-72EEB0794BB5}"/>
                  </a:ext>
                </a:extLst>
              </p:cNvPr>
              <p:cNvGrpSpPr/>
              <p:nvPr/>
            </p:nvGrpSpPr>
            <p:grpSpPr>
              <a:xfrm>
                <a:off x="5211603" y="3234689"/>
                <a:ext cx="75723" cy="75723"/>
                <a:chOff x="5211603" y="3234689"/>
                <a:chExt cx="75723" cy="75723"/>
              </a:xfrm>
            </p:grpSpPr>
            <p:sp>
              <p:nvSpPr>
                <p:cNvPr id="13124" name="Freeform: Shape 13123">
                  <a:extLst>
                    <a:ext uri="{FF2B5EF4-FFF2-40B4-BE49-F238E27FC236}">
                      <a16:creationId xmlns:a16="http://schemas.microsoft.com/office/drawing/2014/main" id="{31177F8E-05A9-3C93-37ED-A0861ED1E569}"/>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5" name="Freeform: Shape 13124">
                  <a:extLst>
                    <a:ext uri="{FF2B5EF4-FFF2-40B4-BE49-F238E27FC236}">
                      <a16:creationId xmlns:a16="http://schemas.microsoft.com/office/drawing/2014/main" id="{CF4066CE-E339-F3A1-B558-ADCBA1BA1970}"/>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0" name="Graphic 790">
                <a:extLst>
                  <a:ext uri="{FF2B5EF4-FFF2-40B4-BE49-F238E27FC236}">
                    <a16:creationId xmlns:a16="http://schemas.microsoft.com/office/drawing/2014/main" id="{C0A48E0D-6CBD-4914-6A5C-F4567618DCD1}"/>
                  </a:ext>
                </a:extLst>
              </p:cNvPr>
              <p:cNvGrpSpPr/>
              <p:nvPr/>
            </p:nvGrpSpPr>
            <p:grpSpPr>
              <a:xfrm>
                <a:off x="5196268" y="3222116"/>
                <a:ext cx="75723" cy="75723"/>
                <a:chOff x="5196268" y="3222116"/>
                <a:chExt cx="75723" cy="75723"/>
              </a:xfrm>
            </p:grpSpPr>
            <p:sp>
              <p:nvSpPr>
                <p:cNvPr id="13122" name="Freeform: Shape 13121">
                  <a:extLst>
                    <a:ext uri="{FF2B5EF4-FFF2-40B4-BE49-F238E27FC236}">
                      <a16:creationId xmlns:a16="http://schemas.microsoft.com/office/drawing/2014/main" id="{F9C969FC-043E-FF27-0A8C-7416B4F959C0}"/>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3" name="Freeform: Shape 13122">
                  <a:extLst>
                    <a:ext uri="{FF2B5EF4-FFF2-40B4-BE49-F238E27FC236}">
                      <a16:creationId xmlns:a16="http://schemas.microsoft.com/office/drawing/2014/main" id="{3B8546CA-6DAB-A757-EEA9-872FA56BEC70}"/>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1" name="Graphic 790">
                <a:extLst>
                  <a:ext uri="{FF2B5EF4-FFF2-40B4-BE49-F238E27FC236}">
                    <a16:creationId xmlns:a16="http://schemas.microsoft.com/office/drawing/2014/main" id="{BFA4CA56-B0E5-A797-0607-6703FCA72967}"/>
                  </a:ext>
                </a:extLst>
              </p:cNvPr>
              <p:cNvGrpSpPr/>
              <p:nvPr/>
            </p:nvGrpSpPr>
            <p:grpSpPr>
              <a:xfrm>
                <a:off x="5183599" y="3206971"/>
                <a:ext cx="75723" cy="75723"/>
                <a:chOff x="5183599" y="3206971"/>
                <a:chExt cx="75723" cy="75723"/>
              </a:xfrm>
            </p:grpSpPr>
            <p:sp>
              <p:nvSpPr>
                <p:cNvPr id="13120" name="Freeform: Shape 13119">
                  <a:extLst>
                    <a:ext uri="{FF2B5EF4-FFF2-40B4-BE49-F238E27FC236}">
                      <a16:creationId xmlns:a16="http://schemas.microsoft.com/office/drawing/2014/main" id="{E9977723-E54D-AB96-482D-CDB7B3C176DA}"/>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1" name="Freeform: Shape 13120">
                  <a:extLst>
                    <a:ext uri="{FF2B5EF4-FFF2-40B4-BE49-F238E27FC236}">
                      <a16:creationId xmlns:a16="http://schemas.microsoft.com/office/drawing/2014/main" id="{A609F76F-C23B-DD05-CFDA-24F94B86AD44}"/>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2" name="Graphic 790">
                <a:extLst>
                  <a:ext uri="{FF2B5EF4-FFF2-40B4-BE49-F238E27FC236}">
                    <a16:creationId xmlns:a16="http://schemas.microsoft.com/office/drawing/2014/main" id="{C57F9D6B-315E-7600-7939-B3DDEB5B5D20}"/>
                  </a:ext>
                </a:extLst>
              </p:cNvPr>
              <p:cNvGrpSpPr/>
              <p:nvPr/>
            </p:nvGrpSpPr>
            <p:grpSpPr>
              <a:xfrm>
                <a:off x="5171217" y="3173729"/>
                <a:ext cx="75628" cy="75723"/>
                <a:chOff x="5171217" y="3173729"/>
                <a:chExt cx="75628" cy="75723"/>
              </a:xfrm>
            </p:grpSpPr>
            <p:sp>
              <p:nvSpPr>
                <p:cNvPr id="13118" name="Freeform: Shape 13117">
                  <a:extLst>
                    <a:ext uri="{FF2B5EF4-FFF2-40B4-BE49-F238E27FC236}">
                      <a16:creationId xmlns:a16="http://schemas.microsoft.com/office/drawing/2014/main" id="{B4EFAFE6-4190-18E3-C945-E029C061632F}"/>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19" name="Freeform: Shape 13118">
                  <a:extLst>
                    <a:ext uri="{FF2B5EF4-FFF2-40B4-BE49-F238E27FC236}">
                      <a16:creationId xmlns:a16="http://schemas.microsoft.com/office/drawing/2014/main" id="{DB45BE84-4662-8395-9A27-06ED21DAA167}"/>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3" name="Graphic 790">
                <a:extLst>
                  <a:ext uri="{FF2B5EF4-FFF2-40B4-BE49-F238E27FC236}">
                    <a16:creationId xmlns:a16="http://schemas.microsoft.com/office/drawing/2014/main" id="{FDDF9A25-993D-0E08-224C-A27DC12AAB05}"/>
                  </a:ext>
                </a:extLst>
              </p:cNvPr>
              <p:cNvGrpSpPr/>
              <p:nvPr/>
            </p:nvGrpSpPr>
            <p:grpSpPr>
              <a:xfrm>
                <a:off x="5158453" y="3158965"/>
                <a:ext cx="75628" cy="75723"/>
                <a:chOff x="5158453" y="3158965"/>
                <a:chExt cx="75628" cy="75723"/>
              </a:xfrm>
            </p:grpSpPr>
            <p:sp>
              <p:nvSpPr>
                <p:cNvPr id="13116" name="Freeform: Shape 13115">
                  <a:extLst>
                    <a:ext uri="{FF2B5EF4-FFF2-40B4-BE49-F238E27FC236}">
                      <a16:creationId xmlns:a16="http://schemas.microsoft.com/office/drawing/2014/main" id="{0D83042F-B24A-96D9-33DE-31D1FA063F17}"/>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17" name="Freeform: Shape 13116">
                  <a:extLst>
                    <a:ext uri="{FF2B5EF4-FFF2-40B4-BE49-F238E27FC236}">
                      <a16:creationId xmlns:a16="http://schemas.microsoft.com/office/drawing/2014/main" id="{B10FCB05-FDFF-45DA-01A9-C7BAC628E191}"/>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4" name="Graphic 790">
                <a:extLst>
                  <a:ext uri="{FF2B5EF4-FFF2-40B4-BE49-F238E27FC236}">
                    <a16:creationId xmlns:a16="http://schemas.microsoft.com/office/drawing/2014/main" id="{1DBFF552-7787-25EE-029F-7B90B21E63C2}"/>
                  </a:ext>
                </a:extLst>
              </p:cNvPr>
              <p:cNvGrpSpPr/>
              <p:nvPr/>
            </p:nvGrpSpPr>
            <p:grpSpPr>
              <a:xfrm>
                <a:off x="5145880" y="3158965"/>
                <a:ext cx="75723" cy="75723"/>
                <a:chOff x="5145880" y="3158965"/>
                <a:chExt cx="75723" cy="75723"/>
              </a:xfrm>
            </p:grpSpPr>
            <p:sp>
              <p:nvSpPr>
                <p:cNvPr id="13114" name="Freeform: Shape 13113">
                  <a:extLst>
                    <a:ext uri="{FF2B5EF4-FFF2-40B4-BE49-F238E27FC236}">
                      <a16:creationId xmlns:a16="http://schemas.microsoft.com/office/drawing/2014/main" id="{F2F2D0B3-8FB5-602F-C4C6-9BFC09E32FAA}"/>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15" name="Freeform: Shape 13114">
                  <a:extLst>
                    <a:ext uri="{FF2B5EF4-FFF2-40B4-BE49-F238E27FC236}">
                      <a16:creationId xmlns:a16="http://schemas.microsoft.com/office/drawing/2014/main" id="{93B59156-ECEE-78C8-EC83-C4E55180AD71}"/>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5" name="Graphic 790">
                <a:extLst>
                  <a:ext uri="{FF2B5EF4-FFF2-40B4-BE49-F238E27FC236}">
                    <a16:creationId xmlns:a16="http://schemas.microsoft.com/office/drawing/2014/main" id="{9AC1F075-4788-D3D5-27AC-4BFC955EC5FA}"/>
                  </a:ext>
                </a:extLst>
              </p:cNvPr>
              <p:cNvGrpSpPr/>
              <p:nvPr/>
            </p:nvGrpSpPr>
            <p:grpSpPr>
              <a:xfrm>
                <a:off x="5133307" y="3158965"/>
                <a:ext cx="75723" cy="75723"/>
                <a:chOff x="5133307" y="3158965"/>
                <a:chExt cx="75723" cy="75723"/>
              </a:xfrm>
            </p:grpSpPr>
            <p:sp>
              <p:nvSpPr>
                <p:cNvPr id="13112" name="Freeform: Shape 13111">
                  <a:extLst>
                    <a:ext uri="{FF2B5EF4-FFF2-40B4-BE49-F238E27FC236}">
                      <a16:creationId xmlns:a16="http://schemas.microsoft.com/office/drawing/2014/main" id="{E70839EB-030B-88CD-79B3-948BEC8206E9}"/>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13" name="Freeform: Shape 13112">
                  <a:extLst>
                    <a:ext uri="{FF2B5EF4-FFF2-40B4-BE49-F238E27FC236}">
                      <a16:creationId xmlns:a16="http://schemas.microsoft.com/office/drawing/2014/main" id="{1502D46B-E176-9ABB-EC3C-4FBA35DF18C7}"/>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6" name="Graphic 790">
                <a:extLst>
                  <a:ext uri="{FF2B5EF4-FFF2-40B4-BE49-F238E27FC236}">
                    <a16:creationId xmlns:a16="http://schemas.microsoft.com/office/drawing/2014/main" id="{F960ED72-F3EC-4512-4FC1-E63B92CE43E5}"/>
                  </a:ext>
                </a:extLst>
              </p:cNvPr>
              <p:cNvGrpSpPr/>
              <p:nvPr/>
            </p:nvGrpSpPr>
            <p:grpSpPr>
              <a:xfrm>
                <a:off x="4973287" y="3133057"/>
                <a:ext cx="75723" cy="75723"/>
                <a:chOff x="4973287" y="3133057"/>
                <a:chExt cx="75723" cy="75723"/>
              </a:xfrm>
            </p:grpSpPr>
            <p:sp>
              <p:nvSpPr>
                <p:cNvPr id="13110" name="Freeform: Shape 13109">
                  <a:extLst>
                    <a:ext uri="{FF2B5EF4-FFF2-40B4-BE49-F238E27FC236}">
                      <a16:creationId xmlns:a16="http://schemas.microsoft.com/office/drawing/2014/main" id="{8C50921F-6863-D0AE-BF1A-C5D7D5EF2D11}"/>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11" name="Freeform: Shape 13110">
                  <a:extLst>
                    <a:ext uri="{FF2B5EF4-FFF2-40B4-BE49-F238E27FC236}">
                      <a16:creationId xmlns:a16="http://schemas.microsoft.com/office/drawing/2014/main" id="{15C7D36D-9D10-11D8-C7E0-C7C89CE794C8}"/>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7" name="Graphic 790">
                <a:extLst>
                  <a:ext uri="{FF2B5EF4-FFF2-40B4-BE49-F238E27FC236}">
                    <a16:creationId xmlns:a16="http://schemas.microsoft.com/office/drawing/2014/main" id="{B25AAD61-2462-44B1-AB7A-BAAC50911BA1}"/>
                  </a:ext>
                </a:extLst>
              </p:cNvPr>
              <p:cNvGrpSpPr/>
              <p:nvPr/>
            </p:nvGrpSpPr>
            <p:grpSpPr>
              <a:xfrm>
                <a:off x="4802980" y="3087052"/>
                <a:ext cx="75723" cy="75723"/>
                <a:chOff x="4802980" y="3087052"/>
                <a:chExt cx="75723" cy="75723"/>
              </a:xfrm>
            </p:grpSpPr>
            <p:sp>
              <p:nvSpPr>
                <p:cNvPr id="13108" name="Freeform: Shape 13107">
                  <a:extLst>
                    <a:ext uri="{FF2B5EF4-FFF2-40B4-BE49-F238E27FC236}">
                      <a16:creationId xmlns:a16="http://schemas.microsoft.com/office/drawing/2014/main" id="{6A2811A7-3339-5AAA-F3B7-C215E7D4F8AB}"/>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9" name="Freeform: Shape 13108">
                  <a:extLst>
                    <a:ext uri="{FF2B5EF4-FFF2-40B4-BE49-F238E27FC236}">
                      <a16:creationId xmlns:a16="http://schemas.microsoft.com/office/drawing/2014/main" id="{69A70856-99E6-D196-C5D4-5F0E5391B3F5}"/>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8" name="Graphic 790">
                <a:extLst>
                  <a:ext uri="{FF2B5EF4-FFF2-40B4-BE49-F238E27FC236}">
                    <a16:creationId xmlns:a16="http://schemas.microsoft.com/office/drawing/2014/main" id="{EB278ED1-9633-B804-9EDF-A5F9D0A0C5E5}"/>
                  </a:ext>
                </a:extLst>
              </p:cNvPr>
              <p:cNvGrpSpPr/>
              <p:nvPr/>
            </p:nvGrpSpPr>
            <p:grpSpPr>
              <a:xfrm>
                <a:off x="4788502" y="3073240"/>
                <a:ext cx="75723" cy="75723"/>
                <a:chOff x="4788502" y="3073240"/>
                <a:chExt cx="75723" cy="75723"/>
              </a:xfrm>
            </p:grpSpPr>
            <p:sp>
              <p:nvSpPr>
                <p:cNvPr id="13106" name="Freeform: Shape 13105">
                  <a:extLst>
                    <a:ext uri="{FF2B5EF4-FFF2-40B4-BE49-F238E27FC236}">
                      <a16:creationId xmlns:a16="http://schemas.microsoft.com/office/drawing/2014/main" id="{34EC1C82-BF3E-C621-B65C-BC2D9DADFE0B}"/>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7" name="Freeform: Shape 13106">
                  <a:extLst>
                    <a:ext uri="{FF2B5EF4-FFF2-40B4-BE49-F238E27FC236}">
                      <a16:creationId xmlns:a16="http://schemas.microsoft.com/office/drawing/2014/main" id="{1625C417-F54C-9B6C-7FBB-36004A1E6E86}"/>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79" name="Graphic 790">
                <a:extLst>
                  <a:ext uri="{FF2B5EF4-FFF2-40B4-BE49-F238E27FC236}">
                    <a16:creationId xmlns:a16="http://schemas.microsoft.com/office/drawing/2014/main" id="{5E10CD1A-436F-9C0E-EA9A-7501100AE343}"/>
                  </a:ext>
                </a:extLst>
              </p:cNvPr>
              <p:cNvGrpSpPr/>
              <p:nvPr/>
            </p:nvGrpSpPr>
            <p:grpSpPr>
              <a:xfrm>
                <a:off x="4634864" y="2850260"/>
                <a:ext cx="75723" cy="75723"/>
                <a:chOff x="4634864" y="2850260"/>
                <a:chExt cx="75723" cy="75723"/>
              </a:xfrm>
            </p:grpSpPr>
            <p:sp>
              <p:nvSpPr>
                <p:cNvPr id="13104" name="Freeform: Shape 13103">
                  <a:extLst>
                    <a:ext uri="{FF2B5EF4-FFF2-40B4-BE49-F238E27FC236}">
                      <a16:creationId xmlns:a16="http://schemas.microsoft.com/office/drawing/2014/main" id="{1A980E64-6D0D-5C5E-4185-DCD14CE3BFAE}"/>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5" name="Freeform: Shape 13104">
                  <a:extLst>
                    <a:ext uri="{FF2B5EF4-FFF2-40B4-BE49-F238E27FC236}">
                      <a16:creationId xmlns:a16="http://schemas.microsoft.com/office/drawing/2014/main" id="{BF5714D7-5CEA-D666-88F0-E7675D3DE0D6}"/>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0" name="Graphic 790">
                <a:extLst>
                  <a:ext uri="{FF2B5EF4-FFF2-40B4-BE49-F238E27FC236}">
                    <a16:creationId xmlns:a16="http://schemas.microsoft.com/office/drawing/2014/main" id="{A8E17066-58D6-5320-3021-9F1BB21AA777}"/>
                  </a:ext>
                </a:extLst>
              </p:cNvPr>
              <p:cNvGrpSpPr/>
              <p:nvPr/>
            </p:nvGrpSpPr>
            <p:grpSpPr>
              <a:xfrm>
                <a:off x="4664106" y="2856928"/>
                <a:ext cx="98964" cy="89630"/>
                <a:chOff x="4664106" y="2856928"/>
                <a:chExt cx="98964" cy="89630"/>
              </a:xfrm>
            </p:grpSpPr>
            <p:sp>
              <p:nvSpPr>
                <p:cNvPr id="13100" name="Freeform: Shape 13099">
                  <a:extLst>
                    <a:ext uri="{FF2B5EF4-FFF2-40B4-BE49-F238E27FC236}">
                      <a16:creationId xmlns:a16="http://schemas.microsoft.com/office/drawing/2014/main" id="{3179F278-2BDB-9A8B-513B-6E09C52649B0}"/>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1" name="Freeform: Shape 13100">
                  <a:extLst>
                    <a:ext uri="{FF2B5EF4-FFF2-40B4-BE49-F238E27FC236}">
                      <a16:creationId xmlns:a16="http://schemas.microsoft.com/office/drawing/2014/main" id="{C33E4109-28B9-4365-0B83-449C00CFAF1F}"/>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2" name="Freeform: Shape 13101">
                  <a:extLst>
                    <a:ext uri="{FF2B5EF4-FFF2-40B4-BE49-F238E27FC236}">
                      <a16:creationId xmlns:a16="http://schemas.microsoft.com/office/drawing/2014/main" id="{D3CD8623-9F26-5161-92DB-B1C8AAA4A75D}"/>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03" name="Freeform: Shape 13102">
                  <a:extLst>
                    <a:ext uri="{FF2B5EF4-FFF2-40B4-BE49-F238E27FC236}">
                      <a16:creationId xmlns:a16="http://schemas.microsoft.com/office/drawing/2014/main" id="{06FC5106-EC02-F3C1-0D75-0F0A26532373}"/>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1" name="Graphic 790">
                <a:extLst>
                  <a:ext uri="{FF2B5EF4-FFF2-40B4-BE49-F238E27FC236}">
                    <a16:creationId xmlns:a16="http://schemas.microsoft.com/office/drawing/2014/main" id="{2D1D29F8-5745-55A3-DE7A-4C107F541610}"/>
                  </a:ext>
                </a:extLst>
              </p:cNvPr>
              <p:cNvGrpSpPr/>
              <p:nvPr/>
            </p:nvGrpSpPr>
            <p:grpSpPr>
              <a:xfrm>
                <a:off x="4725256" y="2932651"/>
                <a:ext cx="75628" cy="75628"/>
                <a:chOff x="4725256" y="2932651"/>
                <a:chExt cx="75628" cy="75628"/>
              </a:xfrm>
            </p:grpSpPr>
            <p:sp>
              <p:nvSpPr>
                <p:cNvPr id="13098" name="Freeform: Shape 13097">
                  <a:extLst>
                    <a:ext uri="{FF2B5EF4-FFF2-40B4-BE49-F238E27FC236}">
                      <a16:creationId xmlns:a16="http://schemas.microsoft.com/office/drawing/2014/main" id="{5E793B3E-45AF-01E7-2EBB-CAB93C37290D}"/>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99" name="Freeform: Shape 13098">
                  <a:extLst>
                    <a:ext uri="{FF2B5EF4-FFF2-40B4-BE49-F238E27FC236}">
                      <a16:creationId xmlns:a16="http://schemas.microsoft.com/office/drawing/2014/main" id="{949C0F3F-8788-ABCC-8B11-27D2719CB0CF}"/>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2" name="Graphic 790">
                <a:extLst>
                  <a:ext uri="{FF2B5EF4-FFF2-40B4-BE49-F238E27FC236}">
                    <a16:creationId xmlns:a16="http://schemas.microsoft.com/office/drawing/2014/main" id="{FC6F7C6B-C71A-9D9B-D943-1538FFFDEB00}"/>
                  </a:ext>
                </a:extLst>
              </p:cNvPr>
              <p:cNvGrpSpPr/>
              <p:nvPr/>
            </p:nvGrpSpPr>
            <p:grpSpPr>
              <a:xfrm>
                <a:off x="4734972" y="2977038"/>
                <a:ext cx="75628" cy="75723"/>
                <a:chOff x="4734972" y="2977038"/>
                <a:chExt cx="75628" cy="75723"/>
              </a:xfrm>
            </p:grpSpPr>
            <p:sp>
              <p:nvSpPr>
                <p:cNvPr id="13096" name="Freeform: Shape 13095">
                  <a:extLst>
                    <a:ext uri="{FF2B5EF4-FFF2-40B4-BE49-F238E27FC236}">
                      <a16:creationId xmlns:a16="http://schemas.microsoft.com/office/drawing/2014/main" id="{410CF32A-49BF-6F43-A771-0D68C6352C0B}"/>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97" name="Freeform: Shape 13096">
                  <a:extLst>
                    <a:ext uri="{FF2B5EF4-FFF2-40B4-BE49-F238E27FC236}">
                      <a16:creationId xmlns:a16="http://schemas.microsoft.com/office/drawing/2014/main" id="{60D9F5EB-B329-CCD8-2F9E-9C790E3DA22F}"/>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3" name="Graphic 790">
                <a:extLst>
                  <a:ext uri="{FF2B5EF4-FFF2-40B4-BE49-F238E27FC236}">
                    <a16:creationId xmlns:a16="http://schemas.microsoft.com/office/drawing/2014/main" id="{DA244A2D-3165-81D6-9F8D-5C2DF4AC2665}"/>
                  </a:ext>
                </a:extLst>
              </p:cNvPr>
              <p:cNvGrpSpPr/>
              <p:nvPr/>
            </p:nvGrpSpPr>
            <p:grpSpPr>
              <a:xfrm>
                <a:off x="4744021" y="3008280"/>
                <a:ext cx="75723" cy="75723"/>
                <a:chOff x="4744021" y="3008280"/>
                <a:chExt cx="75723" cy="75723"/>
              </a:xfrm>
            </p:grpSpPr>
            <p:sp>
              <p:nvSpPr>
                <p:cNvPr id="13094" name="Freeform: Shape 13093">
                  <a:extLst>
                    <a:ext uri="{FF2B5EF4-FFF2-40B4-BE49-F238E27FC236}">
                      <a16:creationId xmlns:a16="http://schemas.microsoft.com/office/drawing/2014/main" id="{6D44F434-0870-684A-3F89-5E8BD4725C9F}"/>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95" name="Freeform: Shape 13094">
                  <a:extLst>
                    <a:ext uri="{FF2B5EF4-FFF2-40B4-BE49-F238E27FC236}">
                      <a16:creationId xmlns:a16="http://schemas.microsoft.com/office/drawing/2014/main" id="{6976538C-1617-6342-AA75-39EC09CC2F58}"/>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4" name="Graphic 790">
                <a:extLst>
                  <a:ext uri="{FF2B5EF4-FFF2-40B4-BE49-F238E27FC236}">
                    <a16:creationId xmlns:a16="http://schemas.microsoft.com/office/drawing/2014/main" id="{531EA821-A33F-FBE2-D311-85A1C1ED8749}"/>
                  </a:ext>
                </a:extLst>
              </p:cNvPr>
              <p:cNvGrpSpPr/>
              <p:nvPr/>
            </p:nvGrpSpPr>
            <p:grpSpPr>
              <a:xfrm>
                <a:off x="4765166" y="3033045"/>
                <a:ext cx="75628" cy="75723"/>
                <a:chOff x="4765166" y="3033045"/>
                <a:chExt cx="75628" cy="75723"/>
              </a:xfrm>
            </p:grpSpPr>
            <p:sp>
              <p:nvSpPr>
                <p:cNvPr id="13092" name="Freeform: Shape 13091">
                  <a:extLst>
                    <a:ext uri="{FF2B5EF4-FFF2-40B4-BE49-F238E27FC236}">
                      <a16:creationId xmlns:a16="http://schemas.microsoft.com/office/drawing/2014/main" id="{F7F36510-9D32-A00D-16F8-1E17EA05F607}"/>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93" name="Freeform: Shape 13092">
                  <a:extLst>
                    <a:ext uri="{FF2B5EF4-FFF2-40B4-BE49-F238E27FC236}">
                      <a16:creationId xmlns:a16="http://schemas.microsoft.com/office/drawing/2014/main" id="{B381F139-2BDE-6890-C87B-CB22128213BC}"/>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5" name="Graphic 790">
                <a:extLst>
                  <a:ext uri="{FF2B5EF4-FFF2-40B4-BE49-F238E27FC236}">
                    <a16:creationId xmlns:a16="http://schemas.microsoft.com/office/drawing/2014/main" id="{6AB69236-D9BE-DBDE-3E15-6B8EFDBAECD2}"/>
                  </a:ext>
                </a:extLst>
              </p:cNvPr>
              <p:cNvGrpSpPr/>
              <p:nvPr/>
            </p:nvGrpSpPr>
            <p:grpSpPr>
              <a:xfrm>
                <a:off x="4499895" y="2814732"/>
                <a:ext cx="75628" cy="75723"/>
                <a:chOff x="4499895" y="2814732"/>
                <a:chExt cx="75628" cy="75723"/>
              </a:xfrm>
            </p:grpSpPr>
            <p:sp>
              <p:nvSpPr>
                <p:cNvPr id="13090" name="Freeform: Shape 13089">
                  <a:extLst>
                    <a:ext uri="{FF2B5EF4-FFF2-40B4-BE49-F238E27FC236}">
                      <a16:creationId xmlns:a16="http://schemas.microsoft.com/office/drawing/2014/main" id="{19529E0B-1D9F-A868-6D12-933D747FAA95}"/>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91" name="Freeform: Shape 13090">
                  <a:extLst>
                    <a:ext uri="{FF2B5EF4-FFF2-40B4-BE49-F238E27FC236}">
                      <a16:creationId xmlns:a16="http://schemas.microsoft.com/office/drawing/2014/main" id="{3B8A21C8-8617-9012-D473-CF128840BE87}"/>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6" name="Graphic 790">
                <a:extLst>
                  <a:ext uri="{FF2B5EF4-FFF2-40B4-BE49-F238E27FC236}">
                    <a16:creationId xmlns:a16="http://schemas.microsoft.com/office/drawing/2014/main" id="{0734EB84-AA5B-203E-D147-289C7C1B5F47}"/>
                  </a:ext>
                </a:extLst>
              </p:cNvPr>
              <p:cNvGrpSpPr/>
              <p:nvPr/>
            </p:nvGrpSpPr>
            <p:grpSpPr>
              <a:xfrm>
                <a:off x="4424171" y="2808731"/>
                <a:ext cx="75723" cy="75628"/>
                <a:chOff x="4424171" y="2808731"/>
                <a:chExt cx="75723" cy="75628"/>
              </a:xfrm>
            </p:grpSpPr>
            <p:sp>
              <p:nvSpPr>
                <p:cNvPr id="13088" name="Freeform: Shape 13087">
                  <a:extLst>
                    <a:ext uri="{FF2B5EF4-FFF2-40B4-BE49-F238E27FC236}">
                      <a16:creationId xmlns:a16="http://schemas.microsoft.com/office/drawing/2014/main" id="{402C701B-163E-29D9-C910-78BB0ED7E157}"/>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89" name="Freeform: Shape 13088">
                  <a:extLst>
                    <a:ext uri="{FF2B5EF4-FFF2-40B4-BE49-F238E27FC236}">
                      <a16:creationId xmlns:a16="http://schemas.microsoft.com/office/drawing/2014/main" id="{4F56CEFA-46B1-97E6-6B43-EE9DE509EFFA}"/>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7" name="Graphic 790">
                <a:extLst>
                  <a:ext uri="{FF2B5EF4-FFF2-40B4-BE49-F238E27FC236}">
                    <a16:creationId xmlns:a16="http://schemas.microsoft.com/office/drawing/2014/main" id="{968392D8-AA19-6323-81BC-265296DAD653}"/>
                  </a:ext>
                </a:extLst>
              </p:cNvPr>
              <p:cNvGrpSpPr/>
              <p:nvPr/>
            </p:nvGrpSpPr>
            <p:grpSpPr>
              <a:xfrm>
                <a:off x="4203286" y="2576416"/>
                <a:ext cx="75723" cy="75723"/>
                <a:chOff x="4203286" y="2576416"/>
                <a:chExt cx="75723" cy="75723"/>
              </a:xfrm>
            </p:grpSpPr>
            <p:sp>
              <p:nvSpPr>
                <p:cNvPr id="13086" name="Freeform: Shape 13085">
                  <a:extLst>
                    <a:ext uri="{FF2B5EF4-FFF2-40B4-BE49-F238E27FC236}">
                      <a16:creationId xmlns:a16="http://schemas.microsoft.com/office/drawing/2014/main" id="{45D91BE9-6F00-1475-E426-FA2CD5ED4306}"/>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87" name="Freeform: Shape 13086">
                  <a:extLst>
                    <a:ext uri="{FF2B5EF4-FFF2-40B4-BE49-F238E27FC236}">
                      <a16:creationId xmlns:a16="http://schemas.microsoft.com/office/drawing/2014/main" id="{229BDE17-3C3F-9CE4-5EA9-3506A83BB54F}"/>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8" name="Graphic 790">
                <a:extLst>
                  <a:ext uri="{FF2B5EF4-FFF2-40B4-BE49-F238E27FC236}">
                    <a16:creationId xmlns:a16="http://schemas.microsoft.com/office/drawing/2014/main" id="{4472D536-B4F9-5B44-AE5D-49EEECF86A6B}"/>
                  </a:ext>
                </a:extLst>
              </p:cNvPr>
              <p:cNvGrpSpPr/>
              <p:nvPr/>
            </p:nvGrpSpPr>
            <p:grpSpPr>
              <a:xfrm>
                <a:off x="4135849" y="2555176"/>
                <a:ext cx="75723" cy="75723"/>
                <a:chOff x="4135849" y="2555176"/>
                <a:chExt cx="75723" cy="75723"/>
              </a:xfrm>
            </p:grpSpPr>
            <p:sp>
              <p:nvSpPr>
                <p:cNvPr id="13084" name="Freeform: Shape 13083">
                  <a:extLst>
                    <a:ext uri="{FF2B5EF4-FFF2-40B4-BE49-F238E27FC236}">
                      <a16:creationId xmlns:a16="http://schemas.microsoft.com/office/drawing/2014/main" id="{DA4FC97A-775E-2EBB-9546-C214F6395195}"/>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85" name="Freeform: Shape 13084">
                  <a:extLst>
                    <a:ext uri="{FF2B5EF4-FFF2-40B4-BE49-F238E27FC236}">
                      <a16:creationId xmlns:a16="http://schemas.microsoft.com/office/drawing/2014/main" id="{3683AAE2-AE57-08BB-B68B-CBFA203D03A9}"/>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89" name="Graphic 790">
                <a:extLst>
                  <a:ext uri="{FF2B5EF4-FFF2-40B4-BE49-F238E27FC236}">
                    <a16:creationId xmlns:a16="http://schemas.microsoft.com/office/drawing/2014/main" id="{FDF2D751-2688-9651-784A-8213A88D1AFA}"/>
                  </a:ext>
                </a:extLst>
              </p:cNvPr>
              <p:cNvGrpSpPr/>
              <p:nvPr/>
            </p:nvGrpSpPr>
            <p:grpSpPr>
              <a:xfrm>
                <a:off x="3865530" y="2479547"/>
                <a:ext cx="75723" cy="75628"/>
                <a:chOff x="3865530" y="2479547"/>
                <a:chExt cx="75723" cy="75628"/>
              </a:xfrm>
            </p:grpSpPr>
            <p:sp>
              <p:nvSpPr>
                <p:cNvPr id="13082" name="Freeform: Shape 13081">
                  <a:extLst>
                    <a:ext uri="{FF2B5EF4-FFF2-40B4-BE49-F238E27FC236}">
                      <a16:creationId xmlns:a16="http://schemas.microsoft.com/office/drawing/2014/main" id="{9019DDCB-43C9-3238-B7B5-BD179691A995}"/>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83" name="Freeform: Shape 13082">
                  <a:extLst>
                    <a:ext uri="{FF2B5EF4-FFF2-40B4-BE49-F238E27FC236}">
                      <a16:creationId xmlns:a16="http://schemas.microsoft.com/office/drawing/2014/main" id="{B2535ED7-277E-2610-FF36-0434484A0AF3}"/>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0" name="Graphic 790">
                <a:extLst>
                  <a:ext uri="{FF2B5EF4-FFF2-40B4-BE49-F238E27FC236}">
                    <a16:creationId xmlns:a16="http://schemas.microsoft.com/office/drawing/2014/main" id="{91E1A5F0-82DC-B663-8D77-33B807F94275}"/>
                  </a:ext>
                </a:extLst>
              </p:cNvPr>
              <p:cNvGrpSpPr/>
              <p:nvPr/>
            </p:nvGrpSpPr>
            <p:grpSpPr>
              <a:xfrm>
                <a:off x="3922299" y="2514790"/>
                <a:ext cx="75628" cy="75723"/>
                <a:chOff x="3922299" y="2514790"/>
                <a:chExt cx="75628" cy="75723"/>
              </a:xfrm>
            </p:grpSpPr>
            <p:sp>
              <p:nvSpPr>
                <p:cNvPr id="13080" name="Freeform: Shape 13079">
                  <a:extLst>
                    <a:ext uri="{FF2B5EF4-FFF2-40B4-BE49-F238E27FC236}">
                      <a16:creationId xmlns:a16="http://schemas.microsoft.com/office/drawing/2014/main" id="{26A5AD9A-5B93-753D-45B6-3D1A856AE466}"/>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81" name="Freeform: Shape 13080">
                  <a:extLst>
                    <a:ext uri="{FF2B5EF4-FFF2-40B4-BE49-F238E27FC236}">
                      <a16:creationId xmlns:a16="http://schemas.microsoft.com/office/drawing/2014/main" id="{D14906F2-42EA-257C-5EA6-D9C6B8F4863D}"/>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1" name="Graphic 790">
                <a:extLst>
                  <a:ext uri="{FF2B5EF4-FFF2-40B4-BE49-F238E27FC236}">
                    <a16:creationId xmlns:a16="http://schemas.microsoft.com/office/drawing/2014/main" id="{2E800CF8-686B-24DA-D568-4DE85A6FD0A2}"/>
                  </a:ext>
                </a:extLst>
              </p:cNvPr>
              <p:cNvGrpSpPr/>
              <p:nvPr/>
            </p:nvGrpSpPr>
            <p:grpSpPr>
              <a:xfrm>
                <a:off x="3893629" y="2514790"/>
                <a:ext cx="75628" cy="75723"/>
                <a:chOff x="3893629" y="2514790"/>
                <a:chExt cx="75628" cy="75723"/>
              </a:xfrm>
            </p:grpSpPr>
            <p:sp>
              <p:nvSpPr>
                <p:cNvPr id="13078" name="Freeform: Shape 13077">
                  <a:extLst>
                    <a:ext uri="{FF2B5EF4-FFF2-40B4-BE49-F238E27FC236}">
                      <a16:creationId xmlns:a16="http://schemas.microsoft.com/office/drawing/2014/main" id="{E91A42ED-2FFF-25E4-AEAB-30CB6784B95E}"/>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79" name="Freeform: Shape 13078">
                  <a:extLst>
                    <a:ext uri="{FF2B5EF4-FFF2-40B4-BE49-F238E27FC236}">
                      <a16:creationId xmlns:a16="http://schemas.microsoft.com/office/drawing/2014/main" id="{4D6260F0-6DF4-DC26-5022-551154203E68}"/>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2" name="Graphic 790">
                <a:extLst>
                  <a:ext uri="{FF2B5EF4-FFF2-40B4-BE49-F238E27FC236}">
                    <a16:creationId xmlns:a16="http://schemas.microsoft.com/office/drawing/2014/main" id="{3C570A00-5C7F-6C70-FDE1-6BCCA3C9BA90}"/>
                  </a:ext>
                </a:extLst>
              </p:cNvPr>
              <p:cNvGrpSpPr/>
              <p:nvPr/>
            </p:nvGrpSpPr>
            <p:grpSpPr>
              <a:xfrm>
                <a:off x="3909345" y="2514790"/>
                <a:ext cx="75628" cy="75723"/>
                <a:chOff x="3909345" y="2514790"/>
                <a:chExt cx="75628" cy="75723"/>
              </a:xfrm>
            </p:grpSpPr>
            <p:sp>
              <p:nvSpPr>
                <p:cNvPr id="13076" name="Freeform: Shape 13075">
                  <a:extLst>
                    <a:ext uri="{FF2B5EF4-FFF2-40B4-BE49-F238E27FC236}">
                      <a16:creationId xmlns:a16="http://schemas.microsoft.com/office/drawing/2014/main" id="{1DBF47ED-2CA6-99BC-F606-FFCE0C2ADA0A}"/>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77" name="Freeform: Shape 13076">
                  <a:extLst>
                    <a:ext uri="{FF2B5EF4-FFF2-40B4-BE49-F238E27FC236}">
                      <a16:creationId xmlns:a16="http://schemas.microsoft.com/office/drawing/2014/main" id="{18CE8782-1ED0-835A-C674-4368AEDDEDD0}"/>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3" name="Graphic 790">
                <a:extLst>
                  <a:ext uri="{FF2B5EF4-FFF2-40B4-BE49-F238E27FC236}">
                    <a16:creationId xmlns:a16="http://schemas.microsoft.com/office/drawing/2014/main" id="{A91C02F7-6472-0416-8747-48E16CC4147F}"/>
                  </a:ext>
                </a:extLst>
              </p:cNvPr>
              <p:cNvGrpSpPr/>
              <p:nvPr/>
            </p:nvGrpSpPr>
            <p:grpSpPr>
              <a:xfrm>
                <a:off x="4241101" y="2593085"/>
                <a:ext cx="75723" cy="75628"/>
                <a:chOff x="4241101" y="2593085"/>
                <a:chExt cx="75723" cy="75628"/>
              </a:xfrm>
            </p:grpSpPr>
            <p:sp>
              <p:nvSpPr>
                <p:cNvPr id="13074" name="Freeform: Shape 13073">
                  <a:extLst>
                    <a:ext uri="{FF2B5EF4-FFF2-40B4-BE49-F238E27FC236}">
                      <a16:creationId xmlns:a16="http://schemas.microsoft.com/office/drawing/2014/main" id="{B0D879AC-DF4D-DC26-4837-F3DC5BC981D2}"/>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75" name="Freeform: Shape 13074">
                  <a:extLst>
                    <a:ext uri="{FF2B5EF4-FFF2-40B4-BE49-F238E27FC236}">
                      <a16:creationId xmlns:a16="http://schemas.microsoft.com/office/drawing/2014/main" id="{78380A94-0535-776D-FA0A-683245F75C6E}"/>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4" name="Graphic 790">
                <a:extLst>
                  <a:ext uri="{FF2B5EF4-FFF2-40B4-BE49-F238E27FC236}">
                    <a16:creationId xmlns:a16="http://schemas.microsoft.com/office/drawing/2014/main" id="{89D4173E-D4FB-26F4-E259-1F9AA1962226}"/>
                  </a:ext>
                </a:extLst>
              </p:cNvPr>
              <p:cNvGrpSpPr/>
              <p:nvPr/>
            </p:nvGrpSpPr>
            <p:grpSpPr>
              <a:xfrm>
                <a:off x="4276534" y="2621851"/>
                <a:ext cx="75723" cy="75628"/>
                <a:chOff x="4276534" y="2621851"/>
                <a:chExt cx="75723" cy="75628"/>
              </a:xfrm>
            </p:grpSpPr>
            <p:sp>
              <p:nvSpPr>
                <p:cNvPr id="13072" name="Freeform: Shape 13071">
                  <a:extLst>
                    <a:ext uri="{FF2B5EF4-FFF2-40B4-BE49-F238E27FC236}">
                      <a16:creationId xmlns:a16="http://schemas.microsoft.com/office/drawing/2014/main" id="{C4F9E179-8FE6-FC9C-689F-F7C56957DC0C}"/>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73" name="Freeform: Shape 13072">
                  <a:extLst>
                    <a:ext uri="{FF2B5EF4-FFF2-40B4-BE49-F238E27FC236}">
                      <a16:creationId xmlns:a16="http://schemas.microsoft.com/office/drawing/2014/main" id="{4AA2EA6B-A5AD-AED8-49A2-683A3921CB73}"/>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5" name="Graphic 790">
                <a:extLst>
                  <a:ext uri="{FF2B5EF4-FFF2-40B4-BE49-F238E27FC236}">
                    <a16:creationId xmlns:a16="http://schemas.microsoft.com/office/drawing/2014/main" id="{AD104B65-C97A-F205-DAE5-B002B6E52779}"/>
                  </a:ext>
                </a:extLst>
              </p:cNvPr>
              <p:cNvGrpSpPr/>
              <p:nvPr/>
            </p:nvGrpSpPr>
            <p:grpSpPr>
              <a:xfrm>
                <a:off x="4283868" y="2621851"/>
                <a:ext cx="75628" cy="75628"/>
                <a:chOff x="4283868" y="2621851"/>
                <a:chExt cx="75628" cy="75628"/>
              </a:xfrm>
            </p:grpSpPr>
            <p:sp>
              <p:nvSpPr>
                <p:cNvPr id="13070" name="Freeform: Shape 13069">
                  <a:extLst>
                    <a:ext uri="{FF2B5EF4-FFF2-40B4-BE49-F238E27FC236}">
                      <a16:creationId xmlns:a16="http://schemas.microsoft.com/office/drawing/2014/main" id="{1BB745CC-CE47-2A93-485E-4A901B6183B7}"/>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71" name="Freeform: Shape 13070">
                  <a:extLst>
                    <a:ext uri="{FF2B5EF4-FFF2-40B4-BE49-F238E27FC236}">
                      <a16:creationId xmlns:a16="http://schemas.microsoft.com/office/drawing/2014/main" id="{7BD7469B-FC0E-C99A-7466-B2FA0FBFE995}"/>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6" name="Graphic 790">
                <a:extLst>
                  <a:ext uri="{FF2B5EF4-FFF2-40B4-BE49-F238E27FC236}">
                    <a16:creationId xmlns:a16="http://schemas.microsoft.com/office/drawing/2014/main" id="{213CEE57-C585-64E1-D52F-BC94ED6E0B7C}"/>
                  </a:ext>
                </a:extLst>
              </p:cNvPr>
              <p:cNvGrpSpPr/>
              <p:nvPr/>
            </p:nvGrpSpPr>
            <p:grpSpPr>
              <a:xfrm>
                <a:off x="4295298" y="2656236"/>
                <a:ext cx="75628" cy="75628"/>
                <a:chOff x="4295298" y="2656236"/>
                <a:chExt cx="75628" cy="75628"/>
              </a:xfrm>
            </p:grpSpPr>
            <p:sp>
              <p:nvSpPr>
                <p:cNvPr id="13068" name="Freeform: Shape 13067">
                  <a:extLst>
                    <a:ext uri="{FF2B5EF4-FFF2-40B4-BE49-F238E27FC236}">
                      <a16:creationId xmlns:a16="http://schemas.microsoft.com/office/drawing/2014/main" id="{49672355-FA00-804D-C5F7-8DD30DE477DA}"/>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69" name="Freeform: Shape 13068">
                  <a:extLst>
                    <a:ext uri="{FF2B5EF4-FFF2-40B4-BE49-F238E27FC236}">
                      <a16:creationId xmlns:a16="http://schemas.microsoft.com/office/drawing/2014/main" id="{57EE826C-2273-8174-5F3E-C24D26A266A0}"/>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7" name="Graphic 790">
                <a:extLst>
                  <a:ext uri="{FF2B5EF4-FFF2-40B4-BE49-F238E27FC236}">
                    <a16:creationId xmlns:a16="http://schemas.microsoft.com/office/drawing/2014/main" id="{65CD7BF3-A60A-73E0-4AE3-87A9C1255F06}"/>
                  </a:ext>
                </a:extLst>
              </p:cNvPr>
              <p:cNvGrpSpPr/>
              <p:nvPr/>
            </p:nvGrpSpPr>
            <p:grpSpPr>
              <a:xfrm>
                <a:off x="4301584" y="2656236"/>
                <a:ext cx="75628" cy="75628"/>
                <a:chOff x="4301584" y="2656236"/>
                <a:chExt cx="75628" cy="75628"/>
              </a:xfrm>
            </p:grpSpPr>
            <p:sp>
              <p:nvSpPr>
                <p:cNvPr id="13066" name="Freeform: Shape 13065">
                  <a:extLst>
                    <a:ext uri="{FF2B5EF4-FFF2-40B4-BE49-F238E27FC236}">
                      <a16:creationId xmlns:a16="http://schemas.microsoft.com/office/drawing/2014/main" id="{D25D3DEA-314B-AEC4-69D3-A7AB3F100554}"/>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67" name="Freeform: Shape 13066">
                  <a:extLst>
                    <a:ext uri="{FF2B5EF4-FFF2-40B4-BE49-F238E27FC236}">
                      <a16:creationId xmlns:a16="http://schemas.microsoft.com/office/drawing/2014/main" id="{8299BFA9-A3AE-A876-8A7D-9F32425A10EF}"/>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8" name="Graphic 790">
                <a:extLst>
                  <a:ext uri="{FF2B5EF4-FFF2-40B4-BE49-F238E27FC236}">
                    <a16:creationId xmlns:a16="http://schemas.microsoft.com/office/drawing/2014/main" id="{54B031B1-E691-9F08-E936-E0BFEA222972}"/>
                  </a:ext>
                </a:extLst>
              </p:cNvPr>
              <p:cNvGrpSpPr/>
              <p:nvPr/>
            </p:nvGrpSpPr>
            <p:grpSpPr>
              <a:xfrm>
                <a:off x="4307871" y="2685097"/>
                <a:ext cx="75628" cy="75723"/>
                <a:chOff x="4307871" y="2685097"/>
                <a:chExt cx="75628" cy="75723"/>
              </a:xfrm>
            </p:grpSpPr>
            <p:sp>
              <p:nvSpPr>
                <p:cNvPr id="13064" name="Freeform: Shape 13063">
                  <a:extLst>
                    <a:ext uri="{FF2B5EF4-FFF2-40B4-BE49-F238E27FC236}">
                      <a16:creationId xmlns:a16="http://schemas.microsoft.com/office/drawing/2014/main" id="{AF67F0EB-7405-9A3E-26DC-590BE1084B74}"/>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65" name="Freeform: Shape 13064">
                  <a:extLst>
                    <a:ext uri="{FF2B5EF4-FFF2-40B4-BE49-F238E27FC236}">
                      <a16:creationId xmlns:a16="http://schemas.microsoft.com/office/drawing/2014/main" id="{4D10FAAF-1FEF-0F3D-42B2-FE8B6698F2DA}"/>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899" name="Graphic 790">
                <a:extLst>
                  <a:ext uri="{FF2B5EF4-FFF2-40B4-BE49-F238E27FC236}">
                    <a16:creationId xmlns:a16="http://schemas.microsoft.com/office/drawing/2014/main" id="{2A326C02-3E31-4DB6-5D79-75BEA8D64F55}"/>
                  </a:ext>
                </a:extLst>
              </p:cNvPr>
              <p:cNvGrpSpPr/>
              <p:nvPr/>
            </p:nvGrpSpPr>
            <p:grpSpPr>
              <a:xfrm>
                <a:off x="4314348" y="2685097"/>
                <a:ext cx="75723" cy="75723"/>
                <a:chOff x="4314348" y="2685097"/>
                <a:chExt cx="75723" cy="75723"/>
              </a:xfrm>
            </p:grpSpPr>
            <p:sp>
              <p:nvSpPr>
                <p:cNvPr id="13062" name="Freeform: Shape 13061">
                  <a:extLst>
                    <a:ext uri="{FF2B5EF4-FFF2-40B4-BE49-F238E27FC236}">
                      <a16:creationId xmlns:a16="http://schemas.microsoft.com/office/drawing/2014/main" id="{C9B9DB55-9442-C898-B409-A1E8D2B706A6}"/>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63" name="Freeform: Shape 13062">
                  <a:extLst>
                    <a:ext uri="{FF2B5EF4-FFF2-40B4-BE49-F238E27FC236}">
                      <a16:creationId xmlns:a16="http://schemas.microsoft.com/office/drawing/2014/main" id="{2A4B8B59-5CCF-D885-D571-AAB9335A299B}"/>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0" name="Graphic 790">
                <a:extLst>
                  <a:ext uri="{FF2B5EF4-FFF2-40B4-BE49-F238E27FC236}">
                    <a16:creationId xmlns:a16="http://schemas.microsoft.com/office/drawing/2014/main" id="{4D10A797-1D21-2708-CAE0-ECC1D8C94B8A}"/>
                  </a:ext>
                </a:extLst>
              </p:cNvPr>
              <p:cNvGrpSpPr/>
              <p:nvPr/>
            </p:nvGrpSpPr>
            <p:grpSpPr>
              <a:xfrm>
                <a:off x="4330540" y="2716910"/>
                <a:ext cx="75723" cy="75723"/>
                <a:chOff x="4330540" y="2716910"/>
                <a:chExt cx="75723" cy="75723"/>
              </a:xfrm>
            </p:grpSpPr>
            <p:sp>
              <p:nvSpPr>
                <p:cNvPr id="13060" name="Freeform: Shape 13059">
                  <a:extLst>
                    <a:ext uri="{FF2B5EF4-FFF2-40B4-BE49-F238E27FC236}">
                      <a16:creationId xmlns:a16="http://schemas.microsoft.com/office/drawing/2014/main" id="{BA52A9AA-BF15-B3A0-37C7-EF5E4549CBAD}"/>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61" name="Freeform: Shape 13060">
                  <a:extLst>
                    <a:ext uri="{FF2B5EF4-FFF2-40B4-BE49-F238E27FC236}">
                      <a16:creationId xmlns:a16="http://schemas.microsoft.com/office/drawing/2014/main" id="{AC84BB40-7AD3-19B7-7CCA-2A25AC53264A}"/>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1" name="Graphic 790">
                <a:extLst>
                  <a:ext uri="{FF2B5EF4-FFF2-40B4-BE49-F238E27FC236}">
                    <a16:creationId xmlns:a16="http://schemas.microsoft.com/office/drawing/2014/main" id="{3EB85102-A537-056B-6DFE-C2D97DBBEE82}"/>
                  </a:ext>
                </a:extLst>
              </p:cNvPr>
              <p:cNvGrpSpPr/>
              <p:nvPr/>
            </p:nvGrpSpPr>
            <p:grpSpPr>
              <a:xfrm>
                <a:off x="4340827" y="2716910"/>
                <a:ext cx="75723" cy="75723"/>
                <a:chOff x="4340827" y="2716910"/>
                <a:chExt cx="75723" cy="75723"/>
              </a:xfrm>
            </p:grpSpPr>
            <p:sp>
              <p:nvSpPr>
                <p:cNvPr id="13058" name="Freeform: Shape 13057">
                  <a:extLst>
                    <a:ext uri="{FF2B5EF4-FFF2-40B4-BE49-F238E27FC236}">
                      <a16:creationId xmlns:a16="http://schemas.microsoft.com/office/drawing/2014/main" id="{339536EE-EE78-AD3D-7B66-7818EEC36D82}"/>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59" name="Freeform: Shape 13058">
                  <a:extLst>
                    <a:ext uri="{FF2B5EF4-FFF2-40B4-BE49-F238E27FC236}">
                      <a16:creationId xmlns:a16="http://schemas.microsoft.com/office/drawing/2014/main" id="{56B3A318-3D43-5C6B-3BDE-A7C2366732ED}"/>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2" name="Graphic 790">
                <a:extLst>
                  <a:ext uri="{FF2B5EF4-FFF2-40B4-BE49-F238E27FC236}">
                    <a16:creationId xmlns:a16="http://schemas.microsoft.com/office/drawing/2014/main" id="{136C976D-9B31-96DE-A653-21879287C104}"/>
                  </a:ext>
                </a:extLst>
              </p:cNvPr>
              <p:cNvGrpSpPr/>
              <p:nvPr/>
            </p:nvGrpSpPr>
            <p:grpSpPr>
              <a:xfrm>
                <a:off x="4340827" y="2754724"/>
                <a:ext cx="75723" cy="75723"/>
                <a:chOff x="4340827" y="2754724"/>
                <a:chExt cx="75723" cy="75723"/>
              </a:xfrm>
            </p:grpSpPr>
            <p:sp>
              <p:nvSpPr>
                <p:cNvPr id="13056" name="Freeform: Shape 13055">
                  <a:extLst>
                    <a:ext uri="{FF2B5EF4-FFF2-40B4-BE49-F238E27FC236}">
                      <a16:creationId xmlns:a16="http://schemas.microsoft.com/office/drawing/2014/main" id="{F66EAF23-1085-9BCB-D5A0-2638A8D9ABC2}"/>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57" name="Freeform: Shape 13056">
                  <a:extLst>
                    <a:ext uri="{FF2B5EF4-FFF2-40B4-BE49-F238E27FC236}">
                      <a16:creationId xmlns:a16="http://schemas.microsoft.com/office/drawing/2014/main" id="{D18F0224-6913-A8C3-5034-840EE081505A}"/>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3" name="Graphic 790">
                <a:extLst>
                  <a:ext uri="{FF2B5EF4-FFF2-40B4-BE49-F238E27FC236}">
                    <a16:creationId xmlns:a16="http://schemas.microsoft.com/office/drawing/2014/main" id="{520182E0-3657-9855-E374-F5BCBC7FA399}"/>
                  </a:ext>
                </a:extLst>
              </p:cNvPr>
              <p:cNvGrpSpPr/>
              <p:nvPr/>
            </p:nvGrpSpPr>
            <p:grpSpPr>
              <a:xfrm>
                <a:off x="4352257" y="2754724"/>
                <a:ext cx="75628" cy="75723"/>
                <a:chOff x="4352257" y="2754724"/>
                <a:chExt cx="75628" cy="75723"/>
              </a:xfrm>
            </p:grpSpPr>
            <p:sp>
              <p:nvSpPr>
                <p:cNvPr id="13054" name="Freeform: Shape 13053">
                  <a:extLst>
                    <a:ext uri="{FF2B5EF4-FFF2-40B4-BE49-F238E27FC236}">
                      <a16:creationId xmlns:a16="http://schemas.microsoft.com/office/drawing/2014/main" id="{54381676-8A53-24A4-65FA-610E496D276E}"/>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55" name="Freeform: Shape 13054">
                  <a:extLst>
                    <a:ext uri="{FF2B5EF4-FFF2-40B4-BE49-F238E27FC236}">
                      <a16:creationId xmlns:a16="http://schemas.microsoft.com/office/drawing/2014/main" id="{2E5E3735-7BDD-DCF1-6528-6350034FF959}"/>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4" name="Graphic 790">
                <a:extLst>
                  <a:ext uri="{FF2B5EF4-FFF2-40B4-BE49-F238E27FC236}">
                    <a16:creationId xmlns:a16="http://schemas.microsoft.com/office/drawing/2014/main" id="{2151A61F-2B7D-EFC4-9D23-FB6BDD705CE5}"/>
                  </a:ext>
                </a:extLst>
              </p:cNvPr>
              <p:cNvGrpSpPr/>
              <p:nvPr/>
            </p:nvGrpSpPr>
            <p:grpSpPr>
              <a:xfrm>
                <a:off x="4368355" y="2754724"/>
                <a:ext cx="75723" cy="75723"/>
                <a:chOff x="4368355" y="2754724"/>
                <a:chExt cx="75723" cy="75723"/>
              </a:xfrm>
            </p:grpSpPr>
            <p:sp>
              <p:nvSpPr>
                <p:cNvPr id="13052" name="Freeform: Shape 13051">
                  <a:extLst>
                    <a:ext uri="{FF2B5EF4-FFF2-40B4-BE49-F238E27FC236}">
                      <a16:creationId xmlns:a16="http://schemas.microsoft.com/office/drawing/2014/main" id="{91C36502-098C-32AB-82B5-C5BC9483C325}"/>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53" name="Freeform: Shape 13052">
                  <a:extLst>
                    <a:ext uri="{FF2B5EF4-FFF2-40B4-BE49-F238E27FC236}">
                      <a16:creationId xmlns:a16="http://schemas.microsoft.com/office/drawing/2014/main" id="{1C58CC01-04B5-2BF9-B128-742E5D97514A}"/>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5" name="Graphic 790">
                <a:extLst>
                  <a:ext uri="{FF2B5EF4-FFF2-40B4-BE49-F238E27FC236}">
                    <a16:creationId xmlns:a16="http://schemas.microsoft.com/office/drawing/2014/main" id="{467F2185-7165-CE77-9ECA-E377B798B46D}"/>
                  </a:ext>
                </a:extLst>
              </p:cNvPr>
              <p:cNvGrpSpPr/>
              <p:nvPr/>
            </p:nvGrpSpPr>
            <p:grpSpPr>
              <a:xfrm>
                <a:off x="4370926" y="2769202"/>
                <a:ext cx="75723" cy="75723"/>
                <a:chOff x="4370926" y="2769202"/>
                <a:chExt cx="75723" cy="75723"/>
              </a:xfrm>
            </p:grpSpPr>
            <p:sp>
              <p:nvSpPr>
                <p:cNvPr id="13050" name="Freeform: Shape 13049">
                  <a:extLst>
                    <a:ext uri="{FF2B5EF4-FFF2-40B4-BE49-F238E27FC236}">
                      <a16:creationId xmlns:a16="http://schemas.microsoft.com/office/drawing/2014/main" id="{2FEB66DA-8C28-CF3D-A07A-2D8BAAFC991C}"/>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51" name="Freeform: Shape 13050">
                  <a:extLst>
                    <a:ext uri="{FF2B5EF4-FFF2-40B4-BE49-F238E27FC236}">
                      <a16:creationId xmlns:a16="http://schemas.microsoft.com/office/drawing/2014/main" id="{EC021FD6-2921-8C55-7FB5-03569A3B791F}"/>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6" name="Graphic 790">
                <a:extLst>
                  <a:ext uri="{FF2B5EF4-FFF2-40B4-BE49-F238E27FC236}">
                    <a16:creationId xmlns:a16="http://schemas.microsoft.com/office/drawing/2014/main" id="{3199B8BD-8E87-E669-79C0-E625985CE3A0}"/>
                  </a:ext>
                </a:extLst>
              </p:cNvPr>
              <p:cNvGrpSpPr/>
              <p:nvPr/>
            </p:nvGrpSpPr>
            <p:grpSpPr>
              <a:xfrm>
                <a:off x="5061679" y="3133057"/>
                <a:ext cx="75628" cy="75723"/>
                <a:chOff x="5061679" y="3133057"/>
                <a:chExt cx="75628" cy="75723"/>
              </a:xfrm>
            </p:grpSpPr>
            <p:sp>
              <p:nvSpPr>
                <p:cNvPr id="13048" name="Freeform: Shape 13047">
                  <a:extLst>
                    <a:ext uri="{FF2B5EF4-FFF2-40B4-BE49-F238E27FC236}">
                      <a16:creationId xmlns:a16="http://schemas.microsoft.com/office/drawing/2014/main" id="{34D4F026-DBC0-5BE9-098C-BFD59AB66F9A}"/>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49" name="Freeform: Shape 13048">
                  <a:extLst>
                    <a:ext uri="{FF2B5EF4-FFF2-40B4-BE49-F238E27FC236}">
                      <a16:creationId xmlns:a16="http://schemas.microsoft.com/office/drawing/2014/main" id="{E4712B56-0339-05E9-0F32-E91E405463AA}"/>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7" name="Graphic 790">
                <a:extLst>
                  <a:ext uri="{FF2B5EF4-FFF2-40B4-BE49-F238E27FC236}">
                    <a16:creationId xmlns:a16="http://schemas.microsoft.com/office/drawing/2014/main" id="{E634CA11-1568-8098-3FF4-26F62A9B9C8F}"/>
                  </a:ext>
                </a:extLst>
              </p:cNvPr>
              <p:cNvGrpSpPr/>
              <p:nvPr/>
            </p:nvGrpSpPr>
            <p:grpSpPr>
              <a:xfrm>
                <a:off x="5108066" y="3144392"/>
                <a:ext cx="75628" cy="75723"/>
                <a:chOff x="5108066" y="3144392"/>
                <a:chExt cx="75628" cy="75723"/>
              </a:xfrm>
            </p:grpSpPr>
            <p:sp>
              <p:nvSpPr>
                <p:cNvPr id="13046" name="Freeform: Shape 13045">
                  <a:extLst>
                    <a:ext uri="{FF2B5EF4-FFF2-40B4-BE49-F238E27FC236}">
                      <a16:creationId xmlns:a16="http://schemas.microsoft.com/office/drawing/2014/main" id="{7D03C945-0976-B578-E453-B92038F4FDE2}"/>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47" name="Freeform: Shape 13046">
                  <a:extLst>
                    <a:ext uri="{FF2B5EF4-FFF2-40B4-BE49-F238E27FC236}">
                      <a16:creationId xmlns:a16="http://schemas.microsoft.com/office/drawing/2014/main" id="{E16C3200-37AA-5DD9-61AC-401747FFFC2A}"/>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8" name="Graphic 790">
                <a:extLst>
                  <a:ext uri="{FF2B5EF4-FFF2-40B4-BE49-F238E27FC236}">
                    <a16:creationId xmlns:a16="http://schemas.microsoft.com/office/drawing/2014/main" id="{B744D727-CDE3-722F-F8EE-B4FF87291992}"/>
                  </a:ext>
                </a:extLst>
              </p:cNvPr>
              <p:cNvGrpSpPr/>
              <p:nvPr/>
            </p:nvGrpSpPr>
            <p:grpSpPr>
              <a:xfrm>
                <a:off x="5124163" y="3151726"/>
                <a:ext cx="75723" cy="75723"/>
                <a:chOff x="5124163" y="3151726"/>
                <a:chExt cx="75723" cy="75723"/>
              </a:xfrm>
            </p:grpSpPr>
            <p:sp>
              <p:nvSpPr>
                <p:cNvPr id="13044" name="Freeform: Shape 13043">
                  <a:extLst>
                    <a:ext uri="{FF2B5EF4-FFF2-40B4-BE49-F238E27FC236}">
                      <a16:creationId xmlns:a16="http://schemas.microsoft.com/office/drawing/2014/main" id="{5CFDDA71-0D47-452A-7FB6-39B152E9E180}"/>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45" name="Freeform: Shape 13044">
                  <a:extLst>
                    <a:ext uri="{FF2B5EF4-FFF2-40B4-BE49-F238E27FC236}">
                      <a16:creationId xmlns:a16="http://schemas.microsoft.com/office/drawing/2014/main" id="{ADCC4D3C-BE05-6026-0980-7FE9E4A01A2E}"/>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09" name="Graphic 790">
                <a:extLst>
                  <a:ext uri="{FF2B5EF4-FFF2-40B4-BE49-F238E27FC236}">
                    <a16:creationId xmlns:a16="http://schemas.microsoft.com/office/drawing/2014/main" id="{D321B8A7-50A4-EF0D-A70A-31D27EA19B75}"/>
                  </a:ext>
                </a:extLst>
              </p:cNvPr>
              <p:cNvGrpSpPr/>
              <p:nvPr/>
            </p:nvGrpSpPr>
            <p:grpSpPr>
              <a:xfrm>
                <a:off x="5568314" y="3300793"/>
                <a:ext cx="75723" cy="75723"/>
                <a:chOff x="5568314" y="3300793"/>
                <a:chExt cx="75723" cy="75723"/>
              </a:xfrm>
            </p:grpSpPr>
            <p:sp>
              <p:nvSpPr>
                <p:cNvPr id="13042" name="Freeform: Shape 13041">
                  <a:extLst>
                    <a:ext uri="{FF2B5EF4-FFF2-40B4-BE49-F238E27FC236}">
                      <a16:creationId xmlns:a16="http://schemas.microsoft.com/office/drawing/2014/main" id="{A5536201-7269-C4FF-E371-7BCD4D81DEBD}"/>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43" name="Freeform: Shape 13042">
                  <a:extLst>
                    <a:ext uri="{FF2B5EF4-FFF2-40B4-BE49-F238E27FC236}">
                      <a16:creationId xmlns:a16="http://schemas.microsoft.com/office/drawing/2014/main" id="{F2ECBC07-1409-D4D7-F467-196CD178D347}"/>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0" name="Graphic 790">
                <a:extLst>
                  <a:ext uri="{FF2B5EF4-FFF2-40B4-BE49-F238E27FC236}">
                    <a16:creationId xmlns:a16="http://schemas.microsoft.com/office/drawing/2014/main" id="{97C743CD-48E3-4D92-4865-6E2A3BCEA02F}"/>
                  </a:ext>
                </a:extLst>
              </p:cNvPr>
              <p:cNvGrpSpPr/>
              <p:nvPr/>
            </p:nvGrpSpPr>
            <p:grpSpPr>
              <a:xfrm>
                <a:off x="5594603" y="3322319"/>
                <a:ext cx="75723" cy="75723"/>
                <a:chOff x="5594603" y="3322319"/>
                <a:chExt cx="75723" cy="75723"/>
              </a:xfrm>
            </p:grpSpPr>
            <p:sp>
              <p:nvSpPr>
                <p:cNvPr id="13040" name="Freeform: Shape 13039">
                  <a:extLst>
                    <a:ext uri="{FF2B5EF4-FFF2-40B4-BE49-F238E27FC236}">
                      <a16:creationId xmlns:a16="http://schemas.microsoft.com/office/drawing/2014/main" id="{CDA80FB8-E64D-4A21-E73C-1748E2D4E266}"/>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41" name="Freeform: Shape 13040">
                  <a:extLst>
                    <a:ext uri="{FF2B5EF4-FFF2-40B4-BE49-F238E27FC236}">
                      <a16:creationId xmlns:a16="http://schemas.microsoft.com/office/drawing/2014/main" id="{C739E785-CE4E-62AF-0FAD-AE82C2480F19}"/>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1" name="Graphic 790">
                <a:extLst>
                  <a:ext uri="{FF2B5EF4-FFF2-40B4-BE49-F238E27FC236}">
                    <a16:creationId xmlns:a16="http://schemas.microsoft.com/office/drawing/2014/main" id="{DD59F5FA-36FC-146D-8853-C46B16DDBEDF}"/>
                  </a:ext>
                </a:extLst>
              </p:cNvPr>
              <p:cNvGrpSpPr/>
              <p:nvPr/>
            </p:nvGrpSpPr>
            <p:grpSpPr>
              <a:xfrm>
                <a:off x="5606224" y="3360133"/>
                <a:ext cx="75628" cy="75723"/>
                <a:chOff x="5606224" y="3360133"/>
                <a:chExt cx="75628" cy="75723"/>
              </a:xfrm>
            </p:grpSpPr>
            <p:sp>
              <p:nvSpPr>
                <p:cNvPr id="13038" name="Freeform: Shape 13037">
                  <a:extLst>
                    <a:ext uri="{FF2B5EF4-FFF2-40B4-BE49-F238E27FC236}">
                      <a16:creationId xmlns:a16="http://schemas.microsoft.com/office/drawing/2014/main" id="{9056D83A-08CB-8D51-B8C4-BC0ED8B34443}"/>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39" name="Freeform: Shape 13038">
                  <a:extLst>
                    <a:ext uri="{FF2B5EF4-FFF2-40B4-BE49-F238E27FC236}">
                      <a16:creationId xmlns:a16="http://schemas.microsoft.com/office/drawing/2014/main" id="{4403879C-A29B-6E87-CE92-B5CADD8EA15C}"/>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2" name="Graphic 790">
                <a:extLst>
                  <a:ext uri="{FF2B5EF4-FFF2-40B4-BE49-F238E27FC236}">
                    <a16:creationId xmlns:a16="http://schemas.microsoft.com/office/drawing/2014/main" id="{EBA95D65-BA98-55C7-BFBA-0D9BD4E4984E}"/>
                  </a:ext>
                </a:extLst>
              </p:cNvPr>
              <p:cNvGrpSpPr/>
              <p:nvPr/>
            </p:nvGrpSpPr>
            <p:grpSpPr>
              <a:xfrm>
                <a:off x="5612224" y="3385660"/>
                <a:ext cx="75723" cy="75723"/>
                <a:chOff x="5612224" y="3385660"/>
                <a:chExt cx="75723" cy="75723"/>
              </a:xfrm>
            </p:grpSpPr>
            <p:sp>
              <p:nvSpPr>
                <p:cNvPr id="13036" name="Freeform: Shape 13035">
                  <a:extLst>
                    <a:ext uri="{FF2B5EF4-FFF2-40B4-BE49-F238E27FC236}">
                      <a16:creationId xmlns:a16="http://schemas.microsoft.com/office/drawing/2014/main" id="{4F38737F-6259-869A-AAC3-CA044B25470B}"/>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37" name="Freeform: Shape 13036">
                  <a:extLst>
                    <a:ext uri="{FF2B5EF4-FFF2-40B4-BE49-F238E27FC236}">
                      <a16:creationId xmlns:a16="http://schemas.microsoft.com/office/drawing/2014/main" id="{A2C1100B-6D95-51B9-4FB0-BE8E305FA172}"/>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3" name="Graphic 790">
                <a:extLst>
                  <a:ext uri="{FF2B5EF4-FFF2-40B4-BE49-F238E27FC236}">
                    <a16:creationId xmlns:a16="http://schemas.microsoft.com/office/drawing/2014/main" id="{8E011B05-92A8-0D23-2583-DE451F4A354B}"/>
                  </a:ext>
                </a:extLst>
              </p:cNvPr>
              <p:cNvGrpSpPr/>
              <p:nvPr/>
            </p:nvGrpSpPr>
            <p:grpSpPr>
              <a:xfrm>
                <a:off x="5619749" y="3398043"/>
                <a:ext cx="75628" cy="75628"/>
                <a:chOff x="5619749" y="3398043"/>
                <a:chExt cx="75628" cy="75628"/>
              </a:xfrm>
            </p:grpSpPr>
            <p:sp>
              <p:nvSpPr>
                <p:cNvPr id="13034" name="Freeform: Shape 13033">
                  <a:extLst>
                    <a:ext uri="{FF2B5EF4-FFF2-40B4-BE49-F238E27FC236}">
                      <a16:creationId xmlns:a16="http://schemas.microsoft.com/office/drawing/2014/main" id="{016C1B97-B98B-F2D2-75C7-477956BB5A7B}"/>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35" name="Freeform: Shape 13034">
                  <a:extLst>
                    <a:ext uri="{FF2B5EF4-FFF2-40B4-BE49-F238E27FC236}">
                      <a16:creationId xmlns:a16="http://schemas.microsoft.com/office/drawing/2014/main" id="{22FD99D2-0E75-B058-4865-F35DBC0280F7}"/>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4" name="Graphic 790">
                <a:extLst>
                  <a:ext uri="{FF2B5EF4-FFF2-40B4-BE49-F238E27FC236}">
                    <a16:creationId xmlns:a16="http://schemas.microsoft.com/office/drawing/2014/main" id="{3230ADDB-5BB6-7649-3CE3-FE59897EE705}"/>
                  </a:ext>
                </a:extLst>
              </p:cNvPr>
              <p:cNvGrpSpPr/>
              <p:nvPr/>
            </p:nvGrpSpPr>
            <p:grpSpPr>
              <a:xfrm>
                <a:off x="5640514" y="3405282"/>
                <a:ext cx="75723" cy="75628"/>
                <a:chOff x="5640514" y="3405282"/>
                <a:chExt cx="75723" cy="75628"/>
              </a:xfrm>
            </p:grpSpPr>
            <p:sp>
              <p:nvSpPr>
                <p:cNvPr id="13032" name="Freeform: Shape 13031">
                  <a:extLst>
                    <a:ext uri="{FF2B5EF4-FFF2-40B4-BE49-F238E27FC236}">
                      <a16:creationId xmlns:a16="http://schemas.microsoft.com/office/drawing/2014/main" id="{C5F9498C-0611-5ACF-1B1A-25E9F0862DAF}"/>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33" name="Freeform: Shape 13032">
                  <a:extLst>
                    <a:ext uri="{FF2B5EF4-FFF2-40B4-BE49-F238E27FC236}">
                      <a16:creationId xmlns:a16="http://schemas.microsoft.com/office/drawing/2014/main" id="{46CB6C18-6B07-7A29-D911-26A63E63FA01}"/>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5" name="Graphic 790">
                <a:extLst>
                  <a:ext uri="{FF2B5EF4-FFF2-40B4-BE49-F238E27FC236}">
                    <a16:creationId xmlns:a16="http://schemas.microsoft.com/office/drawing/2014/main" id="{3EFF6D64-6281-59D4-5694-3875C8A50C65}"/>
                  </a:ext>
                </a:extLst>
              </p:cNvPr>
              <p:cNvGrpSpPr/>
              <p:nvPr/>
            </p:nvGrpSpPr>
            <p:grpSpPr>
              <a:xfrm>
                <a:off x="5579173" y="3322319"/>
                <a:ext cx="75628" cy="75723"/>
                <a:chOff x="5579173" y="3322319"/>
                <a:chExt cx="75628" cy="75723"/>
              </a:xfrm>
            </p:grpSpPr>
            <p:sp>
              <p:nvSpPr>
                <p:cNvPr id="13030" name="Freeform: Shape 13029">
                  <a:extLst>
                    <a:ext uri="{FF2B5EF4-FFF2-40B4-BE49-F238E27FC236}">
                      <a16:creationId xmlns:a16="http://schemas.microsoft.com/office/drawing/2014/main" id="{762AA751-CF6A-D9AF-C3EF-EAC0361BFBBC}"/>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31" name="Freeform: Shape 13030">
                  <a:extLst>
                    <a:ext uri="{FF2B5EF4-FFF2-40B4-BE49-F238E27FC236}">
                      <a16:creationId xmlns:a16="http://schemas.microsoft.com/office/drawing/2014/main" id="{A36A189C-B086-8EDA-C0F4-9D2A43F39F70}"/>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6" name="Graphic 790">
                <a:extLst>
                  <a:ext uri="{FF2B5EF4-FFF2-40B4-BE49-F238E27FC236}">
                    <a16:creationId xmlns:a16="http://schemas.microsoft.com/office/drawing/2014/main" id="{AF14AF02-51EB-B753-228A-B05AE69F582C}"/>
                  </a:ext>
                </a:extLst>
              </p:cNvPr>
              <p:cNvGrpSpPr/>
              <p:nvPr/>
            </p:nvGrpSpPr>
            <p:grpSpPr>
              <a:xfrm>
                <a:off x="6010465" y="3480910"/>
                <a:ext cx="75723" cy="75723"/>
                <a:chOff x="6010465" y="3480910"/>
                <a:chExt cx="75723" cy="75723"/>
              </a:xfrm>
            </p:grpSpPr>
            <p:sp>
              <p:nvSpPr>
                <p:cNvPr id="13028" name="Freeform: Shape 13027">
                  <a:extLst>
                    <a:ext uri="{FF2B5EF4-FFF2-40B4-BE49-F238E27FC236}">
                      <a16:creationId xmlns:a16="http://schemas.microsoft.com/office/drawing/2014/main" id="{7B05A149-E3E3-F6E3-5DB2-ACC261C227AE}"/>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29" name="Freeform: Shape 13028">
                  <a:extLst>
                    <a:ext uri="{FF2B5EF4-FFF2-40B4-BE49-F238E27FC236}">
                      <a16:creationId xmlns:a16="http://schemas.microsoft.com/office/drawing/2014/main" id="{209028F1-13DB-BA94-E65B-CE8E5DF99360}"/>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7" name="Graphic 790">
                <a:extLst>
                  <a:ext uri="{FF2B5EF4-FFF2-40B4-BE49-F238E27FC236}">
                    <a16:creationId xmlns:a16="http://schemas.microsoft.com/office/drawing/2014/main" id="{01151B4B-5492-E481-6A8B-C62C4B06C616}"/>
                  </a:ext>
                </a:extLst>
              </p:cNvPr>
              <p:cNvGrpSpPr/>
              <p:nvPr/>
            </p:nvGrpSpPr>
            <p:grpSpPr>
              <a:xfrm>
                <a:off x="6029991" y="3480910"/>
                <a:ext cx="75628" cy="75723"/>
                <a:chOff x="6029991" y="3480910"/>
                <a:chExt cx="75628" cy="75723"/>
              </a:xfrm>
            </p:grpSpPr>
            <p:sp>
              <p:nvSpPr>
                <p:cNvPr id="13026" name="Freeform: Shape 13025">
                  <a:extLst>
                    <a:ext uri="{FF2B5EF4-FFF2-40B4-BE49-F238E27FC236}">
                      <a16:creationId xmlns:a16="http://schemas.microsoft.com/office/drawing/2014/main" id="{5B857CEF-6042-B5D0-EEA4-E4E434D1A607}"/>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27" name="Freeform: Shape 13026">
                  <a:extLst>
                    <a:ext uri="{FF2B5EF4-FFF2-40B4-BE49-F238E27FC236}">
                      <a16:creationId xmlns:a16="http://schemas.microsoft.com/office/drawing/2014/main" id="{5409FCE7-CD60-2624-906D-9C81C689A2F4}"/>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8" name="Graphic 790">
                <a:extLst>
                  <a:ext uri="{FF2B5EF4-FFF2-40B4-BE49-F238E27FC236}">
                    <a16:creationId xmlns:a16="http://schemas.microsoft.com/office/drawing/2014/main" id="{C02C329D-424F-59C5-F247-3E7330B4011B}"/>
                  </a:ext>
                </a:extLst>
              </p:cNvPr>
              <p:cNvGrpSpPr/>
              <p:nvPr/>
            </p:nvGrpSpPr>
            <p:grpSpPr>
              <a:xfrm>
                <a:off x="6457092" y="3598449"/>
                <a:ext cx="75628" cy="75723"/>
                <a:chOff x="6457092" y="3598449"/>
                <a:chExt cx="75628" cy="75723"/>
              </a:xfrm>
            </p:grpSpPr>
            <p:sp>
              <p:nvSpPr>
                <p:cNvPr id="13024" name="Freeform: Shape 13023">
                  <a:extLst>
                    <a:ext uri="{FF2B5EF4-FFF2-40B4-BE49-F238E27FC236}">
                      <a16:creationId xmlns:a16="http://schemas.microsoft.com/office/drawing/2014/main" id="{F8EAA1F6-3BBA-5ED7-3ED7-5F41CA0FCB39}"/>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25" name="Freeform: Shape 13024">
                  <a:extLst>
                    <a:ext uri="{FF2B5EF4-FFF2-40B4-BE49-F238E27FC236}">
                      <a16:creationId xmlns:a16="http://schemas.microsoft.com/office/drawing/2014/main" id="{2B03B8B3-C73E-BCCC-216B-96227E73622E}"/>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19" name="Graphic 790">
                <a:extLst>
                  <a:ext uri="{FF2B5EF4-FFF2-40B4-BE49-F238E27FC236}">
                    <a16:creationId xmlns:a16="http://schemas.microsoft.com/office/drawing/2014/main" id="{A45F86C2-B5BD-EFFD-3853-FBB664ADF96D}"/>
                  </a:ext>
                </a:extLst>
              </p:cNvPr>
              <p:cNvGrpSpPr/>
              <p:nvPr/>
            </p:nvGrpSpPr>
            <p:grpSpPr>
              <a:xfrm>
                <a:off x="6445567" y="3598449"/>
                <a:ext cx="75723" cy="75723"/>
                <a:chOff x="6445567" y="3598449"/>
                <a:chExt cx="75723" cy="75723"/>
              </a:xfrm>
            </p:grpSpPr>
            <p:sp>
              <p:nvSpPr>
                <p:cNvPr id="13022" name="Freeform: Shape 13021">
                  <a:extLst>
                    <a:ext uri="{FF2B5EF4-FFF2-40B4-BE49-F238E27FC236}">
                      <a16:creationId xmlns:a16="http://schemas.microsoft.com/office/drawing/2014/main" id="{DD4A8A0A-C69F-D7A4-0D68-7875206D5B47}"/>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23" name="Freeform: Shape 13022">
                  <a:extLst>
                    <a:ext uri="{FF2B5EF4-FFF2-40B4-BE49-F238E27FC236}">
                      <a16:creationId xmlns:a16="http://schemas.microsoft.com/office/drawing/2014/main" id="{58253760-2959-E967-3865-D626B5811EFE}"/>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0" name="Graphic 790">
                <a:extLst>
                  <a:ext uri="{FF2B5EF4-FFF2-40B4-BE49-F238E27FC236}">
                    <a16:creationId xmlns:a16="http://schemas.microsoft.com/office/drawing/2014/main" id="{2FF8DBEA-DF21-F707-683E-6F36BBB4F922}"/>
                  </a:ext>
                </a:extLst>
              </p:cNvPr>
              <p:cNvGrpSpPr/>
              <p:nvPr/>
            </p:nvGrpSpPr>
            <p:grpSpPr>
              <a:xfrm>
                <a:off x="6434137" y="3598449"/>
                <a:ext cx="75723" cy="75723"/>
                <a:chOff x="6434137" y="3598449"/>
                <a:chExt cx="75723" cy="75723"/>
              </a:xfrm>
            </p:grpSpPr>
            <p:sp>
              <p:nvSpPr>
                <p:cNvPr id="13020" name="Freeform: Shape 13019">
                  <a:extLst>
                    <a:ext uri="{FF2B5EF4-FFF2-40B4-BE49-F238E27FC236}">
                      <a16:creationId xmlns:a16="http://schemas.microsoft.com/office/drawing/2014/main" id="{A64A3FF8-F109-66E3-2D34-FCF1741129B5}"/>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21" name="Freeform: Shape 13020">
                  <a:extLst>
                    <a:ext uri="{FF2B5EF4-FFF2-40B4-BE49-F238E27FC236}">
                      <a16:creationId xmlns:a16="http://schemas.microsoft.com/office/drawing/2014/main" id="{210D1C00-1392-917B-CCDA-C8584F6F5C67}"/>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1" name="Graphic 790">
                <a:extLst>
                  <a:ext uri="{FF2B5EF4-FFF2-40B4-BE49-F238E27FC236}">
                    <a16:creationId xmlns:a16="http://schemas.microsoft.com/office/drawing/2014/main" id="{C8E7393E-9567-A460-0623-F62393C6D18C}"/>
                  </a:ext>
                </a:extLst>
              </p:cNvPr>
              <p:cNvGrpSpPr/>
              <p:nvPr/>
            </p:nvGrpSpPr>
            <p:grpSpPr>
              <a:xfrm>
                <a:off x="6422707" y="3598449"/>
                <a:ext cx="75723" cy="75723"/>
                <a:chOff x="6422707" y="3598449"/>
                <a:chExt cx="75723" cy="75723"/>
              </a:xfrm>
            </p:grpSpPr>
            <p:sp>
              <p:nvSpPr>
                <p:cNvPr id="13018" name="Freeform: Shape 13017">
                  <a:extLst>
                    <a:ext uri="{FF2B5EF4-FFF2-40B4-BE49-F238E27FC236}">
                      <a16:creationId xmlns:a16="http://schemas.microsoft.com/office/drawing/2014/main" id="{7E12BB08-719B-679B-B469-FF22BCC00630}"/>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19" name="Freeform: Shape 13018">
                  <a:extLst>
                    <a:ext uri="{FF2B5EF4-FFF2-40B4-BE49-F238E27FC236}">
                      <a16:creationId xmlns:a16="http://schemas.microsoft.com/office/drawing/2014/main" id="{AFC329A6-5C94-2A40-B3D4-FF872739CFAD}"/>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2" name="Graphic 790">
                <a:extLst>
                  <a:ext uri="{FF2B5EF4-FFF2-40B4-BE49-F238E27FC236}">
                    <a16:creationId xmlns:a16="http://schemas.microsoft.com/office/drawing/2014/main" id="{F2FF319D-B5BB-9362-F03C-440C27F20764}"/>
                  </a:ext>
                </a:extLst>
              </p:cNvPr>
              <p:cNvGrpSpPr/>
              <p:nvPr/>
            </p:nvGrpSpPr>
            <p:grpSpPr>
              <a:xfrm>
                <a:off x="6411277" y="3598449"/>
                <a:ext cx="75723" cy="75723"/>
                <a:chOff x="6411277" y="3598449"/>
                <a:chExt cx="75723" cy="75723"/>
              </a:xfrm>
            </p:grpSpPr>
            <p:sp>
              <p:nvSpPr>
                <p:cNvPr id="13016" name="Freeform: Shape 13015">
                  <a:extLst>
                    <a:ext uri="{FF2B5EF4-FFF2-40B4-BE49-F238E27FC236}">
                      <a16:creationId xmlns:a16="http://schemas.microsoft.com/office/drawing/2014/main" id="{A8FD05B3-4E15-C7E1-BC75-3FF72CC85522}"/>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17" name="Freeform: Shape 13016">
                  <a:extLst>
                    <a:ext uri="{FF2B5EF4-FFF2-40B4-BE49-F238E27FC236}">
                      <a16:creationId xmlns:a16="http://schemas.microsoft.com/office/drawing/2014/main" id="{E079BB28-43FF-F1EA-FEE5-89625CFACD64}"/>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3" name="Graphic 790">
                <a:extLst>
                  <a:ext uri="{FF2B5EF4-FFF2-40B4-BE49-F238E27FC236}">
                    <a16:creationId xmlns:a16="http://schemas.microsoft.com/office/drawing/2014/main" id="{1B88B869-117A-7776-A0A2-B200D8A388C2}"/>
                  </a:ext>
                </a:extLst>
              </p:cNvPr>
              <p:cNvGrpSpPr/>
              <p:nvPr/>
            </p:nvGrpSpPr>
            <p:grpSpPr>
              <a:xfrm>
                <a:off x="6502717" y="3639883"/>
                <a:ext cx="75723" cy="75723"/>
                <a:chOff x="6502717" y="3639883"/>
                <a:chExt cx="75723" cy="75723"/>
              </a:xfrm>
            </p:grpSpPr>
            <p:sp>
              <p:nvSpPr>
                <p:cNvPr id="13014" name="Freeform: Shape 13013">
                  <a:extLst>
                    <a:ext uri="{FF2B5EF4-FFF2-40B4-BE49-F238E27FC236}">
                      <a16:creationId xmlns:a16="http://schemas.microsoft.com/office/drawing/2014/main" id="{CB4B7543-BE7F-6B96-3964-74E123CACCB8}"/>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15" name="Freeform: Shape 13014">
                  <a:extLst>
                    <a:ext uri="{FF2B5EF4-FFF2-40B4-BE49-F238E27FC236}">
                      <a16:creationId xmlns:a16="http://schemas.microsoft.com/office/drawing/2014/main" id="{B77BD669-222B-71A8-DF80-029438B3038A}"/>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4" name="Graphic 790">
                <a:extLst>
                  <a:ext uri="{FF2B5EF4-FFF2-40B4-BE49-F238E27FC236}">
                    <a16:creationId xmlns:a16="http://schemas.microsoft.com/office/drawing/2014/main" id="{9913CB1F-3020-B009-A9B6-6C9339BDD8E8}"/>
                  </a:ext>
                </a:extLst>
              </p:cNvPr>
              <p:cNvGrpSpPr/>
              <p:nvPr/>
            </p:nvGrpSpPr>
            <p:grpSpPr>
              <a:xfrm>
                <a:off x="6916483" y="3652646"/>
                <a:ext cx="75723" cy="75723"/>
                <a:chOff x="6916483" y="3652646"/>
                <a:chExt cx="75723" cy="75723"/>
              </a:xfrm>
            </p:grpSpPr>
            <p:sp>
              <p:nvSpPr>
                <p:cNvPr id="13012" name="Freeform: Shape 13011">
                  <a:extLst>
                    <a:ext uri="{FF2B5EF4-FFF2-40B4-BE49-F238E27FC236}">
                      <a16:creationId xmlns:a16="http://schemas.microsoft.com/office/drawing/2014/main" id="{0946097C-128E-7974-EC88-7E6C113B3D27}"/>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13" name="Freeform: Shape 13012">
                  <a:extLst>
                    <a:ext uri="{FF2B5EF4-FFF2-40B4-BE49-F238E27FC236}">
                      <a16:creationId xmlns:a16="http://schemas.microsoft.com/office/drawing/2014/main" id="{D2B19798-1980-3DE0-ACC5-4EBAE662DBAF}"/>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5" name="Graphic 790">
                <a:extLst>
                  <a:ext uri="{FF2B5EF4-FFF2-40B4-BE49-F238E27FC236}">
                    <a16:creationId xmlns:a16="http://schemas.microsoft.com/office/drawing/2014/main" id="{60B87936-FE21-7AE6-1F51-0F21284E049C}"/>
                  </a:ext>
                </a:extLst>
              </p:cNvPr>
              <p:cNvGrpSpPr/>
              <p:nvPr/>
            </p:nvGrpSpPr>
            <p:grpSpPr>
              <a:xfrm>
                <a:off x="6900862" y="3652646"/>
                <a:ext cx="75628" cy="75723"/>
                <a:chOff x="6900862" y="3652646"/>
                <a:chExt cx="75628" cy="75723"/>
              </a:xfrm>
            </p:grpSpPr>
            <p:sp>
              <p:nvSpPr>
                <p:cNvPr id="13010" name="Freeform: Shape 13009">
                  <a:extLst>
                    <a:ext uri="{FF2B5EF4-FFF2-40B4-BE49-F238E27FC236}">
                      <a16:creationId xmlns:a16="http://schemas.microsoft.com/office/drawing/2014/main" id="{A358B676-C931-DE24-4E64-4DC761F8DD65}"/>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11" name="Freeform: Shape 13010">
                  <a:extLst>
                    <a:ext uri="{FF2B5EF4-FFF2-40B4-BE49-F238E27FC236}">
                      <a16:creationId xmlns:a16="http://schemas.microsoft.com/office/drawing/2014/main" id="{97570AD8-1410-809A-0FE7-BA5AEE73FDED}"/>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6" name="Graphic 790">
                <a:extLst>
                  <a:ext uri="{FF2B5EF4-FFF2-40B4-BE49-F238E27FC236}">
                    <a16:creationId xmlns:a16="http://schemas.microsoft.com/office/drawing/2014/main" id="{9386EAFA-1A09-8792-2E34-A98AFF255C77}"/>
                  </a:ext>
                </a:extLst>
              </p:cNvPr>
              <p:cNvGrpSpPr/>
              <p:nvPr/>
            </p:nvGrpSpPr>
            <p:grpSpPr>
              <a:xfrm>
                <a:off x="6885145" y="3652646"/>
                <a:ext cx="75723" cy="75723"/>
                <a:chOff x="6885145" y="3652646"/>
                <a:chExt cx="75723" cy="75723"/>
              </a:xfrm>
            </p:grpSpPr>
            <p:sp>
              <p:nvSpPr>
                <p:cNvPr id="13008" name="Freeform: Shape 13007">
                  <a:extLst>
                    <a:ext uri="{FF2B5EF4-FFF2-40B4-BE49-F238E27FC236}">
                      <a16:creationId xmlns:a16="http://schemas.microsoft.com/office/drawing/2014/main" id="{5C050D1D-1029-BD81-8E41-9ED6421616A3}"/>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09" name="Freeform: Shape 13008">
                  <a:extLst>
                    <a:ext uri="{FF2B5EF4-FFF2-40B4-BE49-F238E27FC236}">
                      <a16:creationId xmlns:a16="http://schemas.microsoft.com/office/drawing/2014/main" id="{2CAC00B6-3EEC-60DC-CD3C-C589711D6B18}"/>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7" name="Graphic 790">
                <a:extLst>
                  <a:ext uri="{FF2B5EF4-FFF2-40B4-BE49-F238E27FC236}">
                    <a16:creationId xmlns:a16="http://schemas.microsoft.com/office/drawing/2014/main" id="{3A36D428-2CB2-15B7-AB77-8CD5F67D2225}"/>
                  </a:ext>
                </a:extLst>
              </p:cNvPr>
              <p:cNvGrpSpPr/>
              <p:nvPr/>
            </p:nvGrpSpPr>
            <p:grpSpPr>
              <a:xfrm>
                <a:off x="6869429" y="3652646"/>
                <a:ext cx="75723" cy="75723"/>
                <a:chOff x="6869429" y="3652646"/>
                <a:chExt cx="75723" cy="75723"/>
              </a:xfrm>
            </p:grpSpPr>
            <p:sp>
              <p:nvSpPr>
                <p:cNvPr id="13006" name="Freeform: Shape 13005">
                  <a:extLst>
                    <a:ext uri="{FF2B5EF4-FFF2-40B4-BE49-F238E27FC236}">
                      <a16:creationId xmlns:a16="http://schemas.microsoft.com/office/drawing/2014/main" id="{ACE6F2F9-7533-DA22-C43A-605117345B58}"/>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07" name="Freeform: Shape 13006">
                  <a:extLst>
                    <a:ext uri="{FF2B5EF4-FFF2-40B4-BE49-F238E27FC236}">
                      <a16:creationId xmlns:a16="http://schemas.microsoft.com/office/drawing/2014/main" id="{F3ED6B7D-69D4-CEF8-5873-D770879D4BC4}"/>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8" name="Graphic 790">
                <a:extLst>
                  <a:ext uri="{FF2B5EF4-FFF2-40B4-BE49-F238E27FC236}">
                    <a16:creationId xmlns:a16="http://schemas.microsoft.com/office/drawing/2014/main" id="{5DC019A2-FA28-9320-EB99-C1D3E06B930D}"/>
                  </a:ext>
                </a:extLst>
              </p:cNvPr>
              <p:cNvGrpSpPr/>
              <p:nvPr/>
            </p:nvGrpSpPr>
            <p:grpSpPr>
              <a:xfrm>
                <a:off x="6853808" y="3652646"/>
                <a:ext cx="75628" cy="75723"/>
                <a:chOff x="6853808" y="3652646"/>
                <a:chExt cx="75628" cy="75723"/>
              </a:xfrm>
            </p:grpSpPr>
            <p:sp>
              <p:nvSpPr>
                <p:cNvPr id="13004" name="Freeform: Shape 13003">
                  <a:extLst>
                    <a:ext uri="{FF2B5EF4-FFF2-40B4-BE49-F238E27FC236}">
                      <a16:creationId xmlns:a16="http://schemas.microsoft.com/office/drawing/2014/main" id="{F31D95B2-CEB9-450F-6B88-2526A63F1F14}"/>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05" name="Freeform: Shape 13004">
                  <a:extLst>
                    <a:ext uri="{FF2B5EF4-FFF2-40B4-BE49-F238E27FC236}">
                      <a16:creationId xmlns:a16="http://schemas.microsoft.com/office/drawing/2014/main" id="{D39F8CDB-2DCD-4B2A-A600-A82672F541B5}"/>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29" name="Graphic 790">
                <a:extLst>
                  <a:ext uri="{FF2B5EF4-FFF2-40B4-BE49-F238E27FC236}">
                    <a16:creationId xmlns:a16="http://schemas.microsoft.com/office/drawing/2014/main" id="{01FD79E1-E14B-6EDD-6DD0-F7EC6218EB46}"/>
                  </a:ext>
                </a:extLst>
              </p:cNvPr>
              <p:cNvGrpSpPr/>
              <p:nvPr/>
            </p:nvGrpSpPr>
            <p:grpSpPr>
              <a:xfrm>
                <a:off x="6923626" y="3677030"/>
                <a:ext cx="75723" cy="75628"/>
                <a:chOff x="6923626" y="3677030"/>
                <a:chExt cx="75723" cy="75628"/>
              </a:xfrm>
            </p:grpSpPr>
            <p:sp>
              <p:nvSpPr>
                <p:cNvPr id="13002" name="Freeform: Shape 13001">
                  <a:extLst>
                    <a:ext uri="{FF2B5EF4-FFF2-40B4-BE49-F238E27FC236}">
                      <a16:creationId xmlns:a16="http://schemas.microsoft.com/office/drawing/2014/main" id="{AC33D9C5-BE10-DCA5-FFBB-44BF5045250F}"/>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03" name="Freeform: Shape 13002">
                  <a:extLst>
                    <a:ext uri="{FF2B5EF4-FFF2-40B4-BE49-F238E27FC236}">
                      <a16:creationId xmlns:a16="http://schemas.microsoft.com/office/drawing/2014/main" id="{D7C1E53F-B353-6C20-7BE2-B4DD2618B694}"/>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0" name="Graphic 790">
                <a:extLst>
                  <a:ext uri="{FF2B5EF4-FFF2-40B4-BE49-F238E27FC236}">
                    <a16:creationId xmlns:a16="http://schemas.microsoft.com/office/drawing/2014/main" id="{7017F5CE-FB66-E742-3092-A8B70A7C0F3C}"/>
                  </a:ext>
                </a:extLst>
              </p:cNvPr>
              <p:cNvGrpSpPr/>
              <p:nvPr/>
            </p:nvGrpSpPr>
            <p:grpSpPr>
              <a:xfrm>
                <a:off x="6908482" y="3677030"/>
                <a:ext cx="75723" cy="75628"/>
                <a:chOff x="6908482" y="3677030"/>
                <a:chExt cx="75723" cy="75628"/>
              </a:xfrm>
            </p:grpSpPr>
            <p:sp>
              <p:nvSpPr>
                <p:cNvPr id="13000" name="Freeform: Shape 12999">
                  <a:extLst>
                    <a:ext uri="{FF2B5EF4-FFF2-40B4-BE49-F238E27FC236}">
                      <a16:creationId xmlns:a16="http://schemas.microsoft.com/office/drawing/2014/main" id="{A46FF047-BBB3-BF24-A3BF-CC43ACBC06A1}"/>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001" name="Freeform: Shape 13000">
                  <a:extLst>
                    <a:ext uri="{FF2B5EF4-FFF2-40B4-BE49-F238E27FC236}">
                      <a16:creationId xmlns:a16="http://schemas.microsoft.com/office/drawing/2014/main" id="{A251159F-5CD8-C2B8-0539-28D0EBDA8345}"/>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1" name="Graphic 790">
                <a:extLst>
                  <a:ext uri="{FF2B5EF4-FFF2-40B4-BE49-F238E27FC236}">
                    <a16:creationId xmlns:a16="http://schemas.microsoft.com/office/drawing/2014/main" id="{31622E78-21BB-A368-159C-5C367F134B2E}"/>
                  </a:ext>
                </a:extLst>
              </p:cNvPr>
              <p:cNvGrpSpPr/>
              <p:nvPr/>
            </p:nvGrpSpPr>
            <p:grpSpPr>
              <a:xfrm>
                <a:off x="7307960" y="3719226"/>
                <a:ext cx="75628" cy="75723"/>
                <a:chOff x="7307960" y="3719226"/>
                <a:chExt cx="75628" cy="75723"/>
              </a:xfrm>
            </p:grpSpPr>
            <p:sp>
              <p:nvSpPr>
                <p:cNvPr id="12998" name="Freeform: Shape 12997">
                  <a:extLst>
                    <a:ext uri="{FF2B5EF4-FFF2-40B4-BE49-F238E27FC236}">
                      <a16:creationId xmlns:a16="http://schemas.microsoft.com/office/drawing/2014/main" id="{04F8BB08-48C1-EB0A-3766-3EF590D4C1CE}"/>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99" name="Freeform: Shape 12998">
                  <a:extLst>
                    <a:ext uri="{FF2B5EF4-FFF2-40B4-BE49-F238E27FC236}">
                      <a16:creationId xmlns:a16="http://schemas.microsoft.com/office/drawing/2014/main" id="{DA355B0D-F0E5-5AAA-C5B8-B84F1B9C912C}"/>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2" name="Graphic 790">
                <a:extLst>
                  <a:ext uri="{FF2B5EF4-FFF2-40B4-BE49-F238E27FC236}">
                    <a16:creationId xmlns:a16="http://schemas.microsoft.com/office/drawing/2014/main" id="{93731AB0-54B8-C294-A6BD-C9A557073E81}"/>
                  </a:ext>
                </a:extLst>
              </p:cNvPr>
              <p:cNvGrpSpPr/>
              <p:nvPr/>
            </p:nvGrpSpPr>
            <p:grpSpPr>
              <a:xfrm>
                <a:off x="7302150" y="3719226"/>
                <a:ext cx="75723" cy="75723"/>
                <a:chOff x="7302150" y="3719226"/>
                <a:chExt cx="75723" cy="75723"/>
              </a:xfrm>
            </p:grpSpPr>
            <p:sp>
              <p:nvSpPr>
                <p:cNvPr id="12996" name="Freeform: Shape 12995">
                  <a:extLst>
                    <a:ext uri="{FF2B5EF4-FFF2-40B4-BE49-F238E27FC236}">
                      <a16:creationId xmlns:a16="http://schemas.microsoft.com/office/drawing/2014/main" id="{7871A01B-DD48-EF68-1A93-3F229122E8EE}"/>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97" name="Freeform: Shape 12996">
                  <a:extLst>
                    <a:ext uri="{FF2B5EF4-FFF2-40B4-BE49-F238E27FC236}">
                      <a16:creationId xmlns:a16="http://schemas.microsoft.com/office/drawing/2014/main" id="{EC531D0E-16CB-F0DB-46AA-AA95C4D30304}"/>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3" name="Graphic 790">
                <a:extLst>
                  <a:ext uri="{FF2B5EF4-FFF2-40B4-BE49-F238E27FC236}">
                    <a16:creationId xmlns:a16="http://schemas.microsoft.com/office/drawing/2014/main" id="{C06B1E4C-D498-121E-7DA3-E48CB4F13E13}"/>
                  </a:ext>
                </a:extLst>
              </p:cNvPr>
              <p:cNvGrpSpPr/>
              <p:nvPr/>
            </p:nvGrpSpPr>
            <p:grpSpPr>
              <a:xfrm>
                <a:off x="7318819" y="3763898"/>
                <a:ext cx="75723" cy="75723"/>
                <a:chOff x="7318819" y="3763898"/>
                <a:chExt cx="75723" cy="75723"/>
              </a:xfrm>
            </p:grpSpPr>
            <p:sp>
              <p:nvSpPr>
                <p:cNvPr id="12994" name="Freeform: Shape 12993">
                  <a:extLst>
                    <a:ext uri="{FF2B5EF4-FFF2-40B4-BE49-F238E27FC236}">
                      <a16:creationId xmlns:a16="http://schemas.microsoft.com/office/drawing/2014/main" id="{086547E5-1D60-BCCF-8CCD-5A8721923FA0}"/>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95" name="Freeform: Shape 12994">
                  <a:extLst>
                    <a:ext uri="{FF2B5EF4-FFF2-40B4-BE49-F238E27FC236}">
                      <a16:creationId xmlns:a16="http://schemas.microsoft.com/office/drawing/2014/main" id="{D53D7EEB-3366-339E-1A69-E3EEA624C1ED}"/>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4" name="Graphic 790">
                <a:extLst>
                  <a:ext uri="{FF2B5EF4-FFF2-40B4-BE49-F238E27FC236}">
                    <a16:creationId xmlns:a16="http://schemas.microsoft.com/office/drawing/2014/main" id="{BAFD502B-CA88-41B3-E92A-6E8BD123FD46}"/>
                  </a:ext>
                </a:extLst>
              </p:cNvPr>
              <p:cNvGrpSpPr/>
              <p:nvPr/>
            </p:nvGrpSpPr>
            <p:grpSpPr>
              <a:xfrm>
                <a:off x="7329391" y="3772661"/>
                <a:ext cx="75723" cy="75628"/>
                <a:chOff x="7329391" y="3772661"/>
                <a:chExt cx="75723" cy="75628"/>
              </a:xfrm>
            </p:grpSpPr>
            <p:sp>
              <p:nvSpPr>
                <p:cNvPr id="12992" name="Freeform: Shape 12991">
                  <a:extLst>
                    <a:ext uri="{FF2B5EF4-FFF2-40B4-BE49-F238E27FC236}">
                      <a16:creationId xmlns:a16="http://schemas.microsoft.com/office/drawing/2014/main" id="{41FEF115-B7BA-C737-CED8-4F0E7BC1FCB8}"/>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93" name="Freeform: Shape 12992">
                  <a:extLst>
                    <a:ext uri="{FF2B5EF4-FFF2-40B4-BE49-F238E27FC236}">
                      <a16:creationId xmlns:a16="http://schemas.microsoft.com/office/drawing/2014/main" id="{68F685F7-607D-4BF8-01BD-EB9D78ABC12E}"/>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5" name="Graphic 790">
                <a:extLst>
                  <a:ext uri="{FF2B5EF4-FFF2-40B4-BE49-F238E27FC236}">
                    <a16:creationId xmlns:a16="http://schemas.microsoft.com/office/drawing/2014/main" id="{42C75C82-3B5D-5AA5-BB03-726E101AFFF7}"/>
                  </a:ext>
                </a:extLst>
              </p:cNvPr>
              <p:cNvGrpSpPr/>
              <p:nvPr/>
            </p:nvGrpSpPr>
            <p:grpSpPr>
              <a:xfrm>
                <a:off x="7377874" y="3772661"/>
                <a:ext cx="75723" cy="75628"/>
                <a:chOff x="7377874" y="3772661"/>
                <a:chExt cx="75723" cy="75628"/>
              </a:xfrm>
            </p:grpSpPr>
            <p:sp>
              <p:nvSpPr>
                <p:cNvPr id="12990" name="Freeform: Shape 12989">
                  <a:extLst>
                    <a:ext uri="{FF2B5EF4-FFF2-40B4-BE49-F238E27FC236}">
                      <a16:creationId xmlns:a16="http://schemas.microsoft.com/office/drawing/2014/main" id="{444155F4-F740-6F68-49D6-B0F21F80E94E}"/>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91" name="Freeform: Shape 12990">
                  <a:extLst>
                    <a:ext uri="{FF2B5EF4-FFF2-40B4-BE49-F238E27FC236}">
                      <a16:creationId xmlns:a16="http://schemas.microsoft.com/office/drawing/2014/main" id="{3AAC4411-B0D3-538F-E1B4-B08471CB9BDE}"/>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6" name="Graphic 790">
                <a:extLst>
                  <a:ext uri="{FF2B5EF4-FFF2-40B4-BE49-F238E27FC236}">
                    <a16:creationId xmlns:a16="http://schemas.microsoft.com/office/drawing/2014/main" id="{FB0AB24E-3E53-7B19-AEC0-BD0D6B23F210}"/>
                  </a:ext>
                </a:extLst>
              </p:cNvPr>
              <p:cNvGrpSpPr/>
              <p:nvPr/>
            </p:nvGrpSpPr>
            <p:grpSpPr>
              <a:xfrm>
                <a:off x="7350061" y="3772661"/>
                <a:ext cx="75628" cy="75628"/>
                <a:chOff x="7350061" y="3772661"/>
                <a:chExt cx="75628" cy="75628"/>
              </a:xfrm>
            </p:grpSpPr>
            <p:sp>
              <p:nvSpPr>
                <p:cNvPr id="12988" name="Freeform: Shape 12987">
                  <a:extLst>
                    <a:ext uri="{FF2B5EF4-FFF2-40B4-BE49-F238E27FC236}">
                      <a16:creationId xmlns:a16="http://schemas.microsoft.com/office/drawing/2014/main" id="{B3C30441-810D-ABBE-220B-6EE47FA31BD4}"/>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89" name="Freeform: Shape 12988">
                  <a:extLst>
                    <a:ext uri="{FF2B5EF4-FFF2-40B4-BE49-F238E27FC236}">
                      <a16:creationId xmlns:a16="http://schemas.microsoft.com/office/drawing/2014/main" id="{C69BAF4F-1EDD-FC70-B908-625E317AC91D}"/>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7" name="Graphic 790">
                <a:extLst>
                  <a:ext uri="{FF2B5EF4-FFF2-40B4-BE49-F238E27FC236}">
                    <a16:creationId xmlns:a16="http://schemas.microsoft.com/office/drawing/2014/main" id="{10F4DEA0-77EC-F396-3C55-5F9DB7305CB3}"/>
                  </a:ext>
                </a:extLst>
              </p:cNvPr>
              <p:cNvGrpSpPr/>
              <p:nvPr/>
            </p:nvGrpSpPr>
            <p:grpSpPr>
              <a:xfrm>
                <a:off x="7285481" y="3719226"/>
                <a:ext cx="75723" cy="75723"/>
                <a:chOff x="7285481" y="3719226"/>
                <a:chExt cx="75723" cy="75723"/>
              </a:xfrm>
            </p:grpSpPr>
            <p:sp>
              <p:nvSpPr>
                <p:cNvPr id="12986" name="Freeform: Shape 12985">
                  <a:extLst>
                    <a:ext uri="{FF2B5EF4-FFF2-40B4-BE49-F238E27FC236}">
                      <a16:creationId xmlns:a16="http://schemas.microsoft.com/office/drawing/2014/main" id="{D7F78998-13CC-C2B1-0C37-7158405A58D4}"/>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87" name="Freeform: Shape 12986">
                  <a:extLst>
                    <a:ext uri="{FF2B5EF4-FFF2-40B4-BE49-F238E27FC236}">
                      <a16:creationId xmlns:a16="http://schemas.microsoft.com/office/drawing/2014/main" id="{D330B068-A560-04BF-37E7-D4B4A11B9790}"/>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8" name="Graphic 790">
                <a:extLst>
                  <a:ext uri="{FF2B5EF4-FFF2-40B4-BE49-F238E27FC236}">
                    <a16:creationId xmlns:a16="http://schemas.microsoft.com/office/drawing/2014/main" id="{58908857-562B-E2DE-5BBC-9EB9AC628C56}"/>
                  </a:ext>
                </a:extLst>
              </p:cNvPr>
              <p:cNvGrpSpPr/>
              <p:nvPr/>
            </p:nvGrpSpPr>
            <p:grpSpPr>
              <a:xfrm>
                <a:off x="7730870" y="3838193"/>
                <a:ext cx="75723" cy="75628"/>
                <a:chOff x="7730870" y="3838193"/>
                <a:chExt cx="75723" cy="75628"/>
              </a:xfrm>
            </p:grpSpPr>
            <p:sp>
              <p:nvSpPr>
                <p:cNvPr id="12984" name="Freeform: Shape 12983">
                  <a:extLst>
                    <a:ext uri="{FF2B5EF4-FFF2-40B4-BE49-F238E27FC236}">
                      <a16:creationId xmlns:a16="http://schemas.microsoft.com/office/drawing/2014/main" id="{E985CBB1-658A-ED20-BE5E-B22F526BD116}"/>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85" name="Freeform: Shape 12984">
                  <a:extLst>
                    <a:ext uri="{FF2B5EF4-FFF2-40B4-BE49-F238E27FC236}">
                      <a16:creationId xmlns:a16="http://schemas.microsoft.com/office/drawing/2014/main" id="{BCA26313-562D-CB06-76A3-B56AC0CDD775}"/>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39" name="Graphic 790">
                <a:extLst>
                  <a:ext uri="{FF2B5EF4-FFF2-40B4-BE49-F238E27FC236}">
                    <a16:creationId xmlns:a16="http://schemas.microsoft.com/office/drawing/2014/main" id="{25F8E20D-6A2D-A218-C93D-0E2FE3C556D6}"/>
                  </a:ext>
                </a:extLst>
              </p:cNvPr>
              <p:cNvGrpSpPr/>
              <p:nvPr/>
            </p:nvGrpSpPr>
            <p:grpSpPr>
              <a:xfrm>
                <a:off x="7744015" y="3838193"/>
                <a:ext cx="75723" cy="75628"/>
                <a:chOff x="7744015" y="3838193"/>
                <a:chExt cx="75723" cy="75628"/>
              </a:xfrm>
            </p:grpSpPr>
            <p:sp>
              <p:nvSpPr>
                <p:cNvPr id="12982" name="Freeform: Shape 12981">
                  <a:extLst>
                    <a:ext uri="{FF2B5EF4-FFF2-40B4-BE49-F238E27FC236}">
                      <a16:creationId xmlns:a16="http://schemas.microsoft.com/office/drawing/2014/main" id="{AD424B7C-A1DF-85EA-BAC8-8073BB810B76}"/>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83" name="Freeform: Shape 12982">
                  <a:extLst>
                    <a:ext uri="{FF2B5EF4-FFF2-40B4-BE49-F238E27FC236}">
                      <a16:creationId xmlns:a16="http://schemas.microsoft.com/office/drawing/2014/main" id="{C1C7E581-A094-8F77-355F-91C0F2B992AF}"/>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0" name="Graphic 790">
                <a:extLst>
                  <a:ext uri="{FF2B5EF4-FFF2-40B4-BE49-F238E27FC236}">
                    <a16:creationId xmlns:a16="http://schemas.microsoft.com/office/drawing/2014/main" id="{6328AC64-B5C7-377E-E29A-7E0881355983}"/>
                  </a:ext>
                </a:extLst>
              </p:cNvPr>
              <p:cNvGrpSpPr/>
              <p:nvPr/>
            </p:nvGrpSpPr>
            <p:grpSpPr>
              <a:xfrm>
                <a:off x="7836788" y="3873626"/>
                <a:ext cx="75723" cy="75628"/>
                <a:chOff x="7836788" y="3873626"/>
                <a:chExt cx="75723" cy="75628"/>
              </a:xfrm>
            </p:grpSpPr>
            <p:sp>
              <p:nvSpPr>
                <p:cNvPr id="12980" name="Freeform: Shape 12979">
                  <a:extLst>
                    <a:ext uri="{FF2B5EF4-FFF2-40B4-BE49-F238E27FC236}">
                      <a16:creationId xmlns:a16="http://schemas.microsoft.com/office/drawing/2014/main" id="{555ED5CD-4CFE-4738-AD74-3ED941084B2F}"/>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81" name="Freeform: Shape 12980">
                  <a:extLst>
                    <a:ext uri="{FF2B5EF4-FFF2-40B4-BE49-F238E27FC236}">
                      <a16:creationId xmlns:a16="http://schemas.microsoft.com/office/drawing/2014/main" id="{1545CD9C-7324-51BB-21B9-511F154A9BA9}"/>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1" name="Graphic 790">
                <a:extLst>
                  <a:ext uri="{FF2B5EF4-FFF2-40B4-BE49-F238E27FC236}">
                    <a16:creationId xmlns:a16="http://schemas.microsoft.com/office/drawing/2014/main" id="{33FF58C0-6EE8-1294-F6AC-F34312DBB0E7}"/>
                  </a:ext>
                </a:extLst>
              </p:cNvPr>
              <p:cNvGrpSpPr/>
              <p:nvPr/>
            </p:nvGrpSpPr>
            <p:grpSpPr>
              <a:xfrm>
                <a:off x="7788401" y="3873626"/>
                <a:ext cx="75628" cy="75628"/>
                <a:chOff x="7788401" y="3873626"/>
                <a:chExt cx="75628" cy="75628"/>
              </a:xfrm>
            </p:grpSpPr>
            <p:sp>
              <p:nvSpPr>
                <p:cNvPr id="12978" name="Freeform: Shape 12977">
                  <a:extLst>
                    <a:ext uri="{FF2B5EF4-FFF2-40B4-BE49-F238E27FC236}">
                      <a16:creationId xmlns:a16="http://schemas.microsoft.com/office/drawing/2014/main" id="{05504BD8-4271-9C2A-40B0-CC272CF6244F}"/>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79" name="Freeform: Shape 12978">
                  <a:extLst>
                    <a:ext uri="{FF2B5EF4-FFF2-40B4-BE49-F238E27FC236}">
                      <a16:creationId xmlns:a16="http://schemas.microsoft.com/office/drawing/2014/main" id="{40348843-8031-3681-D150-0106E511BA3F}"/>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2" name="Graphic 790">
                <a:extLst>
                  <a:ext uri="{FF2B5EF4-FFF2-40B4-BE49-F238E27FC236}">
                    <a16:creationId xmlns:a16="http://schemas.microsoft.com/office/drawing/2014/main" id="{0CFA5438-DA21-357F-62EF-DCD8C5BB12DC}"/>
                  </a:ext>
                </a:extLst>
              </p:cNvPr>
              <p:cNvGrpSpPr/>
              <p:nvPr/>
            </p:nvGrpSpPr>
            <p:grpSpPr>
              <a:xfrm>
                <a:off x="7781924" y="3873626"/>
                <a:ext cx="75628" cy="75628"/>
                <a:chOff x="7781924" y="3873626"/>
                <a:chExt cx="75628" cy="75628"/>
              </a:xfrm>
            </p:grpSpPr>
            <p:sp>
              <p:nvSpPr>
                <p:cNvPr id="12976" name="Freeform: Shape 12975">
                  <a:extLst>
                    <a:ext uri="{FF2B5EF4-FFF2-40B4-BE49-F238E27FC236}">
                      <a16:creationId xmlns:a16="http://schemas.microsoft.com/office/drawing/2014/main" id="{BAF1C848-D7BC-D5CD-4FE2-B586FDEFBE0F}"/>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77" name="Freeform: Shape 12976">
                  <a:extLst>
                    <a:ext uri="{FF2B5EF4-FFF2-40B4-BE49-F238E27FC236}">
                      <a16:creationId xmlns:a16="http://schemas.microsoft.com/office/drawing/2014/main" id="{011201D3-6319-AE7D-431B-1C2CDC9A2F88}"/>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3" name="Graphic 790">
                <a:extLst>
                  <a:ext uri="{FF2B5EF4-FFF2-40B4-BE49-F238E27FC236}">
                    <a16:creationId xmlns:a16="http://schemas.microsoft.com/office/drawing/2014/main" id="{5A8B0F91-3F17-22EC-9AB5-8B17C85C79F0}"/>
                  </a:ext>
                </a:extLst>
              </p:cNvPr>
              <p:cNvGrpSpPr/>
              <p:nvPr/>
            </p:nvGrpSpPr>
            <p:grpSpPr>
              <a:xfrm>
                <a:off x="7769351" y="3873626"/>
                <a:ext cx="75628" cy="75628"/>
                <a:chOff x="7769351" y="3873626"/>
                <a:chExt cx="75628" cy="75628"/>
              </a:xfrm>
            </p:grpSpPr>
            <p:sp>
              <p:nvSpPr>
                <p:cNvPr id="12974" name="Freeform: Shape 12973">
                  <a:extLst>
                    <a:ext uri="{FF2B5EF4-FFF2-40B4-BE49-F238E27FC236}">
                      <a16:creationId xmlns:a16="http://schemas.microsoft.com/office/drawing/2014/main" id="{DCE1A8C5-FE16-BDA9-0C91-554F9B7BFBA8}"/>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75" name="Freeform: Shape 12974">
                  <a:extLst>
                    <a:ext uri="{FF2B5EF4-FFF2-40B4-BE49-F238E27FC236}">
                      <a16:creationId xmlns:a16="http://schemas.microsoft.com/office/drawing/2014/main" id="{28690A9C-730C-4796-7F31-886868C1A3B4}"/>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4" name="Graphic 790">
                <a:extLst>
                  <a:ext uri="{FF2B5EF4-FFF2-40B4-BE49-F238E27FC236}">
                    <a16:creationId xmlns:a16="http://schemas.microsoft.com/office/drawing/2014/main" id="{2E36BEE7-E048-CCD1-53F2-812BF858B4FC}"/>
                  </a:ext>
                </a:extLst>
              </p:cNvPr>
              <p:cNvGrpSpPr/>
              <p:nvPr/>
            </p:nvGrpSpPr>
            <p:grpSpPr>
              <a:xfrm>
                <a:off x="7762874" y="3873626"/>
                <a:ext cx="75628" cy="75628"/>
                <a:chOff x="7762874" y="3873626"/>
                <a:chExt cx="75628" cy="75628"/>
              </a:xfrm>
            </p:grpSpPr>
            <p:sp>
              <p:nvSpPr>
                <p:cNvPr id="12972" name="Freeform: Shape 12971">
                  <a:extLst>
                    <a:ext uri="{FF2B5EF4-FFF2-40B4-BE49-F238E27FC236}">
                      <a16:creationId xmlns:a16="http://schemas.microsoft.com/office/drawing/2014/main" id="{6FDE3A5E-A89F-A2BD-783F-14DDE5A16BDC}"/>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73" name="Freeform: Shape 12972">
                  <a:extLst>
                    <a:ext uri="{FF2B5EF4-FFF2-40B4-BE49-F238E27FC236}">
                      <a16:creationId xmlns:a16="http://schemas.microsoft.com/office/drawing/2014/main" id="{196996EB-E744-1119-762E-B3E8E0332904}"/>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5" name="Graphic 790">
                <a:extLst>
                  <a:ext uri="{FF2B5EF4-FFF2-40B4-BE49-F238E27FC236}">
                    <a16:creationId xmlns:a16="http://schemas.microsoft.com/office/drawing/2014/main" id="{74C837FF-E1F7-3E7C-5BC9-95C8DE64A5DC}"/>
                  </a:ext>
                </a:extLst>
              </p:cNvPr>
              <p:cNvGrpSpPr/>
              <p:nvPr/>
            </p:nvGrpSpPr>
            <p:grpSpPr>
              <a:xfrm>
                <a:off x="7753730" y="3873626"/>
                <a:ext cx="75723" cy="75628"/>
                <a:chOff x="7753730" y="3873626"/>
                <a:chExt cx="75723" cy="75628"/>
              </a:xfrm>
            </p:grpSpPr>
            <p:sp>
              <p:nvSpPr>
                <p:cNvPr id="12970" name="Freeform: Shape 12969">
                  <a:extLst>
                    <a:ext uri="{FF2B5EF4-FFF2-40B4-BE49-F238E27FC236}">
                      <a16:creationId xmlns:a16="http://schemas.microsoft.com/office/drawing/2014/main" id="{719AC5EA-ED75-9B6D-EAD8-1FEAC04431EF}"/>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71" name="Freeform: Shape 12970">
                  <a:extLst>
                    <a:ext uri="{FF2B5EF4-FFF2-40B4-BE49-F238E27FC236}">
                      <a16:creationId xmlns:a16="http://schemas.microsoft.com/office/drawing/2014/main" id="{A1BCAE2A-831A-ACD1-00C0-2C8D4908365E}"/>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6" name="Graphic 790">
                <a:extLst>
                  <a:ext uri="{FF2B5EF4-FFF2-40B4-BE49-F238E27FC236}">
                    <a16:creationId xmlns:a16="http://schemas.microsoft.com/office/drawing/2014/main" id="{FBF18ABB-79DB-2C18-DF4A-7C66B784738D}"/>
                  </a:ext>
                </a:extLst>
              </p:cNvPr>
              <p:cNvGrpSpPr/>
              <p:nvPr/>
            </p:nvGrpSpPr>
            <p:grpSpPr>
              <a:xfrm>
                <a:off x="7747253" y="3873626"/>
                <a:ext cx="75723" cy="75628"/>
                <a:chOff x="7747253" y="3873626"/>
                <a:chExt cx="75723" cy="75628"/>
              </a:xfrm>
            </p:grpSpPr>
            <p:sp>
              <p:nvSpPr>
                <p:cNvPr id="12968" name="Freeform: Shape 12967">
                  <a:extLst>
                    <a:ext uri="{FF2B5EF4-FFF2-40B4-BE49-F238E27FC236}">
                      <a16:creationId xmlns:a16="http://schemas.microsoft.com/office/drawing/2014/main" id="{58E0893B-1B14-522E-9AD0-6DE1F4B74285}"/>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69" name="Freeform: Shape 12968">
                  <a:extLst>
                    <a:ext uri="{FF2B5EF4-FFF2-40B4-BE49-F238E27FC236}">
                      <a16:creationId xmlns:a16="http://schemas.microsoft.com/office/drawing/2014/main" id="{6C26E89C-1B8A-AECD-36DF-A25F09CEA372}"/>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7" name="Graphic 790">
                <a:extLst>
                  <a:ext uri="{FF2B5EF4-FFF2-40B4-BE49-F238E27FC236}">
                    <a16:creationId xmlns:a16="http://schemas.microsoft.com/office/drawing/2014/main" id="{CB66A453-E2BC-5B23-5F21-F12B1E7FBECA}"/>
                  </a:ext>
                </a:extLst>
              </p:cNvPr>
              <p:cNvGrpSpPr/>
              <p:nvPr/>
            </p:nvGrpSpPr>
            <p:grpSpPr>
              <a:xfrm>
                <a:off x="8155590" y="3932491"/>
                <a:ext cx="75723" cy="75628"/>
                <a:chOff x="8155590" y="3932491"/>
                <a:chExt cx="75723" cy="75628"/>
              </a:xfrm>
            </p:grpSpPr>
            <p:sp>
              <p:nvSpPr>
                <p:cNvPr id="12966" name="Freeform: Shape 12965">
                  <a:extLst>
                    <a:ext uri="{FF2B5EF4-FFF2-40B4-BE49-F238E27FC236}">
                      <a16:creationId xmlns:a16="http://schemas.microsoft.com/office/drawing/2014/main" id="{CD4132AE-F111-BC47-553E-678B9177CA8A}"/>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67" name="Freeform: Shape 12966">
                  <a:extLst>
                    <a:ext uri="{FF2B5EF4-FFF2-40B4-BE49-F238E27FC236}">
                      <a16:creationId xmlns:a16="http://schemas.microsoft.com/office/drawing/2014/main" id="{CB7F7790-01C9-62F0-0844-0C1CEB00DBC7}"/>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8" name="Graphic 790">
                <a:extLst>
                  <a:ext uri="{FF2B5EF4-FFF2-40B4-BE49-F238E27FC236}">
                    <a16:creationId xmlns:a16="http://schemas.microsoft.com/office/drawing/2014/main" id="{88D2436C-6762-5FC7-BAA1-796EB982496C}"/>
                  </a:ext>
                </a:extLst>
              </p:cNvPr>
              <p:cNvGrpSpPr/>
              <p:nvPr/>
            </p:nvGrpSpPr>
            <p:grpSpPr>
              <a:xfrm>
                <a:off x="8236743" y="3932491"/>
                <a:ext cx="75723" cy="75628"/>
                <a:chOff x="8236743" y="3932491"/>
                <a:chExt cx="75723" cy="75628"/>
              </a:xfrm>
            </p:grpSpPr>
            <p:sp>
              <p:nvSpPr>
                <p:cNvPr id="12964" name="Freeform: Shape 12963">
                  <a:extLst>
                    <a:ext uri="{FF2B5EF4-FFF2-40B4-BE49-F238E27FC236}">
                      <a16:creationId xmlns:a16="http://schemas.microsoft.com/office/drawing/2014/main" id="{D9E8B5D7-784B-EEDC-1883-B3BFF9952FA2}"/>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65" name="Freeform: Shape 12964">
                  <a:extLst>
                    <a:ext uri="{FF2B5EF4-FFF2-40B4-BE49-F238E27FC236}">
                      <a16:creationId xmlns:a16="http://schemas.microsoft.com/office/drawing/2014/main" id="{06BA9BAB-5C25-4D68-E9D7-DD4A0A53AEB1}"/>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49" name="Graphic 790">
                <a:extLst>
                  <a:ext uri="{FF2B5EF4-FFF2-40B4-BE49-F238E27FC236}">
                    <a16:creationId xmlns:a16="http://schemas.microsoft.com/office/drawing/2014/main" id="{0CAFFBC9-943E-3452-9C1B-CF904DED6802}"/>
                  </a:ext>
                </a:extLst>
              </p:cNvPr>
              <p:cNvGrpSpPr/>
              <p:nvPr/>
            </p:nvGrpSpPr>
            <p:grpSpPr>
              <a:xfrm>
                <a:off x="8224837" y="3932491"/>
                <a:ext cx="75628" cy="75628"/>
                <a:chOff x="8224837" y="3932491"/>
                <a:chExt cx="75628" cy="75628"/>
              </a:xfrm>
            </p:grpSpPr>
            <p:sp>
              <p:nvSpPr>
                <p:cNvPr id="12962" name="Freeform: Shape 12961">
                  <a:extLst>
                    <a:ext uri="{FF2B5EF4-FFF2-40B4-BE49-F238E27FC236}">
                      <a16:creationId xmlns:a16="http://schemas.microsoft.com/office/drawing/2014/main" id="{C1850513-207B-931E-CC67-3CF2CFC5315F}"/>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63" name="Freeform: Shape 12962">
                  <a:extLst>
                    <a:ext uri="{FF2B5EF4-FFF2-40B4-BE49-F238E27FC236}">
                      <a16:creationId xmlns:a16="http://schemas.microsoft.com/office/drawing/2014/main" id="{3BBA7F9A-55A7-84CE-01FF-169E3EB2CFD9}"/>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50" name="Graphic 790">
                <a:extLst>
                  <a:ext uri="{FF2B5EF4-FFF2-40B4-BE49-F238E27FC236}">
                    <a16:creationId xmlns:a16="http://schemas.microsoft.com/office/drawing/2014/main" id="{E3CB1464-9345-8818-3C5A-43C0A02C26E8}"/>
                  </a:ext>
                </a:extLst>
              </p:cNvPr>
              <p:cNvGrpSpPr/>
              <p:nvPr/>
            </p:nvGrpSpPr>
            <p:grpSpPr>
              <a:xfrm>
                <a:off x="8212835" y="3932491"/>
                <a:ext cx="75723" cy="75628"/>
                <a:chOff x="8212835" y="3932491"/>
                <a:chExt cx="75723" cy="75628"/>
              </a:xfrm>
            </p:grpSpPr>
            <p:sp>
              <p:nvSpPr>
                <p:cNvPr id="12960" name="Freeform: Shape 12959">
                  <a:extLst>
                    <a:ext uri="{FF2B5EF4-FFF2-40B4-BE49-F238E27FC236}">
                      <a16:creationId xmlns:a16="http://schemas.microsoft.com/office/drawing/2014/main" id="{7A8EB881-94C1-F981-08C5-095FC1D12855}"/>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61" name="Freeform: Shape 12960">
                  <a:extLst>
                    <a:ext uri="{FF2B5EF4-FFF2-40B4-BE49-F238E27FC236}">
                      <a16:creationId xmlns:a16="http://schemas.microsoft.com/office/drawing/2014/main" id="{89E06494-3BFD-C44C-06D5-FF12E3377A38}"/>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51" name="Graphic 790">
                <a:extLst>
                  <a:ext uri="{FF2B5EF4-FFF2-40B4-BE49-F238E27FC236}">
                    <a16:creationId xmlns:a16="http://schemas.microsoft.com/office/drawing/2014/main" id="{28D43983-3A3F-B8DD-9E26-544D45CE0DFF}"/>
                  </a:ext>
                </a:extLst>
              </p:cNvPr>
              <p:cNvGrpSpPr/>
              <p:nvPr/>
            </p:nvGrpSpPr>
            <p:grpSpPr>
              <a:xfrm>
                <a:off x="8146541" y="3932491"/>
                <a:ext cx="75628" cy="75628"/>
                <a:chOff x="8146541" y="3932491"/>
                <a:chExt cx="75628" cy="75628"/>
              </a:xfrm>
            </p:grpSpPr>
            <p:sp>
              <p:nvSpPr>
                <p:cNvPr id="12958" name="Freeform: Shape 12957">
                  <a:extLst>
                    <a:ext uri="{FF2B5EF4-FFF2-40B4-BE49-F238E27FC236}">
                      <a16:creationId xmlns:a16="http://schemas.microsoft.com/office/drawing/2014/main" id="{29E39609-10C9-F6B8-DF34-324AF2A8194A}"/>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59" name="Freeform: Shape 12958">
                  <a:extLst>
                    <a:ext uri="{FF2B5EF4-FFF2-40B4-BE49-F238E27FC236}">
                      <a16:creationId xmlns:a16="http://schemas.microsoft.com/office/drawing/2014/main" id="{811C891C-0D51-8B23-C0BA-DA204781CCBB}"/>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52" name="Graphic 790">
                <a:extLst>
                  <a:ext uri="{FF2B5EF4-FFF2-40B4-BE49-F238E27FC236}">
                    <a16:creationId xmlns:a16="http://schemas.microsoft.com/office/drawing/2014/main" id="{FAD74303-2A78-A0AB-267E-3160424BE2CD}"/>
                  </a:ext>
                </a:extLst>
              </p:cNvPr>
              <p:cNvGrpSpPr/>
              <p:nvPr/>
            </p:nvGrpSpPr>
            <p:grpSpPr>
              <a:xfrm>
                <a:off x="8166544" y="3932491"/>
                <a:ext cx="75723" cy="75628"/>
                <a:chOff x="8166544" y="3932491"/>
                <a:chExt cx="75723" cy="75628"/>
              </a:xfrm>
            </p:grpSpPr>
            <p:sp>
              <p:nvSpPr>
                <p:cNvPr id="12956" name="Freeform: Shape 12955">
                  <a:extLst>
                    <a:ext uri="{FF2B5EF4-FFF2-40B4-BE49-F238E27FC236}">
                      <a16:creationId xmlns:a16="http://schemas.microsoft.com/office/drawing/2014/main" id="{C4912C28-6FF5-9CD8-1608-3A506B3D7354}"/>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57" name="Freeform: Shape 12956">
                  <a:extLst>
                    <a:ext uri="{FF2B5EF4-FFF2-40B4-BE49-F238E27FC236}">
                      <a16:creationId xmlns:a16="http://schemas.microsoft.com/office/drawing/2014/main" id="{EBD01E15-D8BE-0325-393B-57F05F6A5F0A}"/>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2953" name="Graphic 790">
                <a:extLst>
                  <a:ext uri="{FF2B5EF4-FFF2-40B4-BE49-F238E27FC236}">
                    <a16:creationId xmlns:a16="http://schemas.microsoft.com/office/drawing/2014/main" id="{F8688855-B6FC-FE19-6CBE-ABA28BB3B2AC}"/>
                  </a:ext>
                </a:extLst>
              </p:cNvPr>
              <p:cNvGrpSpPr/>
              <p:nvPr/>
            </p:nvGrpSpPr>
            <p:grpSpPr>
              <a:xfrm>
                <a:off x="8200929" y="3932491"/>
                <a:ext cx="75628" cy="75628"/>
                <a:chOff x="8200929" y="3932491"/>
                <a:chExt cx="75628" cy="75628"/>
              </a:xfrm>
            </p:grpSpPr>
            <p:sp>
              <p:nvSpPr>
                <p:cNvPr id="12954" name="Freeform: Shape 12953">
                  <a:extLst>
                    <a:ext uri="{FF2B5EF4-FFF2-40B4-BE49-F238E27FC236}">
                      <a16:creationId xmlns:a16="http://schemas.microsoft.com/office/drawing/2014/main" id="{71DC2937-309F-20F3-1418-506B3349A920}"/>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955" name="Freeform: Shape 12954">
                  <a:extLst>
                    <a:ext uri="{FF2B5EF4-FFF2-40B4-BE49-F238E27FC236}">
                      <a16:creationId xmlns:a16="http://schemas.microsoft.com/office/drawing/2014/main" id="{5022CD3A-7813-B828-72AC-B0FB3549457F}"/>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2840" name="Freeform: Shape 12839">
              <a:extLst>
                <a:ext uri="{FF2B5EF4-FFF2-40B4-BE49-F238E27FC236}">
                  <a16:creationId xmlns:a16="http://schemas.microsoft.com/office/drawing/2014/main" id="{307B6CDE-DF9D-10CD-3A20-10E860B54E5B}"/>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cxnSp>
        <p:nvCxnSpPr>
          <p:cNvPr id="12510" name="Straight Connector 12509">
            <a:extLst>
              <a:ext uri="{FF2B5EF4-FFF2-40B4-BE49-F238E27FC236}">
                <a16:creationId xmlns:a16="http://schemas.microsoft.com/office/drawing/2014/main" id="{EB07065B-8EE1-8252-B252-BAC5E65D6D04}"/>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EE526CBE-81FE-9C1A-8AA5-88D86E5474B2}"/>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D4360F02-A6D6-37A0-B40F-7220B0B84219}"/>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7A845723-BA2F-D55D-F85C-D81D3BAAD4EA}"/>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DA8B3E1D-77B5-DE5D-C7A4-E72F5A083B10}"/>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FB13D529-9801-0EB3-41A7-B4812AB7C718}"/>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F125289F-48D6-DF8B-F684-B3CB5EED35F4}"/>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3DA0C7E4-96C0-1CF8-2C69-0363B5B9E768}"/>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00141C7F-7456-733D-0FC4-160E7AEB2D4D}"/>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830303E7-0ED4-CAF2-2A71-CEAE93790E2C}"/>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1A8C1156-651D-A7C9-F4CE-3B58C551D4E7}"/>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8FE7EA34-AF7C-4582-EE36-71EDB1900A3E}"/>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5419BE71-5698-1175-77A5-287DEEB53661}"/>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48A65A11-BCBE-D6B8-4912-7FBA7875E6C6}"/>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6CEE9DAE-3C0B-8199-ED5D-3E856C5E684C}"/>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E0F2ADC9-384A-C4C8-02A3-8051BCF0FA9A}"/>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B8EB631A-2C42-5827-EB6F-58495DEC31EA}"/>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686060DB-60D7-C31E-AFB6-15FA3D34DF59}"/>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C79A337B-A31E-9F9F-538C-59F0E3144E5D}"/>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29D0E3D9-AC52-FB95-EDA0-BB188F36CF48}"/>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05AF4C78-FB9A-2A50-41CC-9D58A2CACECD}"/>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A7281AA1-17D2-4708-794A-6F276EA55961}"/>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84AEDF10-2E24-2393-325F-E850E0951F7D}"/>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96C2EA83-186F-35A8-187B-A19D1B2A5993}"/>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8B0AF97F-1DA0-4E4E-D6DC-A85BB1378B0C}"/>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3B612953-4BFE-5214-919C-1BCB6B3288BE}"/>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50F17775-6168-E378-2808-AD11343B8BD0}"/>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983504C3-89DA-966A-C45C-354CFDD293EA}"/>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D00E9D0A-2864-5819-6711-1FED0B9D838F}"/>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259F1F9E-42C5-F143-94A9-67C0AF9EA4F4}"/>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EF5A6CEA-A192-B8B1-9F0C-0B44BCF4824E}"/>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E87F9EDE-9525-2DC0-D005-C673F6F917BB}"/>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61E5D0C1-47B3-9335-8F3F-0848697D651C}"/>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394441E5-9B3E-A7E1-837D-89BB7D65C63C}"/>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4F6308E1-A1E5-54C7-C39C-B622313B42F8}"/>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9F59BD57-6EDF-2C04-B74A-D58B1EF92C32}"/>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A5D9F2C4-248C-2ECD-D535-60EC1253E594}"/>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DBB9E442-5241-5032-A1AD-22E934CDBD34}"/>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55FB7ECB-0C84-FCEE-FD0E-76EBD3A0212B}"/>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28BDE65F-9239-8EB2-80CE-D8943837CD39}"/>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6C07B07D-E317-773F-B270-9081E39A118B}"/>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E3B749C3-7AFE-5EF0-B0F5-1D8F7549DC84}"/>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43FD22BA-5EEC-060C-7B3F-EB253D0B2D4B}"/>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D83BDEB2-7D2D-9D5D-EB11-4B8E81F8EE88}"/>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E0533EAC-FB6F-4FFA-7AE7-5C9616883F47}"/>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5E271214-CAC8-35EA-413B-B4E2F7BBB140}"/>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D41FDCC1-3634-1FA4-13D1-131E92C1CBF2}"/>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D6E2883D-31D5-23F3-01F5-08B8BF8E9BC9}"/>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F3951E39-735C-92AD-9C0F-12F7619C9E61}"/>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89794CF3-ABAF-502B-2B7A-76F0DD8E02DC}"/>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5904922D-701A-42FD-2D46-B12D163E19F4}"/>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grpSp>
        <p:nvGrpSpPr>
          <p:cNvPr id="49" name="Group 48">
            <a:extLst>
              <a:ext uri="{FF2B5EF4-FFF2-40B4-BE49-F238E27FC236}">
                <a16:creationId xmlns:a16="http://schemas.microsoft.com/office/drawing/2014/main" id="{10DB5488-6657-1545-BC6D-2E25ABC4102D}"/>
              </a:ext>
            </a:extLst>
          </p:cNvPr>
          <p:cNvGrpSpPr/>
          <p:nvPr/>
        </p:nvGrpSpPr>
        <p:grpSpPr>
          <a:xfrm>
            <a:off x="834913" y="4133989"/>
            <a:ext cx="2964470" cy="523220"/>
            <a:chOff x="1283828" y="4129371"/>
            <a:chExt cx="2597779" cy="523220"/>
          </a:xfrm>
        </p:grpSpPr>
        <p:sp>
          <p:nvSpPr>
            <p:cNvPr id="52" name="TextBox 51">
              <a:extLst>
                <a:ext uri="{FF2B5EF4-FFF2-40B4-BE49-F238E27FC236}">
                  <a16:creationId xmlns:a16="http://schemas.microsoft.com/office/drawing/2014/main" id="{E3C1662D-D178-7233-FC28-BD5AE090831A}"/>
                </a:ext>
              </a:extLst>
            </p:cNvPr>
            <p:cNvSpPr txBox="1"/>
            <p:nvPr/>
          </p:nvSpPr>
          <p:spPr>
            <a:xfrm>
              <a:off x="1680132" y="4129371"/>
              <a:ext cx="220147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 (N=5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 (N=505)</a:t>
              </a:r>
            </a:p>
          </p:txBody>
        </p:sp>
        <p:grpSp>
          <p:nvGrpSpPr>
            <p:cNvPr id="53" name="Group 52">
              <a:extLst>
                <a:ext uri="{FF2B5EF4-FFF2-40B4-BE49-F238E27FC236}">
                  <a16:creationId xmlns:a16="http://schemas.microsoft.com/office/drawing/2014/main" id="{E50FD8CB-0E08-345E-3EB7-F99795E3850F}"/>
                </a:ext>
              </a:extLst>
            </p:cNvPr>
            <p:cNvGrpSpPr/>
            <p:nvPr/>
          </p:nvGrpSpPr>
          <p:grpSpPr>
            <a:xfrm>
              <a:off x="1289304" y="4278446"/>
              <a:ext cx="334470" cy="72000"/>
              <a:chOff x="2459420" y="3626363"/>
              <a:chExt cx="313728" cy="72000"/>
            </a:xfrm>
          </p:grpSpPr>
          <p:cxnSp>
            <p:nvCxnSpPr>
              <p:cNvPr id="14628" name="Straight Connector 14627">
                <a:extLst>
                  <a:ext uri="{FF2B5EF4-FFF2-40B4-BE49-F238E27FC236}">
                    <a16:creationId xmlns:a16="http://schemas.microsoft.com/office/drawing/2014/main" id="{B20B3A48-E402-FB85-566E-F279C2935B8C}"/>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4629" name="Straight Connector 14628">
                <a:extLst>
                  <a:ext uri="{FF2B5EF4-FFF2-40B4-BE49-F238E27FC236}">
                    <a16:creationId xmlns:a16="http://schemas.microsoft.com/office/drawing/2014/main" id="{4B599C69-2BB0-38AE-41A2-A57253279AD6}"/>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54" name="Group 53">
              <a:extLst>
                <a:ext uri="{FF2B5EF4-FFF2-40B4-BE49-F238E27FC236}">
                  <a16:creationId xmlns:a16="http://schemas.microsoft.com/office/drawing/2014/main" id="{60DA1D7D-D424-F9F9-953A-A8A87F838F20}"/>
                </a:ext>
              </a:extLst>
            </p:cNvPr>
            <p:cNvGrpSpPr/>
            <p:nvPr/>
          </p:nvGrpSpPr>
          <p:grpSpPr>
            <a:xfrm>
              <a:off x="1283828" y="4464183"/>
              <a:ext cx="345421" cy="72000"/>
              <a:chOff x="2454284" y="3812100"/>
              <a:chExt cx="324000" cy="72000"/>
            </a:xfrm>
          </p:grpSpPr>
          <p:cxnSp>
            <p:nvCxnSpPr>
              <p:cNvPr id="14626" name="Straight Connector 14625">
                <a:extLst>
                  <a:ext uri="{FF2B5EF4-FFF2-40B4-BE49-F238E27FC236}">
                    <a16:creationId xmlns:a16="http://schemas.microsoft.com/office/drawing/2014/main" id="{1F3E61FE-499C-8EA3-7E97-C6D4A0470350}"/>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4627" name="Straight Connector 14626">
                <a:extLst>
                  <a:ext uri="{FF2B5EF4-FFF2-40B4-BE49-F238E27FC236}">
                    <a16:creationId xmlns:a16="http://schemas.microsoft.com/office/drawing/2014/main" id="{17372ADC-74BF-5B05-856D-61F0F813CC1D}"/>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
        <p:nvSpPr>
          <p:cNvPr id="4" name="TextBox 3">
            <a:extLst>
              <a:ext uri="{FF2B5EF4-FFF2-40B4-BE49-F238E27FC236}">
                <a16:creationId xmlns:a16="http://schemas.microsoft.com/office/drawing/2014/main" id="{76C997CD-C7D4-404D-DB8F-25C4F07982C5}"/>
              </a:ext>
            </a:extLst>
          </p:cNvPr>
          <p:cNvSpPr txBox="1"/>
          <p:nvPr/>
        </p:nvSpPr>
        <p:spPr>
          <a:xfrm>
            <a:off x="4334775" y="1707473"/>
            <a:ext cx="3322664"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Cut-off: </a:t>
            </a:r>
            <a:r>
              <a:rPr kumimoji="0" lang="en-US" sz="24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90% </a:t>
            </a:r>
            <a:br>
              <a:rPr kumimoji="0" lang="en-US" sz="2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2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of cells without PTEN staining</a:t>
            </a:r>
          </a:p>
        </p:txBody>
      </p:sp>
    </p:spTree>
    <p:extLst>
      <p:ext uri="{BB962C8B-B14F-4D97-AF65-F5344CB8AC3E}">
        <p14:creationId xmlns:p14="http://schemas.microsoft.com/office/powerpoint/2010/main" val="41411760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6B1FD-59F9-9656-6BB9-CD0D7B331E77}"/>
            </a:ext>
          </a:extLst>
        </p:cNvPr>
        <p:cNvGrpSpPr/>
        <p:nvPr/>
      </p:nvGrpSpPr>
      <p:grpSpPr>
        <a:xfrm>
          <a:off x="0" y="0"/>
          <a:ext cx="0" cy="0"/>
          <a:chOff x="0" y="0"/>
          <a:chExt cx="0" cy="0"/>
        </a:xfrm>
      </p:grpSpPr>
      <p:grpSp>
        <p:nvGrpSpPr>
          <p:cNvPr id="16280" name="Group 16279">
            <a:extLst>
              <a:ext uri="{FF2B5EF4-FFF2-40B4-BE49-F238E27FC236}">
                <a16:creationId xmlns:a16="http://schemas.microsoft.com/office/drawing/2014/main" id="{71954932-4DF3-92DD-7878-13EB92FD3AC2}"/>
              </a:ext>
            </a:extLst>
          </p:cNvPr>
          <p:cNvGrpSpPr/>
          <p:nvPr/>
        </p:nvGrpSpPr>
        <p:grpSpPr>
          <a:xfrm>
            <a:off x="714940" y="1482475"/>
            <a:ext cx="6798425" cy="1935956"/>
            <a:chOff x="1040606" y="1476375"/>
            <a:chExt cx="6090949" cy="1935956"/>
          </a:xfrm>
        </p:grpSpPr>
        <p:grpSp>
          <p:nvGrpSpPr>
            <p:cNvPr id="16281" name="Graphic 1583">
              <a:extLst>
                <a:ext uri="{FF2B5EF4-FFF2-40B4-BE49-F238E27FC236}">
                  <a16:creationId xmlns:a16="http://schemas.microsoft.com/office/drawing/2014/main" id="{CE0EA001-8B28-2912-0AC3-B33A9327B531}"/>
                </a:ext>
              </a:extLst>
            </p:cNvPr>
            <p:cNvGrpSpPr/>
            <p:nvPr/>
          </p:nvGrpSpPr>
          <p:grpSpPr>
            <a:xfrm>
              <a:off x="1469675" y="1616392"/>
              <a:ext cx="5661880" cy="1795939"/>
              <a:chOff x="4136421" y="2810065"/>
              <a:chExt cx="4244530" cy="1346358"/>
            </a:xfrm>
          </p:grpSpPr>
          <p:grpSp>
            <p:nvGrpSpPr>
              <p:cNvPr id="16283" name="Graphic 1583">
                <a:extLst>
                  <a:ext uri="{FF2B5EF4-FFF2-40B4-BE49-F238E27FC236}">
                    <a16:creationId xmlns:a16="http://schemas.microsoft.com/office/drawing/2014/main" id="{7A009AAF-61B1-5C61-82C9-5236B8ACFAD4}"/>
                  </a:ext>
                </a:extLst>
              </p:cNvPr>
              <p:cNvGrpSpPr/>
              <p:nvPr/>
            </p:nvGrpSpPr>
            <p:grpSpPr>
              <a:xfrm>
                <a:off x="8305323" y="4080700"/>
                <a:ext cx="75628" cy="75723"/>
                <a:chOff x="8305323" y="4080700"/>
                <a:chExt cx="75628" cy="75723"/>
              </a:xfrm>
            </p:grpSpPr>
            <p:sp>
              <p:nvSpPr>
                <p:cNvPr id="16479" name="Freeform: Shape 16478">
                  <a:extLst>
                    <a:ext uri="{FF2B5EF4-FFF2-40B4-BE49-F238E27FC236}">
                      <a16:creationId xmlns:a16="http://schemas.microsoft.com/office/drawing/2014/main" id="{3D64DDBB-1878-5D9D-7F24-44CA2153A320}"/>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80" name="Freeform: Shape 16479">
                  <a:extLst>
                    <a:ext uri="{FF2B5EF4-FFF2-40B4-BE49-F238E27FC236}">
                      <a16:creationId xmlns:a16="http://schemas.microsoft.com/office/drawing/2014/main" id="{DBC6226D-665E-2DF8-72D5-F9327E39804F}"/>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4" name="Graphic 1583">
                <a:extLst>
                  <a:ext uri="{FF2B5EF4-FFF2-40B4-BE49-F238E27FC236}">
                    <a16:creationId xmlns:a16="http://schemas.microsoft.com/office/drawing/2014/main" id="{B694EB7F-1C72-D1E1-0206-F4818D0A6806}"/>
                  </a:ext>
                </a:extLst>
              </p:cNvPr>
              <p:cNvGrpSpPr/>
              <p:nvPr/>
            </p:nvGrpSpPr>
            <p:grpSpPr>
              <a:xfrm>
                <a:off x="7934800" y="4080700"/>
                <a:ext cx="75628" cy="75723"/>
                <a:chOff x="7934800" y="4080700"/>
                <a:chExt cx="75628" cy="75723"/>
              </a:xfrm>
            </p:grpSpPr>
            <p:sp>
              <p:nvSpPr>
                <p:cNvPr id="16477" name="Freeform: Shape 16476">
                  <a:extLst>
                    <a:ext uri="{FF2B5EF4-FFF2-40B4-BE49-F238E27FC236}">
                      <a16:creationId xmlns:a16="http://schemas.microsoft.com/office/drawing/2014/main" id="{A047204A-C755-7C30-3DE4-499A1BF7CBB9}"/>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8" name="Freeform: Shape 16477">
                  <a:extLst>
                    <a:ext uri="{FF2B5EF4-FFF2-40B4-BE49-F238E27FC236}">
                      <a16:creationId xmlns:a16="http://schemas.microsoft.com/office/drawing/2014/main" id="{8DB5B1C3-1DFB-545A-D834-8D0B301003FA}"/>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5" name="Graphic 1583">
                <a:extLst>
                  <a:ext uri="{FF2B5EF4-FFF2-40B4-BE49-F238E27FC236}">
                    <a16:creationId xmlns:a16="http://schemas.microsoft.com/office/drawing/2014/main" id="{2860258D-588C-3CF2-E31D-CD38F90210C5}"/>
                  </a:ext>
                </a:extLst>
              </p:cNvPr>
              <p:cNvGrpSpPr/>
              <p:nvPr/>
            </p:nvGrpSpPr>
            <p:grpSpPr>
              <a:xfrm>
                <a:off x="7923561" y="4080700"/>
                <a:ext cx="75628" cy="75723"/>
                <a:chOff x="7923561" y="4080700"/>
                <a:chExt cx="75628" cy="75723"/>
              </a:xfrm>
            </p:grpSpPr>
            <p:sp>
              <p:nvSpPr>
                <p:cNvPr id="16475" name="Freeform: Shape 16474">
                  <a:extLst>
                    <a:ext uri="{FF2B5EF4-FFF2-40B4-BE49-F238E27FC236}">
                      <a16:creationId xmlns:a16="http://schemas.microsoft.com/office/drawing/2014/main" id="{A7A92800-0344-FD71-D5B7-96A1260D42B9}"/>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6" name="Freeform: Shape 16475">
                  <a:extLst>
                    <a:ext uri="{FF2B5EF4-FFF2-40B4-BE49-F238E27FC236}">
                      <a16:creationId xmlns:a16="http://schemas.microsoft.com/office/drawing/2014/main" id="{A5CF19B7-0854-0D4C-8049-A5405977BF2C}"/>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6" name="Graphic 1583">
                <a:extLst>
                  <a:ext uri="{FF2B5EF4-FFF2-40B4-BE49-F238E27FC236}">
                    <a16:creationId xmlns:a16="http://schemas.microsoft.com/office/drawing/2014/main" id="{CD894A53-0C9B-B674-27A8-2E7941FBAE06}"/>
                  </a:ext>
                </a:extLst>
              </p:cNvPr>
              <p:cNvGrpSpPr/>
              <p:nvPr/>
            </p:nvGrpSpPr>
            <p:grpSpPr>
              <a:xfrm>
                <a:off x="7590281" y="4080700"/>
                <a:ext cx="75723" cy="75723"/>
                <a:chOff x="7590281" y="4080700"/>
                <a:chExt cx="75723" cy="75723"/>
              </a:xfrm>
            </p:grpSpPr>
            <p:sp>
              <p:nvSpPr>
                <p:cNvPr id="16473" name="Freeform: Shape 16472">
                  <a:extLst>
                    <a:ext uri="{FF2B5EF4-FFF2-40B4-BE49-F238E27FC236}">
                      <a16:creationId xmlns:a16="http://schemas.microsoft.com/office/drawing/2014/main" id="{0E2F0739-30E1-29E6-80E5-B44219B5C932}"/>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4" name="Freeform: Shape 16473">
                  <a:extLst>
                    <a:ext uri="{FF2B5EF4-FFF2-40B4-BE49-F238E27FC236}">
                      <a16:creationId xmlns:a16="http://schemas.microsoft.com/office/drawing/2014/main" id="{50767A04-B3C6-C96D-EB53-D1004C8C4677}"/>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7" name="Graphic 1583">
                <a:extLst>
                  <a:ext uri="{FF2B5EF4-FFF2-40B4-BE49-F238E27FC236}">
                    <a16:creationId xmlns:a16="http://schemas.microsoft.com/office/drawing/2014/main" id="{B9CA4B64-9F32-10C7-32BF-38D902E1C939}"/>
                  </a:ext>
                </a:extLst>
              </p:cNvPr>
              <p:cNvGrpSpPr/>
              <p:nvPr/>
            </p:nvGrpSpPr>
            <p:grpSpPr>
              <a:xfrm>
                <a:off x="7565040" y="4080700"/>
                <a:ext cx="75723" cy="75723"/>
                <a:chOff x="7565040" y="4080700"/>
                <a:chExt cx="75723" cy="75723"/>
              </a:xfrm>
            </p:grpSpPr>
            <p:sp>
              <p:nvSpPr>
                <p:cNvPr id="16471" name="Freeform: Shape 16470">
                  <a:extLst>
                    <a:ext uri="{FF2B5EF4-FFF2-40B4-BE49-F238E27FC236}">
                      <a16:creationId xmlns:a16="http://schemas.microsoft.com/office/drawing/2014/main" id="{A84EFEF9-B83E-C820-53A1-9917955DE733}"/>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2" name="Freeform: Shape 16471">
                  <a:extLst>
                    <a:ext uri="{FF2B5EF4-FFF2-40B4-BE49-F238E27FC236}">
                      <a16:creationId xmlns:a16="http://schemas.microsoft.com/office/drawing/2014/main" id="{4357B5B1-D9FE-79DB-4376-CC13E7442109}"/>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8" name="Graphic 1583">
                <a:extLst>
                  <a:ext uri="{FF2B5EF4-FFF2-40B4-BE49-F238E27FC236}">
                    <a16:creationId xmlns:a16="http://schemas.microsoft.com/office/drawing/2014/main" id="{B086027B-2272-3FD1-3538-3CEE2A27D8B8}"/>
                  </a:ext>
                </a:extLst>
              </p:cNvPr>
              <p:cNvGrpSpPr/>
              <p:nvPr/>
            </p:nvGrpSpPr>
            <p:grpSpPr>
              <a:xfrm>
                <a:off x="7541799" y="3949826"/>
                <a:ext cx="75723" cy="75723"/>
                <a:chOff x="7541799" y="3949826"/>
                <a:chExt cx="75723" cy="75723"/>
              </a:xfrm>
            </p:grpSpPr>
            <p:sp>
              <p:nvSpPr>
                <p:cNvPr id="16469" name="Freeform: Shape 16468">
                  <a:extLst>
                    <a:ext uri="{FF2B5EF4-FFF2-40B4-BE49-F238E27FC236}">
                      <a16:creationId xmlns:a16="http://schemas.microsoft.com/office/drawing/2014/main" id="{D0C8699A-D6D3-14E9-6453-573F0090FB0F}"/>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0" name="Freeform: Shape 16469">
                  <a:extLst>
                    <a:ext uri="{FF2B5EF4-FFF2-40B4-BE49-F238E27FC236}">
                      <a16:creationId xmlns:a16="http://schemas.microsoft.com/office/drawing/2014/main" id="{6DAA26BE-0B72-769B-C8C2-60E64689E86A}"/>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9" name="Graphic 1583">
                <a:extLst>
                  <a:ext uri="{FF2B5EF4-FFF2-40B4-BE49-F238E27FC236}">
                    <a16:creationId xmlns:a16="http://schemas.microsoft.com/office/drawing/2014/main" id="{D13B0AA2-F6D1-D93E-2212-F895E3602ACC}"/>
                  </a:ext>
                </a:extLst>
              </p:cNvPr>
              <p:cNvGrpSpPr/>
              <p:nvPr/>
            </p:nvGrpSpPr>
            <p:grpSpPr>
              <a:xfrm>
                <a:off x="7272146" y="3949826"/>
                <a:ext cx="75723" cy="75723"/>
                <a:chOff x="7272146" y="3949826"/>
                <a:chExt cx="75723" cy="75723"/>
              </a:xfrm>
            </p:grpSpPr>
            <p:sp>
              <p:nvSpPr>
                <p:cNvPr id="16467" name="Freeform: Shape 16466">
                  <a:extLst>
                    <a:ext uri="{FF2B5EF4-FFF2-40B4-BE49-F238E27FC236}">
                      <a16:creationId xmlns:a16="http://schemas.microsoft.com/office/drawing/2014/main" id="{7A5DCAE6-0AA0-5130-5259-5A99395B4098}"/>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8" name="Freeform: Shape 16467">
                  <a:extLst>
                    <a:ext uri="{FF2B5EF4-FFF2-40B4-BE49-F238E27FC236}">
                      <a16:creationId xmlns:a16="http://schemas.microsoft.com/office/drawing/2014/main" id="{834FC97D-3CD6-F6E4-33E1-327C102A8124}"/>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0" name="Graphic 1583">
                <a:extLst>
                  <a:ext uri="{FF2B5EF4-FFF2-40B4-BE49-F238E27FC236}">
                    <a16:creationId xmlns:a16="http://schemas.microsoft.com/office/drawing/2014/main" id="{1F556106-853C-6C2A-072A-F81D0254B6AF}"/>
                  </a:ext>
                </a:extLst>
              </p:cNvPr>
              <p:cNvGrpSpPr/>
              <p:nvPr/>
            </p:nvGrpSpPr>
            <p:grpSpPr>
              <a:xfrm>
                <a:off x="7220330" y="3850290"/>
                <a:ext cx="75628" cy="75723"/>
                <a:chOff x="7220330" y="3850290"/>
                <a:chExt cx="75628" cy="75723"/>
              </a:xfrm>
            </p:grpSpPr>
            <p:sp>
              <p:nvSpPr>
                <p:cNvPr id="16465" name="Freeform: Shape 16464">
                  <a:extLst>
                    <a:ext uri="{FF2B5EF4-FFF2-40B4-BE49-F238E27FC236}">
                      <a16:creationId xmlns:a16="http://schemas.microsoft.com/office/drawing/2014/main" id="{B5D4103A-93E7-8BE0-FA05-BCC084C6641C}"/>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6" name="Freeform: Shape 16465">
                  <a:extLst>
                    <a:ext uri="{FF2B5EF4-FFF2-40B4-BE49-F238E27FC236}">
                      <a16:creationId xmlns:a16="http://schemas.microsoft.com/office/drawing/2014/main" id="{705AA15F-F163-A869-B09A-96EB939C94BA}"/>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1" name="Graphic 1583">
                <a:extLst>
                  <a:ext uri="{FF2B5EF4-FFF2-40B4-BE49-F238E27FC236}">
                    <a16:creationId xmlns:a16="http://schemas.microsoft.com/office/drawing/2014/main" id="{010B66EC-7C26-482B-1C21-1D92F1EB98E5}"/>
                  </a:ext>
                </a:extLst>
              </p:cNvPr>
              <p:cNvGrpSpPr/>
              <p:nvPr/>
            </p:nvGrpSpPr>
            <p:grpSpPr>
              <a:xfrm>
                <a:off x="7176515" y="3850290"/>
                <a:ext cx="75723" cy="75723"/>
                <a:chOff x="7176515" y="3850290"/>
                <a:chExt cx="75723" cy="75723"/>
              </a:xfrm>
            </p:grpSpPr>
            <p:sp>
              <p:nvSpPr>
                <p:cNvPr id="16463" name="Freeform: Shape 16462">
                  <a:extLst>
                    <a:ext uri="{FF2B5EF4-FFF2-40B4-BE49-F238E27FC236}">
                      <a16:creationId xmlns:a16="http://schemas.microsoft.com/office/drawing/2014/main" id="{8BBCF16B-EF6B-A0FE-E994-F07CF064F5D4}"/>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4" name="Freeform: Shape 16463">
                  <a:extLst>
                    <a:ext uri="{FF2B5EF4-FFF2-40B4-BE49-F238E27FC236}">
                      <a16:creationId xmlns:a16="http://schemas.microsoft.com/office/drawing/2014/main" id="{1CB44923-FF35-E4D3-A8D2-F296D5287B00}"/>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2" name="Graphic 1583">
                <a:extLst>
                  <a:ext uri="{FF2B5EF4-FFF2-40B4-BE49-F238E27FC236}">
                    <a16:creationId xmlns:a16="http://schemas.microsoft.com/office/drawing/2014/main" id="{F4D299D8-E305-54C0-0DA5-6AD5D21AF47D}"/>
                  </a:ext>
                </a:extLst>
              </p:cNvPr>
              <p:cNvGrpSpPr/>
              <p:nvPr/>
            </p:nvGrpSpPr>
            <p:grpSpPr>
              <a:xfrm>
                <a:off x="6829996" y="3789520"/>
                <a:ext cx="75723" cy="75628"/>
                <a:chOff x="6829996" y="3789520"/>
                <a:chExt cx="75723" cy="75628"/>
              </a:xfrm>
            </p:grpSpPr>
            <p:sp>
              <p:nvSpPr>
                <p:cNvPr id="16461" name="Freeform: Shape 16460">
                  <a:extLst>
                    <a:ext uri="{FF2B5EF4-FFF2-40B4-BE49-F238E27FC236}">
                      <a16:creationId xmlns:a16="http://schemas.microsoft.com/office/drawing/2014/main" id="{77108C56-F088-093F-375D-43DA97AB5568}"/>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2" name="Freeform: Shape 16461">
                  <a:extLst>
                    <a:ext uri="{FF2B5EF4-FFF2-40B4-BE49-F238E27FC236}">
                      <a16:creationId xmlns:a16="http://schemas.microsoft.com/office/drawing/2014/main" id="{3FAA8643-6CAF-DAE9-3E97-803E31809D9A}"/>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3" name="Graphic 1583">
                <a:extLst>
                  <a:ext uri="{FF2B5EF4-FFF2-40B4-BE49-F238E27FC236}">
                    <a16:creationId xmlns:a16="http://schemas.microsoft.com/office/drawing/2014/main" id="{2E9D4863-C669-247E-6482-40E7439855CA}"/>
                  </a:ext>
                </a:extLst>
              </p:cNvPr>
              <p:cNvGrpSpPr/>
              <p:nvPr/>
            </p:nvGrpSpPr>
            <p:grpSpPr>
              <a:xfrm>
                <a:off x="6816280" y="3789520"/>
                <a:ext cx="75723" cy="75628"/>
                <a:chOff x="6816280" y="3789520"/>
                <a:chExt cx="75723" cy="75628"/>
              </a:xfrm>
            </p:grpSpPr>
            <p:sp>
              <p:nvSpPr>
                <p:cNvPr id="16459" name="Freeform: Shape 16458">
                  <a:extLst>
                    <a:ext uri="{FF2B5EF4-FFF2-40B4-BE49-F238E27FC236}">
                      <a16:creationId xmlns:a16="http://schemas.microsoft.com/office/drawing/2014/main" id="{5A773426-069C-0779-5158-09F628EE3544}"/>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0" name="Freeform: Shape 16459">
                  <a:extLst>
                    <a:ext uri="{FF2B5EF4-FFF2-40B4-BE49-F238E27FC236}">
                      <a16:creationId xmlns:a16="http://schemas.microsoft.com/office/drawing/2014/main" id="{A7C89729-55ED-CCCA-0DA6-333D087032F9}"/>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4" name="Graphic 1583">
                <a:extLst>
                  <a:ext uri="{FF2B5EF4-FFF2-40B4-BE49-F238E27FC236}">
                    <a16:creationId xmlns:a16="http://schemas.microsoft.com/office/drawing/2014/main" id="{EECA4F67-94E9-5721-B2E1-F7D2FDE05786}"/>
                  </a:ext>
                </a:extLst>
              </p:cNvPr>
              <p:cNvGrpSpPr/>
              <p:nvPr/>
            </p:nvGrpSpPr>
            <p:grpSpPr>
              <a:xfrm>
                <a:off x="6795325" y="3789520"/>
                <a:ext cx="75723" cy="75628"/>
                <a:chOff x="6795325" y="3789520"/>
                <a:chExt cx="75723" cy="75628"/>
              </a:xfrm>
            </p:grpSpPr>
            <p:sp>
              <p:nvSpPr>
                <p:cNvPr id="16457" name="Freeform: Shape 16456">
                  <a:extLst>
                    <a:ext uri="{FF2B5EF4-FFF2-40B4-BE49-F238E27FC236}">
                      <a16:creationId xmlns:a16="http://schemas.microsoft.com/office/drawing/2014/main" id="{7B9D3471-A6D7-3D0D-7D99-5CAC2E8FB868}"/>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8" name="Freeform: Shape 16457">
                  <a:extLst>
                    <a:ext uri="{FF2B5EF4-FFF2-40B4-BE49-F238E27FC236}">
                      <a16:creationId xmlns:a16="http://schemas.microsoft.com/office/drawing/2014/main" id="{E1BD4029-570E-EF83-72DB-C26C2994CC45}"/>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5" name="Graphic 1583">
                <a:extLst>
                  <a:ext uri="{FF2B5EF4-FFF2-40B4-BE49-F238E27FC236}">
                    <a16:creationId xmlns:a16="http://schemas.microsoft.com/office/drawing/2014/main" id="{998629FC-4EF5-61F5-F7C5-845DD407368E}"/>
                  </a:ext>
                </a:extLst>
              </p:cNvPr>
              <p:cNvGrpSpPr/>
              <p:nvPr/>
            </p:nvGrpSpPr>
            <p:grpSpPr>
              <a:xfrm>
                <a:off x="6781990" y="3789520"/>
                <a:ext cx="75628" cy="75628"/>
                <a:chOff x="6781990" y="3789520"/>
                <a:chExt cx="75628" cy="75628"/>
              </a:xfrm>
            </p:grpSpPr>
            <p:sp>
              <p:nvSpPr>
                <p:cNvPr id="16455" name="Freeform: Shape 16454">
                  <a:extLst>
                    <a:ext uri="{FF2B5EF4-FFF2-40B4-BE49-F238E27FC236}">
                      <a16:creationId xmlns:a16="http://schemas.microsoft.com/office/drawing/2014/main" id="{1240BBCD-D13A-CEAA-BF19-283AE0AB07DC}"/>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6" name="Freeform: Shape 16455">
                  <a:extLst>
                    <a:ext uri="{FF2B5EF4-FFF2-40B4-BE49-F238E27FC236}">
                      <a16:creationId xmlns:a16="http://schemas.microsoft.com/office/drawing/2014/main" id="{8DEE9ABF-B036-2BD9-EB45-C5B4FED8E087}"/>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6" name="Graphic 1583">
                <a:extLst>
                  <a:ext uri="{FF2B5EF4-FFF2-40B4-BE49-F238E27FC236}">
                    <a16:creationId xmlns:a16="http://schemas.microsoft.com/office/drawing/2014/main" id="{26CAB11A-2834-758E-346D-40674A5CBC2F}"/>
                  </a:ext>
                </a:extLst>
              </p:cNvPr>
              <p:cNvGrpSpPr/>
              <p:nvPr/>
            </p:nvGrpSpPr>
            <p:grpSpPr>
              <a:xfrm>
                <a:off x="6768845" y="3789520"/>
                <a:ext cx="75723" cy="75628"/>
                <a:chOff x="6768845" y="3789520"/>
                <a:chExt cx="75723" cy="75628"/>
              </a:xfrm>
            </p:grpSpPr>
            <p:sp>
              <p:nvSpPr>
                <p:cNvPr id="16453" name="Freeform: Shape 16452">
                  <a:extLst>
                    <a:ext uri="{FF2B5EF4-FFF2-40B4-BE49-F238E27FC236}">
                      <a16:creationId xmlns:a16="http://schemas.microsoft.com/office/drawing/2014/main" id="{B0A9B2A8-E7D0-BEAD-5C77-8E66F97A1CF8}"/>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4" name="Freeform: Shape 16453">
                  <a:extLst>
                    <a:ext uri="{FF2B5EF4-FFF2-40B4-BE49-F238E27FC236}">
                      <a16:creationId xmlns:a16="http://schemas.microsoft.com/office/drawing/2014/main" id="{3ADA818B-F162-4F6A-C914-03E69C5ECE4D}"/>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7" name="Graphic 1583">
                <a:extLst>
                  <a:ext uri="{FF2B5EF4-FFF2-40B4-BE49-F238E27FC236}">
                    <a16:creationId xmlns:a16="http://schemas.microsoft.com/office/drawing/2014/main" id="{DDEFEC5E-E9AE-7469-9CB6-0C27108A8FE5}"/>
                  </a:ext>
                </a:extLst>
              </p:cNvPr>
              <p:cNvGrpSpPr/>
              <p:nvPr/>
            </p:nvGrpSpPr>
            <p:grpSpPr>
              <a:xfrm>
                <a:off x="6443757" y="3789520"/>
                <a:ext cx="75723" cy="75628"/>
                <a:chOff x="6443757" y="3789520"/>
                <a:chExt cx="75723" cy="75628"/>
              </a:xfrm>
            </p:grpSpPr>
            <p:sp>
              <p:nvSpPr>
                <p:cNvPr id="16451" name="Freeform: Shape 16450">
                  <a:extLst>
                    <a:ext uri="{FF2B5EF4-FFF2-40B4-BE49-F238E27FC236}">
                      <a16:creationId xmlns:a16="http://schemas.microsoft.com/office/drawing/2014/main" id="{BE2418E0-332B-9EAC-5B6C-5A2F34F80652}"/>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2" name="Freeform: Shape 16451">
                  <a:extLst>
                    <a:ext uri="{FF2B5EF4-FFF2-40B4-BE49-F238E27FC236}">
                      <a16:creationId xmlns:a16="http://schemas.microsoft.com/office/drawing/2014/main" id="{7DAA7AF8-E2E2-DE09-6ABF-A36B4A539F68}"/>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8" name="Graphic 1583">
                <a:extLst>
                  <a:ext uri="{FF2B5EF4-FFF2-40B4-BE49-F238E27FC236}">
                    <a16:creationId xmlns:a16="http://schemas.microsoft.com/office/drawing/2014/main" id="{F8CE4E63-5F2D-3EA4-695B-D37CF53FAD1D}"/>
                  </a:ext>
                </a:extLst>
              </p:cNvPr>
              <p:cNvGrpSpPr/>
              <p:nvPr/>
            </p:nvGrpSpPr>
            <p:grpSpPr>
              <a:xfrm>
                <a:off x="6430422" y="3789520"/>
                <a:ext cx="75628" cy="75628"/>
                <a:chOff x="6430422" y="3789520"/>
                <a:chExt cx="75628" cy="75628"/>
              </a:xfrm>
            </p:grpSpPr>
            <p:sp>
              <p:nvSpPr>
                <p:cNvPr id="16449" name="Freeform: Shape 16448">
                  <a:extLst>
                    <a:ext uri="{FF2B5EF4-FFF2-40B4-BE49-F238E27FC236}">
                      <a16:creationId xmlns:a16="http://schemas.microsoft.com/office/drawing/2014/main" id="{465C94D6-80D0-BA88-7829-D5A3A09DE020}"/>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0" name="Freeform: Shape 16449">
                  <a:extLst>
                    <a:ext uri="{FF2B5EF4-FFF2-40B4-BE49-F238E27FC236}">
                      <a16:creationId xmlns:a16="http://schemas.microsoft.com/office/drawing/2014/main" id="{5FDFCA62-489B-C489-0BDD-705CBEA70BEC}"/>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9" name="Graphic 1583">
                <a:extLst>
                  <a:ext uri="{FF2B5EF4-FFF2-40B4-BE49-F238E27FC236}">
                    <a16:creationId xmlns:a16="http://schemas.microsoft.com/office/drawing/2014/main" id="{89B23E7D-3FAA-B549-CA72-F182FDBE7770}"/>
                  </a:ext>
                </a:extLst>
              </p:cNvPr>
              <p:cNvGrpSpPr/>
              <p:nvPr/>
            </p:nvGrpSpPr>
            <p:grpSpPr>
              <a:xfrm>
                <a:off x="6417277" y="3789520"/>
                <a:ext cx="75723" cy="75628"/>
                <a:chOff x="6417277" y="3789520"/>
                <a:chExt cx="75723" cy="75628"/>
              </a:xfrm>
            </p:grpSpPr>
            <p:sp>
              <p:nvSpPr>
                <p:cNvPr id="16447" name="Freeform: Shape 16446">
                  <a:extLst>
                    <a:ext uri="{FF2B5EF4-FFF2-40B4-BE49-F238E27FC236}">
                      <a16:creationId xmlns:a16="http://schemas.microsoft.com/office/drawing/2014/main" id="{705175DF-C82A-3088-13B4-FB8BC2EE40AF}"/>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8" name="Freeform: Shape 16447">
                  <a:extLst>
                    <a:ext uri="{FF2B5EF4-FFF2-40B4-BE49-F238E27FC236}">
                      <a16:creationId xmlns:a16="http://schemas.microsoft.com/office/drawing/2014/main" id="{7085DEAD-BC83-C8F4-69D0-EEDBA9E9FF29}"/>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0" name="Graphic 1583">
                <a:extLst>
                  <a:ext uri="{FF2B5EF4-FFF2-40B4-BE49-F238E27FC236}">
                    <a16:creationId xmlns:a16="http://schemas.microsoft.com/office/drawing/2014/main" id="{3CA66961-8A63-9D74-871B-15E3C203DAF7}"/>
                  </a:ext>
                </a:extLst>
              </p:cNvPr>
              <p:cNvGrpSpPr/>
              <p:nvPr/>
            </p:nvGrpSpPr>
            <p:grpSpPr>
              <a:xfrm>
                <a:off x="6400704" y="3746277"/>
                <a:ext cx="75723" cy="75723"/>
                <a:chOff x="6400704" y="3746277"/>
                <a:chExt cx="75723" cy="75723"/>
              </a:xfrm>
            </p:grpSpPr>
            <p:sp>
              <p:nvSpPr>
                <p:cNvPr id="16445" name="Freeform: Shape 16444">
                  <a:extLst>
                    <a:ext uri="{FF2B5EF4-FFF2-40B4-BE49-F238E27FC236}">
                      <a16:creationId xmlns:a16="http://schemas.microsoft.com/office/drawing/2014/main" id="{1516713B-F578-0F23-95A7-30A2E74B0533}"/>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6" name="Freeform: Shape 16445">
                  <a:extLst>
                    <a:ext uri="{FF2B5EF4-FFF2-40B4-BE49-F238E27FC236}">
                      <a16:creationId xmlns:a16="http://schemas.microsoft.com/office/drawing/2014/main" id="{7F30358A-D565-B713-EB94-FD4934AEFD4C}"/>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1" name="Graphic 1583">
                <a:extLst>
                  <a:ext uri="{FF2B5EF4-FFF2-40B4-BE49-F238E27FC236}">
                    <a16:creationId xmlns:a16="http://schemas.microsoft.com/office/drawing/2014/main" id="{A39CF99A-F91A-5599-D0AA-DB73ACF41037}"/>
                  </a:ext>
                </a:extLst>
              </p:cNvPr>
              <p:cNvGrpSpPr/>
              <p:nvPr/>
            </p:nvGrpSpPr>
            <p:grpSpPr>
              <a:xfrm>
                <a:off x="6387369" y="3746277"/>
                <a:ext cx="75723" cy="75723"/>
                <a:chOff x="6387369" y="3746277"/>
                <a:chExt cx="75723" cy="75723"/>
              </a:xfrm>
            </p:grpSpPr>
            <p:sp>
              <p:nvSpPr>
                <p:cNvPr id="16443" name="Freeform: Shape 16442">
                  <a:extLst>
                    <a:ext uri="{FF2B5EF4-FFF2-40B4-BE49-F238E27FC236}">
                      <a16:creationId xmlns:a16="http://schemas.microsoft.com/office/drawing/2014/main" id="{8F169FD0-588F-3575-8AF7-2AB77272B786}"/>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4" name="Freeform: Shape 16443">
                  <a:extLst>
                    <a:ext uri="{FF2B5EF4-FFF2-40B4-BE49-F238E27FC236}">
                      <a16:creationId xmlns:a16="http://schemas.microsoft.com/office/drawing/2014/main" id="{4A5EFF2E-70D4-9C1A-3BA0-43E7486A5F43}"/>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2" name="Graphic 1583">
                <a:extLst>
                  <a:ext uri="{FF2B5EF4-FFF2-40B4-BE49-F238E27FC236}">
                    <a16:creationId xmlns:a16="http://schemas.microsoft.com/office/drawing/2014/main" id="{64CB24B3-D26E-20DD-ED74-D855DC758BE3}"/>
                  </a:ext>
                </a:extLst>
              </p:cNvPr>
              <p:cNvGrpSpPr/>
              <p:nvPr/>
            </p:nvGrpSpPr>
            <p:grpSpPr>
              <a:xfrm>
                <a:off x="6374320" y="3746277"/>
                <a:ext cx="75628" cy="75723"/>
                <a:chOff x="6374320" y="3746277"/>
                <a:chExt cx="75628" cy="75723"/>
              </a:xfrm>
            </p:grpSpPr>
            <p:sp>
              <p:nvSpPr>
                <p:cNvPr id="16441" name="Freeform: Shape 16440">
                  <a:extLst>
                    <a:ext uri="{FF2B5EF4-FFF2-40B4-BE49-F238E27FC236}">
                      <a16:creationId xmlns:a16="http://schemas.microsoft.com/office/drawing/2014/main" id="{B4E54FC1-DED4-7FF8-6C40-6446179B50E1}"/>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2" name="Freeform: Shape 16441">
                  <a:extLst>
                    <a:ext uri="{FF2B5EF4-FFF2-40B4-BE49-F238E27FC236}">
                      <a16:creationId xmlns:a16="http://schemas.microsoft.com/office/drawing/2014/main" id="{8F368721-819F-A2FE-56FC-868016A22A43}"/>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3" name="Graphic 1583">
                <a:extLst>
                  <a:ext uri="{FF2B5EF4-FFF2-40B4-BE49-F238E27FC236}">
                    <a16:creationId xmlns:a16="http://schemas.microsoft.com/office/drawing/2014/main" id="{D7FE10B5-1299-D0B0-AF01-F9C907112422}"/>
                  </a:ext>
                </a:extLst>
              </p:cNvPr>
              <p:cNvGrpSpPr/>
              <p:nvPr/>
            </p:nvGrpSpPr>
            <p:grpSpPr>
              <a:xfrm>
                <a:off x="6244208" y="3746277"/>
                <a:ext cx="75723" cy="75723"/>
                <a:chOff x="6244208" y="3746277"/>
                <a:chExt cx="75723" cy="75723"/>
              </a:xfrm>
            </p:grpSpPr>
            <p:sp>
              <p:nvSpPr>
                <p:cNvPr id="16439" name="Freeform: Shape 16438">
                  <a:extLst>
                    <a:ext uri="{FF2B5EF4-FFF2-40B4-BE49-F238E27FC236}">
                      <a16:creationId xmlns:a16="http://schemas.microsoft.com/office/drawing/2014/main" id="{BBEFC403-861B-1EE5-2400-6E06B031AED4}"/>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0" name="Freeform: Shape 16439">
                  <a:extLst>
                    <a:ext uri="{FF2B5EF4-FFF2-40B4-BE49-F238E27FC236}">
                      <a16:creationId xmlns:a16="http://schemas.microsoft.com/office/drawing/2014/main" id="{29592213-1E79-38BD-F00E-AD920DDCA45F}"/>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4" name="Graphic 1583">
                <a:extLst>
                  <a:ext uri="{FF2B5EF4-FFF2-40B4-BE49-F238E27FC236}">
                    <a16:creationId xmlns:a16="http://schemas.microsoft.com/office/drawing/2014/main" id="{1E621D87-C626-E414-5143-C66CFC55E007}"/>
                  </a:ext>
                </a:extLst>
              </p:cNvPr>
              <p:cNvGrpSpPr/>
              <p:nvPr/>
            </p:nvGrpSpPr>
            <p:grpSpPr>
              <a:xfrm>
                <a:off x="6229635" y="3746277"/>
                <a:ext cx="75628" cy="75723"/>
                <a:chOff x="6229635" y="3746277"/>
                <a:chExt cx="75628" cy="75723"/>
              </a:xfrm>
            </p:grpSpPr>
            <p:sp>
              <p:nvSpPr>
                <p:cNvPr id="16437" name="Freeform: Shape 16436">
                  <a:extLst>
                    <a:ext uri="{FF2B5EF4-FFF2-40B4-BE49-F238E27FC236}">
                      <a16:creationId xmlns:a16="http://schemas.microsoft.com/office/drawing/2014/main" id="{9E15CCEE-2CB3-CF4C-6764-E0B548330FD5}"/>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38" name="Freeform: Shape 16437">
                  <a:extLst>
                    <a:ext uri="{FF2B5EF4-FFF2-40B4-BE49-F238E27FC236}">
                      <a16:creationId xmlns:a16="http://schemas.microsoft.com/office/drawing/2014/main" id="{EA92E285-8D80-5710-AFDF-544BC63184BE}"/>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5" name="Graphic 1583">
                <a:extLst>
                  <a:ext uri="{FF2B5EF4-FFF2-40B4-BE49-F238E27FC236}">
                    <a16:creationId xmlns:a16="http://schemas.microsoft.com/office/drawing/2014/main" id="{B7F408BC-F747-A8C5-C283-3B9C61A71F7A}"/>
                  </a:ext>
                </a:extLst>
              </p:cNvPr>
              <p:cNvGrpSpPr/>
              <p:nvPr/>
            </p:nvGrpSpPr>
            <p:grpSpPr>
              <a:xfrm>
                <a:off x="6184296" y="3746277"/>
                <a:ext cx="75723" cy="75723"/>
                <a:chOff x="6184296" y="3746277"/>
                <a:chExt cx="75723" cy="75723"/>
              </a:xfrm>
            </p:grpSpPr>
            <p:sp>
              <p:nvSpPr>
                <p:cNvPr id="16435" name="Freeform: Shape 16434">
                  <a:extLst>
                    <a:ext uri="{FF2B5EF4-FFF2-40B4-BE49-F238E27FC236}">
                      <a16:creationId xmlns:a16="http://schemas.microsoft.com/office/drawing/2014/main" id="{9B865098-B4AF-3CAA-E16D-43A87B58912C}"/>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36" name="Freeform: Shape 16435">
                  <a:extLst>
                    <a:ext uri="{FF2B5EF4-FFF2-40B4-BE49-F238E27FC236}">
                      <a16:creationId xmlns:a16="http://schemas.microsoft.com/office/drawing/2014/main" id="{E45AF97D-CEC3-3C32-0C32-D09F417C29BC}"/>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6" name="Graphic 1583">
                <a:extLst>
                  <a:ext uri="{FF2B5EF4-FFF2-40B4-BE49-F238E27FC236}">
                    <a16:creationId xmlns:a16="http://schemas.microsoft.com/office/drawing/2014/main" id="{43C2FDBF-C70C-B949-E87E-A8670A8E4924}"/>
                  </a:ext>
                </a:extLst>
              </p:cNvPr>
              <p:cNvGrpSpPr/>
              <p:nvPr/>
            </p:nvGrpSpPr>
            <p:grpSpPr>
              <a:xfrm>
                <a:off x="6095618" y="3746277"/>
                <a:ext cx="75723" cy="75723"/>
                <a:chOff x="6095618" y="3746277"/>
                <a:chExt cx="75723" cy="75723"/>
              </a:xfrm>
            </p:grpSpPr>
            <p:sp>
              <p:nvSpPr>
                <p:cNvPr id="16433" name="Freeform: Shape 16432">
                  <a:extLst>
                    <a:ext uri="{FF2B5EF4-FFF2-40B4-BE49-F238E27FC236}">
                      <a16:creationId xmlns:a16="http://schemas.microsoft.com/office/drawing/2014/main" id="{E2E5D0C1-B8AB-618C-AC01-C5759225EE62}"/>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34" name="Freeform: Shape 16433">
                  <a:extLst>
                    <a:ext uri="{FF2B5EF4-FFF2-40B4-BE49-F238E27FC236}">
                      <a16:creationId xmlns:a16="http://schemas.microsoft.com/office/drawing/2014/main" id="{9BFEA640-EFAA-6F33-6DF1-A94BE117292C}"/>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7" name="Graphic 1583">
                <a:extLst>
                  <a:ext uri="{FF2B5EF4-FFF2-40B4-BE49-F238E27FC236}">
                    <a16:creationId xmlns:a16="http://schemas.microsoft.com/office/drawing/2014/main" id="{DD73EC58-C530-917D-DB69-8059171430C9}"/>
                  </a:ext>
                </a:extLst>
              </p:cNvPr>
              <p:cNvGrpSpPr/>
              <p:nvPr/>
            </p:nvGrpSpPr>
            <p:grpSpPr>
              <a:xfrm>
                <a:off x="6086379" y="3746277"/>
                <a:ext cx="75723" cy="75723"/>
                <a:chOff x="6086379" y="3746277"/>
                <a:chExt cx="75723" cy="75723"/>
              </a:xfrm>
            </p:grpSpPr>
            <p:sp>
              <p:nvSpPr>
                <p:cNvPr id="16431" name="Freeform: Shape 16430">
                  <a:extLst>
                    <a:ext uri="{FF2B5EF4-FFF2-40B4-BE49-F238E27FC236}">
                      <a16:creationId xmlns:a16="http://schemas.microsoft.com/office/drawing/2014/main" id="{57CAFA10-9F75-93F9-72BC-EE3EC8788F90}"/>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32" name="Freeform: Shape 16431">
                  <a:extLst>
                    <a:ext uri="{FF2B5EF4-FFF2-40B4-BE49-F238E27FC236}">
                      <a16:creationId xmlns:a16="http://schemas.microsoft.com/office/drawing/2014/main" id="{45F68486-3A14-4E76-21AB-F755A1FBD5CA}"/>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8" name="Graphic 1583">
                <a:extLst>
                  <a:ext uri="{FF2B5EF4-FFF2-40B4-BE49-F238E27FC236}">
                    <a16:creationId xmlns:a16="http://schemas.microsoft.com/office/drawing/2014/main" id="{3C70EED7-87D6-AA21-F691-369BA21CD24B}"/>
                  </a:ext>
                </a:extLst>
              </p:cNvPr>
              <p:cNvGrpSpPr/>
              <p:nvPr/>
            </p:nvGrpSpPr>
            <p:grpSpPr>
              <a:xfrm>
                <a:off x="6050089" y="3687603"/>
                <a:ext cx="75723" cy="75723"/>
                <a:chOff x="6050089" y="3687603"/>
                <a:chExt cx="75723" cy="75723"/>
              </a:xfrm>
            </p:grpSpPr>
            <p:sp>
              <p:nvSpPr>
                <p:cNvPr id="16429" name="Freeform: Shape 16428">
                  <a:extLst>
                    <a:ext uri="{FF2B5EF4-FFF2-40B4-BE49-F238E27FC236}">
                      <a16:creationId xmlns:a16="http://schemas.microsoft.com/office/drawing/2014/main" id="{118B1E9D-5655-BFCE-791A-9FE27582719E}"/>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30" name="Freeform: Shape 16429">
                  <a:extLst>
                    <a:ext uri="{FF2B5EF4-FFF2-40B4-BE49-F238E27FC236}">
                      <a16:creationId xmlns:a16="http://schemas.microsoft.com/office/drawing/2014/main" id="{5F5C1605-3589-9622-9D2D-9007E680C053}"/>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9" name="Graphic 1583">
                <a:extLst>
                  <a:ext uri="{FF2B5EF4-FFF2-40B4-BE49-F238E27FC236}">
                    <a16:creationId xmlns:a16="http://schemas.microsoft.com/office/drawing/2014/main" id="{8D17550D-601E-8C15-5DFB-90019437B69D}"/>
                  </a:ext>
                </a:extLst>
              </p:cNvPr>
              <p:cNvGrpSpPr/>
              <p:nvPr/>
            </p:nvGrpSpPr>
            <p:grpSpPr>
              <a:xfrm>
                <a:off x="6040849" y="3687603"/>
                <a:ext cx="75723" cy="75723"/>
                <a:chOff x="6040849" y="3687603"/>
                <a:chExt cx="75723" cy="75723"/>
              </a:xfrm>
            </p:grpSpPr>
            <p:sp>
              <p:nvSpPr>
                <p:cNvPr id="16427" name="Freeform: Shape 16426">
                  <a:extLst>
                    <a:ext uri="{FF2B5EF4-FFF2-40B4-BE49-F238E27FC236}">
                      <a16:creationId xmlns:a16="http://schemas.microsoft.com/office/drawing/2014/main" id="{2250F339-E6A4-CD19-7212-F38E58AC8ADC}"/>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8" name="Freeform: Shape 16427">
                  <a:extLst>
                    <a:ext uri="{FF2B5EF4-FFF2-40B4-BE49-F238E27FC236}">
                      <a16:creationId xmlns:a16="http://schemas.microsoft.com/office/drawing/2014/main" id="{3F23DEB2-5E9E-C3E4-04C8-1528950A9357}"/>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0" name="Graphic 1583">
                <a:extLst>
                  <a:ext uri="{FF2B5EF4-FFF2-40B4-BE49-F238E27FC236}">
                    <a16:creationId xmlns:a16="http://schemas.microsoft.com/office/drawing/2014/main" id="{E92A238F-2DD7-B2CB-E83F-AB526DFC43A0}"/>
                  </a:ext>
                </a:extLst>
              </p:cNvPr>
              <p:cNvGrpSpPr/>
              <p:nvPr/>
            </p:nvGrpSpPr>
            <p:grpSpPr>
              <a:xfrm>
                <a:off x="6032277" y="3578542"/>
                <a:ext cx="75723" cy="75628"/>
                <a:chOff x="6032277" y="3578542"/>
                <a:chExt cx="75723" cy="75628"/>
              </a:xfrm>
            </p:grpSpPr>
            <p:sp>
              <p:nvSpPr>
                <p:cNvPr id="16425" name="Freeform: Shape 16424">
                  <a:extLst>
                    <a:ext uri="{FF2B5EF4-FFF2-40B4-BE49-F238E27FC236}">
                      <a16:creationId xmlns:a16="http://schemas.microsoft.com/office/drawing/2014/main" id="{0A3F6828-E9AE-7939-0964-C5F7B7E7CE9B}"/>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6" name="Freeform: Shape 16425">
                  <a:extLst>
                    <a:ext uri="{FF2B5EF4-FFF2-40B4-BE49-F238E27FC236}">
                      <a16:creationId xmlns:a16="http://schemas.microsoft.com/office/drawing/2014/main" id="{EA0F3764-B85E-DD57-2E4F-16D3608F9501}"/>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1" name="Graphic 1583">
                <a:extLst>
                  <a:ext uri="{FF2B5EF4-FFF2-40B4-BE49-F238E27FC236}">
                    <a16:creationId xmlns:a16="http://schemas.microsoft.com/office/drawing/2014/main" id="{6C885071-94F2-6094-6A67-275B2AA8F4AB}"/>
                  </a:ext>
                </a:extLst>
              </p:cNvPr>
              <p:cNvGrpSpPr/>
              <p:nvPr/>
            </p:nvGrpSpPr>
            <p:grpSpPr>
              <a:xfrm>
                <a:off x="6023133" y="3578542"/>
                <a:ext cx="75628" cy="75628"/>
                <a:chOff x="6023133" y="3578542"/>
                <a:chExt cx="75628" cy="75628"/>
              </a:xfrm>
            </p:grpSpPr>
            <p:sp>
              <p:nvSpPr>
                <p:cNvPr id="16423" name="Freeform: Shape 16422">
                  <a:extLst>
                    <a:ext uri="{FF2B5EF4-FFF2-40B4-BE49-F238E27FC236}">
                      <a16:creationId xmlns:a16="http://schemas.microsoft.com/office/drawing/2014/main" id="{7970A4F8-664A-4EF8-9FFC-987E26E3F129}"/>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4" name="Freeform: Shape 16423">
                  <a:extLst>
                    <a:ext uri="{FF2B5EF4-FFF2-40B4-BE49-F238E27FC236}">
                      <a16:creationId xmlns:a16="http://schemas.microsoft.com/office/drawing/2014/main" id="{8B163B99-1323-6AE7-3457-50639BF3F445}"/>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2" name="Graphic 1583">
                <a:extLst>
                  <a:ext uri="{FF2B5EF4-FFF2-40B4-BE49-F238E27FC236}">
                    <a16:creationId xmlns:a16="http://schemas.microsoft.com/office/drawing/2014/main" id="{235A298D-F71B-64DA-4F18-DA03B389B5E6}"/>
                  </a:ext>
                </a:extLst>
              </p:cNvPr>
              <p:cNvGrpSpPr/>
              <p:nvPr/>
            </p:nvGrpSpPr>
            <p:grpSpPr>
              <a:xfrm>
                <a:off x="5692711" y="3553300"/>
                <a:ext cx="75723" cy="75628"/>
                <a:chOff x="5692711" y="3553300"/>
                <a:chExt cx="75723" cy="75628"/>
              </a:xfrm>
            </p:grpSpPr>
            <p:sp>
              <p:nvSpPr>
                <p:cNvPr id="16421" name="Freeform: Shape 16420">
                  <a:extLst>
                    <a:ext uri="{FF2B5EF4-FFF2-40B4-BE49-F238E27FC236}">
                      <a16:creationId xmlns:a16="http://schemas.microsoft.com/office/drawing/2014/main" id="{51A9B383-0E4C-1665-C14D-6E7952F4F69C}"/>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2" name="Freeform: Shape 16421">
                  <a:extLst>
                    <a:ext uri="{FF2B5EF4-FFF2-40B4-BE49-F238E27FC236}">
                      <a16:creationId xmlns:a16="http://schemas.microsoft.com/office/drawing/2014/main" id="{98700A79-3F86-0952-6EBB-75740AB7A753}"/>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3" name="Graphic 1583">
                <a:extLst>
                  <a:ext uri="{FF2B5EF4-FFF2-40B4-BE49-F238E27FC236}">
                    <a16:creationId xmlns:a16="http://schemas.microsoft.com/office/drawing/2014/main" id="{B07033F6-6F86-4195-3B57-A125DCBF9525}"/>
                  </a:ext>
                </a:extLst>
              </p:cNvPr>
              <p:cNvGrpSpPr/>
              <p:nvPr/>
            </p:nvGrpSpPr>
            <p:grpSpPr>
              <a:xfrm>
                <a:off x="5662993" y="3515391"/>
                <a:ext cx="75628" cy="75723"/>
                <a:chOff x="5662993" y="3515391"/>
                <a:chExt cx="75628" cy="75723"/>
              </a:xfrm>
            </p:grpSpPr>
            <p:sp>
              <p:nvSpPr>
                <p:cNvPr id="16419" name="Freeform: Shape 16418">
                  <a:extLst>
                    <a:ext uri="{FF2B5EF4-FFF2-40B4-BE49-F238E27FC236}">
                      <a16:creationId xmlns:a16="http://schemas.microsoft.com/office/drawing/2014/main" id="{A922E5D7-C81E-D0E2-FF10-A83DC0D3A792}"/>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20" name="Freeform: Shape 16419">
                  <a:extLst>
                    <a:ext uri="{FF2B5EF4-FFF2-40B4-BE49-F238E27FC236}">
                      <a16:creationId xmlns:a16="http://schemas.microsoft.com/office/drawing/2014/main" id="{7C49C2E3-6F30-C95D-1A18-8FE413529267}"/>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4" name="Graphic 1583">
                <a:extLst>
                  <a:ext uri="{FF2B5EF4-FFF2-40B4-BE49-F238E27FC236}">
                    <a16:creationId xmlns:a16="http://schemas.microsoft.com/office/drawing/2014/main" id="{6665968A-8474-824B-8368-5132FD4E806E}"/>
                  </a:ext>
                </a:extLst>
              </p:cNvPr>
              <p:cNvGrpSpPr/>
              <p:nvPr/>
            </p:nvGrpSpPr>
            <p:grpSpPr>
              <a:xfrm>
                <a:off x="5648038" y="3515391"/>
                <a:ext cx="75628" cy="75723"/>
                <a:chOff x="5648038" y="3515391"/>
                <a:chExt cx="75628" cy="75723"/>
              </a:xfrm>
            </p:grpSpPr>
            <p:sp>
              <p:nvSpPr>
                <p:cNvPr id="16417" name="Freeform: Shape 16416">
                  <a:extLst>
                    <a:ext uri="{FF2B5EF4-FFF2-40B4-BE49-F238E27FC236}">
                      <a16:creationId xmlns:a16="http://schemas.microsoft.com/office/drawing/2014/main" id="{D9CCE153-7090-72FE-8A37-DB7FDEF1A5F7}"/>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18" name="Freeform: Shape 16417">
                  <a:extLst>
                    <a:ext uri="{FF2B5EF4-FFF2-40B4-BE49-F238E27FC236}">
                      <a16:creationId xmlns:a16="http://schemas.microsoft.com/office/drawing/2014/main" id="{446B5CB8-DC3A-1233-9CD4-448B1F1F8D2C}"/>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5" name="Graphic 1583">
                <a:extLst>
                  <a:ext uri="{FF2B5EF4-FFF2-40B4-BE49-F238E27FC236}">
                    <a16:creationId xmlns:a16="http://schemas.microsoft.com/office/drawing/2014/main" id="{2F690055-9107-4DB1-8C21-216C22646FC2}"/>
                  </a:ext>
                </a:extLst>
              </p:cNvPr>
              <p:cNvGrpSpPr/>
              <p:nvPr/>
            </p:nvGrpSpPr>
            <p:grpSpPr>
              <a:xfrm>
                <a:off x="5632894" y="3474433"/>
                <a:ext cx="75628" cy="75628"/>
                <a:chOff x="5632894" y="3474433"/>
                <a:chExt cx="75628" cy="75628"/>
              </a:xfrm>
            </p:grpSpPr>
            <p:sp>
              <p:nvSpPr>
                <p:cNvPr id="16415" name="Freeform: Shape 16414">
                  <a:extLst>
                    <a:ext uri="{FF2B5EF4-FFF2-40B4-BE49-F238E27FC236}">
                      <a16:creationId xmlns:a16="http://schemas.microsoft.com/office/drawing/2014/main" id="{AC85045D-A6BA-0DCC-AEDF-4D09F8CA33AB}"/>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16" name="Freeform: Shape 16415">
                  <a:extLst>
                    <a:ext uri="{FF2B5EF4-FFF2-40B4-BE49-F238E27FC236}">
                      <a16:creationId xmlns:a16="http://schemas.microsoft.com/office/drawing/2014/main" id="{47449F16-C799-9E3F-4545-E0A03F10F671}"/>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6" name="Graphic 1583">
                <a:extLst>
                  <a:ext uri="{FF2B5EF4-FFF2-40B4-BE49-F238E27FC236}">
                    <a16:creationId xmlns:a16="http://schemas.microsoft.com/office/drawing/2014/main" id="{7C16A973-FC07-CE16-AEBE-885703C1281A}"/>
                  </a:ext>
                </a:extLst>
              </p:cNvPr>
              <p:cNvGrpSpPr/>
              <p:nvPr/>
            </p:nvGrpSpPr>
            <p:grpSpPr>
              <a:xfrm>
                <a:off x="5429154" y="3396614"/>
                <a:ext cx="75723" cy="75628"/>
                <a:chOff x="5429154" y="3396614"/>
                <a:chExt cx="75723" cy="75628"/>
              </a:xfrm>
            </p:grpSpPr>
            <p:sp>
              <p:nvSpPr>
                <p:cNvPr id="16413" name="Freeform: Shape 16412">
                  <a:extLst>
                    <a:ext uri="{FF2B5EF4-FFF2-40B4-BE49-F238E27FC236}">
                      <a16:creationId xmlns:a16="http://schemas.microsoft.com/office/drawing/2014/main" id="{B37A88FA-E88A-7BE9-0BDC-B82DD2BE8355}"/>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14" name="Freeform: Shape 16413">
                  <a:extLst>
                    <a:ext uri="{FF2B5EF4-FFF2-40B4-BE49-F238E27FC236}">
                      <a16:creationId xmlns:a16="http://schemas.microsoft.com/office/drawing/2014/main" id="{2082DB08-6159-B446-F749-113019875308}"/>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7" name="Graphic 1583">
                <a:extLst>
                  <a:ext uri="{FF2B5EF4-FFF2-40B4-BE49-F238E27FC236}">
                    <a16:creationId xmlns:a16="http://schemas.microsoft.com/office/drawing/2014/main" id="{CCC9FB42-9ED3-2973-733B-C375415BC935}"/>
                  </a:ext>
                </a:extLst>
              </p:cNvPr>
              <p:cNvGrpSpPr/>
              <p:nvPr/>
            </p:nvGrpSpPr>
            <p:grpSpPr>
              <a:xfrm>
                <a:off x="5315235" y="3375278"/>
                <a:ext cx="75628" cy="75723"/>
                <a:chOff x="5315235" y="3375278"/>
                <a:chExt cx="75628" cy="75723"/>
              </a:xfrm>
            </p:grpSpPr>
            <p:sp>
              <p:nvSpPr>
                <p:cNvPr id="16411" name="Freeform: Shape 16410">
                  <a:extLst>
                    <a:ext uri="{FF2B5EF4-FFF2-40B4-BE49-F238E27FC236}">
                      <a16:creationId xmlns:a16="http://schemas.microsoft.com/office/drawing/2014/main" id="{D67E9FC3-8C4B-6137-BABC-3C7EA0C3C593}"/>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12" name="Freeform: Shape 16411">
                  <a:extLst>
                    <a:ext uri="{FF2B5EF4-FFF2-40B4-BE49-F238E27FC236}">
                      <a16:creationId xmlns:a16="http://schemas.microsoft.com/office/drawing/2014/main" id="{B13738FC-7226-8B7C-8BFF-2DFF697460C9}"/>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8" name="Graphic 1583">
                <a:extLst>
                  <a:ext uri="{FF2B5EF4-FFF2-40B4-BE49-F238E27FC236}">
                    <a16:creationId xmlns:a16="http://schemas.microsoft.com/office/drawing/2014/main" id="{95DA66F1-C3EC-E93A-1051-FE5D010E1222}"/>
                  </a:ext>
                </a:extLst>
              </p:cNvPr>
              <p:cNvGrpSpPr/>
              <p:nvPr/>
            </p:nvGrpSpPr>
            <p:grpSpPr>
              <a:xfrm>
                <a:off x="5284850" y="3341560"/>
                <a:ext cx="75628" cy="75723"/>
                <a:chOff x="5284850" y="3341560"/>
                <a:chExt cx="75628" cy="75723"/>
              </a:xfrm>
            </p:grpSpPr>
            <p:sp>
              <p:nvSpPr>
                <p:cNvPr id="16409" name="Freeform: Shape 16408">
                  <a:extLst>
                    <a:ext uri="{FF2B5EF4-FFF2-40B4-BE49-F238E27FC236}">
                      <a16:creationId xmlns:a16="http://schemas.microsoft.com/office/drawing/2014/main" id="{3FB7BB21-BB5A-4C31-F4F8-E85E2BD8D510}"/>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10" name="Freeform: Shape 16409">
                  <a:extLst>
                    <a:ext uri="{FF2B5EF4-FFF2-40B4-BE49-F238E27FC236}">
                      <a16:creationId xmlns:a16="http://schemas.microsoft.com/office/drawing/2014/main" id="{BD2AE240-8531-6CA5-2B8E-00251A717857}"/>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9" name="Graphic 1583">
                <a:extLst>
                  <a:ext uri="{FF2B5EF4-FFF2-40B4-BE49-F238E27FC236}">
                    <a16:creationId xmlns:a16="http://schemas.microsoft.com/office/drawing/2014/main" id="{5A0B3E92-0D05-4C45-BA61-AB20C9FDBF6A}"/>
                  </a:ext>
                </a:extLst>
              </p:cNvPr>
              <p:cNvGrpSpPr/>
              <p:nvPr/>
            </p:nvGrpSpPr>
            <p:grpSpPr>
              <a:xfrm>
                <a:off x="5269039" y="3313842"/>
                <a:ext cx="75628" cy="75723"/>
                <a:chOff x="5269039" y="3313842"/>
                <a:chExt cx="75628" cy="75723"/>
              </a:xfrm>
            </p:grpSpPr>
            <p:sp>
              <p:nvSpPr>
                <p:cNvPr id="16407" name="Freeform: Shape 16406">
                  <a:extLst>
                    <a:ext uri="{FF2B5EF4-FFF2-40B4-BE49-F238E27FC236}">
                      <a16:creationId xmlns:a16="http://schemas.microsoft.com/office/drawing/2014/main" id="{594FF09A-9636-D4B9-3501-E10211DE0B78}"/>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8" name="Freeform: Shape 16407">
                  <a:extLst>
                    <a:ext uri="{FF2B5EF4-FFF2-40B4-BE49-F238E27FC236}">
                      <a16:creationId xmlns:a16="http://schemas.microsoft.com/office/drawing/2014/main" id="{270942AD-C340-368B-F027-086BCD479843}"/>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0" name="Graphic 1583">
                <a:extLst>
                  <a:ext uri="{FF2B5EF4-FFF2-40B4-BE49-F238E27FC236}">
                    <a16:creationId xmlns:a16="http://schemas.microsoft.com/office/drawing/2014/main" id="{7417619B-9937-7BB4-B44B-893403C143F5}"/>
                  </a:ext>
                </a:extLst>
              </p:cNvPr>
              <p:cNvGrpSpPr/>
              <p:nvPr/>
            </p:nvGrpSpPr>
            <p:grpSpPr>
              <a:xfrm>
                <a:off x="5246941" y="3293554"/>
                <a:ext cx="75723" cy="75628"/>
                <a:chOff x="5246941" y="3293554"/>
                <a:chExt cx="75723" cy="75628"/>
              </a:xfrm>
            </p:grpSpPr>
            <p:sp>
              <p:nvSpPr>
                <p:cNvPr id="16405" name="Freeform: Shape 16404">
                  <a:extLst>
                    <a:ext uri="{FF2B5EF4-FFF2-40B4-BE49-F238E27FC236}">
                      <a16:creationId xmlns:a16="http://schemas.microsoft.com/office/drawing/2014/main" id="{7EC4F5A0-29E0-1B65-718E-3A08253252CF}"/>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6" name="Freeform: Shape 16405">
                  <a:extLst>
                    <a:ext uri="{FF2B5EF4-FFF2-40B4-BE49-F238E27FC236}">
                      <a16:creationId xmlns:a16="http://schemas.microsoft.com/office/drawing/2014/main" id="{DD219222-40B3-56B5-2222-D2EF93724D6A}"/>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1" name="Graphic 1583">
                <a:extLst>
                  <a:ext uri="{FF2B5EF4-FFF2-40B4-BE49-F238E27FC236}">
                    <a16:creationId xmlns:a16="http://schemas.microsoft.com/office/drawing/2014/main" id="{59004DAB-E75B-C25D-C558-C38AA5FF70EA}"/>
                  </a:ext>
                </a:extLst>
              </p:cNvPr>
              <p:cNvGrpSpPr/>
              <p:nvPr/>
            </p:nvGrpSpPr>
            <p:grpSpPr>
              <a:xfrm>
                <a:off x="5179599" y="3270122"/>
                <a:ext cx="75723" cy="75723"/>
                <a:chOff x="5179599" y="3270122"/>
                <a:chExt cx="75723" cy="75723"/>
              </a:xfrm>
            </p:grpSpPr>
            <p:sp>
              <p:nvSpPr>
                <p:cNvPr id="16403" name="Freeform: Shape 16402">
                  <a:extLst>
                    <a:ext uri="{FF2B5EF4-FFF2-40B4-BE49-F238E27FC236}">
                      <a16:creationId xmlns:a16="http://schemas.microsoft.com/office/drawing/2014/main" id="{095DDB1B-E9BF-F355-A19B-EAE0524A9590}"/>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4" name="Freeform: Shape 16403">
                  <a:extLst>
                    <a:ext uri="{FF2B5EF4-FFF2-40B4-BE49-F238E27FC236}">
                      <a16:creationId xmlns:a16="http://schemas.microsoft.com/office/drawing/2014/main" id="{6E333246-5D13-CCA5-48A0-63500BE30C94}"/>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2" name="Graphic 1583">
                <a:extLst>
                  <a:ext uri="{FF2B5EF4-FFF2-40B4-BE49-F238E27FC236}">
                    <a16:creationId xmlns:a16="http://schemas.microsoft.com/office/drawing/2014/main" id="{E89D2E8D-1E17-ACA5-2952-27783F8073D9}"/>
                  </a:ext>
                </a:extLst>
              </p:cNvPr>
              <p:cNvGrpSpPr/>
              <p:nvPr/>
            </p:nvGrpSpPr>
            <p:grpSpPr>
              <a:xfrm>
                <a:off x="4918233" y="3223926"/>
                <a:ext cx="75628" cy="75628"/>
                <a:chOff x="4918233" y="3223926"/>
                <a:chExt cx="75628" cy="75628"/>
              </a:xfrm>
            </p:grpSpPr>
            <p:sp>
              <p:nvSpPr>
                <p:cNvPr id="16401" name="Freeform: Shape 16400">
                  <a:extLst>
                    <a:ext uri="{FF2B5EF4-FFF2-40B4-BE49-F238E27FC236}">
                      <a16:creationId xmlns:a16="http://schemas.microsoft.com/office/drawing/2014/main" id="{E949CFE2-0217-8933-64A9-CBF38E9A2FEE}"/>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2" name="Freeform: Shape 16401">
                  <a:extLst>
                    <a:ext uri="{FF2B5EF4-FFF2-40B4-BE49-F238E27FC236}">
                      <a16:creationId xmlns:a16="http://schemas.microsoft.com/office/drawing/2014/main" id="{47DE49D0-1E0D-EEDC-F85E-DCABD8FD2E1C}"/>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3" name="Graphic 1583">
                <a:extLst>
                  <a:ext uri="{FF2B5EF4-FFF2-40B4-BE49-F238E27FC236}">
                    <a16:creationId xmlns:a16="http://schemas.microsoft.com/office/drawing/2014/main" id="{F1A29A91-90C9-BF5B-C820-9B0168AEFA4D}"/>
                  </a:ext>
                </a:extLst>
              </p:cNvPr>
              <p:cNvGrpSpPr/>
              <p:nvPr/>
            </p:nvGrpSpPr>
            <p:grpSpPr>
              <a:xfrm>
                <a:off x="4912137" y="3214782"/>
                <a:ext cx="75628" cy="75723"/>
                <a:chOff x="4912137" y="3214782"/>
                <a:chExt cx="75628" cy="75723"/>
              </a:xfrm>
            </p:grpSpPr>
            <p:sp>
              <p:nvSpPr>
                <p:cNvPr id="16399" name="Freeform: Shape 16398">
                  <a:extLst>
                    <a:ext uri="{FF2B5EF4-FFF2-40B4-BE49-F238E27FC236}">
                      <a16:creationId xmlns:a16="http://schemas.microsoft.com/office/drawing/2014/main" id="{B8C90734-1C1D-2D23-96A1-538DD25CCEE0}"/>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00" name="Freeform: Shape 16399">
                  <a:extLst>
                    <a:ext uri="{FF2B5EF4-FFF2-40B4-BE49-F238E27FC236}">
                      <a16:creationId xmlns:a16="http://schemas.microsoft.com/office/drawing/2014/main" id="{9DBB13B1-6D4D-A0A5-7937-5BFBC13FE54D}"/>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4" name="Graphic 1583">
                <a:extLst>
                  <a:ext uri="{FF2B5EF4-FFF2-40B4-BE49-F238E27FC236}">
                    <a16:creationId xmlns:a16="http://schemas.microsoft.com/office/drawing/2014/main" id="{2CEE2630-E8F1-CBD0-21B6-36D33F7DE926}"/>
                  </a:ext>
                </a:extLst>
              </p:cNvPr>
              <p:cNvGrpSpPr/>
              <p:nvPr/>
            </p:nvGrpSpPr>
            <p:grpSpPr>
              <a:xfrm>
                <a:off x="4907470" y="3206590"/>
                <a:ext cx="75723" cy="75723"/>
                <a:chOff x="4907470" y="3206590"/>
                <a:chExt cx="75723" cy="75723"/>
              </a:xfrm>
            </p:grpSpPr>
            <p:sp>
              <p:nvSpPr>
                <p:cNvPr id="16397" name="Freeform: Shape 16396">
                  <a:extLst>
                    <a:ext uri="{FF2B5EF4-FFF2-40B4-BE49-F238E27FC236}">
                      <a16:creationId xmlns:a16="http://schemas.microsoft.com/office/drawing/2014/main" id="{E64A1D56-C77F-137B-5DD3-258D778FE22D}"/>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98" name="Freeform: Shape 16397">
                  <a:extLst>
                    <a:ext uri="{FF2B5EF4-FFF2-40B4-BE49-F238E27FC236}">
                      <a16:creationId xmlns:a16="http://schemas.microsoft.com/office/drawing/2014/main" id="{D36CCAEB-76F6-A122-3025-DC85183D3252}"/>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5" name="Graphic 1583">
                <a:extLst>
                  <a:ext uri="{FF2B5EF4-FFF2-40B4-BE49-F238E27FC236}">
                    <a16:creationId xmlns:a16="http://schemas.microsoft.com/office/drawing/2014/main" id="{EAB98BFD-F071-4C38-C547-53C3E4CC65DC}"/>
                  </a:ext>
                </a:extLst>
              </p:cNvPr>
              <p:cNvGrpSpPr/>
              <p:nvPr/>
            </p:nvGrpSpPr>
            <p:grpSpPr>
              <a:xfrm>
                <a:off x="4888420" y="3176968"/>
                <a:ext cx="75628" cy="75628"/>
                <a:chOff x="4888420" y="3176968"/>
                <a:chExt cx="75628" cy="75628"/>
              </a:xfrm>
            </p:grpSpPr>
            <p:sp>
              <p:nvSpPr>
                <p:cNvPr id="16395" name="Freeform: Shape 16394">
                  <a:extLst>
                    <a:ext uri="{FF2B5EF4-FFF2-40B4-BE49-F238E27FC236}">
                      <a16:creationId xmlns:a16="http://schemas.microsoft.com/office/drawing/2014/main" id="{71ED9BB5-D38A-6EB8-3ABE-CB4502DF1781}"/>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96" name="Freeform: Shape 16395">
                  <a:extLst>
                    <a:ext uri="{FF2B5EF4-FFF2-40B4-BE49-F238E27FC236}">
                      <a16:creationId xmlns:a16="http://schemas.microsoft.com/office/drawing/2014/main" id="{143D8A87-0226-2E7C-0CF6-23075E526DFD}"/>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6" name="Graphic 1583">
                <a:extLst>
                  <a:ext uri="{FF2B5EF4-FFF2-40B4-BE49-F238E27FC236}">
                    <a16:creationId xmlns:a16="http://schemas.microsoft.com/office/drawing/2014/main" id="{2C94E467-25E3-E1BA-568B-2A0357BF69E1}"/>
                  </a:ext>
                </a:extLst>
              </p:cNvPr>
              <p:cNvGrpSpPr/>
              <p:nvPr/>
            </p:nvGrpSpPr>
            <p:grpSpPr>
              <a:xfrm>
                <a:off x="4855463" y="3132867"/>
                <a:ext cx="75723" cy="75723"/>
                <a:chOff x="4855463" y="3132867"/>
                <a:chExt cx="75723" cy="75723"/>
              </a:xfrm>
            </p:grpSpPr>
            <p:sp>
              <p:nvSpPr>
                <p:cNvPr id="16393" name="Freeform: Shape 16392">
                  <a:extLst>
                    <a:ext uri="{FF2B5EF4-FFF2-40B4-BE49-F238E27FC236}">
                      <a16:creationId xmlns:a16="http://schemas.microsoft.com/office/drawing/2014/main" id="{82D535A7-B837-7016-8DC8-377CE7EE8483}"/>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94" name="Freeform: Shape 16393">
                  <a:extLst>
                    <a:ext uri="{FF2B5EF4-FFF2-40B4-BE49-F238E27FC236}">
                      <a16:creationId xmlns:a16="http://schemas.microsoft.com/office/drawing/2014/main" id="{CEDC243E-125B-9CC1-32E4-EE6003708D21}"/>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7" name="Graphic 1583">
                <a:extLst>
                  <a:ext uri="{FF2B5EF4-FFF2-40B4-BE49-F238E27FC236}">
                    <a16:creationId xmlns:a16="http://schemas.microsoft.com/office/drawing/2014/main" id="{41F93E44-973E-6763-D7C0-774413BEAAFD}"/>
                  </a:ext>
                </a:extLst>
              </p:cNvPr>
              <p:cNvGrpSpPr/>
              <p:nvPr/>
            </p:nvGrpSpPr>
            <p:grpSpPr>
              <a:xfrm>
                <a:off x="4834603" y="3097339"/>
                <a:ext cx="75723" cy="75628"/>
                <a:chOff x="4834603" y="3097339"/>
                <a:chExt cx="75723" cy="75628"/>
              </a:xfrm>
            </p:grpSpPr>
            <p:sp>
              <p:nvSpPr>
                <p:cNvPr id="16391" name="Freeform: Shape 16390">
                  <a:extLst>
                    <a:ext uri="{FF2B5EF4-FFF2-40B4-BE49-F238E27FC236}">
                      <a16:creationId xmlns:a16="http://schemas.microsoft.com/office/drawing/2014/main" id="{1517D839-9D3E-752E-D4D7-4520029AA92B}"/>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92" name="Freeform: Shape 16391">
                  <a:extLst>
                    <a:ext uri="{FF2B5EF4-FFF2-40B4-BE49-F238E27FC236}">
                      <a16:creationId xmlns:a16="http://schemas.microsoft.com/office/drawing/2014/main" id="{3AE9052F-C1D4-F439-1674-55EB13CE0B2E}"/>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8" name="Graphic 1583">
                <a:extLst>
                  <a:ext uri="{FF2B5EF4-FFF2-40B4-BE49-F238E27FC236}">
                    <a16:creationId xmlns:a16="http://schemas.microsoft.com/office/drawing/2014/main" id="{6CE88587-E233-EFCB-4750-EA652650BA03}"/>
                  </a:ext>
                </a:extLst>
              </p:cNvPr>
              <p:cNvGrpSpPr/>
              <p:nvPr/>
            </p:nvGrpSpPr>
            <p:grpSpPr>
              <a:xfrm>
                <a:off x="4626101" y="3097339"/>
                <a:ext cx="75628" cy="75628"/>
                <a:chOff x="4626101" y="3097339"/>
                <a:chExt cx="75628" cy="75628"/>
              </a:xfrm>
            </p:grpSpPr>
            <p:sp>
              <p:nvSpPr>
                <p:cNvPr id="16389" name="Freeform: Shape 16388">
                  <a:extLst>
                    <a:ext uri="{FF2B5EF4-FFF2-40B4-BE49-F238E27FC236}">
                      <a16:creationId xmlns:a16="http://schemas.microsoft.com/office/drawing/2014/main" id="{5F20925B-AB9B-AD26-F643-F0A0A14FC1AB}"/>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90" name="Freeform: Shape 16389">
                  <a:extLst>
                    <a:ext uri="{FF2B5EF4-FFF2-40B4-BE49-F238E27FC236}">
                      <a16:creationId xmlns:a16="http://schemas.microsoft.com/office/drawing/2014/main" id="{3D61FCE1-FA0A-96A3-AA4F-9F03BE91923E}"/>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9" name="Graphic 1583">
                <a:extLst>
                  <a:ext uri="{FF2B5EF4-FFF2-40B4-BE49-F238E27FC236}">
                    <a16:creationId xmlns:a16="http://schemas.microsoft.com/office/drawing/2014/main" id="{E2CF22EE-1F1A-AC32-A107-A03EF6C12C0F}"/>
                  </a:ext>
                </a:extLst>
              </p:cNvPr>
              <p:cNvGrpSpPr/>
              <p:nvPr/>
            </p:nvGrpSpPr>
            <p:grpSpPr>
              <a:xfrm>
                <a:off x="4555807" y="3053524"/>
                <a:ext cx="75723" cy="75723"/>
                <a:chOff x="4555807" y="3053524"/>
                <a:chExt cx="75723" cy="75723"/>
              </a:xfrm>
            </p:grpSpPr>
            <p:sp>
              <p:nvSpPr>
                <p:cNvPr id="16387" name="Freeform: Shape 16386">
                  <a:extLst>
                    <a:ext uri="{FF2B5EF4-FFF2-40B4-BE49-F238E27FC236}">
                      <a16:creationId xmlns:a16="http://schemas.microsoft.com/office/drawing/2014/main" id="{96745D1A-2A3E-C28C-6D3D-CDC57DE01A72}"/>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8" name="Freeform: Shape 16387">
                  <a:extLst>
                    <a:ext uri="{FF2B5EF4-FFF2-40B4-BE49-F238E27FC236}">
                      <a16:creationId xmlns:a16="http://schemas.microsoft.com/office/drawing/2014/main" id="{8B7E9982-A9F7-750B-7063-D4C81402C7C7}"/>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0" name="Graphic 1583">
                <a:extLst>
                  <a:ext uri="{FF2B5EF4-FFF2-40B4-BE49-F238E27FC236}">
                    <a16:creationId xmlns:a16="http://schemas.microsoft.com/office/drawing/2014/main" id="{AA539132-8C13-A5FE-D48A-10F09248D130}"/>
                  </a:ext>
                </a:extLst>
              </p:cNvPr>
              <p:cNvGrpSpPr/>
              <p:nvPr/>
            </p:nvGrpSpPr>
            <p:grpSpPr>
              <a:xfrm>
                <a:off x="4504753" y="2948939"/>
                <a:ext cx="75628" cy="75723"/>
                <a:chOff x="4504753" y="2948939"/>
                <a:chExt cx="75628" cy="75723"/>
              </a:xfrm>
            </p:grpSpPr>
            <p:sp>
              <p:nvSpPr>
                <p:cNvPr id="16385" name="Freeform: Shape 16384">
                  <a:extLst>
                    <a:ext uri="{FF2B5EF4-FFF2-40B4-BE49-F238E27FC236}">
                      <a16:creationId xmlns:a16="http://schemas.microsoft.com/office/drawing/2014/main" id="{CEF9A658-0468-3297-5500-CF6DB86BCBD7}"/>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6" name="Freeform: Shape 16385">
                  <a:extLst>
                    <a:ext uri="{FF2B5EF4-FFF2-40B4-BE49-F238E27FC236}">
                      <a16:creationId xmlns:a16="http://schemas.microsoft.com/office/drawing/2014/main" id="{BFCD36FF-DD27-6BE5-B216-A7D56C11F7DA}"/>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1" name="Graphic 1583">
                <a:extLst>
                  <a:ext uri="{FF2B5EF4-FFF2-40B4-BE49-F238E27FC236}">
                    <a16:creationId xmlns:a16="http://schemas.microsoft.com/office/drawing/2014/main" id="{836D4EE8-075A-A3EA-CF71-A9677F88903F}"/>
                  </a:ext>
                </a:extLst>
              </p:cNvPr>
              <p:cNvGrpSpPr/>
              <p:nvPr/>
            </p:nvGrpSpPr>
            <p:grpSpPr>
              <a:xfrm>
                <a:off x="4510277" y="2958369"/>
                <a:ext cx="75628" cy="75723"/>
                <a:chOff x="4510277" y="2958369"/>
                <a:chExt cx="75628" cy="75723"/>
              </a:xfrm>
            </p:grpSpPr>
            <p:sp>
              <p:nvSpPr>
                <p:cNvPr id="16383" name="Freeform: Shape 16382">
                  <a:extLst>
                    <a:ext uri="{FF2B5EF4-FFF2-40B4-BE49-F238E27FC236}">
                      <a16:creationId xmlns:a16="http://schemas.microsoft.com/office/drawing/2014/main" id="{57A05448-22AD-5781-CC87-CB8DFA8CEC7E}"/>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4" name="Freeform: Shape 16383">
                  <a:extLst>
                    <a:ext uri="{FF2B5EF4-FFF2-40B4-BE49-F238E27FC236}">
                      <a16:creationId xmlns:a16="http://schemas.microsoft.com/office/drawing/2014/main" id="{0242B5F7-92CA-4CC1-5B7F-62682715151C}"/>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2" name="Graphic 1583">
                <a:extLst>
                  <a:ext uri="{FF2B5EF4-FFF2-40B4-BE49-F238E27FC236}">
                    <a16:creationId xmlns:a16="http://schemas.microsoft.com/office/drawing/2014/main" id="{39439C8B-D091-BC9E-B2AD-E845369964CB}"/>
                  </a:ext>
                </a:extLst>
              </p:cNvPr>
              <p:cNvGrpSpPr/>
              <p:nvPr/>
            </p:nvGrpSpPr>
            <p:grpSpPr>
              <a:xfrm>
                <a:off x="4517992" y="2970561"/>
                <a:ext cx="75723" cy="75628"/>
                <a:chOff x="4517992" y="2970561"/>
                <a:chExt cx="75723" cy="75628"/>
              </a:xfrm>
            </p:grpSpPr>
            <p:sp>
              <p:nvSpPr>
                <p:cNvPr id="16381" name="Freeform: Shape 16380">
                  <a:extLst>
                    <a:ext uri="{FF2B5EF4-FFF2-40B4-BE49-F238E27FC236}">
                      <a16:creationId xmlns:a16="http://schemas.microsoft.com/office/drawing/2014/main" id="{D6D85A26-799F-3E78-49D6-BBBCDCE27866}"/>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2" name="Freeform: Shape 16381">
                  <a:extLst>
                    <a:ext uri="{FF2B5EF4-FFF2-40B4-BE49-F238E27FC236}">
                      <a16:creationId xmlns:a16="http://schemas.microsoft.com/office/drawing/2014/main" id="{765923BF-1CEF-6EBE-C815-384539D4F49D}"/>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3" name="Graphic 1583">
                <a:extLst>
                  <a:ext uri="{FF2B5EF4-FFF2-40B4-BE49-F238E27FC236}">
                    <a16:creationId xmlns:a16="http://schemas.microsoft.com/office/drawing/2014/main" id="{9ABD3E47-AD21-EDBF-018E-325F7CC44788}"/>
                  </a:ext>
                </a:extLst>
              </p:cNvPr>
              <p:cNvGrpSpPr/>
              <p:nvPr/>
            </p:nvGrpSpPr>
            <p:grpSpPr>
              <a:xfrm>
                <a:off x="4525708" y="2982277"/>
                <a:ext cx="75723" cy="75628"/>
                <a:chOff x="4525708" y="2982277"/>
                <a:chExt cx="75723" cy="75628"/>
              </a:xfrm>
            </p:grpSpPr>
            <p:sp>
              <p:nvSpPr>
                <p:cNvPr id="16379" name="Freeform: Shape 16378">
                  <a:extLst>
                    <a:ext uri="{FF2B5EF4-FFF2-40B4-BE49-F238E27FC236}">
                      <a16:creationId xmlns:a16="http://schemas.microsoft.com/office/drawing/2014/main" id="{3507FD84-957D-4BE9-17B0-250FD2C8EB6F}"/>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80" name="Freeform: Shape 16379">
                  <a:extLst>
                    <a:ext uri="{FF2B5EF4-FFF2-40B4-BE49-F238E27FC236}">
                      <a16:creationId xmlns:a16="http://schemas.microsoft.com/office/drawing/2014/main" id="{069AD9AE-3E29-998B-9EA1-51528AD8501B}"/>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4" name="Graphic 1583">
                <a:extLst>
                  <a:ext uri="{FF2B5EF4-FFF2-40B4-BE49-F238E27FC236}">
                    <a16:creationId xmlns:a16="http://schemas.microsoft.com/office/drawing/2014/main" id="{C62A155E-8D35-FAD4-BCD4-C64CDF3010B8}"/>
                  </a:ext>
                </a:extLst>
              </p:cNvPr>
              <p:cNvGrpSpPr/>
              <p:nvPr/>
            </p:nvGrpSpPr>
            <p:grpSpPr>
              <a:xfrm>
                <a:off x="4534280" y="2993516"/>
                <a:ext cx="75628" cy="75628"/>
                <a:chOff x="4534280" y="2993516"/>
                <a:chExt cx="75628" cy="75628"/>
              </a:xfrm>
            </p:grpSpPr>
            <p:sp>
              <p:nvSpPr>
                <p:cNvPr id="16377" name="Freeform: Shape 16376">
                  <a:extLst>
                    <a:ext uri="{FF2B5EF4-FFF2-40B4-BE49-F238E27FC236}">
                      <a16:creationId xmlns:a16="http://schemas.microsoft.com/office/drawing/2014/main" id="{ABD36D39-AE96-9D99-DAAB-566FBB560ED5}"/>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78" name="Freeform: Shape 16377">
                  <a:extLst>
                    <a:ext uri="{FF2B5EF4-FFF2-40B4-BE49-F238E27FC236}">
                      <a16:creationId xmlns:a16="http://schemas.microsoft.com/office/drawing/2014/main" id="{95D6CA46-C380-DC43-EDAE-3B18946E304C}"/>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5" name="Graphic 1583">
                <a:extLst>
                  <a:ext uri="{FF2B5EF4-FFF2-40B4-BE49-F238E27FC236}">
                    <a16:creationId xmlns:a16="http://schemas.microsoft.com/office/drawing/2014/main" id="{6434AB27-716A-6CF7-34D4-50D5FDC3A3C7}"/>
                  </a:ext>
                </a:extLst>
              </p:cNvPr>
              <p:cNvGrpSpPr/>
              <p:nvPr/>
            </p:nvGrpSpPr>
            <p:grpSpPr>
              <a:xfrm>
                <a:off x="4544281" y="3005327"/>
                <a:ext cx="75723" cy="75723"/>
                <a:chOff x="4544281" y="3005327"/>
                <a:chExt cx="75723" cy="75723"/>
              </a:xfrm>
            </p:grpSpPr>
            <p:sp>
              <p:nvSpPr>
                <p:cNvPr id="16375" name="Freeform: Shape 16374">
                  <a:extLst>
                    <a:ext uri="{FF2B5EF4-FFF2-40B4-BE49-F238E27FC236}">
                      <a16:creationId xmlns:a16="http://schemas.microsoft.com/office/drawing/2014/main" id="{549B86A7-7F59-7378-A425-4B71A64B24E1}"/>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76" name="Freeform: Shape 16375">
                  <a:extLst>
                    <a:ext uri="{FF2B5EF4-FFF2-40B4-BE49-F238E27FC236}">
                      <a16:creationId xmlns:a16="http://schemas.microsoft.com/office/drawing/2014/main" id="{D9CCCE0D-61CD-6B68-23ED-775F14FEC92D}"/>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6" name="Graphic 1583">
                <a:extLst>
                  <a:ext uri="{FF2B5EF4-FFF2-40B4-BE49-F238E27FC236}">
                    <a16:creationId xmlns:a16="http://schemas.microsoft.com/office/drawing/2014/main" id="{6F7ABE5C-8760-7969-882B-3D2C0B411BFC}"/>
                  </a:ext>
                </a:extLst>
              </p:cNvPr>
              <p:cNvGrpSpPr/>
              <p:nvPr/>
            </p:nvGrpSpPr>
            <p:grpSpPr>
              <a:xfrm>
                <a:off x="4555807" y="3035712"/>
                <a:ext cx="75723" cy="75723"/>
                <a:chOff x="4555807" y="3035712"/>
                <a:chExt cx="75723" cy="75723"/>
              </a:xfrm>
            </p:grpSpPr>
            <p:sp>
              <p:nvSpPr>
                <p:cNvPr id="16373" name="Freeform: Shape 16372">
                  <a:extLst>
                    <a:ext uri="{FF2B5EF4-FFF2-40B4-BE49-F238E27FC236}">
                      <a16:creationId xmlns:a16="http://schemas.microsoft.com/office/drawing/2014/main" id="{EACB20D6-B90F-5484-8AB1-C6466DB0FA49}"/>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74" name="Freeform: Shape 16373">
                  <a:extLst>
                    <a:ext uri="{FF2B5EF4-FFF2-40B4-BE49-F238E27FC236}">
                      <a16:creationId xmlns:a16="http://schemas.microsoft.com/office/drawing/2014/main" id="{B7D03EC1-5380-0D25-983E-BF42422E1F73}"/>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7" name="Graphic 1583">
                <a:extLst>
                  <a:ext uri="{FF2B5EF4-FFF2-40B4-BE49-F238E27FC236}">
                    <a16:creationId xmlns:a16="http://schemas.microsoft.com/office/drawing/2014/main" id="{56599A20-D16B-C9A6-5E95-B06706026ED3}"/>
                  </a:ext>
                </a:extLst>
              </p:cNvPr>
              <p:cNvGrpSpPr/>
              <p:nvPr/>
            </p:nvGrpSpPr>
            <p:grpSpPr>
              <a:xfrm>
                <a:off x="4542567" y="3024663"/>
                <a:ext cx="75723" cy="75628"/>
                <a:chOff x="4542567" y="3024663"/>
                <a:chExt cx="75723" cy="75628"/>
              </a:xfrm>
            </p:grpSpPr>
            <p:sp>
              <p:nvSpPr>
                <p:cNvPr id="16371" name="Freeform: Shape 16370">
                  <a:extLst>
                    <a:ext uri="{FF2B5EF4-FFF2-40B4-BE49-F238E27FC236}">
                      <a16:creationId xmlns:a16="http://schemas.microsoft.com/office/drawing/2014/main" id="{2213CD67-F127-8D5A-7531-02980C8A0439}"/>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72" name="Freeform: Shape 16371">
                  <a:extLst>
                    <a:ext uri="{FF2B5EF4-FFF2-40B4-BE49-F238E27FC236}">
                      <a16:creationId xmlns:a16="http://schemas.microsoft.com/office/drawing/2014/main" id="{3247FDAB-DA0E-BD8A-A28F-2C8E5670B117}"/>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8" name="Graphic 1583">
                <a:extLst>
                  <a:ext uri="{FF2B5EF4-FFF2-40B4-BE49-F238E27FC236}">
                    <a16:creationId xmlns:a16="http://schemas.microsoft.com/office/drawing/2014/main" id="{13CF3B00-50AD-7D9B-D611-35170DA96218}"/>
                  </a:ext>
                </a:extLst>
              </p:cNvPr>
              <p:cNvGrpSpPr/>
              <p:nvPr/>
            </p:nvGrpSpPr>
            <p:grpSpPr>
              <a:xfrm>
                <a:off x="4369879" y="2860166"/>
                <a:ext cx="75723" cy="75723"/>
                <a:chOff x="4369879" y="2860166"/>
                <a:chExt cx="75723" cy="75723"/>
              </a:xfrm>
            </p:grpSpPr>
            <p:sp>
              <p:nvSpPr>
                <p:cNvPr id="16369" name="Freeform: Shape 16368">
                  <a:extLst>
                    <a:ext uri="{FF2B5EF4-FFF2-40B4-BE49-F238E27FC236}">
                      <a16:creationId xmlns:a16="http://schemas.microsoft.com/office/drawing/2014/main" id="{B38528EA-3A01-AFB2-12FE-B4005FEE21C3}"/>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70" name="Freeform: Shape 16369">
                  <a:extLst>
                    <a:ext uri="{FF2B5EF4-FFF2-40B4-BE49-F238E27FC236}">
                      <a16:creationId xmlns:a16="http://schemas.microsoft.com/office/drawing/2014/main" id="{A3560540-B080-4572-7102-89C6178A512B}"/>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9" name="Graphic 1583">
                <a:extLst>
                  <a:ext uri="{FF2B5EF4-FFF2-40B4-BE49-F238E27FC236}">
                    <a16:creationId xmlns:a16="http://schemas.microsoft.com/office/drawing/2014/main" id="{378E6B69-3896-B7AC-E2A3-638DF406E809}"/>
                  </a:ext>
                </a:extLst>
              </p:cNvPr>
              <p:cNvGrpSpPr/>
              <p:nvPr/>
            </p:nvGrpSpPr>
            <p:grpSpPr>
              <a:xfrm>
                <a:off x="4156804" y="2823971"/>
                <a:ext cx="75723" cy="75723"/>
                <a:chOff x="4156804" y="2823971"/>
                <a:chExt cx="75723" cy="75723"/>
              </a:xfrm>
            </p:grpSpPr>
            <p:sp>
              <p:nvSpPr>
                <p:cNvPr id="16367" name="Freeform: Shape 16366">
                  <a:extLst>
                    <a:ext uri="{FF2B5EF4-FFF2-40B4-BE49-F238E27FC236}">
                      <a16:creationId xmlns:a16="http://schemas.microsoft.com/office/drawing/2014/main" id="{D2CFC1C8-925F-2345-CB04-0774265B9E77}"/>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8" name="Freeform: Shape 16367">
                  <a:extLst>
                    <a:ext uri="{FF2B5EF4-FFF2-40B4-BE49-F238E27FC236}">
                      <a16:creationId xmlns:a16="http://schemas.microsoft.com/office/drawing/2014/main" id="{5DD80DED-7158-1C9A-FA19-80B79FF2246B}"/>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0" name="Graphic 1583">
                <a:extLst>
                  <a:ext uri="{FF2B5EF4-FFF2-40B4-BE49-F238E27FC236}">
                    <a16:creationId xmlns:a16="http://schemas.microsoft.com/office/drawing/2014/main" id="{1A1ED588-7973-A4C6-5CAF-6D4CB9DB7AC6}"/>
                  </a:ext>
                </a:extLst>
              </p:cNvPr>
              <p:cNvGrpSpPr/>
              <p:nvPr/>
            </p:nvGrpSpPr>
            <p:grpSpPr>
              <a:xfrm>
                <a:off x="4136421" y="2810065"/>
                <a:ext cx="75723" cy="75628"/>
                <a:chOff x="4136421" y="2810065"/>
                <a:chExt cx="75723" cy="75628"/>
              </a:xfrm>
            </p:grpSpPr>
            <p:sp>
              <p:nvSpPr>
                <p:cNvPr id="16365" name="Freeform: Shape 16364">
                  <a:extLst>
                    <a:ext uri="{FF2B5EF4-FFF2-40B4-BE49-F238E27FC236}">
                      <a16:creationId xmlns:a16="http://schemas.microsoft.com/office/drawing/2014/main" id="{6A95D804-9E78-3878-4818-A8B905AD51A7}"/>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6" name="Freeform: Shape 16365">
                  <a:extLst>
                    <a:ext uri="{FF2B5EF4-FFF2-40B4-BE49-F238E27FC236}">
                      <a16:creationId xmlns:a16="http://schemas.microsoft.com/office/drawing/2014/main" id="{03CA7E68-9A91-5F4E-EF9A-0DA6FC84A425}"/>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1" name="Graphic 1583">
                <a:extLst>
                  <a:ext uri="{FF2B5EF4-FFF2-40B4-BE49-F238E27FC236}">
                    <a16:creationId xmlns:a16="http://schemas.microsoft.com/office/drawing/2014/main" id="{89F1E93A-D8A0-D1E1-A604-5B074CCB9F54}"/>
                  </a:ext>
                </a:extLst>
              </p:cNvPr>
              <p:cNvGrpSpPr/>
              <p:nvPr/>
            </p:nvGrpSpPr>
            <p:grpSpPr>
              <a:xfrm>
                <a:off x="5287517" y="3375278"/>
                <a:ext cx="75723" cy="75723"/>
                <a:chOff x="5287517" y="3375278"/>
                <a:chExt cx="75723" cy="75723"/>
              </a:xfrm>
            </p:grpSpPr>
            <p:sp>
              <p:nvSpPr>
                <p:cNvPr id="16363" name="Freeform: Shape 16362">
                  <a:extLst>
                    <a:ext uri="{FF2B5EF4-FFF2-40B4-BE49-F238E27FC236}">
                      <a16:creationId xmlns:a16="http://schemas.microsoft.com/office/drawing/2014/main" id="{117F41E5-AAA5-D305-F0C4-C37C2B739D79}"/>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4" name="Freeform: Shape 16363">
                  <a:extLst>
                    <a:ext uri="{FF2B5EF4-FFF2-40B4-BE49-F238E27FC236}">
                      <a16:creationId xmlns:a16="http://schemas.microsoft.com/office/drawing/2014/main" id="{B5BF7DD1-F51F-48CA-3727-8A4BE69BDEAD}"/>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2" name="Graphic 1583">
                <a:extLst>
                  <a:ext uri="{FF2B5EF4-FFF2-40B4-BE49-F238E27FC236}">
                    <a16:creationId xmlns:a16="http://schemas.microsoft.com/office/drawing/2014/main" id="{4C78DD3A-089B-69DA-8CB2-5E05C072E0C3}"/>
                  </a:ext>
                </a:extLst>
              </p:cNvPr>
              <p:cNvGrpSpPr/>
              <p:nvPr/>
            </p:nvGrpSpPr>
            <p:grpSpPr>
              <a:xfrm>
                <a:off x="5299709" y="3375278"/>
                <a:ext cx="75723" cy="75723"/>
                <a:chOff x="5299709" y="3375278"/>
                <a:chExt cx="75723" cy="75723"/>
              </a:xfrm>
            </p:grpSpPr>
            <p:sp>
              <p:nvSpPr>
                <p:cNvPr id="16361" name="Freeform: Shape 16360">
                  <a:extLst>
                    <a:ext uri="{FF2B5EF4-FFF2-40B4-BE49-F238E27FC236}">
                      <a16:creationId xmlns:a16="http://schemas.microsoft.com/office/drawing/2014/main" id="{8B5BAFBE-5643-29AB-BEE8-4F12130F3718}"/>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2" name="Freeform: Shape 16361">
                  <a:extLst>
                    <a:ext uri="{FF2B5EF4-FFF2-40B4-BE49-F238E27FC236}">
                      <a16:creationId xmlns:a16="http://schemas.microsoft.com/office/drawing/2014/main" id="{0757CE57-402E-175D-86AC-C5CBB8922E77}"/>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3" name="Graphic 1583">
                <a:extLst>
                  <a:ext uri="{FF2B5EF4-FFF2-40B4-BE49-F238E27FC236}">
                    <a16:creationId xmlns:a16="http://schemas.microsoft.com/office/drawing/2014/main" id="{3D46CF44-D5C2-3A57-C9C7-0BE122F06806}"/>
                  </a:ext>
                </a:extLst>
              </p:cNvPr>
              <p:cNvGrpSpPr/>
              <p:nvPr/>
            </p:nvGrpSpPr>
            <p:grpSpPr>
              <a:xfrm>
                <a:off x="5656611" y="3553300"/>
                <a:ext cx="75628" cy="75628"/>
                <a:chOff x="5656611" y="3553300"/>
                <a:chExt cx="75628" cy="75628"/>
              </a:xfrm>
            </p:grpSpPr>
            <p:sp>
              <p:nvSpPr>
                <p:cNvPr id="16359" name="Freeform: Shape 16358">
                  <a:extLst>
                    <a:ext uri="{FF2B5EF4-FFF2-40B4-BE49-F238E27FC236}">
                      <a16:creationId xmlns:a16="http://schemas.microsoft.com/office/drawing/2014/main" id="{73059955-E1E5-A264-C24A-2D7C6A44B963}"/>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60" name="Freeform: Shape 16359">
                  <a:extLst>
                    <a:ext uri="{FF2B5EF4-FFF2-40B4-BE49-F238E27FC236}">
                      <a16:creationId xmlns:a16="http://schemas.microsoft.com/office/drawing/2014/main" id="{6201B8A2-C191-1C8D-8857-F8286D645288}"/>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4" name="Graphic 1583">
                <a:extLst>
                  <a:ext uri="{FF2B5EF4-FFF2-40B4-BE49-F238E27FC236}">
                    <a16:creationId xmlns:a16="http://schemas.microsoft.com/office/drawing/2014/main" id="{ED9BC33D-C03B-B53E-0A46-E5648E0ADC3F}"/>
                  </a:ext>
                </a:extLst>
              </p:cNvPr>
              <p:cNvGrpSpPr/>
              <p:nvPr/>
            </p:nvGrpSpPr>
            <p:grpSpPr>
              <a:xfrm>
                <a:off x="5668612" y="3553300"/>
                <a:ext cx="75723" cy="75628"/>
                <a:chOff x="5668612" y="3553300"/>
                <a:chExt cx="75723" cy="75628"/>
              </a:xfrm>
            </p:grpSpPr>
            <p:sp>
              <p:nvSpPr>
                <p:cNvPr id="16357" name="Freeform: Shape 16356">
                  <a:extLst>
                    <a:ext uri="{FF2B5EF4-FFF2-40B4-BE49-F238E27FC236}">
                      <a16:creationId xmlns:a16="http://schemas.microsoft.com/office/drawing/2014/main" id="{7AD8927E-E1A5-BE97-F240-5213F3116824}"/>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58" name="Freeform: Shape 16357">
                  <a:extLst>
                    <a:ext uri="{FF2B5EF4-FFF2-40B4-BE49-F238E27FC236}">
                      <a16:creationId xmlns:a16="http://schemas.microsoft.com/office/drawing/2014/main" id="{727015EE-569E-5361-9B57-0ABEAE333F64}"/>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5" name="Graphic 1583">
                <a:extLst>
                  <a:ext uri="{FF2B5EF4-FFF2-40B4-BE49-F238E27FC236}">
                    <a16:creationId xmlns:a16="http://schemas.microsoft.com/office/drawing/2014/main" id="{102C84A9-9B3A-1908-7BDA-D97B136870B3}"/>
                  </a:ext>
                </a:extLst>
              </p:cNvPr>
              <p:cNvGrpSpPr/>
              <p:nvPr/>
            </p:nvGrpSpPr>
            <p:grpSpPr>
              <a:xfrm>
                <a:off x="5680709" y="3553300"/>
                <a:ext cx="75723" cy="75628"/>
                <a:chOff x="5680709" y="3553300"/>
                <a:chExt cx="75723" cy="75628"/>
              </a:xfrm>
            </p:grpSpPr>
            <p:sp>
              <p:nvSpPr>
                <p:cNvPr id="16355" name="Freeform: Shape 16354">
                  <a:extLst>
                    <a:ext uri="{FF2B5EF4-FFF2-40B4-BE49-F238E27FC236}">
                      <a16:creationId xmlns:a16="http://schemas.microsoft.com/office/drawing/2014/main" id="{53605548-131A-B702-36B0-BA1C6B0D47D7}"/>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56" name="Freeform: Shape 16355">
                  <a:extLst>
                    <a:ext uri="{FF2B5EF4-FFF2-40B4-BE49-F238E27FC236}">
                      <a16:creationId xmlns:a16="http://schemas.microsoft.com/office/drawing/2014/main" id="{C9D04B76-DCF8-4436-C0B0-51541C3D1C78}"/>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6" name="Graphic 1583">
                <a:extLst>
                  <a:ext uri="{FF2B5EF4-FFF2-40B4-BE49-F238E27FC236}">
                    <a16:creationId xmlns:a16="http://schemas.microsoft.com/office/drawing/2014/main" id="{D1900A2F-91DE-81A5-4925-898C02A368DD}"/>
                  </a:ext>
                </a:extLst>
              </p:cNvPr>
              <p:cNvGrpSpPr/>
              <p:nvPr/>
            </p:nvGrpSpPr>
            <p:grpSpPr>
              <a:xfrm>
                <a:off x="6040659" y="3606450"/>
                <a:ext cx="75628" cy="75723"/>
                <a:chOff x="6040659" y="3606450"/>
                <a:chExt cx="75628" cy="75723"/>
              </a:xfrm>
            </p:grpSpPr>
            <p:sp>
              <p:nvSpPr>
                <p:cNvPr id="16353" name="Freeform: Shape 16352">
                  <a:extLst>
                    <a:ext uri="{FF2B5EF4-FFF2-40B4-BE49-F238E27FC236}">
                      <a16:creationId xmlns:a16="http://schemas.microsoft.com/office/drawing/2014/main" id="{31C23E5A-70E7-135C-FB6A-F3653C171DA9}"/>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54" name="Freeform: Shape 16353">
                  <a:extLst>
                    <a:ext uri="{FF2B5EF4-FFF2-40B4-BE49-F238E27FC236}">
                      <a16:creationId xmlns:a16="http://schemas.microsoft.com/office/drawing/2014/main" id="{7AA4274E-4E4C-5577-CBA0-AD202CA1DB37}"/>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7" name="Graphic 1583">
                <a:extLst>
                  <a:ext uri="{FF2B5EF4-FFF2-40B4-BE49-F238E27FC236}">
                    <a16:creationId xmlns:a16="http://schemas.microsoft.com/office/drawing/2014/main" id="{EB7AFB36-9D19-82F4-FD8D-2E1C7400B19F}"/>
                  </a:ext>
                </a:extLst>
              </p:cNvPr>
              <p:cNvGrpSpPr/>
              <p:nvPr/>
            </p:nvGrpSpPr>
            <p:grpSpPr>
              <a:xfrm>
                <a:off x="6040659" y="3657218"/>
                <a:ext cx="75628" cy="75723"/>
                <a:chOff x="6040659" y="3657218"/>
                <a:chExt cx="75628" cy="75723"/>
              </a:xfrm>
            </p:grpSpPr>
            <p:sp>
              <p:nvSpPr>
                <p:cNvPr id="16351" name="Freeform: Shape 16350">
                  <a:extLst>
                    <a:ext uri="{FF2B5EF4-FFF2-40B4-BE49-F238E27FC236}">
                      <a16:creationId xmlns:a16="http://schemas.microsoft.com/office/drawing/2014/main" id="{635E7092-31C1-7A41-78B9-8CFB1BD8025D}"/>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52" name="Freeform: Shape 16351">
                  <a:extLst>
                    <a:ext uri="{FF2B5EF4-FFF2-40B4-BE49-F238E27FC236}">
                      <a16:creationId xmlns:a16="http://schemas.microsoft.com/office/drawing/2014/main" id="{FCEACF57-06D9-404D-6EA9-1F10259CD04A}"/>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8" name="Graphic 1583">
                <a:extLst>
                  <a:ext uri="{FF2B5EF4-FFF2-40B4-BE49-F238E27FC236}">
                    <a16:creationId xmlns:a16="http://schemas.microsoft.com/office/drawing/2014/main" id="{EFA13F7A-58F8-D9C0-871B-17E9AA6FF13A}"/>
                  </a:ext>
                </a:extLst>
              </p:cNvPr>
              <p:cNvGrpSpPr/>
              <p:nvPr/>
            </p:nvGrpSpPr>
            <p:grpSpPr>
              <a:xfrm>
                <a:off x="7192517" y="3850290"/>
                <a:ext cx="75723" cy="75723"/>
                <a:chOff x="7192517" y="3850290"/>
                <a:chExt cx="75723" cy="75723"/>
              </a:xfrm>
            </p:grpSpPr>
            <p:sp>
              <p:nvSpPr>
                <p:cNvPr id="16349" name="Freeform: Shape 16348">
                  <a:extLst>
                    <a:ext uri="{FF2B5EF4-FFF2-40B4-BE49-F238E27FC236}">
                      <a16:creationId xmlns:a16="http://schemas.microsoft.com/office/drawing/2014/main" id="{EA82080D-9038-002A-A4EA-D659A99EF4FB}"/>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50" name="Freeform: Shape 16349">
                  <a:extLst>
                    <a:ext uri="{FF2B5EF4-FFF2-40B4-BE49-F238E27FC236}">
                      <a16:creationId xmlns:a16="http://schemas.microsoft.com/office/drawing/2014/main" id="{B665E83D-54C3-04F1-7636-AE93FE680DED}"/>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282" name="Freeform: Shape 16281">
              <a:extLst>
                <a:ext uri="{FF2B5EF4-FFF2-40B4-BE49-F238E27FC236}">
                  <a16:creationId xmlns:a16="http://schemas.microsoft.com/office/drawing/2014/main" id="{DC47A8CD-BA23-2DC8-8AD1-0AE77F412C10}"/>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8" name="Group 15697">
            <a:extLst>
              <a:ext uri="{FF2B5EF4-FFF2-40B4-BE49-F238E27FC236}">
                <a16:creationId xmlns:a16="http://schemas.microsoft.com/office/drawing/2014/main" id="{CC31D60A-2EA8-74F6-F8AA-2185D058BEE1}"/>
              </a:ext>
            </a:extLst>
          </p:cNvPr>
          <p:cNvGrpSpPr/>
          <p:nvPr/>
        </p:nvGrpSpPr>
        <p:grpSpPr>
          <a:xfrm>
            <a:off x="712999" y="1488358"/>
            <a:ext cx="6801804" cy="2364808"/>
            <a:chOff x="3500437" y="2424112"/>
            <a:chExt cx="5189696" cy="2012441"/>
          </a:xfrm>
        </p:grpSpPr>
        <p:grpSp>
          <p:nvGrpSpPr>
            <p:cNvPr id="15699" name="Graphic 1393">
              <a:extLst>
                <a:ext uri="{FF2B5EF4-FFF2-40B4-BE49-F238E27FC236}">
                  <a16:creationId xmlns:a16="http://schemas.microsoft.com/office/drawing/2014/main" id="{71C245BE-F2DE-A171-F116-C527F783625E}"/>
                </a:ext>
              </a:extLst>
            </p:cNvPr>
            <p:cNvGrpSpPr/>
            <p:nvPr/>
          </p:nvGrpSpPr>
          <p:grpSpPr>
            <a:xfrm>
              <a:off x="3868102" y="2496216"/>
              <a:ext cx="4822031" cy="1940337"/>
              <a:chOff x="3868102" y="2496216"/>
              <a:chExt cx="4822031" cy="1940337"/>
            </a:xfrm>
          </p:grpSpPr>
          <p:grpSp>
            <p:nvGrpSpPr>
              <p:cNvPr id="15701" name="Graphic 1393">
                <a:extLst>
                  <a:ext uri="{FF2B5EF4-FFF2-40B4-BE49-F238E27FC236}">
                    <a16:creationId xmlns:a16="http://schemas.microsoft.com/office/drawing/2014/main" id="{6FBC9538-D080-1755-C14E-0BFECFF147EE}"/>
                  </a:ext>
                </a:extLst>
              </p:cNvPr>
              <p:cNvGrpSpPr/>
              <p:nvPr/>
            </p:nvGrpSpPr>
            <p:grpSpPr>
              <a:xfrm>
                <a:off x="8614409" y="4360830"/>
                <a:ext cx="75723" cy="75723"/>
                <a:chOff x="8614409" y="4360830"/>
                <a:chExt cx="75723" cy="75723"/>
              </a:xfrm>
            </p:grpSpPr>
            <p:sp>
              <p:nvSpPr>
                <p:cNvPr id="15965" name="Freeform: Shape 15964">
                  <a:extLst>
                    <a:ext uri="{FF2B5EF4-FFF2-40B4-BE49-F238E27FC236}">
                      <a16:creationId xmlns:a16="http://schemas.microsoft.com/office/drawing/2014/main" id="{E452C9B6-20A0-5D80-CA92-4C1D113F3172}"/>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6" name="Freeform: Shape 15965">
                  <a:extLst>
                    <a:ext uri="{FF2B5EF4-FFF2-40B4-BE49-F238E27FC236}">
                      <a16:creationId xmlns:a16="http://schemas.microsoft.com/office/drawing/2014/main" id="{D65D5428-EE00-B55A-B915-56F5982CB07D}"/>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2" name="Graphic 1393">
                <a:extLst>
                  <a:ext uri="{FF2B5EF4-FFF2-40B4-BE49-F238E27FC236}">
                    <a16:creationId xmlns:a16="http://schemas.microsoft.com/office/drawing/2014/main" id="{CC405398-C766-58F7-7228-291989389320}"/>
                  </a:ext>
                </a:extLst>
              </p:cNvPr>
              <p:cNvGrpSpPr/>
              <p:nvPr/>
            </p:nvGrpSpPr>
            <p:grpSpPr>
              <a:xfrm>
                <a:off x="8599264" y="4360830"/>
                <a:ext cx="75723" cy="75723"/>
                <a:chOff x="8599264" y="4360830"/>
                <a:chExt cx="75723" cy="75723"/>
              </a:xfrm>
            </p:grpSpPr>
            <p:sp>
              <p:nvSpPr>
                <p:cNvPr id="15963" name="Freeform: Shape 15962">
                  <a:extLst>
                    <a:ext uri="{FF2B5EF4-FFF2-40B4-BE49-F238E27FC236}">
                      <a16:creationId xmlns:a16="http://schemas.microsoft.com/office/drawing/2014/main" id="{791DB4E2-2650-3067-D816-8ADD9EF23990}"/>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4" name="Freeform: Shape 15963">
                  <a:extLst>
                    <a:ext uri="{FF2B5EF4-FFF2-40B4-BE49-F238E27FC236}">
                      <a16:creationId xmlns:a16="http://schemas.microsoft.com/office/drawing/2014/main" id="{5107A55D-4578-26E0-1AF1-527178999216}"/>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3" name="Graphic 1393">
                <a:extLst>
                  <a:ext uri="{FF2B5EF4-FFF2-40B4-BE49-F238E27FC236}">
                    <a16:creationId xmlns:a16="http://schemas.microsoft.com/office/drawing/2014/main" id="{F041603F-B230-61B3-BBCD-6B1EBE3AF63E}"/>
                  </a:ext>
                </a:extLst>
              </p:cNvPr>
              <p:cNvGrpSpPr/>
              <p:nvPr/>
            </p:nvGrpSpPr>
            <p:grpSpPr>
              <a:xfrm>
                <a:off x="8461819" y="3949446"/>
                <a:ext cx="75723" cy="75723"/>
                <a:chOff x="8461819" y="3949446"/>
                <a:chExt cx="75723" cy="75723"/>
              </a:xfrm>
            </p:grpSpPr>
            <p:sp>
              <p:nvSpPr>
                <p:cNvPr id="15961" name="Freeform: Shape 15960">
                  <a:extLst>
                    <a:ext uri="{FF2B5EF4-FFF2-40B4-BE49-F238E27FC236}">
                      <a16:creationId xmlns:a16="http://schemas.microsoft.com/office/drawing/2014/main" id="{A8BEA544-9EA9-DED6-E0D8-E4E32D75F8AD}"/>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2" name="Freeform: Shape 15961">
                  <a:extLst>
                    <a:ext uri="{FF2B5EF4-FFF2-40B4-BE49-F238E27FC236}">
                      <a16:creationId xmlns:a16="http://schemas.microsoft.com/office/drawing/2014/main" id="{C73142AE-E214-0D9C-2434-3F6ABE72D7D7}"/>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4" name="Graphic 1393">
                <a:extLst>
                  <a:ext uri="{FF2B5EF4-FFF2-40B4-BE49-F238E27FC236}">
                    <a16:creationId xmlns:a16="http://schemas.microsoft.com/office/drawing/2014/main" id="{3AC1EC25-6BF7-91CB-0F64-F8E8F9F8DDCA}"/>
                  </a:ext>
                </a:extLst>
              </p:cNvPr>
              <p:cNvGrpSpPr/>
              <p:nvPr/>
            </p:nvGrpSpPr>
            <p:grpSpPr>
              <a:xfrm>
                <a:off x="8232933" y="3949446"/>
                <a:ext cx="75723" cy="75723"/>
                <a:chOff x="8232933" y="3949446"/>
                <a:chExt cx="75723" cy="75723"/>
              </a:xfrm>
            </p:grpSpPr>
            <p:sp>
              <p:nvSpPr>
                <p:cNvPr id="15959" name="Freeform: Shape 15958">
                  <a:extLst>
                    <a:ext uri="{FF2B5EF4-FFF2-40B4-BE49-F238E27FC236}">
                      <a16:creationId xmlns:a16="http://schemas.microsoft.com/office/drawing/2014/main" id="{0E6AE2FC-0A3D-C81F-B3C9-8E6E10ACC982}"/>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0" name="Freeform: Shape 15959">
                  <a:extLst>
                    <a:ext uri="{FF2B5EF4-FFF2-40B4-BE49-F238E27FC236}">
                      <a16:creationId xmlns:a16="http://schemas.microsoft.com/office/drawing/2014/main" id="{97C334F2-05AF-69EA-87E5-1747AFE11244}"/>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5" name="Graphic 1393">
                <a:extLst>
                  <a:ext uri="{FF2B5EF4-FFF2-40B4-BE49-F238E27FC236}">
                    <a16:creationId xmlns:a16="http://schemas.microsoft.com/office/drawing/2014/main" id="{5502C113-7622-9EB3-D0F8-052D5E969114}"/>
                  </a:ext>
                </a:extLst>
              </p:cNvPr>
              <p:cNvGrpSpPr/>
              <p:nvPr/>
            </p:nvGrpSpPr>
            <p:grpSpPr>
              <a:xfrm>
                <a:off x="8210454" y="3949446"/>
                <a:ext cx="75723" cy="75723"/>
                <a:chOff x="8210454" y="3949446"/>
                <a:chExt cx="75723" cy="75723"/>
              </a:xfrm>
            </p:grpSpPr>
            <p:sp>
              <p:nvSpPr>
                <p:cNvPr id="15957" name="Freeform: Shape 15956">
                  <a:extLst>
                    <a:ext uri="{FF2B5EF4-FFF2-40B4-BE49-F238E27FC236}">
                      <a16:creationId xmlns:a16="http://schemas.microsoft.com/office/drawing/2014/main" id="{D867877B-FCDA-6F42-1796-F38E9535DD58}"/>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8" name="Freeform: Shape 15957">
                  <a:extLst>
                    <a:ext uri="{FF2B5EF4-FFF2-40B4-BE49-F238E27FC236}">
                      <a16:creationId xmlns:a16="http://schemas.microsoft.com/office/drawing/2014/main" id="{C9E90713-0E8D-6893-9722-F999ED2FBD9F}"/>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6" name="Graphic 1393">
                <a:extLst>
                  <a:ext uri="{FF2B5EF4-FFF2-40B4-BE49-F238E27FC236}">
                    <a16:creationId xmlns:a16="http://schemas.microsoft.com/office/drawing/2014/main" id="{800898CD-A2E6-AE78-5D2F-B276AFC2692C}"/>
                  </a:ext>
                </a:extLst>
              </p:cNvPr>
              <p:cNvGrpSpPr/>
              <p:nvPr/>
            </p:nvGrpSpPr>
            <p:grpSpPr>
              <a:xfrm>
                <a:off x="8183689" y="3949446"/>
                <a:ext cx="75723" cy="75723"/>
                <a:chOff x="8183689" y="3949446"/>
                <a:chExt cx="75723" cy="75723"/>
              </a:xfrm>
            </p:grpSpPr>
            <p:sp>
              <p:nvSpPr>
                <p:cNvPr id="15955" name="Freeform: Shape 15954">
                  <a:extLst>
                    <a:ext uri="{FF2B5EF4-FFF2-40B4-BE49-F238E27FC236}">
                      <a16:creationId xmlns:a16="http://schemas.microsoft.com/office/drawing/2014/main" id="{54D7A39C-DEC4-C443-E2E8-82A276E1F212}"/>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6" name="Freeform: Shape 15955">
                  <a:extLst>
                    <a:ext uri="{FF2B5EF4-FFF2-40B4-BE49-F238E27FC236}">
                      <a16:creationId xmlns:a16="http://schemas.microsoft.com/office/drawing/2014/main" id="{8DD2D0A9-6F01-E2C8-FA47-9C2731E62562}"/>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7" name="Graphic 1393">
                <a:extLst>
                  <a:ext uri="{FF2B5EF4-FFF2-40B4-BE49-F238E27FC236}">
                    <a16:creationId xmlns:a16="http://schemas.microsoft.com/office/drawing/2014/main" id="{8356ADA4-35AD-7F77-2C56-3801E10DABAA}"/>
                  </a:ext>
                </a:extLst>
              </p:cNvPr>
              <p:cNvGrpSpPr/>
              <p:nvPr/>
            </p:nvGrpSpPr>
            <p:grpSpPr>
              <a:xfrm>
                <a:off x="8161495" y="3949446"/>
                <a:ext cx="75723" cy="75723"/>
                <a:chOff x="8161495" y="3949446"/>
                <a:chExt cx="75723" cy="75723"/>
              </a:xfrm>
            </p:grpSpPr>
            <p:sp>
              <p:nvSpPr>
                <p:cNvPr id="15953" name="Freeform: Shape 15952">
                  <a:extLst>
                    <a:ext uri="{FF2B5EF4-FFF2-40B4-BE49-F238E27FC236}">
                      <a16:creationId xmlns:a16="http://schemas.microsoft.com/office/drawing/2014/main" id="{CC0B7E74-CFE7-1AA2-2A1A-EEC1F46A70BB}"/>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4" name="Freeform: Shape 15953">
                  <a:extLst>
                    <a:ext uri="{FF2B5EF4-FFF2-40B4-BE49-F238E27FC236}">
                      <a16:creationId xmlns:a16="http://schemas.microsoft.com/office/drawing/2014/main" id="{8A48E6B0-FC67-F24C-744D-C30B0C1075EC}"/>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8" name="Graphic 1393">
                <a:extLst>
                  <a:ext uri="{FF2B5EF4-FFF2-40B4-BE49-F238E27FC236}">
                    <a16:creationId xmlns:a16="http://schemas.microsoft.com/office/drawing/2014/main" id="{F7362AB0-C0E2-FC88-3ADF-251B9F74C1A9}"/>
                  </a:ext>
                </a:extLst>
              </p:cNvPr>
              <p:cNvGrpSpPr/>
              <p:nvPr/>
            </p:nvGrpSpPr>
            <p:grpSpPr>
              <a:xfrm>
                <a:off x="8065769" y="3949446"/>
                <a:ext cx="75628" cy="75723"/>
                <a:chOff x="8065769" y="3949446"/>
                <a:chExt cx="75628" cy="75723"/>
              </a:xfrm>
            </p:grpSpPr>
            <p:sp>
              <p:nvSpPr>
                <p:cNvPr id="15951" name="Freeform: Shape 15950">
                  <a:extLst>
                    <a:ext uri="{FF2B5EF4-FFF2-40B4-BE49-F238E27FC236}">
                      <a16:creationId xmlns:a16="http://schemas.microsoft.com/office/drawing/2014/main" id="{2C2A95D8-70D3-600F-3907-ABD6C7447256}"/>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2" name="Freeform: Shape 15951">
                  <a:extLst>
                    <a:ext uri="{FF2B5EF4-FFF2-40B4-BE49-F238E27FC236}">
                      <a16:creationId xmlns:a16="http://schemas.microsoft.com/office/drawing/2014/main" id="{632EF9CC-0540-5CF0-3016-4E6D2635D1F1}"/>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9" name="Graphic 1393">
                <a:extLst>
                  <a:ext uri="{FF2B5EF4-FFF2-40B4-BE49-F238E27FC236}">
                    <a16:creationId xmlns:a16="http://schemas.microsoft.com/office/drawing/2014/main" id="{50C5D897-D2BC-C791-F48E-4BD28D6C8015}"/>
                  </a:ext>
                </a:extLst>
              </p:cNvPr>
              <p:cNvGrpSpPr/>
              <p:nvPr/>
            </p:nvGrpSpPr>
            <p:grpSpPr>
              <a:xfrm>
                <a:off x="7829263" y="3949446"/>
                <a:ext cx="75628" cy="75723"/>
                <a:chOff x="7829263" y="3949446"/>
                <a:chExt cx="75628" cy="75723"/>
              </a:xfrm>
            </p:grpSpPr>
            <p:sp>
              <p:nvSpPr>
                <p:cNvPr id="15949" name="Freeform: Shape 15948">
                  <a:extLst>
                    <a:ext uri="{FF2B5EF4-FFF2-40B4-BE49-F238E27FC236}">
                      <a16:creationId xmlns:a16="http://schemas.microsoft.com/office/drawing/2014/main" id="{50974D1F-44B2-9A77-EA4D-2A80B6FBCD9B}"/>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0" name="Freeform: Shape 15949">
                  <a:extLst>
                    <a:ext uri="{FF2B5EF4-FFF2-40B4-BE49-F238E27FC236}">
                      <a16:creationId xmlns:a16="http://schemas.microsoft.com/office/drawing/2014/main" id="{A131B3A2-1F54-3F29-F2A3-CA1AD3234123}"/>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0" name="Graphic 1393">
                <a:extLst>
                  <a:ext uri="{FF2B5EF4-FFF2-40B4-BE49-F238E27FC236}">
                    <a16:creationId xmlns:a16="http://schemas.microsoft.com/office/drawing/2014/main" id="{AE83F90E-F4B7-9820-E6C6-78F900210518}"/>
                  </a:ext>
                </a:extLst>
              </p:cNvPr>
              <p:cNvGrpSpPr/>
              <p:nvPr/>
            </p:nvGrpSpPr>
            <p:grpSpPr>
              <a:xfrm>
                <a:off x="7784115" y="3949446"/>
                <a:ext cx="75723" cy="75723"/>
                <a:chOff x="7784115" y="3949446"/>
                <a:chExt cx="75723" cy="75723"/>
              </a:xfrm>
            </p:grpSpPr>
            <p:sp>
              <p:nvSpPr>
                <p:cNvPr id="15947" name="Freeform: Shape 15946">
                  <a:extLst>
                    <a:ext uri="{FF2B5EF4-FFF2-40B4-BE49-F238E27FC236}">
                      <a16:creationId xmlns:a16="http://schemas.microsoft.com/office/drawing/2014/main" id="{2C17951C-B29F-90A4-4B90-F0EA1862F1A9}"/>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8" name="Freeform: Shape 15947">
                  <a:extLst>
                    <a:ext uri="{FF2B5EF4-FFF2-40B4-BE49-F238E27FC236}">
                      <a16:creationId xmlns:a16="http://schemas.microsoft.com/office/drawing/2014/main" id="{FC4B2055-20AC-C5EE-1792-1FC5C7BA811E}"/>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1" name="Graphic 1393">
                <a:extLst>
                  <a:ext uri="{FF2B5EF4-FFF2-40B4-BE49-F238E27FC236}">
                    <a16:creationId xmlns:a16="http://schemas.microsoft.com/office/drawing/2014/main" id="{D00BD2F7-9BE3-C18D-6882-AC3C8E7A57F7}"/>
                  </a:ext>
                </a:extLst>
              </p:cNvPr>
              <p:cNvGrpSpPr/>
              <p:nvPr/>
            </p:nvGrpSpPr>
            <p:grpSpPr>
              <a:xfrm>
                <a:off x="7746301" y="3949446"/>
                <a:ext cx="75723" cy="75723"/>
                <a:chOff x="7746301" y="3949446"/>
                <a:chExt cx="75723" cy="75723"/>
              </a:xfrm>
            </p:grpSpPr>
            <p:sp>
              <p:nvSpPr>
                <p:cNvPr id="15945" name="Freeform: Shape 15944">
                  <a:extLst>
                    <a:ext uri="{FF2B5EF4-FFF2-40B4-BE49-F238E27FC236}">
                      <a16:creationId xmlns:a16="http://schemas.microsoft.com/office/drawing/2014/main" id="{944CE599-51A7-4D1F-FB27-9DD08CDEB2D5}"/>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6" name="Freeform: Shape 15945">
                  <a:extLst>
                    <a:ext uri="{FF2B5EF4-FFF2-40B4-BE49-F238E27FC236}">
                      <a16:creationId xmlns:a16="http://schemas.microsoft.com/office/drawing/2014/main" id="{6CC6FF8F-581B-FD4B-C8A0-668E7AF24887}"/>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2" name="Graphic 1393">
                <a:extLst>
                  <a:ext uri="{FF2B5EF4-FFF2-40B4-BE49-F238E27FC236}">
                    <a16:creationId xmlns:a16="http://schemas.microsoft.com/office/drawing/2014/main" id="{B4291AC1-D7EE-18A3-8BA1-9D7FE68213B1}"/>
                  </a:ext>
                </a:extLst>
              </p:cNvPr>
              <p:cNvGrpSpPr/>
              <p:nvPr/>
            </p:nvGrpSpPr>
            <p:grpSpPr>
              <a:xfrm>
                <a:off x="7757159" y="3949446"/>
                <a:ext cx="75723" cy="75723"/>
                <a:chOff x="7757159" y="3949446"/>
                <a:chExt cx="75723" cy="75723"/>
              </a:xfrm>
            </p:grpSpPr>
            <p:sp>
              <p:nvSpPr>
                <p:cNvPr id="15943" name="Freeform: Shape 15942">
                  <a:extLst>
                    <a:ext uri="{FF2B5EF4-FFF2-40B4-BE49-F238E27FC236}">
                      <a16:creationId xmlns:a16="http://schemas.microsoft.com/office/drawing/2014/main" id="{7468F351-FAA6-5215-1BAB-211314BE22D4}"/>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4" name="Freeform: Shape 15943">
                  <a:extLst>
                    <a:ext uri="{FF2B5EF4-FFF2-40B4-BE49-F238E27FC236}">
                      <a16:creationId xmlns:a16="http://schemas.microsoft.com/office/drawing/2014/main" id="{3CB3C01E-B124-C191-78CA-46EEE724A001}"/>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3" name="Graphic 1393">
                <a:extLst>
                  <a:ext uri="{FF2B5EF4-FFF2-40B4-BE49-F238E27FC236}">
                    <a16:creationId xmlns:a16="http://schemas.microsoft.com/office/drawing/2014/main" id="{BB3951CE-1655-4602-A5A2-6026F8E9CBDC}"/>
                  </a:ext>
                </a:extLst>
              </p:cNvPr>
              <p:cNvGrpSpPr/>
              <p:nvPr/>
            </p:nvGrpSpPr>
            <p:grpSpPr>
              <a:xfrm>
                <a:off x="7769923" y="3949446"/>
                <a:ext cx="75723" cy="75723"/>
                <a:chOff x="7769923" y="3949446"/>
                <a:chExt cx="75723" cy="75723"/>
              </a:xfrm>
            </p:grpSpPr>
            <p:sp>
              <p:nvSpPr>
                <p:cNvPr id="15941" name="Freeform: Shape 15940">
                  <a:extLst>
                    <a:ext uri="{FF2B5EF4-FFF2-40B4-BE49-F238E27FC236}">
                      <a16:creationId xmlns:a16="http://schemas.microsoft.com/office/drawing/2014/main" id="{8FE8DE77-048D-7D95-4FF3-17EA1CD0DBFD}"/>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2" name="Freeform: Shape 15941">
                  <a:extLst>
                    <a:ext uri="{FF2B5EF4-FFF2-40B4-BE49-F238E27FC236}">
                      <a16:creationId xmlns:a16="http://schemas.microsoft.com/office/drawing/2014/main" id="{A8D5626F-A875-5885-88EF-73D9BFE02023}"/>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4" name="Graphic 1393">
                <a:extLst>
                  <a:ext uri="{FF2B5EF4-FFF2-40B4-BE49-F238E27FC236}">
                    <a16:creationId xmlns:a16="http://schemas.microsoft.com/office/drawing/2014/main" id="{02D29A78-4886-1219-A16B-9280DF1A288B}"/>
                  </a:ext>
                </a:extLst>
              </p:cNvPr>
              <p:cNvGrpSpPr/>
              <p:nvPr/>
            </p:nvGrpSpPr>
            <p:grpSpPr>
              <a:xfrm>
                <a:off x="7732108" y="3897153"/>
                <a:ext cx="75723" cy="75723"/>
                <a:chOff x="7732108" y="3897153"/>
                <a:chExt cx="75723" cy="75723"/>
              </a:xfrm>
            </p:grpSpPr>
            <p:sp>
              <p:nvSpPr>
                <p:cNvPr id="15939" name="Freeform: Shape 15938">
                  <a:extLst>
                    <a:ext uri="{FF2B5EF4-FFF2-40B4-BE49-F238E27FC236}">
                      <a16:creationId xmlns:a16="http://schemas.microsoft.com/office/drawing/2014/main" id="{818F70D1-94DD-FF19-B421-43AC08335100}"/>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0" name="Freeform: Shape 15939">
                  <a:extLst>
                    <a:ext uri="{FF2B5EF4-FFF2-40B4-BE49-F238E27FC236}">
                      <a16:creationId xmlns:a16="http://schemas.microsoft.com/office/drawing/2014/main" id="{CB0D6F69-65D8-153A-2688-DA68DF8F4C75}"/>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5" name="Graphic 1393">
                <a:extLst>
                  <a:ext uri="{FF2B5EF4-FFF2-40B4-BE49-F238E27FC236}">
                    <a16:creationId xmlns:a16="http://schemas.microsoft.com/office/drawing/2014/main" id="{5B75CA66-A912-DE9C-F59C-7F11920D77DF}"/>
                  </a:ext>
                </a:extLst>
              </p:cNvPr>
              <p:cNvGrpSpPr/>
              <p:nvPr/>
            </p:nvGrpSpPr>
            <p:grpSpPr>
              <a:xfrm>
                <a:off x="7708486" y="3897153"/>
                <a:ext cx="75628" cy="75723"/>
                <a:chOff x="7708486" y="3897153"/>
                <a:chExt cx="75628" cy="75723"/>
              </a:xfrm>
            </p:grpSpPr>
            <p:sp>
              <p:nvSpPr>
                <p:cNvPr id="15937" name="Freeform: Shape 15936">
                  <a:extLst>
                    <a:ext uri="{FF2B5EF4-FFF2-40B4-BE49-F238E27FC236}">
                      <a16:creationId xmlns:a16="http://schemas.microsoft.com/office/drawing/2014/main" id="{F8344E36-A010-E3D6-CD2E-6C8E86EBCEBB}"/>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8" name="Freeform: Shape 15937">
                  <a:extLst>
                    <a:ext uri="{FF2B5EF4-FFF2-40B4-BE49-F238E27FC236}">
                      <a16:creationId xmlns:a16="http://schemas.microsoft.com/office/drawing/2014/main" id="{9DB1DD0F-0E82-5287-D600-1E1C623EE7DA}"/>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6" name="Graphic 1393">
                <a:extLst>
                  <a:ext uri="{FF2B5EF4-FFF2-40B4-BE49-F238E27FC236}">
                    <a16:creationId xmlns:a16="http://schemas.microsoft.com/office/drawing/2014/main" id="{9850723D-4309-C707-63F5-F4361E78C37C}"/>
                  </a:ext>
                </a:extLst>
              </p:cNvPr>
              <p:cNvGrpSpPr/>
              <p:nvPr/>
            </p:nvGrpSpPr>
            <p:grpSpPr>
              <a:xfrm>
                <a:off x="7427213" y="3851719"/>
                <a:ext cx="75628" cy="75723"/>
                <a:chOff x="7427213" y="3851719"/>
                <a:chExt cx="75628" cy="75723"/>
              </a:xfrm>
            </p:grpSpPr>
            <p:sp>
              <p:nvSpPr>
                <p:cNvPr id="15935" name="Freeform: Shape 15934">
                  <a:extLst>
                    <a:ext uri="{FF2B5EF4-FFF2-40B4-BE49-F238E27FC236}">
                      <a16:creationId xmlns:a16="http://schemas.microsoft.com/office/drawing/2014/main" id="{45B0CDA7-8118-9E94-7379-FB4D17E37749}"/>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6" name="Freeform: Shape 15935">
                  <a:extLst>
                    <a:ext uri="{FF2B5EF4-FFF2-40B4-BE49-F238E27FC236}">
                      <a16:creationId xmlns:a16="http://schemas.microsoft.com/office/drawing/2014/main" id="{9B35A0B4-10AD-9BF7-89B1-9CFE25279F6A}"/>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7" name="Graphic 1393">
                <a:extLst>
                  <a:ext uri="{FF2B5EF4-FFF2-40B4-BE49-F238E27FC236}">
                    <a16:creationId xmlns:a16="http://schemas.microsoft.com/office/drawing/2014/main" id="{314DAD94-3CD5-C848-591C-67C003A2332F}"/>
                  </a:ext>
                </a:extLst>
              </p:cNvPr>
              <p:cNvGrpSpPr/>
              <p:nvPr/>
            </p:nvGrpSpPr>
            <p:grpSpPr>
              <a:xfrm>
                <a:off x="7367968" y="3813905"/>
                <a:ext cx="75723" cy="75723"/>
                <a:chOff x="7367968" y="3813905"/>
                <a:chExt cx="75723" cy="75723"/>
              </a:xfrm>
            </p:grpSpPr>
            <p:sp>
              <p:nvSpPr>
                <p:cNvPr id="15933" name="Freeform: Shape 15932">
                  <a:extLst>
                    <a:ext uri="{FF2B5EF4-FFF2-40B4-BE49-F238E27FC236}">
                      <a16:creationId xmlns:a16="http://schemas.microsoft.com/office/drawing/2014/main" id="{3C55DA49-DAFC-51DF-CDD1-1E2DE6EA70D6}"/>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4" name="Freeform: Shape 15933">
                  <a:extLst>
                    <a:ext uri="{FF2B5EF4-FFF2-40B4-BE49-F238E27FC236}">
                      <a16:creationId xmlns:a16="http://schemas.microsoft.com/office/drawing/2014/main" id="{BBFD0412-8E86-8A51-CF59-4AC877B98728}"/>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8" name="Graphic 1393">
                <a:extLst>
                  <a:ext uri="{FF2B5EF4-FFF2-40B4-BE49-F238E27FC236}">
                    <a16:creationId xmlns:a16="http://schemas.microsoft.com/office/drawing/2014/main" id="{F53157E2-9B57-5B18-7BA0-61A4DE320879}"/>
                  </a:ext>
                </a:extLst>
              </p:cNvPr>
              <p:cNvGrpSpPr/>
              <p:nvPr/>
            </p:nvGrpSpPr>
            <p:grpSpPr>
              <a:xfrm>
                <a:off x="7235475" y="3748659"/>
                <a:ext cx="75628" cy="75723"/>
                <a:chOff x="7235475" y="3748659"/>
                <a:chExt cx="75628" cy="75723"/>
              </a:xfrm>
            </p:grpSpPr>
            <p:sp>
              <p:nvSpPr>
                <p:cNvPr id="15931" name="Freeform: Shape 15930">
                  <a:extLst>
                    <a:ext uri="{FF2B5EF4-FFF2-40B4-BE49-F238E27FC236}">
                      <a16:creationId xmlns:a16="http://schemas.microsoft.com/office/drawing/2014/main" id="{5CE999A0-8835-2A71-ED0D-B67E54DC06E1}"/>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2" name="Freeform: Shape 15931">
                  <a:extLst>
                    <a:ext uri="{FF2B5EF4-FFF2-40B4-BE49-F238E27FC236}">
                      <a16:creationId xmlns:a16="http://schemas.microsoft.com/office/drawing/2014/main" id="{1B30E489-BC78-5AD2-1A71-A78011D7CB0E}"/>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9" name="Graphic 1393">
                <a:extLst>
                  <a:ext uri="{FF2B5EF4-FFF2-40B4-BE49-F238E27FC236}">
                    <a16:creationId xmlns:a16="http://schemas.microsoft.com/office/drawing/2014/main" id="{7397F23E-74A9-4E37-37B5-AADFE9BC7698}"/>
                  </a:ext>
                </a:extLst>
              </p:cNvPr>
              <p:cNvGrpSpPr/>
              <p:nvPr/>
            </p:nvGrpSpPr>
            <p:grpSpPr>
              <a:xfrm>
                <a:off x="7284624" y="3748659"/>
                <a:ext cx="75628" cy="75723"/>
                <a:chOff x="7284624" y="3748659"/>
                <a:chExt cx="75628" cy="75723"/>
              </a:xfrm>
            </p:grpSpPr>
            <p:sp>
              <p:nvSpPr>
                <p:cNvPr id="15929" name="Freeform: Shape 15928">
                  <a:extLst>
                    <a:ext uri="{FF2B5EF4-FFF2-40B4-BE49-F238E27FC236}">
                      <a16:creationId xmlns:a16="http://schemas.microsoft.com/office/drawing/2014/main" id="{5A5F6F08-3C87-B02A-44D4-22466B193FED}"/>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0" name="Freeform: Shape 15929">
                  <a:extLst>
                    <a:ext uri="{FF2B5EF4-FFF2-40B4-BE49-F238E27FC236}">
                      <a16:creationId xmlns:a16="http://schemas.microsoft.com/office/drawing/2014/main" id="{7B975ED5-691D-8FB7-A652-9AAAEF8530FB}"/>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0" name="Graphic 1393">
                <a:extLst>
                  <a:ext uri="{FF2B5EF4-FFF2-40B4-BE49-F238E27FC236}">
                    <a16:creationId xmlns:a16="http://schemas.microsoft.com/office/drawing/2014/main" id="{1D779DC0-1B28-F648-5224-E94FAE203701}"/>
                  </a:ext>
                </a:extLst>
              </p:cNvPr>
              <p:cNvGrpSpPr/>
              <p:nvPr/>
            </p:nvGrpSpPr>
            <p:grpSpPr>
              <a:xfrm>
                <a:off x="7023163" y="3695128"/>
                <a:ext cx="75723" cy="75723"/>
                <a:chOff x="7023163" y="3695128"/>
                <a:chExt cx="75723" cy="75723"/>
              </a:xfrm>
            </p:grpSpPr>
            <p:sp>
              <p:nvSpPr>
                <p:cNvPr id="15927" name="Freeform: Shape 15926">
                  <a:extLst>
                    <a:ext uri="{FF2B5EF4-FFF2-40B4-BE49-F238E27FC236}">
                      <a16:creationId xmlns:a16="http://schemas.microsoft.com/office/drawing/2014/main" id="{B08D6B0D-5722-7A64-7113-19CE571E71AC}"/>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28" name="Freeform: Shape 15927">
                  <a:extLst>
                    <a:ext uri="{FF2B5EF4-FFF2-40B4-BE49-F238E27FC236}">
                      <a16:creationId xmlns:a16="http://schemas.microsoft.com/office/drawing/2014/main" id="{2F94077C-3BAB-E781-A756-AB365E741A90}"/>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1" name="Graphic 1393">
                <a:extLst>
                  <a:ext uri="{FF2B5EF4-FFF2-40B4-BE49-F238E27FC236}">
                    <a16:creationId xmlns:a16="http://schemas.microsoft.com/office/drawing/2014/main" id="{652A3B52-FF2D-D868-5DA1-9CFD1B345830}"/>
                  </a:ext>
                </a:extLst>
              </p:cNvPr>
              <p:cNvGrpSpPr/>
              <p:nvPr/>
            </p:nvGrpSpPr>
            <p:grpSpPr>
              <a:xfrm>
                <a:off x="6927532" y="3695128"/>
                <a:ext cx="75628" cy="75723"/>
                <a:chOff x="6927532" y="3695128"/>
                <a:chExt cx="75628" cy="75723"/>
              </a:xfrm>
            </p:grpSpPr>
            <p:sp>
              <p:nvSpPr>
                <p:cNvPr id="15925" name="Freeform: Shape 15924">
                  <a:extLst>
                    <a:ext uri="{FF2B5EF4-FFF2-40B4-BE49-F238E27FC236}">
                      <a16:creationId xmlns:a16="http://schemas.microsoft.com/office/drawing/2014/main" id="{D3D80F7B-09FD-DA69-5949-78A9039ED613}"/>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26" name="Freeform: Shape 15925">
                  <a:extLst>
                    <a:ext uri="{FF2B5EF4-FFF2-40B4-BE49-F238E27FC236}">
                      <a16:creationId xmlns:a16="http://schemas.microsoft.com/office/drawing/2014/main" id="{2D875B6A-6C17-B62C-6239-5E219F052F7A}"/>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2" name="Graphic 1393">
                <a:extLst>
                  <a:ext uri="{FF2B5EF4-FFF2-40B4-BE49-F238E27FC236}">
                    <a16:creationId xmlns:a16="http://schemas.microsoft.com/office/drawing/2014/main" id="{1C4C14D1-DA67-8A14-09DB-33471BBDE7B4}"/>
                  </a:ext>
                </a:extLst>
              </p:cNvPr>
              <p:cNvGrpSpPr/>
              <p:nvPr/>
            </p:nvGrpSpPr>
            <p:grpSpPr>
              <a:xfrm>
                <a:off x="6911720" y="3695128"/>
                <a:ext cx="75723" cy="75723"/>
                <a:chOff x="6911720" y="3695128"/>
                <a:chExt cx="75723" cy="75723"/>
              </a:xfrm>
            </p:grpSpPr>
            <p:sp>
              <p:nvSpPr>
                <p:cNvPr id="15923" name="Freeform: Shape 15922">
                  <a:extLst>
                    <a:ext uri="{FF2B5EF4-FFF2-40B4-BE49-F238E27FC236}">
                      <a16:creationId xmlns:a16="http://schemas.microsoft.com/office/drawing/2014/main" id="{EFDBBB6D-FD22-25E2-9AD2-A6E80D5F9291}"/>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24" name="Freeform: Shape 15923">
                  <a:extLst>
                    <a:ext uri="{FF2B5EF4-FFF2-40B4-BE49-F238E27FC236}">
                      <a16:creationId xmlns:a16="http://schemas.microsoft.com/office/drawing/2014/main" id="{7D5FBCF8-C2AA-8495-BC2D-DFBF2C993F78}"/>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3" name="Graphic 1393">
                <a:extLst>
                  <a:ext uri="{FF2B5EF4-FFF2-40B4-BE49-F238E27FC236}">
                    <a16:creationId xmlns:a16="http://schemas.microsoft.com/office/drawing/2014/main" id="{4E00CD26-D530-9359-73DD-AD8B6FB1F1AA}"/>
                  </a:ext>
                </a:extLst>
              </p:cNvPr>
              <p:cNvGrpSpPr/>
              <p:nvPr/>
            </p:nvGrpSpPr>
            <p:grpSpPr>
              <a:xfrm>
                <a:off x="6839330" y="3669220"/>
                <a:ext cx="75723" cy="75723"/>
                <a:chOff x="6839330" y="3669220"/>
                <a:chExt cx="75723" cy="75723"/>
              </a:xfrm>
            </p:grpSpPr>
            <p:sp>
              <p:nvSpPr>
                <p:cNvPr id="15921" name="Freeform: Shape 15920">
                  <a:extLst>
                    <a:ext uri="{FF2B5EF4-FFF2-40B4-BE49-F238E27FC236}">
                      <a16:creationId xmlns:a16="http://schemas.microsoft.com/office/drawing/2014/main" id="{B0878F2B-A8DD-0EE6-13E0-3F855C410852}"/>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22" name="Freeform: Shape 15921">
                  <a:extLst>
                    <a:ext uri="{FF2B5EF4-FFF2-40B4-BE49-F238E27FC236}">
                      <a16:creationId xmlns:a16="http://schemas.microsoft.com/office/drawing/2014/main" id="{DE1DF370-2787-A33A-E185-9CB7ECDED1FE}"/>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4" name="Graphic 1393">
                <a:extLst>
                  <a:ext uri="{FF2B5EF4-FFF2-40B4-BE49-F238E27FC236}">
                    <a16:creationId xmlns:a16="http://schemas.microsoft.com/office/drawing/2014/main" id="{E000F403-D6A1-CF68-295E-73183F1A76A3}"/>
                  </a:ext>
                </a:extLst>
              </p:cNvPr>
              <p:cNvGrpSpPr/>
              <p:nvPr/>
            </p:nvGrpSpPr>
            <p:grpSpPr>
              <a:xfrm>
                <a:off x="6510337" y="3646170"/>
                <a:ext cx="75723" cy="75628"/>
                <a:chOff x="6510337" y="3646170"/>
                <a:chExt cx="75723" cy="75628"/>
              </a:xfrm>
            </p:grpSpPr>
            <p:sp>
              <p:nvSpPr>
                <p:cNvPr id="15919" name="Freeform: Shape 15918">
                  <a:extLst>
                    <a:ext uri="{FF2B5EF4-FFF2-40B4-BE49-F238E27FC236}">
                      <a16:creationId xmlns:a16="http://schemas.microsoft.com/office/drawing/2014/main" id="{A55EDBB9-207D-CF4A-A2B0-F00554BA7C3D}"/>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20" name="Freeform: Shape 15919">
                  <a:extLst>
                    <a:ext uri="{FF2B5EF4-FFF2-40B4-BE49-F238E27FC236}">
                      <a16:creationId xmlns:a16="http://schemas.microsoft.com/office/drawing/2014/main" id="{CCEF71BC-75AE-551E-EE00-C5F7D1B9FC7F}"/>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5" name="Graphic 1393">
                <a:extLst>
                  <a:ext uri="{FF2B5EF4-FFF2-40B4-BE49-F238E27FC236}">
                    <a16:creationId xmlns:a16="http://schemas.microsoft.com/office/drawing/2014/main" id="{C862EE6F-5ECE-9EDE-DB12-4D2C46B7AC59}"/>
                  </a:ext>
                </a:extLst>
              </p:cNvPr>
              <p:cNvGrpSpPr/>
              <p:nvPr/>
            </p:nvGrpSpPr>
            <p:grpSpPr>
              <a:xfrm>
                <a:off x="6460902" y="3646170"/>
                <a:ext cx="75723" cy="75628"/>
                <a:chOff x="6460902" y="3646170"/>
                <a:chExt cx="75723" cy="75628"/>
              </a:xfrm>
            </p:grpSpPr>
            <p:sp>
              <p:nvSpPr>
                <p:cNvPr id="15917" name="Freeform: Shape 15916">
                  <a:extLst>
                    <a:ext uri="{FF2B5EF4-FFF2-40B4-BE49-F238E27FC236}">
                      <a16:creationId xmlns:a16="http://schemas.microsoft.com/office/drawing/2014/main" id="{0DCB08AA-AB57-F4A3-3E76-9531465F1877}"/>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18" name="Freeform: Shape 15917">
                  <a:extLst>
                    <a:ext uri="{FF2B5EF4-FFF2-40B4-BE49-F238E27FC236}">
                      <a16:creationId xmlns:a16="http://schemas.microsoft.com/office/drawing/2014/main" id="{78EE1FFB-A7C5-290F-8DBD-EC674E8FDCCF}"/>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6" name="Graphic 1393">
                <a:extLst>
                  <a:ext uri="{FF2B5EF4-FFF2-40B4-BE49-F238E27FC236}">
                    <a16:creationId xmlns:a16="http://schemas.microsoft.com/office/drawing/2014/main" id="{3E2634EE-3D55-BD2B-1751-2C94A55A5BAC}"/>
                  </a:ext>
                </a:extLst>
              </p:cNvPr>
              <p:cNvGrpSpPr/>
              <p:nvPr/>
            </p:nvGrpSpPr>
            <p:grpSpPr>
              <a:xfrm>
                <a:off x="6470808" y="3646170"/>
                <a:ext cx="75723" cy="75628"/>
                <a:chOff x="6470808" y="3646170"/>
                <a:chExt cx="75723" cy="75628"/>
              </a:xfrm>
            </p:grpSpPr>
            <p:sp>
              <p:nvSpPr>
                <p:cNvPr id="15915" name="Freeform: Shape 15914">
                  <a:extLst>
                    <a:ext uri="{FF2B5EF4-FFF2-40B4-BE49-F238E27FC236}">
                      <a16:creationId xmlns:a16="http://schemas.microsoft.com/office/drawing/2014/main" id="{5538106D-557C-3251-4A65-043739A645B9}"/>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16" name="Freeform: Shape 15915">
                  <a:extLst>
                    <a:ext uri="{FF2B5EF4-FFF2-40B4-BE49-F238E27FC236}">
                      <a16:creationId xmlns:a16="http://schemas.microsoft.com/office/drawing/2014/main" id="{A8981EDE-3766-6B97-F05E-68310CEE0454}"/>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7" name="Graphic 1393">
                <a:extLst>
                  <a:ext uri="{FF2B5EF4-FFF2-40B4-BE49-F238E27FC236}">
                    <a16:creationId xmlns:a16="http://schemas.microsoft.com/office/drawing/2014/main" id="{12CE2D8E-965D-DA9A-B697-1B2C18FD604F}"/>
                  </a:ext>
                </a:extLst>
              </p:cNvPr>
              <p:cNvGrpSpPr/>
              <p:nvPr/>
            </p:nvGrpSpPr>
            <p:grpSpPr>
              <a:xfrm>
                <a:off x="6480714" y="3646170"/>
                <a:ext cx="75723" cy="75628"/>
                <a:chOff x="6480714" y="3646170"/>
                <a:chExt cx="75723" cy="75628"/>
              </a:xfrm>
            </p:grpSpPr>
            <p:sp>
              <p:nvSpPr>
                <p:cNvPr id="15913" name="Freeform: Shape 15912">
                  <a:extLst>
                    <a:ext uri="{FF2B5EF4-FFF2-40B4-BE49-F238E27FC236}">
                      <a16:creationId xmlns:a16="http://schemas.microsoft.com/office/drawing/2014/main" id="{D4B06A0F-2253-1B7F-677B-12436CBD05D5}"/>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14" name="Freeform: Shape 15913">
                  <a:extLst>
                    <a:ext uri="{FF2B5EF4-FFF2-40B4-BE49-F238E27FC236}">
                      <a16:creationId xmlns:a16="http://schemas.microsoft.com/office/drawing/2014/main" id="{7A39D305-92B2-E608-AF29-251EEF15562D}"/>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8" name="Graphic 1393">
                <a:extLst>
                  <a:ext uri="{FF2B5EF4-FFF2-40B4-BE49-F238E27FC236}">
                    <a16:creationId xmlns:a16="http://schemas.microsoft.com/office/drawing/2014/main" id="{01C53AF8-425F-1CA7-DE04-E29687F2CF5C}"/>
                  </a:ext>
                </a:extLst>
              </p:cNvPr>
              <p:cNvGrpSpPr/>
              <p:nvPr/>
            </p:nvGrpSpPr>
            <p:grpSpPr>
              <a:xfrm>
                <a:off x="6490620" y="3646170"/>
                <a:ext cx="75628" cy="75628"/>
                <a:chOff x="6490620" y="3646170"/>
                <a:chExt cx="75628" cy="75628"/>
              </a:xfrm>
            </p:grpSpPr>
            <p:sp>
              <p:nvSpPr>
                <p:cNvPr id="15911" name="Freeform: Shape 15910">
                  <a:extLst>
                    <a:ext uri="{FF2B5EF4-FFF2-40B4-BE49-F238E27FC236}">
                      <a16:creationId xmlns:a16="http://schemas.microsoft.com/office/drawing/2014/main" id="{41CA374D-F2B7-D95B-A9BA-56DE14DF432C}"/>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12" name="Freeform: Shape 15911">
                  <a:extLst>
                    <a:ext uri="{FF2B5EF4-FFF2-40B4-BE49-F238E27FC236}">
                      <a16:creationId xmlns:a16="http://schemas.microsoft.com/office/drawing/2014/main" id="{A7B155A4-09B1-A665-65DE-CA765C99741E}"/>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9" name="Graphic 1393">
                <a:extLst>
                  <a:ext uri="{FF2B5EF4-FFF2-40B4-BE49-F238E27FC236}">
                    <a16:creationId xmlns:a16="http://schemas.microsoft.com/office/drawing/2014/main" id="{5E0286A1-E4F7-57E6-19F6-287936193477}"/>
                  </a:ext>
                </a:extLst>
              </p:cNvPr>
              <p:cNvGrpSpPr/>
              <p:nvPr/>
            </p:nvGrpSpPr>
            <p:grpSpPr>
              <a:xfrm>
                <a:off x="6500431" y="3646170"/>
                <a:ext cx="75723" cy="75628"/>
                <a:chOff x="6500431" y="3646170"/>
                <a:chExt cx="75723" cy="75628"/>
              </a:xfrm>
            </p:grpSpPr>
            <p:sp>
              <p:nvSpPr>
                <p:cNvPr id="15909" name="Freeform: Shape 15908">
                  <a:extLst>
                    <a:ext uri="{FF2B5EF4-FFF2-40B4-BE49-F238E27FC236}">
                      <a16:creationId xmlns:a16="http://schemas.microsoft.com/office/drawing/2014/main" id="{0961FDA5-FAC0-8746-DE4E-5CE3FC2A30F1}"/>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10" name="Freeform: Shape 15909">
                  <a:extLst>
                    <a:ext uri="{FF2B5EF4-FFF2-40B4-BE49-F238E27FC236}">
                      <a16:creationId xmlns:a16="http://schemas.microsoft.com/office/drawing/2014/main" id="{C33FD3F7-78CA-6D1E-4CE3-DBE6A7C2E018}"/>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0" name="Graphic 1393">
                <a:extLst>
                  <a:ext uri="{FF2B5EF4-FFF2-40B4-BE49-F238E27FC236}">
                    <a16:creationId xmlns:a16="http://schemas.microsoft.com/office/drawing/2014/main" id="{71230D3C-24F0-1E92-B841-ADD0EE0CD186}"/>
                  </a:ext>
                </a:extLst>
              </p:cNvPr>
              <p:cNvGrpSpPr/>
              <p:nvPr/>
            </p:nvGrpSpPr>
            <p:grpSpPr>
              <a:xfrm>
                <a:off x="6452139" y="3598449"/>
                <a:ext cx="75723" cy="75628"/>
                <a:chOff x="6452139" y="3598449"/>
                <a:chExt cx="75723" cy="75628"/>
              </a:xfrm>
            </p:grpSpPr>
            <p:sp>
              <p:nvSpPr>
                <p:cNvPr id="15907" name="Freeform: Shape 15906">
                  <a:extLst>
                    <a:ext uri="{FF2B5EF4-FFF2-40B4-BE49-F238E27FC236}">
                      <a16:creationId xmlns:a16="http://schemas.microsoft.com/office/drawing/2014/main" id="{A677178C-EE0D-C5C7-0985-D3C4026C7460}"/>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08" name="Freeform: Shape 15907">
                  <a:extLst>
                    <a:ext uri="{FF2B5EF4-FFF2-40B4-BE49-F238E27FC236}">
                      <a16:creationId xmlns:a16="http://schemas.microsoft.com/office/drawing/2014/main" id="{25B7E2E4-3A93-CF27-CC0C-61D306A6103B}"/>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1" name="Graphic 1393">
                <a:extLst>
                  <a:ext uri="{FF2B5EF4-FFF2-40B4-BE49-F238E27FC236}">
                    <a16:creationId xmlns:a16="http://schemas.microsoft.com/office/drawing/2014/main" id="{65A4C389-28C3-7A9B-8CE7-78A21D1F5DFE}"/>
                  </a:ext>
                </a:extLst>
              </p:cNvPr>
              <p:cNvGrpSpPr/>
              <p:nvPr/>
            </p:nvGrpSpPr>
            <p:grpSpPr>
              <a:xfrm>
                <a:off x="6402704" y="3598449"/>
                <a:ext cx="75723" cy="75628"/>
                <a:chOff x="6402704" y="3598449"/>
                <a:chExt cx="75723" cy="75628"/>
              </a:xfrm>
            </p:grpSpPr>
            <p:sp>
              <p:nvSpPr>
                <p:cNvPr id="15905" name="Freeform: Shape 15904">
                  <a:extLst>
                    <a:ext uri="{FF2B5EF4-FFF2-40B4-BE49-F238E27FC236}">
                      <a16:creationId xmlns:a16="http://schemas.microsoft.com/office/drawing/2014/main" id="{25F8E037-D73F-C041-6D24-57DF65EC8554}"/>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06" name="Freeform: Shape 15905">
                  <a:extLst>
                    <a:ext uri="{FF2B5EF4-FFF2-40B4-BE49-F238E27FC236}">
                      <a16:creationId xmlns:a16="http://schemas.microsoft.com/office/drawing/2014/main" id="{EB299441-E99A-1463-F8C2-A655E0B09D41}"/>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2" name="Graphic 1393">
                <a:extLst>
                  <a:ext uri="{FF2B5EF4-FFF2-40B4-BE49-F238E27FC236}">
                    <a16:creationId xmlns:a16="http://schemas.microsoft.com/office/drawing/2014/main" id="{03B6CC6E-30B8-9B43-1855-295382468A7E}"/>
                  </a:ext>
                </a:extLst>
              </p:cNvPr>
              <p:cNvGrpSpPr/>
              <p:nvPr/>
            </p:nvGrpSpPr>
            <p:grpSpPr>
              <a:xfrm>
                <a:off x="6256876" y="3598449"/>
                <a:ext cx="75723" cy="75628"/>
                <a:chOff x="6256876" y="3598449"/>
                <a:chExt cx="75723" cy="75628"/>
              </a:xfrm>
            </p:grpSpPr>
            <p:sp>
              <p:nvSpPr>
                <p:cNvPr id="15903" name="Freeform: Shape 15902">
                  <a:extLst>
                    <a:ext uri="{FF2B5EF4-FFF2-40B4-BE49-F238E27FC236}">
                      <a16:creationId xmlns:a16="http://schemas.microsoft.com/office/drawing/2014/main" id="{6D91EF05-C955-999A-3E23-821336019B18}"/>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04" name="Freeform: Shape 15903">
                  <a:extLst>
                    <a:ext uri="{FF2B5EF4-FFF2-40B4-BE49-F238E27FC236}">
                      <a16:creationId xmlns:a16="http://schemas.microsoft.com/office/drawing/2014/main" id="{465C508C-9475-19BC-16DE-AD505B49327D}"/>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3" name="Graphic 1393">
                <a:extLst>
                  <a:ext uri="{FF2B5EF4-FFF2-40B4-BE49-F238E27FC236}">
                    <a16:creationId xmlns:a16="http://schemas.microsoft.com/office/drawing/2014/main" id="{A5B3B8B8-A7D9-A8DF-BDB8-63161AB5F124}"/>
                  </a:ext>
                </a:extLst>
              </p:cNvPr>
              <p:cNvGrpSpPr/>
              <p:nvPr/>
            </p:nvGrpSpPr>
            <p:grpSpPr>
              <a:xfrm>
                <a:off x="6239827" y="3598449"/>
                <a:ext cx="75723" cy="75628"/>
                <a:chOff x="6239827" y="3598449"/>
                <a:chExt cx="75723" cy="75628"/>
              </a:xfrm>
            </p:grpSpPr>
            <p:sp>
              <p:nvSpPr>
                <p:cNvPr id="15901" name="Freeform: Shape 15900">
                  <a:extLst>
                    <a:ext uri="{FF2B5EF4-FFF2-40B4-BE49-F238E27FC236}">
                      <a16:creationId xmlns:a16="http://schemas.microsoft.com/office/drawing/2014/main" id="{65B19858-53C6-EF4D-0337-F4A6887FB2A1}"/>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02" name="Freeform: Shape 15901">
                  <a:extLst>
                    <a:ext uri="{FF2B5EF4-FFF2-40B4-BE49-F238E27FC236}">
                      <a16:creationId xmlns:a16="http://schemas.microsoft.com/office/drawing/2014/main" id="{F7B4C2C2-F6C8-71B0-D613-AA08B2412626}"/>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4" name="Graphic 1393">
                <a:extLst>
                  <a:ext uri="{FF2B5EF4-FFF2-40B4-BE49-F238E27FC236}">
                    <a16:creationId xmlns:a16="http://schemas.microsoft.com/office/drawing/2014/main" id="{DF85B930-D071-1FEE-4E6D-4C88C5DBF6D2}"/>
                  </a:ext>
                </a:extLst>
              </p:cNvPr>
              <p:cNvGrpSpPr/>
              <p:nvPr/>
            </p:nvGrpSpPr>
            <p:grpSpPr>
              <a:xfrm>
                <a:off x="6193059" y="3598449"/>
                <a:ext cx="75628" cy="75628"/>
                <a:chOff x="6193059" y="3598449"/>
                <a:chExt cx="75628" cy="75628"/>
              </a:xfrm>
            </p:grpSpPr>
            <p:sp>
              <p:nvSpPr>
                <p:cNvPr id="15899" name="Freeform: Shape 15898">
                  <a:extLst>
                    <a:ext uri="{FF2B5EF4-FFF2-40B4-BE49-F238E27FC236}">
                      <a16:creationId xmlns:a16="http://schemas.microsoft.com/office/drawing/2014/main" id="{C6F15D1C-0716-548B-AF08-4E79D2E60409}"/>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00" name="Freeform: Shape 15899">
                  <a:extLst>
                    <a:ext uri="{FF2B5EF4-FFF2-40B4-BE49-F238E27FC236}">
                      <a16:creationId xmlns:a16="http://schemas.microsoft.com/office/drawing/2014/main" id="{3D9E1A75-15D7-CD40-6F4C-381A2E9BF07B}"/>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5" name="Graphic 1393">
                <a:extLst>
                  <a:ext uri="{FF2B5EF4-FFF2-40B4-BE49-F238E27FC236}">
                    <a16:creationId xmlns:a16="http://schemas.microsoft.com/office/drawing/2014/main" id="{243F7AF0-410B-E431-1859-96960B89518C}"/>
                  </a:ext>
                </a:extLst>
              </p:cNvPr>
              <p:cNvGrpSpPr/>
              <p:nvPr/>
            </p:nvGrpSpPr>
            <p:grpSpPr>
              <a:xfrm>
                <a:off x="6090284" y="3598449"/>
                <a:ext cx="75723" cy="75628"/>
                <a:chOff x="6090284" y="3598449"/>
                <a:chExt cx="75723" cy="75628"/>
              </a:xfrm>
            </p:grpSpPr>
            <p:sp>
              <p:nvSpPr>
                <p:cNvPr id="15897" name="Freeform: Shape 15896">
                  <a:extLst>
                    <a:ext uri="{FF2B5EF4-FFF2-40B4-BE49-F238E27FC236}">
                      <a16:creationId xmlns:a16="http://schemas.microsoft.com/office/drawing/2014/main" id="{621C2C7D-E45D-38D7-FB6A-68181F9E0FB3}"/>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98" name="Freeform: Shape 15897">
                  <a:extLst>
                    <a:ext uri="{FF2B5EF4-FFF2-40B4-BE49-F238E27FC236}">
                      <a16:creationId xmlns:a16="http://schemas.microsoft.com/office/drawing/2014/main" id="{155B67B3-9E2A-258D-3E7B-8E12CC56C5E5}"/>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6" name="Graphic 1393">
                <a:extLst>
                  <a:ext uri="{FF2B5EF4-FFF2-40B4-BE49-F238E27FC236}">
                    <a16:creationId xmlns:a16="http://schemas.microsoft.com/office/drawing/2014/main" id="{6C7C0FD8-E24A-C3A0-FA0A-DDAAC417F458}"/>
                  </a:ext>
                </a:extLst>
              </p:cNvPr>
              <p:cNvGrpSpPr/>
              <p:nvPr/>
            </p:nvGrpSpPr>
            <p:grpSpPr>
              <a:xfrm>
                <a:off x="6076949" y="3598449"/>
                <a:ext cx="75723" cy="75628"/>
                <a:chOff x="6076949" y="3598449"/>
                <a:chExt cx="75723" cy="75628"/>
              </a:xfrm>
            </p:grpSpPr>
            <p:sp>
              <p:nvSpPr>
                <p:cNvPr id="15895" name="Freeform: Shape 15894">
                  <a:extLst>
                    <a:ext uri="{FF2B5EF4-FFF2-40B4-BE49-F238E27FC236}">
                      <a16:creationId xmlns:a16="http://schemas.microsoft.com/office/drawing/2014/main" id="{7C61ED91-B08B-DCFC-E615-B9F7C83218B0}"/>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96" name="Freeform: Shape 15895">
                  <a:extLst>
                    <a:ext uri="{FF2B5EF4-FFF2-40B4-BE49-F238E27FC236}">
                      <a16:creationId xmlns:a16="http://schemas.microsoft.com/office/drawing/2014/main" id="{EEAC963C-ACAD-EA76-928E-6F80366153CF}"/>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7" name="Graphic 1393">
                <a:extLst>
                  <a:ext uri="{FF2B5EF4-FFF2-40B4-BE49-F238E27FC236}">
                    <a16:creationId xmlns:a16="http://schemas.microsoft.com/office/drawing/2014/main" id="{21B1E227-7D0C-11D8-4A56-1ADE3DC39395}"/>
                  </a:ext>
                </a:extLst>
              </p:cNvPr>
              <p:cNvGrpSpPr/>
              <p:nvPr/>
            </p:nvGrpSpPr>
            <p:grpSpPr>
              <a:xfrm>
                <a:off x="5979032" y="3475291"/>
                <a:ext cx="75628" cy="75723"/>
                <a:chOff x="5979032" y="3475291"/>
                <a:chExt cx="75628" cy="75723"/>
              </a:xfrm>
            </p:grpSpPr>
            <p:sp>
              <p:nvSpPr>
                <p:cNvPr id="15893" name="Freeform: Shape 15892">
                  <a:extLst>
                    <a:ext uri="{FF2B5EF4-FFF2-40B4-BE49-F238E27FC236}">
                      <a16:creationId xmlns:a16="http://schemas.microsoft.com/office/drawing/2014/main" id="{33BA0F6E-985E-2AC7-6341-A5A33CB7F4DB}"/>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94" name="Freeform: Shape 15893">
                  <a:extLst>
                    <a:ext uri="{FF2B5EF4-FFF2-40B4-BE49-F238E27FC236}">
                      <a16:creationId xmlns:a16="http://schemas.microsoft.com/office/drawing/2014/main" id="{2FA0D8F6-23FB-D774-5F29-E4882DB230E7}"/>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8" name="Graphic 1393">
                <a:extLst>
                  <a:ext uri="{FF2B5EF4-FFF2-40B4-BE49-F238E27FC236}">
                    <a16:creationId xmlns:a16="http://schemas.microsoft.com/office/drawing/2014/main" id="{EFE3810E-F8B2-B789-F147-4EF49D91C7D1}"/>
                  </a:ext>
                </a:extLst>
              </p:cNvPr>
              <p:cNvGrpSpPr/>
              <p:nvPr/>
            </p:nvGrpSpPr>
            <p:grpSpPr>
              <a:xfrm>
                <a:off x="5727953" y="3446907"/>
                <a:ext cx="75628" cy="75628"/>
                <a:chOff x="5727953" y="3446907"/>
                <a:chExt cx="75628" cy="75628"/>
              </a:xfrm>
            </p:grpSpPr>
            <p:sp>
              <p:nvSpPr>
                <p:cNvPr id="15891" name="Freeform: Shape 15890">
                  <a:extLst>
                    <a:ext uri="{FF2B5EF4-FFF2-40B4-BE49-F238E27FC236}">
                      <a16:creationId xmlns:a16="http://schemas.microsoft.com/office/drawing/2014/main" id="{7ED04F0E-E823-3F04-AC4B-247DAE7DE21D}"/>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92" name="Freeform: Shape 15891">
                  <a:extLst>
                    <a:ext uri="{FF2B5EF4-FFF2-40B4-BE49-F238E27FC236}">
                      <a16:creationId xmlns:a16="http://schemas.microsoft.com/office/drawing/2014/main" id="{E5AEC3B8-2401-37EF-50B7-1BA82F6EF75E}"/>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9" name="Graphic 1393">
                <a:extLst>
                  <a:ext uri="{FF2B5EF4-FFF2-40B4-BE49-F238E27FC236}">
                    <a16:creationId xmlns:a16="http://schemas.microsoft.com/office/drawing/2014/main" id="{D98BEBBD-54D2-D003-6232-27C6F28E5A93}"/>
                  </a:ext>
                </a:extLst>
              </p:cNvPr>
              <p:cNvGrpSpPr/>
              <p:nvPr/>
            </p:nvGrpSpPr>
            <p:grpSpPr>
              <a:xfrm>
                <a:off x="5503544" y="3315557"/>
                <a:ext cx="75723" cy="75723"/>
                <a:chOff x="5503544" y="3315557"/>
                <a:chExt cx="75723" cy="75723"/>
              </a:xfrm>
            </p:grpSpPr>
            <p:sp>
              <p:nvSpPr>
                <p:cNvPr id="15889" name="Freeform: Shape 15888">
                  <a:extLst>
                    <a:ext uri="{FF2B5EF4-FFF2-40B4-BE49-F238E27FC236}">
                      <a16:creationId xmlns:a16="http://schemas.microsoft.com/office/drawing/2014/main" id="{1292BA8D-34DB-9026-BCAC-CC7CD103DCAF}"/>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90" name="Freeform: Shape 15889">
                  <a:extLst>
                    <a:ext uri="{FF2B5EF4-FFF2-40B4-BE49-F238E27FC236}">
                      <a16:creationId xmlns:a16="http://schemas.microsoft.com/office/drawing/2014/main" id="{E837EAD2-E6AD-EC2C-FA94-99BB031F7A08}"/>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0" name="Graphic 1393">
                <a:extLst>
                  <a:ext uri="{FF2B5EF4-FFF2-40B4-BE49-F238E27FC236}">
                    <a16:creationId xmlns:a16="http://schemas.microsoft.com/office/drawing/2014/main" id="{F6F76E9C-98AF-567E-4290-A822E63C6EF6}"/>
                  </a:ext>
                </a:extLst>
              </p:cNvPr>
              <p:cNvGrpSpPr/>
              <p:nvPr/>
            </p:nvGrpSpPr>
            <p:grpSpPr>
              <a:xfrm>
                <a:off x="5335428" y="3264884"/>
                <a:ext cx="75723" cy="75628"/>
                <a:chOff x="5335428" y="3264884"/>
                <a:chExt cx="75723" cy="75628"/>
              </a:xfrm>
            </p:grpSpPr>
            <p:sp>
              <p:nvSpPr>
                <p:cNvPr id="15887" name="Freeform: Shape 15886">
                  <a:extLst>
                    <a:ext uri="{FF2B5EF4-FFF2-40B4-BE49-F238E27FC236}">
                      <a16:creationId xmlns:a16="http://schemas.microsoft.com/office/drawing/2014/main" id="{2A89CEC1-C068-92D4-83ED-8B3C35C8D177}"/>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88" name="Freeform: Shape 15887">
                  <a:extLst>
                    <a:ext uri="{FF2B5EF4-FFF2-40B4-BE49-F238E27FC236}">
                      <a16:creationId xmlns:a16="http://schemas.microsoft.com/office/drawing/2014/main" id="{8156CCF3-B2AB-AB2F-6F45-00D489185097}"/>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1" name="Graphic 1393">
                <a:extLst>
                  <a:ext uri="{FF2B5EF4-FFF2-40B4-BE49-F238E27FC236}">
                    <a16:creationId xmlns:a16="http://schemas.microsoft.com/office/drawing/2014/main" id="{034961EC-4A86-65B5-9D0D-315BCF6E3A16}"/>
                  </a:ext>
                </a:extLst>
              </p:cNvPr>
              <p:cNvGrpSpPr/>
              <p:nvPr/>
            </p:nvGrpSpPr>
            <p:grpSpPr>
              <a:xfrm>
                <a:off x="5266181" y="3264884"/>
                <a:ext cx="75628" cy="75628"/>
                <a:chOff x="5266181" y="3264884"/>
                <a:chExt cx="75628" cy="75628"/>
              </a:xfrm>
            </p:grpSpPr>
            <p:sp>
              <p:nvSpPr>
                <p:cNvPr id="15885" name="Freeform: Shape 15884">
                  <a:extLst>
                    <a:ext uri="{FF2B5EF4-FFF2-40B4-BE49-F238E27FC236}">
                      <a16:creationId xmlns:a16="http://schemas.microsoft.com/office/drawing/2014/main" id="{46F5F233-8F12-A9DD-197E-D3D502E70055}"/>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86" name="Freeform: Shape 15885">
                  <a:extLst>
                    <a:ext uri="{FF2B5EF4-FFF2-40B4-BE49-F238E27FC236}">
                      <a16:creationId xmlns:a16="http://schemas.microsoft.com/office/drawing/2014/main" id="{F1EB7E9C-926D-EACE-050A-25C00B011AB8}"/>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2" name="Graphic 1393">
                <a:extLst>
                  <a:ext uri="{FF2B5EF4-FFF2-40B4-BE49-F238E27FC236}">
                    <a16:creationId xmlns:a16="http://schemas.microsoft.com/office/drawing/2014/main" id="{F5D27B1F-6FD5-BFCB-1754-2C7E4DC667BF}"/>
                  </a:ext>
                </a:extLst>
              </p:cNvPr>
              <p:cNvGrpSpPr/>
              <p:nvPr/>
            </p:nvGrpSpPr>
            <p:grpSpPr>
              <a:xfrm>
                <a:off x="5051678" y="3139916"/>
                <a:ext cx="75723" cy="75723"/>
                <a:chOff x="5051678" y="3139916"/>
                <a:chExt cx="75723" cy="75723"/>
              </a:xfrm>
            </p:grpSpPr>
            <p:sp>
              <p:nvSpPr>
                <p:cNvPr id="15883" name="Freeform: Shape 15882">
                  <a:extLst>
                    <a:ext uri="{FF2B5EF4-FFF2-40B4-BE49-F238E27FC236}">
                      <a16:creationId xmlns:a16="http://schemas.microsoft.com/office/drawing/2014/main" id="{0A814AF0-B6CF-3BC4-7B82-B4141ACF44A2}"/>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84" name="Freeform: Shape 15883">
                  <a:extLst>
                    <a:ext uri="{FF2B5EF4-FFF2-40B4-BE49-F238E27FC236}">
                      <a16:creationId xmlns:a16="http://schemas.microsoft.com/office/drawing/2014/main" id="{A5F918D1-5C0B-ADE8-96A0-D0C7CC1A2873}"/>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3" name="Graphic 1393">
                <a:extLst>
                  <a:ext uri="{FF2B5EF4-FFF2-40B4-BE49-F238E27FC236}">
                    <a16:creationId xmlns:a16="http://schemas.microsoft.com/office/drawing/2014/main" id="{F6C0C56D-360F-9AC3-4842-3E160216964D}"/>
                  </a:ext>
                </a:extLst>
              </p:cNvPr>
              <p:cNvGrpSpPr/>
              <p:nvPr/>
            </p:nvGrpSpPr>
            <p:grpSpPr>
              <a:xfrm>
                <a:off x="4771834" y="3080289"/>
                <a:ext cx="75723" cy="75723"/>
                <a:chOff x="4771834" y="3080289"/>
                <a:chExt cx="75723" cy="75723"/>
              </a:xfrm>
            </p:grpSpPr>
            <p:sp>
              <p:nvSpPr>
                <p:cNvPr id="15881" name="Freeform: Shape 15880">
                  <a:extLst>
                    <a:ext uri="{FF2B5EF4-FFF2-40B4-BE49-F238E27FC236}">
                      <a16:creationId xmlns:a16="http://schemas.microsoft.com/office/drawing/2014/main" id="{81A3783C-0F95-D05E-44AA-58F786737B93}"/>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82" name="Freeform: Shape 15881">
                  <a:extLst>
                    <a:ext uri="{FF2B5EF4-FFF2-40B4-BE49-F238E27FC236}">
                      <a16:creationId xmlns:a16="http://schemas.microsoft.com/office/drawing/2014/main" id="{8C62FAA1-56BB-1274-71F8-A226A8C09DDB}"/>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48" name="Graphic 1393">
                <a:extLst>
                  <a:ext uri="{FF2B5EF4-FFF2-40B4-BE49-F238E27FC236}">
                    <a16:creationId xmlns:a16="http://schemas.microsoft.com/office/drawing/2014/main" id="{70534A62-FBEE-ADA0-51DE-B7317F0335D3}"/>
                  </a:ext>
                </a:extLst>
              </p:cNvPr>
              <p:cNvGrpSpPr/>
              <p:nvPr/>
            </p:nvGrpSpPr>
            <p:grpSpPr>
              <a:xfrm>
                <a:off x="4719256" y="2926461"/>
                <a:ext cx="75723" cy="75723"/>
                <a:chOff x="4719256" y="2926461"/>
                <a:chExt cx="75723" cy="75723"/>
              </a:xfrm>
            </p:grpSpPr>
            <p:sp>
              <p:nvSpPr>
                <p:cNvPr id="15879" name="Freeform: Shape 15878">
                  <a:extLst>
                    <a:ext uri="{FF2B5EF4-FFF2-40B4-BE49-F238E27FC236}">
                      <a16:creationId xmlns:a16="http://schemas.microsoft.com/office/drawing/2014/main" id="{5E885F8C-FB53-AB5D-82DD-335E4FECE2FE}"/>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80" name="Freeform: Shape 15879">
                  <a:extLst>
                    <a:ext uri="{FF2B5EF4-FFF2-40B4-BE49-F238E27FC236}">
                      <a16:creationId xmlns:a16="http://schemas.microsoft.com/office/drawing/2014/main" id="{02D73F82-FF4C-393E-6FAC-A264A20BC20E}"/>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49" name="Graphic 1393">
                <a:extLst>
                  <a:ext uri="{FF2B5EF4-FFF2-40B4-BE49-F238E27FC236}">
                    <a16:creationId xmlns:a16="http://schemas.microsoft.com/office/drawing/2014/main" id="{379CBA28-976B-85F1-1A22-2A8A43523DF8}"/>
                  </a:ext>
                </a:extLst>
              </p:cNvPr>
              <p:cNvGrpSpPr/>
              <p:nvPr/>
            </p:nvGrpSpPr>
            <p:grpSpPr>
              <a:xfrm>
                <a:off x="4684299" y="2858357"/>
                <a:ext cx="75723" cy="75628"/>
                <a:chOff x="4684299" y="2858357"/>
                <a:chExt cx="75723" cy="75628"/>
              </a:xfrm>
            </p:grpSpPr>
            <p:sp>
              <p:nvSpPr>
                <p:cNvPr id="15877" name="Freeform: Shape 15876">
                  <a:extLst>
                    <a:ext uri="{FF2B5EF4-FFF2-40B4-BE49-F238E27FC236}">
                      <a16:creationId xmlns:a16="http://schemas.microsoft.com/office/drawing/2014/main" id="{567185E0-3D68-3C18-E84D-FE07B8489CCE}"/>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78" name="Freeform: Shape 15877">
                  <a:extLst>
                    <a:ext uri="{FF2B5EF4-FFF2-40B4-BE49-F238E27FC236}">
                      <a16:creationId xmlns:a16="http://schemas.microsoft.com/office/drawing/2014/main" id="{F0F120F7-EDC4-8E9C-64EF-8AD560228785}"/>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0" name="Graphic 1393">
                <a:extLst>
                  <a:ext uri="{FF2B5EF4-FFF2-40B4-BE49-F238E27FC236}">
                    <a16:creationId xmlns:a16="http://schemas.microsoft.com/office/drawing/2014/main" id="{2BBDC576-9B98-F7E4-D2DA-5E135B8B8115}"/>
                  </a:ext>
                </a:extLst>
              </p:cNvPr>
              <p:cNvGrpSpPr/>
              <p:nvPr/>
            </p:nvGrpSpPr>
            <p:grpSpPr>
              <a:xfrm>
                <a:off x="4659439" y="2844641"/>
                <a:ext cx="75628" cy="75723"/>
                <a:chOff x="4659439" y="2844641"/>
                <a:chExt cx="75628" cy="75723"/>
              </a:xfrm>
            </p:grpSpPr>
            <p:sp>
              <p:nvSpPr>
                <p:cNvPr id="15875" name="Freeform: Shape 15874">
                  <a:extLst>
                    <a:ext uri="{FF2B5EF4-FFF2-40B4-BE49-F238E27FC236}">
                      <a16:creationId xmlns:a16="http://schemas.microsoft.com/office/drawing/2014/main" id="{849BB281-BC60-AF25-C4ED-9F8AA35D1B4D}"/>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76" name="Freeform: Shape 15875">
                  <a:extLst>
                    <a:ext uri="{FF2B5EF4-FFF2-40B4-BE49-F238E27FC236}">
                      <a16:creationId xmlns:a16="http://schemas.microsoft.com/office/drawing/2014/main" id="{CD6CDCD6-9BBD-DD3C-2470-6A59E2223F0A}"/>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1" name="Graphic 1393">
                <a:extLst>
                  <a:ext uri="{FF2B5EF4-FFF2-40B4-BE49-F238E27FC236}">
                    <a16:creationId xmlns:a16="http://schemas.microsoft.com/office/drawing/2014/main" id="{2364C62D-093E-2F3D-117A-30C42F371859}"/>
                  </a:ext>
                </a:extLst>
              </p:cNvPr>
              <p:cNvGrpSpPr/>
              <p:nvPr/>
            </p:nvGrpSpPr>
            <p:grpSpPr>
              <a:xfrm>
                <a:off x="4633531" y="2834925"/>
                <a:ext cx="75723" cy="75628"/>
                <a:chOff x="4633531" y="2834925"/>
                <a:chExt cx="75723" cy="75628"/>
              </a:xfrm>
            </p:grpSpPr>
            <p:sp>
              <p:nvSpPr>
                <p:cNvPr id="15873" name="Freeform: Shape 15872">
                  <a:extLst>
                    <a:ext uri="{FF2B5EF4-FFF2-40B4-BE49-F238E27FC236}">
                      <a16:creationId xmlns:a16="http://schemas.microsoft.com/office/drawing/2014/main" id="{48973BB1-62FF-CB20-22A8-C78D2627B39C}"/>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74" name="Freeform: Shape 15873">
                  <a:extLst>
                    <a:ext uri="{FF2B5EF4-FFF2-40B4-BE49-F238E27FC236}">
                      <a16:creationId xmlns:a16="http://schemas.microsoft.com/office/drawing/2014/main" id="{928EC97E-16A0-A523-724F-0E2467DB3790}"/>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2" name="Graphic 1393">
                <a:extLst>
                  <a:ext uri="{FF2B5EF4-FFF2-40B4-BE49-F238E27FC236}">
                    <a16:creationId xmlns:a16="http://schemas.microsoft.com/office/drawing/2014/main" id="{269BB5E8-94C9-56C3-39DD-FC4CA1782CA2}"/>
                  </a:ext>
                </a:extLst>
              </p:cNvPr>
              <p:cNvGrpSpPr/>
              <p:nvPr/>
            </p:nvGrpSpPr>
            <p:grpSpPr>
              <a:xfrm>
                <a:off x="4496180" y="2802350"/>
                <a:ext cx="75628" cy="75723"/>
                <a:chOff x="4496180" y="2802350"/>
                <a:chExt cx="75628" cy="75723"/>
              </a:xfrm>
            </p:grpSpPr>
            <p:sp>
              <p:nvSpPr>
                <p:cNvPr id="15871" name="Freeform: Shape 15870">
                  <a:extLst>
                    <a:ext uri="{FF2B5EF4-FFF2-40B4-BE49-F238E27FC236}">
                      <a16:creationId xmlns:a16="http://schemas.microsoft.com/office/drawing/2014/main" id="{0D2A9BF3-F994-BB05-87B7-D8A39C60C96E}"/>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72" name="Freeform: Shape 15871">
                  <a:extLst>
                    <a:ext uri="{FF2B5EF4-FFF2-40B4-BE49-F238E27FC236}">
                      <a16:creationId xmlns:a16="http://schemas.microsoft.com/office/drawing/2014/main" id="{72EC8CF3-F35F-B51C-A24E-2F76733706DA}"/>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3" name="Graphic 1393">
                <a:extLst>
                  <a:ext uri="{FF2B5EF4-FFF2-40B4-BE49-F238E27FC236}">
                    <a16:creationId xmlns:a16="http://schemas.microsoft.com/office/drawing/2014/main" id="{C887281C-AFD9-7924-B216-A7F75BB18C5A}"/>
                  </a:ext>
                </a:extLst>
              </p:cNvPr>
              <p:cNvGrpSpPr/>
              <p:nvPr/>
            </p:nvGrpSpPr>
            <p:grpSpPr>
              <a:xfrm>
                <a:off x="4423504" y="2802350"/>
                <a:ext cx="75723" cy="75723"/>
                <a:chOff x="4423504" y="2802350"/>
                <a:chExt cx="75723" cy="75723"/>
              </a:xfrm>
            </p:grpSpPr>
            <p:sp>
              <p:nvSpPr>
                <p:cNvPr id="15869" name="Freeform: Shape 15868">
                  <a:extLst>
                    <a:ext uri="{FF2B5EF4-FFF2-40B4-BE49-F238E27FC236}">
                      <a16:creationId xmlns:a16="http://schemas.microsoft.com/office/drawing/2014/main" id="{26AEFBC9-6961-40C4-8CC6-FF989058F101}"/>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70" name="Freeform: Shape 15869">
                  <a:extLst>
                    <a:ext uri="{FF2B5EF4-FFF2-40B4-BE49-F238E27FC236}">
                      <a16:creationId xmlns:a16="http://schemas.microsoft.com/office/drawing/2014/main" id="{4E3F5E7D-B892-25F6-DF1B-EC76D9E85883}"/>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4" name="Graphic 1393">
                <a:extLst>
                  <a:ext uri="{FF2B5EF4-FFF2-40B4-BE49-F238E27FC236}">
                    <a16:creationId xmlns:a16="http://schemas.microsoft.com/office/drawing/2014/main" id="{21D8FEBA-12B4-5C7E-FBA0-E9DCCF6438FE}"/>
                  </a:ext>
                </a:extLst>
              </p:cNvPr>
              <p:cNvGrpSpPr/>
              <p:nvPr/>
            </p:nvGrpSpPr>
            <p:grpSpPr>
              <a:xfrm>
                <a:off x="4200048" y="2591085"/>
                <a:ext cx="75723" cy="75723"/>
                <a:chOff x="4200048" y="2591085"/>
                <a:chExt cx="75723" cy="75723"/>
              </a:xfrm>
            </p:grpSpPr>
            <p:sp>
              <p:nvSpPr>
                <p:cNvPr id="15867" name="Freeform: Shape 15866">
                  <a:extLst>
                    <a:ext uri="{FF2B5EF4-FFF2-40B4-BE49-F238E27FC236}">
                      <a16:creationId xmlns:a16="http://schemas.microsoft.com/office/drawing/2014/main" id="{F8046D3F-3F33-14FE-73B5-0D411A866F2A}"/>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68" name="Freeform: Shape 15867">
                  <a:extLst>
                    <a:ext uri="{FF2B5EF4-FFF2-40B4-BE49-F238E27FC236}">
                      <a16:creationId xmlns:a16="http://schemas.microsoft.com/office/drawing/2014/main" id="{785AAB7C-4800-A8B3-C2B1-997402C761BB}"/>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5" name="Graphic 1393">
                <a:extLst>
                  <a:ext uri="{FF2B5EF4-FFF2-40B4-BE49-F238E27FC236}">
                    <a16:creationId xmlns:a16="http://schemas.microsoft.com/office/drawing/2014/main" id="{C8ED96E9-03BD-01CF-44DF-0DEF64F426F3}"/>
                  </a:ext>
                </a:extLst>
              </p:cNvPr>
              <p:cNvGrpSpPr/>
              <p:nvPr/>
            </p:nvGrpSpPr>
            <p:grpSpPr>
              <a:xfrm>
                <a:off x="4130801" y="2566130"/>
                <a:ext cx="75628" cy="75723"/>
                <a:chOff x="4130801" y="2566130"/>
                <a:chExt cx="75628" cy="75723"/>
              </a:xfrm>
            </p:grpSpPr>
            <p:sp>
              <p:nvSpPr>
                <p:cNvPr id="15865" name="Freeform: Shape 15864">
                  <a:extLst>
                    <a:ext uri="{FF2B5EF4-FFF2-40B4-BE49-F238E27FC236}">
                      <a16:creationId xmlns:a16="http://schemas.microsoft.com/office/drawing/2014/main" id="{92A01F39-70E8-BD65-8C87-8E60179BB3FB}"/>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66" name="Freeform: Shape 15865">
                  <a:extLst>
                    <a:ext uri="{FF2B5EF4-FFF2-40B4-BE49-F238E27FC236}">
                      <a16:creationId xmlns:a16="http://schemas.microsoft.com/office/drawing/2014/main" id="{75C9FD39-7747-A2D8-1F49-5366F4A4D743}"/>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6" name="Graphic 1393">
                <a:extLst>
                  <a:ext uri="{FF2B5EF4-FFF2-40B4-BE49-F238E27FC236}">
                    <a16:creationId xmlns:a16="http://schemas.microsoft.com/office/drawing/2014/main" id="{7A8CD8DE-0134-06EC-C4EB-CC88599ADE43}"/>
                  </a:ext>
                </a:extLst>
              </p:cNvPr>
              <p:cNvGrpSpPr/>
              <p:nvPr/>
            </p:nvGrpSpPr>
            <p:grpSpPr>
              <a:xfrm>
                <a:off x="3892676" y="2527268"/>
                <a:ext cx="75628" cy="75723"/>
                <a:chOff x="3892676" y="2527268"/>
                <a:chExt cx="75628" cy="75723"/>
              </a:xfrm>
            </p:grpSpPr>
            <p:sp>
              <p:nvSpPr>
                <p:cNvPr id="15863" name="Freeform: Shape 15862">
                  <a:extLst>
                    <a:ext uri="{FF2B5EF4-FFF2-40B4-BE49-F238E27FC236}">
                      <a16:creationId xmlns:a16="http://schemas.microsoft.com/office/drawing/2014/main" id="{8868A1E8-130F-033D-669A-8B1DB95A6E1F}"/>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64" name="Freeform: Shape 15863">
                  <a:extLst>
                    <a:ext uri="{FF2B5EF4-FFF2-40B4-BE49-F238E27FC236}">
                      <a16:creationId xmlns:a16="http://schemas.microsoft.com/office/drawing/2014/main" id="{2792DB56-8FEC-CC61-D32B-24A266179CCF}"/>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7" name="Graphic 1393">
                <a:extLst>
                  <a:ext uri="{FF2B5EF4-FFF2-40B4-BE49-F238E27FC236}">
                    <a16:creationId xmlns:a16="http://schemas.microsoft.com/office/drawing/2014/main" id="{2CB23D2D-8A91-1878-9C16-9084EEE8A62B}"/>
                  </a:ext>
                </a:extLst>
              </p:cNvPr>
              <p:cNvGrpSpPr/>
              <p:nvPr/>
            </p:nvGrpSpPr>
            <p:grpSpPr>
              <a:xfrm>
                <a:off x="3868102" y="2496216"/>
                <a:ext cx="75723" cy="75723"/>
                <a:chOff x="3868102" y="2496216"/>
                <a:chExt cx="75723" cy="75723"/>
              </a:xfrm>
            </p:grpSpPr>
            <p:sp>
              <p:nvSpPr>
                <p:cNvPr id="15861" name="Freeform: Shape 15860">
                  <a:extLst>
                    <a:ext uri="{FF2B5EF4-FFF2-40B4-BE49-F238E27FC236}">
                      <a16:creationId xmlns:a16="http://schemas.microsoft.com/office/drawing/2014/main" id="{16944AEA-A525-D483-E6BC-D193F26B9604}"/>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62" name="Freeform: Shape 15861">
                  <a:extLst>
                    <a:ext uri="{FF2B5EF4-FFF2-40B4-BE49-F238E27FC236}">
                      <a16:creationId xmlns:a16="http://schemas.microsoft.com/office/drawing/2014/main" id="{67DFF48A-DC8A-D355-BC9F-A80982047034}"/>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8" name="Graphic 1393">
                <a:extLst>
                  <a:ext uri="{FF2B5EF4-FFF2-40B4-BE49-F238E27FC236}">
                    <a16:creationId xmlns:a16="http://schemas.microsoft.com/office/drawing/2014/main" id="{A4DBA305-9A68-1A95-678A-43E8A0305EAA}"/>
                  </a:ext>
                </a:extLst>
              </p:cNvPr>
              <p:cNvGrpSpPr/>
              <p:nvPr/>
            </p:nvGrpSpPr>
            <p:grpSpPr>
              <a:xfrm>
                <a:off x="4228623" y="2608135"/>
                <a:ext cx="75723" cy="75723"/>
                <a:chOff x="4228623" y="2608135"/>
                <a:chExt cx="75723" cy="75723"/>
              </a:xfrm>
            </p:grpSpPr>
            <p:sp>
              <p:nvSpPr>
                <p:cNvPr id="15859" name="Freeform: Shape 15858">
                  <a:extLst>
                    <a:ext uri="{FF2B5EF4-FFF2-40B4-BE49-F238E27FC236}">
                      <a16:creationId xmlns:a16="http://schemas.microsoft.com/office/drawing/2014/main" id="{B2FE6A4A-8211-EC0A-60C9-D0E86235EF61}"/>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60" name="Freeform: Shape 15859">
                  <a:extLst>
                    <a:ext uri="{FF2B5EF4-FFF2-40B4-BE49-F238E27FC236}">
                      <a16:creationId xmlns:a16="http://schemas.microsoft.com/office/drawing/2014/main" id="{5A63CF61-91D5-244F-C908-6CC1697545AD}"/>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59" name="Graphic 1393">
                <a:extLst>
                  <a:ext uri="{FF2B5EF4-FFF2-40B4-BE49-F238E27FC236}">
                    <a16:creationId xmlns:a16="http://schemas.microsoft.com/office/drawing/2014/main" id="{C884B334-DF62-B990-1C69-EEE20AB5A768}"/>
                  </a:ext>
                </a:extLst>
              </p:cNvPr>
              <p:cNvGrpSpPr/>
              <p:nvPr/>
            </p:nvGrpSpPr>
            <p:grpSpPr>
              <a:xfrm>
                <a:off x="4281868" y="2633948"/>
                <a:ext cx="75628" cy="75723"/>
                <a:chOff x="4281868" y="2633948"/>
                <a:chExt cx="75628" cy="75723"/>
              </a:xfrm>
            </p:grpSpPr>
            <p:sp>
              <p:nvSpPr>
                <p:cNvPr id="15857" name="Freeform: Shape 15856">
                  <a:extLst>
                    <a:ext uri="{FF2B5EF4-FFF2-40B4-BE49-F238E27FC236}">
                      <a16:creationId xmlns:a16="http://schemas.microsoft.com/office/drawing/2014/main" id="{FB72C182-B828-B79A-5AD8-108CB8EF7B74}"/>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58" name="Freeform: Shape 15857">
                  <a:extLst>
                    <a:ext uri="{FF2B5EF4-FFF2-40B4-BE49-F238E27FC236}">
                      <a16:creationId xmlns:a16="http://schemas.microsoft.com/office/drawing/2014/main" id="{E29A5678-9CE1-4815-468D-4DB8929656A5}"/>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60" name="Graphic 1393">
                <a:extLst>
                  <a:ext uri="{FF2B5EF4-FFF2-40B4-BE49-F238E27FC236}">
                    <a16:creationId xmlns:a16="http://schemas.microsoft.com/office/drawing/2014/main" id="{8C335544-6839-62F3-079E-37895F7C84E0}"/>
                  </a:ext>
                </a:extLst>
              </p:cNvPr>
              <p:cNvGrpSpPr/>
              <p:nvPr/>
            </p:nvGrpSpPr>
            <p:grpSpPr>
              <a:xfrm>
                <a:off x="4289011" y="2656427"/>
                <a:ext cx="75723" cy="75723"/>
                <a:chOff x="4289011" y="2656427"/>
                <a:chExt cx="75723" cy="75723"/>
              </a:xfrm>
            </p:grpSpPr>
            <p:sp>
              <p:nvSpPr>
                <p:cNvPr id="15855" name="Freeform: Shape 15854">
                  <a:extLst>
                    <a:ext uri="{FF2B5EF4-FFF2-40B4-BE49-F238E27FC236}">
                      <a16:creationId xmlns:a16="http://schemas.microsoft.com/office/drawing/2014/main" id="{5828AB2E-2267-ECD9-B1B1-A9AD2299E9E1}"/>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56" name="Freeform: Shape 15855">
                  <a:extLst>
                    <a:ext uri="{FF2B5EF4-FFF2-40B4-BE49-F238E27FC236}">
                      <a16:creationId xmlns:a16="http://schemas.microsoft.com/office/drawing/2014/main" id="{7049C27E-8923-D6BC-C09E-2FED43FEC74E}"/>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4" name="Graphic 1393">
                <a:extLst>
                  <a:ext uri="{FF2B5EF4-FFF2-40B4-BE49-F238E27FC236}">
                    <a16:creationId xmlns:a16="http://schemas.microsoft.com/office/drawing/2014/main" id="{F87004AB-A97D-7BFF-0578-DB8C22B65F9F}"/>
                  </a:ext>
                </a:extLst>
              </p:cNvPr>
              <p:cNvGrpSpPr/>
              <p:nvPr/>
            </p:nvGrpSpPr>
            <p:grpSpPr>
              <a:xfrm>
                <a:off x="4297584" y="2656427"/>
                <a:ext cx="75628" cy="75723"/>
                <a:chOff x="4297584" y="2656427"/>
                <a:chExt cx="75628" cy="75723"/>
              </a:xfrm>
            </p:grpSpPr>
            <p:sp>
              <p:nvSpPr>
                <p:cNvPr id="15853" name="Freeform: Shape 15852">
                  <a:extLst>
                    <a:ext uri="{FF2B5EF4-FFF2-40B4-BE49-F238E27FC236}">
                      <a16:creationId xmlns:a16="http://schemas.microsoft.com/office/drawing/2014/main" id="{B93BB4A3-A711-56D1-8F99-DB8AFB549D6D}"/>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54" name="Freeform: Shape 15853">
                  <a:extLst>
                    <a:ext uri="{FF2B5EF4-FFF2-40B4-BE49-F238E27FC236}">
                      <a16:creationId xmlns:a16="http://schemas.microsoft.com/office/drawing/2014/main" id="{51AF37FD-2B67-FC1C-0AA8-2A6C132B60D6}"/>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5" name="Graphic 1393">
                <a:extLst>
                  <a:ext uri="{FF2B5EF4-FFF2-40B4-BE49-F238E27FC236}">
                    <a16:creationId xmlns:a16="http://schemas.microsoft.com/office/drawing/2014/main" id="{47A594E5-9AD9-778C-F302-CDCF511747D1}"/>
                  </a:ext>
                </a:extLst>
              </p:cNvPr>
              <p:cNvGrpSpPr/>
              <p:nvPr/>
            </p:nvGrpSpPr>
            <p:grpSpPr>
              <a:xfrm>
                <a:off x="4301584" y="2676810"/>
                <a:ext cx="75628" cy="75723"/>
                <a:chOff x="4301584" y="2676810"/>
                <a:chExt cx="75628" cy="75723"/>
              </a:xfrm>
            </p:grpSpPr>
            <p:sp>
              <p:nvSpPr>
                <p:cNvPr id="15851" name="Freeform: Shape 15850">
                  <a:extLst>
                    <a:ext uri="{FF2B5EF4-FFF2-40B4-BE49-F238E27FC236}">
                      <a16:creationId xmlns:a16="http://schemas.microsoft.com/office/drawing/2014/main" id="{A2EE2412-B27F-7EBE-1945-E9B105271571}"/>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52" name="Freeform: Shape 15851">
                  <a:extLst>
                    <a:ext uri="{FF2B5EF4-FFF2-40B4-BE49-F238E27FC236}">
                      <a16:creationId xmlns:a16="http://schemas.microsoft.com/office/drawing/2014/main" id="{12A360A9-03A0-9221-5CEE-685163364203}"/>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6" name="Graphic 1393">
                <a:extLst>
                  <a:ext uri="{FF2B5EF4-FFF2-40B4-BE49-F238E27FC236}">
                    <a16:creationId xmlns:a16="http://schemas.microsoft.com/office/drawing/2014/main" id="{7E207919-0BCB-287C-EED8-71925F7EFA1A}"/>
                  </a:ext>
                </a:extLst>
              </p:cNvPr>
              <p:cNvGrpSpPr/>
              <p:nvPr/>
            </p:nvGrpSpPr>
            <p:grpSpPr>
              <a:xfrm>
                <a:off x="4307299" y="2683859"/>
                <a:ext cx="75723" cy="75628"/>
                <a:chOff x="4307299" y="2683859"/>
                <a:chExt cx="75723" cy="75628"/>
              </a:xfrm>
            </p:grpSpPr>
            <p:sp>
              <p:nvSpPr>
                <p:cNvPr id="15849" name="Freeform: Shape 15848">
                  <a:extLst>
                    <a:ext uri="{FF2B5EF4-FFF2-40B4-BE49-F238E27FC236}">
                      <a16:creationId xmlns:a16="http://schemas.microsoft.com/office/drawing/2014/main" id="{6FF51474-2A95-F69D-7B9A-501AEE953CF0}"/>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50" name="Freeform: Shape 15849">
                  <a:extLst>
                    <a:ext uri="{FF2B5EF4-FFF2-40B4-BE49-F238E27FC236}">
                      <a16:creationId xmlns:a16="http://schemas.microsoft.com/office/drawing/2014/main" id="{012CD8C7-793E-151B-029C-B05D098679FC}"/>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7" name="Graphic 1393">
                <a:extLst>
                  <a:ext uri="{FF2B5EF4-FFF2-40B4-BE49-F238E27FC236}">
                    <a16:creationId xmlns:a16="http://schemas.microsoft.com/office/drawing/2014/main" id="{FC3B0C5B-1437-6EE5-1EB5-7EEC334E8114}"/>
                  </a:ext>
                </a:extLst>
              </p:cNvPr>
              <p:cNvGrpSpPr/>
              <p:nvPr/>
            </p:nvGrpSpPr>
            <p:grpSpPr>
              <a:xfrm>
                <a:off x="4313681" y="2694336"/>
                <a:ext cx="75723" cy="75628"/>
                <a:chOff x="4313681" y="2694336"/>
                <a:chExt cx="75723" cy="75628"/>
              </a:xfrm>
            </p:grpSpPr>
            <p:sp>
              <p:nvSpPr>
                <p:cNvPr id="15847" name="Freeform: Shape 15846">
                  <a:extLst>
                    <a:ext uri="{FF2B5EF4-FFF2-40B4-BE49-F238E27FC236}">
                      <a16:creationId xmlns:a16="http://schemas.microsoft.com/office/drawing/2014/main" id="{407C7A57-6678-41BF-A168-2E4ACC2231CB}"/>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48" name="Freeform: Shape 15847">
                  <a:extLst>
                    <a:ext uri="{FF2B5EF4-FFF2-40B4-BE49-F238E27FC236}">
                      <a16:creationId xmlns:a16="http://schemas.microsoft.com/office/drawing/2014/main" id="{255409BC-23A4-41B4-81A4-BA38F142677F}"/>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8" name="Graphic 1393">
                <a:extLst>
                  <a:ext uri="{FF2B5EF4-FFF2-40B4-BE49-F238E27FC236}">
                    <a16:creationId xmlns:a16="http://schemas.microsoft.com/office/drawing/2014/main" id="{586B1955-41C7-9835-D973-078CCB0C9BA1}"/>
                  </a:ext>
                </a:extLst>
              </p:cNvPr>
              <p:cNvGrpSpPr/>
              <p:nvPr/>
            </p:nvGrpSpPr>
            <p:grpSpPr>
              <a:xfrm>
                <a:off x="4322539" y="2703766"/>
                <a:ext cx="75723" cy="75628"/>
                <a:chOff x="4322539" y="2703766"/>
                <a:chExt cx="75723" cy="75628"/>
              </a:xfrm>
            </p:grpSpPr>
            <p:sp>
              <p:nvSpPr>
                <p:cNvPr id="15845" name="Freeform: Shape 15844">
                  <a:extLst>
                    <a:ext uri="{FF2B5EF4-FFF2-40B4-BE49-F238E27FC236}">
                      <a16:creationId xmlns:a16="http://schemas.microsoft.com/office/drawing/2014/main" id="{9A78AE01-3C0C-9C62-F79F-121A05C8B559}"/>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46" name="Freeform: Shape 15845">
                  <a:extLst>
                    <a:ext uri="{FF2B5EF4-FFF2-40B4-BE49-F238E27FC236}">
                      <a16:creationId xmlns:a16="http://schemas.microsoft.com/office/drawing/2014/main" id="{D2E952FD-D048-CEA2-3A2C-97E92C02392F}"/>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09" name="Graphic 1393">
                <a:extLst>
                  <a:ext uri="{FF2B5EF4-FFF2-40B4-BE49-F238E27FC236}">
                    <a16:creationId xmlns:a16="http://schemas.microsoft.com/office/drawing/2014/main" id="{994F1C34-C5F8-5FD1-72C3-62460E969EBC}"/>
                  </a:ext>
                </a:extLst>
              </p:cNvPr>
              <p:cNvGrpSpPr/>
              <p:nvPr/>
            </p:nvGrpSpPr>
            <p:grpSpPr>
              <a:xfrm>
                <a:off x="4331302" y="2718054"/>
                <a:ext cx="75723" cy="75723"/>
                <a:chOff x="4331302" y="2718054"/>
                <a:chExt cx="75723" cy="75723"/>
              </a:xfrm>
            </p:grpSpPr>
            <p:sp>
              <p:nvSpPr>
                <p:cNvPr id="15843" name="Freeform: Shape 15842">
                  <a:extLst>
                    <a:ext uri="{FF2B5EF4-FFF2-40B4-BE49-F238E27FC236}">
                      <a16:creationId xmlns:a16="http://schemas.microsoft.com/office/drawing/2014/main" id="{5ED4AD0C-87DE-5518-38EF-79C119D9AA30}"/>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44" name="Freeform: Shape 15843">
                  <a:extLst>
                    <a:ext uri="{FF2B5EF4-FFF2-40B4-BE49-F238E27FC236}">
                      <a16:creationId xmlns:a16="http://schemas.microsoft.com/office/drawing/2014/main" id="{C01099F6-28D3-DFE6-A83E-7AC7FDA437E5}"/>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0" name="Graphic 1393">
                <a:extLst>
                  <a:ext uri="{FF2B5EF4-FFF2-40B4-BE49-F238E27FC236}">
                    <a16:creationId xmlns:a16="http://schemas.microsoft.com/office/drawing/2014/main" id="{A580E17D-5785-0E79-8687-8F118A63967B}"/>
                  </a:ext>
                </a:extLst>
              </p:cNvPr>
              <p:cNvGrpSpPr/>
              <p:nvPr/>
            </p:nvGrpSpPr>
            <p:grpSpPr>
              <a:xfrm>
                <a:off x="4340732" y="2734246"/>
                <a:ext cx="75723" cy="75723"/>
                <a:chOff x="4340732" y="2734246"/>
                <a:chExt cx="75723" cy="75723"/>
              </a:xfrm>
            </p:grpSpPr>
            <p:sp>
              <p:nvSpPr>
                <p:cNvPr id="15841" name="Freeform: Shape 15840">
                  <a:extLst>
                    <a:ext uri="{FF2B5EF4-FFF2-40B4-BE49-F238E27FC236}">
                      <a16:creationId xmlns:a16="http://schemas.microsoft.com/office/drawing/2014/main" id="{5CC57F05-5674-6ACB-3624-CCBF10716B9A}"/>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42" name="Freeform: Shape 15841">
                  <a:extLst>
                    <a:ext uri="{FF2B5EF4-FFF2-40B4-BE49-F238E27FC236}">
                      <a16:creationId xmlns:a16="http://schemas.microsoft.com/office/drawing/2014/main" id="{AE7B688F-433F-F174-E548-7DDF81111C7A}"/>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1" name="Graphic 1393">
                <a:extLst>
                  <a:ext uri="{FF2B5EF4-FFF2-40B4-BE49-F238E27FC236}">
                    <a16:creationId xmlns:a16="http://schemas.microsoft.com/office/drawing/2014/main" id="{C09BAA45-DEDC-48BC-F5D9-7CE94CFFFDB6}"/>
                  </a:ext>
                </a:extLst>
              </p:cNvPr>
              <p:cNvGrpSpPr/>
              <p:nvPr/>
            </p:nvGrpSpPr>
            <p:grpSpPr>
              <a:xfrm>
                <a:off x="4348543" y="2742819"/>
                <a:ext cx="75628" cy="75628"/>
                <a:chOff x="4348543" y="2742819"/>
                <a:chExt cx="75628" cy="75628"/>
              </a:xfrm>
            </p:grpSpPr>
            <p:sp>
              <p:nvSpPr>
                <p:cNvPr id="15839" name="Freeform: Shape 15838">
                  <a:extLst>
                    <a:ext uri="{FF2B5EF4-FFF2-40B4-BE49-F238E27FC236}">
                      <a16:creationId xmlns:a16="http://schemas.microsoft.com/office/drawing/2014/main" id="{D2289FCD-C408-FB1B-8170-2329C35BA735}"/>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40" name="Freeform: Shape 15839">
                  <a:extLst>
                    <a:ext uri="{FF2B5EF4-FFF2-40B4-BE49-F238E27FC236}">
                      <a16:creationId xmlns:a16="http://schemas.microsoft.com/office/drawing/2014/main" id="{8A46B7C3-6F0A-A810-5E91-DB5B7A083C1D}"/>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2" name="Graphic 1393">
                <a:extLst>
                  <a:ext uri="{FF2B5EF4-FFF2-40B4-BE49-F238E27FC236}">
                    <a16:creationId xmlns:a16="http://schemas.microsoft.com/office/drawing/2014/main" id="{1EDF10CA-0FCC-FD8A-DBCF-08782634CE4E}"/>
                  </a:ext>
                </a:extLst>
              </p:cNvPr>
              <p:cNvGrpSpPr/>
              <p:nvPr/>
            </p:nvGrpSpPr>
            <p:grpSpPr>
              <a:xfrm>
                <a:off x="4360354" y="2759487"/>
                <a:ext cx="75723" cy="75723"/>
                <a:chOff x="4360354" y="2759487"/>
                <a:chExt cx="75723" cy="75723"/>
              </a:xfrm>
            </p:grpSpPr>
            <p:sp>
              <p:nvSpPr>
                <p:cNvPr id="15837" name="Freeform: Shape 15836">
                  <a:extLst>
                    <a:ext uri="{FF2B5EF4-FFF2-40B4-BE49-F238E27FC236}">
                      <a16:creationId xmlns:a16="http://schemas.microsoft.com/office/drawing/2014/main" id="{3E8DBE8E-4C71-833A-D32A-F21D4C7C0166}"/>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38" name="Freeform: Shape 15837">
                  <a:extLst>
                    <a:ext uri="{FF2B5EF4-FFF2-40B4-BE49-F238E27FC236}">
                      <a16:creationId xmlns:a16="http://schemas.microsoft.com/office/drawing/2014/main" id="{D39A15AC-66D4-11D4-2C07-A24F27353CC4}"/>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3" name="Graphic 1393">
                <a:extLst>
                  <a:ext uri="{FF2B5EF4-FFF2-40B4-BE49-F238E27FC236}">
                    <a16:creationId xmlns:a16="http://schemas.microsoft.com/office/drawing/2014/main" id="{F89501D4-560C-1B46-5F21-E1B775C4B460}"/>
                  </a:ext>
                </a:extLst>
              </p:cNvPr>
              <p:cNvGrpSpPr/>
              <p:nvPr/>
            </p:nvGrpSpPr>
            <p:grpSpPr>
              <a:xfrm>
                <a:off x="4725542" y="2957988"/>
                <a:ext cx="75723" cy="75723"/>
                <a:chOff x="4725542" y="2957988"/>
                <a:chExt cx="75723" cy="75723"/>
              </a:xfrm>
            </p:grpSpPr>
            <p:sp>
              <p:nvSpPr>
                <p:cNvPr id="15835" name="Freeform: Shape 15834">
                  <a:extLst>
                    <a:ext uri="{FF2B5EF4-FFF2-40B4-BE49-F238E27FC236}">
                      <a16:creationId xmlns:a16="http://schemas.microsoft.com/office/drawing/2014/main" id="{03FCDE3D-05C9-AFB0-BE29-F7DEDA17D0D4}"/>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36" name="Freeform: Shape 15835">
                  <a:extLst>
                    <a:ext uri="{FF2B5EF4-FFF2-40B4-BE49-F238E27FC236}">
                      <a16:creationId xmlns:a16="http://schemas.microsoft.com/office/drawing/2014/main" id="{A055F050-17CE-E9D5-3372-3A599162E765}"/>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4" name="Graphic 1393">
                <a:extLst>
                  <a:ext uri="{FF2B5EF4-FFF2-40B4-BE49-F238E27FC236}">
                    <a16:creationId xmlns:a16="http://schemas.microsoft.com/office/drawing/2014/main" id="{4ADF435F-F478-AD0C-959B-C1BE4AA000E8}"/>
                  </a:ext>
                </a:extLst>
              </p:cNvPr>
              <p:cNvGrpSpPr/>
              <p:nvPr/>
            </p:nvGrpSpPr>
            <p:grpSpPr>
              <a:xfrm>
                <a:off x="4737734" y="2997803"/>
                <a:ext cx="75723" cy="75723"/>
                <a:chOff x="4737734" y="2997803"/>
                <a:chExt cx="75723" cy="75723"/>
              </a:xfrm>
            </p:grpSpPr>
            <p:sp>
              <p:nvSpPr>
                <p:cNvPr id="15833" name="Freeform: Shape 15832">
                  <a:extLst>
                    <a:ext uri="{FF2B5EF4-FFF2-40B4-BE49-F238E27FC236}">
                      <a16:creationId xmlns:a16="http://schemas.microsoft.com/office/drawing/2014/main" id="{D822E339-EE27-B59C-84DE-937E8FF22D35}"/>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34" name="Freeform: Shape 15833">
                  <a:extLst>
                    <a:ext uri="{FF2B5EF4-FFF2-40B4-BE49-F238E27FC236}">
                      <a16:creationId xmlns:a16="http://schemas.microsoft.com/office/drawing/2014/main" id="{6B5A2154-A740-0863-B48F-B5C5FBF9DAB2}"/>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5" name="Graphic 1393">
                <a:extLst>
                  <a:ext uri="{FF2B5EF4-FFF2-40B4-BE49-F238E27FC236}">
                    <a16:creationId xmlns:a16="http://schemas.microsoft.com/office/drawing/2014/main" id="{AA2329E7-A1C0-4BC1-478E-CB2D03B0B006}"/>
                  </a:ext>
                </a:extLst>
              </p:cNvPr>
              <p:cNvGrpSpPr/>
              <p:nvPr/>
            </p:nvGrpSpPr>
            <p:grpSpPr>
              <a:xfrm>
                <a:off x="4748116" y="3035712"/>
                <a:ext cx="75723" cy="75628"/>
                <a:chOff x="4748116" y="3035712"/>
                <a:chExt cx="75723" cy="75628"/>
              </a:xfrm>
            </p:grpSpPr>
            <p:sp>
              <p:nvSpPr>
                <p:cNvPr id="15831" name="Freeform: Shape 15830">
                  <a:extLst>
                    <a:ext uri="{FF2B5EF4-FFF2-40B4-BE49-F238E27FC236}">
                      <a16:creationId xmlns:a16="http://schemas.microsoft.com/office/drawing/2014/main" id="{C5CACBEB-EF6F-0FC1-DBDE-AC41B46F0B92}"/>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32" name="Freeform: Shape 15831">
                  <a:extLst>
                    <a:ext uri="{FF2B5EF4-FFF2-40B4-BE49-F238E27FC236}">
                      <a16:creationId xmlns:a16="http://schemas.microsoft.com/office/drawing/2014/main" id="{9271F5E1-C947-9514-ECF5-410C8132C862}"/>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6" name="Graphic 1393">
                <a:extLst>
                  <a:ext uri="{FF2B5EF4-FFF2-40B4-BE49-F238E27FC236}">
                    <a16:creationId xmlns:a16="http://schemas.microsoft.com/office/drawing/2014/main" id="{45233C5A-4911-B076-A764-42BA2432A96E}"/>
                  </a:ext>
                </a:extLst>
              </p:cNvPr>
              <p:cNvGrpSpPr/>
              <p:nvPr/>
            </p:nvGrpSpPr>
            <p:grpSpPr>
              <a:xfrm>
                <a:off x="4760023" y="3035712"/>
                <a:ext cx="75723" cy="75628"/>
                <a:chOff x="4760023" y="3035712"/>
                <a:chExt cx="75723" cy="75628"/>
              </a:xfrm>
            </p:grpSpPr>
            <p:sp>
              <p:nvSpPr>
                <p:cNvPr id="15829" name="Freeform: Shape 15828">
                  <a:extLst>
                    <a:ext uri="{FF2B5EF4-FFF2-40B4-BE49-F238E27FC236}">
                      <a16:creationId xmlns:a16="http://schemas.microsoft.com/office/drawing/2014/main" id="{D6572BE2-3E7E-C4FF-7DEA-0996D71F603C}"/>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30" name="Freeform: Shape 15829">
                  <a:extLst>
                    <a:ext uri="{FF2B5EF4-FFF2-40B4-BE49-F238E27FC236}">
                      <a16:creationId xmlns:a16="http://schemas.microsoft.com/office/drawing/2014/main" id="{984E8E3D-5803-9AF5-D099-E19E19BC2EEC}"/>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7" name="Graphic 1393">
                <a:extLst>
                  <a:ext uri="{FF2B5EF4-FFF2-40B4-BE49-F238E27FC236}">
                    <a16:creationId xmlns:a16="http://schemas.microsoft.com/office/drawing/2014/main" id="{11A4F3F6-07F5-452F-36CC-06779C32E1E2}"/>
                  </a:ext>
                </a:extLst>
              </p:cNvPr>
              <p:cNvGrpSpPr/>
              <p:nvPr/>
            </p:nvGrpSpPr>
            <p:grpSpPr>
              <a:xfrm>
                <a:off x="5101113" y="3149536"/>
                <a:ext cx="75628" cy="75723"/>
                <a:chOff x="5101113" y="3149536"/>
                <a:chExt cx="75628" cy="75723"/>
              </a:xfrm>
            </p:grpSpPr>
            <p:sp>
              <p:nvSpPr>
                <p:cNvPr id="15827" name="Freeform: Shape 15826">
                  <a:extLst>
                    <a:ext uri="{FF2B5EF4-FFF2-40B4-BE49-F238E27FC236}">
                      <a16:creationId xmlns:a16="http://schemas.microsoft.com/office/drawing/2014/main" id="{F001F5AC-02C7-6CDE-9500-FD0F2D275A1A}"/>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28" name="Freeform: Shape 15827">
                  <a:extLst>
                    <a:ext uri="{FF2B5EF4-FFF2-40B4-BE49-F238E27FC236}">
                      <a16:creationId xmlns:a16="http://schemas.microsoft.com/office/drawing/2014/main" id="{C5557B26-A2FE-1980-2007-76D6CCA8DF93}"/>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8" name="Graphic 1393">
                <a:extLst>
                  <a:ext uri="{FF2B5EF4-FFF2-40B4-BE49-F238E27FC236}">
                    <a16:creationId xmlns:a16="http://schemas.microsoft.com/office/drawing/2014/main" id="{D9AE8A3D-4E6A-8A4E-6572-775C2397B7B3}"/>
                  </a:ext>
                </a:extLst>
              </p:cNvPr>
              <p:cNvGrpSpPr/>
              <p:nvPr/>
            </p:nvGrpSpPr>
            <p:grpSpPr>
              <a:xfrm>
                <a:off x="5127402" y="3149536"/>
                <a:ext cx="75723" cy="75723"/>
                <a:chOff x="5127402" y="3149536"/>
                <a:chExt cx="75723" cy="75723"/>
              </a:xfrm>
            </p:grpSpPr>
            <p:sp>
              <p:nvSpPr>
                <p:cNvPr id="15825" name="Freeform: Shape 15824">
                  <a:extLst>
                    <a:ext uri="{FF2B5EF4-FFF2-40B4-BE49-F238E27FC236}">
                      <a16:creationId xmlns:a16="http://schemas.microsoft.com/office/drawing/2014/main" id="{C2FB77F5-AD15-35D5-87AE-94288908128F}"/>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26" name="Freeform: Shape 15825">
                  <a:extLst>
                    <a:ext uri="{FF2B5EF4-FFF2-40B4-BE49-F238E27FC236}">
                      <a16:creationId xmlns:a16="http://schemas.microsoft.com/office/drawing/2014/main" id="{36560F31-4B23-1AF1-3567-068C046767CF}"/>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19" name="Graphic 1393">
                <a:extLst>
                  <a:ext uri="{FF2B5EF4-FFF2-40B4-BE49-F238E27FC236}">
                    <a16:creationId xmlns:a16="http://schemas.microsoft.com/office/drawing/2014/main" id="{34BCBD38-B33B-A1A6-63B5-45B90E76B6F5}"/>
                  </a:ext>
                </a:extLst>
              </p:cNvPr>
              <p:cNvGrpSpPr/>
              <p:nvPr/>
            </p:nvGrpSpPr>
            <p:grpSpPr>
              <a:xfrm>
                <a:off x="5144833" y="3157061"/>
                <a:ext cx="75723" cy="75723"/>
                <a:chOff x="5144833" y="3157061"/>
                <a:chExt cx="75723" cy="75723"/>
              </a:xfrm>
            </p:grpSpPr>
            <p:sp>
              <p:nvSpPr>
                <p:cNvPr id="15823" name="Freeform: Shape 15822">
                  <a:extLst>
                    <a:ext uri="{FF2B5EF4-FFF2-40B4-BE49-F238E27FC236}">
                      <a16:creationId xmlns:a16="http://schemas.microsoft.com/office/drawing/2014/main" id="{91167329-294D-982F-2A81-0EC981CDF1BB}"/>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24" name="Freeform: Shape 15823">
                  <a:extLst>
                    <a:ext uri="{FF2B5EF4-FFF2-40B4-BE49-F238E27FC236}">
                      <a16:creationId xmlns:a16="http://schemas.microsoft.com/office/drawing/2014/main" id="{61FE0B7B-45EF-13FC-C84F-4E4527B64E08}"/>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0" name="Graphic 1393">
                <a:extLst>
                  <a:ext uri="{FF2B5EF4-FFF2-40B4-BE49-F238E27FC236}">
                    <a16:creationId xmlns:a16="http://schemas.microsoft.com/office/drawing/2014/main" id="{CF3DAF56-B860-553C-DF05-A04D56B97A59}"/>
                  </a:ext>
                </a:extLst>
              </p:cNvPr>
              <p:cNvGrpSpPr/>
              <p:nvPr/>
            </p:nvGrpSpPr>
            <p:grpSpPr>
              <a:xfrm>
                <a:off x="5158263" y="3164776"/>
                <a:ext cx="75628" cy="75723"/>
                <a:chOff x="5158263" y="3164776"/>
                <a:chExt cx="75628" cy="75723"/>
              </a:xfrm>
            </p:grpSpPr>
            <p:sp>
              <p:nvSpPr>
                <p:cNvPr id="15821" name="Freeform: Shape 15820">
                  <a:extLst>
                    <a:ext uri="{FF2B5EF4-FFF2-40B4-BE49-F238E27FC236}">
                      <a16:creationId xmlns:a16="http://schemas.microsoft.com/office/drawing/2014/main" id="{05B2899C-2B07-DA69-4BFF-3CBC686C41CF}"/>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22" name="Freeform: Shape 15821">
                  <a:extLst>
                    <a:ext uri="{FF2B5EF4-FFF2-40B4-BE49-F238E27FC236}">
                      <a16:creationId xmlns:a16="http://schemas.microsoft.com/office/drawing/2014/main" id="{0DB92B95-281E-1387-CBF0-D66FA689A1B8}"/>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1" name="Graphic 1393">
                <a:extLst>
                  <a:ext uri="{FF2B5EF4-FFF2-40B4-BE49-F238E27FC236}">
                    <a16:creationId xmlns:a16="http://schemas.microsoft.com/office/drawing/2014/main" id="{2B901FF0-6BA6-191B-E46F-DB613FCBDF91}"/>
                  </a:ext>
                </a:extLst>
              </p:cNvPr>
              <p:cNvGrpSpPr/>
              <p:nvPr/>
            </p:nvGrpSpPr>
            <p:grpSpPr>
              <a:xfrm>
                <a:off x="5163216" y="3173158"/>
                <a:ext cx="75723" cy="75723"/>
                <a:chOff x="5163216" y="3173158"/>
                <a:chExt cx="75723" cy="75723"/>
              </a:xfrm>
            </p:grpSpPr>
            <p:sp>
              <p:nvSpPr>
                <p:cNvPr id="15819" name="Freeform: Shape 15818">
                  <a:extLst>
                    <a:ext uri="{FF2B5EF4-FFF2-40B4-BE49-F238E27FC236}">
                      <a16:creationId xmlns:a16="http://schemas.microsoft.com/office/drawing/2014/main" id="{0C8696BD-3729-8689-B87B-EF094421BD34}"/>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20" name="Freeform: Shape 15819">
                  <a:extLst>
                    <a:ext uri="{FF2B5EF4-FFF2-40B4-BE49-F238E27FC236}">
                      <a16:creationId xmlns:a16="http://schemas.microsoft.com/office/drawing/2014/main" id="{E50C5E09-AB3A-EA9E-A0BC-D0627AB0EC19}"/>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2" name="Graphic 1393">
                <a:extLst>
                  <a:ext uri="{FF2B5EF4-FFF2-40B4-BE49-F238E27FC236}">
                    <a16:creationId xmlns:a16="http://schemas.microsoft.com/office/drawing/2014/main" id="{4F996508-CF17-0099-7D76-EA226FECAA47}"/>
                  </a:ext>
                </a:extLst>
              </p:cNvPr>
              <p:cNvGrpSpPr/>
              <p:nvPr/>
            </p:nvGrpSpPr>
            <p:grpSpPr>
              <a:xfrm>
                <a:off x="5169312" y="3185636"/>
                <a:ext cx="75723" cy="75723"/>
                <a:chOff x="5169312" y="3185636"/>
                <a:chExt cx="75723" cy="75723"/>
              </a:xfrm>
            </p:grpSpPr>
            <p:sp>
              <p:nvSpPr>
                <p:cNvPr id="15817" name="Freeform: Shape 15816">
                  <a:extLst>
                    <a:ext uri="{FF2B5EF4-FFF2-40B4-BE49-F238E27FC236}">
                      <a16:creationId xmlns:a16="http://schemas.microsoft.com/office/drawing/2014/main" id="{2135839C-7DF9-C84B-CBB9-966A0AB0F35B}"/>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18" name="Freeform: Shape 15817">
                  <a:extLst>
                    <a:ext uri="{FF2B5EF4-FFF2-40B4-BE49-F238E27FC236}">
                      <a16:creationId xmlns:a16="http://schemas.microsoft.com/office/drawing/2014/main" id="{2398A72A-C0C4-DD49-CE62-F7C3B235922D}"/>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3" name="Graphic 1393">
                <a:extLst>
                  <a:ext uri="{FF2B5EF4-FFF2-40B4-BE49-F238E27FC236}">
                    <a16:creationId xmlns:a16="http://schemas.microsoft.com/office/drawing/2014/main" id="{8D576B5B-3AF0-C733-ADE8-B8C67C7ADBD6}"/>
                  </a:ext>
                </a:extLst>
              </p:cNvPr>
              <p:cNvGrpSpPr/>
              <p:nvPr/>
            </p:nvGrpSpPr>
            <p:grpSpPr>
              <a:xfrm>
                <a:off x="5176741" y="3223545"/>
                <a:ext cx="75723" cy="75628"/>
                <a:chOff x="5176741" y="3223545"/>
                <a:chExt cx="75723" cy="75628"/>
              </a:xfrm>
            </p:grpSpPr>
            <p:sp>
              <p:nvSpPr>
                <p:cNvPr id="15815" name="Freeform: Shape 15814">
                  <a:extLst>
                    <a:ext uri="{FF2B5EF4-FFF2-40B4-BE49-F238E27FC236}">
                      <a16:creationId xmlns:a16="http://schemas.microsoft.com/office/drawing/2014/main" id="{0F97DA6C-0F2F-0F60-E49B-69E012209B51}"/>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16" name="Freeform: Shape 15815">
                  <a:extLst>
                    <a:ext uri="{FF2B5EF4-FFF2-40B4-BE49-F238E27FC236}">
                      <a16:creationId xmlns:a16="http://schemas.microsoft.com/office/drawing/2014/main" id="{93240F6D-9284-625F-E389-6EE1DD6DF706}"/>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4" name="Graphic 1393">
                <a:extLst>
                  <a:ext uri="{FF2B5EF4-FFF2-40B4-BE49-F238E27FC236}">
                    <a16:creationId xmlns:a16="http://schemas.microsoft.com/office/drawing/2014/main" id="{C560CA80-D61B-FEBC-E02E-CAFE6B5AE7C9}"/>
                  </a:ext>
                </a:extLst>
              </p:cNvPr>
              <p:cNvGrpSpPr/>
              <p:nvPr/>
            </p:nvGrpSpPr>
            <p:grpSpPr>
              <a:xfrm>
                <a:off x="5182742" y="3234785"/>
                <a:ext cx="75628" cy="75628"/>
                <a:chOff x="5182742" y="3234785"/>
                <a:chExt cx="75628" cy="75628"/>
              </a:xfrm>
            </p:grpSpPr>
            <p:sp>
              <p:nvSpPr>
                <p:cNvPr id="15813" name="Freeform: Shape 15812">
                  <a:extLst>
                    <a:ext uri="{FF2B5EF4-FFF2-40B4-BE49-F238E27FC236}">
                      <a16:creationId xmlns:a16="http://schemas.microsoft.com/office/drawing/2014/main" id="{1EA297BE-D976-37A8-B047-82CF805970C8}"/>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14" name="Freeform: Shape 15813">
                  <a:extLst>
                    <a:ext uri="{FF2B5EF4-FFF2-40B4-BE49-F238E27FC236}">
                      <a16:creationId xmlns:a16="http://schemas.microsoft.com/office/drawing/2014/main" id="{B36DD8CE-8CE0-8BEA-1AB0-E41301CC1895}"/>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5" name="Graphic 1393">
                <a:extLst>
                  <a:ext uri="{FF2B5EF4-FFF2-40B4-BE49-F238E27FC236}">
                    <a16:creationId xmlns:a16="http://schemas.microsoft.com/office/drawing/2014/main" id="{75B9805D-AB63-7C61-8AD9-E6521CB103E1}"/>
                  </a:ext>
                </a:extLst>
              </p:cNvPr>
              <p:cNvGrpSpPr/>
              <p:nvPr/>
            </p:nvGrpSpPr>
            <p:grpSpPr>
              <a:xfrm>
                <a:off x="5193220" y="3242595"/>
                <a:ext cx="75628" cy="75723"/>
                <a:chOff x="5193220" y="3242595"/>
                <a:chExt cx="75628" cy="75723"/>
              </a:xfrm>
            </p:grpSpPr>
            <p:sp>
              <p:nvSpPr>
                <p:cNvPr id="15811" name="Freeform: Shape 15810">
                  <a:extLst>
                    <a:ext uri="{FF2B5EF4-FFF2-40B4-BE49-F238E27FC236}">
                      <a16:creationId xmlns:a16="http://schemas.microsoft.com/office/drawing/2014/main" id="{CB241063-3786-0298-BA20-5DDEF5E7EA73}"/>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12" name="Freeform: Shape 15811">
                  <a:extLst>
                    <a:ext uri="{FF2B5EF4-FFF2-40B4-BE49-F238E27FC236}">
                      <a16:creationId xmlns:a16="http://schemas.microsoft.com/office/drawing/2014/main" id="{CA36CA8B-BFB3-7181-9BCE-C76E255FA829}"/>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6" name="Graphic 1393">
                <a:extLst>
                  <a:ext uri="{FF2B5EF4-FFF2-40B4-BE49-F238E27FC236}">
                    <a16:creationId xmlns:a16="http://schemas.microsoft.com/office/drawing/2014/main" id="{90D4836F-5298-6ABB-E853-162C7C2C8CB9}"/>
                  </a:ext>
                </a:extLst>
              </p:cNvPr>
              <p:cNvGrpSpPr/>
              <p:nvPr/>
            </p:nvGrpSpPr>
            <p:grpSpPr>
              <a:xfrm>
                <a:off x="5203126" y="3252597"/>
                <a:ext cx="75628" cy="75723"/>
                <a:chOff x="5203126" y="3252597"/>
                <a:chExt cx="75628" cy="75723"/>
              </a:xfrm>
            </p:grpSpPr>
            <p:sp>
              <p:nvSpPr>
                <p:cNvPr id="15809" name="Freeform: Shape 15808">
                  <a:extLst>
                    <a:ext uri="{FF2B5EF4-FFF2-40B4-BE49-F238E27FC236}">
                      <a16:creationId xmlns:a16="http://schemas.microsoft.com/office/drawing/2014/main" id="{AF9AAACD-2A8B-0E73-FC99-1D153B168C57}"/>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10" name="Freeform: Shape 15809">
                  <a:extLst>
                    <a:ext uri="{FF2B5EF4-FFF2-40B4-BE49-F238E27FC236}">
                      <a16:creationId xmlns:a16="http://schemas.microsoft.com/office/drawing/2014/main" id="{7F630BDD-11B1-C324-09FB-70326513943A}"/>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7" name="Graphic 1393">
                <a:extLst>
                  <a:ext uri="{FF2B5EF4-FFF2-40B4-BE49-F238E27FC236}">
                    <a16:creationId xmlns:a16="http://schemas.microsoft.com/office/drawing/2014/main" id="{6F9218E6-AA01-A75B-D2E5-5AA70FD6D3D7}"/>
                  </a:ext>
                </a:extLst>
              </p:cNvPr>
              <p:cNvGrpSpPr/>
              <p:nvPr/>
            </p:nvGrpSpPr>
            <p:grpSpPr>
              <a:xfrm>
                <a:off x="5209317" y="3256883"/>
                <a:ext cx="75723" cy="75723"/>
                <a:chOff x="5209317" y="3256883"/>
                <a:chExt cx="75723" cy="75723"/>
              </a:xfrm>
            </p:grpSpPr>
            <p:sp>
              <p:nvSpPr>
                <p:cNvPr id="15807" name="Freeform: Shape 15806">
                  <a:extLst>
                    <a:ext uri="{FF2B5EF4-FFF2-40B4-BE49-F238E27FC236}">
                      <a16:creationId xmlns:a16="http://schemas.microsoft.com/office/drawing/2014/main" id="{3B310230-D74D-7F3E-0D78-6DBD8EC1678C}"/>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08" name="Freeform: Shape 15807">
                  <a:extLst>
                    <a:ext uri="{FF2B5EF4-FFF2-40B4-BE49-F238E27FC236}">
                      <a16:creationId xmlns:a16="http://schemas.microsoft.com/office/drawing/2014/main" id="{2262C009-EF44-F640-E6B9-958926B79AA4}"/>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8" name="Graphic 1393">
                <a:extLst>
                  <a:ext uri="{FF2B5EF4-FFF2-40B4-BE49-F238E27FC236}">
                    <a16:creationId xmlns:a16="http://schemas.microsoft.com/office/drawing/2014/main" id="{8406F5D2-E83D-3249-AD6B-C2D592B393DB}"/>
                  </a:ext>
                </a:extLst>
              </p:cNvPr>
              <p:cNvGrpSpPr/>
              <p:nvPr/>
            </p:nvGrpSpPr>
            <p:grpSpPr>
              <a:xfrm>
                <a:off x="5565552" y="3315557"/>
                <a:ext cx="75723" cy="75723"/>
                <a:chOff x="5565552" y="3315557"/>
                <a:chExt cx="75723" cy="75723"/>
              </a:xfrm>
            </p:grpSpPr>
            <p:sp>
              <p:nvSpPr>
                <p:cNvPr id="15805" name="Freeform: Shape 15804">
                  <a:extLst>
                    <a:ext uri="{FF2B5EF4-FFF2-40B4-BE49-F238E27FC236}">
                      <a16:creationId xmlns:a16="http://schemas.microsoft.com/office/drawing/2014/main" id="{3055660E-6A50-C2E6-274A-218B36F40198}"/>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06" name="Freeform: Shape 15805">
                  <a:extLst>
                    <a:ext uri="{FF2B5EF4-FFF2-40B4-BE49-F238E27FC236}">
                      <a16:creationId xmlns:a16="http://schemas.microsoft.com/office/drawing/2014/main" id="{23CC4F41-99B2-D000-2AB1-15B97F140426}"/>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29" name="Graphic 1393">
                <a:extLst>
                  <a:ext uri="{FF2B5EF4-FFF2-40B4-BE49-F238E27FC236}">
                    <a16:creationId xmlns:a16="http://schemas.microsoft.com/office/drawing/2014/main" id="{8E71F96E-2849-7212-372B-A09C9774E025}"/>
                  </a:ext>
                </a:extLst>
              </p:cNvPr>
              <p:cNvGrpSpPr/>
              <p:nvPr/>
            </p:nvGrpSpPr>
            <p:grpSpPr>
              <a:xfrm>
                <a:off x="5579268" y="3321653"/>
                <a:ext cx="75723" cy="75723"/>
                <a:chOff x="5579268" y="3321653"/>
                <a:chExt cx="75723" cy="75723"/>
              </a:xfrm>
            </p:grpSpPr>
            <p:sp>
              <p:nvSpPr>
                <p:cNvPr id="15803" name="Freeform: Shape 15802">
                  <a:extLst>
                    <a:ext uri="{FF2B5EF4-FFF2-40B4-BE49-F238E27FC236}">
                      <a16:creationId xmlns:a16="http://schemas.microsoft.com/office/drawing/2014/main" id="{89AF9C4A-CAE7-DFA4-EA78-AB28A07CDD85}"/>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04" name="Freeform: Shape 15803">
                  <a:extLst>
                    <a:ext uri="{FF2B5EF4-FFF2-40B4-BE49-F238E27FC236}">
                      <a16:creationId xmlns:a16="http://schemas.microsoft.com/office/drawing/2014/main" id="{FF08A5DB-35BB-EA9D-6D66-455F1AFFC8B9}"/>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0" name="Graphic 1393">
                <a:extLst>
                  <a:ext uri="{FF2B5EF4-FFF2-40B4-BE49-F238E27FC236}">
                    <a16:creationId xmlns:a16="http://schemas.microsoft.com/office/drawing/2014/main" id="{9B4186EE-2F50-9135-3052-1D93E94CED1A}"/>
                  </a:ext>
                </a:extLst>
              </p:cNvPr>
              <p:cNvGrpSpPr/>
              <p:nvPr/>
            </p:nvGrpSpPr>
            <p:grpSpPr>
              <a:xfrm>
                <a:off x="5583554" y="3338703"/>
                <a:ext cx="75628" cy="75628"/>
                <a:chOff x="5583554" y="3338703"/>
                <a:chExt cx="75628" cy="75628"/>
              </a:xfrm>
            </p:grpSpPr>
            <p:sp>
              <p:nvSpPr>
                <p:cNvPr id="15801" name="Freeform: Shape 15800">
                  <a:extLst>
                    <a:ext uri="{FF2B5EF4-FFF2-40B4-BE49-F238E27FC236}">
                      <a16:creationId xmlns:a16="http://schemas.microsoft.com/office/drawing/2014/main" id="{E07B2DC5-4BF5-6B46-3053-7D01E8616889}"/>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02" name="Freeform: Shape 15801">
                  <a:extLst>
                    <a:ext uri="{FF2B5EF4-FFF2-40B4-BE49-F238E27FC236}">
                      <a16:creationId xmlns:a16="http://schemas.microsoft.com/office/drawing/2014/main" id="{0C3E69D6-922C-E1C3-E961-7D7B40EAA40A}"/>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1" name="Graphic 1393">
                <a:extLst>
                  <a:ext uri="{FF2B5EF4-FFF2-40B4-BE49-F238E27FC236}">
                    <a16:creationId xmlns:a16="http://schemas.microsoft.com/office/drawing/2014/main" id="{A14B45CD-5419-F308-A81D-E82808D5BC3C}"/>
                  </a:ext>
                </a:extLst>
              </p:cNvPr>
              <p:cNvGrpSpPr/>
              <p:nvPr/>
            </p:nvGrpSpPr>
            <p:grpSpPr>
              <a:xfrm>
                <a:off x="5593270" y="3338703"/>
                <a:ext cx="75628" cy="75628"/>
                <a:chOff x="5593270" y="3338703"/>
                <a:chExt cx="75628" cy="75628"/>
              </a:xfrm>
            </p:grpSpPr>
            <p:sp>
              <p:nvSpPr>
                <p:cNvPr id="15799" name="Freeform: Shape 15798">
                  <a:extLst>
                    <a:ext uri="{FF2B5EF4-FFF2-40B4-BE49-F238E27FC236}">
                      <a16:creationId xmlns:a16="http://schemas.microsoft.com/office/drawing/2014/main" id="{6B349B19-8E25-B9CD-5DC5-439B83696301}"/>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00" name="Freeform: Shape 15799">
                  <a:extLst>
                    <a:ext uri="{FF2B5EF4-FFF2-40B4-BE49-F238E27FC236}">
                      <a16:creationId xmlns:a16="http://schemas.microsoft.com/office/drawing/2014/main" id="{34995AB1-FA90-F100-181D-96CBFD42943A}"/>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2" name="Graphic 1393">
                <a:extLst>
                  <a:ext uri="{FF2B5EF4-FFF2-40B4-BE49-F238E27FC236}">
                    <a16:creationId xmlns:a16="http://schemas.microsoft.com/office/drawing/2014/main" id="{89945FF6-1256-E73E-9A7D-464D1F0FE63F}"/>
                  </a:ext>
                </a:extLst>
              </p:cNvPr>
              <p:cNvGrpSpPr/>
              <p:nvPr/>
            </p:nvGrpSpPr>
            <p:grpSpPr>
              <a:xfrm>
                <a:off x="5603461" y="3338703"/>
                <a:ext cx="75628" cy="75628"/>
                <a:chOff x="5603461" y="3338703"/>
                <a:chExt cx="75628" cy="75628"/>
              </a:xfrm>
            </p:grpSpPr>
            <p:sp>
              <p:nvSpPr>
                <p:cNvPr id="15797" name="Freeform: Shape 15796">
                  <a:extLst>
                    <a:ext uri="{FF2B5EF4-FFF2-40B4-BE49-F238E27FC236}">
                      <a16:creationId xmlns:a16="http://schemas.microsoft.com/office/drawing/2014/main" id="{79CD59DE-E2CD-6A05-AA22-16B6DC4CADBD}"/>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98" name="Freeform: Shape 15797">
                  <a:extLst>
                    <a:ext uri="{FF2B5EF4-FFF2-40B4-BE49-F238E27FC236}">
                      <a16:creationId xmlns:a16="http://schemas.microsoft.com/office/drawing/2014/main" id="{7DAE9F85-54AD-7E55-8170-CA7D0FE20907}"/>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3" name="Graphic 1393">
                <a:extLst>
                  <a:ext uri="{FF2B5EF4-FFF2-40B4-BE49-F238E27FC236}">
                    <a16:creationId xmlns:a16="http://schemas.microsoft.com/office/drawing/2014/main" id="{888ECF06-6C8B-6200-8030-255675C8F32F}"/>
                  </a:ext>
                </a:extLst>
              </p:cNvPr>
              <p:cNvGrpSpPr/>
              <p:nvPr/>
            </p:nvGrpSpPr>
            <p:grpSpPr>
              <a:xfrm>
                <a:off x="5600985" y="3383946"/>
                <a:ext cx="75723" cy="75628"/>
                <a:chOff x="5600985" y="3383946"/>
                <a:chExt cx="75723" cy="75628"/>
              </a:xfrm>
            </p:grpSpPr>
            <p:sp>
              <p:nvSpPr>
                <p:cNvPr id="15795" name="Freeform: Shape 15794">
                  <a:extLst>
                    <a:ext uri="{FF2B5EF4-FFF2-40B4-BE49-F238E27FC236}">
                      <a16:creationId xmlns:a16="http://schemas.microsoft.com/office/drawing/2014/main" id="{EB39F42D-28B4-DA84-1401-DF2D3F673EAF}"/>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96" name="Freeform: Shape 15795">
                  <a:extLst>
                    <a:ext uri="{FF2B5EF4-FFF2-40B4-BE49-F238E27FC236}">
                      <a16:creationId xmlns:a16="http://schemas.microsoft.com/office/drawing/2014/main" id="{A7DA802D-46DF-7D25-BEDB-B2EABE4766C1}"/>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4" name="Graphic 1393">
                <a:extLst>
                  <a:ext uri="{FF2B5EF4-FFF2-40B4-BE49-F238E27FC236}">
                    <a16:creationId xmlns:a16="http://schemas.microsoft.com/office/drawing/2014/main" id="{F12249A1-12D0-9601-799F-B24BBE6D081A}"/>
                  </a:ext>
                </a:extLst>
              </p:cNvPr>
              <p:cNvGrpSpPr/>
              <p:nvPr/>
            </p:nvGrpSpPr>
            <p:grpSpPr>
              <a:xfrm>
                <a:off x="5611367" y="3391281"/>
                <a:ext cx="75628" cy="75628"/>
                <a:chOff x="5611367" y="3391281"/>
                <a:chExt cx="75628" cy="75628"/>
              </a:xfrm>
            </p:grpSpPr>
            <p:sp>
              <p:nvSpPr>
                <p:cNvPr id="15793" name="Freeform: Shape 15792">
                  <a:extLst>
                    <a:ext uri="{FF2B5EF4-FFF2-40B4-BE49-F238E27FC236}">
                      <a16:creationId xmlns:a16="http://schemas.microsoft.com/office/drawing/2014/main" id="{1D3AD04D-BBA6-C7D2-D21A-30F28941BB49}"/>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94" name="Freeform: Shape 15793">
                  <a:extLst>
                    <a:ext uri="{FF2B5EF4-FFF2-40B4-BE49-F238E27FC236}">
                      <a16:creationId xmlns:a16="http://schemas.microsoft.com/office/drawing/2014/main" id="{4C5EE435-87CE-4730-36EF-53DB5D04D198}"/>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5" name="Graphic 1393">
                <a:extLst>
                  <a:ext uri="{FF2B5EF4-FFF2-40B4-BE49-F238E27FC236}">
                    <a16:creationId xmlns:a16="http://schemas.microsoft.com/office/drawing/2014/main" id="{7DA55D71-286F-6ECF-5B75-F08B80257376}"/>
                  </a:ext>
                </a:extLst>
              </p:cNvPr>
              <p:cNvGrpSpPr/>
              <p:nvPr/>
            </p:nvGrpSpPr>
            <p:grpSpPr>
              <a:xfrm>
                <a:off x="5621368" y="3398805"/>
                <a:ext cx="75723" cy="75723"/>
                <a:chOff x="5621368" y="3398805"/>
                <a:chExt cx="75723" cy="75723"/>
              </a:xfrm>
            </p:grpSpPr>
            <p:sp>
              <p:nvSpPr>
                <p:cNvPr id="15791" name="Freeform: Shape 15790">
                  <a:extLst>
                    <a:ext uri="{FF2B5EF4-FFF2-40B4-BE49-F238E27FC236}">
                      <a16:creationId xmlns:a16="http://schemas.microsoft.com/office/drawing/2014/main" id="{00BF8BB7-1757-8D1C-09A8-D198F53FCFEA}"/>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92" name="Freeform: Shape 15791">
                  <a:extLst>
                    <a:ext uri="{FF2B5EF4-FFF2-40B4-BE49-F238E27FC236}">
                      <a16:creationId xmlns:a16="http://schemas.microsoft.com/office/drawing/2014/main" id="{6A689850-D41A-551D-5F40-760BA0A19068}"/>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6" name="Graphic 1393">
                <a:extLst>
                  <a:ext uri="{FF2B5EF4-FFF2-40B4-BE49-F238E27FC236}">
                    <a16:creationId xmlns:a16="http://schemas.microsoft.com/office/drawing/2014/main" id="{F1DEDB8D-AA8B-3074-6DCF-F8C756FC37E8}"/>
                  </a:ext>
                </a:extLst>
              </p:cNvPr>
              <p:cNvGrpSpPr/>
              <p:nvPr/>
            </p:nvGrpSpPr>
            <p:grpSpPr>
              <a:xfrm>
                <a:off x="5633179" y="3404235"/>
                <a:ext cx="75723" cy="75723"/>
                <a:chOff x="5633179" y="3404235"/>
                <a:chExt cx="75723" cy="75723"/>
              </a:xfrm>
            </p:grpSpPr>
            <p:sp>
              <p:nvSpPr>
                <p:cNvPr id="15789" name="Freeform: Shape 15788">
                  <a:extLst>
                    <a:ext uri="{FF2B5EF4-FFF2-40B4-BE49-F238E27FC236}">
                      <a16:creationId xmlns:a16="http://schemas.microsoft.com/office/drawing/2014/main" id="{999DBBBB-2935-76AB-9B09-E8E375C89E99}"/>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90" name="Freeform: Shape 15789">
                  <a:extLst>
                    <a:ext uri="{FF2B5EF4-FFF2-40B4-BE49-F238E27FC236}">
                      <a16:creationId xmlns:a16="http://schemas.microsoft.com/office/drawing/2014/main" id="{FB4D8CDF-D25A-9F53-F85E-D6432813FCEB}"/>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7" name="Graphic 1393">
                <a:extLst>
                  <a:ext uri="{FF2B5EF4-FFF2-40B4-BE49-F238E27FC236}">
                    <a16:creationId xmlns:a16="http://schemas.microsoft.com/office/drawing/2014/main" id="{629318EB-2667-B0A4-EE19-6411436F3F0E}"/>
                  </a:ext>
                </a:extLst>
              </p:cNvPr>
              <p:cNvGrpSpPr/>
              <p:nvPr/>
            </p:nvGrpSpPr>
            <p:grpSpPr>
              <a:xfrm>
                <a:off x="5642990" y="3418046"/>
                <a:ext cx="75628" cy="75723"/>
                <a:chOff x="5642990" y="3418046"/>
                <a:chExt cx="75628" cy="75723"/>
              </a:xfrm>
            </p:grpSpPr>
            <p:sp>
              <p:nvSpPr>
                <p:cNvPr id="15787" name="Freeform: Shape 15786">
                  <a:extLst>
                    <a:ext uri="{FF2B5EF4-FFF2-40B4-BE49-F238E27FC236}">
                      <a16:creationId xmlns:a16="http://schemas.microsoft.com/office/drawing/2014/main" id="{52129F6C-E359-5B62-FB36-03C6363D6F9D}"/>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88" name="Freeform: Shape 15787">
                  <a:extLst>
                    <a:ext uri="{FF2B5EF4-FFF2-40B4-BE49-F238E27FC236}">
                      <a16:creationId xmlns:a16="http://schemas.microsoft.com/office/drawing/2014/main" id="{94C9DCB7-B32A-DFF6-B91F-2E5E41DC253E}"/>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8" name="Graphic 1393">
                <a:extLst>
                  <a:ext uri="{FF2B5EF4-FFF2-40B4-BE49-F238E27FC236}">
                    <a16:creationId xmlns:a16="http://schemas.microsoft.com/office/drawing/2014/main" id="{254227BF-1A38-A22A-7E1C-77C3F126F839}"/>
                  </a:ext>
                </a:extLst>
              </p:cNvPr>
              <p:cNvGrpSpPr/>
              <p:nvPr/>
            </p:nvGrpSpPr>
            <p:grpSpPr>
              <a:xfrm>
                <a:off x="6005131" y="3484721"/>
                <a:ext cx="75723" cy="75723"/>
                <a:chOff x="6005131" y="3484721"/>
                <a:chExt cx="75723" cy="75723"/>
              </a:xfrm>
            </p:grpSpPr>
            <p:sp>
              <p:nvSpPr>
                <p:cNvPr id="15785" name="Freeform: Shape 15784">
                  <a:extLst>
                    <a:ext uri="{FF2B5EF4-FFF2-40B4-BE49-F238E27FC236}">
                      <a16:creationId xmlns:a16="http://schemas.microsoft.com/office/drawing/2014/main" id="{73CCE102-8B74-3A6B-6ADA-427033ADD5A1}"/>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86" name="Freeform: Shape 15785">
                  <a:extLst>
                    <a:ext uri="{FF2B5EF4-FFF2-40B4-BE49-F238E27FC236}">
                      <a16:creationId xmlns:a16="http://schemas.microsoft.com/office/drawing/2014/main" id="{F7B44A8E-2E56-8D94-663B-514444836B54}"/>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39" name="Graphic 1393">
                <a:extLst>
                  <a:ext uri="{FF2B5EF4-FFF2-40B4-BE49-F238E27FC236}">
                    <a16:creationId xmlns:a16="http://schemas.microsoft.com/office/drawing/2014/main" id="{3650FA1A-36DD-F04A-A128-CBEEB7E42407}"/>
                  </a:ext>
                </a:extLst>
              </p:cNvPr>
              <p:cNvGrpSpPr/>
              <p:nvPr/>
            </p:nvGrpSpPr>
            <p:grpSpPr>
              <a:xfrm>
                <a:off x="6021609" y="3484721"/>
                <a:ext cx="75628" cy="75723"/>
                <a:chOff x="6021609" y="3484721"/>
                <a:chExt cx="75628" cy="75723"/>
              </a:xfrm>
            </p:grpSpPr>
            <p:sp>
              <p:nvSpPr>
                <p:cNvPr id="15783" name="Freeform: Shape 15782">
                  <a:extLst>
                    <a:ext uri="{FF2B5EF4-FFF2-40B4-BE49-F238E27FC236}">
                      <a16:creationId xmlns:a16="http://schemas.microsoft.com/office/drawing/2014/main" id="{9FE89611-C070-6525-FD5C-2E0802C260EB}"/>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84" name="Freeform: Shape 15783">
                  <a:extLst>
                    <a:ext uri="{FF2B5EF4-FFF2-40B4-BE49-F238E27FC236}">
                      <a16:creationId xmlns:a16="http://schemas.microsoft.com/office/drawing/2014/main" id="{9B2B828B-E3E0-BB1A-C637-3888F6C0C7D1}"/>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0" name="Graphic 1393">
                <a:extLst>
                  <a:ext uri="{FF2B5EF4-FFF2-40B4-BE49-F238E27FC236}">
                    <a16:creationId xmlns:a16="http://schemas.microsoft.com/office/drawing/2014/main" id="{06FF4E5C-473A-81CB-207D-8E1965E08051}"/>
                  </a:ext>
                </a:extLst>
              </p:cNvPr>
              <p:cNvGrpSpPr/>
              <p:nvPr/>
            </p:nvGrpSpPr>
            <p:grpSpPr>
              <a:xfrm>
                <a:off x="6029229" y="3535299"/>
                <a:ext cx="75723" cy="75723"/>
                <a:chOff x="6029229" y="3535299"/>
                <a:chExt cx="75723" cy="75723"/>
              </a:xfrm>
            </p:grpSpPr>
            <p:sp>
              <p:nvSpPr>
                <p:cNvPr id="15781" name="Freeform: Shape 15780">
                  <a:extLst>
                    <a:ext uri="{FF2B5EF4-FFF2-40B4-BE49-F238E27FC236}">
                      <a16:creationId xmlns:a16="http://schemas.microsoft.com/office/drawing/2014/main" id="{E202D35D-DBAD-3ABC-6DAD-16530A6D8EE5}"/>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82" name="Freeform: Shape 15781">
                  <a:extLst>
                    <a:ext uri="{FF2B5EF4-FFF2-40B4-BE49-F238E27FC236}">
                      <a16:creationId xmlns:a16="http://schemas.microsoft.com/office/drawing/2014/main" id="{27DC9E24-5D0A-1CD0-6952-7B8B7855E4A6}"/>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1" name="Graphic 1393">
                <a:extLst>
                  <a:ext uri="{FF2B5EF4-FFF2-40B4-BE49-F238E27FC236}">
                    <a16:creationId xmlns:a16="http://schemas.microsoft.com/office/drawing/2014/main" id="{1454A737-C7AF-295A-9D8B-4E6D1CB4E0E0}"/>
                  </a:ext>
                </a:extLst>
              </p:cNvPr>
              <p:cNvGrpSpPr/>
              <p:nvPr/>
            </p:nvGrpSpPr>
            <p:grpSpPr>
              <a:xfrm>
                <a:off x="6034658" y="3551015"/>
                <a:ext cx="75723" cy="75723"/>
                <a:chOff x="6034658" y="3551015"/>
                <a:chExt cx="75723" cy="75723"/>
              </a:xfrm>
            </p:grpSpPr>
            <p:sp>
              <p:nvSpPr>
                <p:cNvPr id="15779" name="Freeform: Shape 15778">
                  <a:extLst>
                    <a:ext uri="{FF2B5EF4-FFF2-40B4-BE49-F238E27FC236}">
                      <a16:creationId xmlns:a16="http://schemas.microsoft.com/office/drawing/2014/main" id="{73842275-B209-0AA6-D988-18736AFA9CAA}"/>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80" name="Freeform: Shape 15779">
                  <a:extLst>
                    <a:ext uri="{FF2B5EF4-FFF2-40B4-BE49-F238E27FC236}">
                      <a16:creationId xmlns:a16="http://schemas.microsoft.com/office/drawing/2014/main" id="{0DC82109-B4BD-3703-1499-7E0D80B20A45}"/>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2" name="Graphic 1393">
                <a:extLst>
                  <a:ext uri="{FF2B5EF4-FFF2-40B4-BE49-F238E27FC236}">
                    <a16:creationId xmlns:a16="http://schemas.microsoft.com/office/drawing/2014/main" id="{F3658702-AEF1-C313-C742-09DA82EACC20}"/>
                  </a:ext>
                </a:extLst>
              </p:cNvPr>
              <p:cNvGrpSpPr/>
              <p:nvPr/>
            </p:nvGrpSpPr>
            <p:grpSpPr>
              <a:xfrm>
                <a:off x="6041040" y="3551015"/>
                <a:ext cx="75723" cy="75723"/>
                <a:chOff x="6041040" y="3551015"/>
                <a:chExt cx="75723" cy="75723"/>
              </a:xfrm>
            </p:grpSpPr>
            <p:sp>
              <p:nvSpPr>
                <p:cNvPr id="15777" name="Freeform: Shape 15776">
                  <a:extLst>
                    <a:ext uri="{FF2B5EF4-FFF2-40B4-BE49-F238E27FC236}">
                      <a16:creationId xmlns:a16="http://schemas.microsoft.com/office/drawing/2014/main" id="{CC36506B-94B0-EA7F-8E96-31320B394756}"/>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78" name="Freeform: Shape 15777">
                  <a:extLst>
                    <a:ext uri="{FF2B5EF4-FFF2-40B4-BE49-F238E27FC236}">
                      <a16:creationId xmlns:a16="http://schemas.microsoft.com/office/drawing/2014/main" id="{76771D76-0111-D41A-28BF-7B8BDCB3A4B5}"/>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3" name="Graphic 1393">
                <a:extLst>
                  <a:ext uri="{FF2B5EF4-FFF2-40B4-BE49-F238E27FC236}">
                    <a16:creationId xmlns:a16="http://schemas.microsoft.com/office/drawing/2014/main" id="{056BFAA3-D86E-E9DE-1B7B-DE4815AB70CF}"/>
                  </a:ext>
                </a:extLst>
              </p:cNvPr>
              <p:cNvGrpSpPr/>
              <p:nvPr/>
            </p:nvGrpSpPr>
            <p:grpSpPr>
              <a:xfrm>
                <a:off x="6060757" y="3598449"/>
                <a:ext cx="75628" cy="75628"/>
                <a:chOff x="6060757" y="3598449"/>
                <a:chExt cx="75628" cy="75628"/>
              </a:xfrm>
            </p:grpSpPr>
            <p:sp>
              <p:nvSpPr>
                <p:cNvPr id="15775" name="Freeform: Shape 15774">
                  <a:extLst>
                    <a:ext uri="{FF2B5EF4-FFF2-40B4-BE49-F238E27FC236}">
                      <a16:creationId xmlns:a16="http://schemas.microsoft.com/office/drawing/2014/main" id="{733C6FFF-F1C9-F36C-904E-FA41255D1D99}"/>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76" name="Freeform: Shape 15775">
                  <a:extLst>
                    <a:ext uri="{FF2B5EF4-FFF2-40B4-BE49-F238E27FC236}">
                      <a16:creationId xmlns:a16="http://schemas.microsoft.com/office/drawing/2014/main" id="{A19C9052-9B2A-5A8A-15E8-37FEBF5D39D5}"/>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4" name="Graphic 1393">
                <a:extLst>
                  <a:ext uri="{FF2B5EF4-FFF2-40B4-BE49-F238E27FC236}">
                    <a16:creationId xmlns:a16="http://schemas.microsoft.com/office/drawing/2014/main" id="{85D8AFED-EB03-2684-973C-22BED227D578}"/>
                  </a:ext>
                </a:extLst>
              </p:cNvPr>
              <p:cNvGrpSpPr/>
              <p:nvPr/>
            </p:nvGrpSpPr>
            <p:grpSpPr>
              <a:xfrm>
                <a:off x="6415087" y="3598449"/>
                <a:ext cx="75723" cy="75628"/>
                <a:chOff x="6415087" y="3598449"/>
                <a:chExt cx="75723" cy="75628"/>
              </a:xfrm>
            </p:grpSpPr>
            <p:sp>
              <p:nvSpPr>
                <p:cNvPr id="15773" name="Freeform: Shape 15772">
                  <a:extLst>
                    <a:ext uri="{FF2B5EF4-FFF2-40B4-BE49-F238E27FC236}">
                      <a16:creationId xmlns:a16="http://schemas.microsoft.com/office/drawing/2014/main" id="{3D492EE0-9CCD-73DF-173E-D30AFBEEBFFB}"/>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74" name="Freeform: Shape 15773">
                  <a:extLst>
                    <a:ext uri="{FF2B5EF4-FFF2-40B4-BE49-F238E27FC236}">
                      <a16:creationId xmlns:a16="http://schemas.microsoft.com/office/drawing/2014/main" id="{19AF2869-E39B-5D21-95A0-534EE155CAF9}"/>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5" name="Graphic 1393">
                <a:extLst>
                  <a:ext uri="{FF2B5EF4-FFF2-40B4-BE49-F238E27FC236}">
                    <a16:creationId xmlns:a16="http://schemas.microsoft.com/office/drawing/2014/main" id="{2EFB5502-F961-86B6-4568-84240D1503F4}"/>
                  </a:ext>
                </a:extLst>
              </p:cNvPr>
              <p:cNvGrpSpPr/>
              <p:nvPr/>
            </p:nvGrpSpPr>
            <p:grpSpPr>
              <a:xfrm>
                <a:off x="6427469" y="3598449"/>
                <a:ext cx="75628" cy="75628"/>
                <a:chOff x="6427469" y="3598449"/>
                <a:chExt cx="75628" cy="75628"/>
              </a:xfrm>
            </p:grpSpPr>
            <p:sp>
              <p:nvSpPr>
                <p:cNvPr id="15771" name="Freeform: Shape 15770">
                  <a:extLst>
                    <a:ext uri="{FF2B5EF4-FFF2-40B4-BE49-F238E27FC236}">
                      <a16:creationId xmlns:a16="http://schemas.microsoft.com/office/drawing/2014/main" id="{8886E3EB-B939-8C63-2A26-F3D346934E14}"/>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72" name="Freeform: Shape 15771">
                  <a:extLst>
                    <a:ext uri="{FF2B5EF4-FFF2-40B4-BE49-F238E27FC236}">
                      <a16:creationId xmlns:a16="http://schemas.microsoft.com/office/drawing/2014/main" id="{D14DC30C-009A-EB74-542F-C0BC81124712}"/>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6" name="Graphic 1393">
                <a:extLst>
                  <a:ext uri="{FF2B5EF4-FFF2-40B4-BE49-F238E27FC236}">
                    <a16:creationId xmlns:a16="http://schemas.microsoft.com/office/drawing/2014/main" id="{CB7C815A-7E54-22F5-9FE1-556127F9E9A2}"/>
                  </a:ext>
                </a:extLst>
              </p:cNvPr>
              <p:cNvGrpSpPr/>
              <p:nvPr/>
            </p:nvGrpSpPr>
            <p:grpSpPr>
              <a:xfrm>
                <a:off x="6439756" y="3598449"/>
                <a:ext cx="75723" cy="75628"/>
                <a:chOff x="6439756" y="3598449"/>
                <a:chExt cx="75723" cy="75628"/>
              </a:xfrm>
            </p:grpSpPr>
            <p:sp>
              <p:nvSpPr>
                <p:cNvPr id="15769" name="Freeform: Shape 15768">
                  <a:extLst>
                    <a:ext uri="{FF2B5EF4-FFF2-40B4-BE49-F238E27FC236}">
                      <a16:creationId xmlns:a16="http://schemas.microsoft.com/office/drawing/2014/main" id="{FB341157-4D98-C487-DF16-AE3B7A6CF0D1}"/>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70" name="Freeform: Shape 15769">
                  <a:extLst>
                    <a:ext uri="{FF2B5EF4-FFF2-40B4-BE49-F238E27FC236}">
                      <a16:creationId xmlns:a16="http://schemas.microsoft.com/office/drawing/2014/main" id="{05D325C5-B268-C28E-D058-4953F822DCB3}"/>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7" name="Graphic 1393">
                <a:extLst>
                  <a:ext uri="{FF2B5EF4-FFF2-40B4-BE49-F238E27FC236}">
                    <a16:creationId xmlns:a16="http://schemas.microsoft.com/office/drawing/2014/main" id="{426F2913-F2B6-86CB-3443-FD54A701F6C7}"/>
                  </a:ext>
                </a:extLst>
              </p:cNvPr>
              <p:cNvGrpSpPr/>
              <p:nvPr/>
            </p:nvGrpSpPr>
            <p:grpSpPr>
              <a:xfrm>
                <a:off x="6899528" y="3669220"/>
                <a:ext cx="75723" cy="75723"/>
                <a:chOff x="6899528" y="3669220"/>
                <a:chExt cx="75723" cy="75723"/>
              </a:xfrm>
            </p:grpSpPr>
            <p:sp>
              <p:nvSpPr>
                <p:cNvPr id="15767" name="Freeform: Shape 15766">
                  <a:extLst>
                    <a:ext uri="{FF2B5EF4-FFF2-40B4-BE49-F238E27FC236}">
                      <a16:creationId xmlns:a16="http://schemas.microsoft.com/office/drawing/2014/main" id="{C8140CE6-4C0E-D3FF-EA12-2D3DC262761B}"/>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68" name="Freeform: Shape 15767">
                  <a:extLst>
                    <a:ext uri="{FF2B5EF4-FFF2-40B4-BE49-F238E27FC236}">
                      <a16:creationId xmlns:a16="http://schemas.microsoft.com/office/drawing/2014/main" id="{A8E3B22A-283D-D7A7-A2D8-55237397ED06}"/>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8" name="Graphic 1393">
                <a:extLst>
                  <a:ext uri="{FF2B5EF4-FFF2-40B4-BE49-F238E27FC236}">
                    <a16:creationId xmlns:a16="http://schemas.microsoft.com/office/drawing/2014/main" id="{17830F87-E4E3-8E99-49B9-03154F34D10B}"/>
                  </a:ext>
                </a:extLst>
              </p:cNvPr>
              <p:cNvGrpSpPr/>
              <p:nvPr/>
            </p:nvGrpSpPr>
            <p:grpSpPr>
              <a:xfrm>
                <a:off x="6884479" y="3669220"/>
                <a:ext cx="75723" cy="75723"/>
                <a:chOff x="6884479" y="3669220"/>
                <a:chExt cx="75723" cy="75723"/>
              </a:xfrm>
            </p:grpSpPr>
            <p:sp>
              <p:nvSpPr>
                <p:cNvPr id="15765" name="Freeform: Shape 15764">
                  <a:extLst>
                    <a:ext uri="{FF2B5EF4-FFF2-40B4-BE49-F238E27FC236}">
                      <a16:creationId xmlns:a16="http://schemas.microsoft.com/office/drawing/2014/main" id="{BD81633C-06D3-8BAE-7020-105981DB64DE}"/>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66" name="Freeform: Shape 15765">
                  <a:extLst>
                    <a:ext uri="{FF2B5EF4-FFF2-40B4-BE49-F238E27FC236}">
                      <a16:creationId xmlns:a16="http://schemas.microsoft.com/office/drawing/2014/main" id="{06C87DAE-4853-5054-B5D6-510C4EF1E895}"/>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49" name="Graphic 1393">
                <a:extLst>
                  <a:ext uri="{FF2B5EF4-FFF2-40B4-BE49-F238E27FC236}">
                    <a16:creationId xmlns:a16="http://schemas.microsoft.com/office/drawing/2014/main" id="{C6D1ED29-376C-369A-0691-F77F9CF9E40B}"/>
                  </a:ext>
                </a:extLst>
              </p:cNvPr>
              <p:cNvGrpSpPr/>
              <p:nvPr/>
            </p:nvGrpSpPr>
            <p:grpSpPr>
              <a:xfrm>
                <a:off x="6869429" y="3669220"/>
                <a:ext cx="75723" cy="75723"/>
                <a:chOff x="6869429" y="3669220"/>
                <a:chExt cx="75723" cy="75723"/>
              </a:xfrm>
            </p:grpSpPr>
            <p:sp>
              <p:nvSpPr>
                <p:cNvPr id="15763" name="Freeform: Shape 15762">
                  <a:extLst>
                    <a:ext uri="{FF2B5EF4-FFF2-40B4-BE49-F238E27FC236}">
                      <a16:creationId xmlns:a16="http://schemas.microsoft.com/office/drawing/2014/main" id="{D626F011-1C1A-02F8-4750-806852C10AA7}"/>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64" name="Freeform: Shape 15763">
                  <a:extLst>
                    <a:ext uri="{FF2B5EF4-FFF2-40B4-BE49-F238E27FC236}">
                      <a16:creationId xmlns:a16="http://schemas.microsoft.com/office/drawing/2014/main" id="{BA2EE485-B557-9C96-DA79-34C0A222A3C4}"/>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50" name="Graphic 1393">
                <a:extLst>
                  <a:ext uri="{FF2B5EF4-FFF2-40B4-BE49-F238E27FC236}">
                    <a16:creationId xmlns:a16="http://schemas.microsoft.com/office/drawing/2014/main" id="{BB7DB7FD-D963-6A60-182C-10F40CB5DF62}"/>
                  </a:ext>
                </a:extLst>
              </p:cNvPr>
              <p:cNvGrpSpPr/>
              <p:nvPr/>
            </p:nvGrpSpPr>
            <p:grpSpPr>
              <a:xfrm>
                <a:off x="6854380" y="3669220"/>
                <a:ext cx="75723" cy="75723"/>
                <a:chOff x="6854380" y="3669220"/>
                <a:chExt cx="75723" cy="75723"/>
              </a:xfrm>
            </p:grpSpPr>
            <p:sp>
              <p:nvSpPr>
                <p:cNvPr id="15761" name="Freeform: Shape 15760">
                  <a:extLst>
                    <a:ext uri="{FF2B5EF4-FFF2-40B4-BE49-F238E27FC236}">
                      <a16:creationId xmlns:a16="http://schemas.microsoft.com/office/drawing/2014/main" id="{9C84EBB5-FA03-E3C8-0734-FACD53609414}"/>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62" name="Freeform: Shape 15761">
                  <a:extLst>
                    <a:ext uri="{FF2B5EF4-FFF2-40B4-BE49-F238E27FC236}">
                      <a16:creationId xmlns:a16="http://schemas.microsoft.com/office/drawing/2014/main" id="{3CD9AB20-0943-ABB1-6898-B59BAD64D125}"/>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51" name="Graphic 1393">
                <a:extLst>
                  <a:ext uri="{FF2B5EF4-FFF2-40B4-BE49-F238E27FC236}">
                    <a16:creationId xmlns:a16="http://schemas.microsoft.com/office/drawing/2014/main" id="{AF7AED2A-26CB-8B4D-045D-2DC2A53AAA7F}"/>
                  </a:ext>
                </a:extLst>
              </p:cNvPr>
              <p:cNvGrpSpPr/>
              <p:nvPr/>
            </p:nvGrpSpPr>
            <p:grpSpPr>
              <a:xfrm>
                <a:off x="7311103" y="3748659"/>
                <a:ext cx="75723" cy="75723"/>
                <a:chOff x="7311103" y="3748659"/>
                <a:chExt cx="75723" cy="75723"/>
              </a:xfrm>
            </p:grpSpPr>
            <p:sp>
              <p:nvSpPr>
                <p:cNvPr id="15759" name="Freeform: Shape 15758">
                  <a:extLst>
                    <a:ext uri="{FF2B5EF4-FFF2-40B4-BE49-F238E27FC236}">
                      <a16:creationId xmlns:a16="http://schemas.microsoft.com/office/drawing/2014/main" id="{F0AD38A5-51AF-04BD-94FF-32F2CA2A2167}"/>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60" name="Freeform: Shape 15759">
                  <a:extLst>
                    <a:ext uri="{FF2B5EF4-FFF2-40B4-BE49-F238E27FC236}">
                      <a16:creationId xmlns:a16="http://schemas.microsoft.com/office/drawing/2014/main" id="{0CEE6C49-A1B8-8692-A6BA-47ED4B1B599F}"/>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4" name="Graphic 1393">
                <a:extLst>
                  <a:ext uri="{FF2B5EF4-FFF2-40B4-BE49-F238E27FC236}">
                    <a16:creationId xmlns:a16="http://schemas.microsoft.com/office/drawing/2014/main" id="{E404D6BA-085F-BC30-3198-57FF705B55CA}"/>
                  </a:ext>
                </a:extLst>
              </p:cNvPr>
              <p:cNvGrpSpPr/>
              <p:nvPr/>
            </p:nvGrpSpPr>
            <p:grpSpPr>
              <a:xfrm>
                <a:off x="7318057" y="3782568"/>
                <a:ext cx="75723" cy="75628"/>
                <a:chOff x="7318057" y="3782568"/>
                <a:chExt cx="75723" cy="75628"/>
              </a:xfrm>
            </p:grpSpPr>
            <p:sp>
              <p:nvSpPr>
                <p:cNvPr id="15757" name="Freeform: Shape 15756">
                  <a:extLst>
                    <a:ext uri="{FF2B5EF4-FFF2-40B4-BE49-F238E27FC236}">
                      <a16:creationId xmlns:a16="http://schemas.microsoft.com/office/drawing/2014/main" id="{472D8BB2-F175-8B2A-3BD9-4EF60E27A40D}"/>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58" name="Freeform: Shape 15757">
                  <a:extLst>
                    <a:ext uri="{FF2B5EF4-FFF2-40B4-BE49-F238E27FC236}">
                      <a16:creationId xmlns:a16="http://schemas.microsoft.com/office/drawing/2014/main" id="{40735DB0-E6AA-A54B-36FF-C02A4DD3D630}"/>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5" name="Graphic 1393">
                <a:extLst>
                  <a:ext uri="{FF2B5EF4-FFF2-40B4-BE49-F238E27FC236}">
                    <a16:creationId xmlns:a16="http://schemas.microsoft.com/office/drawing/2014/main" id="{67B272ED-391C-3752-8D12-B93E931AC43E}"/>
                  </a:ext>
                </a:extLst>
              </p:cNvPr>
              <p:cNvGrpSpPr/>
              <p:nvPr/>
            </p:nvGrpSpPr>
            <p:grpSpPr>
              <a:xfrm>
                <a:off x="7338821" y="3813905"/>
                <a:ext cx="75723" cy="75723"/>
                <a:chOff x="7338821" y="3813905"/>
                <a:chExt cx="75723" cy="75723"/>
              </a:xfrm>
            </p:grpSpPr>
            <p:sp>
              <p:nvSpPr>
                <p:cNvPr id="15755" name="Freeform: Shape 15754">
                  <a:extLst>
                    <a:ext uri="{FF2B5EF4-FFF2-40B4-BE49-F238E27FC236}">
                      <a16:creationId xmlns:a16="http://schemas.microsoft.com/office/drawing/2014/main" id="{BF990E24-F744-F245-01AB-0FF0059780AC}"/>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56" name="Freeform: Shape 15755">
                  <a:extLst>
                    <a:ext uri="{FF2B5EF4-FFF2-40B4-BE49-F238E27FC236}">
                      <a16:creationId xmlns:a16="http://schemas.microsoft.com/office/drawing/2014/main" id="{54ED1FEE-FD67-93E7-A9E9-3770E49E0270}"/>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6" name="Graphic 1393">
                <a:extLst>
                  <a:ext uri="{FF2B5EF4-FFF2-40B4-BE49-F238E27FC236}">
                    <a16:creationId xmlns:a16="http://schemas.microsoft.com/office/drawing/2014/main" id="{EA4EF22B-EE81-6B63-1917-3033564F6E7C}"/>
                  </a:ext>
                </a:extLst>
              </p:cNvPr>
              <p:cNvGrpSpPr/>
              <p:nvPr/>
            </p:nvGrpSpPr>
            <p:grpSpPr>
              <a:xfrm>
                <a:off x="7322438" y="3813905"/>
                <a:ext cx="75723" cy="75723"/>
                <a:chOff x="7322438" y="3813905"/>
                <a:chExt cx="75723" cy="75723"/>
              </a:xfrm>
            </p:grpSpPr>
            <p:sp>
              <p:nvSpPr>
                <p:cNvPr id="15753" name="Freeform: Shape 15752">
                  <a:extLst>
                    <a:ext uri="{FF2B5EF4-FFF2-40B4-BE49-F238E27FC236}">
                      <a16:creationId xmlns:a16="http://schemas.microsoft.com/office/drawing/2014/main" id="{87C46AD9-22B0-C7F0-17A1-46977057B0BA}"/>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54" name="Freeform: Shape 15753">
                  <a:extLst>
                    <a:ext uri="{FF2B5EF4-FFF2-40B4-BE49-F238E27FC236}">
                      <a16:creationId xmlns:a16="http://schemas.microsoft.com/office/drawing/2014/main" id="{E94BDC7D-6AB3-3926-4796-C31A01B8634B}"/>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7" name="Graphic 1393">
                <a:extLst>
                  <a:ext uri="{FF2B5EF4-FFF2-40B4-BE49-F238E27FC236}">
                    <a16:creationId xmlns:a16="http://schemas.microsoft.com/office/drawing/2014/main" id="{4C30901D-2A52-015D-7066-248BDD0A7D8A}"/>
                  </a:ext>
                </a:extLst>
              </p:cNvPr>
              <p:cNvGrpSpPr/>
              <p:nvPr/>
            </p:nvGrpSpPr>
            <p:grpSpPr>
              <a:xfrm>
                <a:off x="7719345" y="3897153"/>
                <a:ext cx="75628" cy="75723"/>
                <a:chOff x="7719345" y="3897153"/>
                <a:chExt cx="75628" cy="75723"/>
              </a:xfrm>
            </p:grpSpPr>
            <p:sp>
              <p:nvSpPr>
                <p:cNvPr id="15751" name="Freeform: Shape 15750">
                  <a:extLst>
                    <a:ext uri="{FF2B5EF4-FFF2-40B4-BE49-F238E27FC236}">
                      <a16:creationId xmlns:a16="http://schemas.microsoft.com/office/drawing/2014/main" id="{97EBD53D-511D-72C5-EBA2-ED3D440E51A8}"/>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52" name="Freeform: Shape 15751">
                  <a:extLst>
                    <a:ext uri="{FF2B5EF4-FFF2-40B4-BE49-F238E27FC236}">
                      <a16:creationId xmlns:a16="http://schemas.microsoft.com/office/drawing/2014/main" id="{1F0AC251-266A-3BA0-8943-2CD417C64BDF}"/>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8" name="Graphic 1393">
                <a:extLst>
                  <a:ext uri="{FF2B5EF4-FFF2-40B4-BE49-F238E27FC236}">
                    <a16:creationId xmlns:a16="http://schemas.microsoft.com/office/drawing/2014/main" id="{B7B67F50-9ECA-C129-1952-650B9146EEA4}"/>
                  </a:ext>
                </a:extLst>
              </p:cNvPr>
              <p:cNvGrpSpPr/>
              <p:nvPr/>
            </p:nvGrpSpPr>
            <p:grpSpPr>
              <a:xfrm>
                <a:off x="8172640" y="3949446"/>
                <a:ext cx="75628" cy="75723"/>
                <a:chOff x="8172640" y="3949446"/>
                <a:chExt cx="75628" cy="75723"/>
              </a:xfrm>
            </p:grpSpPr>
            <p:sp>
              <p:nvSpPr>
                <p:cNvPr id="15749" name="Freeform: Shape 15748">
                  <a:extLst>
                    <a:ext uri="{FF2B5EF4-FFF2-40B4-BE49-F238E27FC236}">
                      <a16:creationId xmlns:a16="http://schemas.microsoft.com/office/drawing/2014/main" id="{876889B0-8929-90DE-160F-1ED6593DE635}"/>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50" name="Freeform: Shape 15749">
                  <a:extLst>
                    <a:ext uri="{FF2B5EF4-FFF2-40B4-BE49-F238E27FC236}">
                      <a16:creationId xmlns:a16="http://schemas.microsoft.com/office/drawing/2014/main" id="{40E66B3B-F27D-3C07-D63E-80D4E3C71FB0}"/>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700" name="Freeform: Shape 15699">
              <a:extLst>
                <a:ext uri="{FF2B5EF4-FFF2-40B4-BE49-F238E27FC236}">
                  <a16:creationId xmlns:a16="http://schemas.microsoft.com/office/drawing/2014/main" id="{0C48C528-90EF-E1C3-5892-D8ABDA0F8897}"/>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aphicFrame>
        <p:nvGraphicFramePr>
          <p:cNvPr id="5" name="Table 4">
            <a:extLst>
              <a:ext uri="{FF2B5EF4-FFF2-40B4-BE49-F238E27FC236}">
                <a16:creationId xmlns:a16="http://schemas.microsoft.com/office/drawing/2014/main" id="{25A974B9-A550-C39F-C0CC-A407BD9419F3}"/>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5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8</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grpSp>
        <p:nvGrpSpPr>
          <p:cNvPr id="15321" name="Group 15320">
            <a:extLst>
              <a:ext uri="{FF2B5EF4-FFF2-40B4-BE49-F238E27FC236}">
                <a16:creationId xmlns:a16="http://schemas.microsoft.com/office/drawing/2014/main" id="{52C2367A-ABC7-E3C3-60DA-84C4BC70BE07}"/>
              </a:ext>
            </a:extLst>
          </p:cNvPr>
          <p:cNvGrpSpPr/>
          <p:nvPr/>
        </p:nvGrpSpPr>
        <p:grpSpPr>
          <a:xfrm>
            <a:off x="8595610" y="1841319"/>
            <a:ext cx="3422910" cy="4317887"/>
            <a:chOff x="8095933" y="1892105"/>
            <a:chExt cx="3422910" cy="4317887"/>
          </a:xfrm>
        </p:grpSpPr>
        <p:sp>
          <p:nvSpPr>
            <p:cNvPr id="14707" name="Rectangle 14706">
              <a:extLst>
                <a:ext uri="{FF2B5EF4-FFF2-40B4-BE49-F238E27FC236}">
                  <a16:creationId xmlns:a16="http://schemas.microsoft.com/office/drawing/2014/main" id="{049FEBE9-A4A4-9981-C9DC-5BE4733CC815}"/>
                </a:ext>
              </a:extLst>
            </p:cNvPr>
            <p:cNvSpPr/>
            <p:nvPr/>
          </p:nvSpPr>
          <p:spPr>
            <a:xfrm>
              <a:off x="9296400" y="1893537"/>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5C652DFC-9FED-E1EE-FD97-A339425420E7}"/>
                </a:ext>
              </a:extLst>
            </p:cNvPr>
            <p:cNvGrpSpPr/>
            <p:nvPr/>
          </p:nvGrpSpPr>
          <p:grpSpPr>
            <a:xfrm>
              <a:off x="8095933" y="5588589"/>
              <a:ext cx="3422910" cy="621403"/>
              <a:chOff x="6947747" y="5927550"/>
              <a:chExt cx="3422910" cy="621403"/>
            </a:xfrm>
          </p:grpSpPr>
          <p:grpSp>
            <p:nvGrpSpPr>
              <p:cNvPr id="15243" name="Group 15242">
                <a:extLst>
                  <a:ext uri="{FF2B5EF4-FFF2-40B4-BE49-F238E27FC236}">
                    <a16:creationId xmlns:a16="http://schemas.microsoft.com/office/drawing/2014/main" id="{C54DE7A8-0E00-C26B-0852-30E847254CB9}"/>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275F2C54-DBA0-725D-6070-340172C84E40}"/>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86D761B2-20FB-7018-85FB-C3634694AB31}"/>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C4030DA4-EDA9-5562-3495-50522CBE9073}"/>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9B129B7E-A405-A074-C3D9-8ABBCBE0409E}"/>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B5681055-E3A9-A86A-8761-461A88898A2E}"/>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DDA928EC-2640-78EA-DC44-0D8A810880EC}"/>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13630132-8F72-00D3-2378-A026BC8B4A74}"/>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6543E936-D30E-49E0-60CE-A9EE0D4167F5}"/>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70A8A06C-2325-FCBD-A0D9-71F77A34BA53}"/>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B1A336B4-EEE7-0DC4-ED66-65E07D9E9F34}"/>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DD691F62-CC8B-4D28-0669-ED663298B2F1}"/>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216B16D9-C26A-59AD-5EEF-3A7F49626633}"/>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EFF990F2-8885-DF65-DD2C-D5161926A3A0}"/>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7EC20838-1CE9-30AD-52AD-ECE004E4800A}"/>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14715" name="Group 14714">
              <a:extLst>
                <a:ext uri="{FF2B5EF4-FFF2-40B4-BE49-F238E27FC236}">
                  <a16:creationId xmlns:a16="http://schemas.microsoft.com/office/drawing/2014/main" id="{46358AE1-E970-AF38-F38E-ED0A2A064478}"/>
                </a:ext>
              </a:extLst>
            </p:cNvPr>
            <p:cNvGrpSpPr>
              <a:grpSpLocks/>
            </p:cNvGrpSpPr>
            <p:nvPr/>
          </p:nvGrpSpPr>
          <p:grpSpPr>
            <a:xfrm>
              <a:off x="8995305" y="4125526"/>
              <a:ext cx="752890" cy="162000"/>
              <a:chOff x="4774830" y="5018189"/>
              <a:chExt cx="752890" cy="162000"/>
            </a:xfrm>
          </p:grpSpPr>
          <p:sp>
            <p:nvSpPr>
              <p:cNvPr id="15288" name="Oval 15287">
                <a:extLst>
                  <a:ext uri="{FF2B5EF4-FFF2-40B4-BE49-F238E27FC236}">
                    <a16:creationId xmlns:a16="http://schemas.microsoft.com/office/drawing/2014/main" id="{C23F1534-8190-1F1E-B1FC-EF8613EC6928}"/>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89" name="Group 15288">
                <a:extLst>
                  <a:ext uri="{FF2B5EF4-FFF2-40B4-BE49-F238E27FC236}">
                    <a16:creationId xmlns:a16="http://schemas.microsoft.com/office/drawing/2014/main" id="{8C238F2E-E4D0-11EC-7856-2711FC83B444}"/>
                  </a:ext>
                </a:extLst>
              </p:cNvPr>
              <p:cNvGrpSpPr>
                <a:grpSpLocks/>
              </p:cNvGrpSpPr>
              <p:nvPr/>
            </p:nvGrpSpPr>
            <p:grpSpPr>
              <a:xfrm>
                <a:off x="4774830" y="5018189"/>
                <a:ext cx="752890" cy="162000"/>
                <a:chOff x="3115805" y="2070402"/>
                <a:chExt cx="140336" cy="162000"/>
              </a:xfrm>
            </p:grpSpPr>
            <p:cxnSp>
              <p:nvCxnSpPr>
                <p:cNvPr id="15290" name="Straight Connector 15289">
                  <a:extLst>
                    <a:ext uri="{FF2B5EF4-FFF2-40B4-BE49-F238E27FC236}">
                      <a16:creationId xmlns:a16="http://schemas.microsoft.com/office/drawing/2014/main" id="{56C3807C-3EB0-712B-C5CE-A5FD6CECD2DC}"/>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15291" name="Straight Connector 15290">
                  <a:extLst>
                    <a:ext uri="{FF2B5EF4-FFF2-40B4-BE49-F238E27FC236}">
                      <a16:creationId xmlns:a16="http://schemas.microsoft.com/office/drawing/2014/main" id="{14B2A9FF-4AC8-FC9C-D476-A0AF6355EF27}"/>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5292" name="Straight Connector 15291">
                  <a:extLst>
                    <a:ext uri="{FF2B5EF4-FFF2-40B4-BE49-F238E27FC236}">
                      <a16:creationId xmlns:a16="http://schemas.microsoft.com/office/drawing/2014/main" id="{19039405-E49A-B0CC-1005-CF25C04B6785}"/>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14718" name="Group 14717">
              <a:extLst>
                <a:ext uri="{FF2B5EF4-FFF2-40B4-BE49-F238E27FC236}">
                  <a16:creationId xmlns:a16="http://schemas.microsoft.com/office/drawing/2014/main" id="{F10990A4-1B9D-1D67-F5BA-E722B37337D5}"/>
                </a:ext>
              </a:extLst>
            </p:cNvPr>
            <p:cNvGrpSpPr>
              <a:grpSpLocks/>
            </p:cNvGrpSpPr>
            <p:nvPr/>
          </p:nvGrpSpPr>
          <p:grpSpPr>
            <a:xfrm>
              <a:off x="8904210" y="5052014"/>
              <a:ext cx="832326" cy="162000"/>
              <a:chOff x="4829944" y="4340228"/>
              <a:chExt cx="832326" cy="162000"/>
            </a:xfrm>
          </p:grpSpPr>
          <p:sp>
            <p:nvSpPr>
              <p:cNvPr id="15273" name="Oval 15272">
                <a:extLst>
                  <a:ext uri="{FF2B5EF4-FFF2-40B4-BE49-F238E27FC236}">
                    <a16:creationId xmlns:a16="http://schemas.microsoft.com/office/drawing/2014/main" id="{D7931298-C7CA-73FE-5D8F-187475BC6BDB}"/>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74" name="Group 15273">
                <a:extLst>
                  <a:ext uri="{FF2B5EF4-FFF2-40B4-BE49-F238E27FC236}">
                    <a16:creationId xmlns:a16="http://schemas.microsoft.com/office/drawing/2014/main" id="{D3B028F5-00CA-39C1-0EF2-FF6BE6C94DB3}"/>
                  </a:ext>
                </a:extLst>
              </p:cNvPr>
              <p:cNvGrpSpPr>
                <a:grpSpLocks/>
              </p:cNvGrpSpPr>
              <p:nvPr/>
            </p:nvGrpSpPr>
            <p:grpSpPr>
              <a:xfrm>
                <a:off x="4829944" y="4340228"/>
                <a:ext cx="832326" cy="162000"/>
                <a:chOff x="3115219" y="2070402"/>
                <a:chExt cx="108588" cy="162000"/>
              </a:xfrm>
            </p:grpSpPr>
            <p:cxnSp>
              <p:nvCxnSpPr>
                <p:cNvPr id="15277" name="Straight Connector 15276">
                  <a:extLst>
                    <a:ext uri="{FF2B5EF4-FFF2-40B4-BE49-F238E27FC236}">
                      <a16:creationId xmlns:a16="http://schemas.microsoft.com/office/drawing/2014/main" id="{33A5E689-2A28-5895-49C1-50C9E9839C72}"/>
                    </a:ext>
                  </a:extLst>
                </p:cNvPr>
                <p:cNvCxnSpPr>
                  <a:cxnSpLocks/>
                </p:cNvCxnSpPr>
                <p:nvPr/>
              </p:nvCxnSpPr>
              <p:spPr>
                <a:xfrm flipH="1">
                  <a:off x="3115219" y="2151402"/>
                  <a:ext cx="108493" cy="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5" name="Straight Connector 15274">
                  <a:extLst>
                    <a:ext uri="{FF2B5EF4-FFF2-40B4-BE49-F238E27FC236}">
                      <a16:creationId xmlns:a16="http://schemas.microsoft.com/office/drawing/2014/main" id="{D4AA00FB-0ED7-9B36-BC24-65C0B027718A}"/>
                    </a:ext>
                  </a:extLst>
                </p:cNvPr>
                <p:cNvCxnSpPr>
                  <a:cxnSpLocks/>
                </p:cNvCxnSpPr>
                <p:nvPr/>
              </p:nvCxnSpPr>
              <p:spPr>
                <a:xfrm>
                  <a:off x="3115805" y="2070402"/>
                  <a:ext cx="0" cy="16200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6" name="Straight Connector 15275">
                  <a:extLst>
                    <a:ext uri="{FF2B5EF4-FFF2-40B4-BE49-F238E27FC236}">
                      <a16:creationId xmlns:a16="http://schemas.microsoft.com/office/drawing/2014/main" id="{70E5EE5C-2433-1751-1A72-1FA4B86C8D78}"/>
                    </a:ext>
                  </a:extLst>
                </p:cNvPr>
                <p:cNvCxnSpPr>
                  <a:cxnSpLocks/>
                </p:cNvCxnSpPr>
                <p:nvPr/>
              </p:nvCxnSpPr>
              <p:spPr>
                <a:xfrm>
                  <a:off x="3223807" y="2070402"/>
                  <a:ext cx="0" cy="162000"/>
                </a:xfrm>
                <a:prstGeom prst="line">
                  <a:avLst/>
                </a:prstGeom>
                <a:solidFill>
                  <a:schemeClr val="tx2">
                    <a:lumMod val="75000"/>
                    <a:lumOff val="25000"/>
                  </a:schemeClr>
                </a:solidFill>
                <a:ln w="9525" cap="flat" cmpd="sng" algn="ctr">
                  <a:solidFill>
                    <a:srgbClr val="000000"/>
                  </a:solidFill>
                  <a:prstDash val="solid"/>
                </a:ln>
                <a:effectLst/>
              </p:spPr>
            </p:cxnSp>
          </p:grpSp>
        </p:grpSp>
        <p:grpSp>
          <p:nvGrpSpPr>
            <p:cNvPr id="15233" name="Group 15232">
              <a:extLst>
                <a:ext uri="{FF2B5EF4-FFF2-40B4-BE49-F238E27FC236}">
                  <a16:creationId xmlns:a16="http://schemas.microsoft.com/office/drawing/2014/main" id="{063B9217-BA92-3516-D728-80C48593BACF}"/>
                </a:ext>
              </a:extLst>
            </p:cNvPr>
            <p:cNvGrpSpPr>
              <a:grpSpLocks/>
            </p:cNvGrpSpPr>
            <p:nvPr/>
          </p:nvGrpSpPr>
          <p:grpSpPr>
            <a:xfrm>
              <a:off x="9187327" y="3180927"/>
              <a:ext cx="515622" cy="203289"/>
              <a:chOff x="4713766" y="3682352"/>
              <a:chExt cx="515622" cy="203289"/>
            </a:xfrm>
          </p:grpSpPr>
          <p:sp>
            <p:nvSpPr>
              <p:cNvPr id="15258" name="Oval 15257">
                <a:extLst>
                  <a:ext uri="{FF2B5EF4-FFF2-40B4-BE49-F238E27FC236}">
                    <a16:creationId xmlns:a16="http://schemas.microsoft.com/office/drawing/2014/main" id="{886EF2E1-B9C1-1278-CAC8-D6F115CF937C}"/>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59" name="Group 15258">
                <a:extLst>
                  <a:ext uri="{FF2B5EF4-FFF2-40B4-BE49-F238E27FC236}">
                    <a16:creationId xmlns:a16="http://schemas.microsoft.com/office/drawing/2014/main" id="{DAD1FECC-B71E-92EC-DC28-3315E009B7E6}"/>
                  </a:ext>
                </a:extLst>
              </p:cNvPr>
              <p:cNvGrpSpPr>
                <a:grpSpLocks/>
              </p:cNvGrpSpPr>
              <p:nvPr/>
            </p:nvGrpSpPr>
            <p:grpSpPr>
              <a:xfrm>
                <a:off x="4713766" y="3702996"/>
                <a:ext cx="515622" cy="162000"/>
                <a:chOff x="3115805" y="2073465"/>
                <a:chExt cx="89927" cy="162000"/>
              </a:xfrm>
            </p:grpSpPr>
            <p:cxnSp>
              <p:nvCxnSpPr>
                <p:cNvPr id="15260" name="Straight Connector 15259">
                  <a:extLst>
                    <a:ext uri="{FF2B5EF4-FFF2-40B4-BE49-F238E27FC236}">
                      <a16:creationId xmlns:a16="http://schemas.microsoft.com/office/drawing/2014/main" id="{3D1C132E-AE07-E872-9E65-A821A2EA59CC}"/>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15261" name="Straight Connector 15260">
                  <a:extLst>
                    <a:ext uri="{FF2B5EF4-FFF2-40B4-BE49-F238E27FC236}">
                      <a16:creationId xmlns:a16="http://schemas.microsoft.com/office/drawing/2014/main" id="{CAA4D26D-0A08-5636-1396-897C0BA6410F}"/>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15262" name="Straight Connector 15261">
                  <a:extLst>
                    <a:ext uri="{FF2B5EF4-FFF2-40B4-BE49-F238E27FC236}">
                      <a16:creationId xmlns:a16="http://schemas.microsoft.com/office/drawing/2014/main" id="{E2EF35DB-EDA8-82B2-5D56-82768E1040D9}"/>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15234" name="Straight Connector 15233">
              <a:extLst>
                <a:ext uri="{FF2B5EF4-FFF2-40B4-BE49-F238E27FC236}">
                  <a16:creationId xmlns:a16="http://schemas.microsoft.com/office/drawing/2014/main" id="{84F23228-8BD4-C9FA-8A58-D6D0CF07FF99}"/>
                </a:ext>
              </a:extLst>
            </p:cNvPr>
            <p:cNvCxnSpPr>
              <a:cxnSpLocks/>
            </p:cNvCxnSpPr>
            <p:nvPr/>
          </p:nvCxnSpPr>
          <p:spPr>
            <a:xfrm>
              <a:off x="9782256" y="1892105"/>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27082D8C-7050-0D45-27FD-1E41DDBFE3AE}"/>
                </a:ext>
              </a:extLst>
            </p:cNvPr>
            <p:cNvGrpSpPr>
              <a:grpSpLocks/>
            </p:cNvGrpSpPr>
            <p:nvPr/>
          </p:nvGrpSpPr>
          <p:grpSpPr>
            <a:xfrm>
              <a:off x="9291527" y="2236222"/>
              <a:ext cx="467997" cy="231865"/>
              <a:chOff x="4760816" y="3665683"/>
              <a:chExt cx="467997" cy="231865"/>
            </a:xfrm>
          </p:grpSpPr>
          <p:sp>
            <p:nvSpPr>
              <p:cNvPr id="15311" name="Oval 15310">
                <a:extLst>
                  <a:ext uri="{FF2B5EF4-FFF2-40B4-BE49-F238E27FC236}">
                    <a16:creationId xmlns:a16="http://schemas.microsoft.com/office/drawing/2014/main" id="{426C4DA1-BC7B-7B2B-8309-DDCC825C6E78}"/>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1D84E5B0-0AEF-04A5-2DE1-59570C033B8A}"/>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43181645-F72D-23C7-32B6-209008F407BF}"/>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1F857F39-B327-E943-C5D7-0D2214A3A300}"/>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7AAAC915-BF2D-6EBF-5C23-010BE5D1A918}"/>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sp>
        <p:nvSpPr>
          <p:cNvPr id="2" name="Text Placeholder 1">
            <a:extLst>
              <a:ext uri="{FF2B5EF4-FFF2-40B4-BE49-F238E27FC236}">
                <a16:creationId xmlns:a16="http://schemas.microsoft.com/office/drawing/2014/main" id="{493A0A7B-DC9A-9B5F-7339-A65735E365BC}"/>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3182" name="Rectangle 13181" hidden="1">
            <a:extLst>
              <a:ext uri="{FF2B5EF4-FFF2-40B4-BE49-F238E27FC236}">
                <a16:creationId xmlns:a16="http://schemas.microsoft.com/office/drawing/2014/main" id="{795DBBD8-B6D4-7615-DCAE-B998B281764B}"/>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38FEDE99-DE74-9763-D10C-120DADBC70C0}"/>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5FCDEE5A-784F-5EF0-A79A-7D399E484F03}"/>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5CEC2657-7EAA-1F2F-C331-57040CA9A91D}"/>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A1D6E8CC-B0F6-73D9-5C56-0BE99E5D8EA8}"/>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7B420807-4EA9-71A0-DF33-67F9F8318B4D}"/>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F049CF82-9F5F-3DD2-BF31-AE87BDDFBD5A}"/>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FEB9BE02-BAC5-6212-F2BE-565D129C15DF}"/>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26636D0E-1A7A-B6C8-2BA6-234B3BAD0FC7}"/>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00C85BF0-D548-FDC0-F16A-2317B91EB4A5}"/>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14BAAA12-B6E6-742E-FC19-51717D403CE6}"/>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5FD17C1E-0934-184B-2109-A71C549EE828}"/>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66EEFDC0-0412-B218-2B6C-761233DD87AC}"/>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29A2B0A7-0884-366C-7436-B65FDE5F8747}"/>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3C8DBED1-CC22-25D2-024C-21D7AFAEC646}"/>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D4D354BE-1C28-B10A-E91F-B920DD25FBD4}"/>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3DE9CC06-3975-B879-B963-5408710020DF}"/>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8087F366-8DFD-9367-D39A-49ED0CB24169}"/>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128DC3C5-1409-E0D3-9FFF-4AE26D48600B}"/>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BB9CB588-F2CE-AE48-1F74-B8C01C8A9677}"/>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1B3E5C2D-14A8-752B-2774-8018CC25D090}"/>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4F6C1E0D-37D3-E734-BA56-64923ADCFFAB}"/>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19402D9B-C64A-E564-83C6-7CBACDF8169E}"/>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670E28C2-5176-A06B-60EB-6B4C0AD05882}"/>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749C6618-238B-EAC8-CA26-F8F506D1E2C3}"/>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4A9BA890-F7DF-E1EC-932F-505AF001954F}"/>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04A42E22-B05A-37BF-B5F3-C271512383EE}"/>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36C73C83-3EB5-A810-D1ED-4EF4E4762E58}"/>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23D93F9E-60CF-FF7A-1199-A46C04DEC412}"/>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8E13424D-6E6F-CBF4-BB64-DAC15AFD9FAF}"/>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3AA5F639-BBE8-09A5-B056-FF1983207184}"/>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8700C859-5059-D958-F787-3A0DAA6AFD7C}"/>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BF97A3ED-6439-824A-F649-9EFF06D8966D}"/>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F65BCF35-6AF2-932B-9D98-64AA96823F4C}"/>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010FC517-C2CA-DE0A-C0A5-5E8D95BAD108}"/>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932A2BD8-982B-F9EC-1A73-F293EF029848}"/>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EF826DBE-66A5-A732-30D7-730DE22609F6}"/>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A648078E-9577-C40E-595E-8EB9A22714E2}"/>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D6C7FDB5-4BA9-2A38-0F9D-BCE06674CB66}"/>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C7E1E8E1-1092-6901-55DE-7EF30CFCF4AD}"/>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820449EF-A0B6-C1D5-54B9-BBE1E86A90E6}"/>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2892E03D-6A01-D16D-0CF4-949944A9A1B2}"/>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2368BD5A-7576-9EFC-7534-C05A73ECC63D}"/>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D0802846-A62F-3CF2-70E5-0EFC548DA8AF}"/>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E26FEBDD-53CF-AC43-ECB7-BCAFA832ACBA}"/>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8C61AC14-A5E7-C168-C893-E624513427F7}"/>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2CACADED-9BD4-3AB9-6465-A26026928638}"/>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D9A2DD31-0015-1630-A793-43704C086254}"/>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345E0A4F-5262-133C-B0B6-644A437E3726}"/>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D0C36BC1-E565-F117-1032-AD9FA81A73A0}"/>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40DE8870-EAC6-7C0E-8F46-9C6A359C5990}"/>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B2B65FFC-6482-8460-695C-DFC957E9EF6D}"/>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A13C74BD-9EA9-3FF5-9C27-C12420B5FB39}"/>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DB82C2D4-EFE9-D16B-21DD-E4AB28531ECE}"/>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70EAEFE3-559C-129A-EDD6-E34AA7171FD6}"/>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F0A75A76-083D-B988-5B40-43818515EE36}"/>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C6193A05-6C0F-5F9F-C5D5-45CC2B01B21B}"/>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0080C269-5014-AE8A-3CEB-831CAD8BDC04}"/>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A848CF88-28CA-F4E3-82A7-5DB19603806B}"/>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A379D10B-4311-F98F-FB7F-594A962E7E57}"/>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4DB7E25D-819B-4CE2-921C-3AF593C5B6F8}"/>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04CBEED1-C8DD-D6BF-44D8-C4C5243A9EC2}"/>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270D3D39-D692-B390-BC82-A173C0DA068A}"/>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98C1967E-4924-A137-10E8-D4E58F2253A3}"/>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5BFDB129-139F-B910-F7C3-0D9202548299}"/>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27B1E69B-DDE4-C39A-CD4B-478E734FE9DE}"/>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A2AF1CF0-C787-B024-5136-3C5435A2754A}"/>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A01AA7FD-245C-B810-5AC2-53AEEC2D4E34}"/>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C3134E5E-5811-D9B4-87D5-F40EA3B91BE2}"/>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724851F5-9BDD-34DE-4A9D-33712B195C78}"/>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0A483593-F76D-59F9-3FD3-A4A296069731}"/>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71EA4676-6173-09FA-BBEE-EBB1B9A18A63}"/>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842A6D67-01A2-F710-4C1B-DB9A2042D261}"/>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B3737834-F80D-B620-F02A-91FE47A8F477}"/>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134231DA-3BDA-8B31-B245-0B016C7B89B7}"/>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B1727E60-B6DD-B116-8262-3E3707AE371B}"/>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59F8B1E8-EC5F-A6A8-825D-E64CC8B3A8C8}"/>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A720EFC1-F923-2513-51B2-2590C6C60CA8}"/>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642688F0-A133-4E11-8E6D-86BA81281071}"/>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26E4A091-2BE5-3889-F7D9-D7DF95E64A73}"/>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09461299-C8A3-8418-088A-403CEA8A5BB2}"/>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5C93CF00-031C-FF53-37C9-B9A92539CA47}"/>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AEE69BBF-F1A8-B1DB-0E2E-FF7CC2262D15}"/>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697D5E04-3378-0056-4FFD-2E2C95D45FC7}"/>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6EE49396-61C5-94FB-246D-A82B4190FB38}"/>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5B65F76A-CADF-44FA-24D6-79298523C276}"/>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50427A85-B840-5607-3D51-0DD6C6637AAF}"/>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70F5A124-182C-D40D-4774-FC6DBF340B14}"/>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C63538E8-4BE6-19C1-4680-3C522D687E03}"/>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0689DB6E-9A4A-028B-7A61-297EBA78697C}"/>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C1190BB4-A44F-74D8-49B0-46CF4D515715}"/>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C4FC0A57-BBAA-77ED-EA07-114B77831949}"/>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7EB02682-936D-B54A-2678-AC319B275568}"/>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BA979B8C-FF2E-7A04-D92E-C2A2F55C7308}"/>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70E47D9A-E120-57AE-706E-C60ABC5A2936}"/>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8887C99D-4E2D-2E6C-06F4-299ABF873685}"/>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38ABC967-4E02-29A4-9010-BE6C118D0883}"/>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3E4DBD4B-4F6C-3894-FCAC-7ACBBD7BFFC5}"/>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45C121EB-6BFC-83DC-97B1-277028241A47}"/>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63202CB6-8846-3461-D4AA-1390F9676447}"/>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3DC507EC-3D1C-52FC-848B-A5410307B179}"/>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3340ECC9-1913-675A-E131-4E36FC79404C}"/>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086C5436-0D56-0FC8-0B57-A5C51957FD33}"/>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D34A8B2B-6E87-22DD-67C8-10FC3BFCA63F}"/>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D7356608-5A24-5F0E-C433-CD3683EF2E35}"/>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86522FC8-73E2-371D-0B5C-8481F565E349}"/>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5783BFD8-96BD-E39C-3F8C-58B1149AECE3}"/>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0DA84BF5-149C-45C9-D98D-C443922B2E80}"/>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927EFC97-AD72-8BB5-4DB1-B763E25522A3}"/>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70944D72-7A8F-2C35-17A0-9D7D331A70B6}"/>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FF3F9D2B-6418-CA62-27A8-621199D015C0}"/>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000C0AB8-1461-9E86-9C91-4766ED4B56CD}"/>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E16F4E3B-252B-D91E-ECF6-9805FEEEE62F}"/>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94568355-EEA0-9C84-18E0-57E0B82D5CF1}"/>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07774BAF-D74D-907F-8808-531850B9C3C7}"/>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CFFB821A-AD1E-291B-2BFB-0B9AAC2DE46C}"/>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F99A5315-437D-5345-44A6-2CA239D252E6}"/>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FDF198C3-5124-C473-8E1F-C88F2879EB1C}"/>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62980D06-D4B1-C650-4F02-24AA33176714}"/>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0FEC9AE2-4AAF-C428-67E4-5763D71D1DFC}"/>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CCBF3D14-3D3D-14E6-E4E3-1C30E72FA6D0}"/>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26017124-3A23-2732-2496-0E54954F1134}"/>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689BE4BF-8FE1-8D31-11DF-51A99BAC6B61}"/>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859D4837-C051-94F8-5C1C-4BA5A0AB0B6D}"/>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E1C4CF93-97AC-96C6-CB19-ADE11486ADE6}"/>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346E960B-700C-FFEE-D2F8-62967F6401C0}"/>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7732B4A7-D194-C353-4F40-CAA2CCF33C17}"/>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FA4F1B8B-EE15-C58F-AE44-1CA70DE9EF56}"/>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1768336F-8DC5-202F-FA83-9516EA2DA94C}"/>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0B098DB4-4656-59CB-CF3E-5125BFDC44A7}"/>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28D72485-CB0C-6B53-8C22-3BCAD4CFF44B}"/>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E3B4B23F-9A74-BA1B-E66F-8B40EC80F22F}"/>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F99E45BE-D857-34E7-1E49-5FA1B20E8CA6}"/>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7F55E0BF-0800-94AA-3433-98FB83B82D3C}"/>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F74CD766-5139-1892-09BF-C4D6D88A5C19}"/>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51E51260-8A71-CC25-E452-EDA17D578C9F}"/>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E0BE2AC6-5100-4C17-5B17-A6038EA3406C}"/>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E15D3DF7-B9D3-7B27-6D0A-1051F05F6789}"/>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8D0B364F-D8E8-D7F7-510A-0DEA4292C84C}"/>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49131703-E1B1-10D0-C6A6-A404E5E5D6A4}"/>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F421CFBF-F05C-6130-287F-E7D7D67BA1DF}"/>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EB0D4B2E-C4AF-F72B-8712-AAA0ABCB3E20}"/>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43CA17FE-15EC-0350-263C-D4D368E11904}"/>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B6974668-895F-5B77-8906-4F8D5E904F0A}"/>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45A7686B-2AF6-A57E-EC16-1E923622BDE4}"/>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6D43A360-30BD-CDFE-69F2-C68692B420C5}"/>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0B21840A-F566-73D1-ED11-19E98B3C4C4C}"/>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C6413904-E033-726F-E7CF-0DF82D43E2F9}"/>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5A9C7BCF-DDE1-E8EF-581A-D5146736BA95}"/>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58711ED2-4915-4985-EABD-E58DF12BC4A5}"/>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5956D4A1-F58D-8B94-AB2E-3F77F2B6BDCA}"/>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2A4AB58D-01E1-CB61-A6B1-85CB77AC7716}"/>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29E212A4-D61A-B087-A2DE-C4B8E28E99B7}"/>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8EEC0ED7-C29B-31B9-DC9F-26001BC90821}"/>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E0EE2094-94FE-782B-DFF1-1BFF1081311C}"/>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20FCC2E7-1ABD-7EA4-509B-EAAFC3779B57}"/>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16C29BB9-7E2E-DCCF-9AE7-0987F3051490}"/>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1E63CB43-3308-BE5E-4C44-1BCFD61E226E}"/>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197E7BC9-A48A-3E4F-DBC3-37D97E0ADF73}"/>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28B733C4-B876-08FB-5D9E-C54A806C4864}"/>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80B34295-7E9C-F1F4-BDB6-896ADC52F00D}"/>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AEC740FB-3946-D295-6492-6C25AE581B3B}"/>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7A558AB7-EB20-BED2-B42A-EC6B6FFEAF23}"/>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5AAD2CC5-AFC2-D723-167F-E1EA63A49422}"/>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45C08213-14A5-078C-49FD-C4E875BA6B73}"/>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0B3F77E4-451B-FFE7-FFAA-D2A8A1CF5795}"/>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DD36CDC2-AF74-1FCF-470F-4EEA1DAFD49D}"/>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DE42F927-E705-C751-8F1C-08E1364C6B8F}"/>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EA434923-A3BC-9229-AB32-9E40A1F5F808}"/>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73FF8A2D-D8CD-8152-114D-68325A00A844}"/>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0DA8C179-F56F-62E9-3C92-61F0DEB7C548}"/>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0E164EA2-91E2-1CDD-A532-573270D1C281}"/>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8FF0AB13-D24A-1F73-1C69-0D77287A8A36}"/>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AC72540B-B6DE-780D-AA31-D0D372A4F215}"/>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A71CC595-25F6-75A8-7D49-7801F0E5388B}"/>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71627DB9-9C56-697D-C516-5FA8622067C6}"/>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1535BF40-9A60-00B6-E8F4-945FA02A2E9A}"/>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89D65F9B-F60C-B6D5-4D51-08EC9EC0BDEA}"/>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2E304198-4A61-F9C5-3949-3C3FD58BF690}"/>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F75E7AF6-5B85-C2D4-BC3B-273908FFB575}"/>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75333C3E-7B61-634E-8B18-0AC84B3E0607}"/>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BB04F308-3271-8FEA-817C-FB0B5341CD7C}"/>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40AA5728-1CB6-54CE-A4D2-80646E18E170}"/>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35B4393B-8A5B-6B19-D44E-1D4108B952B4}"/>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73CE0284-C059-C705-AC7F-75CD8FB47121}"/>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A3376905-3E23-6700-1893-AC14B808C60A}"/>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DA584FD6-EB78-DED4-89BC-19DB377F8681}"/>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10DB0C27-8EF1-8500-6311-A6911466C2B0}"/>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DA53F122-2668-C26F-BC2F-9CF5DB73856F}"/>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76264EBA-1D75-124D-254B-9286AE7371CB}"/>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AF7875E2-96CF-F402-E612-8256A84F4315}"/>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4F166D6B-D78B-0875-C225-5C4628192A70}"/>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889C5F0C-8AB9-EAB9-2778-92F963C5386F}"/>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CF603BF6-CF7E-77DC-816E-C6B0F1241C0B}"/>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BF26BC6B-37B6-E85B-95CE-99EAE709C44A}"/>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75D26DCB-86AB-0A8C-0575-03FA57AF2C77}"/>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E6F9FF52-1EA2-FECC-55E0-DE5D0482BBE8}"/>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7C8AEF98-9A0D-AAE2-4EA2-FC63069E6ABF}"/>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C1A356B8-B5B0-0BC6-4312-026AAD9D749D}"/>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5BA9B77C-301D-1A56-4F48-CABED6EFCC03}"/>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68FDEB42-9065-5233-D96F-5B6B52F402BF}"/>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9B66F71E-3C59-812D-3BCA-86343A2972D0}"/>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3E6C2FA7-EAED-9186-68FD-74312D426CC0}"/>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046FA545-0713-D591-8ADF-C67803BF30F4}"/>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A8187F25-49C3-0EE9-6A31-D0721725057A}"/>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60DFD8B0-AD2B-1FD2-DFEE-D8BF1748514C}"/>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EC156563-CA98-7C63-8330-A27FD2FDB168}"/>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4D0A6908-D6D2-3657-DDA8-822EEBA56A7C}"/>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2F42B164-8446-B1CB-ED89-5800D20FF5FD}"/>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FA68F7B8-2144-E6D0-EC2A-1EE8D71F47FF}"/>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5A8EEFBD-6FB3-9EA8-76D9-9EF83D2DD693}"/>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B4FB9BF2-2AD3-EC64-DB3B-5AC1C5B9D480}"/>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B23C0A87-22F9-B30D-9599-1FD6EE6C0551}"/>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30817F7D-A8DC-3C6D-FEB3-52D8D2EFF6AE}"/>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4532F946-3614-EF3A-D976-D68FD4F92EFF}"/>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A5EDAD5E-7CBB-2A47-CF75-8F48EC8EB780}"/>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53181DF2-8477-8EFD-5985-467286065D46}"/>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25FC42B3-185D-EB2E-AE3F-883A140E07B2}"/>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7A9CC528-3129-71F1-189A-BBFE7DA1D6E8}"/>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48A68122-650C-585D-B758-CC84B0399172}"/>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6ABC12D6-3AF7-800F-E203-6E5ADA50B484}"/>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623581D5-163A-730E-8425-33057600E618}"/>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5F5B2533-5B78-2A50-ECFC-15AF9C4F0C17}"/>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2F7C1067-AD5D-171F-8E81-CAD77A47424E}"/>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21B4166D-48A9-BC68-1D1A-29EE29F8298F}"/>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29B672D6-3BA3-A8B7-160E-6FD8EF4E94FD}"/>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81A086D4-ED29-9A13-7146-CEF1B36D50D2}"/>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9587C688-69A7-76DB-F95B-4A85EDE71380}"/>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F7949391-46D0-BE2B-D5B8-8A71AE37FACD}"/>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689A45EC-B05D-4DB4-F566-915A84E38986}"/>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F9D8AD49-BBD7-93BF-18E0-5FE8D2FB41E6}"/>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15082D3B-3C15-2DD3-BAD5-0E6722D72B46}"/>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3E4C8ABE-B45E-28F1-1992-F4FFE7DAB6C5}"/>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6805C3A5-5E0D-DACA-7140-595BCDD3569E}"/>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4C471EDD-612B-70B0-2543-52DA3538B221}"/>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C2FA392A-0E6A-0277-830A-21D9857D24B5}"/>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175E11C0-5B0B-9EE8-F50F-D423CA84C4FB}"/>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6C228C63-85D9-0053-09A3-CBE3F1238E84}"/>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257FEA8E-F68A-BE95-69E6-96287B015F3E}"/>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97C15D9B-B143-5B33-A8E1-47D0EE040C3D}"/>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62AB8494-785A-74A9-B587-A6943B1A917D}"/>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676D8010-2CB4-69DA-33E8-3E831041D1D3}"/>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D818D5F4-A06B-9CD0-350F-AED6C3D1F788}"/>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3A9B8F65-B7FF-AA14-DABA-450B0E8F676D}"/>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6CA0362C-7860-3CC2-A007-A26C39A90B21}"/>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DBA98704-BBF2-F58C-E687-FF5265526BFC}"/>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B91F66B0-3172-0741-150D-DEF174606D8A}"/>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527B64FF-69DB-86D3-63FD-8BA9332C748C}"/>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14100392-2C14-9436-F8A1-03490251725D}"/>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BCEF9B56-CC5C-2445-04EE-21ACE35365C4}"/>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41BA10C4-097A-03AA-FA63-F0FE4BC1D3A9}"/>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D5A404C0-30D7-C4F8-ED14-C662689C91F7}"/>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0AC318BB-FCD5-43EB-922A-9E599DCAE6E0}"/>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084DD9DC-F791-05B4-7AAD-389F7FB8F10D}"/>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54175A34-B60A-2641-FA42-99550E4A95CB}"/>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9B579584-A7E8-266E-8443-DB4D00D44CBD}"/>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6218678C-1FAB-47FF-35D1-316E140E956A}"/>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7DC66D63-114F-94E8-7A01-761BC2BBC7E9}"/>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F6CB96DC-1243-87C0-29D7-F306B3765B1A}"/>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61E4DF25-AE24-BF83-77CD-8BE39450602C}"/>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88D4A779-1CB3-3A7A-9567-0C556C54ACCF}"/>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95BB17AB-0DB1-CB29-E850-07DFBD1D08BF}"/>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25ED23AB-C6E3-4083-DE1B-30658CF69161}"/>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BBA3E8B7-E167-FA24-07C6-12B6D8DFAAA5}"/>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DB4C9790-AF85-056E-25F8-D27A6C83F1FF}"/>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140283BC-8E66-92A6-98B0-7287557A5B30}"/>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8400FDB2-9F62-DFFB-7411-97840C48A2BF}"/>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595E8EDA-A2FE-F3B8-6312-1B84739D2FFC}"/>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5A63C536-7913-ED6C-A88E-859EC5ADADB3}"/>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A1B654BD-AEC4-F323-9447-FD3DD9B858D8}"/>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9A7186FF-DE76-343B-374C-1F4CE4299CCA}"/>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1642C194-4903-B3CD-76D7-0084D264DA20}"/>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02629E1E-30B3-ADB0-3ECD-56AF2B6B7B70}"/>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D0AF001C-6729-B76E-5FBA-C43BA922F742}"/>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D97425C9-D46C-8775-A84D-69C7731BEB9C}"/>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A6281BF5-3C2E-F70E-191D-587DB0CDDF6C}"/>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EF2CDE0B-0D26-2C21-687A-0A140D56267B}"/>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2825C245-801D-009F-AD95-4A2995E0D447}"/>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9E3FC0ED-E89F-0466-987F-1A7FF4F9B73E}"/>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681D398B-A616-F046-3488-83B54B764F1C}"/>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DD0EB312-863D-72BF-D894-AB3F96996C47}"/>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64C26B52-F0FF-90EB-2F8D-D959E6FDD843}"/>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99B7F0F2-36AF-8E2B-83EA-976B727EEE50}"/>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5ADFDDC8-B2B4-9D98-3480-DB1641E5E57C}"/>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F7C2BCC9-0498-BC5B-5D44-83FF068EA700}"/>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3768BD4F-B1EE-5673-FD39-C62759332CAD}"/>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195B7806-31E3-1199-7028-112C05168BC6}"/>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CDC421A6-EB3A-664F-AD26-7D132605649A}"/>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70E4E4D3-9A54-37A1-13A1-B3180C517851}"/>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CFACC0E9-659E-995D-3D4E-120B08815128}"/>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4200BA19-146A-58F0-5B7B-4EB55547374C}"/>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1E49AB7C-105F-E760-7460-8F7B19FAE3AF}"/>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3680BD11-B2A9-1E55-53AE-688D0C06A0B4}"/>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5C75A699-FCB6-99A1-030A-AA90F291F5E4}"/>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49616855-4311-E1D0-EF1D-66E52F9C6BBB}"/>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18B29D6D-5BE8-BA16-6B49-D474BC7ABE60}"/>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EB556886-DD65-B353-1057-2D1B0DEB24D3}"/>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3C49F36A-09B2-B658-E008-491197F500D3}"/>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EAAAED65-0289-DF7B-AC07-3968011EF768}"/>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985351EC-09EB-CFB6-E3E7-ECFCF3FBE37E}"/>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9FB37835-AF33-B14A-DF34-5C95C8E03167}"/>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0B455FE5-2C8F-4544-5C1B-E18330088F8E}"/>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891687FC-9585-4372-57E8-B2EE26CB752B}"/>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5BB6E55E-5EDD-9E6C-9EC1-DF6AD539CD46}"/>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2D0B9C46-D28A-9B72-1B80-19BD3242E38C}"/>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9B38244E-2A17-A391-7C0A-B6BCB52DDF02}"/>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F59DEFA4-22B3-1005-4875-FE7C9727BD2D}"/>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6904773F-CFF5-BF76-298D-D5EB969E77B1}"/>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34F0CFA7-BB44-653C-12DC-7ACA86F817DB}"/>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5AD1EDCB-D2F9-37DE-A793-20D0C2B00E34}"/>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B994185E-4EBB-5AE3-EA57-73DDC558A17A}"/>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9454AA0A-4AB6-14EE-E95C-B89E56E0BD4E}"/>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5C730A39-DAD0-E968-7794-93D270E09988}"/>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83E6E102-5F49-C551-6880-410F0F104A05}"/>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2A6E17EC-F1B6-02CE-E01F-03E87E17DDEB}"/>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3E0582CC-1FDE-F44A-D983-4C701A41657B}"/>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28EA7659-D849-CA59-BEDA-83105599B414}"/>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D084D17B-1116-F369-8C9E-BB58A466D53D}"/>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2CC09185-7043-A2DA-4210-8C2FAF43BB95}"/>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3C8A1AFB-6B16-F8CE-660F-70A9A3B218E5}"/>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3B459ED2-3DF3-BC2E-8F95-45B24E60FEFF}"/>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8518FE05-39FC-4DE2-4455-3C13811F69A1}"/>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CE0AE72E-011C-76E1-3FF3-905F9DD7C3BD}"/>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C3E560C3-F48C-89F7-5696-FC4EB7A79602}"/>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7B8B4A5E-6BC4-2611-82F8-B27ABDC45F00}"/>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E6BA10BD-1279-F44D-C5D8-EB454706DE08}"/>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8E64B0BD-E7A7-D686-F5BC-8CC3DAD1CC43}"/>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69A1F2AD-E8E1-342A-0931-9DAAE6381859}"/>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865BFBAC-103E-5B99-ACC1-913B53E59A99}"/>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E44F2C47-8D17-C801-82BE-72E7D841B00D}"/>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CD503165-46E7-B9B3-0C62-E0144A477C77}"/>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B1C1CBDB-EBAF-D821-E04D-59FCA42910C6}"/>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36995D7E-A958-F5A8-E7E5-DA9180F9CC0E}"/>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CC36150C-3AD3-684B-6F44-C905D8F4EA1E}"/>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32F8258B-32CA-DD75-A627-58F03C01305D}"/>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6686F01B-E519-9B2E-6606-43A1E9405BD8}"/>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4AEDC41D-4C07-71A6-B53F-C2FE234B5DC0}"/>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63273462-8692-0964-0A9E-867B190C3251}"/>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B6FB34C1-9744-0BDE-8B73-9CC1EC92E867}"/>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D73AA269-E7FC-C632-56CF-8F9A382380CE}"/>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8D28B631-92C2-FC16-8CC3-0338E931B2DD}"/>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0AEE0538-39F3-4796-214C-5E34D326CA7B}"/>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FEE699CC-A084-5189-22BA-8B5E4A81FA50}"/>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112243C5-C877-FE4E-E2AA-0BA3EA1AEF06}"/>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0EBEE14D-AE75-681F-B607-ABBC7DB0931F}"/>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E30AF23B-6F82-B2E7-28C5-185159E1773B}"/>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634BD610-6393-E6D1-F948-BD727F45FEF0}"/>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4CA44B35-B53E-E96B-BDCF-576FF991CC39}"/>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AF3C9DF6-C5C0-D27E-3FDA-8AFAAEBE5CCE}"/>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885B515A-DFE9-4888-08AA-2428B3F29BFA}"/>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83E23702-7D6D-A1A1-44A9-9DDE42BF6435}"/>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2E36D949-760D-DDA4-8117-CE82E5D68371}"/>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9941BD31-8907-A7DD-4CEC-5099DD4776E8}"/>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3EF9CAFF-D536-8BC2-6597-851BDE4EE2E3}"/>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C1E2B5A1-23E0-E749-CD4A-9697534393F0}"/>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1205EF19-2315-711A-C950-D192EB67EDA3}"/>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2C57423A-9168-14DB-520C-3801217ABDC0}"/>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5A24F368-3569-5EBA-815A-16E332B5DC77}"/>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B5941767-C0D5-79B1-34CA-91C02424BA96}"/>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3F2EF447-CAC5-B798-E433-F9B767647AF1}"/>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60C72A4F-CC36-87B2-28C7-D704C75E4A79}"/>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336AD8C9-6EE0-C03D-B93A-237B26A5BA11}"/>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FDEE46AB-9FA4-C35A-9C4E-B973C5AFC236}"/>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D8DE4545-2CB5-A39F-23E3-89C648B0E7A1}"/>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78633C94-89A3-82FC-1351-D239C1869E33}"/>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F9FA9671-0A4E-3083-E166-6039CC798A83}"/>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DA062F34-D47C-ABDA-61B8-36C712861EC4}"/>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C47CE250-CDB5-FC71-B783-A0D045239782}"/>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D7FB7D91-ECA9-04A4-35E8-36F06285A4F6}"/>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98BAE630-4F98-57DB-BE1F-25459717116E}"/>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E964BDFC-FE7C-0785-4D88-2FDDD75944D8}"/>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59D9E8EC-9F91-0FAE-39A3-CBC676E8E9D6}"/>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78A226A5-3B87-BBF7-99BD-F0F9F0DAC16F}"/>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93BCC8D4-6172-7264-F3DC-385749C9169B}"/>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F2348400-F42C-792A-041C-09F895AB3BE3}"/>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60785403-1FB3-0DB4-BAA6-29573DC54722}"/>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0FEE0C91-3272-AE9E-759A-60B731AB962F}"/>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75A8F9B8-01E9-A023-94B3-7F182FBFFEA7}"/>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3446FA24-1774-CE7E-9976-D028CAC79742}"/>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AC15547C-E0E7-2D91-6386-E580CD59676E}"/>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605D2569-2991-AE24-2DB1-F5F08497C647}"/>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65647CA0-8CA2-561E-0301-1E2DD87B8503}"/>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8BA6D352-C3C6-2529-A03A-6ACE32CB308D}"/>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A37B8BB4-07E7-2DCE-159E-D5E7863C814B}"/>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31A358FB-C9E2-CBB6-9066-ED432FA77963}"/>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2A50AAA3-62E0-E2C4-A835-C3E6BB11658C}"/>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DA6EDB0B-ECBE-FF66-52EB-DF82C011104E}"/>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CE5FA6F2-94E0-52D5-B5F2-0505A0DDA14C}"/>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6B8D3CD3-EDE0-EE1E-FBA6-109C7EAEA4E9}"/>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08E969B1-5223-E775-B92B-1F1D764A052E}"/>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DEB4ACB2-34E4-081E-313F-B8F62E49B227}"/>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BD3C3754-413A-8E33-4D60-DAC8F1F7CD23}"/>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4F8D7A60-EDA2-5FCE-18D8-9D8756A923FA}"/>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01782476-FF34-00A0-AB1D-0F0010ABD899}"/>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ACB46D42-B7AD-ECB9-1DE1-B4F8979C0828}"/>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1EA47AA2-DEE5-5287-B672-E040AE05A022}"/>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2EED0C1B-582E-A3ED-467D-443E52D60ADC}"/>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93C6336A-F234-E13D-8447-D01FCA550A94}"/>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4B394297-F64E-AD55-7678-A49A73C847AC}"/>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73EFDC2F-7DB5-D7FC-709A-2253D012E2F0}"/>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6A8057B8-9D29-2C04-CD80-997225447380}"/>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987CD75E-4717-98DA-66E9-6A2BA84B9CEC}"/>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686A0781-1C26-8133-81ED-FD4C6C16A735}"/>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5398FA82-D2A7-A606-D4FE-94C23CE2FB5F}"/>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40B10481-3080-48A0-7BB3-A079FAE3FF38}"/>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A2C1635F-5D51-E8A1-9DF1-DE9E473E0F8F}"/>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050F8A7E-7DD0-D2D5-AF91-D48EBFD1F179}"/>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4368C9F0-F647-6B9D-C91C-70AF02144A2C}"/>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2F83C658-DCF7-4116-58F4-1E4241FBAE9A}"/>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68B5C6B2-5686-F5A8-D9E7-6F775D40463A}"/>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D24BFB3E-E4C4-1031-EDE2-F89663D6A2DB}"/>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7097DE8D-9359-069C-D2DA-5BF7E5AF62D6}"/>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F1D03962-E7D8-AC2A-38A6-0F5B5B7FD23C}"/>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F3924ABA-4F47-A1E9-FD21-805A39CE0723}"/>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A76D14DD-C452-F2A4-1F43-6C23BCA79D3B}"/>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700070AD-01CD-B281-84D0-3EC03AA48A8F}"/>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4D9129DE-2CD5-18F8-A041-1EA59B688741}"/>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944E1F5F-A5DB-C7B3-0F31-EFD6C304E5CA}"/>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BF65F1AB-9F49-4338-3502-5C40E934F99B}"/>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B973077C-7CD6-69F9-D02E-6D6C4896D3A0}"/>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BF8CC596-DF0E-6433-491E-880773C46BA6}"/>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AD30E8B3-9DA7-6E3E-B65A-4970462753AB}"/>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FBC9F428-AEC0-BEF2-674B-D58C548B2489}"/>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C9C8CE49-E7B5-9BDF-F4B8-605895237857}"/>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EAC92126-23CC-7BC4-15EA-0A0246706EB8}"/>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A5F17DF0-922D-41FC-BC2C-88E2702EA745}"/>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102B355D-A909-E596-A76B-81D1E372BE26}"/>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7F3D776E-4F82-7761-111D-1FA345A3B0AC}"/>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9CCD1267-D828-CFD4-A476-F29FAFC82737}"/>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8575C384-BA94-C458-19BB-7556EA73C3E0}"/>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E69B3D04-C1BC-7F4E-BFF4-C2B0F751BE6D}"/>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47043625-12D6-A6DE-C280-5910823D0175}"/>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C1096A94-4F75-0F5D-726A-F36670684672}"/>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D7BB161A-691C-C8CC-E752-233295C8AB5D}"/>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1F1A39BB-BE20-42AF-8C65-CA4657A97EAC}"/>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0C0D7CFD-4AD6-FD1A-CBB2-7A1D715FF4FA}"/>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79F94A14-089C-009C-C059-0CCE211BE0F4}"/>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3301D138-26D0-5529-3E40-CE7C2BAA2660}"/>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368AAEDE-AB30-3936-34CB-A4CEC50F1181}"/>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FDC8C368-32E6-66BF-C5C2-C78C0E0FD1BF}"/>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3E58923C-992B-6C9E-DEFD-80877DE7F211}"/>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7AFD560E-0488-C203-5ECC-AF1FB6C78BB4}"/>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2A125F10-C0C3-EE8A-7A68-1552BF5EEA0A}"/>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DDF322B1-3812-514D-0B7F-CED14050AA32}"/>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28A892F1-D3FA-B819-FB7F-8029AD9FF05B}"/>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0852EDED-2B16-BA0B-E1E2-F128EB243CB8}"/>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765EBE90-A738-DF4C-5E78-3C968A22C846}"/>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87B975E6-63A3-A3C2-1063-9F8F83833DD4}"/>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2EFB0EBB-1236-C203-1BD6-2A4FF475F577}"/>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6B6FAB97-9AEC-C9ED-2BF3-AFEEFFA55BA0}"/>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1CD22A4E-049F-A33E-7CAA-1FBC8260F7E7}"/>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DC64B26C-3C1F-8199-D401-EA55BCC38EB4}"/>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792C6272-8847-3321-8D58-50F26B46D1CD}"/>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DF5670D8-3FA5-AD15-D6F4-78532CAAF40F}"/>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3F96D94B-95D1-AFB7-5532-541FB13FB325}"/>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482B6E6F-1C4B-5BD2-8738-B4D0C2049989}"/>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029E5874-728F-EA5D-A7D8-3FC022CFDEE4}"/>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601C8971-73A1-C45A-0781-649D98276A17}"/>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D9AEB14A-04D2-18A7-7E2F-514E7D085416}"/>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C226521E-6655-64E6-BCEE-C15B6363935D}"/>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D317B195-9132-4F85-A275-209FEE8CAE3D}"/>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CAAB8A44-C12E-B2A6-7463-4AEA87427113}"/>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F75E039A-9DEA-47EF-49C6-A01E5A601FDB}"/>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9921BDBD-2E22-C634-8501-8A040A2C28E7}"/>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A962A415-B138-92A9-ACE1-E654CF7F8EBE}"/>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0810CB9E-40D7-4D48-C99F-193DDC040FE3}"/>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8A402D26-E05F-88F0-19CB-D549E7815F4E}"/>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FD360CEA-CC16-B3DF-CA21-AFF4E171628C}"/>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5C65E5C5-D0D7-10C8-7C29-0D9E2758FD2B}"/>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AB8729ED-82F8-ED7C-E5F8-6A0AAFDE66DA}"/>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1033BA69-3C12-6D18-067F-B94F3DD6663A}"/>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BE9F6D22-5AF0-CB74-BB8C-F7D9B1AFBB5D}"/>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05524B99-C50A-0FF2-53A0-9F5823FEB025}"/>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68BFF525-EB17-6E58-1C6A-B970EC522B8E}"/>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2C09FB36-BAB4-1BE7-7672-C210A9E5E892}"/>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E8E52E0A-70E8-B8C6-2FD2-22D4AD5CD9E3}"/>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F7D8CF0A-FAAA-1A6A-B408-ED203F1D707B}"/>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903590AF-8B90-AD27-136B-3918953FBBE7}"/>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33E5F546-DA79-8CA0-BEF0-7FFD44214201}"/>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7C956C23-B633-E936-0014-0FA320C0CB4F}"/>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9D43114A-21FA-15C5-E778-50B319892B89}"/>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1BFF29F7-869B-7225-DFB4-85950509A990}"/>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B617483C-B353-92C2-BD5B-92DF99940E54}"/>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9C143A84-A434-02EF-5378-7E4494376755}"/>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B6DC7B5A-D1EF-9511-B914-F636273CFC1E}"/>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3F90EA16-90BE-D54E-A213-89ABE9534DE6}"/>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48ACC900-A530-1F85-A4DA-F7FD97950ED4}"/>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A7594377-B1AC-6A1B-43EF-79C3CC438F59}"/>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6E0590C5-398D-0931-E463-E0E7F4699C29}"/>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BAAEE814-6035-EB8D-4AB1-9FD29CD32692}"/>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4AF8C58A-48D2-69A5-72F5-A0BFC8DFA160}"/>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97F976A5-8629-4086-FED2-4ECE40817CEC}"/>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46E0FDB3-E27E-E609-B4F5-4FFC7ACCB85F}"/>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4B62FD20-B938-87C5-39E5-DE31D924A7F6}"/>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C37FA357-E441-9E8B-DBC7-31753940C2C9}"/>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E602D335-7212-64AF-9C6F-38780E43F787}"/>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C55426EA-8771-A79D-F689-DBB4C041F600}"/>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EBF9D4A5-5C2F-0C6F-BBA3-13C395E80BC6}"/>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01B830F0-5732-4720-CDC4-578AF509008E}"/>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3B0415FD-D8AC-BEEC-F755-D702F113D0A1}"/>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D71C8A7C-7098-393C-3013-CEEBA475D874}"/>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E9A5B159-5E57-6045-51CF-8D688018D695}"/>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77464078-7018-006D-E0D9-4FBFA3805CB6}"/>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252D059D-340D-9172-6407-8637453544E4}"/>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E26C6E5B-DB78-3473-2020-D2D417DA5E15}"/>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6F633A54-EEE3-D260-1290-A8B8A05568CF}"/>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621ECA55-E44D-4DEC-8512-8911C6CED662}"/>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FCA48AEF-1745-CAF6-3F47-CDD798A5581A}"/>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CC32C4A1-2FC4-E848-4EDC-3CD07B295848}"/>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5721B811-4EFF-208E-C191-929969605905}"/>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A30C6031-56E9-BBDE-F2E4-A2195853E42F}"/>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3A82A59B-E150-9838-CE59-824A56272DF7}"/>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30DD0C08-DA0B-5373-8073-2C7B374A5A50}"/>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E3ACA644-FDAB-7954-822A-883304ED2ABD}"/>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7DFA69CF-79CE-D25C-0766-A65FC17FF7A3}"/>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13B691DC-B8CC-007B-15C1-91B47B191E90}"/>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91C05F76-49AF-86BA-F8D8-A66A66D6B832}"/>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603B42C6-AD42-FF0F-7865-C6B910C32B6D}"/>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9B3D8C33-5530-B34F-40B6-C20EA5FB05DB}"/>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489B22CA-4F64-BC32-0F11-B04DF57BA736}"/>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7B14B7AD-07D8-2109-3B4C-D83D0ED01B58}"/>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1EE1A42E-A167-CA11-282D-2C5FC9F46B1B}"/>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F14236AE-A753-2B07-B019-C0EBBC367AE8}"/>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4A3BB93A-7685-A1F6-02BF-0754E64F4461}"/>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099ECBD9-228F-9037-1CA4-9B3634D84B06}"/>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304E1821-045B-9474-C766-EDC10BA37B14}"/>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B661BEC7-7ADC-7AFF-5193-EDA8824D7F9D}"/>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25E83BAA-5924-D135-E5D4-1B610C4A095B}"/>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23C7F30E-4BD5-583C-5756-E3D9D2DCBD4F}"/>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C25ED9C1-53F2-1052-EA72-9C058473B550}"/>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B448ABEC-B311-DE82-BA90-3B323FBE7BE8}"/>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92AED3F1-2CD8-6A5D-CECB-3AE6265519BE}"/>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C17DE9AB-0F5D-62BF-3F47-3C2FFD1911BC}"/>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70C33B48-4C81-DD58-E16E-A772BBD344C6}"/>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6884250D-717B-8058-F8C2-36932298719C}"/>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FB65DBF7-DEC2-BE9B-41C9-5469FF18A539}"/>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C32B7D47-8B0F-6ECF-3445-C93D120296F3}"/>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4BC4BA72-90DA-7BDD-EA8F-8457673DF7A4}"/>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658C8DD6-EAD6-713E-1850-941B27107DA7}"/>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E6FFFD64-613D-5BF7-37D7-C00CD872CEDF}"/>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7C38A788-D3B9-18F2-2420-3B66E4A83024}"/>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7013C5EE-499E-8CA0-D944-068D2637C4AF}"/>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54FB0E54-1B3E-356E-1B8F-ABAAE5945DE6}"/>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38205DE3-561E-B7EA-2F48-A66319FD7EB0}"/>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9F901040-4333-3AA1-B382-D52BEF746758}"/>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0516F6D3-73B7-E81D-78EA-6E4F6636CB27}"/>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70E3713B-F73C-7363-42CC-0FABEEEB6246}"/>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B2998132-259B-6E8C-C7B5-3AAD7686B343}"/>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20426375-F3DA-D295-CB43-743237078BCA}"/>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EDB37FD3-C020-BCF4-A485-C44A11631FB8}"/>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98DF8F37-1509-FC9A-E758-C70D0FBDACD6}"/>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1890CA32-8AEB-2DCA-871F-E06A5EBAA1A7}"/>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F79DD247-257E-C4BB-99B5-150BB2B804BD}"/>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05710589-5D72-65A3-4A9C-17CF07D5FF49}"/>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05C4DF14-3A19-6CF4-CD3D-F5E3181D0662}"/>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4A3831F5-83FE-8806-C5CB-5E46EA727DCE}"/>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7AAA8CAF-138D-6F1B-E4E5-62B31A278D21}"/>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5C10ED95-0C60-46D2-A43E-F8B9AFE597D4}"/>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0B66AE85-5BED-883E-53C0-10A80BB70397}"/>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619B8464-94DE-E87F-5EC8-A34D343FC4D4}"/>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23D12D8D-0A6C-76FF-F46A-E610020DB826}"/>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981484A9-C9B5-6B02-34B4-8F7A30EFBFB1}"/>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F66769CE-72C3-CB82-8CFE-13A276FD186D}"/>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81C584DC-547F-49AF-8EFC-7EEEAA976E53}"/>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5C5D9DD0-E480-1E84-62E5-07DAE056AB6E}"/>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A4A414AD-E919-33FE-4DB1-EE3155D9FBA9}"/>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FECE1ABD-2DB6-ABFD-2676-F770D128832B}"/>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14D8DF23-8E65-B81B-6696-52B5BCFD4344}"/>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D28F777E-FB17-58DF-F551-BA69DEBD5F83}"/>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87A1A3FD-395B-5D06-25B9-D1B0339B6618}"/>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A62B1331-EFAC-407E-95CF-3EE542882351}"/>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83BE628B-00BB-7245-F8A3-95E755756D6D}"/>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7901F952-71D8-B2BA-0162-55082E38883F}"/>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D31FBA1B-5223-3D4D-26BC-B40F97BF423F}"/>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73191FCB-0405-7A3B-502B-EC6A292D8B2B}"/>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C7228280-2D09-EDA7-7192-2B7D5D91F513}"/>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7EE40DED-BA54-3197-A695-6462CB8F5D90}"/>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A087C0AA-2B89-60AE-3D1F-D89A9A6DE223}"/>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C31294FE-DD6B-0745-B94E-62560C844F34}"/>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917157F2-6247-1254-AA74-4A76CFCA7F09}"/>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EE6B701F-B8A7-402C-1B30-8A7E084C2C2F}"/>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6BEA1186-BDB4-7AEA-6397-87507A553FED}"/>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A19AA022-E0F2-5E89-A392-FEF8C7E06057}"/>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53AC7499-E778-70CA-056E-98C966FA5E05}"/>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76FF28ED-67A2-3B48-C005-1406B873EBF8}"/>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EC83DBB5-3D77-0220-0B19-2389A96853E1}"/>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2717C65D-EBB3-BFAB-371A-B83FFD3C1C0A}"/>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2988C9F3-4A4B-7D13-FFEE-41D3BB3D2DE8}"/>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4A5ADB7D-8728-8CE3-836E-A94F136365DC}"/>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266FB712-10DF-6947-5DFF-833DD2E2BF73}"/>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C64940FE-C380-5C53-CC1B-C966C7ECC4A4}"/>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93AD067D-0DE8-0E81-0822-7E089D559849}"/>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BBD4D7D3-AB3F-B65E-153E-78543860444F}"/>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4CEC717F-D1A5-E1E3-D19D-DBD6C27844EF}"/>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7375E3C2-6CC2-8A77-715C-8C376AE1F00F}"/>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27A9EFB8-A700-1652-7CB5-4A80BCFE3992}"/>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8CB3D32B-FC78-B435-2993-1F5067126158}"/>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26253300-DCFE-F78A-9F5E-1457D750CCAA}"/>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4011F6E9-2CD5-B561-5D90-2495E29AC0BE}"/>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D2A65C5A-BC7E-D937-9D15-5BE02BFA1344}"/>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9125E1BF-1F00-701E-9FBA-C93E9A5DFE5F}"/>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010630EE-03A3-920A-96C5-353204B5DE33}"/>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6D690A67-8C5B-8B33-7447-FBD644D8BC02}"/>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A857E7B3-85A3-58FF-8AA8-6065AB9A24BB}"/>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6C36CC80-8F99-1320-E933-3028C7BC0115}"/>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280CA3F0-2431-5AA1-E52C-788C51D65858}"/>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921198B0-C306-DBFB-905D-DDF434ED57F7}"/>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618428C5-F98A-DFCD-047E-61612CAFD20C}"/>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4524EFDE-9B34-8373-4311-3C4C1D9CB697}"/>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36F3FF45-0981-1181-1502-A79876082086}"/>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B04B0575-E706-0CBF-59DC-FA5C79A51391}"/>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C5D74320-F0EA-0EC6-C5B5-5B595DCF27DB}"/>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C2639959-543B-3438-2DD5-61C4F99879FB}"/>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D853720E-6CDA-188C-2237-4E4218CC6DB0}"/>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8D4C79FC-F883-2A65-8AD9-FF840208AF6F}"/>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26404B03-7E67-C796-4BC1-0142A8A64F38}"/>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05D6D190-C5DC-57B6-3F68-AB2EBE3739DC}"/>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766058F4-A44C-690F-41B4-DEB9498F25EE}"/>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A23F0B37-AC05-01FA-21AA-AA4C51AC9F16}"/>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4BA57B73-19EA-7173-1998-9332C9E67CC1}"/>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2AE997C7-1782-6578-743C-D7F5FCCA5808}"/>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3A9A01E6-C540-9361-9458-0F6C737A66D6}"/>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B5CA0432-ADAD-4F87-F88D-73011C556ED7}"/>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B7C1F205-0B7E-E726-6FF2-86198BA5D213}"/>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9CFBEC90-1987-DDC7-87B9-84335B05FA9D}"/>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A9601A87-8A7C-5FB2-C816-D01BF1AABF03}"/>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450F3F68-62BC-A07C-6962-38BAD947B458}"/>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5ADE17C6-07E4-FA02-0B38-6CF34F585F4C}"/>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C4474036-D4F6-9B0B-2EA3-1B316DA8C0D1}"/>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818A2D91-92D9-BAD8-EDC1-0F221D50BA85}"/>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1359187A-5C07-034D-BB58-076387A24577}"/>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A82210DA-CB8C-AF83-02B5-9CD48EE78E46}"/>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F24365AA-0517-5455-8A71-53348BBAFBB7}"/>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90A152E5-013D-4DE1-EED5-11B2767D31F0}"/>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23C2020C-2158-08FB-BCFC-27AD1967775B}"/>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808AB2EA-A7CA-F3B2-1B6C-DE6FE8BA2415}"/>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20E62D72-453A-3BB6-762C-B4B8FD9DCB3E}"/>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12E42D22-4547-EF5B-DC27-4862FCAB98EF}"/>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F87557E0-0A4D-C0F8-7889-F7FEC27593E8}"/>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F426D797-52BD-C9BE-020C-DFFD66DA13B4}"/>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FC74F43B-1DF0-6AC5-9530-504BEB7D7D8E}"/>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BC094EF9-3B5F-2092-2868-F61142A3D9BC}"/>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B0A11DCB-45B5-5BC5-E4B8-59015E58D27F}"/>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65789B50-565C-2E4C-AA19-C1A65FFBDD6D}"/>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4BE46A2B-695F-3989-2129-A6DD52DEAD23}"/>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EE4A85E7-D343-DA30-35BC-AC6FB2C32EF3}"/>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1A3C87A8-37BA-91C8-4C52-FA5B70FD3E76}"/>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A24F4838-89E1-DC7B-9F6E-086DE821C655}"/>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81E06B17-EE62-239D-0CAC-1C08E5362732}"/>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88EC1ABE-677B-122F-78C2-E85E14DA0D8C}"/>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04FC5B37-25CE-0CD8-BF0E-7EDE0EB5140A}"/>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EDA164F9-C8D9-9046-CA8E-08AD8A11844F}"/>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0E1E12CD-F9BC-3895-8127-85206726BED5}"/>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2050DD68-2314-D682-A909-532B8AA08261}"/>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C667777E-2C55-E8C3-3306-3BA8D2190186}"/>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7A4CF102-DA2B-8DA5-4B82-E6DD719DA026}"/>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BB6083ED-8DFA-9BC8-C762-D05D69D54C2C}"/>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4C76D70B-7D10-EC34-3923-99DA84C546E1}"/>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90206957-0BB3-4F41-DE12-7EDAA79413FB}"/>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BA450683-91FB-9EC4-F361-CB290C7DA91A}"/>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1487A162-0671-2140-412D-D8BC79BFB5AA}"/>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061A7999-D6EF-9938-65D1-C721F4AF41C2}"/>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96A71639-E98E-4157-3376-36AC1FA16C70}"/>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DFF91604-98D1-5BA7-01E0-19436C2E4ABE}"/>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3B09BF96-0DBB-6DD1-6924-B1A7BDA77FEB}"/>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8F978978-0D68-1D97-BB80-A0F5D64A5D9E}"/>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CED299EF-F51C-5929-F916-B4F72AF35DE7}"/>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690A4F46-3F0F-D24D-DEF0-A557D05EA320}"/>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B681B21D-C540-95C4-5378-56A552804B81}"/>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B7C5971D-B6EE-DC43-AF9E-35E6313770E1}"/>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A09C9FF3-2F08-4769-3715-3333EA6874D8}"/>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E566DC5E-463D-A2B9-AD5C-52FA9FFE7930}"/>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35224F27-E142-FB68-9E0A-89CBB0BE5C96}"/>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523B61AD-5F1C-6FD1-C3FE-354D1F177DAA}"/>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BD50174E-4B04-985C-7369-23416A0312C3}"/>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8C3AE17B-73CD-E01F-EAA0-7FDA1BEED3F5}"/>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3EA826F5-13D8-0DB6-B5ED-9A0A2F5DD795}"/>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AA0DA38C-8F56-2EE4-52A8-ACE53EB93734}"/>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271D864C-6473-5FA5-B7EF-4794C8183B54}"/>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9B381C5D-1997-78C8-3FFD-70CE0DDABB01}"/>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B97CA92E-DDC7-1BC5-BD9C-FC42173D2F3C}"/>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9D1C6443-0EE8-284C-CA5D-425C4F9FBC0E}"/>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B7C33508-0926-DE0A-3F5C-1EA7275D00AA}"/>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F4C1C526-60E5-C0D2-C917-A64A9C90B106}"/>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38A6C293-97EA-B8B6-D484-AF35BDE98488}"/>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B9971E2D-0D43-817C-B3A5-79AC123AE02D}"/>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F5D52A2E-DDA8-1BA5-9E31-769A572C0A26}"/>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F4E54B77-EADB-806A-873E-0A6EA2696A3D}"/>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E56E372F-DCDD-C178-6C98-043EB3D9DBF3}"/>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9BE3BFFF-A2B2-FC39-80AE-9186221E849C}"/>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A8FAD24D-F337-97F5-FB8F-9113B3BA3293}"/>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148D9A62-8560-7A61-5F16-34782CFD9EB3}"/>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9FB4ABA6-D77B-0064-4FAF-5782EBB895D6}"/>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110CF689-96B1-8F80-4CDF-BA08036CD5B6}"/>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174300B3-897E-7492-269E-B6A84C117EAC}"/>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431163D1-3D83-C188-2BFD-13D53D402343}"/>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087750DE-0AF8-019B-63F9-5B10028E5348}"/>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4175F74F-5FDB-DDDC-38D6-CCAB4E8F2424}"/>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26CD292F-FE55-8EDE-124A-F7F79B1B43F4}"/>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CFE4F006-FFD6-19BF-0477-9708E58AA3BD}"/>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92DA6608-4AD2-1B2A-4FB3-2D37181CB4EC}"/>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48BC8767-71F2-E0C5-2396-E9400ACDF022}"/>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DC146EB5-772B-D26A-7848-1C69125DE92A}"/>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A58A6CAD-4A42-D795-E367-01465F6A275A}"/>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90420B21-B8D1-BF23-9BB5-30A85BB3484B}"/>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EE99DC4D-1D33-16BE-5974-C006DAE33BD9}"/>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C6093445-CF10-289E-DEF7-6351DC191A6C}"/>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79B9F30E-9FEA-DFE0-096A-6C51D6DA29FD}"/>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33B88DB4-30CC-99C9-737C-20DDBF2A8A16}"/>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81703FD8-F3FD-1D38-9070-CBDE42C6D244}"/>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A6BFB50B-9617-6F28-7ABF-FAE1C900B32B}"/>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CDB81E0B-D2B6-FCFE-61AA-9690A4694812}"/>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85E181CA-07D1-7976-212F-2BF64FCEA4E1}"/>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853DA450-F834-0ABB-4792-9E57ABA2120E}"/>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D2A5185F-C54C-3B61-4CC8-9FEEF03381BC}"/>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5BB2C16D-C729-7243-6FEC-8125D94C48A0}"/>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E718AEED-99F4-45FE-BECB-AE5315CD4016}"/>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67AE6A03-F5C1-9EC0-2432-E25DB75EB401}"/>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CD2397E2-D078-A5B5-68D3-A2A88B855962}"/>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02AAEE76-CDE6-3B6D-4D3C-8A73DA03D991}"/>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61FAB0D7-5523-5FB0-84EF-4DD5AF959485}"/>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62E440CD-D3DE-29BD-63E8-E44E0B4A8082}"/>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0F0099DE-EBD8-9FF2-C75F-F488D3527621}"/>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0834D452-D4FE-45B2-3FE0-B73A1FD5E805}"/>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7ABAAC8C-ED57-5E05-F554-82C55D534E91}"/>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7385F38D-C894-6251-D45B-B87946E4910D}"/>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7B9597BC-E8BA-97CF-05E7-9B5191516609}"/>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A3EEC60B-86BC-D8BF-812F-E81EF8E8575A}"/>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1D7D1D6C-FAFC-8205-DD1A-A2DF1EDBEB62}"/>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4884EFCF-3961-6A18-C4F0-45E8D15EE064}"/>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FEC88A4B-A934-76B2-0C45-0ED9666F5326}"/>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27B1DFF5-9ED8-F4CF-41CF-A0AA8DEA6F29}"/>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5F317F0B-327C-3DD2-F9A1-F42F99943FC4}"/>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38CDE27A-D284-B83D-30E1-511F62E4A407}"/>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DABC58E7-FFA2-694B-77D6-53E24D0005D1}"/>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8E9F42D0-53C5-47A4-8DD3-7165F7FCBEFB}"/>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1F400585-FDE4-302A-B9B9-E96457E9FECB}"/>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1B328A20-4CC7-902C-081C-85E27275D4DA}"/>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DBCAD95C-0CE1-9678-A062-5418A1C4559F}"/>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92998AA8-F361-BB26-46C9-817A9A0F9E80}"/>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9AF194D4-239E-5D2C-3A09-00DF50095A88}"/>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166283FA-D302-DD6C-78AD-788AD3F178E1}"/>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FC2DE001-344C-F357-BABC-3C568ED0480F}"/>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F739871A-0ED3-CF8F-A272-0AFE0422C03F}"/>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B687A9C7-7091-E6B8-9A8E-AE672E9466E1}"/>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85F537C7-3015-3ABE-259A-044DFEB7A2E2}"/>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B390EDF1-BF1E-68C0-F2B9-1F3643931F8F}"/>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287C7008-8447-65E8-479F-7091066451AF}"/>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61FB6A43-5D96-D643-0597-1BC19EA0FFC9}"/>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9324314D-DF55-06FC-092D-5BE6E2ECC32F}"/>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345B356C-685A-16F9-A96A-97F944127323}"/>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EECF8A6B-E7A6-4F52-F41C-2BC79243B104}"/>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30BCE981-35B4-CD49-A09C-9C525683B5B1}"/>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FA489705-446C-E2A0-C462-29639516D286}"/>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7085F564-59F4-C181-283C-6783CB59A131}"/>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72918A83-21ED-93BD-2707-922EF240EA9F}"/>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9B921F24-B0D2-B0CA-7721-D12301295B8B}"/>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984DC3B6-56E4-28E0-D821-5C980A2C3D1F}"/>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C4FDA030-7029-00E3-C677-D5D3EBD3F924}"/>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14A81E71-EDF1-BA77-A6EA-89E27FF6CED1}"/>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BAA298C6-AA3F-03E2-4712-1DA7776680FE}"/>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854C5C12-71AC-8CFC-CED1-833E68E38FEA}"/>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F34B822D-C956-36B0-AE35-C7F32979682F}"/>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540672EA-EAD8-5D16-B802-027399E083B1}"/>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9D1A50EE-4004-5F51-BE1E-2C718467BEBF}"/>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0317D8B4-5591-E0C6-E854-0E0700C71B7E}"/>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0F8E8007-2F6C-6A19-9435-D84E51C96E8D}"/>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22230571-4B49-713B-0CCE-A8961DFAFBA6}"/>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E11F077E-284F-7BAD-5CBA-B5E3F729B687}"/>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F43AA2B5-2AC0-397C-EA8A-19DEA487BCBC}"/>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9EDFE596-EA7D-122B-C598-2F5AA18A4708}"/>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4FE9DD50-2E2A-AB82-3238-FA88A20CA312}"/>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B87872A6-509E-1193-C3DB-C035E0272C76}"/>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70A359D0-175E-7483-E192-E7BFF6D62964}"/>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A687AE74-0458-8BF9-977C-FF4B9D9C6294}"/>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1F64203D-DD86-92D7-31DE-0EA902EFAD3E}"/>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2E657F9E-899E-6DB8-02E3-669A89E667F1}"/>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73763A59-F757-709B-3789-562AAE56907D}"/>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EC1DFFBA-985C-D7A8-04FE-90FAA1EA6CE5}"/>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D7F549CE-E511-65F0-CE29-1E5F80D2782E}"/>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FFA3B05E-CA4B-2F27-ADDC-970ACFB86C2C}"/>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1D4B98B8-262E-21BB-1037-F22BBCB910BC}"/>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7A741036-CECA-BB51-4099-AA17A2C64D4D}"/>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6E651300-6FFB-1463-EA62-87DE00393FDA}"/>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08A82A01-4D70-9526-D5F2-56675BEF2AE3}"/>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37490543-2A47-F978-837A-C6F8CDD5D617}"/>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9F7177C5-E4D6-CCF7-8433-CA59EEE404BA}"/>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B5293C16-4503-2F9C-A9CA-8A867FEFBFC5}"/>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9C3A1A6A-5C73-6966-A5F7-564BCAAE4EBF}"/>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5E11BC20-A719-8AF1-48AE-50D69BD8F7A9}"/>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D8DC6AC0-1410-674C-F401-908C1A4EF44B}"/>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93AA8B24-039E-593F-3066-11285C547440}"/>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B77A30F3-5F6B-240D-11A5-13F44FF1DA4D}"/>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5EB13595-8D72-2496-92AE-E0021EC70800}"/>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917DC46B-03EE-01CE-907E-917B8B7E5CEA}"/>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915E135C-B15E-EFD0-15B6-0458AB8E52ED}"/>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AFEDA0B5-1377-95B4-619E-BAC473F3F498}"/>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EA64A042-642F-3B12-90A8-308A09DCE119}"/>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C7ECBE71-A424-199F-D135-2887D690FC58}"/>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1CE08B36-1251-0353-6F4A-EA70EB91BB23}"/>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152B78AA-BA8E-C14B-E22F-A49B58F9D67E}"/>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C14E9945-9C83-B69B-85E0-4E50D7B3AE02}"/>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9F724433-E27B-4B2A-4CFC-56181E12A7FB}"/>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CF30A28B-872B-5050-864D-89B41226B98C}"/>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7039AFB3-E6CD-C0E1-9695-B5401625B7E7}"/>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02876EBF-94CB-FCAC-39CD-F2AB1B9DF0E4}"/>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F896FEC3-26E1-232E-9D1D-00C65C34147A}"/>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A4C7ECED-06A8-A509-554C-A4467D17BD1C}"/>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26146FE4-B2DA-2AEB-8091-2FE037004682}"/>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04AE66B4-A001-C6D9-8449-05E57F1B351A}"/>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CDC3BDC1-1C8F-3275-6F56-DDC6F288D50E}"/>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FFFCE668-F102-F635-6A80-D1EE9279C0B7}"/>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E1D4F863-D4CC-DA62-8937-897F2655DEA8}"/>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D622E4FA-53AE-4F05-AF4B-C06D68E51BE1}"/>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28A87B7B-F144-042E-072D-F98FDCD2E29F}"/>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E0EA01CB-A3FB-846D-629D-40572840E29A}"/>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2F787C78-AA6A-3899-1580-380C08E1DDF3}"/>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ADF7B8B6-2B96-3EE2-6635-3727931AB2F7}"/>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6239BD6B-F4BD-97A2-28ED-A6774E915008}"/>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0FB8242B-BAD5-AC4D-A06D-2B595D80FAFD}"/>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C4C538D3-77E7-0492-DAEE-97A7DCA4B804}"/>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0151D19F-BACA-0E55-29FF-829553D27410}"/>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1A8864F5-8D7B-0521-5044-97FE9D2857DE}"/>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33AC8C4E-43B1-A492-A35E-4BC3F6F25ACD}"/>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528A853C-3BCF-2E4E-FC16-A8A2C0CADD37}"/>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10F81CAB-8C38-D295-697C-5D07226A1BB1}"/>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6DB87537-701C-AFA3-D28D-F8E8F164A7FB}"/>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93F8DA83-0B42-C6D3-64B7-850DEAB59CD7}"/>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36FE53B2-D708-0FDF-D319-29FC8339A00A}"/>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247FD4FB-BFE1-2F8A-293E-684303C195D0}"/>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78588870-5E68-2F74-975D-1092AF3A8DB8}"/>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C7EAEA45-764E-EEBB-0B2A-1EC948502379}"/>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D8F0E1ED-0E75-3857-1946-68016521124F}"/>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1616E70B-008C-3F64-B39A-3EC2523A941D}"/>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D18F3D6D-CCF0-8515-7128-B9D5DA0AF15A}"/>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238238BF-F63B-3AA7-E1B7-5DB32087B441}"/>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5B91EDA9-E78A-CF47-37E0-1310FBDBC294}"/>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04C74529-44C5-5D6B-B9D1-429E291BB935}"/>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1942E235-0B82-3CC8-70B1-837A4874A9FE}"/>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3653FABC-0AA7-8BA5-FB35-90C6065D395C}"/>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26BAF3AE-A9E1-7866-A17D-105B171C0AA6}"/>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64FEC068-A341-49A3-6BED-7ED3806AD169}"/>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D6CB5313-C341-06F5-5106-329B2E0A8BF4}"/>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ED16E98A-D4ED-3189-CD08-22215E689FAA}"/>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38672952-93FE-CD9A-A2BB-3C6CDB1A18CC}"/>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F865BE0B-6EBD-ADD1-B2CF-CE7FE34664F6}"/>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0470874B-0D4C-E2BB-ABEF-F37BA1CB94FF}"/>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E103002E-A0A4-E05A-E581-6E553BF0E352}"/>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57118E46-7959-58BD-2B75-75CE175CD1B9}"/>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F60C33C4-505B-8238-6AE1-9B4F6C2CA34C}"/>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98FA1685-EE49-3F05-6F71-88D967627A57}"/>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21C23700-B29F-425D-289E-BEF0230DB695}"/>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30908162-6638-B4C0-F5F5-7AC49CD9455F}"/>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A42D77A1-AD58-71D2-378C-67FA604A49DE}"/>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F427897B-09DA-864C-A65D-975BCBA8D679}"/>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155EB3EE-7C1C-9AFB-4270-75C5196705FC}"/>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66E087B6-7710-6A07-6A2A-CDB90E20AB8A}"/>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4E8F43B1-8670-8BB7-C6C3-ED63E2388D33}"/>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9A0460DC-51BB-5984-85D1-D9840F662645}"/>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E13D03DE-1D2A-9B1C-27F4-CEEF58A28463}"/>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74691436-8755-2E01-A9B5-D4B73975F0FD}"/>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272B3CA3-B43A-FC26-B44D-B7814EE5740B}"/>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8F76964F-44B5-51A1-6474-BEFDF470BCB8}"/>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461A5B8B-53BF-4CC2-705F-B5F711FD7697}"/>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7F7A8DA7-478A-2FF0-C317-1A254FE8CF7E}"/>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CD2E60B2-62F6-ADAF-3C9F-FAE34261E680}"/>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E953AEA6-80A6-6190-DC54-F41415086F69}"/>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FBD1F5EC-DCA2-3746-F7FA-1DB6211DE86C}"/>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2E190189-8F4F-40A9-DC76-48CCE4D3B772}"/>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0E8A18FF-5557-2EBF-2344-C26F35C15065}"/>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69EF6AB8-7194-99A9-1DC9-93303E5ED2A1}"/>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ED13FE72-26FB-7DDA-26D5-D81E6E48BAD5}"/>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A84C773A-355D-9224-8D26-6884527DCA41}"/>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983BE99C-35F9-CD93-C0A9-B943362DB3B1}"/>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85E1223C-1D2D-FF80-9BE3-2AD2CB71E34B}"/>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F2FB800D-386F-4755-A19B-28606F2085B4}"/>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E36C2D9D-C02F-3F04-C310-C6CF3684637A}"/>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E1ACCA45-3AE7-4FEC-15FF-33F2CC166743}"/>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4DC42D6B-1C43-77AD-EC4D-2A6CFF1C4147}"/>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7758E2CE-1231-FA8E-D6C1-E938E47037BE}"/>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5095339D-2F5D-B105-3483-05CDE84BB45B}"/>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6B4785B7-C14E-F50B-292D-1A1782169D0E}"/>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EFCC115F-E19A-AAB5-1DDD-F2A1B8C5D61C}"/>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14C0DA1E-476D-D165-8915-31AF48CD88AA}"/>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B1026D0A-5808-0E45-4B76-44C2A44EECCF}"/>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2C166816-7DD8-4FD8-ED43-0EF090DD4A68}"/>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53D7294E-99D9-B088-295A-191FC9BF33B6}"/>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D236CB11-7302-4AC8-CEDE-2C090F8D301F}"/>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5154183A-21F8-1663-116A-5D5776EDDB1A}"/>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BE38F021-32C2-3E76-E015-C8550145BC1B}"/>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F5479805-E508-6C08-3A10-B929A298096B}"/>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B56911AB-8F42-50A9-90B0-31AAB62004D7}"/>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D4BD829D-3237-1A4D-D3D3-22C3B6720231}"/>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DB79B891-36F7-978F-49D8-7D9A7514F0C6}"/>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98EE9016-2D2E-3808-92A5-93CDB9C9310C}"/>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28E65C24-C7EB-EE8E-8114-481AF6E52A95}"/>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BD15C8C0-4830-EBB4-022C-9D60F424F51B}"/>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E8606929-3E34-5011-21D5-31AC340F0A75}"/>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CD86349A-83E6-4CCF-D72D-DC047753FD99}"/>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99F84B76-F7C1-625A-7135-49EAD486CCBF}"/>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C63E6760-2BC0-6CA4-1B7E-D180E71C451A}"/>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B00C148B-746D-9147-2CE6-89217C93D6DA}"/>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A29A83BA-5967-1332-7D9D-60861923EF52}"/>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AC148DAA-0C02-8220-924A-5ACFF1563123}"/>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0A8FC28D-7FC8-2D33-E324-C11D2096EB64}"/>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2D4F4D7C-47C8-5518-B127-55029FF27DFF}"/>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77599727-C5E4-886B-1495-7F650966605D}"/>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C4A1BEBD-FAA9-95E6-C14B-6F3E6C51E4BA}"/>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B022C56F-AC49-E912-C516-C3703E98FCB4}"/>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0345E1EA-C9BF-7266-0C22-2E48C72A42A7}"/>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E1B6409B-9C3F-3913-0541-57035C263B9A}"/>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149CBE4B-B664-A62D-5F25-C8D2602E6D96}"/>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A4F04B86-DE2F-E4D8-85BC-37065F42D8F8}"/>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92D74B62-60E9-1725-48D4-D3DD22CB1F3E}"/>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1BB31353-8C84-C5C0-328E-0A29D787480E}"/>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82303E17-015B-47C4-E1A5-832003CA8FFB}"/>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9F70542E-4CD6-6E2A-EB1C-23309C64EBD9}"/>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A66D8BDD-B92A-964E-1FE8-7699363D7EEA}"/>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6983613E-1AA5-5A69-BB35-4271F1EC1B7A}"/>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6FA2BDB4-5704-532D-74B3-9D047F546C69}"/>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9A9837E7-CC54-E621-3845-EE47873D7807}"/>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C579B61A-C995-BB15-F02E-6FD41980F755}"/>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2FCB0A42-FC52-AD2B-1A28-73EE57C06AE6}"/>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5E9E76C5-ED82-ECA0-C454-3F0213315626}"/>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C6313B32-1FCE-9C18-1E66-AB7A19883C2F}"/>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7BBEE5B9-AF84-7B01-CAA9-832FF4AE9E34}"/>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6FA0BB32-271E-DD53-4AA0-67E77A27F932}"/>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72BEB3C8-D9B5-9241-99F8-790BCEE249AB}"/>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E4127ED7-4920-6A1F-6BE1-A37E21630254}"/>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43373FD3-51CE-71DE-50ED-963A83DC0D0D}"/>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C41BC79D-2041-65BC-7A68-62356E34958B}"/>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4E8D2498-33FC-6B76-9D90-64DD67D4675F}"/>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6C5A6B64-107F-A882-CDAA-7FE9D9A206DB}"/>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EF3F84CE-3DCF-415D-2BBA-ED15E857F972}"/>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64057CB7-BE25-E961-678A-3909337971D2}"/>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73025658-67BE-62B4-5FE7-66CB2819AE91}"/>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4CD6C3A7-9834-280A-CF29-BB8FBB2A2B10}"/>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6A855A2C-DE94-A73F-3072-9F4F4126CE18}"/>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7A6A7279-9155-382E-DE33-DA9C87D505D6}"/>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DF43F1FA-EC04-29D4-3275-C50380C198BB}"/>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E1D534DF-8B84-B277-C4AB-89F9AFF7F4D6}"/>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377CD4CB-C30D-3B95-2CEF-AFF752800AF6}"/>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9503D951-B54B-F99D-5CBE-4C6FF560D6DA}"/>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5600745D-2198-FA20-B0BC-16E8166A3E55}"/>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00848CFB-D268-DD4B-5141-4A697B6B0D09}"/>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6D5E9C78-8117-2F4A-AE6A-FAF189533292}"/>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F8A07A13-7E70-D439-EB4C-8A5834A26FDD}"/>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97713A0F-B046-F848-0F7D-F54F4064DCEE}"/>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47D3FDDF-23C3-A1D7-1A3D-86D901A4AAAC}"/>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F15A3A0E-339B-B4F3-58ED-6EF0EBBD6854}"/>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2C920CC6-3DE7-239F-12FF-174166945D34}"/>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D36C2BB5-65BB-15E1-3693-E92AA03383F2}"/>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70071394-5509-F01B-682F-A7CDEE48B84C}"/>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75EA57E8-3A21-AA0D-D6EF-FEB6A23F8353}"/>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B62FFCBC-BBB9-ED85-38DF-4A38D9BB43DD}"/>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69C37885-D208-3555-DF22-41CEF1EB634F}"/>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09624F9B-9EC0-64FA-BDF6-CC7375289A92}"/>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466E2315-FD55-3EE3-1CF9-EA39C7932A51}"/>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A07D39C4-2489-E626-1399-17FF84F60EC6}"/>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5849B6AB-DBCA-A513-E0B2-196E5940565F}"/>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DBEDA2DF-91F7-B982-BE18-15A5445B9227}"/>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E691A38B-3580-7A5E-2A60-E2A68EA0D98E}"/>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F4E1A299-D7B0-B37F-57B4-7763EE3AABD8}"/>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C48A68D7-0D00-4867-18DA-9E7AE53EF99D}"/>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D560F864-664C-0A97-A5AB-4A9D5EE40CA9}"/>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F7AF9413-5A26-C5D4-C56F-040C0A4F29E8}"/>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99AFE382-AC49-D64E-B171-345FA118FE17}"/>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77F83D90-0F0F-5558-46C4-BB8E11E9576E}"/>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95CC021F-1844-D317-A6D7-304ED615F664}"/>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D37E3612-ABD7-307B-AA4E-8404C108D38D}"/>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C536B19A-AB57-B375-2268-DBD6E95BB1BF}"/>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7D623FC9-E4F0-2493-4B3E-8BDD0A5A33EB}"/>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16E1C61F-8923-8C58-F16D-044FA380C84C}"/>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655B960D-49D5-C362-5B5D-5518665F3951}"/>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88BEF6C5-FD57-1601-3D0D-5BD9CC9D05AF}"/>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BC420634-61D7-4D3F-D3D1-17FCA8F7FAE9}"/>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6018D5CC-B48F-96D6-9C47-5D16537AC440}"/>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CAA66FF6-60EB-54CB-2CFE-A1821F1BD935}"/>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BD2ABF39-A6B0-6FB4-E497-8C2220F184CA}"/>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8B3287AF-D0E2-25F9-B6EF-266F584551DF}"/>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A6FE0425-7FE4-32A8-3E02-16CA217F293E}"/>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B50BCC6C-D992-4029-F248-BFC4616F65AE}"/>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DBB3F94C-2484-1EFB-91F3-064709D0A757}"/>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67B856BD-7284-78CE-03AC-824D468848A7}"/>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D591DFCD-8E7E-C8BD-B2C2-E5927A5788B6}"/>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DC10A506-9F55-A2CD-6327-58DAF0E9EB2E}"/>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4330918C-790D-47E9-D4C0-54CBFEA6D624}"/>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050AFBC6-B85D-AA07-5E1A-F5DF3A412206}"/>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A7304904-513A-D737-54D6-68F239E64C85}"/>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9D58846B-83E3-8331-737E-218121716603}"/>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2714C520-6DC9-9259-23DC-E396CDA8AE2F}"/>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FBA519BE-0AF6-9EC3-BE1B-EB28DE74A4B7}"/>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5036DCCE-5B61-2989-9921-F1369CC550F0}"/>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6ADD9F0B-21B7-1627-7A03-B84C98CDCE31}"/>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522BD972-2809-E5F6-9156-248490A5C627}"/>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26A8AB61-7953-E09F-094A-EAACE5BDCD01}"/>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12513B85-40B4-9099-D2C6-2DFB4DC18A8B}"/>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10516620-E72E-0C62-2C78-E1FD7F237BFF}"/>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85A34CA6-18AB-5D75-C70C-FBD861ED416F}"/>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59EC5E1F-3A18-1CC7-CC67-B49982CDAFF5}"/>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B961E80D-B71B-64C1-DECB-5A05FA13A23B}"/>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A2FDA8F1-4EF6-C673-A440-2E5C3B7B8844}"/>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0ECEF0B1-8400-6E05-3116-D68CFCF21BC8}"/>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26D58167-CA29-7D11-B750-0C2B13733939}"/>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600C5E11-0A0C-6057-67CC-AC5BC4EAC61C}"/>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2C3099FF-631D-49FC-DF65-956E0A64C35B}"/>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553BCFAB-368C-D3CC-E8AF-7DBF5CFFD48F}"/>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21CB56C5-13AF-C452-3DC9-6750891AF763}"/>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9C741010-E4F8-2602-181C-332D47D0B725}"/>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7C240D1E-891D-3B75-8CD7-0D6BF43CE78E}"/>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933FCCDA-FCCD-604F-D1BF-2B665C7169B4}"/>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D4BDEBD1-5B6B-3E5E-6C81-752D0C6BCAE5}"/>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177F975F-1315-0C34-A2B6-36D83F6F045D}"/>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C60F9F32-964F-CB32-5126-E780A8D99F7E}"/>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CD4280C3-4E2A-1AC1-6BD4-259EB38EFC38}"/>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CAA6D4F1-438A-99C0-EB19-123F68155B75}"/>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E624513D-D074-F35B-3734-912DE952B36E}"/>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F8EF9120-5945-860D-89AE-F4214ED00582}"/>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4B3AE27B-E10E-526A-FD54-E5DB496958B6}"/>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7F4989A2-1354-8ADE-0769-4DB481F9AD84}"/>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D4C55E70-C8B4-79A3-2352-A4C6BE2466B6}"/>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CDDB099B-E036-299B-D54D-825DCB772CC5}"/>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AB6FD123-DA8A-6CCF-2E2A-AF9CB4334E89}"/>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7ECB1031-795A-CE72-631B-A4AD04FC734A}"/>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B77FFA05-34E4-BEA3-67F9-972C3959F4D7}"/>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BBED0B1E-A816-B6B5-BD23-6960DE51ADD6}"/>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1FFFA58E-61A6-0D01-FE71-2F1DA1D94737}"/>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C638B095-20B4-E395-ACF7-A6F97BC9EF19}"/>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931AE1CC-B3B6-CFA6-EFD9-AA356B68F0EF}"/>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F5A205CE-CE6D-EFA5-EEEF-254C3AF002F3}"/>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785B8C14-3A65-14AD-58E6-2C3C9E0C66A9}"/>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88F2B12F-B762-41B2-E65C-98F32662C008}"/>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DC968DA6-02C1-F141-FC62-A68CE339398F}"/>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85232DF3-E201-C509-9CE9-15C1F0867EBB}"/>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E1402CBE-6C8E-4344-84E6-AA4487E958A6}"/>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DE9C6E3D-8AA5-0CE1-3E36-D50BB3F3BC65}"/>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8F1CD605-4D2D-59E0-76A2-585985B7F6D1}"/>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9E1E08F6-8967-030B-30E9-A5732C9E4B8F}"/>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C95FA781-37E7-D634-E1AD-27EEF5148A57}"/>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E4911024-66E2-7DF1-1715-614FC3533A43}"/>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920702C5-A411-4C0B-119B-5316B6EFFF24}"/>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629113EC-A707-EC3E-2E02-FCB44A96950C}"/>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cxnSp>
        <p:nvCxnSpPr>
          <p:cNvPr id="12510" name="Straight Connector 12509">
            <a:extLst>
              <a:ext uri="{FF2B5EF4-FFF2-40B4-BE49-F238E27FC236}">
                <a16:creationId xmlns:a16="http://schemas.microsoft.com/office/drawing/2014/main" id="{C0A43160-0ED8-70DB-EDD3-35DA9CF522BF}"/>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52592EE2-3C96-7C6D-1DBF-BCB01BC2F68A}"/>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0FD95E87-25D9-9FA1-8D9A-792FD2D107AD}"/>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E2760656-2881-EEB1-630A-F052CE8BD8FA}"/>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488AAF20-C7B3-8462-67DE-EFE8E01FBC0A}"/>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8B8D2F59-B95B-DDA4-AA6C-CC25121E0999}"/>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243231FE-CA19-4B4F-6FD1-3B20DEE3B84D}"/>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BAC5EDA9-E320-350F-9667-C069CCDFEABD}"/>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532C41EB-105B-4350-C595-528F55E20AF0}"/>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4FC885C1-7E0B-704B-558C-D801EB51731E}"/>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6F2E94DE-603A-13C0-4639-84028D3EC2E4}"/>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44ACD5F7-177D-19D9-029C-EBBCBD8BEF9A}"/>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DFAED666-3C37-E9A5-D685-56C8F5CEA08D}"/>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E2EBD1D5-DB00-A15D-0A5A-99F767FDE9D5}"/>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BE1C85E6-C4F8-A11C-2677-1AF5FC2B04CC}"/>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3E2AF1A8-0FA9-321E-B8FF-FB0BCBC42CC6}"/>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59A84CCB-0157-0071-416A-114C0EF0F709}"/>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1099F608-E1E2-4013-5770-4121EF921C19}"/>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0E879153-85D3-5528-6481-38FA9B4B4406}"/>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3BDAC2D1-ECA6-313F-294D-B7432199CA01}"/>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15A2C935-581C-DA39-8A5C-86829AFDEDFA}"/>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08954CB9-9FF0-9B74-4B05-B1B92529188C}"/>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925F5B41-666D-03B4-791E-E0D4DB06EBBA}"/>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4B45D693-4FE5-CAFC-6FBB-C05EAF1AD1AF}"/>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DE4763E3-05B5-CEC8-3A18-314823E5E73F}"/>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412F8CDA-96D9-55D7-46A9-5011EE55BFE4}"/>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968F8A6F-CC10-DF29-2FD3-AFB2DADC3894}"/>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E981FC15-6D81-57C9-5C19-8508CA76F61F}"/>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5E173548-FCEB-FDFF-AB68-F796D4F40D53}"/>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0699B2E8-F413-F4BE-6B7B-EB5E1300E404}"/>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2D1B8C51-A757-9DDD-C52F-BE9963CE5C70}"/>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EE6A9B83-EC7C-57AF-5E78-A4CDAE8D27BB}"/>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2FA92838-F801-E15F-9043-D8703B41B1F3}"/>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92249051-50C9-6C23-DEC2-6E1B6567B4FF}"/>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7334987C-BFE5-4148-4915-DE2542058CD5}"/>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8F1ECBF3-6832-0D9B-5373-A91598754014}"/>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D9DADB8C-7140-04DE-8E01-CA1AF3233A16}"/>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36951EB9-5415-D435-A05A-FB1DB74FB5D7}"/>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21806751-E771-8DAD-E2BF-A389414CF9D9}"/>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B8DC75C6-B5E9-92E0-1CAB-66B6A0C8AC91}"/>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5F5E366F-C4B1-E4E3-D0F0-74AEB0C78E32}"/>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FC9439DD-2389-C331-3EAB-1405B1408A6C}"/>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7391ED36-5D5D-9AF2-E5A2-7D9926C819F4}"/>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2EE3CE2F-8ABF-7199-0BC1-114F28915DE1}"/>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B673C089-C5D4-2678-72EA-92A1E06A7FE6}"/>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73AF3F27-FD3B-6D8B-FAFF-5A07BB89C03B}"/>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5513E34A-CB5F-F8D0-3380-EA030CE5E193}"/>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15E171B5-6F70-411D-468E-22ACA24FB763}"/>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D376A711-5B53-ED49-E962-9472DB021743}"/>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814B5991-5367-67D2-B535-9566762CF58C}"/>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C8881D6F-D0B6-EA7F-180F-D968DA2D22A0}"/>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grpSp>
        <p:nvGrpSpPr>
          <p:cNvPr id="14221" name="Group 14220">
            <a:extLst>
              <a:ext uri="{FF2B5EF4-FFF2-40B4-BE49-F238E27FC236}">
                <a16:creationId xmlns:a16="http://schemas.microsoft.com/office/drawing/2014/main" id="{7B4D73CA-19D6-A664-DE09-CD576D50D675}"/>
              </a:ext>
            </a:extLst>
          </p:cNvPr>
          <p:cNvGrpSpPr/>
          <p:nvPr/>
        </p:nvGrpSpPr>
        <p:grpSpPr>
          <a:xfrm>
            <a:off x="696239" y="1479868"/>
            <a:ext cx="6806199" cy="2148615"/>
            <a:chOff x="3509962" y="2519361"/>
            <a:chExt cx="5175122" cy="1828324"/>
          </a:xfrm>
        </p:grpSpPr>
        <p:grpSp>
          <p:nvGrpSpPr>
            <p:cNvPr id="14399" name="Graphic 2151">
              <a:extLst>
                <a:ext uri="{FF2B5EF4-FFF2-40B4-BE49-F238E27FC236}">
                  <a16:creationId xmlns:a16="http://schemas.microsoft.com/office/drawing/2014/main" id="{D55B33C3-BCE5-933E-03E2-CF7FB828BCFD}"/>
                </a:ext>
              </a:extLst>
            </p:cNvPr>
            <p:cNvGrpSpPr/>
            <p:nvPr/>
          </p:nvGrpSpPr>
          <p:grpSpPr>
            <a:xfrm>
              <a:off x="3876674" y="2674810"/>
              <a:ext cx="4808410" cy="1672875"/>
              <a:chOff x="3876674" y="2674810"/>
              <a:chExt cx="4808410" cy="1672875"/>
            </a:xfrm>
          </p:grpSpPr>
          <p:grpSp>
            <p:nvGrpSpPr>
              <p:cNvPr id="14401" name="Graphic 2151">
                <a:extLst>
                  <a:ext uri="{FF2B5EF4-FFF2-40B4-BE49-F238E27FC236}">
                    <a16:creationId xmlns:a16="http://schemas.microsoft.com/office/drawing/2014/main" id="{3A7F2689-0CA5-1206-1C1A-27D7F7B90271}"/>
                  </a:ext>
                </a:extLst>
              </p:cNvPr>
              <p:cNvGrpSpPr/>
              <p:nvPr/>
            </p:nvGrpSpPr>
            <p:grpSpPr>
              <a:xfrm>
                <a:off x="8609361" y="4272057"/>
                <a:ext cx="75723" cy="75628"/>
                <a:chOff x="8609361" y="4272057"/>
                <a:chExt cx="75723" cy="75628"/>
              </a:xfrm>
            </p:grpSpPr>
            <p:sp>
              <p:nvSpPr>
                <p:cNvPr id="14573" name="Freeform: Shape 14572">
                  <a:extLst>
                    <a:ext uri="{FF2B5EF4-FFF2-40B4-BE49-F238E27FC236}">
                      <a16:creationId xmlns:a16="http://schemas.microsoft.com/office/drawing/2014/main" id="{FB441F18-64F7-34D1-5651-26BEF9278684}"/>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74" name="Freeform: Shape 14573">
                  <a:extLst>
                    <a:ext uri="{FF2B5EF4-FFF2-40B4-BE49-F238E27FC236}">
                      <a16:creationId xmlns:a16="http://schemas.microsoft.com/office/drawing/2014/main" id="{BC256FD2-CC23-3AEA-CC43-318945388E4F}"/>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2" name="Graphic 2151">
                <a:extLst>
                  <a:ext uri="{FF2B5EF4-FFF2-40B4-BE49-F238E27FC236}">
                    <a16:creationId xmlns:a16="http://schemas.microsoft.com/office/drawing/2014/main" id="{43DB7E9C-2A53-5DC2-E144-0E9F08C5AD2A}"/>
                  </a:ext>
                </a:extLst>
              </p:cNvPr>
              <p:cNvGrpSpPr/>
              <p:nvPr/>
            </p:nvGrpSpPr>
            <p:grpSpPr>
              <a:xfrm>
                <a:off x="8189975" y="4272057"/>
                <a:ext cx="75628" cy="75628"/>
                <a:chOff x="8189975" y="4272057"/>
                <a:chExt cx="75628" cy="75628"/>
              </a:xfrm>
            </p:grpSpPr>
            <p:sp>
              <p:nvSpPr>
                <p:cNvPr id="14571" name="Freeform: Shape 14570">
                  <a:extLst>
                    <a:ext uri="{FF2B5EF4-FFF2-40B4-BE49-F238E27FC236}">
                      <a16:creationId xmlns:a16="http://schemas.microsoft.com/office/drawing/2014/main" id="{6BA78A35-0EF4-C047-F7EB-0A1F019704A6}"/>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72" name="Freeform: Shape 14571">
                  <a:extLst>
                    <a:ext uri="{FF2B5EF4-FFF2-40B4-BE49-F238E27FC236}">
                      <a16:creationId xmlns:a16="http://schemas.microsoft.com/office/drawing/2014/main" id="{71DCABB7-2BB4-5306-93DC-EF5F9378B641}"/>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3" name="Graphic 2151">
                <a:extLst>
                  <a:ext uri="{FF2B5EF4-FFF2-40B4-BE49-F238E27FC236}">
                    <a16:creationId xmlns:a16="http://schemas.microsoft.com/office/drawing/2014/main" id="{AC3501CF-DF5D-133A-BB78-E844B83E754E}"/>
                  </a:ext>
                </a:extLst>
              </p:cNvPr>
              <p:cNvGrpSpPr/>
              <p:nvPr/>
            </p:nvGrpSpPr>
            <p:grpSpPr>
              <a:xfrm>
                <a:off x="7798402" y="4272057"/>
                <a:ext cx="75723" cy="75628"/>
                <a:chOff x="7798402" y="4272057"/>
                <a:chExt cx="75723" cy="75628"/>
              </a:xfrm>
            </p:grpSpPr>
            <p:sp>
              <p:nvSpPr>
                <p:cNvPr id="14569" name="Freeform: Shape 14568">
                  <a:extLst>
                    <a:ext uri="{FF2B5EF4-FFF2-40B4-BE49-F238E27FC236}">
                      <a16:creationId xmlns:a16="http://schemas.microsoft.com/office/drawing/2014/main" id="{357F5422-0BD2-CBD3-DD6A-B75A01A135D1}"/>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70" name="Freeform: Shape 14569">
                  <a:extLst>
                    <a:ext uri="{FF2B5EF4-FFF2-40B4-BE49-F238E27FC236}">
                      <a16:creationId xmlns:a16="http://schemas.microsoft.com/office/drawing/2014/main" id="{7099D4BD-2AB7-37ED-71F7-4B3A4259F9C2}"/>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4" name="Graphic 2151">
                <a:extLst>
                  <a:ext uri="{FF2B5EF4-FFF2-40B4-BE49-F238E27FC236}">
                    <a16:creationId xmlns:a16="http://schemas.microsoft.com/office/drawing/2014/main" id="{7C54D401-3027-7B2B-B125-12E16FAF4508}"/>
                  </a:ext>
                </a:extLst>
              </p:cNvPr>
              <p:cNvGrpSpPr/>
              <p:nvPr/>
            </p:nvGrpSpPr>
            <p:grpSpPr>
              <a:xfrm>
                <a:off x="7744491" y="4023169"/>
                <a:ext cx="75723" cy="75628"/>
                <a:chOff x="7744491" y="4023169"/>
                <a:chExt cx="75723" cy="75628"/>
              </a:xfrm>
            </p:grpSpPr>
            <p:sp>
              <p:nvSpPr>
                <p:cNvPr id="14567" name="Freeform: Shape 14566">
                  <a:extLst>
                    <a:ext uri="{FF2B5EF4-FFF2-40B4-BE49-F238E27FC236}">
                      <a16:creationId xmlns:a16="http://schemas.microsoft.com/office/drawing/2014/main" id="{14464CD2-0EC0-6BD3-4812-A57B5B3EB257}"/>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68" name="Freeform: Shape 14567">
                  <a:extLst>
                    <a:ext uri="{FF2B5EF4-FFF2-40B4-BE49-F238E27FC236}">
                      <a16:creationId xmlns:a16="http://schemas.microsoft.com/office/drawing/2014/main" id="{2EED89B5-32F7-805B-77A3-0C92E0410FF3}"/>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5" name="Graphic 2151">
                <a:extLst>
                  <a:ext uri="{FF2B5EF4-FFF2-40B4-BE49-F238E27FC236}">
                    <a16:creationId xmlns:a16="http://schemas.microsoft.com/office/drawing/2014/main" id="{D0752BE8-6F2A-661D-4096-256B44054B67}"/>
                  </a:ext>
                </a:extLst>
              </p:cNvPr>
              <p:cNvGrpSpPr/>
              <p:nvPr/>
            </p:nvGrpSpPr>
            <p:grpSpPr>
              <a:xfrm>
                <a:off x="7378445" y="3841337"/>
                <a:ext cx="75723" cy="75723"/>
                <a:chOff x="7378445" y="3841337"/>
                <a:chExt cx="75723" cy="75723"/>
              </a:xfrm>
            </p:grpSpPr>
            <p:sp>
              <p:nvSpPr>
                <p:cNvPr id="14565" name="Freeform: Shape 14564">
                  <a:extLst>
                    <a:ext uri="{FF2B5EF4-FFF2-40B4-BE49-F238E27FC236}">
                      <a16:creationId xmlns:a16="http://schemas.microsoft.com/office/drawing/2014/main" id="{E93844E0-759F-0CB1-DFFC-8C0A5A2AD8DE}"/>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66" name="Freeform: Shape 14565">
                  <a:extLst>
                    <a:ext uri="{FF2B5EF4-FFF2-40B4-BE49-F238E27FC236}">
                      <a16:creationId xmlns:a16="http://schemas.microsoft.com/office/drawing/2014/main" id="{3E491A94-953F-F44D-A3A2-DFE56552B1CA}"/>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6" name="Graphic 2151">
                <a:extLst>
                  <a:ext uri="{FF2B5EF4-FFF2-40B4-BE49-F238E27FC236}">
                    <a16:creationId xmlns:a16="http://schemas.microsoft.com/office/drawing/2014/main" id="{FC42FD99-C5C5-CFC1-2663-B8CC37213D07}"/>
                  </a:ext>
                </a:extLst>
              </p:cNvPr>
              <p:cNvGrpSpPr/>
              <p:nvPr/>
            </p:nvGrpSpPr>
            <p:grpSpPr>
              <a:xfrm>
                <a:off x="7326724" y="3841337"/>
                <a:ext cx="75628" cy="75723"/>
                <a:chOff x="7326724" y="3841337"/>
                <a:chExt cx="75628" cy="75723"/>
              </a:xfrm>
            </p:grpSpPr>
            <p:sp>
              <p:nvSpPr>
                <p:cNvPr id="14563" name="Freeform: Shape 14562">
                  <a:extLst>
                    <a:ext uri="{FF2B5EF4-FFF2-40B4-BE49-F238E27FC236}">
                      <a16:creationId xmlns:a16="http://schemas.microsoft.com/office/drawing/2014/main" id="{70759865-DD2E-5EDF-4572-005FD23DFD3A}"/>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64" name="Freeform: Shape 14563">
                  <a:extLst>
                    <a:ext uri="{FF2B5EF4-FFF2-40B4-BE49-F238E27FC236}">
                      <a16:creationId xmlns:a16="http://schemas.microsoft.com/office/drawing/2014/main" id="{27B62ACE-77B1-D4A2-CF57-7D1CBD17AF7B}"/>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7" name="Graphic 2151">
                <a:extLst>
                  <a:ext uri="{FF2B5EF4-FFF2-40B4-BE49-F238E27FC236}">
                    <a16:creationId xmlns:a16="http://schemas.microsoft.com/office/drawing/2014/main" id="{35647A16-26CA-C759-448D-CEEFF2CBABB1}"/>
                  </a:ext>
                </a:extLst>
              </p:cNvPr>
              <p:cNvGrpSpPr/>
              <p:nvPr/>
            </p:nvGrpSpPr>
            <p:grpSpPr>
              <a:xfrm>
                <a:off x="6939438" y="3743515"/>
                <a:ext cx="75628" cy="75628"/>
                <a:chOff x="6939438" y="3743515"/>
                <a:chExt cx="75628" cy="75628"/>
              </a:xfrm>
            </p:grpSpPr>
            <p:sp>
              <p:nvSpPr>
                <p:cNvPr id="14561" name="Freeform: Shape 14560">
                  <a:extLst>
                    <a:ext uri="{FF2B5EF4-FFF2-40B4-BE49-F238E27FC236}">
                      <a16:creationId xmlns:a16="http://schemas.microsoft.com/office/drawing/2014/main" id="{ECEBAB3A-4CF3-A634-09CA-710A1944C4BF}"/>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62" name="Freeform: Shape 14561">
                  <a:extLst>
                    <a:ext uri="{FF2B5EF4-FFF2-40B4-BE49-F238E27FC236}">
                      <a16:creationId xmlns:a16="http://schemas.microsoft.com/office/drawing/2014/main" id="{9D16D226-75C1-98FD-F991-0901F8F9A05A}"/>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8" name="Graphic 2151">
                <a:extLst>
                  <a:ext uri="{FF2B5EF4-FFF2-40B4-BE49-F238E27FC236}">
                    <a16:creationId xmlns:a16="http://schemas.microsoft.com/office/drawing/2014/main" id="{31EF6A78-7B07-56FD-FBA4-5F57C481492C}"/>
                  </a:ext>
                </a:extLst>
              </p:cNvPr>
              <p:cNvGrpSpPr/>
              <p:nvPr/>
            </p:nvGrpSpPr>
            <p:grpSpPr>
              <a:xfrm>
                <a:off x="6926008" y="3743515"/>
                <a:ext cx="75723" cy="75628"/>
                <a:chOff x="6926008" y="3743515"/>
                <a:chExt cx="75723" cy="75628"/>
              </a:xfrm>
            </p:grpSpPr>
            <p:sp>
              <p:nvSpPr>
                <p:cNvPr id="14559" name="Freeform: Shape 14558">
                  <a:extLst>
                    <a:ext uri="{FF2B5EF4-FFF2-40B4-BE49-F238E27FC236}">
                      <a16:creationId xmlns:a16="http://schemas.microsoft.com/office/drawing/2014/main" id="{AD00D8F5-6D2D-2B05-1153-B244958F18A9}"/>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60" name="Freeform: Shape 14559">
                  <a:extLst>
                    <a:ext uri="{FF2B5EF4-FFF2-40B4-BE49-F238E27FC236}">
                      <a16:creationId xmlns:a16="http://schemas.microsoft.com/office/drawing/2014/main" id="{23903CAA-894B-22A0-C3CD-F83C6D3F8AF0}"/>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09" name="Graphic 2151">
                <a:extLst>
                  <a:ext uri="{FF2B5EF4-FFF2-40B4-BE49-F238E27FC236}">
                    <a16:creationId xmlns:a16="http://schemas.microsoft.com/office/drawing/2014/main" id="{7C3502C4-E4AF-88D1-B338-9F2E9F46822E}"/>
                  </a:ext>
                </a:extLst>
              </p:cNvPr>
              <p:cNvGrpSpPr/>
              <p:nvPr/>
            </p:nvGrpSpPr>
            <p:grpSpPr>
              <a:xfrm>
                <a:off x="6898671" y="3743515"/>
                <a:ext cx="75723" cy="75628"/>
                <a:chOff x="6898671" y="3743515"/>
                <a:chExt cx="75723" cy="75628"/>
              </a:xfrm>
            </p:grpSpPr>
            <p:sp>
              <p:nvSpPr>
                <p:cNvPr id="14557" name="Freeform: Shape 14556">
                  <a:extLst>
                    <a:ext uri="{FF2B5EF4-FFF2-40B4-BE49-F238E27FC236}">
                      <a16:creationId xmlns:a16="http://schemas.microsoft.com/office/drawing/2014/main" id="{87DB00B3-15C1-2922-CB88-C733EA4DD4B7}"/>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58" name="Freeform: Shape 14557">
                  <a:extLst>
                    <a:ext uri="{FF2B5EF4-FFF2-40B4-BE49-F238E27FC236}">
                      <a16:creationId xmlns:a16="http://schemas.microsoft.com/office/drawing/2014/main" id="{09B6C12F-E0AD-73A9-B046-5CA46E06CA8E}"/>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0" name="Graphic 2151">
                <a:extLst>
                  <a:ext uri="{FF2B5EF4-FFF2-40B4-BE49-F238E27FC236}">
                    <a16:creationId xmlns:a16="http://schemas.microsoft.com/office/drawing/2014/main" id="{41A2FAE2-BA6C-402D-F314-63F1C64BFBC6}"/>
                  </a:ext>
                </a:extLst>
              </p:cNvPr>
              <p:cNvGrpSpPr/>
              <p:nvPr/>
            </p:nvGrpSpPr>
            <p:grpSpPr>
              <a:xfrm>
                <a:off x="6882288" y="3743515"/>
                <a:ext cx="75628" cy="75628"/>
                <a:chOff x="6882288" y="3743515"/>
                <a:chExt cx="75628" cy="75628"/>
              </a:xfrm>
            </p:grpSpPr>
            <p:sp>
              <p:nvSpPr>
                <p:cNvPr id="14555" name="Freeform: Shape 14554">
                  <a:extLst>
                    <a:ext uri="{FF2B5EF4-FFF2-40B4-BE49-F238E27FC236}">
                      <a16:creationId xmlns:a16="http://schemas.microsoft.com/office/drawing/2014/main" id="{6C28980E-9D13-A954-FE1F-A31AAEF68F40}"/>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56" name="Freeform: Shape 14555">
                  <a:extLst>
                    <a:ext uri="{FF2B5EF4-FFF2-40B4-BE49-F238E27FC236}">
                      <a16:creationId xmlns:a16="http://schemas.microsoft.com/office/drawing/2014/main" id="{F8E73AD8-E79E-C8F0-4ED7-2E2F4095FB07}"/>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1" name="Graphic 2151">
                <a:extLst>
                  <a:ext uri="{FF2B5EF4-FFF2-40B4-BE49-F238E27FC236}">
                    <a16:creationId xmlns:a16="http://schemas.microsoft.com/office/drawing/2014/main" id="{02B4BE76-4D79-43F6-9E4B-009BC1E2AAE5}"/>
                  </a:ext>
                </a:extLst>
              </p:cNvPr>
              <p:cNvGrpSpPr/>
              <p:nvPr/>
            </p:nvGrpSpPr>
            <p:grpSpPr>
              <a:xfrm>
                <a:off x="6867715" y="3743515"/>
                <a:ext cx="75628" cy="75628"/>
                <a:chOff x="6867715" y="3743515"/>
                <a:chExt cx="75628" cy="75628"/>
              </a:xfrm>
            </p:grpSpPr>
            <p:sp>
              <p:nvSpPr>
                <p:cNvPr id="14553" name="Freeform: Shape 14552">
                  <a:extLst>
                    <a:ext uri="{FF2B5EF4-FFF2-40B4-BE49-F238E27FC236}">
                      <a16:creationId xmlns:a16="http://schemas.microsoft.com/office/drawing/2014/main" id="{BFE9622A-51BD-0E23-9D20-BFD779EAB7FF}"/>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54" name="Freeform: Shape 14553">
                  <a:extLst>
                    <a:ext uri="{FF2B5EF4-FFF2-40B4-BE49-F238E27FC236}">
                      <a16:creationId xmlns:a16="http://schemas.microsoft.com/office/drawing/2014/main" id="{74973318-E66D-1554-761F-1F504A3394C8}"/>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2" name="Graphic 2151">
                <a:extLst>
                  <a:ext uri="{FF2B5EF4-FFF2-40B4-BE49-F238E27FC236}">
                    <a16:creationId xmlns:a16="http://schemas.microsoft.com/office/drawing/2014/main" id="{AA0F4BFD-AB79-B8DD-EF45-16FF458BB991}"/>
                  </a:ext>
                </a:extLst>
              </p:cNvPr>
              <p:cNvGrpSpPr/>
              <p:nvPr/>
            </p:nvGrpSpPr>
            <p:grpSpPr>
              <a:xfrm>
                <a:off x="6496240" y="3743515"/>
                <a:ext cx="75628" cy="75628"/>
                <a:chOff x="6496240" y="3743515"/>
                <a:chExt cx="75628" cy="75628"/>
              </a:xfrm>
            </p:grpSpPr>
            <p:sp>
              <p:nvSpPr>
                <p:cNvPr id="14551" name="Freeform: Shape 14550">
                  <a:extLst>
                    <a:ext uri="{FF2B5EF4-FFF2-40B4-BE49-F238E27FC236}">
                      <a16:creationId xmlns:a16="http://schemas.microsoft.com/office/drawing/2014/main" id="{B22179AD-9318-C6C7-072F-6190A2E4743A}"/>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52" name="Freeform: Shape 14551">
                  <a:extLst>
                    <a:ext uri="{FF2B5EF4-FFF2-40B4-BE49-F238E27FC236}">
                      <a16:creationId xmlns:a16="http://schemas.microsoft.com/office/drawing/2014/main" id="{C8894E5C-B743-A95A-AF09-4A6202E63478}"/>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3" name="Graphic 2151">
                <a:extLst>
                  <a:ext uri="{FF2B5EF4-FFF2-40B4-BE49-F238E27FC236}">
                    <a16:creationId xmlns:a16="http://schemas.microsoft.com/office/drawing/2014/main" id="{90C1CFC9-3250-9505-BE1F-8CA1E0B6969B}"/>
                  </a:ext>
                </a:extLst>
              </p:cNvPr>
              <p:cNvGrpSpPr/>
              <p:nvPr/>
            </p:nvGrpSpPr>
            <p:grpSpPr>
              <a:xfrm>
                <a:off x="6447853" y="3692747"/>
                <a:ext cx="75628" cy="75628"/>
                <a:chOff x="6447853" y="3692747"/>
                <a:chExt cx="75628" cy="75628"/>
              </a:xfrm>
            </p:grpSpPr>
            <p:sp>
              <p:nvSpPr>
                <p:cNvPr id="14549" name="Freeform: Shape 14548">
                  <a:extLst>
                    <a:ext uri="{FF2B5EF4-FFF2-40B4-BE49-F238E27FC236}">
                      <a16:creationId xmlns:a16="http://schemas.microsoft.com/office/drawing/2014/main" id="{EE094649-073E-9B08-1C4C-294191564592}"/>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50" name="Freeform: Shape 14549">
                  <a:extLst>
                    <a:ext uri="{FF2B5EF4-FFF2-40B4-BE49-F238E27FC236}">
                      <a16:creationId xmlns:a16="http://schemas.microsoft.com/office/drawing/2014/main" id="{565424B2-5F4F-CECF-3220-21B3F07B4D7D}"/>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4" name="Graphic 2151">
                <a:extLst>
                  <a:ext uri="{FF2B5EF4-FFF2-40B4-BE49-F238E27FC236}">
                    <a16:creationId xmlns:a16="http://schemas.microsoft.com/office/drawing/2014/main" id="{60DDBF8D-3D27-E0B1-FB97-CD52F042F746}"/>
                  </a:ext>
                </a:extLst>
              </p:cNvPr>
              <p:cNvGrpSpPr/>
              <p:nvPr/>
            </p:nvGrpSpPr>
            <p:grpSpPr>
              <a:xfrm>
                <a:off x="6418039" y="3692747"/>
                <a:ext cx="75723" cy="75628"/>
                <a:chOff x="6418039" y="3692747"/>
                <a:chExt cx="75723" cy="75628"/>
              </a:xfrm>
            </p:grpSpPr>
            <p:sp>
              <p:nvSpPr>
                <p:cNvPr id="14547" name="Freeform: Shape 14546">
                  <a:extLst>
                    <a:ext uri="{FF2B5EF4-FFF2-40B4-BE49-F238E27FC236}">
                      <a16:creationId xmlns:a16="http://schemas.microsoft.com/office/drawing/2014/main" id="{61AE1FAA-8ACA-5471-35CE-C299C995AABA}"/>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48" name="Freeform: Shape 14547">
                  <a:extLst>
                    <a:ext uri="{FF2B5EF4-FFF2-40B4-BE49-F238E27FC236}">
                      <a16:creationId xmlns:a16="http://schemas.microsoft.com/office/drawing/2014/main" id="{7A582AFF-C45A-B972-0D8B-A98AC0B595C1}"/>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5" name="Graphic 2151">
                <a:extLst>
                  <a:ext uri="{FF2B5EF4-FFF2-40B4-BE49-F238E27FC236}">
                    <a16:creationId xmlns:a16="http://schemas.microsoft.com/office/drawing/2014/main" id="{3F98137A-492B-E172-30F8-E76AC6B545FD}"/>
                  </a:ext>
                </a:extLst>
              </p:cNvPr>
              <p:cNvGrpSpPr/>
              <p:nvPr/>
            </p:nvGrpSpPr>
            <p:grpSpPr>
              <a:xfrm>
                <a:off x="6092475" y="3692747"/>
                <a:ext cx="75723" cy="75628"/>
                <a:chOff x="6092475" y="3692747"/>
                <a:chExt cx="75723" cy="75628"/>
              </a:xfrm>
            </p:grpSpPr>
            <p:sp>
              <p:nvSpPr>
                <p:cNvPr id="14545" name="Freeform: Shape 14544">
                  <a:extLst>
                    <a:ext uri="{FF2B5EF4-FFF2-40B4-BE49-F238E27FC236}">
                      <a16:creationId xmlns:a16="http://schemas.microsoft.com/office/drawing/2014/main" id="{D7B5E9E2-9DD6-7632-56E8-B19A4B79461E}"/>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46" name="Freeform: Shape 14545">
                  <a:extLst>
                    <a:ext uri="{FF2B5EF4-FFF2-40B4-BE49-F238E27FC236}">
                      <a16:creationId xmlns:a16="http://schemas.microsoft.com/office/drawing/2014/main" id="{19E6F86D-D538-4746-E4FA-18B9BBD6F41B}"/>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6" name="Graphic 2151">
                <a:extLst>
                  <a:ext uri="{FF2B5EF4-FFF2-40B4-BE49-F238E27FC236}">
                    <a16:creationId xmlns:a16="http://schemas.microsoft.com/office/drawing/2014/main" id="{8E93118C-CAC8-A36C-BDC4-3EA020CFA5D3}"/>
                  </a:ext>
                </a:extLst>
              </p:cNvPr>
              <p:cNvGrpSpPr/>
              <p:nvPr/>
            </p:nvGrpSpPr>
            <p:grpSpPr>
              <a:xfrm>
                <a:off x="6103714" y="3692747"/>
                <a:ext cx="75723" cy="75628"/>
                <a:chOff x="6103714" y="3692747"/>
                <a:chExt cx="75723" cy="75628"/>
              </a:xfrm>
            </p:grpSpPr>
            <p:sp>
              <p:nvSpPr>
                <p:cNvPr id="14543" name="Freeform: Shape 14542">
                  <a:extLst>
                    <a:ext uri="{FF2B5EF4-FFF2-40B4-BE49-F238E27FC236}">
                      <a16:creationId xmlns:a16="http://schemas.microsoft.com/office/drawing/2014/main" id="{4B2AE4C0-1BBC-963F-D55D-478AEA45C22E}"/>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44" name="Freeform: Shape 14543">
                  <a:extLst>
                    <a:ext uri="{FF2B5EF4-FFF2-40B4-BE49-F238E27FC236}">
                      <a16:creationId xmlns:a16="http://schemas.microsoft.com/office/drawing/2014/main" id="{1ABFAE0A-98CA-2FAB-6D29-13917C4CCB2E}"/>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7" name="Graphic 2151">
                <a:extLst>
                  <a:ext uri="{FF2B5EF4-FFF2-40B4-BE49-F238E27FC236}">
                    <a16:creationId xmlns:a16="http://schemas.microsoft.com/office/drawing/2014/main" id="{AA11657E-F0DA-F17F-C7A2-9AFBA4F7E7C0}"/>
                  </a:ext>
                </a:extLst>
              </p:cNvPr>
              <p:cNvGrpSpPr/>
              <p:nvPr/>
            </p:nvGrpSpPr>
            <p:grpSpPr>
              <a:xfrm>
                <a:off x="6202870" y="3692747"/>
                <a:ext cx="75628" cy="75628"/>
                <a:chOff x="6202870" y="3692747"/>
                <a:chExt cx="75628" cy="75628"/>
              </a:xfrm>
            </p:grpSpPr>
            <p:sp>
              <p:nvSpPr>
                <p:cNvPr id="14541" name="Freeform: Shape 14540">
                  <a:extLst>
                    <a:ext uri="{FF2B5EF4-FFF2-40B4-BE49-F238E27FC236}">
                      <a16:creationId xmlns:a16="http://schemas.microsoft.com/office/drawing/2014/main" id="{5AC90E6D-040C-5D62-0F6D-B434B7EAEC7E}"/>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42" name="Freeform: Shape 14541">
                  <a:extLst>
                    <a:ext uri="{FF2B5EF4-FFF2-40B4-BE49-F238E27FC236}">
                      <a16:creationId xmlns:a16="http://schemas.microsoft.com/office/drawing/2014/main" id="{78486040-60B6-826B-2B42-DE9E8DC086A0}"/>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8" name="Graphic 2151">
                <a:extLst>
                  <a:ext uri="{FF2B5EF4-FFF2-40B4-BE49-F238E27FC236}">
                    <a16:creationId xmlns:a16="http://schemas.microsoft.com/office/drawing/2014/main" id="{6FE8F9FD-D48C-2AE6-CF45-D7642D9E9F64}"/>
                  </a:ext>
                </a:extLst>
              </p:cNvPr>
              <p:cNvGrpSpPr/>
              <p:nvPr/>
            </p:nvGrpSpPr>
            <p:grpSpPr>
              <a:xfrm>
                <a:off x="6046279" y="3606736"/>
                <a:ext cx="75723" cy="75628"/>
                <a:chOff x="6046279" y="3606736"/>
                <a:chExt cx="75723" cy="75628"/>
              </a:xfrm>
            </p:grpSpPr>
            <p:sp>
              <p:nvSpPr>
                <p:cNvPr id="14539" name="Freeform: Shape 14538">
                  <a:extLst>
                    <a:ext uri="{FF2B5EF4-FFF2-40B4-BE49-F238E27FC236}">
                      <a16:creationId xmlns:a16="http://schemas.microsoft.com/office/drawing/2014/main" id="{C8450D21-6C4D-1A53-244F-596892998098}"/>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40" name="Freeform: Shape 14539">
                  <a:extLst>
                    <a:ext uri="{FF2B5EF4-FFF2-40B4-BE49-F238E27FC236}">
                      <a16:creationId xmlns:a16="http://schemas.microsoft.com/office/drawing/2014/main" id="{C65BE260-4442-0737-3078-81A8C90F43E2}"/>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19" name="Graphic 2151">
                <a:extLst>
                  <a:ext uri="{FF2B5EF4-FFF2-40B4-BE49-F238E27FC236}">
                    <a16:creationId xmlns:a16="http://schemas.microsoft.com/office/drawing/2014/main" id="{E13C575F-8FDE-B65D-1E62-F2387D91F93F}"/>
                  </a:ext>
                </a:extLst>
              </p:cNvPr>
              <p:cNvGrpSpPr/>
              <p:nvPr/>
            </p:nvGrpSpPr>
            <p:grpSpPr>
              <a:xfrm>
                <a:off x="6038659" y="3570541"/>
                <a:ext cx="75723" cy="75723"/>
                <a:chOff x="6038659" y="3570541"/>
                <a:chExt cx="75723" cy="75723"/>
              </a:xfrm>
            </p:grpSpPr>
            <p:sp>
              <p:nvSpPr>
                <p:cNvPr id="14537" name="Freeform: Shape 14536">
                  <a:extLst>
                    <a:ext uri="{FF2B5EF4-FFF2-40B4-BE49-F238E27FC236}">
                      <a16:creationId xmlns:a16="http://schemas.microsoft.com/office/drawing/2014/main" id="{FC529267-553F-E944-1512-923B3A1880D5}"/>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38" name="Freeform: Shape 14537">
                  <a:extLst>
                    <a:ext uri="{FF2B5EF4-FFF2-40B4-BE49-F238E27FC236}">
                      <a16:creationId xmlns:a16="http://schemas.microsoft.com/office/drawing/2014/main" id="{BACD80B9-5884-D693-E0B7-10D352E46906}"/>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0" name="Graphic 2151">
                <a:extLst>
                  <a:ext uri="{FF2B5EF4-FFF2-40B4-BE49-F238E27FC236}">
                    <a16:creationId xmlns:a16="http://schemas.microsoft.com/office/drawing/2014/main" id="{2F8D26B8-3380-812E-7FE9-1CC61B4F3557}"/>
                  </a:ext>
                </a:extLst>
              </p:cNvPr>
              <p:cNvGrpSpPr/>
              <p:nvPr/>
            </p:nvGrpSpPr>
            <p:grpSpPr>
              <a:xfrm>
                <a:off x="6038659" y="3527012"/>
                <a:ext cx="75723" cy="75723"/>
                <a:chOff x="6038659" y="3527012"/>
                <a:chExt cx="75723" cy="75723"/>
              </a:xfrm>
            </p:grpSpPr>
            <p:sp>
              <p:nvSpPr>
                <p:cNvPr id="14535" name="Freeform: Shape 14534">
                  <a:extLst>
                    <a:ext uri="{FF2B5EF4-FFF2-40B4-BE49-F238E27FC236}">
                      <a16:creationId xmlns:a16="http://schemas.microsoft.com/office/drawing/2014/main" id="{501703B3-C59B-B9CF-9602-36B5EAFC625E}"/>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36" name="Freeform: Shape 14535">
                  <a:extLst>
                    <a:ext uri="{FF2B5EF4-FFF2-40B4-BE49-F238E27FC236}">
                      <a16:creationId xmlns:a16="http://schemas.microsoft.com/office/drawing/2014/main" id="{67488834-8EFD-654D-5AA0-DE67919CABD8}"/>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1" name="Graphic 2151">
                <a:extLst>
                  <a:ext uri="{FF2B5EF4-FFF2-40B4-BE49-F238E27FC236}">
                    <a16:creationId xmlns:a16="http://schemas.microsoft.com/office/drawing/2014/main" id="{C8174911-F5DA-5B5F-8F63-BB48E7E1E618}"/>
                  </a:ext>
                </a:extLst>
              </p:cNvPr>
              <p:cNvGrpSpPr/>
              <p:nvPr/>
            </p:nvGrpSpPr>
            <p:grpSpPr>
              <a:xfrm>
                <a:off x="6031991" y="3491769"/>
                <a:ext cx="75723" cy="75723"/>
                <a:chOff x="6031991" y="3491769"/>
                <a:chExt cx="75723" cy="75723"/>
              </a:xfrm>
            </p:grpSpPr>
            <p:sp>
              <p:nvSpPr>
                <p:cNvPr id="14533" name="Freeform: Shape 14532">
                  <a:extLst>
                    <a:ext uri="{FF2B5EF4-FFF2-40B4-BE49-F238E27FC236}">
                      <a16:creationId xmlns:a16="http://schemas.microsoft.com/office/drawing/2014/main" id="{DC891393-6A0A-8455-7A87-68E4A35E35AF}"/>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34" name="Freeform: Shape 14533">
                  <a:extLst>
                    <a:ext uri="{FF2B5EF4-FFF2-40B4-BE49-F238E27FC236}">
                      <a16:creationId xmlns:a16="http://schemas.microsoft.com/office/drawing/2014/main" id="{5A016E2E-25C9-BE3A-F5C7-63797671B871}"/>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2" name="Graphic 2151">
                <a:extLst>
                  <a:ext uri="{FF2B5EF4-FFF2-40B4-BE49-F238E27FC236}">
                    <a16:creationId xmlns:a16="http://schemas.microsoft.com/office/drawing/2014/main" id="{EE70CEE4-D29C-2291-2767-404E93648CB0}"/>
                  </a:ext>
                </a:extLst>
              </p:cNvPr>
              <p:cNvGrpSpPr/>
              <p:nvPr/>
            </p:nvGrpSpPr>
            <p:grpSpPr>
              <a:xfrm>
                <a:off x="6018942" y="3491769"/>
                <a:ext cx="75628" cy="75723"/>
                <a:chOff x="6018942" y="3491769"/>
                <a:chExt cx="75628" cy="75723"/>
              </a:xfrm>
            </p:grpSpPr>
            <p:sp>
              <p:nvSpPr>
                <p:cNvPr id="14531" name="Freeform: Shape 14530">
                  <a:extLst>
                    <a:ext uri="{FF2B5EF4-FFF2-40B4-BE49-F238E27FC236}">
                      <a16:creationId xmlns:a16="http://schemas.microsoft.com/office/drawing/2014/main" id="{554891CB-68B4-7664-AA0D-B7F73180BFC3}"/>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32" name="Freeform: Shape 14531">
                  <a:extLst>
                    <a:ext uri="{FF2B5EF4-FFF2-40B4-BE49-F238E27FC236}">
                      <a16:creationId xmlns:a16="http://schemas.microsoft.com/office/drawing/2014/main" id="{B40CBAC7-95C2-3430-ECE4-35D62DF73A6C}"/>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3" name="Graphic 2151">
                <a:extLst>
                  <a:ext uri="{FF2B5EF4-FFF2-40B4-BE49-F238E27FC236}">
                    <a16:creationId xmlns:a16="http://schemas.microsoft.com/office/drawing/2014/main" id="{478A0945-BBB4-8E5F-6977-DF3A6ACA9CC5}"/>
                  </a:ext>
                </a:extLst>
              </p:cNvPr>
              <p:cNvGrpSpPr/>
              <p:nvPr/>
            </p:nvGrpSpPr>
            <p:grpSpPr>
              <a:xfrm>
                <a:off x="5642895" y="3463194"/>
                <a:ext cx="75723" cy="75723"/>
                <a:chOff x="5642895" y="3463194"/>
                <a:chExt cx="75723" cy="75723"/>
              </a:xfrm>
            </p:grpSpPr>
            <p:sp>
              <p:nvSpPr>
                <p:cNvPr id="14529" name="Freeform: Shape 14528">
                  <a:extLst>
                    <a:ext uri="{FF2B5EF4-FFF2-40B4-BE49-F238E27FC236}">
                      <a16:creationId xmlns:a16="http://schemas.microsoft.com/office/drawing/2014/main" id="{5DAAFA5B-4F9D-CA23-BC70-5BA99339D4C9}"/>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30" name="Freeform: Shape 14529">
                  <a:extLst>
                    <a:ext uri="{FF2B5EF4-FFF2-40B4-BE49-F238E27FC236}">
                      <a16:creationId xmlns:a16="http://schemas.microsoft.com/office/drawing/2014/main" id="{05A7D715-131B-1550-2B0E-3A44A0171069}"/>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4" name="Graphic 2151">
                <a:extLst>
                  <a:ext uri="{FF2B5EF4-FFF2-40B4-BE49-F238E27FC236}">
                    <a16:creationId xmlns:a16="http://schemas.microsoft.com/office/drawing/2014/main" id="{C4B6FED1-DCDE-C520-E247-3CA657BA91D2}"/>
                  </a:ext>
                </a:extLst>
              </p:cNvPr>
              <p:cNvGrpSpPr/>
              <p:nvPr/>
            </p:nvGrpSpPr>
            <p:grpSpPr>
              <a:xfrm>
                <a:off x="5591174" y="3463194"/>
                <a:ext cx="75723" cy="75723"/>
                <a:chOff x="5591174" y="3463194"/>
                <a:chExt cx="75723" cy="75723"/>
              </a:xfrm>
            </p:grpSpPr>
            <p:sp>
              <p:nvSpPr>
                <p:cNvPr id="14527" name="Freeform: Shape 14526">
                  <a:extLst>
                    <a:ext uri="{FF2B5EF4-FFF2-40B4-BE49-F238E27FC236}">
                      <a16:creationId xmlns:a16="http://schemas.microsoft.com/office/drawing/2014/main" id="{8B7803D0-4960-E8CD-4CE7-59D1B5757E59}"/>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28" name="Freeform: Shape 14527">
                  <a:extLst>
                    <a:ext uri="{FF2B5EF4-FFF2-40B4-BE49-F238E27FC236}">
                      <a16:creationId xmlns:a16="http://schemas.microsoft.com/office/drawing/2014/main" id="{4945EECB-CD07-A7BF-071B-0FAA00BA3DFD}"/>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5" name="Graphic 2151">
                <a:extLst>
                  <a:ext uri="{FF2B5EF4-FFF2-40B4-BE49-F238E27FC236}">
                    <a16:creationId xmlns:a16="http://schemas.microsoft.com/office/drawing/2014/main" id="{0EF557F0-2353-B662-507F-5387A96A566C}"/>
                  </a:ext>
                </a:extLst>
              </p:cNvPr>
              <p:cNvGrpSpPr/>
              <p:nvPr/>
            </p:nvGrpSpPr>
            <p:grpSpPr>
              <a:xfrm>
                <a:off x="5601556" y="3463194"/>
                <a:ext cx="75723" cy="75723"/>
                <a:chOff x="5601556" y="3463194"/>
                <a:chExt cx="75723" cy="75723"/>
              </a:xfrm>
            </p:grpSpPr>
            <p:sp>
              <p:nvSpPr>
                <p:cNvPr id="14525" name="Freeform: Shape 14524">
                  <a:extLst>
                    <a:ext uri="{FF2B5EF4-FFF2-40B4-BE49-F238E27FC236}">
                      <a16:creationId xmlns:a16="http://schemas.microsoft.com/office/drawing/2014/main" id="{79C2BC57-F26D-A556-32E2-95C040291FF1}"/>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26" name="Freeform: Shape 14525">
                  <a:extLst>
                    <a:ext uri="{FF2B5EF4-FFF2-40B4-BE49-F238E27FC236}">
                      <a16:creationId xmlns:a16="http://schemas.microsoft.com/office/drawing/2014/main" id="{1009D1AD-11D0-4858-E865-1444B141290F}"/>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6" name="Graphic 2151">
                <a:extLst>
                  <a:ext uri="{FF2B5EF4-FFF2-40B4-BE49-F238E27FC236}">
                    <a16:creationId xmlns:a16="http://schemas.microsoft.com/office/drawing/2014/main" id="{9E1F8A67-7824-FDBB-C49D-70BDEB3B509A}"/>
                  </a:ext>
                </a:extLst>
              </p:cNvPr>
              <p:cNvGrpSpPr/>
              <p:nvPr/>
            </p:nvGrpSpPr>
            <p:grpSpPr>
              <a:xfrm>
                <a:off x="5346191" y="3324129"/>
                <a:ext cx="75723" cy="75723"/>
                <a:chOff x="5346191" y="3324129"/>
                <a:chExt cx="75723" cy="75723"/>
              </a:xfrm>
            </p:grpSpPr>
            <p:sp>
              <p:nvSpPr>
                <p:cNvPr id="14523" name="Freeform: Shape 14522">
                  <a:extLst>
                    <a:ext uri="{FF2B5EF4-FFF2-40B4-BE49-F238E27FC236}">
                      <a16:creationId xmlns:a16="http://schemas.microsoft.com/office/drawing/2014/main" id="{05CADF24-CB09-1101-6691-50F700D293E4}"/>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24" name="Freeform: Shape 14523">
                  <a:extLst>
                    <a:ext uri="{FF2B5EF4-FFF2-40B4-BE49-F238E27FC236}">
                      <a16:creationId xmlns:a16="http://schemas.microsoft.com/office/drawing/2014/main" id="{96E50875-B6DD-5297-E13B-47A95D78EFBD}"/>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7" name="Graphic 2151">
                <a:extLst>
                  <a:ext uri="{FF2B5EF4-FFF2-40B4-BE49-F238E27FC236}">
                    <a16:creationId xmlns:a16="http://schemas.microsoft.com/office/drawing/2014/main" id="{D4EBB16A-C7F3-5097-A952-D6B74F397CF7}"/>
                  </a:ext>
                </a:extLst>
              </p:cNvPr>
              <p:cNvGrpSpPr/>
              <p:nvPr/>
            </p:nvGrpSpPr>
            <p:grpSpPr>
              <a:xfrm>
                <a:off x="5213889" y="3295078"/>
                <a:ext cx="75628" cy="75723"/>
                <a:chOff x="5213889" y="3295078"/>
                <a:chExt cx="75628" cy="75723"/>
              </a:xfrm>
            </p:grpSpPr>
            <p:sp>
              <p:nvSpPr>
                <p:cNvPr id="14521" name="Freeform: Shape 14520">
                  <a:extLst>
                    <a:ext uri="{FF2B5EF4-FFF2-40B4-BE49-F238E27FC236}">
                      <a16:creationId xmlns:a16="http://schemas.microsoft.com/office/drawing/2014/main" id="{D2332F06-5692-2C1F-1345-A00ACA5976AE}"/>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22" name="Freeform: Shape 14521">
                  <a:extLst>
                    <a:ext uri="{FF2B5EF4-FFF2-40B4-BE49-F238E27FC236}">
                      <a16:creationId xmlns:a16="http://schemas.microsoft.com/office/drawing/2014/main" id="{AB26435C-A216-58ED-3629-86FB92E27C94}"/>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8" name="Graphic 2151">
                <a:extLst>
                  <a:ext uri="{FF2B5EF4-FFF2-40B4-BE49-F238E27FC236}">
                    <a16:creationId xmlns:a16="http://schemas.microsoft.com/office/drawing/2014/main" id="{583BA0C9-2FA6-A820-E4D0-DA82DB3E2519}"/>
                  </a:ext>
                </a:extLst>
              </p:cNvPr>
              <p:cNvGrpSpPr/>
              <p:nvPr/>
            </p:nvGrpSpPr>
            <p:grpSpPr>
              <a:xfrm>
                <a:off x="5184361" y="3295078"/>
                <a:ext cx="75723" cy="75723"/>
                <a:chOff x="5184361" y="3295078"/>
                <a:chExt cx="75723" cy="75723"/>
              </a:xfrm>
            </p:grpSpPr>
            <p:sp>
              <p:nvSpPr>
                <p:cNvPr id="14519" name="Freeform: Shape 14518">
                  <a:extLst>
                    <a:ext uri="{FF2B5EF4-FFF2-40B4-BE49-F238E27FC236}">
                      <a16:creationId xmlns:a16="http://schemas.microsoft.com/office/drawing/2014/main" id="{2BD3F1EF-282F-B54D-83A5-477CF23B47CA}"/>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20" name="Freeform: Shape 14519">
                  <a:extLst>
                    <a:ext uri="{FF2B5EF4-FFF2-40B4-BE49-F238E27FC236}">
                      <a16:creationId xmlns:a16="http://schemas.microsoft.com/office/drawing/2014/main" id="{9B211E2E-0CA4-F008-1590-1F87FFECEBC2}"/>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29" name="Graphic 2151">
                <a:extLst>
                  <a:ext uri="{FF2B5EF4-FFF2-40B4-BE49-F238E27FC236}">
                    <a16:creationId xmlns:a16="http://schemas.microsoft.com/office/drawing/2014/main" id="{C4CD04ED-9175-9684-A4E8-AC1C472033B6}"/>
                  </a:ext>
                </a:extLst>
              </p:cNvPr>
              <p:cNvGrpSpPr/>
              <p:nvPr/>
            </p:nvGrpSpPr>
            <p:grpSpPr>
              <a:xfrm>
                <a:off x="5136736" y="3247072"/>
                <a:ext cx="75723" cy="75628"/>
                <a:chOff x="5136736" y="3247072"/>
                <a:chExt cx="75723" cy="75628"/>
              </a:xfrm>
            </p:grpSpPr>
            <p:sp>
              <p:nvSpPr>
                <p:cNvPr id="14517" name="Freeform: Shape 14516">
                  <a:extLst>
                    <a:ext uri="{FF2B5EF4-FFF2-40B4-BE49-F238E27FC236}">
                      <a16:creationId xmlns:a16="http://schemas.microsoft.com/office/drawing/2014/main" id="{0A325C24-93FE-6752-2A45-521BB955FD2F}"/>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18" name="Freeform: Shape 14517">
                  <a:extLst>
                    <a:ext uri="{FF2B5EF4-FFF2-40B4-BE49-F238E27FC236}">
                      <a16:creationId xmlns:a16="http://schemas.microsoft.com/office/drawing/2014/main" id="{526FA595-079A-591C-AA93-F136E904FE37}"/>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0" name="Graphic 2151">
                <a:extLst>
                  <a:ext uri="{FF2B5EF4-FFF2-40B4-BE49-F238E27FC236}">
                    <a16:creationId xmlns:a16="http://schemas.microsoft.com/office/drawing/2014/main" id="{7584074C-08F2-40D3-3F8B-CDBD32CC2B0B}"/>
                  </a:ext>
                </a:extLst>
              </p:cNvPr>
              <p:cNvGrpSpPr/>
              <p:nvPr/>
            </p:nvGrpSpPr>
            <p:grpSpPr>
              <a:xfrm>
                <a:off x="5062537" y="3222688"/>
                <a:ext cx="75723" cy="75723"/>
                <a:chOff x="5062537" y="3222688"/>
                <a:chExt cx="75723" cy="75723"/>
              </a:xfrm>
            </p:grpSpPr>
            <p:sp>
              <p:nvSpPr>
                <p:cNvPr id="14515" name="Freeform: Shape 14514">
                  <a:extLst>
                    <a:ext uri="{FF2B5EF4-FFF2-40B4-BE49-F238E27FC236}">
                      <a16:creationId xmlns:a16="http://schemas.microsoft.com/office/drawing/2014/main" id="{76A0743D-6D5E-0241-75EE-799E879E33ED}"/>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16" name="Freeform: Shape 14515">
                  <a:extLst>
                    <a:ext uri="{FF2B5EF4-FFF2-40B4-BE49-F238E27FC236}">
                      <a16:creationId xmlns:a16="http://schemas.microsoft.com/office/drawing/2014/main" id="{4BA49F9A-5339-5AFD-FAB4-970EA4DE3093}"/>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1" name="Graphic 2151">
                <a:extLst>
                  <a:ext uri="{FF2B5EF4-FFF2-40B4-BE49-F238E27FC236}">
                    <a16:creationId xmlns:a16="http://schemas.microsoft.com/office/drawing/2014/main" id="{7F7B749B-E053-5E7A-71DF-BC019754C649}"/>
                  </a:ext>
                </a:extLst>
              </p:cNvPr>
              <p:cNvGrpSpPr/>
              <p:nvPr/>
            </p:nvGrpSpPr>
            <p:grpSpPr>
              <a:xfrm>
                <a:off x="4760975" y="3149346"/>
                <a:ext cx="75723" cy="75723"/>
                <a:chOff x="4760975" y="3149346"/>
                <a:chExt cx="75723" cy="75723"/>
              </a:xfrm>
            </p:grpSpPr>
            <p:sp>
              <p:nvSpPr>
                <p:cNvPr id="14513" name="Freeform: Shape 14512">
                  <a:extLst>
                    <a:ext uri="{FF2B5EF4-FFF2-40B4-BE49-F238E27FC236}">
                      <a16:creationId xmlns:a16="http://schemas.microsoft.com/office/drawing/2014/main" id="{62818439-FFB7-F0D0-E84B-6AE47182B8A2}"/>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14" name="Freeform: Shape 14513">
                  <a:extLst>
                    <a:ext uri="{FF2B5EF4-FFF2-40B4-BE49-F238E27FC236}">
                      <a16:creationId xmlns:a16="http://schemas.microsoft.com/office/drawing/2014/main" id="{0F80CD27-DB23-D4E6-C070-83E21AA2301D}"/>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2" name="Graphic 2151">
                <a:extLst>
                  <a:ext uri="{FF2B5EF4-FFF2-40B4-BE49-F238E27FC236}">
                    <a16:creationId xmlns:a16="http://schemas.microsoft.com/office/drawing/2014/main" id="{C7E20FA8-6E40-C509-BB52-F3A19CA5EFB7}"/>
                  </a:ext>
                </a:extLst>
              </p:cNvPr>
              <p:cNvGrpSpPr/>
              <p:nvPr/>
            </p:nvGrpSpPr>
            <p:grpSpPr>
              <a:xfrm>
                <a:off x="4757927" y="3127438"/>
                <a:ext cx="75723" cy="75628"/>
                <a:chOff x="4757927" y="3127438"/>
                <a:chExt cx="75723" cy="75628"/>
              </a:xfrm>
            </p:grpSpPr>
            <p:sp>
              <p:nvSpPr>
                <p:cNvPr id="14511" name="Freeform: Shape 14510">
                  <a:extLst>
                    <a:ext uri="{FF2B5EF4-FFF2-40B4-BE49-F238E27FC236}">
                      <a16:creationId xmlns:a16="http://schemas.microsoft.com/office/drawing/2014/main" id="{F8FFD027-A5D3-B2CA-A00F-989934A54E02}"/>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12" name="Freeform: Shape 14511">
                  <a:extLst>
                    <a:ext uri="{FF2B5EF4-FFF2-40B4-BE49-F238E27FC236}">
                      <a16:creationId xmlns:a16="http://schemas.microsoft.com/office/drawing/2014/main" id="{21EDC408-B160-0E4A-33C0-C058CB61EB0D}"/>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3" name="Graphic 2151">
                <a:extLst>
                  <a:ext uri="{FF2B5EF4-FFF2-40B4-BE49-F238E27FC236}">
                    <a16:creationId xmlns:a16="http://schemas.microsoft.com/office/drawing/2014/main" id="{AE96478A-DA7B-C798-530E-6646A4400B74}"/>
                  </a:ext>
                </a:extLst>
              </p:cNvPr>
              <p:cNvGrpSpPr/>
              <p:nvPr/>
            </p:nvGrpSpPr>
            <p:grpSpPr>
              <a:xfrm>
                <a:off x="4746116" y="3127438"/>
                <a:ext cx="75723" cy="75628"/>
                <a:chOff x="4746116" y="3127438"/>
                <a:chExt cx="75723" cy="75628"/>
              </a:xfrm>
            </p:grpSpPr>
            <p:sp>
              <p:nvSpPr>
                <p:cNvPr id="14509" name="Freeform: Shape 14508">
                  <a:extLst>
                    <a:ext uri="{FF2B5EF4-FFF2-40B4-BE49-F238E27FC236}">
                      <a16:creationId xmlns:a16="http://schemas.microsoft.com/office/drawing/2014/main" id="{7DAE928C-CA9F-3B4E-EFC2-EED816E88DDD}"/>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10" name="Freeform: Shape 14509">
                  <a:extLst>
                    <a:ext uri="{FF2B5EF4-FFF2-40B4-BE49-F238E27FC236}">
                      <a16:creationId xmlns:a16="http://schemas.microsoft.com/office/drawing/2014/main" id="{BCAEE61E-F863-73C5-3479-F31CCB17D0DB}"/>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4" name="Graphic 2151">
                <a:extLst>
                  <a:ext uri="{FF2B5EF4-FFF2-40B4-BE49-F238E27FC236}">
                    <a16:creationId xmlns:a16="http://schemas.microsoft.com/office/drawing/2014/main" id="{E7984950-80D9-9A4D-1B20-38AEFADE37AF}"/>
                  </a:ext>
                </a:extLst>
              </p:cNvPr>
              <p:cNvGrpSpPr/>
              <p:nvPr/>
            </p:nvGrpSpPr>
            <p:grpSpPr>
              <a:xfrm>
                <a:off x="4693538" y="3060192"/>
                <a:ext cx="75723" cy="75723"/>
                <a:chOff x="4693538" y="3060192"/>
                <a:chExt cx="75723" cy="75723"/>
              </a:xfrm>
            </p:grpSpPr>
            <p:sp>
              <p:nvSpPr>
                <p:cNvPr id="14507" name="Freeform: Shape 14506">
                  <a:extLst>
                    <a:ext uri="{FF2B5EF4-FFF2-40B4-BE49-F238E27FC236}">
                      <a16:creationId xmlns:a16="http://schemas.microsoft.com/office/drawing/2014/main" id="{1F121042-3E65-3EF6-C187-112611769758}"/>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08" name="Freeform: Shape 14507">
                  <a:extLst>
                    <a:ext uri="{FF2B5EF4-FFF2-40B4-BE49-F238E27FC236}">
                      <a16:creationId xmlns:a16="http://schemas.microsoft.com/office/drawing/2014/main" id="{B43EB926-8086-B711-5D5A-5F629FA03E9B}"/>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5" name="Graphic 2151">
                <a:extLst>
                  <a:ext uri="{FF2B5EF4-FFF2-40B4-BE49-F238E27FC236}">
                    <a16:creationId xmlns:a16="http://schemas.microsoft.com/office/drawing/2014/main" id="{E7B3699B-FCB6-6AE5-DB4B-56A9C36CADC4}"/>
                  </a:ext>
                </a:extLst>
              </p:cNvPr>
              <p:cNvGrpSpPr/>
              <p:nvPr/>
            </p:nvGrpSpPr>
            <p:grpSpPr>
              <a:xfrm>
                <a:off x="4670392" y="3019806"/>
                <a:ext cx="75723" cy="75628"/>
                <a:chOff x="4670392" y="3019806"/>
                <a:chExt cx="75723" cy="75628"/>
              </a:xfrm>
            </p:grpSpPr>
            <p:sp>
              <p:nvSpPr>
                <p:cNvPr id="14505" name="Freeform: Shape 14504">
                  <a:extLst>
                    <a:ext uri="{FF2B5EF4-FFF2-40B4-BE49-F238E27FC236}">
                      <a16:creationId xmlns:a16="http://schemas.microsoft.com/office/drawing/2014/main" id="{1517E1CB-A7E3-49A7-7501-8AE2F9DABFEF}"/>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06" name="Freeform: Shape 14505">
                  <a:extLst>
                    <a:ext uri="{FF2B5EF4-FFF2-40B4-BE49-F238E27FC236}">
                      <a16:creationId xmlns:a16="http://schemas.microsoft.com/office/drawing/2014/main" id="{8FE48AD0-BBBF-20A2-BC19-A1DD9EF0A12A}"/>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6" name="Graphic 2151">
                <a:extLst>
                  <a:ext uri="{FF2B5EF4-FFF2-40B4-BE49-F238E27FC236}">
                    <a16:creationId xmlns:a16="http://schemas.microsoft.com/office/drawing/2014/main" id="{F4E3AEC0-8D41-BA6B-C5FB-8FFE571DE167}"/>
                  </a:ext>
                </a:extLst>
              </p:cNvPr>
              <p:cNvGrpSpPr/>
              <p:nvPr/>
            </p:nvGrpSpPr>
            <p:grpSpPr>
              <a:xfrm>
                <a:off x="4433029" y="3019806"/>
                <a:ext cx="75628" cy="75628"/>
                <a:chOff x="4433029" y="3019806"/>
                <a:chExt cx="75628" cy="75628"/>
              </a:xfrm>
            </p:grpSpPr>
            <p:sp>
              <p:nvSpPr>
                <p:cNvPr id="14503" name="Freeform: Shape 14502">
                  <a:extLst>
                    <a:ext uri="{FF2B5EF4-FFF2-40B4-BE49-F238E27FC236}">
                      <a16:creationId xmlns:a16="http://schemas.microsoft.com/office/drawing/2014/main" id="{AE6198F0-DAEB-74E1-24F7-9F00E1C401CA}"/>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04" name="Freeform: Shape 14503">
                  <a:extLst>
                    <a:ext uri="{FF2B5EF4-FFF2-40B4-BE49-F238E27FC236}">
                      <a16:creationId xmlns:a16="http://schemas.microsoft.com/office/drawing/2014/main" id="{214B0BC1-28A7-747B-A81D-30B46D352E20}"/>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7" name="Graphic 2151">
                <a:extLst>
                  <a:ext uri="{FF2B5EF4-FFF2-40B4-BE49-F238E27FC236}">
                    <a16:creationId xmlns:a16="http://schemas.microsoft.com/office/drawing/2014/main" id="{EB516EFE-5684-0D8B-74B6-905C567AF6AA}"/>
                  </a:ext>
                </a:extLst>
              </p:cNvPr>
              <p:cNvGrpSpPr/>
              <p:nvPr/>
            </p:nvGrpSpPr>
            <p:grpSpPr>
              <a:xfrm>
                <a:off x="4353019" y="2954083"/>
                <a:ext cx="75723" cy="75723"/>
                <a:chOff x="4353019" y="2954083"/>
                <a:chExt cx="75723" cy="75723"/>
              </a:xfrm>
            </p:grpSpPr>
            <p:sp>
              <p:nvSpPr>
                <p:cNvPr id="14501" name="Freeform: Shape 14500">
                  <a:extLst>
                    <a:ext uri="{FF2B5EF4-FFF2-40B4-BE49-F238E27FC236}">
                      <a16:creationId xmlns:a16="http://schemas.microsoft.com/office/drawing/2014/main" id="{D9A23D88-33A7-B9DA-659F-2FD9CD86992F}"/>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02" name="Freeform: Shape 14501">
                  <a:extLst>
                    <a:ext uri="{FF2B5EF4-FFF2-40B4-BE49-F238E27FC236}">
                      <a16:creationId xmlns:a16="http://schemas.microsoft.com/office/drawing/2014/main" id="{5F268DFE-4F9C-CBD6-DE1A-48373300365D}"/>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8" name="Graphic 2151">
                <a:extLst>
                  <a:ext uri="{FF2B5EF4-FFF2-40B4-BE49-F238E27FC236}">
                    <a16:creationId xmlns:a16="http://schemas.microsoft.com/office/drawing/2014/main" id="{4FC3E358-72DE-9494-A45E-0990FCAFA0B2}"/>
                  </a:ext>
                </a:extLst>
              </p:cNvPr>
              <p:cNvGrpSpPr/>
              <p:nvPr/>
            </p:nvGrpSpPr>
            <p:grpSpPr>
              <a:xfrm>
                <a:off x="4349686" y="2911983"/>
                <a:ext cx="75723" cy="75628"/>
                <a:chOff x="4349686" y="2911983"/>
                <a:chExt cx="75723" cy="75628"/>
              </a:xfrm>
            </p:grpSpPr>
            <p:sp>
              <p:nvSpPr>
                <p:cNvPr id="14499" name="Freeform: Shape 14498">
                  <a:extLst>
                    <a:ext uri="{FF2B5EF4-FFF2-40B4-BE49-F238E27FC236}">
                      <a16:creationId xmlns:a16="http://schemas.microsoft.com/office/drawing/2014/main" id="{60E4E001-7481-24D7-8559-EB6C2845B3CE}"/>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00" name="Freeform: Shape 14499">
                  <a:extLst>
                    <a:ext uri="{FF2B5EF4-FFF2-40B4-BE49-F238E27FC236}">
                      <a16:creationId xmlns:a16="http://schemas.microsoft.com/office/drawing/2014/main" id="{7E8347AC-C613-D085-C897-AEC33F01D9C4}"/>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39" name="Graphic 2151">
                <a:extLst>
                  <a:ext uri="{FF2B5EF4-FFF2-40B4-BE49-F238E27FC236}">
                    <a16:creationId xmlns:a16="http://schemas.microsoft.com/office/drawing/2014/main" id="{FEE054DF-2A6A-8C88-C71B-4707ED5587A7}"/>
                  </a:ext>
                </a:extLst>
              </p:cNvPr>
              <p:cNvGrpSpPr/>
              <p:nvPr/>
            </p:nvGrpSpPr>
            <p:grpSpPr>
              <a:xfrm>
                <a:off x="4341208" y="2892742"/>
                <a:ext cx="75723" cy="75723"/>
                <a:chOff x="4341208" y="2892742"/>
                <a:chExt cx="75723" cy="75723"/>
              </a:xfrm>
            </p:grpSpPr>
            <p:sp>
              <p:nvSpPr>
                <p:cNvPr id="14497" name="Freeform: Shape 14496">
                  <a:extLst>
                    <a:ext uri="{FF2B5EF4-FFF2-40B4-BE49-F238E27FC236}">
                      <a16:creationId xmlns:a16="http://schemas.microsoft.com/office/drawing/2014/main" id="{9D6E1838-9F0C-B9BD-0632-D262D22C5621}"/>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98" name="Freeform: Shape 14497">
                  <a:extLst>
                    <a:ext uri="{FF2B5EF4-FFF2-40B4-BE49-F238E27FC236}">
                      <a16:creationId xmlns:a16="http://schemas.microsoft.com/office/drawing/2014/main" id="{06099C13-A1D9-DFA1-965E-36B6DBB1AC30}"/>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0" name="Graphic 2151">
                <a:extLst>
                  <a:ext uri="{FF2B5EF4-FFF2-40B4-BE49-F238E27FC236}">
                    <a16:creationId xmlns:a16="http://schemas.microsoft.com/office/drawing/2014/main" id="{9F38352A-DBDC-1B58-7175-62EDE85F5914}"/>
                  </a:ext>
                </a:extLst>
              </p:cNvPr>
              <p:cNvGrpSpPr/>
              <p:nvPr/>
            </p:nvGrpSpPr>
            <p:grpSpPr>
              <a:xfrm>
                <a:off x="4326635" y="2882169"/>
                <a:ext cx="75628" cy="75628"/>
                <a:chOff x="4326635" y="2882169"/>
                <a:chExt cx="75628" cy="75628"/>
              </a:xfrm>
            </p:grpSpPr>
            <p:sp>
              <p:nvSpPr>
                <p:cNvPr id="14495" name="Freeform: Shape 14494">
                  <a:extLst>
                    <a:ext uri="{FF2B5EF4-FFF2-40B4-BE49-F238E27FC236}">
                      <a16:creationId xmlns:a16="http://schemas.microsoft.com/office/drawing/2014/main" id="{01CB1195-6B50-D41F-CDA6-62E69ACEB14B}"/>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96" name="Freeform: Shape 14495">
                  <a:extLst>
                    <a:ext uri="{FF2B5EF4-FFF2-40B4-BE49-F238E27FC236}">
                      <a16:creationId xmlns:a16="http://schemas.microsoft.com/office/drawing/2014/main" id="{16C2842F-1050-163F-4125-913B8819A5A6}"/>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1" name="Graphic 2151">
                <a:extLst>
                  <a:ext uri="{FF2B5EF4-FFF2-40B4-BE49-F238E27FC236}">
                    <a16:creationId xmlns:a16="http://schemas.microsoft.com/office/drawing/2014/main" id="{A18C21BC-1019-8634-B1F7-54A879F053A3}"/>
                  </a:ext>
                </a:extLst>
              </p:cNvPr>
              <p:cNvGrpSpPr/>
              <p:nvPr/>
            </p:nvGrpSpPr>
            <p:grpSpPr>
              <a:xfrm>
                <a:off x="4317682" y="2869692"/>
                <a:ext cx="75628" cy="75723"/>
                <a:chOff x="4317682" y="2869692"/>
                <a:chExt cx="75628" cy="75723"/>
              </a:xfrm>
            </p:grpSpPr>
            <p:sp>
              <p:nvSpPr>
                <p:cNvPr id="14493" name="Freeform: Shape 14492">
                  <a:extLst>
                    <a:ext uri="{FF2B5EF4-FFF2-40B4-BE49-F238E27FC236}">
                      <a16:creationId xmlns:a16="http://schemas.microsoft.com/office/drawing/2014/main" id="{9D5E6DC2-9EE6-B0B5-E796-AA9403BCF807}"/>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94" name="Freeform: Shape 14493">
                  <a:extLst>
                    <a:ext uri="{FF2B5EF4-FFF2-40B4-BE49-F238E27FC236}">
                      <a16:creationId xmlns:a16="http://schemas.microsoft.com/office/drawing/2014/main" id="{B400DF29-4A4A-7F62-7128-870D077FB345}"/>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2" name="Graphic 2151">
                <a:extLst>
                  <a:ext uri="{FF2B5EF4-FFF2-40B4-BE49-F238E27FC236}">
                    <a16:creationId xmlns:a16="http://schemas.microsoft.com/office/drawing/2014/main" id="{C4D9F5B1-D37B-5949-6FF9-0CC740320810}"/>
                  </a:ext>
                </a:extLst>
              </p:cNvPr>
              <p:cNvGrpSpPr/>
              <p:nvPr/>
            </p:nvGrpSpPr>
            <p:grpSpPr>
              <a:xfrm>
                <a:off x="4310633" y="2854928"/>
                <a:ext cx="75723" cy="75723"/>
                <a:chOff x="4310633" y="2854928"/>
                <a:chExt cx="75723" cy="75723"/>
              </a:xfrm>
            </p:grpSpPr>
            <p:sp>
              <p:nvSpPr>
                <p:cNvPr id="14491" name="Freeform: Shape 14490">
                  <a:extLst>
                    <a:ext uri="{FF2B5EF4-FFF2-40B4-BE49-F238E27FC236}">
                      <a16:creationId xmlns:a16="http://schemas.microsoft.com/office/drawing/2014/main" id="{F5A5DCFC-7A34-33D8-8C8C-A700FA6A8185}"/>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92" name="Freeform: Shape 14491">
                  <a:extLst>
                    <a:ext uri="{FF2B5EF4-FFF2-40B4-BE49-F238E27FC236}">
                      <a16:creationId xmlns:a16="http://schemas.microsoft.com/office/drawing/2014/main" id="{BEB80DC0-F070-DD6F-B9AC-316E98ACC707}"/>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3" name="Graphic 2151">
                <a:extLst>
                  <a:ext uri="{FF2B5EF4-FFF2-40B4-BE49-F238E27FC236}">
                    <a16:creationId xmlns:a16="http://schemas.microsoft.com/office/drawing/2014/main" id="{FB9E17F8-1A9F-CC11-6EB2-B1593780D9CF}"/>
                  </a:ext>
                </a:extLst>
              </p:cNvPr>
              <p:cNvGrpSpPr/>
              <p:nvPr/>
            </p:nvGrpSpPr>
            <p:grpSpPr>
              <a:xfrm>
                <a:off x="4295488" y="2838069"/>
                <a:ext cx="75628" cy="75723"/>
                <a:chOff x="4295488" y="2838069"/>
                <a:chExt cx="75628" cy="75723"/>
              </a:xfrm>
            </p:grpSpPr>
            <p:sp>
              <p:nvSpPr>
                <p:cNvPr id="14489" name="Freeform: Shape 14488">
                  <a:extLst>
                    <a:ext uri="{FF2B5EF4-FFF2-40B4-BE49-F238E27FC236}">
                      <a16:creationId xmlns:a16="http://schemas.microsoft.com/office/drawing/2014/main" id="{F4040469-9444-E9CB-4B4A-47C012D29A9A}"/>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90" name="Freeform: Shape 14489">
                  <a:extLst>
                    <a:ext uri="{FF2B5EF4-FFF2-40B4-BE49-F238E27FC236}">
                      <a16:creationId xmlns:a16="http://schemas.microsoft.com/office/drawing/2014/main" id="{72B85324-83B6-23F8-5774-525AE89CB658}"/>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4" name="Graphic 2151">
                <a:extLst>
                  <a:ext uri="{FF2B5EF4-FFF2-40B4-BE49-F238E27FC236}">
                    <a16:creationId xmlns:a16="http://schemas.microsoft.com/office/drawing/2014/main" id="{0320B167-60C5-AEED-9AC0-08B0F8D3FB6C}"/>
                  </a:ext>
                </a:extLst>
              </p:cNvPr>
              <p:cNvGrpSpPr/>
              <p:nvPr/>
            </p:nvGrpSpPr>
            <p:grpSpPr>
              <a:xfrm>
                <a:off x="4141374" y="2725959"/>
                <a:ext cx="75628" cy="75628"/>
                <a:chOff x="4141374" y="2725959"/>
                <a:chExt cx="75628" cy="75628"/>
              </a:xfrm>
            </p:grpSpPr>
            <p:sp>
              <p:nvSpPr>
                <p:cNvPr id="14487" name="Freeform: Shape 14486">
                  <a:extLst>
                    <a:ext uri="{FF2B5EF4-FFF2-40B4-BE49-F238E27FC236}">
                      <a16:creationId xmlns:a16="http://schemas.microsoft.com/office/drawing/2014/main" id="{356E5400-D3E0-51A9-EF79-07A40C299BAB}"/>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88" name="Freeform: Shape 14487">
                  <a:extLst>
                    <a:ext uri="{FF2B5EF4-FFF2-40B4-BE49-F238E27FC236}">
                      <a16:creationId xmlns:a16="http://schemas.microsoft.com/office/drawing/2014/main" id="{CA29CD00-5C34-5877-29EE-892BE205E6EB}"/>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5" name="Graphic 2151">
                <a:extLst>
                  <a:ext uri="{FF2B5EF4-FFF2-40B4-BE49-F238E27FC236}">
                    <a16:creationId xmlns:a16="http://schemas.microsoft.com/office/drawing/2014/main" id="{749F889E-0609-1887-7429-12F33EA1DB61}"/>
                  </a:ext>
                </a:extLst>
              </p:cNvPr>
              <p:cNvGrpSpPr/>
              <p:nvPr/>
            </p:nvGrpSpPr>
            <p:grpSpPr>
              <a:xfrm>
                <a:off x="3900677" y="2674810"/>
                <a:ext cx="75723" cy="75723"/>
                <a:chOff x="3900677" y="2674810"/>
                <a:chExt cx="75723" cy="75723"/>
              </a:xfrm>
            </p:grpSpPr>
            <p:sp>
              <p:nvSpPr>
                <p:cNvPr id="14485" name="Freeform: Shape 14484">
                  <a:extLst>
                    <a:ext uri="{FF2B5EF4-FFF2-40B4-BE49-F238E27FC236}">
                      <a16:creationId xmlns:a16="http://schemas.microsoft.com/office/drawing/2014/main" id="{6B7DC299-A6AB-00F2-9FEF-7ADE4A4DF92F}"/>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86" name="Freeform: Shape 14485">
                  <a:extLst>
                    <a:ext uri="{FF2B5EF4-FFF2-40B4-BE49-F238E27FC236}">
                      <a16:creationId xmlns:a16="http://schemas.microsoft.com/office/drawing/2014/main" id="{CC2A9766-A35B-1C6B-F98E-8FB7E868383F}"/>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6" name="Graphic 2151">
                <a:extLst>
                  <a:ext uri="{FF2B5EF4-FFF2-40B4-BE49-F238E27FC236}">
                    <a16:creationId xmlns:a16="http://schemas.microsoft.com/office/drawing/2014/main" id="{85813DAF-8F62-C089-1D4B-428FA645F96D}"/>
                  </a:ext>
                </a:extLst>
              </p:cNvPr>
              <p:cNvGrpSpPr/>
              <p:nvPr/>
            </p:nvGrpSpPr>
            <p:grpSpPr>
              <a:xfrm>
                <a:off x="3876674" y="2674810"/>
                <a:ext cx="75723" cy="75723"/>
                <a:chOff x="3876674" y="2674810"/>
                <a:chExt cx="75723" cy="75723"/>
              </a:xfrm>
            </p:grpSpPr>
            <p:sp>
              <p:nvSpPr>
                <p:cNvPr id="14483" name="Freeform: Shape 14482">
                  <a:extLst>
                    <a:ext uri="{FF2B5EF4-FFF2-40B4-BE49-F238E27FC236}">
                      <a16:creationId xmlns:a16="http://schemas.microsoft.com/office/drawing/2014/main" id="{247E0063-2219-866B-9E84-35ADB3EFE123}"/>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84" name="Freeform: Shape 14483">
                  <a:extLst>
                    <a:ext uri="{FF2B5EF4-FFF2-40B4-BE49-F238E27FC236}">
                      <a16:creationId xmlns:a16="http://schemas.microsoft.com/office/drawing/2014/main" id="{4DF9C039-68BC-611B-B16C-355795B54C8C}"/>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7" name="Graphic 2151">
                <a:extLst>
                  <a:ext uri="{FF2B5EF4-FFF2-40B4-BE49-F238E27FC236}">
                    <a16:creationId xmlns:a16="http://schemas.microsoft.com/office/drawing/2014/main" id="{5FF5AAA7-0CC6-8A32-8775-EE6B8F14150A}"/>
                  </a:ext>
                </a:extLst>
              </p:cNvPr>
              <p:cNvGrpSpPr/>
              <p:nvPr/>
            </p:nvGrpSpPr>
            <p:grpSpPr>
              <a:xfrm>
                <a:off x="4353019" y="2937129"/>
                <a:ext cx="75723" cy="75628"/>
                <a:chOff x="4353019" y="2937129"/>
                <a:chExt cx="75723" cy="75628"/>
              </a:xfrm>
            </p:grpSpPr>
            <p:sp>
              <p:nvSpPr>
                <p:cNvPr id="14481" name="Freeform: Shape 14480">
                  <a:extLst>
                    <a:ext uri="{FF2B5EF4-FFF2-40B4-BE49-F238E27FC236}">
                      <a16:creationId xmlns:a16="http://schemas.microsoft.com/office/drawing/2014/main" id="{65DF960B-3538-EA8E-7153-F4197EEEE4CD}"/>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82" name="Freeform: Shape 14481">
                  <a:extLst>
                    <a:ext uri="{FF2B5EF4-FFF2-40B4-BE49-F238E27FC236}">
                      <a16:creationId xmlns:a16="http://schemas.microsoft.com/office/drawing/2014/main" id="{A61A4F17-00C3-F843-53D3-E8728DBE7E6D}"/>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8" name="Graphic 2151">
                <a:extLst>
                  <a:ext uri="{FF2B5EF4-FFF2-40B4-BE49-F238E27FC236}">
                    <a16:creationId xmlns:a16="http://schemas.microsoft.com/office/drawing/2014/main" id="{F1FCE33B-01E2-A386-E5FF-44D4B47FDB86}"/>
                  </a:ext>
                </a:extLst>
              </p:cNvPr>
              <p:cNvGrpSpPr/>
              <p:nvPr/>
            </p:nvGrpSpPr>
            <p:grpSpPr>
              <a:xfrm>
                <a:off x="5159501" y="3247072"/>
                <a:ext cx="75723" cy="75628"/>
                <a:chOff x="5159501" y="3247072"/>
                <a:chExt cx="75723" cy="75628"/>
              </a:xfrm>
            </p:grpSpPr>
            <p:sp>
              <p:nvSpPr>
                <p:cNvPr id="14479" name="Freeform: Shape 14478">
                  <a:extLst>
                    <a:ext uri="{FF2B5EF4-FFF2-40B4-BE49-F238E27FC236}">
                      <a16:creationId xmlns:a16="http://schemas.microsoft.com/office/drawing/2014/main" id="{4635464D-E8FE-FA10-BCB0-FA1D426E98D7}"/>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80" name="Freeform: Shape 14479">
                  <a:extLst>
                    <a:ext uri="{FF2B5EF4-FFF2-40B4-BE49-F238E27FC236}">
                      <a16:creationId xmlns:a16="http://schemas.microsoft.com/office/drawing/2014/main" id="{E0EB79B5-4FAA-5F24-462F-FFF100D02F94}"/>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49" name="Graphic 2151">
                <a:extLst>
                  <a:ext uri="{FF2B5EF4-FFF2-40B4-BE49-F238E27FC236}">
                    <a16:creationId xmlns:a16="http://schemas.microsoft.com/office/drawing/2014/main" id="{7C68C462-9A7C-9D88-775C-1F60F5211750}"/>
                  </a:ext>
                </a:extLst>
              </p:cNvPr>
              <p:cNvGrpSpPr/>
              <p:nvPr/>
            </p:nvGrpSpPr>
            <p:grpSpPr>
              <a:xfrm>
                <a:off x="5179123" y="3264027"/>
                <a:ext cx="75723" cy="75723"/>
                <a:chOff x="5179123" y="3264027"/>
                <a:chExt cx="75723" cy="75723"/>
              </a:xfrm>
            </p:grpSpPr>
            <p:sp>
              <p:nvSpPr>
                <p:cNvPr id="14477" name="Freeform: Shape 14476">
                  <a:extLst>
                    <a:ext uri="{FF2B5EF4-FFF2-40B4-BE49-F238E27FC236}">
                      <a16:creationId xmlns:a16="http://schemas.microsoft.com/office/drawing/2014/main" id="{C6B41E8C-B0C1-699F-42F3-A7C74D0F7453}"/>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78" name="Freeform: Shape 14477">
                  <a:extLst>
                    <a:ext uri="{FF2B5EF4-FFF2-40B4-BE49-F238E27FC236}">
                      <a16:creationId xmlns:a16="http://schemas.microsoft.com/office/drawing/2014/main" id="{5127FFBE-A856-5E3F-B036-CF864063DE93}"/>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0" name="Graphic 2151">
                <a:extLst>
                  <a:ext uri="{FF2B5EF4-FFF2-40B4-BE49-F238E27FC236}">
                    <a16:creationId xmlns:a16="http://schemas.microsoft.com/office/drawing/2014/main" id="{EAAF8473-85C6-FF81-7518-E4E044C64D41}"/>
                  </a:ext>
                </a:extLst>
              </p:cNvPr>
              <p:cNvGrpSpPr/>
              <p:nvPr/>
            </p:nvGrpSpPr>
            <p:grpSpPr>
              <a:xfrm>
                <a:off x="5611843" y="3463194"/>
                <a:ext cx="75723" cy="75723"/>
                <a:chOff x="5611843" y="3463194"/>
                <a:chExt cx="75723" cy="75723"/>
              </a:xfrm>
            </p:grpSpPr>
            <p:sp>
              <p:nvSpPr>
                <p:cNvPr id="14475" name="Freeform: Shape 14474">
                  <a:extLst>
                    <a:ext uri="{FF2B5EF4-FFF2-40B4-BE49-F238E27FC236}">
                      <a16:creationId xmlns:a16="http://schemas.microsoft.com/office/drawing/2014/main" id="{8791F902-4189-7D89-8E73-FDC378C0DA3B}"/>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76" name="Freeform: Shape 14475">
                  <a:extLst>
                    <a:ext uri="{FF2B5EF4-FFF2-40B4-BE49-F238E27FC236}">
                      <a16:creationId xmlns:a16="http://schemas.microsoft.com/office/drawing/2014/main" id="{6F4FBCFC-C7E7-1114-AAE3-4362D82CFE92}"/>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1" name="Graphic 2151">
                <a:extLst>
                  <a:ext uri="{FF2B5EF4-FFF2-40B4-BE49-F238E27FC236}">
                    <a16:creationId xmlns:a16="http://schemas.microsoft.com/office/drawing/2014/main" id="{7F9EACA5-B2A3-6541-564B-23109C88DC2C}"/>
                  </a:ext>
                </a:extLst>
              </p:cNvPr>
              <p:cNvGrpSpPr/>
              <p:nvPr/>
            </p:nvGrpSpPr>
            <p:grpSpPr>
              <a:xfrm>
                <a:off x="5622226" y="3463194"/>
                <a:ext cx="75723" cy="75723"/>
                <a:chOff x="5622226" y="3463194"/>
                <a:chExt cx="75723" cy="75723"/>
              </a:xfrm>
            </p:grpSpPr>
            <p:sp>
              <p:nvSpPr>
                <p:cNvPr id="14473" name="Freeform: Shape 14472">
                  <a:extLst>
                    <a:ext uri="{FF2B5EF4-FFF2-40B4-BE49-F238E27FC236}">
                      <a16:creationId xmlns:a16="http://schemas.microsoft.com/office/drawing/2014/main" id="{243384BB-7D3B-2C3A-1477-883CF5826982}"/>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74" name="Freeform: Shape 14473">
                  <a:extLst>
                    <a:ext uri="{FF2B5EF4-FFF2-40B4-BE49-F238E27FC236}">
                      <a16:creationId xmlns:a16="http://schemas.microsoft.com/office/drawing/2014/main" id="{5D8E9277-715A-FC42-911D-C7B3CF17BEF5}"/>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2" name="Graphic 2151">
                <a:extLst>
                  <a:ext uri="{FF2B5EF4-FFF2-40B4-BE49-F238E27FC236}">
                    <a16:creationId xmlns:a16="http://schemas.microsoft.com/office/drawing/2014/main" id="{4CFD2EA0-8DA5-2261-468F-BD920F7F8E2B}"/>
                  </a:ext>
                </a:extLst>
              </p:cNvPr>
              <p:cNvGrpSpPr/>
              <p:nvPr/>
            </p:nvGrpSpPr>
            <p:grpSpPr>
              <a:xfrm>
                <a:off x="5632513" y="3463194"/>
                <a:ext cx="75723" cy="75723"/>
                <a:chOff x="5632513" y="3463194"/>
                <a:chExt cx="75723" cy="75723"/>
              </a:xfrm>
            </p:grpSpPr>
            <p:sp>
              <p:nvSpPr>
                <p:cNvPr id="14471" name="Freeform: Shape 14470">
                  <a:extLst>
                    <a:ext uri="{FF2B5EF4-FFF2-40B4-BE49-F238E27FC236}">
                      <a16:creationId xmlns:a16="http://schemas.microsoft.com/office/drawing/2014/main" id="{B3559599-A8E7-0A60-828C-4DDF503CA708}"/>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72" name="Freeform: Shape 14471">
                  <a:extLst>
                    <a:ext uri="{FF2B5EF4-FFF2-40B4-BE49-F238E27FC236}">
                      <a16:creationId xmlns:a16="http://schemas.microsoft.com/office/drawing/2014/main" id="{79969048-E4B8-3884-D243-57F122F07C3B}"/>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3" name="Graphic 2151">
                <a:extLst>
                  <a:ext uri="{FF2B5EF4-FFF2-40B4-BE49-F238E27FC236}">
                    <a16:creationId xmlns:a16="http://schemas.microsoft.com/office/drawing/2014/main" id="{E374665D-8045-36DF-8207-F49C6D20A280}"/>
                  </a:ext>
                </a:extLst>
              </p:cNvPr>
              <p:cNvGrpSpPr/>
              <p:nvPr/>
            </p:nvGrpSpPr>
            <p:grpSpPr>
              <a:xfrm>
                <a:off x="6254781" y="3692747"/>
                <a:ext cx="75723" cy="75628"/>
                <a:chOff x="6254781" y="3692747"/>
                <a:chExt cx="75723" cy="75628"/>
              </a:xfrm>
            </p:grpSpPr>
            <p:sp>
              <p:nvSpPr>
                <p:cNvPr id="14469" name="Freeform: Shape 14468">
                  <a:extLst>
                    <a:ext uri="{FF2B5EF4-FFF2-40B4-BE49-F238E27FC236}">
                      <a16:creationId xmlns:a16="http://schemas.microsoft.com/office/drawing/2014/main" id="{11CD19AD-6759-3924-676D-F6D0B10274D3}"/>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70" name="Freeform: Shape 14469">
                  <a:extLst>
                    <a:ext uri="{FF2B5EF4-FFF2-40B4-BE49-F238E27FC236}">
                      <a16:creationId xmlns:a16="http://schemas.microsoft.com/office/drawing/2014/main" id="{F582CC13-3CC3-AABF-7B59-17DB7E8F70CD}"/>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4" name="Graphic 2151">
                <a:extLst>
                  <a:ext uri="{FF2B5EF4-FFF2-40B4-BE49-F238E27FC236}">
                    <a16:creationId xmlns:a16="http://schemas.microsoft.com/office/drawing/2014/main" id="{48BCAC5B-0BE3-692B-7E45-A62416AB694F}"/>
                  </a:ext>
                </a:extLst>
              </p:cNvPr>
              <p:cNvGrpSpPr/>
              <p:nvPr/>
            </p:nvGrpSpPr>
            <p:grpSpPr>
              <a:xfrm>
                <a:off x="6272116" y="3692747"/>
                <a:ext cx="75723" cy="75628"/>
                <a:chOff x="6272116" y="3692747"/>
                <a:chExt cx="75723" cy="75628"/>
              </a:xfrm>
            </p:grpSpPr>
            <p:sp>
              <p:nvSpPr>
                <p:cNvPr id="14467" name="Freeform: Shape 14466">
                  <a:extLst>
                    <a:ext uri="{FF2B5EF4-FFF2-40B4-BE49-F238E27FC236}">
                      <a16:creationId xmlns:a16="http://schemas.microsoft.com/office/drawing/2014/main" id="{A6A9B6E5-F40C-0290-8BFD-DF1BD5B099C0}"/>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68" name="Freeform: Shape 14467">
                  <a:extLst>
                    <a:ext uri="{FF2B5EF4-FFF2-40B4-BE49-F238E27FC236}">
                      <a16:creationId xmlns:a16="http://schemas.microsoft.com/office/drawing/2014/main" id="{FCD061BC-D54B-7490-AE8E-3110FE446E3C}"/>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5" name="Graphic 2151">
                <a:extLst>
                  <a:ext uri="{FF2B5EF4-FFF2-40B4-BE49-F238E27FC236}">
                    <a16:creationId xmlns:a16="http://schemas.microsoft.com/office/drawing/2014/main" id="{EAF4BDA1-3ADE-5381-0F39-3EE47303061E}"/>
                  </a:ext>
                </a:extLst>
              </p:cNvPr>
              <p:cNvGrpSpPr/>
              <p:nvPr/>
            </p:nvGrpSpPr>
            <p:grpSpPr>
              <a:xfrm>
                <a:off x="6479761" y="3743515"/>
                <a:ext cx="75723" cy="75628"/>
                <a:chOff x="6479761" y="3743515"/>
                <a:chExt cx="75723" cy="75628"/>
              </a:xfrm>
            </p:grpSpPr>
            <p:sp>
              <p:nvSpPr>
                <p:cNvPr id="14465" name="Freeform: Shape 14464">
                  <a:extLst>
                    <a:ext uri="{FF2B5EF4-FFF2-40B4-BE49-F238E27FC236}">
                      <a16:creationId xmlns:a16="http://schemas.microsoft.com/office/drawing/2014/main" id="{CDCD0F3B-CEFB-EDF9-E9F4-3946317E1B0E}"/>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66" name="Freeform: Shape 14465">
                  <a:extLst>
                    <a:ext uri="{FF2B5EF4-FFF2-40B4-BE49-F238E27FC236}">
                      <a16:creationId xmlns:a16="http://schemas.microsoft.com/office/drawing/2014/main" id="{99DF882F-DDC7-428C-8535-AA70C9D1ADAF}"/>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6" name="Graphic 2151">
                <a:extLst>
                  <a:ext uri="{FF2B5EF4-FFF2-40B4-BE49-F238E27FC236}">
                    <a16:creationId xmlns:a16="http://schemas.microsoft.com/office/drawing/2014/main" id="{5DB139A8-B237-AAFD-AFB9-3C3E158810E4}"/>
                  </a:ext>
                </a:extLst>
              </p:cNvPr>
              <p:cNvGrpSpPr/>
              <p:nvPr/>
            </p:nvGrpSpPr>
            <p:grpSpPr>
              <a:xfrm>
                <a:off x="6465188" y="3743515"/>
                <a:ext cx="75723" cy="75628"/>
                <a:chOff x="6465188" y="3743515"/>
                <a:chExt cx="75723" cy="75628"/>
              </a:xfrm>
            </p:grpSpPr>
            <p:sp>
              <p:nvSpPr>
                <p:cNvPr id="14463" name="Freeform: Shape 14462">
                  <a:extLst>
                    <a:ext uri="{FF2B5EF4-FFF2-40B4-BE49-F238E27FC236}">
                      <a16:creationId xmlns:a16="http://schemas.microsoft.com/office/drawing/2014/main" id="{18031FE6-5140-840F-2A5E-FD1DBA812D03}"/>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64" name="Freeform: Shape 14463">
                  <a:extLst>
                    <a:ext uri="{FF2B5EF4-FFF2-40B4-BE49-F238E27FC236}">
                      <a16:creationId xmlns:a16="http://schemas.microsoft.com/office/drawing/2014/main" id="{6EBD3B69-8886-46B7-FE40-051A0464DEBE}"/>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7" name="Graphic 2151">
                <a:extLst>
                  <a:ext uri="{FF2B5EF4-FFF2-40B4-BE49-F238E27FC236}">
                    <a16:creationId xmlns:a16="http://schemas.microsoft.com/office/drawing/2014/main" id="{DBCB9A66-6F17-E9D7-558C-12AE3D5AA24D}"/>
                  </a:ext>
                </a:extLst>
              </p:cNvPr>
              <p:cNvGrpSpPr/>
              <p:nvPr/>
            </p:nvGrpSpPr>
            <p:grpSpPr>
              <a:xfrm>
                <a:off x="7340059" y="3841337"/>
                <a:ext cx="75723" cy="75723"/>
                <a:chOff x="7340059" y="3841337"/>
                <a:chExt cx="75723" cy="75723"/>
              </a:xfrm>
            </p:grpSpPr>
            <p:sp>
              <p:nvSpPr>
                <p:cNvPr id="14461" name="Freeform: Shape 14460">
                  <a:extLst>
                    <a:ext uri="{FF2B5EF4-FFF2-40B4-BE49-F238E27FC236}">
                      <a16:creationId xmlns:a16="http://schemas.microsoft.com/office/drawing/2014/main" id="{5B3A71E7-2581-D7DA-1557-6FDCCD8E8985}"/>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62" name="Freeform: Shape 14461">
                  <a:extLst>
                    <a:ext uri="{FF2B5EF4-FFF2-40B4-BE49-F238E27FC236}">
                      <a16:creationId xmlns:a16="http://schemas.microsoft.com/office/drawing/2014/main" id="{30F27320-095F-74E3-5015-EDAB4BDC6E27}"/>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458" name="Graphic 2151">
                <a:extLst>
                  <a:ext uri="{FF2B5EF4-FFF2-40B4-BE49-F238E27FC236}">
                    <a16:creationId xmlns:a16="http://schemas.microsoft.com/office/drawing/2014/main" id="{E355F1F1-3FA0-46E6-7FDD-2C68D5DF8AA1}"/>
                  </a:ext>
                </a:extLst>
              </p:cNvPr>
              <p:cNvGrpSpPr/>
              <p:nvPr/>
            </p:nvGrpSpPr>
            <p:grpSpPr>
              <a:xfrm>
                <a:off x="7353490" y="3841337"/>
                <a:ext cx="75628" cy="75723"/>
                <a:chOff x="7353490" y="3841337"/>
                <a:chExt cx="75628" cy="75723"/>
              </a:xfrm>
            </p:grpSpPr>
            <p:sp>
              <p:nvSpPr>
                <p:cNvPr id="14459" name="Freeform: Shape 14458">
                  <a:extLst>
                    <a:ext uri="{FF2B5EF4-FFF2-40B4-BE49-F238E27FC236}">
                      <a16:creationId xmlns:a16="http://schemas.microsoft.com/office/drawing/2014/main" id="{440A3B9C-1821-A538-69CD-D3788FCAC8EF}"/>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460" name="Freeform: Shape 14459">
                  <a:extLst>
                    <a:ext uri="{FF2B5EF4-FFF2-40B4-BE49-F238E27FC236}">
                      <a16:creationId xmlns:a16="http://schemas.microsoft.com/office/drawing/2014/main" id="{A9046902-4333-0309-E93F-785F04803B9F}"/>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4400" name="Freeform: Shape 14399">
              <a:extLst>
                <a:ext uri="{FF2B5EF4-FFF2-40B4-BE49-F238E27FC236}">
                  <a16:creationId xmlns:a16="http://schemas.microsoft.com/office/drawing/2014/main" id="{3B7C4E81-0D24-7481-AB6B-14D0C36C8910}"/>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7" name="Group 6">
            <a:extLst>
              <a:ext uri="{FF2B5EF4-FFF2-40B4-BE49-F238E27FC236}">
                <a16:creationId xmlns:a16="http://schemas.microsoft.com/office/drawing/2014/main" id="{1294A855-8E63-8868-F10B-02B20A030F19}"/>
              </a:ext>
            </a:extLst>
          </p:cNvPr>
          <p:cNvGrpSpPr/>
          <p:nvPr/>
        </p:nvGrpSpPr>
        <p:grpSpPr>
          <a:xfrm>
            <a:off x="834913" y="4133989"/>
            <a:ext cx="2385787" cy="523220"/>
            <a:chOff x="1283828" y="4129371"/>
            <a:chExt cx="2090677" cy="523220"/>
          </a:xfrm>
        </p:grpSpPr>
        <p:sp>
          <p:nvSpPr>
            <p:cNvPr id="8" name="TextBox 7">
              <a:extLst>
                <a:ext uri="{FF2B5EF4-FFF2-40B4-BE49-F238E27FC236}">
                  <a16:creationId xmlns:a16="http://schemas.microsoft.com/office/drawing/2014/main" id="{D2E972EE-76BA-A2AD-DC8B-B7F901E81D9D}"/>
                </a:ext>
              </a:extLst>
            </p:cNvPr>
            <p:cNvSpPr txBox="1"/>
            <p:nvPr/>
          </p:nvSpPr>
          <p:spPr>
            <a:xfrm>
              <a:off x="1680132" y="4129371"/>
              <a:ext cx="169437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9" name="Group 8">
              <a:extLst>
                <a:ext uri="{FF2B5EF4-FFF2-40B4-BE49-F238E27FC236}">
                  <a16:creationId xmlns:a16="http://schemas.microsoft.com/office/drawing/2014/main" id="{69F82EDD-6F2F-E224-59C4-FBFBE1570F11}"/>
                </a:ext>
              </a:extLst>
            </p:cNvPr>
            <p:cNvGrpSpPr/>
            <p:nvPr/>
          </p:nvGrpSpPr>
          <p:grpSpPr>
            <a:xfrm>
              <a:off x="1289304" y="4278446"/>
              <a:ext cx="334470" cy="72000"/>
              <a:chOff x="2459420" y="3626363"/>
              <a:chExt cx="313728" cy="72000"/>
            </a:xfrm>
          </p:grpSpPr>
          <p:cxnSp>
            <p:nvCxnSpPr>
              <p:cNvPr id="13" name="Straight Connector 12">
                <a:extLst>
                  <a:ext uri="{FF2B5EF4-FFF2-40B4-BE49-F238E27FC236}">
                    <a16:creationId xmlns:a16="http://schemas.microsoft.com/office/drawing/2014/main" id="{90C12C96-10F6-A030-6502-F3FBC6DC4F3E}"/>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4" name="Straight Connector 13">
                <a:extLst>
                  <a:ext uri="{FF2B5EF4-FFF2-40B4-BE49-F238E27FC236}">
                    <a16:creationId xmlns:a16="http://schemas.microsoft.com/office/drawing/2014/main" id="{C55C04B8-06A8-6AA4-457C-1E40C9728862}"/>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0" name="Group 9">
              <a:extLst>
                <a:ext uri="{FF2B5EF4-FFF2-40B4-BE49-F238E27FC236}">
                  <a16:creationId xmlns:a16="http://schemas.microsoft.com/office/drawing/2014/main" id="{16EEC2CD-6977-91A9-A041-3E40A365A938}"/>
                </a:ext>
              </a:extLst>
            </p:cNvPr>
            <p:cNvGrpSpPr/>
            <p:nvPr/>
          </p:nvGrpSpPr>
          <p:grpSpPr>
            <a:xfrm>
              <a:off x="1283828" y="4464183"/>
              <a:ext cx="345421" cy="72000"/>
              <a:chOff x="2454284" y="3812100"/>
              <a:chExt cx="324000" cy="72000"/>
            </a:xfrm>
          </p:grpSpPr>
          <p:cxnSp>
            <p:nvCxnSpPr>
              <p:cNvPr id="11" name="Straight Connector 10">
                <a:extLst>
                  <a:ext uri="{FF2B5EF4-FFF2-40B4-BE49-F238E27FC236}">
                    <a16:creationId xmlns:a16="http://schemas.microsoft.com/office/drawing/2014/main" id="{820B5DDD-59C4-BEAA-B6FB-3C3B4495B6FF}"/>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2" name="Straight Connector 11">
                <a:extLst>
                  <a:ext uri="{FF2B5EF4-FFF2-40B4-BE49-F238E27FC236}">
                    <a16:creationId xmlns:a16="http://schemas.microsoft.com/office/drawing/2014/main" id="{94191CB6-7ACA-47E0-4EE5-CD86F4D769E4}"/>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
        <p:nvSpPr>
          <p:cNvPr id="16669" name="TextBox 16668">
            <a:extLst>
              <a:ext uri="{FF2B5EF4-FFF2-40B4-BE49-F238E27FC236}">
                <a16:creationId xmlns:a16="http://schemas.microsoft.com/office/drawing/2014/main" id="{8A8DBC55-0969-C31D-4129-4D6B7DE924CC}"/>
              </a:ext>
            </a:extLst>
          </p:cNvPr>
          <p:cNvSpPr txBox="1"/>
          <p:nvPr/>
        </p:nvSpPr>
        <p:spPr>
          <a:xfrm>
            <a:off x="4161056" y="1753894"/>
            <a:ext cx="382430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Capivasertib arm</a:t>
            </a:r>
            <a:r>
              <a:rPr kumimoji="0" lang="en-US" sz="2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t>
            </a:r>
            <a:br>
              <a:rPr kumimoji="0" lang="en-US" sz="2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2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all PTEN subgroups</a:t>
            </a:r>
          </a:p>
        </p:txBody>
      </p:sp>
      <p:grpSp>
        <p:nvGrpSpPr>
          <p:cNvPr id="14710" name="Group 14709">
            <a:extLst>
              <a:ext uri="{FF2B5EF4-FFF2-40B4-BE49-F238E27FC236}">
                <a16:creationId xmlns:a16="http://schemas.microsoft.com/office/drawing/2014/main" id="{95C25749-64AF-C784-2720-3E360272A8BF}"/>
              </a:ext>
            </a:extLst>
          </p:cNvPr>
          <p:cNvGrpSpPr/>
          <p:nvPr/>
        </p:nvGrpSpPr>
        <p:grpSpPr>
          <a:xfrm>
            <a:off x="677822" y="1468806"/>
            <a:ext cx="6832931" cy="2404800"/>
            <a:chOff x="3500437" y="2409824"/>
            <a:chExt cx="5186648" cy="2042255"/>
          </a:xfrm>
        </p:grpSpPr>
        <p:grpSp>
          <p:nvGrpSpPr>
            <p:cNvPr id="14711" name="Graphic 790">
              <a:extLst>
                <a:ext uri="{FF2B5EF4-FFF2-40B4-BE49-F238E27FC236}">
                  <a16:creationId xmlns:a16="http://schemas.microsoft.com/office/drawing/2014/main" id="{8B5E5FDD-F9E5-2CB3-EFB9-36DBEA74E04B}"/>
                </a:ext>
              </a:extLst>
            </p:cNvPr>
            <p:cNvGrpSpPr/>
            <p:nvPr/>
          </p:nvGrpSpPr>
          <p:grpSpPr>
            <a:xfrm>
              <a:off x="3865530" y="2479547"/>
              <a:ext cx="4821555" cy="1972532"/>
              <a:chOff x="3865530" y="2479547"/>
              <a:chExt cx="4821555" cy="1972532"/>
            </a:xfrm>
          </p:grpSpPr>
          <p:grpSp>
            <p:nvGrpSpPr>
              <p:cNvPr id="14713" name="Graphic 790">
                <a:extLst>
                  <a:ext uri="{FF2B5EF4-FFF2-40B4-BE49-F238E27FC236}">
                    <a16:creationId xmlns:a16="http://schemas.microsoft.com/office/drawing/2014/main" id="{9C10E988-D4FA-F793-1809-56966C0678D5}"/>
                  </a:ext>
                </a:extLst>
              </p:cNvPr>
              <p:cNvGrpSpPr/>
              <p:nvPr/>
            </p:nvGrpSpPr>
            <p:grpSpPr>
              <a:xfrm>
                <a:off x="8601169" y="4376356"/>
                <a:ext cx="75723" cy="75723"/>
                <a:chOff x="8601169" y="4376356"/>
                <a:chExt cx="75723" cy="75723"/>
              </a:xfrm>
            </p:grpSpPr>
            <p:sp>
              <p:nvSpPr>
                <p:cNvPr id="15694" name="Freeform: Shape 15693">
                  <a:extLst>
                    <a:ext uri="{FF2B5EF4-FFF2-40B4-BE49-F238E27FC236}">
                      <a16:creationId xmlns:a16="http://schemas.microsoft.com/office/drawing/2014/main" id="{695AD75F-3172-9AFA-156F-97B3F9394DB4}"/>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95" name="Freeform: Shape 15694">
                  <a:extLst>
                    <a:ext uri="{FF2B5EF4-FFF2-40B4-BE49-F238E27FC236}">
                      <a16:creationId xmlns:a16="http://schemas.microsoft.com/office/drawing/2014/main" id="{18A7F43F-B8B1-69F5-354F-034D20E00F66}"/>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714" name="Graphic 790">
                <a:extLst>
                  <a:ext uri="{FF2B5EF4-FFF2-40B4-BE49-F238E27FC236}">
                    <a16:creationId xmlns:a16="http://schemas.microsoft.com/office/drawing/2014/main" id="{D81B9924-DD9C-A1DA-288F-FD45A8CF241C}"/>
                  </a:ext>
                </a:extLst>
              </p:cNvPr>
              <p:cNvGrpSpPr/>
              <p:nvPr/>
            </p:nvGrpSpPr>
            <p:grpSpPr>
              <a:xfrm>
                <a:off x="8611456" y="4376356"/>
                <a:ext cx="75628" cy="75723"/>
                <a:chOff x="8611456" y="4376356"/>
                <a:chExt cx="75628" cy="75723"/>
              </a:xfrm>
            </p:grpSpPr>
            <p:sp>
              <p:nvSpPr>
                <p:cNvPr id="15692" name="Freeform: Shape 15691">
                  <a:extLst>
                    <a:ext uri="{FF2B5EF4-FFF2-40B4-BE49-F238E27FC236}">
                      <a16:creationId xmlns:a16="http://schemas.microsoft.com/office/drawing/2014/main" id="{815C6E45-B3CA-DD2F-8448-6BF68EECF941}"/>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93" name="Freeform: Shape 15692">
                  <a:extLst>
                    <a:ext uri="{FF2B5EF4-FFF2-40B4-BE49-F238E27FC236}">
                      <a16:creationId xmlns:a16="http://schemas.microsoft.com/office/drawing/2014/main" id="{5394B648-CF23-3565-8AB1-E5DAF1C386FA}"/>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716" name="Graphic 790">
                <a:extLst>
                  <a:ext uri="{FF2B5EF4-FFF2-40B4-BE49-F238E27FC236}">
                    <a16:creationId xmlns:a16="http://schemas.microsoft.com/office/drawing/2014/main" id="{4999CE22-BFF6-36CE-76C4-31CD84723A5B}"/>
                  </a:ext>
                </a:extLst>
              </p:cNvPr>
              <p:cNvGrpSpPr/>
              <p:nvPr/>
            </p:nvGrpSpPr>
            <p:grpSpPr>
              <a:xfrm>
                <a:off x="8583453" y="4106989"/>
                <a:ext cx="75723" cy="75723"/>
                <a:chOff x="8583453" y="4106989"/>
                <a:chExt cx="75723" cy="75723"/>
              </a:xfrm>
            </p:grpSpPr>
            <p:sp>
              <p:nvSpPr>
                <p:cNvPr id="15690" name="Freeform: Shape 15689">
                  <a:extLst>
                    <a:ext uri="{FF2B5EF4-FFF2-40B4-BE49-F238E27FC236}">
                      <a16:creationId xmlns:a16="http://schemas.microsoft.com/office/drawing/2014/main" id="{ACFBE307-B8B2-7D68-45F8-0F79B76C1E17}"/>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91" name="Freeform: Shape 15690">
                  <a:extLst>
                    <a:ext uri="{FF2B5EF4-FFF2-40B4-BE49-F238E27FC236}">
                      <a16:creationId xmlns:a16="http://schemas.microsoft.com/office/drawing/2014/main" id="{318DFB2F-AFF0-A846-0BED-434C28C895B0}"/>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717" name="Graphic 790">
                <a:extLst>
                  <a:ext uri="{FF2B5EF4-FFF2-40B4-BE49-F238E27FC236}">
                    <a16:creationId xmlns:a16="http://schemas.microsoft.com/office/drawing/2014/main" id="{8CF67D0F-90D1-DF3A-26E1-AE4EC377B955}"/>
                  </a:ext>
                </a:extLst>
              </p:cNvPr>
              <p:cNvGrpSpPr/>
              <p:nvPr/>
            </p:nvGrpSpPr>
            <p:grpSpPr>
              <a:xfrm>
                <a:off x="8465057" y="4106989"/>
                <a:ext cx="75723" cy="75723"/>
                <a:chOff x="8465057" y="4106989"/>
                <a:chExt cx="75723" cy="75723"/>
              </a:xfrm>
            </p:grpSpPr>
            <p:sp>
              <p:nvSpPr>
                <p:cNvPr id="15688" name="Freeform: Shape 15687">
                  <a:extLst>
                    <a:ext uri="{FF2B5EF4-FFF2-40B4-BE49-F238E27FC236}">
                      <a16:creationId xmlns:a16="http://schemas.microsoft.com/office/drawing/2014/main" id="{A8A7E7E0-F6C4-829F-45DA-A1CF00CE07F7}"/>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89" name="Freeform: Shape 15688">
                  <a:extLst>
                    <a:ext uri="{FF2B5EF4-FFF2-40B4-BE49-F238E27FC236}">
                      <a16:creationId xmlns:a16="http://schemas.microsoft.com/office/drawing/2014/main" id="{8438570A-F2B3-4FDF-D03B-0B2C485C3E66}"/>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4719" name="Graphic 790">
                <a:extLst>
                  <a:ext uri="{FF2B5EF4-FFF2-40B4-BE49-F238E27FC236}">
                    <a16:creationId xmlns:a16="http://schemas.microsoft.com/office/drawing/2014/main" id="{76DD68F5-D4B7-4D0E-4A81-3EC1839D6E74}"/>
                  </a:ext>
                </a:extLst>
              </p:cNvPr>
              <p:cNvGrpSpPr/>
              <p:nvPr/>
            </p:nvGrpSpPr>
            <p:grpSpPr>
              <a:xfrm>
                <a:off x="8070817" y="3932491"/>
                <a:ext cx="75723" cy="75628"/>
                <a:chOff x="8070817" y="3932491"/>
                <a:chExt cx="75723" cy="75628"/>
              </a:xfrm>
            </p:grpSpPr>
            <p:sp>
              <p:nvSpPr>
                <p:cNvPr id="15686" name="Freeform: Shape 15685">
                  <a:extLst>
                    <a:ext uri="{FF2B5EF4-FFF2-40B4-BE49-F238E27FC236}">
                      <a16:creationId xmlns:a16="http://schemas.microsoft.com/office/drawing/2014/main" id="{F50D4798-46F0-04CD-A6D7-DA667BC046DA}"/>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87" name="Freeform: Shape 15686">
                  <a:extLst>
                    <a:ext uri="{FF2B5EF4-FFF2-40B4-BE49-F238E27FC236}">
                      <a16:creationId xmlns:a16="http://schemas.microsoft.com/office/drawing/2014/main" id="{3D548537-53E1-BEAF-8A90-7F9C60ED2330}"/>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0" name="Graphic 790">
                <a:extLst>
                  <a:ext uri="{FF2B5EF4-FFF2-40B4-BE49-F238E27FC236}">
                    <a16:creationId xmlns:a16="http://schemas.microsoft.com/office/drawing/2014/main" id="{A01EAFDD-0038-B3F0-2A11-DC3F213F713C}"/>
                  </a:ext>
                </a:extLst>
              </p:cNvPr>
              <p:cNvGrpSpPr/>
              <p:nvPr/>
            </p:nvGrpSpPr>
            <p:grpSpPr>
              <a:xfrm>
                <a:off x="7717726" y="3838193"/>
                <a:ext cx="75628" cy="75628"/>
                <a:chOff x="7717726" y="3838193"/>
                <a:chExt cx="75628" cy="75628"/>
              </a:xfrm>
            </p:grpSpPr>
            <p:sp>
              <p:nvSpPr>
                <p:cNvPr id="15684" name="Freeform: Shape 15683">
                  <a:extLst>
                    <a:ext uri="{FF2B5EF4-FFF2-40B4-BE49-F238E27FC236}">
                      <a16:creationId xmlns:a16="http://schemas.microsoft.com/office/drawing/2014/main" id="{764497B2-5222-C4EF-DC18-13D17D86A433}"/>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85" name="Freeform: Shape 15684">
                  <a:extLst>
                    <a:ext uri="{FF2B5EF4-FFF2-40B4-BE49-F238E27FC236}">
                      <a16:creationId xmlns:a16="http://schemas.microsoft.com/office/drawing/2014/main" id="{E68AAB5F-C464-C185-0741-DCB6312E2058}"/>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1" name="Graphic 790">
                <a:extLst>
                  <a:ext uri="{FF2B5EF4-FFF2-40B4-BE49-F238E27FC236}">
                    <a16:creationId xmlns:a16="http://schemas.microsoft.com/office/drawing/2014/main" id="{7875594A-BF6A-CFE7-FB78-757BC3C4EADC}"/>
                  </a:ext>
                </a:extLst>
              </p:cNvPr>
              <p:cNvGrpSpPr/>
              <p:nvPr/>
            </p:nvGrpSpPr>
            <p:grpSpPr>
              <a:xfrm>
                <a:off x="7431499" y="3801712"/>
                <a:ext cx="75723" cy="75723"/>
                <a:chOff x="7431499" y="3801712"/>
                <a:chExt cx="75723" cy="75723"/>
              </a:xfrm>
            </p:grpSpPr>
            <p:sp>
              <p:nvSpPr>
                <p:cNvPr id="15682" name="Freeform: Shape 15681">
                  <a:extLst>
                    <a:ext uri="{FF2B5EF4-FFF2-40B4-BE49-F238E27FC236}">
                      <a16:creationId xmlns:a16="http://schemas.microsoft.com/office/drawing/2014/main" id="{AE285E20-2FCA-F1E7-9BF1-26C6A8F1B92C}"/>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83" name="Freeform: Shape 15682">
                  <a:extLst>
                    <a:ext uri="{FF2B5EF4-FFF2-40B4-BE49-F238E27FC236}">
                      <a16:creationId xmlns:a16="http://schemas.microsoft.com/office/drawing/2014/main" id="{AB4F395C-36F5-EA8B-204E-1AC44F91F541}"/>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2" name="Graphic 790">
                <a:extLst>
                  <a:ext uri="{FF2B5EF4-FFF2-40B4-BE49-F238E27FC236}">
                    <a16:creationId xmlns:a16="http://schemas.microsoft.com/office/drawing/2014/main" id="{683D2592-7C81-1B77-E19F-0F91C490A57D}"/>
                  </a:ext>
                </a:extLst>
              </p:cNvPr>
              <p:cNvGrpSpPr/>
              <p:nvPr/>
            </p:nvGrpSpPr>
            <p:grpSpPr>
              <a:xfrm>
                <a:off x="7239380" y="3719226"/>
                <a:ext cx="75723" cy="75723"/>
                <a:chOff x="7239380" y="3719226"/>
                <a:chExt cx="75723" cy="75723"/>
              </a:xfrm>
            </p:grpSpPr>
            <p:sp>
              <p:nvSpPr>
                <p:cNvPr id="15680" name="Freeform: Shape 15679">
                  <a:extLst>
                    <a:ext uri="{FF2B5EF4-FFF2-40B4-BE49-F238E27FC236}">
                      <a16:creationId xmlns:a16="http://schemas.microsoft.com/office/drawing/2014/main" id="{110E900A-1516-3CD0-A427-77411CC4BF61}"/>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81" name="Freeform: Shape 15680">
                  <a:extLst>
                    <a:ext uri="{FF2B5EF4-FFF2-40B4-BE49-F238E27FC236}">
                      <a16:creationId xmlns:a16="http://schemas.microsoft.com/office/drawing/2014/main" id="{4E4208DB-76F8-4A96-3A2F-A5E3202E0DA1}"/>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3" name="Graphic 790">
                <a:extLst>
                  <a:ext uri="{FF2B5EF4-FFF2-40B4-BE49-F238E27FC236}">
                    <a16:creationId xmlns:a16="http://schemas.microsoft.com/office/drawing/2014/main" id="{4C6750AD-290B-7B91-D496-4DBBB3E964F0}"/>
                  </a:ext>
                </a:extLst>
              </p:cNvPr>
              <p:cNvGrpSpPr/>
              <p:nvPr/>
            </p:nvGrpSpPr>
            <p:grpSpPr>
              <a:xfrm>
                <a:off x="7024401" y="3677030"/>
                <a:ext cx="75723" cy="75628"/>
                <a:chOff x="7024401" y="3677030"/>
                <a:chExt cx="75723" cy="75628"/>
              </a:xfrm>
            </p:grpSpPr>
            <p:sp>
              <p:nvSpPr>
                <p:cNvPr id="15678" name="Freeform: Shape 15677">
                  <a:extLst>
                    <a:ext uri="{FF2B5EF4-FFF2-40B4-BE49-F238E27FC236}">
                      <a16:creationId xmlns:a16="http://schemas.microsoft.com/office/drawing/2014/main" id="{F274ADB2-5932-8A94-8572-77A9F1FE4019}"/>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79" name="Freeform: Shape 15678">
                  <a:extLst>
                    <a:ext uri="{FF2B5EF4-FFF2-40B4-BE49-F238E27FC236}">
                      <a16:creationId xmlns:a16="http://schemas.microsoft.com/office/drawing/2014/main" id="{8E4785CF-1B75-E73A-FA8E-E3CFDFD52E3E}"/>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4" name="Graphic 790">
                <a:extLst>
                  <a:ext uri="{FF2B5EF4-FFF2-40B4-BE49-F238E27FC236}">
                    <a16:creationId xmlns:a16="http://schemas.microsoft.com/office/drawing/2014/main" id="{742799F8-59D4-4D1A-CFB9-64DDC82FCA18}"/>
                  </a:ext>
                </a:extLst>
              </p:cNvPr>
              <p:cNvGrpSpPr/>
              <p:nvPr/>
            </p:nvGrpSpPr>
            <p:grpSpPr>
              <a:xfrm>
                <a:off x="6938104" y="3677030"/>
                <a:ext cx="75723" cy="75628"/>
                <a:chOff x="6938104" y="3677030"/>
                <a:chExt cx="75723" cy="75628"/>
              </a:xfrm>
            </p:grpSpPr>
            <p:sp>
              <p:nvSpPr>
                <p:cNvPr id="15676" name="Freeform: Shape 15675">
                  <a:extLst>
                    <a:ext uri="{FF2B5EF4-FFF2-40B4-BE49-F238E27FC236}">
                      <a16:creationId xmlns:a16="http://schemas.microsoft.com/office/drawing/2014/main" id="{6EE0412B-A3EC-CDD5-A996-BC0766331DB7}"/>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77" name="Freeform: Shape 15676">
                  <a:extLst>
                    <a:ext uri="{FF2B5EF4-FFF2-40B4-BE49-F238E27FC236}">
                      <a16:creationId xmlns:a16="http://schemas.microsoft.com/office/drawing/2014/main" id="{D2827045-F6F6-D2DD-CBB9-F13015E22696}"/>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5" name="Graphic 790">
                <a:extLst>
                  <a:ext uri="{FF2B5EF4-FFF2-40B4-BE49-F238E27FC236}">
                    <a16:creationId xmlns:a16="http://schemas.microsoft.com/office/drawing/2014/main" id="{A88B9BC7-90D6-619F-35A7-2E7E691A710B}"/>
                  </a:ext>
                </a:extLst>
              </p:cNvPr>
              <p:cNvGrpSpPr/>
              <p:nvPr/>
            </p:nvGrpSpPr>
            <p:grpSpPr>
              <a:xfrm>
                <a:off x="6838092" y="3652646"/>
                <a:ext cx="75723" cy="75723"/>
                <a:chOff x="6838092" y="3652646"/>
                <a:chExt cx="75723" cy="75723"/>
              </a:xfrm>
            </p:grpSpPr>
            <p:sp>
              <p:nvSpPr>
                <p:cNvPr id="15674" name="Freeform: Shape 15673">
                  <a:extLst>
                    <a:ext uri="{FF2B5EF4-FFF2-40B4-BE49-F238E27FC236}">
                      <a16:creationId xmlns:a16="http://schemas.microsoft.com/office/drawing/2014/main" id="{F0FC7743-857E-E5D1-B22A-3BE3ABC73F2E}"/>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75" name="Freeform: Shape 15674">
                  <a:extLst>
                    <a:ext uri="{FF2B5EF4-FFF2-40B4-BE49-F238E27FC236}">
                      <a16:creationId xmlns:a16="http://schemas.microsoft.com/office/drawing/2014/main" id="{6D0B26C2-9559-B239-F402-30F69A1677F7}"/>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6" name="Graphic 790">
                <a:extLst>
                  <a:ext uri="{FF2B5EF4-FFF2-40B4-BE49-F238E27FC236}">
                    <a16:creationId xmlns:a16="http://schemas.microsoft.com/office/drawing/2014/main" id="{13768A08-6647-7BE5-AC5E-02247EA6FB36}"/>
                  </a:ext>
                </a:extLst>
              </p:cNvPr>
              <p:cNvGrpSpPr/>
              <p:nvPr/>
            </p:nvGrpSpPr>
            <p:grpSpPr>
              <a:xfrm>
                <a:off x="6516337" y="3639883"/>
                <a:ext cx="75723" cy="75723"/>
                <a:chOff x="6516337" y="3639883"/>
                <a:chExt cx="75723" cy="75723"/>
              </a:xfrm>
            </p:grpSpPr>
            <p:sp>
              <p:nvSpPr>
                <p:cNvPr id="15672" name="Freeform: Shape 15671">
                  <a:extLst>
                    <a:ext uri="{FF2B5EF4-FFF2-40B4-BE49-F238E27FC236}">
                      <a16:creationId xmlns:a16="http://schemas.microsoft.com/office/drawing/2014/main" id="{0385AAF9-94E2-A23A-DC66-FC7790086770}"/>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73" name="Freeform: Shape 15672">
                  <a:extLst>
                    <a:ext uri="{FF2B5EF4-FFF2-40B4-BE49-F238E27FC236}">
                      <a16:creationId xmlns:a16="http://schemas.microsoft.com/office/drawing/2014/main" id="{200932EA-604F-8772-8A34-FD52A61E3E17}"/>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7" name="Graphic 790">
                <a:extLst>
                  <a:ext uri="{FF2B5EF4-FFF2-40B4-BE49-F238E27FC236}">
                    <a16:creationId xmlns:a16="http://schemas.microsoft.com/office/drawing/2014/main" id="{2A0752CF-20CB-884A-2191-ECBC1906B42E}"/>
                  </a:ext>
                </a:extLst>
              </p:cNvPr>
              <p:cNvGrpSpPr/>
              <p:nvPr/>
            </p:nvGrpSpPr>
            <p:grpSpPr>
              <a:xfrm>
                <a:off x="6461950" y="3639883"/>
                <a:ext cx="75628" cy="75723"/>
                <a:chOff x="6461950" y="3639883"/>
                <a:chExt cx="75628" cy="75723"/>
              </a:xfrm>
            </p:grpSpPr>
            <p:sp>
              <p:nvSpPr>
                <p:cNvPr id="15670" name="Freeform: Shape 15669">
                  <a:extLst>
                    <a:ext uri="{FF2B5EF4-FFF2-40B4-BE49-F238E27FC236}">
                      <a16:creationId xmlns:a16="http://schemas.microsoft.com/office/drawing/2014/main" id="{99540B7E-AE19-35A5-CFCF-39FDC7811999}"/>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71" name="Freeform: Shape 15670">
                  <a:extLst>
                    <a:ext uri="{FF2B5EF4-FFF2-40B4-BE49-F238E27FC236}">
                      <a16:creationId xmlns:a16="http://schemas.microsoft.com/office/drawing/2014/main" id="{604B4817-A369-6013-6F61-2D7F001993C6}"/>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8" name="Graphic 790">
                <a:extLst>
                  <a:ext uri="{FF2B5EF4-FFF2-40B4-BE49-F238E27FC236}">
                    <a16:creationId xmlns:a16="http://schemas.microsoft.com/office/drawing/2014/main" id="{F4FCD73C-AE89-01B1-B3C8-268D7782C3E8}"/>
                  </a:ext>
                </a:extLst>
              </p:cNvPr>
              <p:cNvGrpSpPr/>
              <p:nvPr/>
            </p:nvGrpSpPr>
            <p:grpSpPr>
              <a:xfrm>
                <a:off x="6475475" y="3639883"/>
                <a:ext cx="75723" cy="75723"/>
                <a:chOff x="6475475" y="3639883"/>
                <a:chExt cx="75723" cy="75723"/>
              </a:xfrm>
            </p:grpSpPr>
            <p:sp>
              <p:nvSpPr>
                <p:cNvPr id="15668" name="Freeform: Shape 15667">
                  <a:extLst>
                    <a:ext uri="{FF2B5EF4-FFF2-40B4-BE49-F238E27FC236}">
                      <a16:creationId xmlns:a16="http://schemas.microsoft.com/office/drawing/2014/main" id="{AB7E938D-8073-433C-EA95-AB710E76427F}"/>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69" name="Freeform: Shape 15668">
                  <a:extLst>
                    <a:ext uri="{FF2B5EF4-FFF2-40B4-BE49-F238E27FC236}">
                      <a16:creationId xmlns:a16="http://schemas.microsoft.com/office/drawing/2014/main" id="{E4402511-34F2-E7D7-0797-EBEABE28CF89}"/>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69" name="Graphic 790">
                <a:extLst>
                  <a:ext uri="{FF2B5EF4-FFF2-40B4-BE49-F238E27FC236}">
                    <a16:creationId xmlns:a16="http://schemas.microsoft.com/office/drawing/2014/main" id="{94B42099-4C68-7F34-C785-71986D55379C}"/>
                  </a:ext>
                </a:extLst>
              </p:cNvPr>
              <p:cNvGrpSpPr/>
              <p:nvPr/>
            </p:nvGrpSpPr>
            <p:grpSpPr>
              <a:xfrm>
                <a:off x="6489096" y="3639883"/>
                <a:ext cx="75723" cy="75723"/>
                <a:chOff x="6489096" y="3639883"/>
                <a:chExt cx="75723" cy="75723"/>
              </a:xfrm>
            </p:grpSpPr>
            <p:sp>
              <p:nvSpPr>
                <p:cNvPr id="15666" name="Freeform: Shape 15665">
                  <a:extLst>
                    <a:ext uri="{FF2B5EF4-FFF2-40B4-BE49-F238E27FC236}">
                      <a16:creationId xmlns:a16="http://schemas.microsoft.com/office/drawing/2014/main" id="{AC377143-A6AF-3E39-D590-059835EF068D}"/>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67" name="Freeform: Shape 15666">
                  <a:extLst>
                    <a:ext uri="{FF2B5EF4-FFF2-40B4-BE49-F238E27FC236}">
                      <a16:creationId xmlns:a16="http://schemas.microsoft.com/office/drawing/2014/main" id="{1AAE461F-DDF2-EBEF-D054-E01D339A7392}"/>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0" name="Graphic 790">
                <a:extLst>
                  <a:ext uri="{FF2B5EF4-FFF2-40B4-BE49-F238E27FC236}">
                    <a16:creationId xmlns:a16="http://schemas.microsoft.com/office/drawing/2014/main" id="{3810DB74-CCBE-8D06-8F57-45AD13D064A4}"/>
                  </a:ext>
                </a:extLst>
              </p:cNvPr>
              <p:cNvGrpSpPr/>
              <p:nvPr/>
            </p:nvGrpSpPr>
            <p:grpSpPr>
              <a:xfrm>
                <a:off x="6399847" y="3598449"/>
                <a:ext cx="75628" cy="75723"/>
                <a:chOff x="6399847" y="3598449"/>
                <a:chExt cx="75628" cy="75723"/>
              </a:xfrm>
            </p:grpSpPr>
            <p:sp>
              <p:nvSpPr>
                <p:cNvPr id="15664" name="Freeform: Shape 15663">
                  <a:extLst>
                    <a:ext uri="{FF2B5EF4-FFF2-40B4-BE49-F238E27FC236}">
                      <a16:creationId xmlns:a16="http://schemas.microsoft.com/office/drawing/2014/main" id="{3526709D-C326-D594-408A-9957D55BCB13}"/>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65" name="Freeform: Shape 15664">
                  <a:extLst>
                    <a:ext uri="{FF2B5EF4-FFF2-40B4-BE49-F238E27FC236}">
                      <a16:creationId xmlns:a16="http://schemas.microsoft.com/office/drawing/2014/main" id="{5DF55882-60D0-ACF6-0CB7-C5FB59316F6F}"/>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1" name="Graphic 790">
                <a:extLst>
                  <a:ext uri="{FF2B5EF4-FFF2-40B4-BE49-F238E27FC236}">
                    <a16:creationId xmlns:a16="http://schemas.microsoft.com/office/drawing/2014/main" id="{1D2C33A4-3AC1-E2F8-61BB-66C5D82FA9E5}"/>
                  </a:ext>
                </a:extLst>
              </p:cNvPr>
              <p:cNvGrpSpPr/>
              <p:nvPr/>
            </p:nvGrpSpPr>
            <p:grpSpPr>
              <a:xfrm>
                <a:off x="6254590" y="3598449"/>
                <a:ext cx="75723" cy="75723"/>
                <a:chOff x="6254590" y="3598449"/>
                <a:chExt cx="75723" cy="75723"/>
              </a:xfrm>
            </p:grpSpPr>
            <p:sp>
              <p:nvSpPr>
                <p:cNvPr id="15662" name="Freeform: Shape 15661">
                  <a:extLst>
                    <a:ext uri="{FF2B5EF4-FFF2-40B4-BE49-F238E27FC236}">
                      <a16:creationId xmlns:a16="http://schemas.microsoft.com/office/drawing/2014/main" id="{85BA3787-E507-81FF-5BE7-CED33E5F926B}"/>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63" name="Freeform: Shape 15662">
                  <a:extLst>
                    <a:ext uri="{FF2B5EF4-FFF2-40B4-BE49-F238E27FC236}">
                      <a16:creationId xmlns:a16="http://schemas.microsoft.com/office/drawing/2014/main" id="{DDBC810F-C8EC-0603-D826-119B4504DF14}"/>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2" name="Graphic 790">
                <a:extLst>
                  <a:ext uri="{FF2B5EF4-FFF2-40B4-BE49-F238E27FC236}">
                    <a16:creationId xmlns:a16="http://schemas.microsoft.com/office/drawing/2014/main" id="{A784EFAE-BAA1-29B8-F9CF-2EEF5F2282AE}"/>
                  </a:ext>
                </a:extLst>
              </p:cNvPr>
              <p:cNvGrpSpPr/>
              <p:nvPr/>
            </p:nvGrpSpPr>
            <p:grpSpPr>
              <a:xfrm>
                <a:off x="6192773" y="3598449"/>
                <a:ext cx="75723" cy="75723"/>
                <a:chOff x="6192773" y="3598449"/>
                <a:chExt cx="75723" cy="75723"/>
              </a:xfrm>
            </p:grpSpPr>
            <p:sp>
              <p:nvSpPr>
                <p:cNvPr id="15660" name="Freeform: Shape 15659">
                  <a:extLst>
                    <a:ext uri="{FF2B5EF4-FFF2-40B4-BE49-F238E27FC236}">
                      <a16:creationId xmlns:a16="http://schemas.microsoft.com/office/drawing/2014/main" id="{4AE1F0AF-1877-ECE9-B4D0-4F9D4A37881A}"/>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61" name="Freeform: Shape 15660">
                  <a:extLst>
                    <a:ext uri="{FF2B5EF4-FFF2-40B4-BE49-F238E27FC236}">
                      <a16:creationId xmlns:a16="http://schemas.microsoft.com/office/drawing/2014/main" id="{72C421EC-21F7-694E-26B2-D75062DDDE2C}"/>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3" name="Graphic 790">
                <a:extLst>
                  <a:ext uri="{FF2B5EF4-FFF2-40B4-BE49-F238E27FC236}">
                    <a16:creationId xmlns:a16="http://schemas.microsoft.com/office/drawing/2014/main" id="{09B331AA-A1CD-1989-25DB-C5FE949A8E03}"/>
                  </a:ext>
                </a:extLst>
              </p:cNvPr>
              <p:cNvGrpSpPr/>
              <p:nvPr/>
            </p:nvGrpSpPr>
            <p:grpSpPr>
              <a:xfrm>
                <a:off x="6174104" y="3598449"/>
                <a:ext cx="75723" cy="75723"/>
                <a:chOff x="6174104" y="3598449"/>
                <a:chExt cx="75723" cy="75723"/>
              </a:xfrm>
            </p:grpSpPr>
            <p:sp>
              <p:nvSpPr>
                <p:cNvPr id="15658" name="Freeform: Shape 15657">
                  <a:extLst>
                    <a:ext uri="{FF2B5EF4-FFF2-40B4-BE49-F238E27FC236}">
                      <a16:creationId xmlns:a16="http://schemas.microsoft.com/office/drawing/2014/main" id="{B778D4BE-30E1-F398-B3FD-D4FE39107472}"/>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59" name="Freeform: Shape 15658">
                  <a:extLst>
                    <a:ext uri="{FF2B5EF4-FFF2-40B4-BE49-F238E27FC236}">
                      <a16:creationId xmlns:a16="http://schemas.microsoft.com/office/drawing/2014/main" id="{4A2205E3-1778-5A01-A5BD-A26CB35D3B41}"/>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4" name="Graphic 790">
                <a:extLst>
                  <a:ext uri="{FF2B5EF4-FFF2-40B4-BE49-F238E27FC236}">
                    <a16:creationId xmlns:a16="http://schemas.microsoft.com/office/drawing/2014/main" id="{B995DAD9-AF13-CD61-7F45-46EC93646F80}"/>
                  </a:ext>
                </a:extLst>
              </p:cNvPr>
              <p:cNvGrpSpPr/>
              <p:nvPr/>
            </p:nvGrpSpPr>
            <p:grpSpPr>
              <a:xfrm>
                <a:off x="6096475" y="3598449"/>
                <a:ext cx="75723" cy="75723"/>
                <a:chOff x="6096475" y="3598449"/>
                <a:chExt cx="75723" cy="75723"/>
              </a:xfrm>
            </p:grpSpPr>
            <p:sp>
              <p:nvSpPr>
                <p:cNvPr id="15656" name="Freeform: Shape 15655">
                  <a:extLst>
                    <a:ext uri="{FF2B5EF4-FFF2-40B4-BE49-F238E27FC236}">
                      <a16:creationId xmlns:a16="http://schemas.microsoft.com/office/drawing/2014/main" id="{77CB7EDF-E904-355C-C8FF-C3E9B063F270}"/>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57" name="Freeform: Shape 15656">
                  <a:extLst>
                    <a:ext uri="{FF2B5EF4-FFF2-40B4-BE49-F238E27FC236}">
                      <a16:creationId xmlns:a16="http://schemas.microsoft.com/office/drawing/2014/main" id="{CC82724E-F07D-DB54-1474-4B32C07796D8}"/>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5" name="Graphic 790">
                <a:extLst>
                  <a:ext uri="{FF2B5EF4-FFF2-40B4-BE49-F238E27FC236}">
                    <a16:creationId xmlns:a16="http://schemas.microsoft.com/office/drawing/2014/main" id="{6F8BED7D-5149-B6CC-7981-B2AC92412DBA}"/>
                  </a:ext>
                </a:extLst>
              </p:cNvPr>
              <p:cNvGrpSpPr/>
              <p:nvPr/>
            </p:nvGrpSpPr>
            <p:grpSpPr>
              <a:xfrm>
                <a:off x="6078759" y="3598449"/>
                <a:ext cx="75628" cy="75723"/>
                <a:chOff x="6078759" y="3598449"/>
                <a:chExt cx="75628" cy="75723"/>
              </a:xfrm>
            </p:grpSpPr>
            <p:sp>
              <p:nvSpPr>
                <p:cNvPr id="15654" name="Freeform: Shape 15653">
                  <a:extLst>
                    <a:ext uri="{FF2B5EF4-FFF2-40B4-BE49-F238E27FC236}">
                      <a16:creationId xmlns:a16="http://schemas.microsoft.com/office/drawing/2014/main" id="{95D1DDD0-A5FE-2889-6321-D4BC73A70101}"/>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55" name="Freeform: Shape 15654">
                  <a:extLst>
                    <a:ext uri="{FF2B5EF4-FFF2-40B4-BE49-F238E27FC236}">
                      <a16:creationId xmlns:a16="http://schemas.microsoft.com/office/drawing/2014/main" id="{5049A7EB-B8E7-C0B7-C6BD-172692444B96}"/>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6" name="Graphic 790">
                <a:extLst>
                  <a:ext uri="{FF2B5EF4-FFF2-40B4-BE49-F238E27FC236}">
                    <a16:creationId xmlns:a16="http://schemas.microsoft.com/office/drawing/2014/main" id="{A019BB8D-565D-CAAF-BF7F-A4FB44BD573A}"/>
                  </a:ext>
                </a:extLst>
              </p:cNvPr>
              <p:cNvGrpSpPr/>
              <p:nvPr/>
            </p:nvGrpSpPr>
            <p:grpSpPr>
              <a:xfrm>
                <a:off x="6039135" y="3546442"/>
                <a:ext cx="75723" cy="75628"/>
                <a:chOff x="6039135" y="3546442"/>
                <a:chExt cx="75723" cy="75628"/>
              </a:xfrm>
            </p:grpSpPr>
            <p:sp>
              <p:nvSpPr>
                <p:cNvPr id="15652" name="Freeform: Shape 15651">
                  <a:extLst>
                    <a:ext uri="{FF2B5EF4-FFF2-40B4-BE49-F238E27FC236}">
                      <a16:creationId xmlns:a16="http://schemas.microsoft.com/office/drawing/2014/main" id="{DF12FE46-04CF-3DF0-9ED6-AA6853D272C4}"/>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53" name="Freeform: Shape 15652">
                  <a:extLst>
                    <a:ext uri="{FF2B5EF4-FFF2-40B4-BE49-F238E27FC236}">
                      <a16:creationId xmlns:a16="http://schemas.microsoft.com/office/drawing/2014/main" id="{EFD269D0-C51F-AE69-41D2-9382F81861C1}"/>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7" name="Graphic 790">
                <a:extLst>
                  <a:ext uri="{FF2B5EF4-FFF2-40B4-BE49-F238E27FC236}">
                    <a16:creationId xmlns:a16="http://schemas.microsoft.com/office/drawing/2014/main" id="{2F12553E-8804-55C2-1BA9-9EE887961BF1}"/>
                  </a:ext>
                </a:extLst>
              </p:cNvPr>
              <p:cNvGrpSpPr/>
              <p:nvPr/>
            </p:nvGrpSpPr>
            <p:grpSpPr>
              <a:xfrm>
                <a:off x="5977984" y="3472814"/>
                <a:ext cx="75628" cy="75723"/>
                <a:chOff x="5977984" y="3472814"/>
                <a:chExt cx="75628" cy="75723"/>
              </a:xfrm>
            </p:grpSpPr>
            <p:sp>
              <p:nvSpPr>
                <p:cNvPr id="15650" name="Freeform: Shape 15649">
                  <a:extLst>
                    <a:ext uri="{FF2B5EF4-FFF2-40B4-BE49-F238E27FC236}">
                      <a16:creationId xmlns:a16="http://schemas.microsoft.com/office/drawing/2014/main" id="{CC322F68-26D9-944A-1F92-42F916903B50}"/>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51" name="Freeform: Shape 15650">
                  <a:extLst>
                    <a:ext uri="{FF2B5EF4-FFF2-40B4-BE49-F238E27FC236}">
                      <a16:creationId xmlns:a16="http://schemas.microsoft.com/office/drawing/2014/main" id="{87177DCB-B9B8-07D0-23FC-C12373DE6CCA}"/>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8" name="Graphic 790">
                <a:extLst>
                  <a:ext uri="{FF2B5EF4-FFF2-40B4-BE49-F238E27FC236}">
                    <a16:creationId xmlns:a16="http://schemas.microsoft.com/office/drawing/2014/main" id="{51357177-BFB8-153A-8A56-9ED1F1E198B7}"/>
                  </a:ext>
                </a:extLst>
              </p:cNvPr>
              <p:cNvGrpSpPr/>
              <p:nvPr/>
            </p:nvGrpSpPr>
            <p:grpSpPr>
              <a:xfrm>
                <a:off x="5730715" y="3443096"/>
                <a:ext cx="75723" cy="75723"/>
                <a:chOff x="5730715" y="3443096"/>
                <a:chExt cx="75723" cy="75723"/>
              </a:xfrm>
            </p:grpSpPr>
            <p:sp>
              <p:nvSpPr>
                <p:cNvPr id="15648" name="Freeform: Shape 15647">
                  <a:extLst>
                    <a:ext uri="{FF2B5EF4-FFF2-40B4-BE49-F238E27FC236}">
                      <a16:creationId xmlns:a16="http://schemas.microsoft.com/office/drawing/2014/main" id="{934B00A0-4308-FBE7-C02F-66962E2511B3}"/>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49" name="Freeform: Shape 15648">
                  <a:extLst>
                    <a:ext uri="{FF2B5EF4-FFF2-40B4-BE49-F238E27FC236}">
                      <a16:creationId xmlns:a16="http://schemas.microsoft.com/office/drawing/2014/main" id="{7524BB2E-BBBA-10F5-6743-F933E70D443D}"/>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79" name="Graphic 790">
                <a:extLst>
                  <a:ext uri="{FF2B5EF4-FFF2-40B4-BE49-F238E27FC236}">
                    <a16:creationId xmlns:a16="http://schemas.microsoft.com/office/drawing/2014/main" id="{9B54A66A-B720-420C-ACBF-87615A5A196E}"/>
                  </a:ext>
                </a:extLst>
              </p:cNvPr>
              <p:cNvGrpSpPr/>
              <p:nvPr/>
            </p:nvGrpSpPr>
            <p:grpSpPr>
              <a:xfrm>
                <a:off x="5503449" y="3300793"/>
                <a:ext cx="75723" cy="75723"/>
                <a:chOff x="5503449" y="3300793"/>
                <a:chExt cx="75723" cy="75723"/>
              </a:xfrm>
            </p:grpSpPr>
            <p:sp>
              <p:nvSpPr>
                <p:cNvPr id="15646" name="Freeform: Shape 15645">
                  <a:extLst>
                    <a:ext uri="{FF2B5EF4-FFF2-40B4-BE49-F238E27FC236}">
                      <a16:creationId xmlns:a16="http://schemas.microsoft.com/office/drawing/2014/main" id="{06EF8E8B-8268-E009-238A-4922D14F123A}"/>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47" name="Freeform: Shape 15646">
                  <a:extLst>
                    <a:ext uri="{FF2B5EF4-FFF2-40B4-BE49-F238E27FC236}">
                      <a16:creationId xmlns:a16="http://schemas.microsoft.com/office/drawing/2014/main" id="{CF022760-C123-D3B3-6A69-504566666F4A}"/>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0" name="Graphic 790">
                <a:extLst>
                  <a:ext uri="{FF2B5EF4-FFF2-40B4-BE49-F238E27FC236}">
                    <a16:creationId xmlns:a16="http://schemas.microsoft.com/office/drawing/2014/main" id="{736BA3FA-EECC-5338-2D0F-7E8CA2A0C4EE}"/>
                  </a:ext>
                </a:extLst>
              </p:cNvPr>
              <p:cNvGrpSpPr/>
              <p:nvPr/>
            </p:nvGrpSpPr>
            <p:grpSpPr>
              <a:xfrm>
                <a:off x="5338095" y="3244786"/>
                <a:ext cx="75628" cy="75723"/>
                <a:chOff x="5338095" y="3244786"/>
                <a:chExt cx="75628" cy="75723"/>
              </a:xfrm>
            </p:grpSpPr>
            <p:sp>
              <p:nvSpPr>
                <p:cNvPr id="15644" name="Freeform: Shape 15643">
                  <a:extLst>
                    <a:ext uri="{FF2B5EF4-FFF2-40B4-BE49-F238E27FC236}">
                      <a16:creationId xmlns:a16="http://schemas.microsoft.com/office/drawing/2014/main" id="{9F73692C-6964-8C97-0F88-606C9C251920}"/>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45" name="Freeform: Shape 15644">
                  <a:extLst>
                    <a:ext uri="{FF2B5EF4-FFF2-40B4-BE49-F238E27FC236}">
                      <a16:creationId xmlns:a16="http://schemas.microsoft.com/office/drawing/2014/main" id="{ADB0384D-5479-479C-C0B9-744CD68D52D6}"/>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1" name="Graphic 790">
                <a:extLst>
                  <a:ext uri="{FF2B5EF4-FFF2-40B4-BE49-F238E27FC236}">
                    <a16:creationId xmlns:a16="http://schemas.microsoft.com/office/drawing/2014/main" id="{7D89C488-159D-9A44-CCAB-C9FCDBEAFA3B}"/>
                  </a:ext>
                </a:extLst>
              </p:cNvPr>
              <p:cNvGrpSpPr/>
              <p:nvPr/>
            </p:nvGrpSpPr>
            <p:grpSpPr>
              <a:xfrm>
                <a:off x="5268753" y="3244786"/>
                <a:ext cx="75723" cy="75723"/>
                <a:chOff x="5268753" y="3244786"/>
                <a:chExt cx="75723" cy="75723"/>
              </a:xfrm>
            </p:grpSpPr>
            <p:sp>
              <p:nvSpPr>
                <p:cNvPr id="15642" name="Freeform: Shape 15641">
                  <a:extLst>
                    <a:ext uri="{FF2B5EF4-FFF2-40B4-BE49-F238E27FC236}">
                      <a16:creationId xmlns:a16="http://schemas.microsoft.com/office/drawing/2014/main" id="{6D281CEE-4F79-FB83-0529-087294D08D50}"/>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43" name="Freeform: Shape 15642">
                  <a:extLst>
                    <a:ext uri="{FF2B5EF4-FFF2-40B4-BE49-F238E27FC236}">
                      <a16:creationId xmlns:a16="http://schemas.microsoft.com/office/drawing/2014/main" id="{48C8FDD6-0D0F-8DE4-DE09-C93118C75B4C}"/>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2" name="Graphic 790">
                <a:extLst>
                  <a:ext uri="{FF2B5EF4-FFF2-40B4-BE49-F238E27FC236}">
                    <a16:creationId xmlns:a16="http://schemas.microsoft.com/office/drawing/2014/main" id="{00E44FAE-AE64-3D36-11DB-A9790A692FE7}"/>
                  </a:ext>
                </a:extLst>
              </p:cNvPr>
              <p:cNvGrpSpPr/>
              <p:nvPr/>
            </p:nvGrpSpPr>
            <p:grpSpPr>
              <a:xfrm>
                <a:off x="5234082" y="3244786"/>
                <a:ext cx="75723" cy="75723"/>
                <a:chOff x="5234082" y="3244786"/>
                <a:chExt cx="75723" cy="75723"/>
              </a:xfrm>
            </p:grpSpPr>
            <p:sp>
              <p:nvSpPr>
                <p:cNvPr id="15640" name="Freeform: Shape 15639">
                  <a:extLst>
                    <a:ext uri="{FF2B5EF4-FFF2-40B4-BE49-F238E27FC236}">
                      <a16:creationId xmlns:a16="http://schemas.microsoft.com/office/drawing/2014/main" id="{4CAD736C-A90A-3232-9AA1-4A76604EE6AC}"/>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41" name="Freeform: Shape 15640">
                  <a:extLst>
                    <a:ext uri="{FF2B5EF4-FFF2-40B4-BE49-F238E27FC236}">
                      <a16:creationId xmlns:a16="http://schemas.microsoft.com/office/drawing/2014/main" id="{ACF6E13C-DE43-46DC-2E7E-207C78D2467B}"/>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3" name="Graphic 790">
                <a:extLst>
                  <a:ext uri="{FF2B5EF4-FFF2-40B4-BE49-F238E27FC236}">
                    <a16:creationId xmlns:a16="http://schemas.microsoft.com/office/drawing/2014/main" id="{E3A87A0B-BC03-CB34-D13A-967C6EB03A17}"/>
                  </a:ext>
                </a:extLst>
              </p:cNvPr>
              <p:cNvGrpSpPr/>
              <p:nvPr/>
            </p:nvGrpSpPr>
            <p:grpSpPr>
              <a:xfrm>
                <a:off x="5211603" y="3234689"/>
                <a:ext cx="75723" cy="75723"/>
                <a:chOff x="5211603" y="3234689"/>
                <a:chExt cx="75723" cy="75723"/>
              </a:xfrm>
            </p:grpSpPr>
            <p:sp>
              <p:nvSpPr>
                <p:cNvPr id="15638" name="Freeform: Shape 15637">
                  <a:extLst>
                    <a:ext uri="{FF2B5EF4-FFF2-40B4-BE49-F238E27FC236}">
                      <a16:creationId xmlns:a16="http://schemas.microsoft.com/office/drawing/2014/main" id="{711FCC5F-0915-9974-939A-4A08270F9E1C}"/>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39" name="Freeform: Shape 15638">
                  <a:extLst>
                    <a:ext uri="{FF2B5EF4-FFF2-40B4-BE49-F238E27FC236}">
                      <a16:creationId xmlns:a16="http://schemas.microsoft.com/office/drawing/2014/main" id="{12994677-2D9D-D70F-C50D-D771A06A4AAC}"/>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4" name="Graphic 790">
                <a:extLst>
                  <a:ext uri="{FF2B5EF4-FFF2-40B4-BE49-F238E27FC236}">
                    <a16:creationId xmlns:a16="http://schemas.microsoft.com/office/drawing/2014/main" id="{7C40F454-898F-AC37-F2AC-88B49C88DBE3}"/>
                  </a:ext>
                </a:extLst>
              </p:cNvPr>
              <p:cNvGrpSpPr/>
              <p:nvPr/>
            </p:nvGrpSpPr>
            <p:grpSpPr>
              <a:xfrm>
                <a:off x="5196268" y="3222116"/>
                <a:ext cx="75723" cy="75723"/>
                <a:chOff x="5196268" y="3222116"/>
                <a:chExt cx="75723" cy="75723"/>
              </a:xfrm>
            </p:grpSpPr>
            <p:sp>
              <p:nvSpPr>
                <p:cNvPr id="15636" name="Freeform: Shape 15635">
                  <a:extLst>
                    <a:ext uri="{FF2B5EF4-FFF2-40B4-BE49-F238E27FC236}">
                      <a16:creationId xmlns:a16="http://schemas.microsoft.com/office/drawing/2014/main" id="{E10EA68B-1874-803C-CAC7-47B3F782F95B}"/>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37" name="Freeform: Shape 15636">
                  <a:extLst>
                    <a:ext uri="{FF2B5EF4-FFF2-40B4-BE49-F238E27FC236}">
                      <a16:creationId xmlns:a16="http://schemas.microsoft.com/office/drawing/2014/main" id="{ACF37656-95D2-ED8E-2E10-38DFBF0F65FD}"/>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5" name="Graphic 790">
                <a:extLst>
                  <a:ext uri="{FF2B5EF4-FFF2-40B4-BE49-F238E27FC236}">
                    <a16:creationId xmlns:a16="http://schemas.microsoft.com/office/drawing/2014/main" id="{7785DAE2-D266-A589-DFBA-3E4518E5DC9A}"/>
                  </a:ext>
                </a:extLst>
              </p:cNvPr>
              <p:cNvGrpSpPr/>
              <p:nvPr/>
            </p:nvGrpSpPr>
            <p:grpSpPr>
              <a:xfrm>
                <a:off x="5183599" y="3206971"/>
                <a:ext cx="75723" cy="75723"/>
                <a:chOff x="5183599" y="3206971"/>
                <a:chExt cx="75723" cy="75723"/>
              </a:xfrm>
            </p:grpSpPr>
            <p:sp>
              <p:nvSpPr>
                <p:cNvPr id="15634" name="Freeform: Shape 15633">
                  <a:extLst>
                    <a:ext uri="{FF2B5EF4-FFF2-40B4-BE49-F238E27FC236}">
                      <a16:creationId xmlns:a16="http://schemas.microsoft.com/office/drawing/2014/main" id="{929CEDB4-B0D2-9698-DDB0-83514B8CD6F9}"/>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35" name="Freeform: Shape 15634">
                  <a:extLst>
                    <a:ext uri="{FF2B5EF4-FFF2-40B4-BE49-F238E27FC236}">
                      <a16:creationId xmlns:a16="http://schemas.microsoft.com/office/drawing/2014/main" id="{CDAE1421-B74F-6DC7-8208-7161F6A092FD}"/>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6" name="Graphic 790">
                <a:extLst>
                  <a:ext uri="{FF2B5EF4-FFF2-40B4-BE49-F238E27FC236}">
                    <a16:creationId xmlns:a16="http://schemas.microsoft.com/office/drawing/2014/main" id="{70AEE1BF-A515-5EDE-915E-20CD735704C3}"/>
                  </a:ext>
                </a:extLst>
              </p:cNvPr>
              <p:cNvGrpSpPr/>
              <p:nvPr/>
            </p:nvGrpSpPr>
            <p:grpSpPr>
              <a:xfrm>
                <a:off x="5171217" y="3173729"/>
                <a:ext cx="75628" cy="75723"/>
                <a:chOff x="5171217" y="3173729"/>
                <a:chExt cx="75628" cy="75723"/>
              </a:xfrm>
            </p:grpSpPr>
            <p:sp>
              <p:nvSpPr>
                <p:cNvPr id="15632" name="Freeform: Shape 15631">
                  <a:extLst>
                    <a:ext uri="{FF2B5EF4-FFF2-40B4-BE49-F238E27FC236}">
                      <a16:creationId xmlns:a16="http://schemas.microsoft.com/office/drawing/2014/main" id="{58324E98-8C31-CC72-DE8E-551194F01732}"/>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33" name="Freeform: Shape 15632">
                  <a:extLst>
                    <a:ext uri="{FF2B5EF4-FFF2-40B4-BE49-F238E27FC236}">
                      <a16:creationId xmlns:a16="http://schemas.microsoft.com/office/drawing/2014/main" id="{D80F0512-01B2-DCAB-C884-521BA2C19D67}"/>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7" name="Graphic 790">
                <a:extLst>
                  <a:ext uri="{FF2B5EF4-FFF2-40B4-BE49-F238E27FC236}">
                    <a16:creationId xmlns:a16="http://schemas.microsoft.com/office/drawing/2014/main" id="{FFAD140D-19F6-825F-399C-3134F6FFB7FD}"/>
                  </a:ext>
                </a:extLst>
              </p:cNvPr>
              <p:cNvGrpSpPr/>
              <p:nvPr/>
            </p:nvGrpSpPr>
            <p:grpSpPr>
              <a:xfrm>
                <a:off x="5158453" y="3158965"/>
                <a:ext cx="75628" cy="75723"/>
                <a:chOff x="5158453" y="3158965"/>
                <a:chExt cx="75628" cy="75723"/>
              </a:xfrm>
            </p:grpSpPr>
            <p:sp>
              <p:nvSpPr>
                <p:cNvPr id="15630" name="Freeform: Shape 15629">
                  <a:extLst>
                    <a:ext uri="{FF2B5EF4-FFF2-40B4-BE49-F238E27FC236}">
                      <a16:creationId xmlns:a16="http://schemas.microsoft.com/office/drawing/2014/main" id="{892750C4-0C4A-51F6-0B82-58DD3AC7A56C}"/>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31" name="Freeform: Shape 15630">
                  <a:extLst>
                    <a:ext uri="{FF2B5EF4-FFF2-40B4-BE49-F238E27FC236}">
                      <a16:creationId xmlns:a16="http://schemas.microsoft.com/office/drawing/2014/main" id="{880A8ABE-E367-802D-1C1E-814C1550EC96}"/>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8" name="Graphic 790">
                <a:extLst>
                  <a:ext uri="{FF2B5EF4-FFF2-40B4-BE49-F238E27FC236}">
                    <a16:creationId xmlns:a16="http://schemas.microsoft.com/office/drawing/2014/main" id="{C304633E-6306-E0DE-C01D-202A683B3E9E}"/>
                  </a:ext>
                </a:extLst>
              </p:cNvPr>
              <p:cNvGrpSpPr/>
              <p:nvPr/>
            </p:nvGrpSpPr>
            <p:grpSpPr>
              <a:xfrm>
                <a:off x="5145880" y="3158965"/>
                <a:ext cx="75723" cy="75723"/>
                <a:chOff x="5145880" y="3158965"/>
                <a:chExt cx="75723" cy="75723"/>
              </a:xfrm>
            </p:grpSpPr>
            <p:sp>
              <p:nvSpPr>
                <p:cNvPr id="15628" name="Freeform: Shape 15627">
                  <a:extLst>
                    <a:ext uri="{FF2B5EF4-FFF2-40B4-BE49-F238E27FC236}">
                      <a16:creationId xmlns:a16="http://schemas.microsoft.com/office/drawing/2014/main" id="{E71217A0-9214-DE84-DE2D-C361BC773ABE}"/>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29" name="Freeform: Shape 15628">
                  <a:extLst>
                    <a:ext uri="{FF2B5EF4-FFF2-40B4-BE49-F238E27FC236}">
                      <a16:creationId xmlns:a16="http://schemas.microsoft.com/office/drawing/2014/main" id="{1FD9A54D-377E-4264-2561-A1D61BD7C05A}"/>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89" name="Graphic 790">
                <a:extLst>
                  <a:ext uri="{FF2B5EF4-FFF2-40B4-BE49-F238E27FC236}">
                    <a16:creationId xmlns:a16="http://schemas.microsoft.com/office/drawing/2014/main" id="{8C401780-C2F0-CB16-9D91-8DEF0A6971C0}"/>
                  </a:ext>
                </a:extLst>
              </p:cNvPr>
              <p:cNvGrpSpPr/>
              <p:nvPr/>
            </p:nvGrpSpPr>
            <p:grpSpPr>
              <a:xfrm>
                <a:off x="5133307" y="3158965"/>
                <a:ext cx="75723" cy="75723"/>
                <a:chOff x="5133307" y="3158965"/>
                <a:chExt cx="75723" cy="75723"/>
              </a:xfrm>
            </p:grpSpPr>
            <p:sp>
              <p:nvSpPr>
                <p:cNvPr id="15626" name="Freeform: Shape 15625">
                  <a:extLst>
                    <a:ext uri="{FF2B5EF4-FFF2-40B4-BE49-F238E27FC236}">
                      <a16:creationId xmlns:a16="http://schemas.microsoft.com/office/drawing/2014/main" id="{80FAB04C-1C18-BCC5-56DF-AE432DEC9191}"/>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27" name="Freeform: Shape 15626">
                  <a:extLst>
                    <a:ext uri="{FF2B5EF4-FFF2-40B4-BE49-F238E27FC236}">
                      <a16:creationId xmlns:a16="http://schemas.microsoft.com/office/drawing/2014/main" id="{2ACA9730-8492-B551-A888-86D71FF08E22}"/>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0" name="Graphic 790">
                <a:extLst>
                  <a:ext uri="{FF2B5EF4-FFF2-40B4-BE49-F238E27FC236}">
                    <a16:creationId xmlns:a16="http://schemas.microsoft.com/office/drawing/2014/main" id="{88C0E0B6-01C6-489B-06AE-512316FCA057}"/>
                  </a:ext>
                </a:extLst>
              </p:cNvPr>
              <p:cNvGrpSpPr/>
              <p:nvPr/>
            </p:nvGrpSpPr>
            <p:grpSpPr>
              <a:xfrm>
                <a:off x="4973287" y="3133057"/>
                <a:ext cx="75723" cy="75723"/>
                <a:chOff x="4973287" y="3133057"/>
                <a:chExt cx="75723" cy="75723"/>
              </a:xfrm>
            </p:grpSpPr>
            <p:sp>
              <p:nvSpPr>
                <p:cNvPr id="15624" name="Freeform: Shape 15623">
                  <a:extLst>
                    <a:ext uri="{FF2B5EF4-FFF2-40B4-BE49-F238E27FC236}">
                      <a16:creationId xmlns:a16="http://schemas.microsoft.com/office/drawing/2014/main" id="{43422C4C-3F9E-0EE4-AA6C-B48A63F1D8F5}"/>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25" name="Freeform: Shape 15624">
                  <a:extLst>
                    <a:ext uri="{FF2B5EF4-FFF2-40B4-BE49-F238E27FC236}">
                      <a16:creationId xmlns:a16="http://schemas.microsoft.com/office/drawing/2014/main" id="{DD168C1C-BE08-EFC4-0F10-5DDDE7326500}"/>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1" name="Graphic 790">
                <a:extLst>
                  <a:ext uri="{FF2B5EF4-FFF2-40B4-BE49-F238E27FC236}">
                    <a16:creationId xmlns:a16="http://schemas.microsoft.com/office/drawing/2014/main" id="{4E61E999-6FE1-5D03-7CAA-575BBC8199E3}"/>
                  </a:ext>
                </a:extLst>
              </p:cNvPr>
              <p:cNvGrpSpPr/>
              <p:nvPr/>
            </p:nvGrpSpPr>
            <p:grpSpPr>
              <a:xfrm>
                <a:off x="4802980" y="3087052"/>
                <a:ext cx="75723" cy="75723"/>
                <a:chOff x="4802980" y="3087052"/>
                <a:chExt cx="75723" cy="75723"/>
              </a:xfrm>
            </p:grpSpPr>
            <p:sp>
              <p:nvSpPr>
                <p:cNvPr id="15622" name="Freeform: Shape 15621">
                  <a:extLst>
                    <a:ext uri="{FF2B5EF4-FFF2-40B4-BE49-F238E27FC236}">
                      <a16:creationId xmlns:a16="http://schemas.microsoft.com/office/drawing/2014/main" id="{0DDC8C66-EEE1-B695-0A7B-93A2A71D750C}"/>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23" name="Freeform: Shape 15622">
                  <a:extLst>
                    <a:ext uri="{FF2B5EF4-FFF2-40B4-BE49-F238E27FC236}">
                      <a16:creationId xmlns:a16="http://schemas.microsoft.com/office/drawing/2014/main" id="{F3F24A5B-6F0A-4598-B1E1-9880DC311A95}"/>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2" name="Graphic 790">
                <a:extLst>
                  <a:ext uri="{FF2B5EF4-FFF2-40B4-BE49-F238E27FC236}">
                    <a16:creationId xmlns:a16="http://schemas.microsoft.com/office/drawing/2014/main" id="{606A0B97-B228-0734-ED3A-9A6DFB2654A1}"/>
                  </a:ext>
                </a:extLst>
              </p:cNvPr>
              <p:cNvGrpSpPr/>
              <p:nvPr/>
            </p:nvGrpSpPr>
            <p:grpSpPr>
              <a:xfrm>
                <a:off x="4788502" y="3073240"/>
                <a:ext cx="75723" cy="75723"/>
                <a:chOff x="4788502" y="3073240"/>
                <a:chExt cx="75723" cy="75723"/>
              </a:xfrm>
            </p:grpSpPr>
            <p:sp>
              <p:nvSpPr>
                <p:cNvPr id="15620" name="Freeform: Shape 15619">
                  <a:extLst>
                    <a:ext uri="{FF2B5EF4-FFF2-40B4-BE49-F238E27FC236}">
                      <a16:creationId xmlns:a16="http://schemas.microsoft.com/office/drawing/2014/main" id="{C6679377-3435-71F0-E5AA-960081C6C86F}"/>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21" name="Freeform: Shape 15620">
                  <a:extLst>
                    <a:ext uri="{FF2B5EF4-FFF2-40B4-BE49-F238E27FC236}">
                      <a16:creationId xmlns:a16="http://schemas.microsoft.com/office/drawing/2014/main" id="{F96D3C78-B0C1-6034-8A62-963B3A8AE7F6}"/>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3" name="Graphic 790">
                <a:extLst>
                  <a:ext uri="{FF2B5EF4-FFF2-40B4-BE49-F238E27FC236}">
                    <a16:creationId xmlns:a16="http://schemas.microsoft.com/office/drawing/2014/main" id="{5886412C-5CD8-D6A5-CCF0-F52E9664FA6C}"/>
                  </a:ext>
                </a:extLst>
              </p:cNvPr>
              <p:cNvGrpSpPr/>
              <p:nvPr/>
            </p:nvGrpSpPr>
            <p:grpSpPr>
              <a:xfrm>
                <a:off x="4634864" y="2850260"/>
                <a:ext cx="75723" cy="75723"/>
                <a:chOff x="4634864" y="2850260"/>
                <a:chExt cx="75723" cy="75723"/>
              </a:xfrm>
            </p:grpSpPr>
            <p:sp>
              <p:nvSpPr>
                <p:cNvPr id="15618" name="Freeform: Shape 15617">
                  <a:extLst>
                    <a:ext uri="{FF2B5EF4-FFF2-40B4-BE49-F238E27FC236}">
                      <a16:creationId xmlns:a16="http://schemas.microsoft.com/office/drawing/2014/main" id="{068FB183-0EA2-7AE4-B318-D0CD5FFA5565}"/>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9" name="Freeform: Shape 15618">
                  <a:extLst>
                    <a:ext uri="{FF2B5EF4-FFF2-40B4-BE49-F238E27FC236}">
                      <a16:creationId xmlns:a16="http://schemas.microsoft.com/office/drawing/2014/main" id="{7B112F53-FD47-0A0D-D94E-5AE8E468793F}"/>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4" name="Graphic 790">
                <a:extLst>
                  <a:ext uri="{FF2B5EF4-FFF2-40B4-BE49-F238E27FC236}">
                    <a16:creationId xmlns:a16="http://schemas.microsoft.com/office/drawing/2014/main" id="{CA448B43-1F1F-3A78-DB89-71867B450450}"/>
                  </a:ext>
                </a:extLst>
              </p:cNvPr>
              <p:cNvGrpSpPr/>
              <p:nvPr/>
            </p:nvGrpSpPr>
            <p:grpSpPr>
              <a:xfrm>
                <a:off x="4664106" y="2856928"/>
                <a:ext cx="98964" cy="89630"/>
                <a:chOff x="4664106" y="2856928"/>
                <a:chExt cx="98964" cy="89630"/>
              </a:xfrm>
            </p:grpSpPr>
            <p:sp>
              <p:nvSpPr>
                <p:cNvPr id="15614" name="Freeform: Shape 15613">
                  <a:extLst>
                    <a:ext uri="{FF2B5EF4-FFF2-40B4-BE49-F238E27FC236}">
                      <a16:creationId xmlns:a16="http://schemas.microsoft.com/office/drawing/2014/main" id="{58EDB191-5E73-EE0E-6D69-9B1C95201048}"/>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5" name="Freeform: Shape 15614">
                  <a:extLst>
                    <a:ext uri="{FF2B5EF4-FFF2-40B4-BE49-F238E27FC236}">
                      <a16:creationId xmlns:a16="http://schemas.microsoft.com/office/drawing/2014/main" id="{938D7E81-4E86-6C80-DAE2-FBD926374398}"/>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6" name="Freeform: Shape 15615">
                  <a:extLst>
                    <a:ext uri="{FF2B5EF4-FFF2-40B4-BE49-F238E27FC236}">
                      <a16:creationId xmlns:a16="http://schemas.microsoft.com/office/drawing/2014/main" id="{2B2CAF79-7468-6F41-464A-2AE6AD81A7AB}"/>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7" name="Freeform: Shape 15616">
                  <a:extLst>
                    <a:ext uri="{FF2B5EF4-FFF2-40B4-BE49-F238E27FC236}">
                      <a16:creationId xmlns:a16="http://schemas.microsoft.com/office/drawing/2014/main" id="{22722A5A-0BA8-E6FE-4B5A-F538C64E6815}"/>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5" name="Graphic 790">
                <a:extLst>
                  <a:ext uri="{FF2B5EF4-FFF2-40B4-BE49-F238E27FC236}">
                    <a16:creationId xmlns:a16="http://schemas.microsoft.com/office/drawing/2014/main" id="{4E2E2977-E54B-4E6E-64F4-E1852AE2F743}"/>
                  </a:ext>
                </a:extLst>
              </p:cNvPr>
              <p:cNvGrpSpPr/>
              <p:nvPr/>
            </p:nvGrpSpPr>
            <p:grpSpPr>
              <a:xfrm>
                <a:off x="4725256" y="2932651"/>
                <a:ext cx="75628" cy="75628"/>
                <a:chOff x="4725256" y="2932651"/>
                <a:chExt cx="75628" cy="75628"/>
              </a:xfrm>
            </p:grpSpPr>
            <p:sp>
              <p:nvSpPr>
                <p:cNvPr id="15612" name="Freeform: Shape 15611">
                  <a:extLst>
                    <a:ext uri="{FF2B5EF4-FFF2-40B4-BE49-F238E27FC236}">
                      <a16:creationId xmlns:a16="http://schemas.microsoft.com/office/drawing/2014/main" id="{F4AD04A3-8F9E-179C-0879-625A12D41C7A}"/>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3" name="Freeform: Shape 15612">
                  <a:extLst>
                    <a:ext uri="{FF2B5EF4-FFF2-40B4-BE49-F238E27FC236}">
                      <a16:creationId xmlns:a16="http://schemas.microsoft.com/office/drawing/2014/main" id="{166BB280-79CD-640B-3127-33E89EEBF5DD}"/>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6" name="Graphic 790">
                <a:extLst>
                  <a:ext uri="{FF2B5EF4-FFF2-40B4-BE49-F238E27FC236}">
                    <a16:creationId xmlns:a16="http://schemas.microsoft.com/office/drawing/2014/main" id="{90BD633B-3592-EAD8-1940-4967EEEF171B}"/>
                  </a:ext>
                </a:extLst>
              </p:cNvPr>
              <p:cNvGrpSpPr/>
              <p:nvPr/>
            </p:nvGrpSpPr>
            <p:grpSpPr>
              <a:xfrm>
                <a:off x="4734972" y="2977038"/>
                <a:ext cx="75628" cy="75723"/>
                <a:chOff x="4734972" y="2977038"/>
                <a:chExt cx="75628" cy="75723"/>
              </a:xfrm>
            </p:grpSpPr>
            <p:sp>
              <p:nvSpPr>
                <p:cNvPr id="15610" name="Freeform: Shape 15609">
                  <a:extLst>
                    <a:ext uri="{FF2B5EF4-FFF2-40B4-BE49-F238E27FC236}">
                      <a16:creationId xmlns:a16="http://schemas.microsoft.com/office/drawing/2014/main" id="{FA08A88D-B263-D814-2028-EC133A626B32}"/>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11" name="Freeform: Shape 15610">
                  <a:extLst>
                    <a:ext uri="{FF2B5EF4-FFF2-40B4-BE49-F238E27FC236}">
                      <a16:creationId xmlns:a16="http://schemas.microsoft.com/office/drawing/2014/main" id="{9A4FCD26-A8B3-9D3E-0CA8-49CABEB0CD05}"/>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7" name="Graphic 790">
                <a:extLst>
                  <a:ext uri="{FF2B5EF4-FFF2-40B4-BE49-F238E27FC236}">
                    <a16:creationId xmlns:a16="http://schemas.microsoft.com/office/drawing/2014/main" id="{6EC641FB-3192-9C1A-1CC9-9F685441C6D9}"/>
                  </a:ext>
                </a:extLst>
              </p:cNvPr>
              <p:cNvGrpSpPr/>
              <p:nvPr/>
            </p:nvGrpSpPr>
            <p:grpSpPr>
              <a:xfrm>
                <a:off x="4744021" y="3008280"/>
                <a:ext cx="75723" cy="75723"/>
                <a:chOff x="4744021" y="3008280"/>
                <a:chExt cx="75723" cy="75723"/>
              </a:xfrm>
            </p:grpSpPr>
            <p:sp>
              <p:nvSpPr>
                <p:cNvPr id="15608" name="Freeform: Shape 15607">
                  <a:extLst>
                    <a:ext uri="{FF2B5EF4-FFF2-40B4-BE49-F238E27FC236}">
                      <a16:creationId xmlns:a16="http://schemas.microsoft.com/office/drawing/2014/main" id="{FD05CF1C-0712-084E-7D6A-6584D41D110C}"/>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09" name="Freeform: Shape 15608">
                  <a:extLst>
                    <a:ext uri="{FF2B5EF4-FFF2-40B4-BE49-F238E27FC236}">
                      <a16:creationId xmlns:a16="http://schemas.microsoft.com/office/drawing/2014/main" id="{C94D3775-9B70-937B-52CA-1505C901520C}"/>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8" name="Graphic 790">
                <a:extLst>
                  <a:ext uri="{FF2B5EF4-FFF2-40B4-BE49-F238E27FC236}">
                    <a16:creationId xmlns:a16="http://schemas.microsoft.com/office/drawing/2014/main" id="{90056C95-8857-DBA2-2C2F-FDC0F4B16422}"/>
                  </a:ext>
                </a:extLst>
              </p:cNvPr>
              <p:cNvGrpSpPr/>
              <p:nvPr/>
            </p:nvGrpSpPr>
            <p:grpSpPr>
              <a:xfrm>
                <a:off x="4765166" y="3033045"/>
                <a:ext cx="75628" cy="75723"/>
                <a:chOff x="4765166" y="3033045"/>
                <a:chExt cx="75628" cy="75723"/>
              </a:xfrm>
            </p:grpSpPr>
            <p:sp>
              <p:nvSpPr>
                <p:cNvPr id="15606" name="Freeform: Shape 15605">
                  <a:extLst>
                    <a:ext uri="{FF2B5EF4-FFF2-40B4-BE49-F238E27FC236}">
                      <a16:creationId xmlns:a16="http://schemas.microsoft.com/office/drawing/2014/main" id="{EF01F4A2-3014-0C6D-C84F-AD8163F20860}"/>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07" name="Freeform: Shape 15606">
                  <a:extLst>
                    <a:ext uri="{FF2B5EF4-FFF2-40B4-BE49-F238E27FC236}">
                      <a16:creationId xmlns:a16="http://schemas.microsoft.com/office/drawing/2014/main" id="{8F042AF8-2913-5395-D1DF-186DDBE06BD0}"/>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399" name="Graphic 790">
                <a:extLst>
                  <a:ext uri="{FF2B5EF4-FFF2-40B4-BE49-F238E27FC236}">
                    <a16:creationId xmlns:a16="http://schemas.microsoft.com/office/drawing/2014/main" id="{ADB73A0B-6A52-D756-1C4C-D6688BB36A08}"/>
                  </a:ext>
                </a:extLst>
              </p:cNvPr>
              <p:cNvGrpSpPr/>
              <p:nvPr/>
            </p:nvGrpSpPr>
            <p:grpSpPr>
              <a:xfrm>
                <a:off x="4499895" y="2814732"/>
                <a:ext cx="75628" cy="75723"/>
                <a:chOff x="4499895" y="2814732"/>
                <a:chExt cx="75628" cy="75723"/>
              </a:xfrm>
            </p:grpSpPr>
            <p:sp>
              <p:nvSpPr>
                <p:cNvPr id="15604" name="Freeform: Shape 15603">
                  <a:extLst>
                    <a:ext uri="{FF2B5EF4-FFF2-40B4-BE49-F238E27FC236}">
                      <a16:creationId xmlns:a16="http://schemas.microsoft.com/office/drawing/2014/main" id="{BF1FBA68-AC63-A579-AFD7-963F8F4F738D}"/>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05" name="Freeform: Shape 15604">
                  <a:extLst>
                    <a:ext uri="{FF2B5EF4-FFF2-40B4-BE49-F238E27FC236}">
                      <a16:creationId xmlns:a16="http://schemas.microsoft.com/office/drawing/2014/main" id="{3C213A75-E0BF-CE6B-6A38-D8340757D362}"/>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0" name="Graphic 790">
                <a:extLst>
                  <a:ext uri="{FF2B5EF4-FFF2-40B4-BE49-F238E27FC236}">
                    <a16:creationId xmlns:a16="http://schemas.microsoft.com/office/drawing/2014/main" id="{5C45C417-42F7-4064-72C8-C413A1865080}"/>
                  </a:ext>
                </a:extLst>
              </p:cNvPr>
              <p:cNvGrpSpPr/>
              <p:nvPr/>
            </p:nvGrpSpPr>
            <p:grpSpPr>
              <a:xfrm>
                <a:off x="4424171" y="2808731"/>
                <a:ext cx="75723" cy="75628"/>
                <a:chOff x="4424171" y="2808731"/>
                <a:chExt cx="75723" cy="75628"/>
              </a:xfrm>
            </p:grpSpPr>
            <p:sp>
              <p:nvSpPr>
                <p:cNvPr id="15602" name="Freeform: Shape 15601">
                  <a:extLst>
                    <a:ext uri="{FF2B5EF4-FFF2-40B4-BE49-F238E27FC236}">
                      <a16:creationId xmlns:a16="http://schemas.microsoft.com/office/drawing/2014/main" id="{F2FAED62-6DD6-2929-BF33-E9099BEE7A2F}"/>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03" name="Freeform: Shape 15602">
                  <a:extLst>
                    <a:ext uri="{FF2B5EF4-FFF2-40B4-BE49-F238E27FC236}">
                      <a16:creationId xmlns:a16="http://schemas.microsoft.com/office/drawing/2014/main" id="{BD3E9835-B806-C94F-C971-AF89E830CD1F}"/>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1" name="Graphic 790">
                <a:extLst>
                  <a:ext uri="{FF2B5EF4-FFF2-40B4-BE49-F238E27FC236}">
                    <a16:creationId xmlns:a16="http://schemas.microsoft.com/office/drawing/2014/main" id="{A742F7B3-4FDB-EF3E-E0F1-163AE149F388}"/>
                  </a:ext>
                </a:extLst>
              </p:cNvPr>
              <p:cNvGrpSpPr/>
              <p:nvPr/>
            </p:nvGrpSpPr>
            <p:grpSpPr>
              <a:xfrm>
                <a:off x="4203286" y="2576416"/>
                <a:ext cx="75723" cy="75723"/>
                <a:chOff x="4203286" y="2576416"/>
                <a:chExt cx="75723" cy="75723"/>
              </a:xfrm>
            </p:grpSpPr>
            <p:sp>
              <p:nvSpPr>
                <p:cNvPr id="15600" name="Freeform: Shape 15599">
                  <a:extLst>
                    <a:ext uri="{FF2B5EF4-FFF2-40B4-BE49-F238E27FC236}">
                      <a16:creationId xmlns:a16="http://schemas.microsoft.com/office/drawing/2014/main" id="{B70096FA-D489-E8FA-4B9D-50CACAFB7423}"/>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601" name="Freeform: Shape 15600">
                  <a:extLst>
                    <a:ext uri="{FF2B5EF4-FFF2-40B4-BE49-F238E27FC236}">
                      <a16:creationId xmlns:a16="http://schemas.microsoft.com/office/drawing/2014/main" id="{5A613E11-0869-2AFB-0CF3-78029C7B3501}"/>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2" name="Graphic 790">
                <a:extLst>
                  <a:ext uri="{FF2B5EF4-FFF2-40B4-BE49-F238E27FC236}">
                    <a16:creationId xmlns:a16="http://schemas.microsoft.com/office/drawing/2014/main" id="{D25C005D-0B1B-E81B-FD6C-54237D43940D}"/>
                  </a:ext>
                </a:extLst>
              </p:cNvPr>
              <p:cNvGrpSpPr/>
              <p:nvPr/>
            </p:nvGrpSpPr>
            <p:grpSpPr>
              <a:xfrm>
                <a:off x="4135849" y="2555176"/>
                <a:ext cx="75723" cy="75723"/>
                <a:chOff x="4135849" y="2555176"/>
                <a:chExt cx="75723" cy="75723"/>
              </a:xfrm>
            </p:grpSpPr>
            <p:sp>
              <p:nvSpPr>
                <p:cNvPr id="15598" name="Freeform: Shape 15597">
                  <a:extLst>
                    <a:ext uri="{FF2B5EF4-FFF2-40B4-BE49-F238E27FC236}">
                      <a16:creationId xmlns:a16="http://schemas.microsoft.com/office/drawing/2014/main" id="{6056FEF1-B160-30F2-4F4F-8B41A8CE366E}"/>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99" name="Freeform: Shape 15598">
                  <a:extLst>
                    <a:ext uri="{FF2B5EF4-FFF2-40B4-BE49-F238E27FC236}">
                      <a16:creationId xmlns:a16="http://schemas.microsoft.com/office/drawing/2014/main" id="{0F5EDEC0-E148-3D27-246A-FE24DF15FC49}"/>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3" name="Graphic 790">
                <a:extLst>
                  <a:ext uri="{FF2B5EF4-FFF2-40B4-BE49-F238E27FC236}">
                    <a16:creationId xmlns:a16="http://schemas.microsoft.com/office/drawing/2014/main" id="{5B5E6086-7073-C0C0-A850-252F375994CC}"/>
                  </a:ext>
                </a:extLst>
              </p:cNvPr>
              <p:cNvGrpSpPr/>
              <p:nvPr/>
            </p:nvGrpSpPr>
            <p:grpSpPr>
              <a:xfrm>
                <a:off x="3865530" y="2479547"/>
                <a:ext cx="75723" cy="75628"/>
                <a:chOff x="3865530" y="2479547"/>
                <a:chExt cx="75723" cy="75628"/>
              </a:xfrm>
            </p:grpSpPr>
            <p:sp>
              <p:nvSpPr>
                <p:cNvPr id="15596" name="Freeform: Shape 15595">
                  <a:extLst>
                    <a:ext uri="{FF2B5EF4-FFF2-40B4-BE49-F238E27FC236}">
                      <a16:creationId xmlns:a16="http://schemas.microsoft.com/office/drawing/2014/main" id="{146DDF63-406B-2085-0E1E-7F075D7E4498}"/>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97" name="Freeform: Shape 15596">
                  <a:extLst>
                    <a:ext uri="{FF2B5EF4-FFF2-40B4-BE49-F238E27FC236}">
                      <a16:creationId xmlns:a16="http://schemas.microsoft.com/office/drawing/2014/main" id="{7EA02FF3-21D6-DDDB-9C91-9F205117C564}"/>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4" name="Graphic 790">
                <a:extLst>
                  <a:ext uri="{FF2B5EF4-FFF2-40B4-BE49-F238E27FC236}">
                    <a16:creationId xmlns:a16="http://schemas.microsoft.com/office/drawing/2014/main" id="{0F835927-DB6E-9179-31B8-8ADC989749EA}"/>
                  </a:ext>
                </a:extLst>
              </p:cNvPr>
              <p:cNvGrpSpPr/>
              <p:nvPr/>
            </p:nvGrpSpPr>
            <p:grpSpPr>
              <a:xfrm>
                <a:off x="3922299" y="2514790"/>
                <a:ext cx="75628" cy="75723"/>
                <a:chOff x="3922299" y="2514790"/>
                <a:chExt cx="75628" cy="75723"/>
              </a:xfrm>
            </p:grpSpPr>
            <p:sp>
              <p:nvSpPr>
                <p:cNvPr id="15594" name="Freeform: Shape 15593">
                  <a:extLst>
                    <a:ext uri="{FF2B5EF4-FFF2-40B4-BE49-F238E27FC236}">
                      <a16:creationId xmlns:a16="http://schemas.microsoft.com/office/drawing/2014/main" id="{E46587B6-B39B-3664-8021-9F637EBCCABF}"/>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95" name="Freeform: Shape 15594">
                  <a:extLst>
                    <a:ext uri="{FF2B5EF4-FFF2-40B4-BE49-F238E27FC236}">
                      <a16:creationId xmlns:a16="http://schemas.microsoft.com/office/drawing/2014/main" id="{A111FF82-89E4-BB12-C0A2-6B73AD54CDF4}"/>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5" name="Graphic 790">
                <a:extLst>
                  <a:ext uri="{FF2B5EF4-FFF2-40B4-BE49-F238E27FC236}">
                    <a16:creationId xmlns:a16="http://schemas.microsoft.com/office/drawing/2014/main" id="{C6F8C20B-AF69-0EF5-B6A8-A6B66D8F89D5}"/>
                  </a:ext>
                </a:extLst>
              </p:cNvPr>
              <p:cNvGrpSpPr/>
              <p:nvPr/>
            </p:nvGrpSpPr>
            <p:grpSpPr>
              <a:xfrm>
                <a:off x="3893629" y="2514790"/>
                <a:ext cx="75628" cy="75723"/>
                <a:chOff x="3893629" y="2514790"/>
                <a:chExt cx="75628" cy="75723"/>
              </a:xfrm>
            </p:grpSpPr>
            <p:sp>
              <p:nvSpPr>
                <p:cNvPr id="15592" name="Freeform: Shape 15591">
                  <a:extLst>
                    <a:ext uri="{FF2B5EF4-FFF2-40B4-BE49-F238E27FC236}">
                      <a16:creationId xmlns:a16="http://schemas.microsoft.com/office/drawing/2014/main" id="{B9F1B7C0-579E-C695-C6D9-AE2F141789B1}"/>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93" name="Freeform: Shape 15592">
                  <a:extLst>
                    <a:ext uri="{FF2B5EF4-FFF2-40B4-BE49-F238E27FC236}">
                      <a16:creationId xmlns:a16="http://schemas.microsoft.com/office/drawing/2014/main" id="{EBF5A97D-4AE0-2F0D-C49D-A0D3FE8D04AD}"/>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6" name="Graphic 790">
                <a:extLst>
                  <a:ext uri="{FF2B5EF4-FFF2-40B4-BE49-F238E27FC236}">
                    <a16:creationId xmlns:a16="http://schemas.microsoft.com/office/drawing/2014/main" id="{34DF0887-4FC0-714F-B109-2E2CA8813F30}"/>
                  </a:ext>
                </a:extLst>
              </p:cNvPr>
              <p:cNvGrpSpPr/>
              <p:nvPr/>
            </p:nvGrpSpPr>
            <p:grpSpPr>
              <a:xfrm>
                <a:off x="3909345" y="2514790"/>
                <a:ext cx="75628" cy="75723"/>
                <a:chOff x="3909345" y="2514790"/>
                <a:chExt cx="75628" cy="75723"/>
              </a:xfrm>
            </p:grpSpPr>
            <p:sp>
              <p:nvSpPr>
                <p:cNvPr id="15590" name="Freeform: Shape 15589">
                  <a:extLst>
                    <a:ext uri="{FF2B5EF4-FFF2-40B4-BE49-F238E27FC236}">
                      <a16:creationId xmlns:a16="http://schemas.microsoft.com/office/drawing/2014/main" id="{8DECF0BE-F17D-F59A-7548-7E7CD73A1AE0}"/>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91" name="Freeform: Shape 15590">
                  <a:extLst>
                    <a:ext uri="{FF2B5EF4-FFF2-40B4-BE49-F238E27FC236}">
                      <a16:creationId xmlns:a16="http://schemas.microsoft.com/office/drawing/2014/main" id="{FA273EFD-5D41-0AE5-6EDF-EE6B581F2128}"/>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7" name="Graphic 790">
                <a:extLst>
                  <a:ext uri="{FF2B5EF4-FFF2-40B4-BE49-F238E27FC236}">
                    <a16:creationId xmlns:a16="http://schemas.microsoft.com/office/drawing/2014/main" id="{84359B94-C28F-5A71-868B-5FFBFC6E3E5D}"/>
                  </a:ext>
                </a:extLst>
              </p:cNvPr>
              <p:cNvGrpSpPr/>
              <p:nvPr/>
            </p:nvGrpSpPr>
            <p:grpSpPr>
              <a:xfrm>
                <a:off x="4241101" y="2593085"/>
                <a:ext cx="75723" cy="75628"/>
                <a:chOff x="4241101" y="2593085"/>
                <a:chExt cx="75723" cy="75628"/>
              </a:xfrm>
            </p:grpSpPr>
            <p:sp>
              <p:nvSpPr>
                <p:cNvPr id="15588" name="Freeform: Shape 15587">
                  <a:extLst>
                    <a:ext uri="{FF2B5EF4-FFF2-40B4-BE49-F238E27FC236}">
                      <a16:creationId xmlns:a16="http://schemas.microsoft.com/office/drawing/2014/main" id="{EF7A7D8B-A847-12FD-72E2-D9839E221143}"/>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89" name="Freeform: Shape 15588">
                  <a:extLst>
                    <a:ext uri="{FF2B5EF4-FFF2-40B4-BE49-F238E27FC236}">
                      <a16:creationId xmlns:a16="http://schemas.microsoft.com/office/drawing/2014/main" id="{55146C7F-FF90-7855-B292-993758BFA745}"/>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8" name="Graphic 790">
                <a:extLst>
                  <a:ext uri="{FF2B5EF4-FFF2-40B4-BE49-F238E27FC236}">
                    <a16:creationId xmlns:a16="http://schemas.microsoft.com/office/drawing/2014/main" id="{22E1A1E7-634A-9C46-EF44-CC2A0D58B7F3}"/>
                  </a:ext>
                </a:extLst>
              </p:cNvPr>
              <p:cNvGrpSpPr/>
              <p:nvPr/>
            </p:nvGrpSpPr>
            <p:grpSpPr>
              <a:xfrm>
                <a:off x="4276534" y="2621851"/>
                <a:ext cx="75723" cy="75628"/>
                <a:chOff x="4276534" y="2621851"/>
                <a:chExt cx="75723" cy="75628"/>
              </a:xfrm>
            </p:grpSpPr>
            <p:sp>
              <p:nvSpPr>
                <p:cNvPr id="15586" name="Freeform: Shape 15585">
                  <a:extLst>
                    <a:ext uri="{FF2B5EF4-FFF2-40B4-BE49-F238E27FC236}">
                      <a16:creationId xmlns:a16="http://schemas.microsoft.com/office/drawing/2014/main" id="{3B17598F-35E1-D975-B5E3-3EED97A9E366}"/>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87" name="Freeform: Shape 15586">
                  <a:extLst>
                    <a:ext uri="{FF2B5EF4-FFF2-40B4-BE49-F238E27FC236}">
                      <a16:creationId xmlns:a16="http://schemas.microsoft.com/office/drawing/2014/main" id="{DCBC6E53-ACE0-6714-6319-55F611730C53}"/>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09" name="Graphic 790">
                <a:extLst>
                  <a:ext uri="{FF2B5EF4-FFF2-40B4-BE49-F238E27FC236}">
                    <a16:creationId xmlns:a16="http://schemas.microsoft.com/office/drawing/2014/main" id="{3B6EC0AE-A7BE-5C87-A6F1-4DB8160A477D}"/>
                  </a:ext>
                </a:extLst>
              </p:cNvPr>
              <p:cNvGrpSpPr/>
              <p:nvPr/>
            </p:nvGrpSpPr>
            <p:grpSpPr>
              <a:xfrm>
                <a:off x="4283868" y="2621851"/>
                <a:ext cx="75628" cy="75628"/>
                <a:chOff x="4283868" y="2621851"/>
                <a:chExt cx="75628" cy="75628"/>
              </a:xfrm>
            </p:grpSpPr>
            <p:sp>
              <p:nvSpPr>
                <p:cNvPr id="15584" name="Freeform: Shape 15583">
                  <a:extLst>
                    <a:ext uri="{FF2B5EF4-FFF2-40B4-BE49-F238E27FC236}">
                      <a16:creationId xmlns:a16="http://schemas.microsoft.com/office/drawing/2014/main" id="{309AB9D1-7749-CC59-3AE2-F6D0BE805A36}"/>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85" name="Freeform: Shape 15584">
                  <a:extLst>
                    <a:ext uri="{FF2B5EF4-FFF2-40B4-BE49-F238E27FC236}">
                      <a16:creationId xmlns:a16="http://schemas.microsoft.com/office/drawing/2014/main" id="{5B69D871-A2F0-B0D6-D9E5-EB2856D14940}"/>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0" name="Graphic 790">
                <a:extLst>
                  <a:ext uri="{FF2B5EF4-FFF2-40B4-BE49-F238E27FC236}">
                    <a16:creationId xmlns:a16="http://schemas.microsoft.com/office/drawing/2014/main" id="{CE72EEB7-E4A4-92C3-B54F-73245BA81CDD}"/>
                  </a:ext>
                </a:extLst>
              </p:cNvPr>
              <p:cNvGrpSpPr/>
              <p:nvPr/>
            </p:nvGrpSpPr>
            <p:grpSpPr>
              <a:xfrm>
                <a:off x="4295298" y="2656236"/>
                <a:ext cx="75628" cy="75628"/>
                <a:chOff x="4295298" y="2656236"/>
                <a:chExt cx="75628" cy="75628"/>
              </a:xfrm>
            </p:grpSpPr>
            <p:sp>
              <p:nvSpPr>
                <p:cNvPr id="15582" name="Freeform: Shape 15581">
                  <a:extLst>
                    <a:ext uri="{FF2B5EF4-FFF2-40B4-BE49-F238E27FC236}">
                      <a16:creationId xmlns:a16="http://schemas.microsoft.com/office/drawing/2014/main" id="{720A55A8-9412-972F-542A-F303783157FD}"/>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83" name="Freeform: Shape 15582">
                  <a:extLst>
                    <a:ext uri="{FF2B5EF4-FFF2-40B4-BE49-F238E27FC236}">
                      <a16:creationId xmlns:a16="http://schemas.microsoft.com/office/drawing/2014/main" id="{6C97A501-92CE-0911-F14A-A02F92EFB9FA}"/>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1" name="Graphic 790">
                <a:extLst>
                  <a:ext uri="{FF2B5EF4-FFF2-40B4-BE49-F238E27FC236}">
                    <a16:creationId xmlns:a16="http://schemas.microsoft.com/office/drawing/2014/main" id="{1B203ABE-DCEB-16E2-2763-CBD722DD6C43}"/>
                  </a:ext>
                </a:extLst>
              </p:cNvPr>
              <p:cNvGrpSpPr/>
              <p:nvPr/>
            </p:nvGrpSpPr>
            <p:grpSpPr>
              <a:xfrm>
                <a:off x="4301584" y="2656236"/>
                <a:ext cx="75628" cy="75628"/>
                <a:chOff x="4301584" y="2656236"/>
                <a:chExt cx="75628" cy="75628"/>
              </a:xfrm>
            </p:grpSpPr>
            <p:sp>
              <p:nvSpPr>
                <p:cNvPr id="15580" name="Freeform: Shape 15579">
                  <a:extLst>
                    <a:ext uri="{FF2B5EF4-FFF2-40B4-BE49-F238E27FC236}">
                      <a16:creationId xmlns:a16="http://schemas.microsoft.com/office/drawing/2014/main" id="{2D3CC8F7-2F49-52B1-B1C4-C1FDAB384A36}"/>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81" name="Freeform: Shape 15580">
                  <a:extLst>
                    <a:ext uri="{FF2B5EF4-FFF2-40B4-BE49-F238E27FC236}">
                      <a16:creationId xmlns:a16="http://schemas.microsoft.com/office/drawing/2014/main" id="{3450B305-62C0-880F-9AF2-DA8B578CC34B}"/>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2" name="Graphic 790">
                <a:extLst>
                  <a:ext uri="{FF2B5EF4-FFF2-40B4-BE49-F238E27FC236}">
                    <a16:creationId xmlns:a16="http://schemas.microsoft.com/office/drawing/2014/main" id="{AEB5F8BB-441D-1D43-9764-29AECE6B2B26}"/>
                  </a:ext>
                </a:extLst>
              </p:cNvPr>
              <p:cNvGrpSpPr/>
              <p:nvPr/>
            </p:nvGrpSpPr>
            <p:grpSpPr>
              <a:xfrm>
                <a:off x="4307871" y="2685097"/>
                <a:ext cx="75628" cy="75723"/>
                <a:chOff x="4307871" y="2685097"/>
                <a:chExt cx="75628" cy="75723"/>
              </a:xfrm>
            </p:grpSpPr>
            <p:sp>
              <p:nvSpPr>
                <p:cNvPr id="15578" name="Freeform: Shape 15577">
                  <a:extLst>
                    <a:ext uri="{FF2B5EF4-FFF2-40B4-BE49-F238E27FC236}">
                      <a16:creationId xmlns:a16="http://schemas.microsoft.com/office/drawing/2014/main" id="{2B52E5AC-24A8-8DBE-C872-B2E3DAF43F69}"/>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79" name="Freeform: Shape 15578">
                  <a:extLst>
                    <a:ext uri="{FF2B5EF4-FFF2-40B4-BE49-F238E27FC236}">
                      <a16:creationId xmlns:a16="http://schemas.microsoft.com/office/drawing/2014/main" id="{3B0098AF-11F1-1D1E-016A-69AD540FFA28}"/>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3" name="Graphic 790">
                <a:extLst>
                  <a:ext uri="{FF2B5EF4-FFF2-40B4-BE49-F238E27FC236}">
                    <a16:creationId xmlns:a16="http://schemas.microsoft.com/office/drawing/2014/main" id="{F5E00869-9F0B-2989-AAF3-115EDAE97113}"/>
                  </a:ext>
                </a:extLst>
              </p:cNvPr>
              <p:cNvGrpSpPr/>
              <p:nvPr/>
            </p:nvGrpSpPr>
            <p:grpSpPr>
              <a:xfrm>
                <a:off x="4314348" y="2685097"/>
                <a:ext cx="75723" cy="75723"/>
                <a:chOff x="4314348" y="2685097"/>
                <a:chExt cx="75723" cy="75723"/>
              </a:xfrm>
            </p:grpSpPr>
            <p:sp>
              <p:nvSpPr>
                <p:cNvPr id="15576" name="Freeform: Shape 15575">
                  <a:extLst>
                    <a:ext uri="{FF2B5EF4-FFF2-40B4-BE49-F238E27FC236}">
                      <a16:creationId xmlns:a16="http://schemas.microsoft.com/office/drawing/2014/main" id="{70A0E3B7-D402-FB76-4A26-D3DC6C452032}"/>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77" name="Freeform: Shape 15576">
                  <a:extLst>
                    <a:ext uri="{FF2B5EF4-FFF2-40B4-BE49-F238E27FC236}">
                      <a16:creationId xmlns:a16="http://schemas.microsoft.com/office/drawing/2014/main" id="{EE9F0119-B096-3757-EABF-B5E41363354A}"/>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4" name="Graphic 790">
                <a:extLst>
                  <a:ext uri="{FF2B5EF4-FFF2-40B4-BE49-F238E27FC236}">
                    <a16:creationId xmlns:a16="http://schemas.microsoft.com/office/drawing/2014/main" id="{E68CCA17-13F1-0F9F-D7BF-220034A81329}"/>
                  </a:ext>
                </a:extLst>
              </p:cNvPr>
              <p:cNvGrpSpPr/>
              <p:nvPr/>
            </p:nvGrpSpPr>
            <p:grpSpPr>
              <a:xfrm>
                <a:off x="4330540" y="2716910"/>
                <a:ext cx="75723" cy="75723"/>
                <a:chOff x="4330540" y="2716910"/>
                <a:chExt cx="75723" cy="75723"/>
              </a:xfrm>
            </p:grpSpPr>
            <p:sp>
              <p:nvSpPr>
                <p:cNvPr id="15574" name="Freeform: Shape 15573">
                  <a:extLst>
                    <a:ext uri="{FF2B5EF4-FFF2-40B4-BE49-F238E27FC236}">
                      <a16:creationId xmlns:a16="http://schemas.microsoft.com/office/drawing/2014/main" id="{23F76C81-6EB7-404E-3906-F01CA8B4C877}"/>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75" name="Freeform: Shape 15574">
                  <a:extLst>
                    <a:ext uri="{FF2B5EF4-FFF2-40B4-BE49-F238E27FC236}">
                      <a16:creationId xmlns:a16="http://schemas.microsoft.com/office/drawing/2014/main" id="{405756F8-6B2F-0539-3438-196FA726F2AE}"/>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5" name="Graphic 790">
                <a:extLst>
                  <a:ext uri="{FF2B5EF4-FFF2-40B4-BE49-F238E27FC236}">
                    <a16:creationId xmlns:a16="http://schemas.microsoft.com/office/drawing/2014/main" id="{68098B7E-7DE5-2D94-760D-14578F4E0A15}"/>
                  </a:ext>
                </a:extLst>
              </p:cNvPr>
              <p:cNvGrpSpPr/>
              <p:nvPr/>
            </p:nvGrpSpPr>
            <p:grpSpPr>
              <a:xfrm>
                <a:off x="4340827" y="2716910"/>
                <a:ext cx="75723" cy="75723"/>
                <a:chOff x="4340827" y="2716910"/>
                <a:chExt cx="75723" cy="75723"/>
              </a:xfrm>
            </p:grpSpPr>
            <p:sp>
              <p:nvSpPr>
                <p:cNvPr id="15572" name="Freeform: Shape 15571">
                  <a:extLst>
                    <a:ext uri="{FF2B5EF4-FFF2-40B4-BE49-F238E27FC236}">
                      <a16:creationId xmlns:a16="http://schemas.microsoft.com/office/drawing/2014/main" id="{41AF3203-A0A1-D69E-8536-44750D0701AA}"/>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73" name="Freeform: Shape 15572">
                  <a:extLst>
                    <a:ext uri="{FF2B5EF4-FFF2-40B4-BE49-F238E27FC236}">
                      <a16:creationId xmlns:a16="http://schemas.microsoft.com/office/drawing/2014/main" id="{AE41F864-FC97-0038-DA81-648DF366A1D4}"/>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6" name="Graphic 790">
                <a:extLst>
                  <a:ext uri="{FF2B5EF4-FFF2-40B4-BE49-F238E27FC236}">
                    <a16:creationId xmlns:a16="http://schemas.microsoft.com/office/drawing/2014/main" id="{3234C474-C507-80FA-B254-EC946C04D015}"/>
                  </a:ext>
                </a:extLst>
              </p:cNvPr>
              <p:cNvGrpSpPr/>
              <p:nvPr/>
            </p:nvGrpSpPr>
            <p:grpSpPr>
              <a:xfrm>
                <a:off x="4340827" y="2754724"/>
                <a:ext cx="75723" cy="75723"/>
                <a:chOff x="4340827" y="2754724"/>
                <a:chExt cx="75723" cy="75723"/>
              </a:xfrm>
            </p:grpSpPr>
            <p:sp>
              <p:nvSpPr>
                <p:cNvPr id="15570" name="Freeform: Shape 15569">
                  <a:extLst>
                    <a:ext uri="{FF2B5EF4-FFF2-40B4-BE49-F238E27FC236}">
                      <a16:creationId xmlns:a16="http://schemas.microsoft.com/office/drawing/2014/main" id="{739FCB6F-EC46-48F5-368B-5B2CD5CFDA84}"/>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71" name="Freeform: Shape 15570">
                  <a:extLst>
                    <a:ext uri="{FF2B5EF4-FFF2-40B4-BE49-F238E27FC236}">
                      <a16:creationId xmlns:a16="http://schemas.microsoft.com/office/drawing/2014/main" id="{28960DDB-B888-44C0-D427-9913DD208D8C}"/>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7" name="Graphic 790">
                <a:extLst>
                  <a:ext uri="{FF2B5EF4-FFF2-40B4-BE49-F238E27FC236}">
                    <a16:creationId xmlns:a16="http://schemas.microsoft.com/office/drawing/2014/main" id="{DE2DDF27-245E-4A57-BA2D-3EF636CD168D}"/>
                  </a:ext>
                </a:extLst>
              </p:cNvPr>
              <p:cNvGrpSpPr/>
              <p:nvPr/>
            </p:nvGrpSpPr>
            <p:grpSpPr>
              <a:xfrm>
                <a:off x="4352257" y="2754724"/>
                <a:ext cx="75628" cy="75723"/>
                <a:chOff x="4352257" y="2754724"/>
                <a:chExt cx="75628" cy="75723"/>
              </a:xfrm>
            </p:grpSpPr>
            <p:sp>
              <p:nvSpPr>
                <p:cNvPr id="15568" name="Freeform: Shape 15567">
                  <a:extLst>
                    <a:ext uri="{FF2B5EF4-FFF2-40B4-BE49-F238E27FC236}">
                      <a16:creationId xmlns:a16="http://schemas.microsoft.com/office/drawing/2014/main" id="{18AEE251-F6F7-2308-2E1E-D95AF37CBC28}"/>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69" name="Freeform: Shape 15568">
                  <a:extLst>
                    <a:ext uri="{FF2B5EF4-FFF2-40B4-BE49-F238E27FC236}">
                      <a16:creationId xmlns:a16="http://schemas.microsoft.com/office/drawing/2014/main" id="{ECE70BA1-DABF-C7FC-95C2-E08FF7ED7B45}"/>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8" name="Graphic 790">
                <a:extLst>
                  <a:ext uri="{FF2B5EF4-FFF2-40B4-BE49-F238E27FC236}">
                    <a16:creationId xmlns:a16="http://schemas.microsoft.com/office/drawing/2014/main" id="{5D6DEB6D-0CA9-408D-1DEB-0EE9A08ABE5C}"/>
                  </a:ext>
                </a:extLst>
              </p:cNvPr>
              <p:cNvGrpSpPr/>
              <p:nvPr/>
            </p:nvGrpSpPr>
            <p:grpSpPr>
              <a:xfrm>
                <a:off x="4368355" y="2754724"/>
                <a:ext cx="75723" cy="75723"/>
                <a:chOff x="4368355" y="2754724"/>
                <a:chExt cx="75723" cy="75723"/>
              </a:xfrm>
            </p:grpSpPr>
            <p:sp>
              <p:nvSpPr>
                <p:cNvPr id="15566" name="Freeform: Shape 15565">
                  <a:extLst>
                    <a:ext uri="{FF2B5EF4-FFF2-40B4-BE49-F238E27FC236}">
                      <a16:creationId xmlns:a16="http://schemas.microsoft.com/office/drawing/2014/main" id="{3C9E7B7E-D5C8-5619-D4E3-CB60E085A998}"/>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67" name="Freeform: Shape 15566">
                  <a:extLst>
                    <a:ext uri="{FF2B5EF4-FFF2-40B4-BE49-F238E27FC236}">
                      <a16:creationId xmlns:a16="http://schemas.microsoft.com/office/drawing/2014/main" id="{61F56D55-D75A-DC93-A6C9-35CB1F1E36FA}"/>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19" name="Graphic 790">
                <a:extLst>
                  <a:ext uri="{FF2B5EF4-FFF2-40B4-BE49-F238E27FC236}">
                    <a16:creationId xmlns:a16="http://schemas.microsoft.com/office/drawing/2014/main" id="{5E2839AF-4F06-D769-1A93-4574AF8F35CB}"/>
                  </a:ext>
                </a:extLst>
              </p:cNvPr>
              <p:cNvGrpSpPr/>
              <p:nvPr/>
            </p:nvGrpSpPr>
            <p:grpSpPr>
              <a:xfrm>
                <a:off x="4370926" y="2769202"/>
                <a:ext cx="75723" cy="75723"/>
                <a:chOff x="4370926" y="2769202"/>
                <a:chExt cx="75723" cy="75723"/>
              </a:xfrm>
            </p:grpSpPr>
            <p:sp>
              <p:nvSpPr>
                <p:cNvPr id="15564" name="Freeform: Shape 15563">
                  <a:extLst>
                    <a:ext uri="{FF2B5EF4-FFF2-40B4-BE49-F238E27FC236}">
                      <a16:creationId xmlns:a16="http://schemas.microsoft.com/office/drawing/2014/main" id="{CA9B80F3-A83D-C491-80B8-0397E18AF11D}"/>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65" name="Freeform: Shape 15564">
                  <a:extLst>
                    <a:ext uri="{FF2B5EF4-FFF2-40B4-BE49-F238E27FC236}">
                      <a16:creationId xmlns:a16="http://schemas.microsoft.com/office/drawing/2014/main" id="{0AD54B9B-55F7-76A8-04A1-7983BC253B9D}"/>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0" name="Graphic 790">
                <a:extLst>
                  <a:ext uri="{FF2B5EF4-FFF2-40B4-BE49-F238E27FC236}">
                    <a16:creationId xmlns:a16="http://schemas.microsoft.com/office/drawing/2014/main" id="{657DD722-19E6-D24B-C266-4B4B7052F104}"/>
                  </a:ext>
                </a:extLst>
              </p:cNvPr>
              <p:cNvGrpSpPr/>
              <p:nvPr/>
            </p:nvGrpSpPr>
            <p:grpSpPr>
              <a:xfrm>
                <a:off x="5061679" y="3133057"/>
                <a:ext cx="75628" cy="75723"/>
                <a:chOff x="5061679" y="3133057"/>
                <a:chExt cx="75628" cy="75723"/>
              </a:xfrm>
            </p:grpSpPr>
            <p:sp>
              <p:nvSpPr>
                <p:cNvPr id="15562" name="Freeform: Shape 15561">
                  <a:extLst>
                    <a:ext uri="{FF2B5EF4-FFF2-40B4-BE49-F238E27FC236}">
                      <a16:creationId xmlns:a16="http://schemas.microsoft.com/office/drawing/2014/main" id="{D8AFD584-4ABC-2E3D-C500-5C1244934ACC}"/>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63" name="Freeform: Shape 15562">
                  <a:extLst>
                    <a:ext uri="{FF2B5EF4-FFF2-40B4-BE49-F238E27FC236}">
                      <a16:creationId xmlns:a16="http://schemas.microsoft.com/office/drawing/2014/main" id="{BCBC3E87-5A66-69C6-5042-A6AC8C3586E0}"/>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1" name="Graphic 790">
                <a:extLst>
                  <a:ext uri="{FF2B5EF4-FFF2-40B4-BE49-F238E27FC236}">
                    <a16:creationId xmlns:a16="http://schemas.microsoft.com/office/drawing/2014/main" id="{2C92254D-C496-A848-6A10-E4CE819A7686}"/>
                  </a:ext>
                </a:extLst>
              </p:cNvPr>
              <p:cNvGrpSpPr/>
              <p:nvPr/>
            </p:nvGrpSpPr>
            <p:grpSpPr>
              <a:xfrm>
                <a:off x="5108066" y="3144392"/>
                <a:ext cx="75628" cy="75723"/>
                <a:chOff x="5108066" y="3144392"/>
                <a:chExt cx="75628" cy="75723"/>
              </a:xfrm>
            </p:grpSpPr>
            <p:sp>
              <p:nvSpPr>
                <p:cNvPr id="15560" name="Freeform: Shape 15559">
                  <a:extLst>
                    <a:ext uri="{FF2B5EF4-FFF2-40B4-BE49-F238E27FC236}">
                      <a16:creationId xmlns:a16="http://schemas.microsoft.com/office/drawing/2014/main" id="{C7A2F79C-D556-9E96-4E12-EDADF5E2A6E1}"/>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61" name="Freeform: Shape 15560">
                  <a:extLst>
                    <a:ext uri="{FF2B5EF4-FFF2-40B4-BE49-F238E27FC236}">
                      <a16:creationId xmlns:a16="http://schemas.microsoft.com/office/drawing/2014/main" id="{F9080DAE-7AB6-E21E-2FC3-606AB65EC7C0}"/>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2" name="Graphic 790">
                <a:extLst>
                  <a:ext uri="{FF2B5EF4-FFF2-40B4-BE49-F238E27FC236}">
                    <a16:creationId xmlns:a16="http://schemas.microsoft.com/office/drawing/2014/main" id="{6D15A2C5-2039-C298-87BA-CA43D8B451F9}"/>
                  </a:ext>
                </a:extLst>
              </p:cNvPr>
              <p:cNvGrpSpPr/>
              <p:nvPr/>
            </p:nvGrpSpPr>
            <p:grpSpPr>
              <a:xfrm>
                <a:off x="5124163" y="3151726"/>
                <a:ext cx="75723" cy="75723"/>
                <a:chOff x="5124163" y="3151726"/>
                <a:chExt cx="75723" cy="75723"/>
              </a:xfrm>
            </p:grpSpPr>
            <p:sp>
              <p:nvSpPr>
                <p:cNvPr id="15558" name="Freeform: Shape 15557">
                  <a:extLst>
                    <a:ext uri="{FF2B5EF4-FFF2-40B4-BE49-F238E27FC236}">
                      <a16:creationId xmlns:a16="http://schemas.microsoft.com/office/drawing/2014/main" id="{D8A551A2-787A-1CE8-24DB-B03698AE69CA}"/>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59" name="Freeform: Shape 15558">
                  <a:extLst>
                    <a:ext uri="{FF2B5EF4-FFF2-40B4-BE49-F238E27FC236}">
                      <a16:creationId xmlns:a16="http://schemas.microsoft.com/office/drawing/2014/main" id="{DAB522CD-55FD-162E-7A3E-3D86803221B4}"/>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3" name="Graphic 790">
                <a:extLst>
                  <a:ext uri="{FF2B5EF4-FFF2-40B4-BE49-F238E27FC236}">
                    <a16:creationId xmlns:a16="http://schemas.microsoft.com/office/drawing/2014/main" id="{A76EE489-3415-EE31-1DF0-3FBB725DCAE1}"/>
                  </a:ext>
                </a:extLst>
              </p:cNvPr>
              <p:cNvGrpSpPr/>
              <p:nvPr/>
            </p:nvGrpSpPr>
            <p:grpSpPr>
              <a:xfrm>
                <a:off x="5568314" y="3300793"/>
                <a:ext cx="75723" cy="75723"/>
                <a:chOff x="5568314" y="3300793"/>
                <a:chExt cx="75723" cy="75723"/>
              </a:xfrm>
            </p:grpSpPr>
            <p:sp>
              <p:nvSpPr>
                <p:cNvPr id="15556" name="Freeform: Shape 15555">
                  <a:extLst>
                    <a:ext uri="{FF2B5EF4-FFF2-40B4-BE49-F238E27FC236}">
                      <a16:creationId xmlns:a16="http://schemas.microsoft.com/office/drawing/2014/main" id="{5C63009C-68F3-D0F2-3001-9D42A3657ABE}"/>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57" name="Freeform: Shape 15556">
                  <a:extLst>
                    <a:ext uri="{FF2B5EF4-FFF2-40B4-BE49-F238E27FC236}">
                      <a16:creationId xmlns:a16="http://schemas.microsoft.com/office/drawing/2014/main" id="{B0176629-1C6D-3894-AD31-B29F06F4FEE9}"/>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4" name="Graphic 790">
                <a:extLst>
                  <a:ext uri="{FF2B5EF4-FFF2-40B4-BE49-F238E27FC236}">
                    <a16:creationId xmlns:a16="http://schemas.microsoft.com/office/drawing/2014/main" id="{8F095631-34B1-CDF9-B269-D12ED89AFAC8}"/>
                  </a:ext>
                </a:extLst>
              </p:cNvPr>
              <p:cNvGrpSpPr/>
              <p:nvPr/>
            </p:nvGrpSpPr>
            <p:grpSpPr>
              <a:xfrm>
                <a:off x="5594603" y="3322319"/>
                <a:ext cx="75723" cy="75723"/>
                <a:chOff x="5594603" y="3322319"/>
                <a:chExt cx="75723" cy="75723"/>
              </a:xfrm>
            </p:grpSpPr>
            <p:sp>
              <p:nvSpPr>
                <p:cNvPr id="15554" name="Freeform: Shape 15553">
                  <a:extLst>
                    <a:ext uri="{FF2B5EF4-FFF2-40B4-BE49-F238E27FC236}">
                      <a16:creationId xmlns:a16="http://schemas.microsoft.com/office/drawing/2014/main" id="{0CE7E7AE-F178-4425-8957-7335FF7739FD}"/>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55" name="Freeform: Shape 15554">
                  <a:extLst>
                    <a:ext uri="{FF2B5EF4-FFF2-40B4-BE49-F238E27FC236}">
                      <a16:creationId xmlns:a16="http://schemas.microsoft.com/office/drawing/2014/main" id="{58805325-29C2-ADAE-EF02-ABF0EC6956AC}"/>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5" name="Graphic 790">
                <a:extLst>
                  <a:ext uri="{FF2B5EF4-FFF2-40B4-BE49-F238E27FC236}">
                    <a16:creationId xmlns:a16="http://schemas.microsoft.com/office/drawing/2014/main" id="{A6632C60-2E60-220E-FD35-EA3F59226CAC}"/>
                  </a:ext>
                </a:extLst>
              </p:cNvPr>
              <p:cNvGrpSpPr/>
              <p:nvPr/>
            </p:nvGrpSpPr>
            <p:grpSpPr>
              <a:xfrm>
                <a:off x="5606224" y="3360133"/>
                <a:ext cx="75628" cy="75723"/>
                <a:chOff x="5606224" y="3360133"/>
                <a:chExt cx="75628" cy="75723"/>
              </a:xfrm>
            </p:grpSpPr>
            <p:sp>
              <p:nvSpPr>
                <p:cNvPr id="15552" name="Freeform: Shape 15551">
                  <a:extLst>
                    <a:ext uri="{FF2B5EF4-FFF2-40B4-BE49-F238E27FC236}">
                      <a16:creationId xmlns:a16="http://schemas.microsoft.com/office/drawing/2014/main" id="{71148D01-E728-66C0-38A9-DF86D4A3EBCE}"/>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53" name="Freeform: Shape 15552">
                  <a:extLst>
                    <a:ext uri="{FF2B5EF4-FFF2-40B4-BE49-F238E27FC236}">
                      <a16:creationId xmlns:a16="http://schemas.microsoft.com/office/drawing/2014/main" id="{816F6EC5-DED3-841F-7969-27CA7E10C983}"/>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6" name="Graphic 790">
                <a:extLst>
                  <a:ext uri="{FF2B5EF4-FFF2-40B4-BE49-F238E27FC236}">
                    <a16:creationId xmlns:a16="http://schemas.microsoft.com/office/drawing/2014/main" id="{73EE6A23-C5B1-60C0-AC85-53D38753AD1C}"/>
                  </a:ext>
                </a:extLst>
              </p:cNvPr>
              <p:cNvGrpSpPr/>
              <p:nvPr/>
            </p:nvGrpSpPr>
            <p:grpSpPr>
              <a:xfrm>
                <a:off x="5612224" y="3385660"/>
                <a:ext cx="75723" cy="75723"/>
                <a:chOff x="5612224" y="3385660"/>
                <a:chExt cx="75723" cy="75723"/>
              </a:xfrm>
            </p:grpSpPr>
            <p:sp>
              <p:nvSpPr>
                <p:cNvPr id="15550" name="Freeform: Shape 15549">
                  <a:extLst>
                    <a:ext uri="{FF2B5EF4-FFF2-40B4-BE49-F238E27FC236}">
                      <a16:creationId xmlns:a16="http://schemas.microsoft.com/office/drawing/2014/main" id="{4A1CB5C6-C727-469C-CA05-C9B38FABB7C6}"/>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51" name="Freeform: Shape 15550">
                  <a:extLst>
                    <a:ext uri="{FF2B5EF4-FFF2-40B4-BE49-F238E27FC236}">
                      <a16:creationId xmlns:a16="http://schemas.microsoft.com/office/drawing/2014/main" id="{FC5C5D86-2611-E0B2-E6BC-184A4F5BFC0F}"/>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7" name="Graphic 790">
                <a:extLst>
                  <a:ext uri="{FF2B5EF4-FFF2-40B4-BE49-F238E27FC236}">
                    <a16:creationId xmlns:a16="http://schemas.microsoft.com/office/drawing/2014/main" id="{4878E73E-4D94-554A-59DF-DBF8AEE5F3B6}"/>
                  </a:ext>
                </a:extLst>
              </p:cNvPr>
              <p:cNvGrpSpPr/>
              <p:nvPr/>
            </p:nvGrpSpPr>
            <p:grpSpPr>
              <a:xfrm>
                <a:off x="5619749" y="3398043"/>
                <a:ext cx="75628" cy="75628"/>
                <a:chOff x="5619749" y="3398043"/>
                <a:chExt cx="75628" cy="75628"/>
              </a:xfrm>
            </p:grpSpPr>
            <p:sp>
              <p:nvSpPr>
                <p:cNvPr id="15548" name="Freeform: Shape 15547">
                  <a:extLst>
                    <a:ext uri="{FF2B5EF4-FFF2-40B4-BE49-F238E27FC236}">
                      <a16:creationId xmlns:a16="http://schemas.microsoft.com/office/drawing/2014/main" id="{6491C334-7316-BA27-8261-E5487CCD4A7A}"/>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49" name="Freeform: Shape 15548">
                  <a:extLst>
                    <a:ext uri="{FF2B5EF4-FFF2-40B4-BE49-F238E27FC236}">
                      <a16:creationId xmlns:a16="http://schemas.microsoft.com/office/drawing/2014/main" id="{1B3529E0-B321-A35A-65A2-0CA9B43A67AF}"/>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8" name="Graphic 790">
                <a:extLst>
                  <a:ext uri="{FF2B5EF4-FFF2-40B4-BE49-F238E27FC236}">
                    <a16:creationId xmlns:a16="http://schemas.microsoft.com/office/drawing/2014/main" id="{DC976522-BBEB-69B3-37C1-15E7D2D044B2}"/>
                  </a:ext>
                </a:extLst>
              </p:cNvPr>
              <p:cNvGrpSpPr/>
              <p:nvPr/>
            </p:nvGrpSpPr>
            <p:grpSpPr>
              <a:xfrm>
                <a:off x="5640514" y="3405282"/>
                <a:ext cx="75723" cy="75628"/>
                <a:chOff x="5640514" y="3405282"/>
                <a:chExt cx="75723" cy="75628"/>
              </a:xfrm>
            </p:grpSpPr>
            <p:sp>
              <p:nvSpPr>
                <p:cNvPr id="15546" name="Freeform: Shape 15545">
                  <a:extLst>
                    <a:ext uri="{FF2B5EF4-FFF2-40B4-BE49-F238E27FC236}">
                      <a16:creationId xmlns:a16="http://schemas.microsoft.com/office/drawing/2014/main" id="{561F3E46-D51B-2F7F-FE6F-1F8F3A317596}"/>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47" name="Freeform: Shape 15546">
                  <a:extLst>
                    <a:ext uri="{FF2B5EF4-FFF2-40B4-BE49-F238E27FC236}">
                      <a16:creationId xmlns:a16="http://schemas.microsoft.com/office/drawing/2014/main" id="{E7F3783D-9710-917B-1227-A7CCEF215B21}"/>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29" name="Graphic 790">
                <a:extLst>
                  <a:ext uri="{FF2B5EF4-FFF2-40B4-BE49-F238E27FC236}">
                    <a16:creationId xmlns:a16="http://schemas.microsoft.com/office/drawing/2014/main" id="{953E6925-73C1-8F14-AD3B-6A2DD613D9F0}"/>
                  </a:ext>
                </a:extLst>
              </p:cNvPr>
              <p:cNvGrpSpPr/>
              <p:nvPr/>
            </p:nvGrpSpPr>
            <p:grpSpPr>
              <a:xfrm>
                <a:off x="5579173" y="3322319"/>
                <a:ext cx="75628" cy="75723"/>
                <a:chOff x="5579173" y="3322319"/>
                <a:chExt cx="75628" cy="75723"/>
              </a:xfrm>
            </p:grpSpPr>
            <p:sp>
              <p:nvSpPr>
                <p:cNvPr id="15544" name="Freeform: Shape 15543">
                  <a:extLst>
                    <a:ext uri="{FF2B5EF4-FFF2-40B4-BE49-F238E27FC236}">
                      <a16:creationId xmlns:a16="http://schemas.microsoft.com/office/drawing/2014/main" id="{3A5373B4-AA0E-D792-385A-B6403EA0D7CF}"/>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45" name="Freeform: Shape 15544">
                  <a:extLst>
                    <a:ext uri="{FF2B5EF4-FFF2-40B4-BE49-F238E27FC236}">
                      <a16:creationId xmlns:a16="http://schemas.microsoft.com/office/drawing/2014/main" id="{E456AAFA-539C-1926-21AF-662B44CE784E}"/>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0" name="Graphic 790">
                <a:extLst>
                  <a:ext uri="{FF2B5EF4-FFF2-40B4-BE49-F238E27FC236}">
                    <a16:creationId xmlns:a16="http://schemas.microsoft.com/office/drawing/2014/main" id="{22A043BD-D095-28FF-6C9E-8AB554BB34D1}"/>
                  </a:ext>
                </a:extLst>
              </p:cNvPr>
              <p:cNvGrpSpPr/>
              <p:nvPr/>
            </p:nvGrpSpPr>
            <p:grpSpPr>
              <a:xfrm>
                <a:off x="6010465" y="3480910"/>
                <a:ext cx="75723" cy="75723"/>
                <a:chOff x="6010465" y="3480910"/>
                <a:chExt cx="75723" cy="75723"/>
              </a:xfrm>
            </p:grpSpPr>
            <p:sp>
              <p:nvSpPr>
                <p:cNvPr id="15542" name="Freeform: Shape 15541">
                  <a:extLst>
                    <a:ext uri="{FF2B5EF4-FFF2-40B4-BE49-F238E27FC236}">
                      <a16:creationId xmlns:a16="http://schemas.microsoft.com/office/drawing/2014/main" id="{95174E52-9E59-9B2C-CF20-1DE731F7BAF4}"/>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43" name="Freeform: Shape 15542">
                  <a:extLst>
                    <a:ext uri="{FF2B5EF4-FFF2-40B4-BE49-F238E27FC236}">
                      <a16:creationId xmlns:a16="http://schemas.microsoft.com/office/drawing/2014/main" id="{9FF6E130-D149-C1D4-EC65-C859C71E2B64}"/>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1" name="Graphic 790">
                <a:extLst>
                  <a:ext uri="{FF2B5EF4-FFF2-40B4-BE49-F238E27FC236}">
                    <a16:creationId xmlns:a16="http://schemas.microsoft.com/office/drawing/2014/main" id="{28EEC1E2-B127-5891-6548-66F4880ECFE3}"/>
                  </a:ext>
                </a:extLst>
              </p:cNvPr>
              <p:cNvGrpSpPr/>
              <p:nvPr/>
            </p:nvGrpSpPr>
            <p:grpSpPr>
              <a:xfrm>
                <a:off x="6029991" y="3480910"/>
                <a:ext cx="75628" cy="75723"/>
                <a:chOff x="6029991" y="3480910"/>
                <a:chExt cx="75628" cy="75723"/>
              </a:xfrm>
            </p:grpSpPr>
            <p:sp>
              <p:nvSpPr>
                <p:cNvPr id="15540" name="Freeform: Shape 15539">
                  <a:extLst>
                    <a:ext uri="{FF2B5EF4-FFF2-40B4-BE49-F238E27FC236}">
                      <a16:creationId xmlns:a16="http://schemas.microsoft.com/office/drawing/2014/main" id="{2B3A21B7-BDA2-1327-C335-3598B9B3B7E4}"/>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41" name="Freeform: Shape 15540">
                  <a:extLst>
                    <a:ext uri="{FF2B5EF4-FFF2-40B4-BE49-F238E27FC236}">
                      <a16:creationId xmlns:a16="http://schemas.microsoft.com/office/drawing/2014/main" id="{EF7BACAA-C80F-B83D-F166-FEE7471DF449}"/>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2" name="Graphic 790">
                <a:extLst>
                  <a:ext uri="{FF2B5EF4-FFF2-40B4-BE49-F238E27FC236}">
                    <a16:creationId xmlns:a16="http://schemas.microsoft.com/office/drawing/2014/main" id="{19DD4D95-3D5E-C38B-A0D8-6A1BBBF3827C}"/>
                  </a:ext>
                </a:extLst>
              </p:cNvPr>
              <p:cNvGrpSpPr/>
              <p:nvPr/>
            </p:nvGrpSpPr>
            <p:grpSpPr>
              <a:xfrm>
                <a:off x="6457092" y="3598449"/>
                <a:ext cx="75628" cy="75723"/>
                <a:chOff x="6457092" y="3598449"/>
                <a:chExt cx="75628" cy="75723"/>
              </a:xfrm>
            </p:grpSpPr>
            <p:sp>
              <p:nvSpPr>
                <p:cNvPr id="15538" name="Freeform: Shape 15537">
                  <a:extLst>
                    <a:ext uri="{FF2B5EF4-FFF2-40B4-BE49-F238E27FC236}">
                      <a16:creationId xmlns:a16="http://schemas.microsoft.com/office/drawing/2014/main" id="{30B43B3F-8DF4-1F13-3A42-1135B6939B7A}"/>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39" name="Freeform: Shape 15538">
                  <a:extLst>
                    <a:ext uri="{FF2B5EF4-FFF2-40B4-BE49-F238E27FC236}">
                      <a16:creationId xmlns:a16="http://schemas.microsoft.com/office/drawing/2014/main" id="{86074770-5E38-0EF6-43A4-DD79657913AA}"/>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3" name="Graphic 790">
                <a:extLst>
                  <a:ext uri="{FF2B5EF4-FFF2-40B4-BE49-F238E27FC236}">
                    <a16:creationId xmlns:a16="http://schemas.microsoft.com/office/drawing/2014/main" id="{5EECA044-4798-4D7D-182A-C47D685DA84A}"/>
                  </a:ext>
                </a:extLst>
              </p:cNvPr>
              <p:cNvGrpSpPr/>
              <p:nvPr/>
            </p:nvGrpSpPr>
            <p:grpSpPr>
              <a:xfrm>
                <a:off x="6445567" y="3598449"/>
                <a:ext cx="75723" cy="75723"/>
                <a:chOff x="6445567" y="3598449"/>
                <a:chExt cx="75723" cy="75723"/>
              </a:xfrm>
            </p:grpSpPr>
            <p:sp>
              <p:nvSpPr>
                <p:cNvPr id="15536" name="Freeform: Shape 15535">
                  <a:extLst>
                    <a:ext uri="{FF2B5EF4-FFF2-40B4-BE49-F238E27FC236}">
                      <a16:creationId xmlns:a16="http://schemas.microsoft.com/office/drawing/2014/main" id="{6B3CD287-F6A6-20C0-500E-08B684F4DA0C}"/>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37" name="Freeform: Shape 15536">
                  <a:extLst>
                    <a:ext uri="{FF2B5EF4-FFF2-40B4-BE49-F238E27FC236}">
                      <a16:creationId xmlns:a16="http://schemas.microsoft.com/office/drawing/2014/main" id="{EA21DAAE-B918-A74D-C698-AA590C4057A6}"/>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4" name="Graphic 790">
                <a:extLst>
                  <a:ext uri="{FF2B5EF4-FFF2-40B4-BE49-F238E27FC236}">
                    <a16:creationId xmlns:a16="http://schemas.microsoft.com/office/drawing/2014/main" id="{6745864C-C194-B472-9615-4031F2D29E0B}"/>
                  </a:ext>
                </a:extLst>
              </p:cNvPr>
              <p:cNvGrpSpPr/>
              <p:nvPr/>
            </p:nvGrpSpPr>
            <p:grpSpPr>
              <a:xfrm>
                <a:off x="6434137" y="3598449"/>
                <a:ext cx="75723" cy="75723"/>
                <a:chOff x="6434137" y="3598449"/>
                <a:chExt cx="75723" cy="75723"/>
              </a:xfrm>
            </p:grpSpPr>
            <p:sp>
              <p:nvSpPr>
                <p:cNvPr id="15534" name="Freeform: Shape 15533">
                  <a:extLst>
                    <a:ext uri="{FF2B5EF4-FFF2-40B4-BE49-F238E27FC236}">
                      <a16:creationId xmlns:a16="http://schemas.microsoft.com/office/drawing/2014/main" id="{F39566E1-D716-169B-4F39-878C41F7AD82}"/>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35" name="Freeform: Shape 15534">
                  <a:extLst>
                    <a:ext uri="{FF2B5EF4-FFF2-40B4-BE49-F238E27FC236}">
                      <a16:creationId xmlns:a16="http://schemas.microsoft.com/office/drawing/2014/main" id="{D3E3C4E8-9CEF-2D9A-956E-B35070065910}"/>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5" name="Graphic 790">
                <a:extLst>
                  <a:ext uri="{FF2B5EF4-FFF2-40B4-BE49-F238E27FC236}">
                    <a16:creationId xmlns:a16="http://schemas.microsoft.com/office/drawing/2014/main" id="{7D3BE8B3-9D55-D3F9-BA19-A0CEDB042474}"/>
                  </a:ext>
                </a:extLst>
              </p:cNvPr>
              <p:cNvGrpSpPr/>
              <p:nvPr/>
            </p:nvGrpSpPr>
            <p:grpSpPr>
              <a:xfrm>
                <a:off x="6422707" y="3598449"/>
                <a:ext cx="75723" cy="75723"/>
                <a:chOff x="6422707" y="3598449"/>
                <a:chExt cx="75723" cy="75723"/>
              </a:xfrm>
            </p:grpSpPr>
            <p:sp>
              <p:nvSpPr>
                <p:cNvPr id="15532" name="Freeform: Shape 15531">
                  <a:extLst>
                    <a:ext uri="{FF2B5EF4-FFF2-40B4-BE49-F238E27FC236}">
                      <a16:creationId xmlns:a16="http://schemas.microsoft.com/office/drawing/2014/main" id="{EBCEC17C-6A64-DB3F-B57A-051DC033713A}"/>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33" name="Freeform: Shape 15532">
                  <a:extLst>
                    <a:ext uri="{FF2B5EF4-FFF2-40B4-BE49-F238E27FC236}">
                      <a16:creationId xmlns:a16="http://schemas.microsoft.com/office/drawing/2014/main" id="{A9C59BCD-CDF9-CBBE-9C32-A670181ABE88}"/>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6" name="Graphic 790">
                <a:extLst>
                  <a:ext uri="{FF2B5EF4-FFF2-40B4-BE49-F238E27FC236}">
                    <a16:creationId xmlns:a16="http://schemas.microsoft.com/office/drawing/2014/main" id="{F3278340-F8AB-B39D-7793-B95CB3CD3680}"/>
                  </a:ext>
                </a:extLst>
              </p:cNvPr>
              <p:cNvGrpSpPr/>
              <p:nvPr/>
            </p:nvGrpSpPr>
            <p:grpSpPr>
              <a:xfrm>
                <a:off x="6411277" y="3598449"/>
                <a:ext cx="75723" cy="75723"/>
                <a:chOff x="6411277" y="3598449"/>
                <a:chExt cx="75723" cy="75723"/>
              </a:xfrm>
            </p:grpSpPr>
            <p:sp>
              <p:nvSpPr>
                <p:cNvPr id="15530" name="Freeform: Shape 15529">
                  <a:extLst>
                    <a:ext uri="{FF2B5EF4-FFF2-40B4-BE49-F238E27FC236}">
                      <a16:creationId xmlns:a16="http://schemas.microsoft.com/office/drawing/2014/main" id="{3C57C161-3476-9C7E-0F3C-C902B3957F0D}"/>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31" name="Freeform: Shape 15530">
                  <a:extLst>
                    <a:ext uri="{FF2B5EF4-FFF2-40B4-BE49-F238E27FC236}">
                      <a16:creationId xmlns:a16="http://schemas.microsoft.com/office/drawing/2014/main" id="{325551AC-C3A3-AD89-6670-336D51DA9035}"/>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7" name="Graphic 790">
                <a:extLst>
                  <a:ext uri="{FF2B5EF4-FFF2-40B4-BE49-F238E27FC236}">
                    <a16:creationId xmlns:a16="http://schemas.microsoft.com/office/drawing/2014/main" id="{8CBD84CB-3EC3-6FEF-9B95-CCE0C8BA51D7}"/>
                  </a:ext>
                </a:extLst>
              </p:cNvPr>
              <p:cNvGrpSpPr/>
              <p:nvPr/>
            </p:nvGrpSpPr>
            <p:grpSpPr>
              <a:xfrm>
                <a:off x="6502717" y="3639883"/>
                <a:ext cx="75723" cy="75723"/>
                <a:chOff x="6502717" y="3639883"/>
                <a:chExt cx="75723" cy="75723"/>
              </a:xfrm>
            </p:grpSpPr>
            <p:sp>
              <p:nvSpPr>
                <p:cNvPr id="15528" name="Freeform: Shape 15527">
                  <a:extLst>
                    <a:ext uri="{FF2B5EF4-FFF2-40B4-BE49-F238E27FC236}">
                      <a16:creationId xmlns:a16="http://schemas.microsoft.com/office/drawing/2014/main" id="{48B47EC3-E4CA-3994-D767-FE56ECC00BB2}"/>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29" name="Freeform: Shape 15528">
                  <a:extLst>
                    <a:ext uri="{FF2B5EF4-FFF2-40B4-BE49-F238E27FC236}">
                      <a16:creationId xmlns:a16="http://schemas.microsoft.com/office/drawing/2014/main" id="{D55B5CD4-6902-BDCE-38F3-416EE2596DEB}"/>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8" name="Graphic 790">
                <a:extLst>
                  <a:ext uri="{FF2B5EF4-FFF2-40B4-BE49-F238E27FC236}">
                    <a16:creationId xmlns:a16="http://schemas.microsoft.com/office/drawing/2014/main" id="{53FB592D-51CD-A056-9B6E-60D2654EFB56}"/>
                  </a:ext>
                </a:extLst>
              </p:cNvPr>
              <p:cNvGrpSpPr/>
              <p:nvPr/>
            </p:nvGrpSpPr>
            <p:grpSpPr>
              <a:xfrm>
                <a:off x="6916483" y="3652646"/>
                <a:ext cx="75723" cy="75723"/>
                <a:chOff x="6916483" y="3652646"/>
                <a:chExt cx="75723" cy="75723"/>
              </a:xfrm>
            </p:grpSpPr>
            <p:sp>
              <p:nvSpPr>
                <p:cNvPr id="15526" name="Freeform: Shape 15525">
                  <a:extLst>
                    <a:ext uri="{FF2B5EF4-FFF2-40B4-BE49-F238E27FC236}">
                      <a16:creationId xmlns:a16="http://schemas.microsoft.com/office/drawing/2014/main" id="{AABD972B-C4BE-D0C9-4686-38591850C675}"/>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27" name="Freeform: Shape 15526">
                  <a:extLst>
                    <a:ext uri="{FF2B5EF4-FFF2-40B4-BE49-F238E27FC236}">
                      <a16:creationId xmlns:a16="http://schemas.microsoft.com/office/drawing/2014/main" id="{BB521EC3-4BEE-FAE4-0D56-3881849518C0}"/>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39" name="Graphic 790">
                <a:extLst>
                  <a:ext uri="{FF2B5EF4-FFF2-40B4-BE49-F238E27FC236}">
                    <a16:creationId xmlns:a16="http://schemas.microsoft.com/office/drawing/2014/main" id="{BFEA0B6D-8DE0-2707-26BB-327D8B8D5315}"/>
                  </a:ext>
                </a:extLst>
              </p:cNvPr>
              <p:cNvGrpSpPr/>
              <p:nvPr/>
            </p:nvGrpSpPr>
            <p:grpSpPr>
              <a:xfrm>
                <a:off x="6900862" y="3652646"/>
                <a:ext cx="75628" cy="75723"/>
                <a:chOff x="6900862" y="3652646"/>
                <a:chExt cx="75628" cy="75723"/>
              </a:xfrm>
            </p:grpSpPr>
            <p:sp>
              <p:nvSpPr>
                <p:cNvPr id="15524" name="Freeform: Shape 15523">
                  <a:extLst>
                    <a:ext uri="{FF2B5EF4-FFF2-40B4-BE49-F238E27FC236}">
                      <a16:creationId xmlns:a16="http://schemas.microsoft.com/office/drawing/2014/main" id="{4F4330D1-0CFA-64EF-FA54-3B5C1158CB63}"/>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25" name="Freeform: Shape 15524">
                  <a:extLst>
                    <a:ext uri="{FF2B5EF4-FFF2-40B4-BE49-F238E27FC236}">
                      <a16:creationId xmlns:a16="http://schemas.microsoft.com/office/drawing/2014/main" id="{F6E7385C-0E35-7167-8580-53EB2F8EC700}"/>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0" name="Graphic 790">
                <a:extLst>
                  <a:ext uri="{FF2B5EF4-FFF2-40B4-BE49-F238E27FC236}">
                    <a16:creationId xmlns:a16="http://schemas.microsoft.com/office/drawing/2014/main" id="{4B6872BB-3ABA-9C78-CD63-8FE02A2914FA}"/>
                  </a:ext>
                </a:extLst>
              </p:cNvPr>
              <p:cNvGrpSpPr/>
              <p:nvPr/>
            </p:nvGrpSpPr>
            <p:grpSpPr>
              <a:xfrm>
                <a:off x="6885145" y="3652646"/>
                <a:ext cx="75723" cy="75723"/>
                <a:chOff x="6885145" y="3652646"/>
                <a:chExt cx="75723" cy="75723"/>
              </a:xfrm>
            </p:grpSpPr>
            <p:sp>
              <p:nvSpPr>
                <p:cNvPr id="15522" name="Freeform: Shape 15521">
                  <a:extLst>
                    <a:ext uri="{FF2B5EF4-FFF2-40B4-BE49-F238E27FC236}">
                      <a16:creationId xmlns:a16="http://schemas.microsoft.com/office/drawing/2014/main" id="{487FD884-53B7-97ED-C790-2102024EC466}"/>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23" name="Freeform: Shape 15522">
                  <a:extLst>
                    <a:ext uri="{FF2B5EF4-FFF2-40B4-BE49-F238E27FC236}">
                      <a16:creationId xmlns:a16="http://schemas.microsoft.com/office/drawing/2014/main" id="{11A9537A-2D7E-749C-B17C-B0FA97CA78FD}"/>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1" name="Graphic 790">
                <a:extLst>
                  <a:ext uri="{FF2B5EF4-FFF2-40B4-BE49-F238E27FC236}">
                    <a16:creationId xmlns:a16="http://schemas.microsoft.com/office/drawing/2014/main" id="{869A7ADB-21A1-6039-BE30-333D483FBDEC}"/>
                  </a:ext>
                </a:extLst>
              </p:cNvPr>
              <p:cNvGrpSpPr/>
              <p:nvPr/>
            </p:nvGrpSpPr>
            <p:grpSpPr>
              <a:xfrm>
                <a:off x="6869429" y="3652646"/>
                <a:ext cx="75723" cy="75723"/>
                <a:chOff x="6869429" y="3652646"/>
                <a:chExt cx="75723" cy="75723"/>
              </a:xfrm>
            </p:grpSpPr>
            <p:sp>
              <p:nvSpPr>
                <p:cNvPr id="15520" name="Freeform: Shape 15519">
                  <a:extLst>
                    <a:ext uri="{FF2B5EF4-FFF2-40B4-BE49-F238E27FC236}">
                      <a16:creationId xmlns:a16="http://schemas.microsoft.com/office/drawing/2014/main" id="{D78B4894-0221-27F9-7375-CDC998F4D500}"/>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21" name="Freeform: Shape 15520">
                  <a:extLst>
                    <a:ext uri="{FF2B5EF4-FFF2-40B4-BE49-F238E27FC236}">
                      <a16:creationId xmlns:a16="http://schemas.microsoft.com/office/drawing/2014/main" id="{C31EFFFB-B624-C916-BA1A-3782210B10F2}"/>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2" name="Graphic 790">
                <a:extLst>
                  <a:ext uri="{FF2B5EF4-FFF2-40B4-BE49-F238E27FC236}">
                    <a16:creationId xmlns:a16="http://schemas.microsoft.com/office/drawing/2014/main" id="{B852B347-4E0D-081F-5FEA-8EF3AF6A5010}"/>
                  </a:ext>
                </a:extLst>
              </p:cNvPr>
              <p:cNvGrpSpPr/>
              <p:nvPr/>
            </p:nvGrpSpPr>
            <p:grpSpPr>
              <a:xfrm>
                <a:off x="6853808" y="3652646"/>
                <a:ext cx="75628" cy="75723"/>
                <a:chOff x="6853808" y="3652646"/>
                <a:chExt cx="75628" cy="75723"/>
              </a:xfrm>
            </p:grpSpPr>
            <p:sp>
              <p:nvSpPr>
                <p:cNvPr id="15518" name="Freeform: Shape 15517">
                  <a:extLst>
                    <a:ext uri="{FF2B5EF4-FFF2-40B4-BE49-F238E27FC236}">
                      <a16:creationId xmlns:a16="http://schemas.microsoft.com/office/drawing/2014/main" id="{01FDC36D-12A7-358D-A84F-C561327A62A8}"/>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19" name="Freeform: Shape 15518">
                  <a:extLst>
                    <a:ext uri="{FF2B5EF4-FFF2-40B4-BE49-F238E27FC236}">
                      <a16:creationId xmlns:a16="http://schemas.microsoft.com/office/drawing/2014/main" id="{8DA43273-02E6-CCC1-8307-F5B376EAF910}"/>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3" name="Graphic 790">
                <a:extLst>
                  <a:ext uri="{FF2B5EF4-FFF2-40B4-BE49-F238E27FC236}">
                    <a16:creationId xmlns:a16="http://schemas.microsoft.com/office/drawing/2014/main" id="{D17ECE7D-E4AF-246A-397B-5FA8ED08B5D4}"/>
                  </a:ext>
                </a:extLst>
              </p:cNvPr>
              <p:cNvGrpSpPr/>
              <p:nvPr/>
            </p:nvGrpSpPr>
            <p:grpSpPr>
              <a:xfrm>
                <a:off x="6923626" y="3677030"/>
                <a:ext cx="75723" cy="75628"/>
                <a:chOff x="6923626" y="3677030"/>
                <a:chExt cx="75723" cy="75628"/>
              </a:xfrm>
            </p:grpSpPr>
            <p:sp>
              <p:nvSpPr>
                <p:cNvPr id="15516" name="Freeform: Shape 15515">
                  <a:extLst>
                    <a:ext uri="{FF2B5EF4-FFF2-40B4-BE49-F238E27FC236}">
                      <a16:creationId xmlns:a16="http://schemas.microsoft.com/office/drawing/2014/main" id="{647CB324-8C38-4775-D18F-D29DC6D81E07}"/>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17" name="Freeform: Shape 15516">
                  <a:extLst>
                    <a:ext uri="{FF2B5EF4-FFF2-40B4-BE49-F238E27FC236}">
                      <a16:creationId xmlns:a16="http://schemas.microsoft.com/office/drawing/2014/main" id="{58634CBA-3420-D77C-1062-F088ECA6BC35}"/>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4" name="Graphic 790">
                <a:extLst>
                  <a:ext uri="{FF2B5EF4-FFF2-40B4-BE49-F238E27FC236}">
                    <a16:creationId xmlns:a16="http://schemas.microsoft.com/office/drawing/2014/main" id="{7F4606B3-E086-22F4-76B7-F23044D27204}"/>
                  </a:ext>
                </a:extLst>
              </p:cNvPr>
              <p:cNvGrpSpPr/>
              <p:nvPr/>
            </p:nvGrpSpPr>
            <p:grpSpPr>
              <a:xfrm>
                <a:off x="6908482" y="3677030"/>
                <a:ext cx="75723" cy="75628"/>
                <a:chOff x="6908482" y="3677030"/>
                <a:chExt cx="75723" cy="75628"/>
              </a:xfrm>
            </p:grpSpPr>
            <p:sp>
              <p:nvSpPr>
                <p:cNvPr id="15514" name="Freeform: Shape 15513">
                  <a:extLst>
                    <a:ext uri="{FF2B5EF4-FFF2-40B4-BE49-F238E27FC236}">
                      <a16:creationId xmlns:a16="http://schemas.microsoft.com/office/drawing/2014/main" id="{F82E6A51-2EEF-76DD-FE5F-FB016789B30F}"/>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15" name="Freeform: Shape 15514">
                  <a:extLst>
                    <a:ext uri="{FF2B5EF4-FFF2-40B4-BE49-F238E27FC236}">
                      <a16:creationId xmlns:a16="http://schemas.microsoft.com/office/drawing/2014/main" id="{640A74A6-B422-F759-361D-0790E3D2D9BF}"/>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5" name="Graphic 790">
                <a:extLst>
                  <a:ext uri="{FF2B5EF4-FFF2-40B4-BE49-F238E27FC236}">
                    <a16:creationId xmlns:a16="http://schemas.microsoft.com/office/drawing/2014/main" id="{2487F5C5-DFE6-54B8-4B10-E1BD434A861D}"/>
                  </a:ext>
                </a:extLst>
              </p:cNvPr>
              <p:cNvGrpSpPr/>
              <p:nvPr/>
            </p:nvGrpSpPr>
            <p:grpSpPr>
              <a:xfrm>
                <a:off x="7307960" y="3719226"/>
                <a:ext cx="75628" cy="75723"/>
                <a:chOff x="7307960" y="3719226"/>
                <a:chExt cx="75628" cy="75723"/>
              </a:xfrm>
            </p:grpSpPr>
            <p:sp>
              <p:nvSpPr>
                <p:cNvPr id="15512" name="Freeform: Shape 15511">
                  <a:extLst>
                    <a:ext uri="{FF2B5EF4-FFF2-40B4-BE49-F238E27FC236}">
                      <a16:creationId xmlns:a16="http://schemas.microsoft.com/office/drawing/2014/main" id="{D87749B2-0BB0-39BE-97DF-52923EE29F67}"/>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13" name="Freeform: Shape 15512">
                  <a:extLst>
                    <a:ext uri="{FF2B5EF4-FFF2-40B4-BE49-F238E27FC236}">
                      <a16:creationId xmlns:a16="http://schemas.microsoft.com/office/drawing/2014/main" id="{0A0212C4-305E-C885-E6AC-1DBE5372211E}"/>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6" name="Graphic 790">
                <a:extLst>
                  <a:ext uri="{FF2B5EF4-FFF2-40B4-BE49-F238E27FC236}">
                    <a16:creationId xmlns:a16="http://schemas.microsoft.com/office/drawing/2014/main" id="{BC80E559-20F5-0392-595F-5F5D55151E01}"/>
                  </a:ext>
                </a:extLst>
              </p:cNvPr>
              <p:cNvGrpSpPr/>
              <p:nvPr/>
            </p:nvGrpSpPr>
            <p:grpSpPr>
              <a:xfrm>
                <a:off x="7302150" y="3719226"/>
                <a:ext cx="75723" cy="75723"/>
                <a:chOff x="7302150" y="3719226"/>
                <a:chExt cx="75723" cy="75723"/>
              </a:xfrm>
            </p:grpSpPr>
            <p:sp>
              <p:nvSpPr>
                <p:cNvPr id="15510" name="Freeform: Shape 15509">
                  <a:extLst>
                    <a:ext uri="{FF2B5EF4-FFF2-40B4-BE49-F238E27FC236}">
                      <a16:creationId xmlns:a16="http://schemas.microsoft.com/office/drawing/2014/main" id="{E8007C3B-00F9-663D-22FC-9798A6BCB120}"/>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11" name="Freeform: Shape 15510">
                  <a:extLst>
                    <a:ext uri="{FF2B5EF4-FFF2-40B4-BE49-F238E27FC236}">
                      <a16:creationId xmlns:a16="http://schemas.microsoft.com/office/drawing/2014/main" id="{C344E452-1E78-4226-3486-76F0B040D7A4}"/>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7" name="Graphic 790">
                <a:extLst>
                  <a:ext uri="{FF2B5EF4-FFF2-40B4-BE49-F238E27FC236}">
                    <a16:creationId xmlns:a16="http://schemas.microsoft.com/office/drawing/2014/main" id="{2310F939-8000-F9D9-6E24-D2F664C3E3CF}"/>
                  </a:ext>
                </a:extLst>
              </p:cNvPr>
              <p:cNvGrpSpPr/>
              <p:nvPr/>
            </p:nvGrpSpPr>
            <p:grpSpPr>
              <a:xfrm>
                <a:off x="7318819" y="3763898"/>
                <a:ext cx="75723" cy="75723"/>
                <a:chOff x="7318819" y="3763898"/>
                <a:chExt cx="75723" cy="75723"/>
              </a:xfrm>
            </p:grpSpPr>
            <p:sp>
              <p:nvSpPr>
                <p:cNvPr id="15508" name="Freeform: Shape 15507">
                  <a:extLst>
                    <a:ext uri="{FF2B5EF4-FFF2-40B4-BE49-F238E27FC236}">
                      <a16:creationId xmlns:a16="http://schemas.microsoft.com/office/drawing/2014/main" id="{C9DFCB58-1953-B220-7B12-EC7BFC40D3D8}"/>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09" name="Freeform: Shape 15508">
                  <a:extLst>
                    <a:ext uri="{FF2B5EF4-FFF2-40B4-BE49-F238E27FC236}">
                      <a16:creationId xmlns:a16="http://schemas.microsoft.com/office/drawing/2014/main" id="{06F04799-FBA1-7C17-203C-13EA7A745495}"/>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8" name="Graphic 790">
                <a:extLst>
                  <a:ext uri="{FF2B5EF4-FFF2-40B4-BE49-F238E27FC236}">
                    <a16:creationId xmlns:a16="http://schemas.microsoft.com/office/drawing/2014/main" id="{8D95A5CB-338C-97DC-3BE4-A8A827C73DBC}"/>
                  </a:ext>
                </a:extLst>
              </p:cNvPr>
              <p:cNvGrpSpPr/>
              <p:nvPr/>
            </p:nvGrpSpPr>
            <p:grpSpPr>
              <a:xfrm>
                <a:off x="7329391" y="3772661"/>
                <a:ext cx="75723" cy="75628"/>
                <a:chOff x="7329391" y="3772661"/>
                <a:chExt cx="75723" cy="75628"/>
              </a:xfrm>
            </p:grpSpPr>
            <p:sp>
              <p:nvSpPr>
                <p:cNvPr id="15506" name="Freeform: Shape 15505">
                  <a:extLst>
                    <a:ext uri="{FF2B5EF4-FFF2-40B4-BE49-F238E27FC236}">
                      <a16:creationId xmlns:a16="http://schemas.microsoft.com/office/drawing/2014/main" id="{8803AB87-5748-167E-EAA0-AE0560ED14AA}"/>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07" name="Freeform: Shape 15506">
                  <a:extLst>
                    <a:ext uri="{FF2B5EF4-FFF2-40B4-BE49-F238E27FC236}">
                      <a16:creationId xmlns:a16="http://schemas.microsoft.com/office/drawing/2014/main" id="{CCEA9C4F-B997-AEDC-4FD8-6033975D4B9D}"/>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49" name="Graphic 790">
                <a:extLst>
                  <a:ext uri="{FF2B5EF4-FFF2-40B4-BE49-F238E27FC236}">
                    <a16:creationId xmlns:a16="http://schemas.microsoft.com/office/drawing/2014/main" id="{749A36E8-9C4B-2909-449C-601AF55902B3}"/>
                  </a:ext>
                </a:extLst>
              </p:cNvPr>
              <p:cNvGrpSpPr/>
              <p:nvPr/>
            </p:nvGrpSpPr>
            <p:grpSpPr>
              <a:xfrm>
                <a:off x="7377874" y="3772661"/>
                <a:ext cx="75723" cy="75628"/>
                <a:chOff x="7377874" y="3772661"/>
                <a:chExt cx="75723" cy="75628"/>
              </a:xfrm>
            </p:grpSpPr>
            <p:sp>
              <p:nvSpPr>
                <p:cNvPr id="15504" name="Freeform: Shape 15503">
                  <a:extLst>
                    <a:ext uri="{FF2B5EF4-FFF2-40B4-BE49-F238E27FC236}">
                      <a16:creationId xmlns:a16="http://schemas.microsoft.com/office/drawing/2014/main" id="{FFF3EAB3-3B08-0A64-2D5E-7BDA74DBE2D7}"/>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05" name="Freeform: Shape 15504">
                  <a:extLst>
                    <a:ext uri="{FF2B5EF4-FFF2-40B4-BE49-F238E27FC236}">
                      <a16:creationId xmlns:a16="http://schemas.microsoft.com/office/drawing/2014/main" id="{9297C109-08AB-48B9-2F03-3D1CB39B4102}"/>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0" name="Graphic 790">
                <a:extLst>
                  <a:ext uri="{FF2B5EF4-FFF2-40B4-BE49-F238E27FC236}">
                    <a16:creationId xmlns:a16="http://schemas.microsoft.com/office/drawing/2014/main" id="{6D04B288-914A-ED05-34E3-F132FCFA36E6}"/>
                  </a:ext>
                </a:extLst>
              </p:cNvPr>
              <p:cNvGrpSpPr/>
              <p:nvPr/>
            </p:nvGrpSpPr>
            <p:grpSpPr>
              <a:xfrm>
                <a:off x="7350061" y="3772661"/>
                <a:ext cx="75628" cy="75628"/>
                <a:chOff x="7350061" y="3772661"/>
                <a:chExt cx="75628" cy="75628"/>
              </a:xfrm>
            </p:grpSpPr>
            <p:sp>
              <p:nvSpPr>
                <p:cNvPr id="15502" name="Freeform: Shape 15501">
                  <a:extLst>
                    <a:ext uri="{FF2B5EF4-FFF2-40B4-BE49-F238E27FC236}">
                      <a16:creationId xmlns:a16="http://schemas.microsoft.com/office/drawing/2014/main" id="{AE4E4666-3959-9E19-D9E9-47D98E4F99FD}"/>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03" name="Freeform: Shape 15502">
                  <a:extLst>
                    <a:ext uri="{FF2B5EF4-FFF2-40B4-BE49-F238E27FC236}">
                      <a16:creationId xmlns:a16="http://schemas.microsoft.com/office/drawing/2014/main" id="{2D7E7D8E-3AC8-E9D6-306B-640EBAF31CB8}"/>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1" name="Graphic 790">
                <a:extLst>
                  <a:ext uri="{FF2B5EF4-FFF2-40B4-BE49-F238E27FC236}">
                    <a16:creationId xmlns:a16="http://schemas.microsoft.com/office/drawing/2014/main" id="{543F5BA7-0964-357F-2BB5-BCACA46EEADE}"/>
                  </a:ext>
                </a:extLst>
              </p:cNvPr>
              <p:cNvGrpSpPr/>
              <p:nvPr/>
            </p:nvGrpSpPr>
            <p:grpSpPr>
              <a:xfrm>
                <a:off x="7285481" y="3719226"/>
                <a:ext cx="75723" cy="75723"/>
                <a:chOff x="7285481" y="3719226"/>
                <a:chExt cx="75723" cy="75723"/>
              </a:xfrm>
            </p:grpSpPr>
            <p:sp>
              <p:nvSpPr>
                <p:cNvPr id="15500" name="Freeform: Shape 15499">
                  <a:extLst>
                    <a:ext uri="{FF2B5EF4-FFF2-40B4-BE49-F238E27FC236}">
                      <a16:creationId xmlns:a16="http://schemas.microsoft.com/office/drawing/2014/main" id="{27A7C45D-0D42-BF27-960A-64AA9E6BBB99}"/>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501" name="Freeform: Shape 15500">
                  <a:extLst>
                    <a:ext uri="{FF2B5EF4-FFF2-40B4-BE49-F238E27FC236}">
                      <a16:creationId xmlns:a16="http://schemas.microsoft.com/office/drawing/2014/main" id="{55FA974C-5891-C61A-51AD-865001B8286E}"/>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2" name="Graphic 790">
                <a:extLst>
                  <a:ext uri="{FF2B5EF4-FFF2-40B4-BE49-F238E27FC236}">
                    <a16:creationId xmlns:a16="http://schemas.microsoft.com/office/drawing/2014/main" id="{1CF63BD0-ACFC-476B-737A-70F3D1AF13BC}"/>
                  </a:ext>
                </a:extLst>
              </p:cNvPr>
              <p:cNvGrpSpPr/>
              <p:nvPr/>
            </p:nvGrpSpPr>
            <p:grpSpPr>
              <a:xfrm>
                <a:off x="7730870" y="3838193"/>
                <a:ext cx="75723" cy="75628"/>
                <a:chOff x="7730870" y="3838193"/>
                <a:chExt cx="75723" cy="75628"/>
              </a:xfrm>
            </p:grpSpPr>
            <p:sp>
              <p:nvSpPr>
                <p:cNvPr id="15498" name="Freeform: Shape 15497">
                  <a:extLst>
                    <a:ext uri="{FF2B5EF4-FFF2-40B4-BE49-F238E27FC236}">
                      <a16:creationId xmlns:a16="http://schemas.microsoft.com/office/drawing/2014/main" id="{978292CB-37CB-CBD6-4ABE-EF068999F4AE}"/>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99" name="Freeform: Shape 15498">
                  <a:extLst>
                    <a:ext uri="{FF2B5EF4-FFF2-40B4-BE49-F238E27FC236}">
                      <a16:creationId xmlns:a16="http://schemas.microsoft.com/office/drawing/2014/main" id="{517FEFE7-32F6-AF32-FB89-897782ABDDC8}"/>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3" name="Graphic 790">
                <a:extLst>
                  <a:ext uri="{FF2B5EF4-FFF2-40B4-BE49-F238E27FC236}">
                    <a16:creationId xmlns:a16="http://schemas.microsoft.com/office/drawing/2014/main" id="{2297AADC-43E2-4527-1B86-B922BA0D1BAA}"/>
                  </a:ext>
                </a:extLst>
              </p:cNvPr>
              <p:cNvGrpSpPr/>
              <p:nvPr/>
            </p:nvGrpSpPr>
            <p:grpSpPr>
              <a:xfrm>
                <a:off x="7744015" y="3838193"/>
                <a:ext cx="75723" cy="75628"/>
                <a:chOff x="7744015" y="3838193"/>
                <a:chExt cx="75723" cy="75628"/>
              </a:xfrm>
            </p:grpSpPr>
            <p:sp>
              <p:nvSpPr>
                <p:cNvPr id="15496" name="Freeform: Shape 15495">
                  <a:extLst>
                    <a:ext uri="{FF2B5EF4-FFF2-40B4-BE49-F238E27FC236}">
                      <a16:creationId xmlns:a16="http://schemas.microsoft.com/office/drawing/2014/main" id="{C8F24DB8-0DDB-AB2A-66E7-0588FEF6F987}"/>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97" name="Freeform: Shape 15496">
                  <a:extLst>
                    <a:ext uri="{FF2B5EF4-FFF2-40B4-BE49-F238E27FC236}">
                      <a16:creationId xmlns:a16="http://schemas.microsoft.com/office/drawing/2014/main" id="{1B0E4E5C-8390-C857-68E8-81063761D11A}"/>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4" name="Graphic 790">
                <a:extLst>
                  <a:ext uri="{FF2B5EF4-FFF2-40B4-BE49-F238E27FC236}">
                    <a16:creationId xmlns:a16="http://schemas.microsoft.com/office/drawing/2014/main" id="{E4179D61-A82C-35AC-0A73-7EB04ED01F58}"/>
                  </a:ext>
                </a:extLst>
              </p:cNvPr>
              <p:cNvGrpSpPr/>
              <p:nvPr/>
            </p:nvGrpSpPr>
            <p:grpSpPr>
              <a:xfrm>
                <a:off x="7836788" y="3873626"/>
                <a:ext cx="75723" cy="75628"/>
                <a:chOff x="7836788" y="3873626"/>
                <a:chExt cx="75723" cy="75628"/>
              </a:xfrm>
            </p:grpSpPr>
            <p:sp>
              <p:nvSpPr>
                <p:cNvPr id="15494" name="Freeform: Shape 15493">
                  <a:extLst>
                    <a:ext uri="{FF2B5EF4-FFF2-40B4-BE49-F238E27FC236}">
                      <a16:creationId xmlns:a16="http://schemas.microsoft.com/office/drawing/2014/main" id="{849C554F-E211-8F96-5E24-D80D6A2F0B1F}"/>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95" name="Freeform: Shape 15494">
                  <a:extLst>
                    <a:ext uri="{FF2B5EF4-FFF2-40B4-BE49-F238E27FC236}">
                      <a16:creationId xmlns:a16="http://schemas.microsoft.com/office/drawing/2014/main" id="{C45396BD-7797-8504-2DB3-6C4C36FE1D44}"/>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5" name="Graphic 790">
                <a:extLst>
                  <a:ext uri="{FF2B5EF4-FFF2-40B4-BE49-F238E27FC236}">
                    <a16:creationId xmlns:a16="http://schemas.microsoft.com/office/drawing/2014/main" id="{A1EFA628-D8A1-8629-1438-FB8F4EDDE8C8}"/>
                  </a:ext>
                </a:extLst>
              </p:cNvPr>
              <p:cNvGrpSpPr/>
              <p:nvPr/>
            </p:nvGrpSpPr>
            <p:grpSpPr>
              <a:xfrm>
                <a:off x="7788401" y="3873626"/>
                <a:ext cx="75628" cy="75628"/>
                <a:chOff x="7788401" y="3873626"/>
                <a:chExt cx="75628" cy="75628"/>
              </a:xfrm>
            </p:grpSpPr>
            <p:sp>
              <p:nvSpPr>
                <p:cNvPr id="15492" name="Freeform: Shape 15491">
                  <a:extLst>
                    <a:ext uri="{FF2B5EF4-FFF2-40B4-BE49-F238E27FC236}">
                      <a16:creationId xmlns:a16="http://schemas.microsoft.com/office/drawing/2014/main" id="{501A9EE1-086E-D5E8-D425-639007E266FF}"/>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93" name="Freeform: Shape 15492">
                  <a:extLst>
                    <a:ext uri="{FF2B5EF4-FFF2-40B4-BE49-F238E27FC236}">
                      <a16:creationId xmlns:a16="http://schemas.microsoft.com/office/drawing/2014/main" id="{D424C850-C3CE-53A9-9F4B-74F308E2F6F9}"/>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6" name="Graphic 790">
                <a:extLst>
                  <a:ext uri="{FF2B5EF4-FFF2-40B4-BE49-F238E27FC236}">
                    <a16:creationId xmlns:a16="http://schemas.microsoft.com/office/drawing/2014/main" id="{CA0668C4-E30E-24C6-53AA-44DE284816C1}"/>
                  </a:ext>
                </a:extLst>
              </p:cNvPr>
              <p:cNvGrpSpPr/>
              <p:nvPr/>
            </p:nvGrpSpPr>
            <p:grpSpPr>
              <a:xfrm>
                <a:off x="7781924" y="3873626"/>
                <a:ext cx="75628" cy="75628"/>
                <a:chOff x="7781924" y="3873626"/>
                <a:chExt cx="75628" cy="75628"/>
              </a:xfrm>
            </p:grpSpPr>
            <p:sp>
              <p:nvSpPr>
                <p:cNvPr id="15490" name="Freeform: Shape 15489">
                  <a:extLst>
                    <a:ext uri="{FF2B5EF4-FFF2-40B4-BE49-F238E27FC236}">
                      <a16:creationId xmlns:a16="http://schemas.microsoft.com/office/drawing/2014/main" id="{4925C0B2-115D-E41A-78BB-D50CC18ED9D1}"/>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91" name="Freeform: Shape 15490">
                  <a:extLst>
                    <a:ext uri="{FF2B5EF4-FFF2-40B4-BE49-F238E27FC236}">
                      <a16:creationId xmlns:a16="http://schemas.microsoft.com/office/drawing/2014/main" id="{70328CAF-0EB2-7615-113B-39B29C409CED}"/>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7" name="Graphic 790">
                <a:extLst>
                  <a:ext uri="{FF2B5EF4-FFF2-40B4-BE49-F238E27FC236}">
                    <a16:creationId xmlns:a16="http://schemas.microsoft.com/office/drawing/2014/main" id="{B6875DA5-7074-E93F-990C-A9408E658F87}"/>
                  </a:ext>
                </a:extLst>
              </p:cNvPr>
              <p:cNvGrpSpPr/>
              <p:nvPr/>
            </p:nvGrpSpPr>
            <p:grpSpPr>
              <a:xfrm>
                <a:off x="7769351" y="3873626"/>
                <a:ext cx="75628" cy="75628"/>
                <a:chOff x="7769351" y="3873626"/>
                <a:chExt cx="75628" cy="75628"/>
              </a:xfrm>
            </p:grpSpPr>
            <p:sp>
              <p:nvSpPr>
                <p:cNvPr id="15488" name="Freeform: Shape 15487">
                  <a:extLst>
                    <a:ext uri="{FF2B5EF4-FFF2-40B4-BE49-F238E27FC236}">
                      <a16:creationId xmlns:a16="http://schemas.microsoft.com/office/drawing/2014/main" id="{AAD22A49-1092-EC68-9315-0BBC5A03516B}"/>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89" name="Freeform: Shape 15488">
                  <a:extLst>
                    <a:ext uri="{FF2B5EF4-FFF2-40B4-BE49-F238E27FC236}">
                      <a16:creationId xmlns:a16="http://schemas.microsoft.com/office/drawing/2014/main" id="{8AD85546-FEEA-4CA2-DAE7-C23A0FEC311F}"/>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8" name="Graphic 790">
                <a:extLst>
                  <a:ext uri="{FF2B5EF4-FFF2-40B4-BE49-F238E27FC236}">
                    <a16:creationId xmlns:a16="http://schemas.microsoft.com/office/drawing/2014/main" id="{70CB6997-0465-EF02-6121-FC2CF450ACEB}"/>
                  </a:ext>
                </a:extLst>
              </p:cNvPr>
              <p:cNvGrpSpPr/>
              <p:nvPr/>
            </p:nvGrpSpPr>
            <p:grpSpPr>
              <a:xfrm>
                <a:off x="7762874" y="3873626"/>
                <a:ext cx="75628" cy="75628"/>
                <a:chOff x="7762874" y="3873626"/>
                <a:chExt cx="75628" cy="75628"/>
              </a:xfrm>
            </p:grpSpPr>
            <p:sp>
              <p:nvSpPr>
                <p:cNvPr id="15486" name="Freeform: Shape 15485">
                  <a:extLst>
                    <a:ext uri="{FF2B5EF4-FFF2-40B4-BE49-F238E27FC236}">
                      <a16:creationId xmlns:a16="http://schemas.microsoft.com/office/drawing/2014/main" id="{CAB776A1-50F1-8668-7855-1EB34D44E494}"/>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87" name="Freeform: Shape 15486">
                  <a:extLst>
                    <a:ext uri="{FF2B5EF4-FFF2-40B4-BE49-F238E27FC236}">
                      <a16:creationId xmlns:a16="http://schemas.microsoft.com/office/drawing/2014/main" id="{0C125695-1C1C-E457-3DC1-55B372AD1CA7}"/>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59" name="Graphic 790">
                <a:extLst>
                  <a:ext uri="{FF2B5EF4-FFF2-40B4-BE49-F238E27FC236}">
                    <a16:creationId xmlns:a16="http://schemas.microsoft.com/office/drawing/2014/main" id="{93A0E6AD-45CB-5475-4D76-CAFB436E9CC3}"/>
                  </a:ext>
                </a:extLst>
              </p:cNvPr>
              <p:cNvGrpSpPr/>
              <p:nvPr/>
            </p:nvGrpSpPr>
            <p:grpSpPr>
              <a:xfrm>
                <a:off x="7753730" y="3873626"/>
                <a:ext cx="75723" cy="75628"/>
                <a:chOff x="7753730" y="3873626"/>
                <a:chExt cx="75723" cy="75628"/>
              </a:xfrm>
            </p:grpSpPr>
            <p:sp>
              <p:nvSpPr>
                <p:cNvPr id="15484" name="Freeform: Shape 15483">
                  <a:extLst>
                    <a:ext uri="{FF2B5EF4-FFF2-40B4-BE49-F238E27FC236}">
                      <a16:creationId xmlns:a16="http://schemas.microsoft.com/office/drawing/2014/main" id="{A039A1B9-0053-2EDC-7F0C-1B28819C6FE7}"/>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85" name="Freeform: Shape 15484">
                  <a:extLst>
                    <a:ext uri="{FF2B5EF4-FFF2-40B4-BE49-F238E27FC236}">
                      <a16:creationId xmlns:a16="http://schemas.microsoft.com/office/drawing/2014/main" id="{E87DA1AB-C31E-2B5C-C4E9-5BA82E3E70AB}"/>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0" name="Graphic 790">
                <a:extLst>
                  <a:ext uri="{FF2B5EF4-FFF2-40B4-BE49-F238E27FC236}">
                    <a16:creationId xmlns:a16="http://schemas.microsoft.com/office/drawing/2014/main" id="{C417B406-99C1-5DA1-3155-A7A6610FB3EF}"/>
                  </a:ext>
                </a:extLst>
              </p:cNvPr>
              <p:cNvGrpSpPr/>
              <p:nvPr/>
            </p:nvGrpSpPr>
            <p:grpSpPr>
              <a:xfrm>
                <a:off x="7747253" y="3873626"/>
                <a:ext cx="75723" cy="75628"/>
                <a:chOff x="7747253" y="3873626"/>
                <a:chExt cx="75723" cy="75628"/>
              </a:xfrm>
            </p:grpSpPr>
            <p:sp>
              <p:nvSpPr>
                <p:cNvPr id="15482" name="Freeform: Shape 15481">
                  <a:extLst>
                    <a:ext uri="{FF2B5EF4-FFF2-40B4-BE49-F238E27FC236}">
                      <a16:creationId xmlns:a16="http://schemas.microsoft.com/office/drawing/2014/main" id="{0AE0C48B-2C78-A5C5-7A6F-7BD7261C1CAB}"/>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83" name="Freeform: Shape 15482">
                  <a:extLst>
                    <a:ext uri="{FF2B5EF4-FFF2-40B4-BE49-F238E27FC236}">
                      <a16:creationId xmlns:a16="http://schemas.microsoft.com/office/drawing/2014/main" id="{DC5AAEA2-D156-FFF7-3475-AF12C225C739}"/>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1" name="Graphic 790">
                <a:extLst>
                  <a:ext uri="{FF2B5EF4-FFF2-40B4-BE49-F238E27FC236}">
                    <a16:creationId xmlns:a16="http://schemas.microsoft.com/office/drawing/2014/main" id="{C04758E0-9A37-E247-AB66-F668A219BFA2}"/>
                  </a:ext>
                </a:extLst>
              </p:cNvPr>
              <p:cNvGrpSpPr/>
              <p:nvPr/>
            </p:nvGrpSpPr>
            <p:grpSpPr>
              <a:xfrm>
                <a:off x="8155590" y="3932491"/>
                <a:ext cx="75723" cy="75628"/>
                <a:chOff x="8155590" y="3932491"/>
                <a:chExt cx="75723" cy="75628"/>
              </a:xfrm>
            </p:grpSpPr>
            <p:sp>
              <p:nvSpPr>
                <p:cNvPr id="15480" name="Freeform: Shape 15479">
                  <a:extLst>
                    <a:ext uri="{FF2B5EF4-FFF2-40B4-BE49-F238E27FC236}">
                      <a16:creationId xmlns:a16="http://schemas.microsoft.com/office/drawing/2014/main" id="{88B04DFD-45BA-19A9-4C9F-872D33442968}"/>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81" name="Freeform: Shape 15480">
                  <a:extLst>
                    <a:ext uri="{FF2B5EF4-FFF2-40B4-BE49-F238E27FC236}">
                      <a16:creationId xmlns:a16="http://schemas.microsoft.com/office/drawing/2014/main" id="{0CD6BB37-9B3A-F3C5-DD42-76CFE879A0DB}"/>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2" name="Graphic 790">
                <a:extLst>
                  <a:ext uri="{FF2B5EF4-FFF2-40B4-BE49-F238E27FC236}">
                    <a16:creationId xmlns:a16="http://schemas.microsoft.com/office/drawing/2014/main" id="{69355131-7182-DA6E-61BC-B83E5CAAEBC2}"/>
                  </a:ext>
                </a:extLst>
              </p:cNvPr>
              <p:cNvGrpSpPr/>
              <p:nvPr/>
            </p:nvGrpSpPr>
            <p:grpSpPr>
              <a:xfrm>
                <a:off x="8236743" y="3932491"/>
                <a:ext cx="75723" cy="75628"/>
                <a:chOff x="8236743" y="3932491"/>
                <a:chExt cx="75723" cy="75628"/>
              </a:xfrm>
            </p:grpSpPr>
            <p:sp>
              <p:nvSpPr>
                <p:cNvPr id="15478" name="Freeform: Shape 15477">
                  <a:extLst>
                    <a:ext uri="{FF2B5EF4-FFF2-40B4-BE49-F238E27FC236}">
                      <a16:creationId xmlns:a16="http://schemas.microsoft.com/office/drawing/2014/main" id="{41BD7184-9F15-5039-2800-668730764AB2}"/>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79" name="Freeform: Shape 15478">
                  <a:extLst>
                    <a:ext uri="{FF2B5EF4-FFF2-40B4-BE49-F238E27FC236}">
                      <a16:creationId xmlns:a16="http://schemas.microsoft.com/office/drawing/2014/main" id="{3DF8181C-A99F-B044-5287-C918DD5E6C8D}"/>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3" name="Graphic 790">
                <a:extLst>
                  <a:ext uri="{FF2B5EF4-FFF2-40B4-BE49-F238E27FC236}">
                    <a16:creationId xmlns:a16="http://schemas.microsoft.com/office/drawing/2014/main" id="{B8B23298-9A7A-A9FC-BAA8-D778483101D3}"/>
                  </a:ext>
                </a:extLst>
              </p:cNvPr>
              <p:cNvGrpSpPr/>
              <p:nvPr/>
            </p:nvGrpSpPr>
            <p:grpSpPr>
              <a:xfrm>
                <a:off x="8224837" y="3932491"/>
                <a:ext cx="75628" cy="75628"/>
                <a:chOff x="8224837" y="3932491"/>
                <a:chExt cx="75628" cy="75628"/>
              </a:xfrm>
            </p:grpSpPr>
            <p:sp>
              <p:nvSpPr>
                <p:cNvPr id="15476" name="Freeform: Shape 15475">
                  <a:extLst>
                    <a:ext uri="{FF2B5EF4-FFF2-40B4-BE49-F238E27FC236}">
                      <a16:creationId xmlns:a16="http://schemas.microsoft.com/office/drawing/2014/main" id="{4109456A-3FED-E36B-4101-902D24EBB90A}"/>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77" name="Freeform: Shape 15476">
                  <a:extLst>
                    <a:ext uri="{FF2B5EF4-FFF2-40B4-BE49-F238E27FC236}">
                      <a16:creationId xmlns:a16="http://schemas.microsoft.com/office/drawing/2014/main" id="{2FB28DAE-079A-C96E-39F2-DD4D3513A8A8}"/>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4" name="Graphic 790">
                <a:extLst>
                  <a:ext uri="{FF2B5EF4-FFF2-40B4-BE49-F238E27FC236}">
                    <a16:creationId xmlns:a16="http://schemas.microsoft.com/office/drawing/2014/main" id="{AE13FBB7-14AD-A854-30A1-7F7BCE3A4EB7}"/>
                  </a:ext>
                </a:extLst>
              </p:cNvPr>
              <p:cNvGrpSpPr/>
              <p:nvPr/>
            </p:nvGrpSpPr>
            <p:grpSpPr>
              <a:xfrm>
                <a:off x="8212835" y="3932491"/>
                <a:ext cx="75723" cy="75628"/>
                <a:chOff x="8212835" y="3932491"/>
                <a:chExt cx="75723" cy="75628"/>
              </a:xfrm>
            </p:grpSpPr>
            <p:sp>
              <p:nvSpPr>
                <p:cNvPr id="15474" name="Freeform: Shape 15473">
                  <a:extLst>
                    <a:ext uri="{FF2B5EF4-FFF2-40B4-BE49-F238E27FC236}">
                      <a16:creationId xmlns:a16="http://schemas.microsoft.com/office/drawing/2014/main" id="{CF0BED08-3A0A-9BF0-947F-BF0725DF1FA7}"/>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75" name="Freeform: Shape 15474">
                  <a:extLst>
                    <a:ext uri="{FF2B5EF4-FFF2-40B4-BE49-F238E27FC236}">
                      <a16:creationId xmlns:a16="http://schemas.microsoft.com/office/drawing/2014/main" id="{8CAF86BF-6149-6EF0-EF34-2C77164A44CA}"/>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5" name="Graphic 790">
                <a:extLst>
                  <a:ext uri="{FF2B5EF4-FFF2-40B4-BE49-F238E27FC236}">
                    <a16:creationId xmlns:a16="http://schemas.microsoft.com/office/drawing/2014/main" id="{226D8201-E656-F197-A2AC-219F3CC84FBF}"/>
                  </a:ext>
                </a:extLst>
              </p:cNvPr>
              <p:cNvGrpSpPr/>
              <p:nvPr/>
            </p:nvGrpSpPr>
            <p:grpSpPr>
              <a:xfrm>
                <a:off x="8146541" y="3932491"/>
                <a:ext cx="75628" cy="75628"/>
                <a:chOff x="8146541" y="3932491"/>
                <a:chExt cx="75628" cy="75628"/>
              </a:xfrm>
            </p:grpSpPr>
            <p:sp>
              <p:nvSpPr>
                <p:cNvPr id="15472" name="Freeform: Shape 15471">
                  <a:extLst>
                    <a:ext uri="{FF2B5EF4-FFF2-40B4-BE49-F238E27FC236}">
                      <a16:creationId xmlns:a16="http://schemas.microsoft.com/office/drawing/2014/main" id="{AF4F7B3D-A9F5-4CD3-B1D1-7DC2C1D9885B}"/>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73" name="Freeform: Shape 15472">
                  <a:extLst>
                    <a:ext uri="{FF2B5EF4-FFF2-40B4-BE49-F238E27FC236}">
                      <a16:creationId xmlns:a16="http://schemas.microsoft.com/office/drawing/2014/main" id="{50A8A2F3-2BA0-C0C1-9A7E-E5B7C986C8B1}"/>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6" name="Graphic 790">
                <a:extLst>
                  <a:ext uri="{FF2B5EF4-FFF2-40B4-BE49-F238E27FC236}">
                    <a16:creationId xmlns:a16="http://schemas.microsoft.com/office/drawing/2014/main" id="{6874D7F7-931B-B35A-5FCD-35D72D05A7EB}"/>
                  </a:ext>
                </a:extLst>
              </p:cNvPr>
              <p:cNvGrpSpPr/>
              <p:nvPr/>
            </p:nvGrpSpPr>
            <p:grpSpPr>
              <a:xfrm>
                <a:off x="8166544" y="3932491"/>
                <a:ext cx="75723" cy="75628"/>
                <a:chOff x="8166544" y="3932491"/>
                <a:chExt cx="75723" cy="75628"/>
              </a:xfrm>
            </p:grpSpPr>
            <p:sp>
              <p:nvSpPr>
                <p:cNvPr id="15470" name="Freeform: Shape 15469">
                  <a:extLst>
                    <a:ext uri="{FF2B5EF4-FFF2-40B4-BE49-F238E27FC236}">
                      <a16:creationId xmlns:a16="http://schemas.microsoft.com/office/drawing/2014/main" id="{8BDA8FD8-E095-93B2-9B24-985F865F5B09}"/>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71" name="Freeform: Shape 15470">
                  <a:extLst>
                    <a:ext uri="{FF2B5EF4-FFF2-40B4-BE49-F238E27FC236}">
                      <a16:creationId xmlns:a16="http://schemas.microsoft.com/office/drawing/2014/main" id="{F6A91B08-C192-3155-6677-5B821AA20368}"/>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5467" name="Graphic 790">
                <a:extLst>
                  <a:ext uri="{FF2B5EF4-FFF2-40B4-BE49-F238E27FC236}">
                    <a16:creationId xmlns:a16="http://schemas.microsoft.com/office/drawing/2014/main" id="{A214EBA0-ABBC-5574-83E1-099BCD404410}"/>
                  </a:ext>
                </a:extLst>
              </p:cNvPr>
              <p:cNvGrpSpPr/>
              <p:nvPr/>
            </p:nvGrpSpPr>
            <p:grpSpPr>
              <a:xfrm>
                <a:off x="8200929" y="3932491"/>
                <a:ext cx="75628" cy="75628"/>
                <a:chOff x="8200929" y="3932491"/>
                <a:chExt cx="75628" cy="75628"/>
              </a:xfrm>
            </p:grpSpPr>
            <p:sp>
              <p:nvSpPr>
                <p:cNvPr id="15468" name="Freeform: Shape 15467">
                  <a:extLst>
                    <a:ext uri="{FF2B5EF4-FFF2-40B4-BE49-F238E27FC236}">
                      <a16:creationId xmlns:a16="http://schemas.microsoft.com/office/drawing/2014/main" id="{8250354A-D227-537A-ADFD-83812693F846}"/>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469" name="Freeform: Shape 15468">
                  <a:extLst>
                    <a:ext uri="{FF2B5EF4-FFF2-40B4-BE49-F238E27FC236}">
                      <a16:creationId xmlns:a16="http://schemas.microsoft.com/office/drawing/2014/main" id="{DBA317F4-DEB8-5CAA-0E9B-1B9049B0DEE5}"/>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4712" name="Freeform: Shape 14711">
              <a:extLst>
                <a:ext uri="{FF2B5EF4-FFF2-40B4-BE49-F238E27FC236}">
                  <a16:creationId xmlns:a16="http://schemas.microsoft.com/office/drawing/2014/main" id="{389677E8-583A-28AD-A85E-08870131464E}"/>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spTree>
    <p:extLst>
      <p:ext uri="{BB962C8B-B14F-4D97-AF65-F5344CB8AC3E}">
        <p14:creationId xmlns:p14="http://schemas.microsoft.com/office/powerpoint/2010/main" val="39665353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BFBDE-5379-F5FF-FBE9-90542BBEA597}"/>
            </a:ext>
          </a:extLst>
        </p:cNvPr>
        <p:cNvGrpSpPr/>
        <p:nvPr/>
      </p:nvGrpSpPr>
      <p:grpSpPr>
        <a:xfrm>
          <a:off x="0" y="0"/>
          <a:ext cx="0" cy="0"/>
          <a:chOff x="0" y="0"/>
          <a:chExt cx="0" cy="0"/>
        </a:xfrm>
      </p:grpSpPr>
      <p:grpSp>
        <p:nvGrpSpPr>
          <p:cNvPr id="16279" name="Group 16278" hidden="1">
            <a:extLst>
              <a:ext uri="{FF2B5EF4-FFF2-40B4-BE49-F238E27FC236}">
                <a16:creationId xmlns:a16="http://schemas.microsoft.com/office/drawing/2014/main" id="{CC419191-BF46-58E3-13CE-5318F0422C1F}"/>
              </a:ext>
            </a:extLst>
          </p:cNvPr>
          <p:cNvGrpSpPr/>
          <p:nvPr/>
        </p:nvGrpSpPr>
        <p:grpSpPr>
          <a:xfrm>
            <a:off x="666995" y="1435010"/>
            <a:ext cx="6838719" cy="2233885"/>
            <a:chOff x="3800475" y="2590800"/>
            <a:chExt cx="4593812" cy="1674876"/>
          </a:xfrm>
        </p:grpSpPr>
        <p:grpSp>
          <p:nvGrpSpPr>
            <p:cNvPr id="16481" name="Graphic 1391">
              <a:extLst>
                <a:ext uri="{FF2B5EF4-FFF2-40B4-BE49-F238E27FC236}">
                  <a16:creationId xmlns:a16="http://schemas.microsoft.com/office/drawing/2014/main" id="{6B58E301-E65E-AE64-2535-0D3F5714CC4D}"/>
                </a:ext>
              </a:extLst>
            </p:cNvPr>
            <p:cNvGrpSpPr/>
            <p:nvPr/>
          </p:nvGrpSpPr>
          <p:grpSpPr>
            <a:xfrm>
              <a:off x="3800475" y="2590800"/>
              <a:ext cx="4593812" cy="1674876"/>
              <a:chOff x="3800475" y="2590800"/>
              <a:chExt cx="4593812" cy="1674876"/>
            </a:xfrm>
          </p:grpSpPr>
          <p:grpSp>
            <p:nvGrpSpPr>
              <p:cNvPr id="16483" name="Graphic 1391">
                <a:extLst>
                  <a:ext uri="{FF2B5EF4-FFF2-40B4-BE49-F238E27FC236}">
                    <a16:creationId xmlns:a16="http://schemas.microsoft.com/office/drawing/2014/main" id="{38DDC6A9-F479-6524-FB10-02FC38C45AED}"/>
                  </a:ext>
                </a:extLst>
              </p:cNvPr>
              <p:cNvGrpSpPr/>
              <p:nvPr/>
            </p:nvGrpSpPr>
            <p:grpSpPr>
              <a:xfrm>
                <a:off x="8318563" y="4189952"/>
                <a:ext cx="75723" cy="75723"/>
                <a:chOff x="8318563" y="4189952"/>
                <a:chExt cx="75723" cy="75723"/>
              </a:xfrm>
            </p:grpSpPr>
            <p:sp>
              <p:nvSpPr>
                <p:cNvPr id="16667" name="Freeform: Shape 16666">
                  <a:extLst>
                    <a:ext uri="{FF2B5EF4-FFF2-40B4-BE49-F238E27FC236}">
                      <a16:creationId xmlns:a16="http://schemas.microsoft.com/office/drawing/2014/main" id="{E8586070-181D-5211-25F6-E60984909915}"/>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8" name="Freeform: Shape 16667">
                  <a:extLst>
                    <a:ext uri="{FF2B5EF4-FFF2-40B4-BE49-F238E27FC236}">
                      <a16:creationId xmlns:a16="http://schemas.microsoft.com/office/drawing/2014/main" id="{EB50834E-4850-D35C-0A9A-8BFC8AE4A697}"/>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4" name="Graphic 1391">
                <a:extLst>
                  <a:ext uri="{FF2B5EF4-FFF2-40B4-BE49-F238E27FC236}">
                    <a16:creationId xmlns:a16="http://schemas.microsoft.com/office/drawing/2014/main" id="{1B1319A4-4512-EB69-608B-1D7712ACC375}"/>
                  </a:ext>
                </a:extLst>
              </p:cNvPr>
              <p:cNvGrpSpPr/>
              <p:nvPr/>
            </p:nvGrpSpPr>
            <p:grpSpPr>
              <a:xfrm>
                <a:off x="7982140" y="4189952"/>
                <a:ext cx="75723" cy="75723"/>
                <a:chOff x="7982140" y="4189952"/>
                <a:chExt cx="75723" cy="75723"/>
              </a:xfrm>
            </p:grpSpPr>
            <p:sp>
              <p:nvSpPr>
                <p:cNvPr id="16665" name="Freeform: Shape 16664">
                  <a:extLst>
                    <a:ext uri="{FF2B5EF4-FFF2-40B4-BE49-F238E27FC236}">
                      <a16:creationId xmlns:a16="http://schemas.microsoft.com/office/drawing/2014/main" id="{52F6CEF5-2812-3A4E-45CC-16CCF31193C6}"/>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6" name="Freeform: Shape 16665">
                  <a:extLst>
                    <a:ext uri="{FF2B5EF4-FFF2-40B4-BE49-F238E27FC236}">
                      <a16:creationId xmlns:a16="http://schemas.microsoft.com/office/drawing/2014/main" id="{A25D42FE-0823-B99F-0532-D91E651268AE}"/>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5" name="Graphic 1391">
                <a:extLst>
                  <a:ext uri="{FF2B5EF4-FFF2-40B4-BE49-F238E27FC236}">
                    <a16:creationId xmlns:a16="http://schemas.microsoft.com/office/drawing/2014/main" id="{1075831A-7BD6-21EE-2837-3F1AE37F8E9A}"/>
                  </a:ext>
                </a:extLst>
              </p:cNvPr>
              <p:cNvGrpSpPr/>
              <p:nvPr/>
            </p:nvGrpSpPr>
            <p:grpSpPr>
              <a:xfrm>
                <a:off x="7971758" y="4189952"/>
                <a:ext cx="75723" cy="75723"/>
                <a:chOff x="7971758" y="4189952"/>
                <a:chExt cx="75723" cy="75723"/>
              </a:xfrm>
            </p:grpSpPr>
            <p:sp>
              <p:nvSpPr>
                <p:cNvPr id="16663" name="Freeform: Shape 16662">
                  <a:extLst>
                    <a:ext uri="{FF2B5EF4-FFF2-40B4-BE49-F238E27FC236}">
                      <a16:creationId xmlns:a16="http://schemas.microsoft.com/office/drawing/2014/main" id="{8F9EB25E-17B2-DF3E-9CA7-F86BE7CB1455}"/>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4" name="Freeform: Shape 16663">
                  <a:extLst>
                    <a:ext uri="{FF2B5EF4-FFF2-40B4-BE49-F238E27FC236}">
                      <a16:creationId xmlns:a16="http://schemas.microsoft.com/office/drawing/2014/main" id="{F9729ECD-0D80-30A2-0A3F-A237385342D8}"/>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6" name="Graphic 1391">
                <a:extLst>
                  <a:ext uri="{FF2B5EF4-FFF2-40B4-BE49-F238E27FC236}">
                    <a16:creationId xmlns:a16="http://schemas.microsoft.com/office/drawing/2014/main" id="{B73BFA29-43D3-DB4F-5779-1F89303EEB9B}"/>
                  </a:ext>
                </a:extLst>
              </p:cNvPr>
              <p:cNvGrpSpPr/>
              <p:nvPr/>
            </p:nvGrpSpPr>
            <p:grpSpPr>
              <a:xfrm>
                <a:off x="7613904" y="4189952"/>
                <a:ext cx="75628" cy="75723"/>
                <a:chOff x="7613904" y="4189952"/>
                <a:chExt cx="75628" cy="75723"/>
              </a:xfrm>
            </p:grpSpPr>
            <p:sp>
              <p:nvSpPr>
                <p:cNvPr id="16661" name="Freeform: Shape 16660">
                  <a:extLst>
                    <a:ext uri="{FF2B5EF4-FFF2-40B4-BE49-F238E27FC236}">
                      <a16:creationId xmlns:a16="http://schemas.microsoft.com/office/drawing/2014/main" id="{9878A978-FA0F-88DC-E68F-EBE5389CD82A}"/>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2" name="Freeform: Shape 16661">
                  <a:extLst>
                    <a:ext uri="{FF2B5EF4-FFF2-40B4-BE49-F238E27FC236}">
                      <a16:creationId xmlns:a16="http://schemas.microsoft.com/office/drawing/2014/main" id="{F24AD358-9525-D10F-DA36-F29421754EC5}"/>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7" name="Graphic 1391">
                <a:extLst>
                  <a:ext uri="{FF2B5EF4-FFF2-40B4-BE49-F238E27FC236}">
                    <a16:creationId xmlns:a16="http://schemas.microsoft.com/office/drawing/2014/main" id="{679B9A91-A3BD-4C4B-1017-5BD620358636}"/>
                  </a:ext>
                </a:extLst>
              </p:cNvPr>
              <p:cNvGrpSpPr/>
              <p:nvPr/>
            </p:nvGrpSpPr>
            <p:grpSpPr>
              <a:xfrm>
                <a:off x="7578185" y="4189952"/>
                <a:ext cx="75723" cy="75723"/>
                <a:chOff x="7578185" y="4189952"/>
                <a:chExt cx="75723" cy="75723"/>
              </a:xfrm>
            </p:grpSpPr>
            <p:sp>
              <p:nvSpPr>
                <p:cNvPr id="16659" name="Freeform: Shape 16658">
                  <a:extLst>
                    <a:ext uri="{FF2B5EF4-FFF2-40B4-BE49-F238E27FC236}">
                      <a16:creationId xmlns:a16="http://schemas.microsoft.com/office/drawing/2014/main" id="{CB2D9BF5-6046-3B74-1304-88EE0280BD3D}"/>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0" name="Freeform: Shape 16659">
                  <a:extLst>
                    <a:ext uri="{FF2B5EF4-FFF2-40B4-BE49-F238E27FC236}">
                      <a16:creationId xmlns:a16="http://schemas.microsoft.com/office/drawing/2014/main" id="{493EE662-061A-3F6A-B0AA-3A0F171F69C2}"/>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8" name="Graphic 1391">
                <a:extLst>
                  <a:ext uri="{FF2B5EF4-FFF2-40B4-BE49-F238E27FC236}">
                    <a16:creationId xmlns:a16="http://schemas.microsoft.com/office/drawing/2014/main" id="{BBEDCFCF-2929-62A3-E29E-5F0D61878460}"/>
                  </a:ext>
                </a:extLst>
              </p:cNvPr>
              <p:cNvGrpSpPr/>
              <p:nvPr/>
            </p:nvGrpSpPr>
            <p:grpSpPr>
              <a:xfrm>
                <a:off x="7567231" y="4189952"/>
                <a:ext cx="75723" cy="75723"/>
                <a:chOff x="7567231" y="4189952"/>
                <a:chExt cx="75723" cy="75723"/>
              </a:xfrm>
            </p:grpSpPr>
            <p:sp>
              <p:nvSpPr>
                <p:cNvPr id="16657" name="Freeform: Shape 16656">
                  <a:extLst>
                    <a:ext uri="{FF2B5EF4-FFF2-40B4-BE49-F238E27FC236}">
                      <a16:creationId xmlns:a16="http://schemas.microsoft.com/office/drawing/2014/main" id="{5FBCA1DC-9ABB-C91E-205F-A83D830D8B50}"/>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8" name="Freeform: Shape 16657">
                  <a:extLst>
                    <a:ext uri="{FF2B5EF4-FFF2-40B4-BE49-F238E27FC236}">
                      <a16:creationId xmlns:a16="http://schemas.microsoft.com/office/drawing/2014/main" id="{67959623-91A1-4270-F332-94BA1B4B8F19}"/>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9" name="Graphic 1391">
                <a:extLst>
                  <a:ext uri="{FF2B5EF4-FFF2-40B4-BE49-F238E27FC236}">
                    <a16:creationId xmlns:a16="http://schemas.microsoft.com/office/drawing/2014/main" id="{7A7AC87B-883A-5B5D-8997-4A5B4A1988C2}"/>
                  </a:ext>
                </a:extLst>
              </p:cNvPr>
              <p:cNvGrpSpPr/>
              <p:nvPr/>
            </p:nvGrpSpPr>
            <p:grpSpPr>
              <a:xfrm>
                <a:off x="7557897" y="4189952"/>
                <a:ext cx="75723" cy="75723"/>
                <a:chOff x="7557897" y="4189952"/>
                <a:chExt cx="75723" cy="75723"/>
              </a:xfrm>
            </p:grpSpPr>
            <p:sp>
              <p:nvSpPr>
                <p:cNvPr id="16655" name="Freeform: Shape 16654">
                  <a:extLst>
                    <a:ext uri="{FF2B5EF4-FFF2-40B4-BE49-F238E27FC236}">
                      <a16:creationId xmlns:a16="http://schemas.microsoft.com/office/drawing/2014/main" id="{89CF40F7-B302-9AFF-1E62-CA677AB7D0F1}"/>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6" name="Freeform: Shape 16655">
                  <a:extLst>
                    <a:ext uri="{FF2B5EF4-FFF2-40B4-BE49-F238E27FC236}">
                      <a16:creationId xmlns:a16="http://schemas.microsoft.com/office/drawing/2014/main" id="{A5196CCF-5A21-3285-64F2-3DAEB7D6177F}"/>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0" name="Graphic 1391">
                <a:extLst>
                  <a:ext uri="{FF2B5EF4-FFF2-40B4-BE49-F238E27FC236}">
                    <a16:creationId xmlns:a16="http://schemas.microsoft.com/office/drawing/2014/main" id="{0C7B7AAF-E0EC-A379-9833-FD4856831975}"/>
                  </a:ext>
                </a:extLst>
              </p:cNvPr>
              <p:cNvGrpSpPr/>
              <p:nvPr/>
            </p:nvGrpSpPr>
            <p:grpSpPr>
              <a:xfrm>
                <a:off x="7236142" y="4189952"/>
                <a:ext cx="75628" cy="75723"/>
                <a:chOff x="7236142" y="4189952"/>
                <a:chExt cx="75628" cy="75723"/>
              </a:xfrm>
            </p:grpSpPr>
            <p:sp>
              <p:nvSpPr>
                <p:cNvPr id="16653" name="Freeform: Shape 16652">
                  <a:extLst>
                    <a:ext uri="{FF2B5EF4-FFF2-40B4-BE49-F238E27FC236}">
                      <a16:creationId xmlns:a16="http://schemas.microsoft.com/office/drawing/2014/main" id="{B8D30B05-B09C-8584-57E1-121D4841B260}"/>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4" name="Freeform: Shape 16653">
                  <a:extLst>
                    <a:ext uri="{FF2B5EF4-FFF2-40B4-BE49-F238E27FC236}">
                      <a16:creationId xmlns:a16="http://schemas.microsoft.com/office/drawing/2014/main" id="{128DFCCD-25F2-2CDE-0055-2341EDB5340E}"/>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1" name="Graphic 1391">
                <a:extLst>
                  <a:ext uri="{FF2B5EF4-FFF2-40B4-BE49-F238E27FC236}">
                    <a16:creationId xmlns:a16="http://schemas.microsoft.com/office/drawing/2014/main" id="{B0BC7944-8C0E-AB84-DB8C-516B10B1CCCA}"/>
                  </a:ext>
                </a:extLst>
              </p:cNvPr>
              <p:cNvGrpSpPr/>
              <p:nvPr/>
            </p:nvGrpSpPr>
            <p:grpSpPr>
              <a:xfrm>
                <a:off x="7200804" y="4189952"/>
                <a:ext cx="75723" cy="75723"/>
                <a:chOff x="7200804" y="4189952"/>
                <a:chExt cx="75723" cy="75723"/>
              </a:xfrm>
            </p:grpSpPr>
            <p:sp>
              <p:nvSpPr>
                <p:cNvPr id="16651" name="Freeform: Shape 16650">
                  <a:extLst>
                    <a:ext uri="{FF2B5EF4-FFF2-40B4-BE49-F238E27FC236}">
                      <a16:creationId xmlns:a16="http://schemas.microsoft.com/office/drawing/2014/main" id="{6712568A-F741-7CD6-F111-95A262386CAF}"/>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2" name="Freeform: Shape 16651">
                  <a:extLst>
                    <a:ext uri="{FF2B5EF4-FFF2-40B4-BE49-F238E27FC236}">
                      <a16:creationId xmlns:a16="http://schemas.microsoft.com/office/drawing/2014/main" id="{826C1888-1246-CC28-84A7-98F46D07ABF3}"/>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2" name="Graphic 1391">
                <a:extLst>
                  <a:ext uri="{FF2B5EF4-FFF2-40B4-BE49-F238E27FC236}">
                    <a16:creationId xmlns:a16="http://schemas.microsoft.com/office/drawing/2014/main" id="{86C65023-291A-4481-DF71-2E34E7983A84}"/>
                  </a:ext>
                </a:extLst>
              </p:cNvPr>
              <p:cNvGrpSpPr/>
              <p:nvPr/>
            </p:nvGrpSpPr>
            <p:grpSpPr>
              <a:xfrm>
                <a:off x="7178135" y="4189952"/>
                <a:ext cx="75723" cy="75723"/>
                <a:chOff x="7178135" y="4189952"/>
                <a:chExt cx="75723" cy="75723"/>
              </a:xfrm>
            </p:grpSpPr>
            <p:sp>
              <p:nvSpPr>
                <p:cNvPr id="16649" name="Freeform: Shape 16648">
                  <a:extLst>
                    <a:ext uri="{FF2B5EF4-FFF2-40B4-BE49-F238E27FC236}">
                      <a16:creationId xmlns:a16="http://schemas.microsoft.com/office/drawing/2014/main" id="{62917382-68CA-F594-0485-9388F981EAC0}"/>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0" name="Freeform: Shape 16649">
                  <a:extLst>
                    <a:ext uri="{FF2B5EF4-FFF2-40B4-BE49-F238E27FC236}">
                      <a16:creationId xmlns:a16="http://schemas.microsoft.com/office/drawing/2014/main" id="{62A57698-27E1-924A-AE7E-71300D99353A}"/>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3" name="Graphic 1391">
                <a:extLst>
                  <a:ext uri="{FF2B5EF4-FFF2-40B4-BE49-F238E27FC236}">
                    <a16:creationId xmlns:a16="http://schemas.microsoft.com/office/drawing/2014/main" id="{8396B170-5F1E-6AEA-BC87-6A8ED02B4ED6}"/>
                  </a:ext>
                </a:extLst>
              </p:cNvPr>
              <p:cNvGrpSpPr/>
              <p:nvPr/>
            </p:nvGrpSpPr>
            <p:grpSpPr>
              <a:xfrm>
                <a:off x="6910197" y="4189952"/>
                <a:ext cx="75723" cy="75723"/>
                <a:chOff x="6910197" y="4189952"/>
                <a:chExt cx="75723" cy="75723"/>
              </a:xfrm>
            </p:grpSpPr>
            <p:sp>
              <p:nvSpPr>
                <p:cNvPr id="16647" name="Freeform: Shape 16646">
                  <a:extLst>
                    <a:ext uri="{FF2B5EF4-FFF2-40B4-BE49-F238E27FC236}">
                      <a16:creationId xmlns:a16="http://schemas.microsoft.com/office/drawing/2014/main" id="{000B452F-0A86-8517-FF47-572FC8DD2657}"/>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8" name="Freeform: Shape 16647">
                  <a:extLst>
                    <a:ext uri="{FF2B5EF4-FFF2-40B4-BE49-F238E27FC236}">
                      <a16:creationId xmlns:a16="http://schemas.microsoft.com/office/drawing/2014/main" id="{5BDA190B-8AB3-F3A7-D768-F4225CAF6B63}"/>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4" name="Graphic 1391">
                <a:extLst>
                  <a:ext uri="{FF2B5EF4-FFF2-40B4-BE49-F238E27FC236}">
                    <a16:creationId xmlns:a16="http://schemas.microsoft.com/office/drawing/2014/main" id="{6C5CFF2D-42B2-244E-58DD-8C46A58EB5F0}"/>
                  </a:ext>
                </a:extLst>
              </p:cNvPr>
              <p:cNvGrpSpPr/>
              <p:nvPr/>
            </p:nvGrpSpPr>
            <p:grpSpPr>
              <a:xfrm>
                <a:off x="6866096" y="4189952"/>
                <a:ext cx="75628" cy="75723"/>
                <a:chOff x="6866096" y="4189952"/>
                <a:chExt cx="75628" cy="75723"/>
              </a:xfrm>
            </p:grpSpPr>
            <p:sp>
              <p:nvSpPr>
                <p:cNvPr id="16645" name="Freeform: Shape 16644">
                  <a:extLst>
                    <a:ext uri="{FF2B5EF4-FFF2-40B4-BE49-F238E27FC236}">
                      <a16:creationId xmlns:a16="http://schemas.microsoft.com/office/drawing/2014/main" id="{E9C2BD77-486C-DB86-C512-10FCDBBC9EE1}"/>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6" name="Freeform: Shape 16645">
                  <a:extLst>
                    <a:ext uri="{FF2B5EF4-FFF2-40B4-BE49-F238E27FC236}">
                      <a16:creationId xmlns:a16="http://schemas.microsoft.com/office/drawing/2014/main" id="{268E2064-154E-5F4C-C7AB-CB77F420D8E5}"/>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5" name="Graphic 1391">
                <a:extLst>
                  <a:ext uri="{FF2B5EF4-FFF2-40B4-BE49-F238E27FC236}">
                    <a16:creationId xmlns:a16="http://schemas.microsoft.com/office/drawing/2014/main" id="{9466C0AF-1ACB-4762-2166-62AD62FEB821}"/>
                  </a:ext>
                </a:extLst>
              </p:cNvPr>
              <p:cNvGrpSpPr/>
              <p:nvPr/>
            </p:nvGrpSpPr>
            <p:grpSpPr>
              <a:xfrm>
                <a:off x="6855523" y="4136898"/>
                <a:ext cx="75723" cy="75628"/>
                <a:chOff x="6855523" y="4136898"/>
                <a:chExt cx="75723" cy="75628"/>
              </a:xfrm>
            </p:grpSpPr>
            <p:sp>
              <p:nvSpPr>
                <p:cNvPr id="16643" name="Freeform: Shape 16642">
                  <a:extLst>
                    <a:ext uri="{FF2B5EF4-FFF2-40B4-BE49-F238E27FC236}">
                      <a16:creationId xmlns:a16="http://schemas.microsoft.com/office/drawing/2014/main" id="{F1FC5385-994F-AF75-D005-9D71DB957BCB}"/>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4" name="Freeform: Shape 16643">
                  <a:extLst>
                    <a:ext uri="{FF2B5EF4-FFF2-40B4-BE49-F238E27FC236}">
                      <a16:creationId xmlns:a16="http://schemas.microsoft.com/office/drawing/2014/main" id="{DC0B388F-BAA0-1CF3-7389-6C39F1C0FEBD}"/>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6" name="Graphic 1391">
                <a:extLst>
                  <a:ext uri="{FF2B5EF4-FFF2-40B4-BE49-F238E27FC236}">
                    <a16:creationId xmlns:a16="http://schemas.microsoft.com/office/drawing/2014/main" id="{7883B610-6CDE-A07A-B933-F6D22100AA3A}"/>
                  </a:ext>
                </a:extLst>
              </p:cNvPr>
              <p:cNvGrpSpPr/>
              <p:nvPr/>
            </p:nvGrpSpPr>
            <p:grpSpPr>
              <a:xfrm>
                <a:off x="6821424" y="4086129"/>
                <a:ext cx="75723" cy="75723"/>
                <a:chOff x="6821424" y="4086129"/>
                <a:chExt cx="75723" cy="75723"/>
              </a:xfrm>
            </p:grpSpPr>
            <p:sp>
              <p:nvSpPr>
                <p:cNvPr id="16641" name="Freeform: Shape 16640">
                  <a:extLst>
                    <a:ext uri="{FF2B5EF4-FFF2-40B4-BE49-F238E27FC236}">
                      <a16:creationId xmlns:a16="http://schemas.microsoft.com/office/drawing/2014/main" id="{234F8B83-3CBB-B329-3842-96A2BBE154C9}"/>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2" name="Freeform: Shape 16641">
                  <a:extLst>
                    <a:ext uri="{FF2B5EF4-FFF2-40B4-BE49-F238E27FC236}">
                      <a16:creationId xmlns:a16="http://schemas.microsoft.com/office/drawing/2014/main" id="{4B819BA3-031C-2537-52B4-74C085F152E9}"/>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7" name="Graphic 1391">
                <a:extLst>
                  <a:ext uri="{FF2B5EF4-FFF2-40B4-BE49-F238E27FC236}">
                    <a16:creationId xmlns:a16="http://schemas.microsoft.com/office/drawing/2014/main" id="{0C718BDB-E200-0EE0-8AF5-885C215B5BD6}"/>
                  </a:ext>
                </a:extLst>
              </p:cNvPr>
              <p:cNvGrpSpPr/>
              <p:nvPr/>
            </p:nvGrpSpPr>
            <p:grpSpPr>
              <a:xfrm>
                <a:off x="6810565" y="4041933"/>
                <a:ext cx="75628" cy="75723"/>
                <a:chOff x="6810565" y="4041933"/>
                <a:chExt cx="75628" cy="75723"/>
              </a:xfrm>
            </p:grpSpPr>
            <p:sp>
              <p:nvSpPr>
                <p:cNvPr id="16639" name="Freeform: Shape 16638">
                  <a:extLst>
                    <a:ext uri="{FF2B5EF4-FFF2-40B4-BE49-F238E27FC236}">
                      <a16:creationId xmlns:a16="http://schemas.microsoft.com/office/drawing/2014/main" id="{A3C87B4B-F94B-53D2-1600-30FC7346AB76}"/>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0" name="Freeform: Shape 16639">
                  <a:extLst>
                    <a:ext uri="{FF2B5EF4-FFF2-40B4-BE49-F238E27FC236}">
                      <a16:creationId xmlns:a16="http://schemas.microsoft.com/office/drawing/2014/main" id="{B5D35BD7-D342-4F13-D8A5-A0F22104900E}"/>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8" name="Graphic 1391">
                <a:extLst>
                  <a:ext uri="{FF2B5EF4-FFF2-40B4-BE49-F238E27FC236}">
                    <a16:creationId xmlns:a16="http://schemas.microsoft.com/office/drawing/2014/main" id="{68D53030-8A3E-A7F4-54D1-48C809F4E1D9}"/>
                  </a:ext>
                </a:extLst>
              </p:cNvPr>
              <p:cNvGrpSpPr/>
              <p:nvPr/>
            </p:nvGrpSpPr>
            <p:grpSpPr>
              <a:xfrm>
                <a:off x="6797516" y="4041933"/>
                <a:ext cx="75723" cy="75723"/>
                <a:chOff x="6797516" y="4041933"/>
                <a:chExt cx="75723" cy="75723"/>
              </a:xfrm>
            </p:grpSpPr>
            <p:sp>
              <p:nvSpPr>
                <p:cNvPr id="16637" name="Freeform: Shape 16636">
                  <a:extLst>
                    <a:ext uri="{FF2B5EF4-FFF2-40B4-BE49-F238E27FC236}">
                      <a16:creationId xmlns:a16="http://schemas.microsoft.com/office/drawing/2014/main" id="{3DA64A7B-CABA-4AE9-F614-EB8C74E9896E}"/>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8" name="Freeform: Shape 16637">
                  <a:extLst>
                    <a:ext uri="{FF2B5EF4-FFF2-40B4-BE49-F238E27FC236}">
                      <a16:creationId xmlns:a16="http://schemas.microsoft.com/office/drawing/2014/main" id="{66509F5C-6A30-2B65-F97C-7121A91CF578}"/>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9" name="Graphic 1391">
                <a:extLst>
                  <a:ext uri="{FF2B5EF4-FFF2-40B4-BE49-F238E27FC236}">
                    <a16:creationId xmlns:a16="http://schemas.microsoft.com/office/drawing/2014/main" id="{B6B41EC7-1FB7-C691-338C-BA6E2FB6F0A6}"/>
                  </a:ext>
                </a:extLst>
              </p:cNvPr>
              <p:cNvGrpSpPr/>
              <p:nvPr/>
            </p:nvGrpSpPr>
            <p:grpSpPr>
              <a:xfrm>
                <a:off x="6708362" y="4041933"/>
                <a:ext cx="75723" cy="75723"/>
                <a:chOff x="6708362" y="4041933"/>
                <a:chExt cx="75723" cy="75723"/>
              </a:xfrm>
            </p:grpSpPr>
            <p:sp>
              <p:nvSpPr>
                <p:cNvPr id="16635" name="Freeform: Shape 16634">
                  <a:extLst>
                    <a:ext uri="{FF2B5EF4-FFF2-40B4-BE49-F238E27FC236}">
                      <a16:creationId xmlns:a16="http://schemas.microsoft.com/office/drawing/2014/main" id="{17E8E09C-AB4F-AA2D-911A-976D7FA08B31}"/>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6" name="Freeform: Shape 16635">
                  <a:extLst>
                    <a:ext uri="{FF2B5EF4-FFF2-40B4-BE49-F238E27FC236}">
                      <a16:creationId xmlns:a16="http://schemas.microsoft.com/office/drawing/2014/main" id="{7FCB0D41-6EBD-BDFA-C1A6-2A6C71BEED29}"/>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0" name="Graphic 1391">
                <a:extLst>
                  <a:ext uri="{FF2B5EF4-FFF2-40B4-BE49-F238E27FC236}">
                    <a16:creationId xmlns:a16="http://schemas.microsoft.com/office/drawing/2014/main" id="{83E2B5EC-5609-03A8-1D55-9E72A7D367D9}"/>
                  </a:ext>
                </a:extLst>
              </p:cNvPr>
              <p:cNvGrpSpPr/>
              <p:nvPr/>
            </p:nvGrpSpPr>
            <p:grpSpPr>
              <a:xfrm>
                <a:off x="6420612" y="3932491"/>
                <a:ext cx="75723" cy="75723"/>
                <a:chOff x="6420612" y="3932491"/>
                <a:chExt cx="75723" cy="75723"/>
              </a:xfrm>
            </p:grpSpPr>
            <p:sp>
              <p:nvSpPr>
                <p:cNvPr id="16633" name="Freeform: Shape 16632">
                  <a:extLst>
                    <a:ext uri="{FF2B5EF4-FFF2-40B4-BE49-F238E27FC236}">
                      <a16:creationId xmlns:a16="http://schemas.microsoft.com/office/drawing/2014/main" id="{65E18FD9-06C7-A0FB-6F9F-5F0C11A1476E}"/>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4" name="Freeform: Shape 16633">
                  <a:extLst>
                    <a:ext uri="{FF2B5EF4-FFF2-40B4-BE49-F238E27FC236}">
                      <a16:creationId xmlns:a16="http://schemas.microsoft.com/office/drawing/2014/main" id="{09F80C19-80D5-C6D6-3F71-DA5136A7371D}"/>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1" name="Graphic 1391">
                <a:extLst>
                  <a:ext uri="{FF2B5EF4-FFF2-40B4-BE49-F238E27FC236}">
                    <a16:creationId xmlns:a16="http://schemas.microsoft.com/office/drawing/2014/main" id="{7AC931CD-795D-91B7-1AC3-3B4B01BE5B9C}"/>
                  </a:ext>
                </a:extLst>
              </p:cNvPr>
              <p:cNvGrpSpPr/>
              <p:nvPr/>
            </p:nvGrpSpPr>
            <p:grpSpPr>
              <a:xfrm>
                <a:off x="6440900" y="3959256"/>
                <a:ext cx="75628" cy="75723"/>
                <a:chOff x="6440900" y="3959256"/>
                <a:chExt cx="75628" cy="75723"/>
              </a:xfrm>
            </p:grpSpPr>
            <p:sp>
              <p:nvSpPr>
                <p:cNvPr id="16631" name="Freeform: Shape 16630">
                  <a:extLst>
                    <a:ext uri="{FF2B5EF4-FFF2-40B4-BE49-F238E27FC236}">
                      <a16:creationId xmlns:a16="http://schemas.microsoft.com/office/drawing/2014/main" id="{62F5C133-A64F-B9AB-FF27-26AEE38F51EA}"/>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2" name="Freeform: Shape 16631">
                  <a:extLst>
                    <a:ext uri="{FF2B5EF4-FFF2-40B4-BE49-F238E27FC236}">
                      <a16:creationId xmlns:a16="http://schemas.microsoft.com/office/drawing/2014/main" id="{72E69E32-77C9-3E32-D030-8F7967D89C84}"/>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2" name="Graphic 1391">
                <a:extLst>
                  <a:ext uri="{FF2B5EF4-FFF2-40B4-BE49-F238E27FC236}">
                    <a16:creationId xmlns:a16="http://schemas.microsoft.com/office/drawing/2014/main" id="{390EBF79-0255-B93B-91DE-AF87F5B4F397}"/>
                  </a:ext>
                </a:extLst>
              </p:cNvPr>
              <p:cNvGrpSpPr/>
              <p:nvPr/>
            </p:nvGrpSpPr>
            <p:grpSpPr>
              <a:xfrm>
                <a:off x="6451377" y="3959256"/>
                <a:ext cx="75723" cy="75723"/>
                <a:chOff x="6451377" y="3959256"/>
                <a:chExt cx="75723" cy="75723"/>
              </a:xfrm>
            </p:grpSpPr>
            <p:sp>
              <p:nvSpPr>
                <p:cNvPr id="16629" name="Freeform: Shape 16628">
                  <a:extLst>
                    <a:ext uri="{FF2B5EF4-FFF2-40B4-BE49-F238E27FC236}">
                      <a16:creationId xmlns:a16="http://schemas.microsoft.com/office/drawing/2014/main" id="{698008A6-92ED-8815-A46D-D4CA4F08A8F7}"/>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0" name="Freeform: Shape 16629">
                  <a:extLst>
                    <a:ext uri="{FF2B5EF4-FFF2-40B4-BE49-F238E27FC236}">
                      <a16:creationId xmlns:a16="http://schemas.microsoft.com/office/drawing/2014/main" id="{A56E0ED3-605B-4FB7-88DC-AE43822F35CE}"/>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3" name="Graphic 1391">
                <a:extLst>
                  <a:ext uri="{FF2B5EF4-FFF2-40B4-BE49-F238E27FC236}">
                    <a16:creationId xmlns:a16="http://schemas.microsoft.com/office/drawing/2014/main" id="{47B72782-2CAD-AB9E-C07F-06FB7EEC22D2}"/>
                  </a:ext>
                </a:extLst>
              </p:cNvPr>
              <p:cNvGrpSpPr/>
              <p:nvPr/>
            </p:nvGrpSpPr>
            <p:grpSpPr>
              <a:xfrm>
                <a:off x="6465189" y="3959256"/>
                <a:ext cx="75723" cy="75723"/>
                <a:chOff x="6465189" y="3959256"/>
                <a:chExt cx="75723" cy="75723"/>
              </a:xfrm>
            </p:grpSpPr>
            <p:sp>
              <p:nvSpPr>
                <p:cNvPr id="16627" name="Freeform: Shape 16626">
                  <a:extLst>
                    <a:ext uri="{FF2B5EF4-FFF2-40B4-BE49-F238E27FC236}">
                      <a16:creationId xmlns:a16="http://schemas.microsoft.com/office/drawing/2014/main" id="{A23407A9-B72F-967D-3C3C-F67668F467E7}"/>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8" name="Freeform: Shape 16627">
                  <a:extLst>
                    <a:ext uri="{FF2B5EF4-FFF2-40B4-BE49-F238E27FC236}">
                      <a16:creationId xmlns:a16="http://schemas.microsoft.com/office/drawing/2014/main" id="{9527F90B-8206-0DDD-9D41-99E34D3D2C06}"/>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4" name="Graphic 1391">
                <a:extLst>
                  <a:ext uri="{FF2B5EF4-FFF2-40B4-BE49-F238E27FC236}">
                    <a16:creationId xmlns:a16="http://schemas.microsoft.com/office/drawing/2014/main" id="{7AF0AA51-0E24-870A-0F8D-064F2A772AB7}"/>
                  </a:ext>
                </a:extLst>
              </p:cNvPr>
              <p:cNvGrpSpPr/>
              <p:nvPr/>
            </p:nvGrpSpPr>
            <p:grpSpPr>
              <a:xfrm>
                <a:off x="6396323" y="3932491"/>
                <a:ext cx="75628" cy="75723"/>
                <a:chOff x="6396323" y="3932491"/>
                <a:chExt cx="75628" cy="75723"/>
              </a:xfrm>
            </p:grpSpPr>
            <p:sp>
              <p:nvSpPr>
                <p:cNvPr id="16625" name="Freeform: Shape 16624">
                  <a:extLst>
                    <a:ext uri="{FF2B5EF4-FFF2-40B4-BE49-F238E27FC236}">
                      <a16:creationId xmlns:a16="http://schemas.microsoft.com/office/drawing/2014/main" id="{82D13DB3-243B-837B-A63B-4BEC9C79EBA2}"/>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6" name="Freeform: Shape 16625">
                  <a:extLst>
                    <a:ext uri="{FF2B5EF4-FFF2-40B4-BE49-F238E27FC236}">
                      <a16:creationId xmlns:a16="http://schemas.microsoft.com/office/drawing/2014/main" id="{BE95A9CA-6A91-D6A5-9EF1-9AC4A27F6CB1}"/>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5" name="Graphic 1391">
                <a:extLst>
                  <a:ext uri="{FF2B5EF4-FFF2-40B4-BE49-F238E27FC236}">
                    <a16:creationId xmlns:a16="http://schemas.microsoft.com/office/drawing/2014/main" id="{404D4D25-EA46-559A-6A76-921284CD160D}"/>
                  </a:ext>
                </a:extLst>
              </p:cNvPr>
              <p:cNvGrpSpPr/>
              <p:nvPr/>
            </p:nvGrpSpPr>
            <p:grpSpPr>
              <a:xfrm>
                <a:off x="6324504" y="3932491"/>
                <a:ext cx="75723" cy="75723"/>
                <a:chOff x="6324504" y="3932491"/>
                <a:chExt cx="75723" cy="75723"/>
              </a:xfrm>
            </p:grpSpPr>
            <p:sp>
              <p:nvSpPr>
                <p:cNvPr id="16623" name="Freeform: Shape 16622">
                  <a:extLst>
                    <a:ext uri="{FF2B5EF4-FFF2-40B4-BE49-F238E27FC236}">
                      <a16:creationId xmlns:a16="http://schemas.microsoft.com/office/drawing/2014/main" id="{2976A4C5-1D96-B817-BC79-68BE69E43570}"/>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4" name="Freeform: Shape 16623">
                  <a:extLst>
                    <a:ext uri="{FF2B5EF4-FFF2-40B4-BE49-F238E27FC236}">
                      <a16:creationId xmlns:a16="http://schemas.microsoft.com/office/drawing/2014/main" id="{F76EE626-58EC-8AD7-C104-FC405A74B3BB}"/>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6" name="Graphic 1391">
                <a:extLst>
                  <a:ext uri="{FF2B5EF4-FFF2-40B4-BE49-F238E27FC236}">
                    <a16:creationId xmlns:a16="http://schemas.microsoft.com/office/drawing/2014/main" id="{E0A6E558-1BC5-4E08-D8FD-E5FFF746E378}"/>
                  </a:ext>
                </a:extLst>
              </p:cNvPr>
              <p:cNvGrpSpPr/>
              <p:nvPr/>
            </p:nvGrpSpPr>
            <p:grpSpPr>
              <a:xfrm>
                <a:off x="6106858" y="3849433"/>
                <a:ext cx="75723" cy="75723"/>
                <a:chOff x="6106858" y="3849433"/>
                <a:chExt cx="75723" cy="75723"/>
              </a:xfrm>
            </p:grpSpPr>
            <p:sp>
              <p:nvSpPr>
                <p:cNvPr id="16621" name="Freeform: Shape 16620">
                  <a:extLst>
                    <a:ext uri="{FF2B5EF4-FFF2-40B4-BE49-F238E27FC236}">
                      <a16:creationId xmlns:a16="http://schemas.microsoft.com/office/drawing/2014/main" id="{C0112768-A0C2-F6C0-620A-8B9395843EFB}"/>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2" name="Freeform: Shape 16621">
                  <a:extLst>
                    <a:ext uri="{FF2B5EF4-FFF2-40B4-BE49-F238E27FC236}">
                      <a16:creationId xmlns:a16="http://schemas.microsoft.com/office/drawing/2014/main" id="{EECB161C-89B2-B08A-3298-AA832D0C5266}"/>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7" name="Graphic 1391">
                <a:extLst>
                  <a:ext uri="{FF2B5EF4-FFF2-40B4-BE49-F238E27FC236}">
                    <a16:creationId xmlns:a16="http://schemas.microsoft.com/office/drawing/2014/main" id="{66576255-79B3-2771-92BB-AA6343FD14AB}"/>
                  </a:ext>
                </a:extLst>
              </p:cNvPr>
              <p:cNvGrpSpPr/>
              <p:nvPr/>
            </p:nvGrpSpPr>
            <p:grpSpPr>
              <a:xfrm>
                <a:off x="6088284" y="3819429"/>
                <a:ext cx="75628" cy="75723"/>
                <a:chOff x="6088284" y="3819429"/>
                <a:chExt cx="75628" cy="75723"/>
              </a:xfrm>
            </p:grpSpPr>
            <p:sp>
              <p:nvSpPr>
                <p:cNvPr id="16619" name="Freeform: Shape 16618">
                  <a:extLst>
                    <a:ext uri="{FF2B5EF4-FFF2-40B4-BE49-F238E27FC236}">
                      <a16:creationId xmlns:a16="http://schemas.microsoft.com/office/drawing/2014/main" id="{00ED13F7-F8CC-991D-B3DD-C77BA11B6F6C}"/>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0" name="Freeform: Shape 16619">
                  <a:extLst>
                    <a:ext uri="{FF2B5EF4-FFF2-40B4-BE49-F238E27FC236}">
                      <a16:creationId xmlns:a16="http://schemas.microsoft.com/office/drawing/2014/main" id="{973E3C27-3B3D-5A91-8F9B-E42E3F61BD57}"/>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8" name="Graphic 1391">
                <a:extLst>
                  <a:ext uri="{FF2B5EF4-FFF2-40B4-BE49-F238E27FC236}">
                    <a16:creationId xmlns:a16="http://schemas.microsoft.com/office/drawing/2014/main" id="{BFB43615-370B-02A1-437D-97286226FB20}"/>
                  </a:ext>
                </a:extLst>
              </p:cNvPr>
              <p:cNvGrpSpPr/>
              <p:nvPr/>
            </p:nvGrpSpPr>
            <p:grpSpPr>
              <a:xfrm>
                <a:off x="6069044" y="3794664"/>
                <a:ext cx="75723" cy="75723"/>
                <a:chOff x="6069044" y="3794664"/>
                <a:chExt cx="75723" cy="75723"/>
              </a:xfrm>
            </p:grpSpPr>
            <p:sp>
              <p:nvSpPr>
                <p:cNvPr id="16617" name="Freeform: Shape 16616">
                  <a:extLst>
                    <a:ext uri="{FF2B5EF4-FFF2-40B4-BE49-F238E27FC236}">
                      <a16:creationId xmlns:a16="http://schemas.microsoft.com/office/drawing/2014/main" id="{860F990A-5AD4-F5DE-CD9F-3FC75A9A46EE}"/>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8" name="Freeform: Shape 16617">
                  <a:extLst>
                    <a:ext uri="{FF2B5EF4-FFF2-40B4-BE49-F238E27FC236}">
                      <a16:creationId xmlns:a16="http://schemas.microsoft.com/office/drawing/2014/main" id="{BF656FE9-BF8B-0DF9-4D77-EA67072DE939}"/>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9" name="Graphic 1391">
                <a:extLst>
                  <a:ext uri="{FF2B5EF4-FFF2-40B4-BE49-F238E27FC236}">
                    <a16:creationId xmlns:a16="http://schemas.microsoft.com/office/drawing/2014/main" id="{E4FC1AA7-9003-FE50-1F51-39DA4AC58F01}"/>
                  </a:ext>
                </a:extLst>
              </p:cNvPr>
              <p:cNvGrpSpPr/>
              <p:nvPr/>
            </p:nvGrpSpPr>
            <p:grpSpPr>
              <a:xfrm>
                <a:off x="6064186" y="3794664"/>
                <a:ext cx="75723" cy="75723"/>
                <a:chOff x="6064186" y="3794664"/>
                <a:chExt cx="75723" cy="75723"/>
              </a:xfrm>
            </p:grpSpPr>
            <p:sp>
              <p:nvSpPr>
                <p:cNvPr id="16615" name="Freeform: Shape 16614">
                  <a:extLst>
                    <a:ext uri="{FF2B5EF4-FFF2-40B4-BE49-F238E27FC236}">
                      <a16:creationId xmlns:a16="http://schemas.microsoft.com/office/drawing/2014/main" id="{1B084A77-3155-22E2-80F7-E60BA1DFBEE7}"/>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6" name="Freeform: Shape 16615">
                  <a:extLst>
                    <a:ext uri="{FF2B5EF4-FFF2-40B4-BE49-F238E27FC236}">
                      <a16:creationId xmlns:a16="http://schemas.microsoft.com/office/drawing/2014/main" id="{A950834C-BE93-51EE-DC13-77790C0BC17B}"/>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0" name="Graphic 1391">
                <a:extLst>
                  <a:ext uri="{FF2B5EF4-FFF2-40B4-BE49-F238E27FC236}">
                    <a16:creationId xmlns:a16="http://schemas.microsoft.com/office/drawing/2014/main" id="{BA31FA38-28F1-98CD-8E8E-9183E00857C2}"/>
                  </a:ext>
                </a:extLst>
              </p:cNvPr>
              <p:cNvGrpSpPr/>
              <p:nvPr/>
            </p:nvGrpSpPr>
            <p:grpSpPr>
              <a:xfrm>
                <a:off x="6058471" y="3768375"/>
                <a:ext cx="75723" cy="75628"/>
                <a:chOff x="6058471" y="3768375"/>
                <a:chExt cx="75723" cy="75628"/>
              </a:xfrm>
            </p:grpSpPr>
            <p:sp>
              <p:nvSpPr>
                <p:cNvPr id="16613" name="Freeform: Shape 16612">
                  <a:extLst>
                    <a:ext uri="{FF2B5EF4-FFF2-40B4-BE49-F238E27FC236}">
                      <a16:creationId xmlns:a16="http://schemas.microsoft.com/office/drawing/2014/main" id="{9848B3C4-8323-0E24-403F-A51BDCFEBE08}"/>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4" name="Freeform: Shape 16613">
                  <a:extLst>
                    <a:ext uri="{FF2B5EF4-FFF2-40B4-BE49-F238E27FC236}">
                      <a16:creationId xmlns:a16="http://schemas.microsoft.com/office/drawing/2014/main" id="{B653E6B1-FC92-01A8-4ED8-5FDDB44A0E42}"/>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1" name="Graphic 1391">
                <a:extLst>
                  <a:ext uri="{FF2B5EF4-FFF2-40B4-BE49-F238E27FC236}">
                    <a16:creationId xmlns:a16="http://schemas.microsoft.com/office/drawing/2014/main" id="{DAECF62F-DDC6-5A6A-FB5A-DB9F820D77DD}"/>
                  </a:ext>
                </a:extLst>
              </p:cNvPr>
              <p:cNvGrpSpPr/>
              <p:nvPr/>
            </p:nvGrpSpPr>
            <p:grpSpPr>
              <a:xfrm>
                <a:off x="6043517" y="3768375"/>
                <a:ext cx="75723" cy="75628"/>
                <a:chOff x="6043517" y="3768375"/>
                <a:chExt cx="75723" cy="75628"/>
              </a:xfrm>
            </p:grpSpPr>
            <p:sp>
              <p:nvSpPr>
                <p:cNvPr id="16611" name="Freeform: Shape 16610">
                  <a:extLst>
                    <a:ext uri="{FF2B5EF4-FFF2-40B4-BE49-F238E27FC236}">
                      <a16:creationId xmlns:a16="http://schemas.microsoft.com/office/drawing/2014/main" id="{1E95DD24-F2E5-2146-05D5-E714F279FB2F}"/>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2" name="Freeform: Shape 16611">
                  <a:extLst>
                    <a:ext uri="{FF2B5EF4-FFF2-40B4-BE49-F238E27FC236}">
                      <a16:creationId xmlns:a16="http://schemas.microsoft.com/office/drawing/2014/main" id="{BB056B5C-F444-87FB-9709-27024981A4C3}"/>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2" name="Graphic 1391">
                <a:extLst>
                  <a:ext uri="{FF2B5EF4-FFF2-40B4-BE49-F238E27FC236}">
                    <a16:creationId xmlns:a16="http://schemas.microsoft.com/office/drawing/2014/main" id="{405813E8-4FB3-1DC8-C877-DD583E43D7A4}"/>
                  </a:ext>
                </a:extLst>
              </p:cNvPr>
              <p:cNvGrpSpPr/>
              <p:nvPr/>
            </p:nvGrpSpPr>
            <p:grpSpPr>
              <a:xfrm>
                <a:off x="5723477" y="3768375"/>
                <a:ext cx="75723" cy="75628"/>
                <a:chOff x="5723477" y="3768375"/>
                <a:chExt cx="75723" cy="75628"/>
              </a:xfrm>
            </p:grpSpPr>
            <p:sp>
              <p:nvSpPr>
                <p:cNvPr id="16609" name="Freeform: Shape 16608">
                  <a:extLst>
                    <a:ext uri="{FF2B5EF4-FFF2-40B4-BE49-F238E27FC236}">
                      <a16:creationId xmlns:a16="http://schemas.microsoft.com/office/drawing/2014/main" id="{C107667A-069E-FA75-8BD0-24A67E10E20A}"/>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0" name="Freeform: Shape 16609">
                  <a:extLst>
                    <a:ext uri="{FF2B5EF4-FFF2-40B4-BE49-F238E27FC236}">
                      <a16:creationId xmlns:a16="http://schemas.microsoft.com/office/drawing/2014/main" id="{49DFD5ED-9252-F305-DCBD-D03347861A02}"/>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3" name="Graphic 1391">
                <a:extLst>
                  <a:ext uri="{FF2B5EF4-FFF2-40B4-BE49-F238E27FC236}">
                    <a16:creationId xmlns:a16="http://schemas.microsoft.com/office/drawing/2014/main" id="{A90CBAF8-EC23-7471-2345-0442903284C4}"/>
                  </a:ext>
                </a:extLst>
              </p:cNvPr>
              <p:cNvGrpSpPr/>
              <p:nvPr/>
            </p:nvGrpSpPr>
            <p:grpSpPr>
              <a:xfrm>
                <a:off x="5704808" y="3768375"/>
                <a:ext cx="75723" cy="75628"/>
                <a:chOff x="5704808" y="3768375"/>
                <a:chExt cx="75723" cy="75628"/>
              </a:xfrm>
            </p:grpSpPr>
            <p:sp>
              <p:nvSpPr>
                <p:cNvPr id="16607" name="Freeform: Shape 16606">
                  <a:extLst>
                    <a:ext uri="{FF2B5EF4-FFF2-40B4-BE49-F238E27FC236}">
                      <a16:creationId xmlns:a16="http://schemas.microsoft.com/office/drawing/2014/main" id="{E6C90C8C-782B-2FD4-5FDE-E4930DDAE089}"/>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8" name="Freeform: Shape 16607">
                  <a:extLst>
                    <a:ext uri="{FF2B5EF4-FFF2-40B4-BE49-F238E27FC236}">
                      <a16:creationId xmlns:a16="http://schemas.microsoft.com/office/drawing/2014/main" id="{31ED5F92-1DFE-D337-C72F-19D2A88D2D49}"/>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4" name="Graphic 1391">
                <a:extLst>
                  <a:ext uri="{FF2B5EF4-FFF2-40B4-BE49-F238E27FC236}">
                    <a16:creationId xmlns:a16="http://schemas.microsoft.com/office/drawing/2014/main" id="{9B3083CD-94DD-9260-34D9-857F35C8BEDC}"/>
                  </a:ext>
                </a:extLst>
              </p:cNvPr>
              <p:cNvGrpSpPr/>
              <p:nvPr/>
            </p:nvGrpSpPr>
            <p:grpSpPr>
              <a:xfrm>
                <a:off x="5664708" y="3705796"/>
                <a:ext cx="75628" cy="75723"/>
                <a:chOff x="5664708" y="3705796"/>
                <a:chExt cx="75628" cy="75723"/>
              </a:xfrm>
            </p:grpSpPr>
            <p:sp>
              <p:nvSpPr>
                <p:cNvPr id="16605" name="Freeform: Shape 16604">
                  <a:extLst>
                    <a:ext uri="{FF2B5EF4-FFF2-40B4-BE49-F238E27FC236}">
                      <a16:creationId xmlns:a16="http://schemas.microsoft.com/office/drawing/2014/main" id="{C5E37922-DF6A-AAD6-B8AD-A3BD4ABA73C2}"/>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6" name="Freeform: Shape 16605">
                  <a:extLst>
                    <a:ext uri="{FF2B5EF4-FFF2-40B4-BE49-F238E27FC236}">
                      <a16:creationId xmlns:a16="http://schemas.microsoft.com/office/drawing/2014/main" id="{5C802501-CD33-2ECF-8BC8-D75E6DC74BCE}"/>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5" name="Graphic 1391">
                <a:extLst>
                  <a:ext uri="{FF2B5EF4-FFF2-40B4-BE49-F238E27FC236}">
                    <a16:creationId xmlns:a16="http://schemas.microsoft.com/office/drawing/2014/main" id="{F1923517-0008-54BE-B3E2-18C54533E4F1}"/>
                  </a:ext>
                </a:extLst>
              </p:cNvPr>
              <p:cNvGrpSpPr/>
              <p:nvPr/>
            </p:nvGrpSpPr>
            <p:grpSpPr>
              <a:xfrm>
                <a:off x="5267229" y="3503580"/>
                <a:ext cx="75723" cy="75723"/>
                <a:chOff x="5267229" y="3503580"/>
                <a:chExt cx="75723" cy="75723"/>
              </a:xfrm>
            </p:grpSpPr>
            <p:sp>
              <p:nvSpPr>
                <p:cNvPr id="16603" name="Freeform: Shape 16602">
                  <a:extLst>
                    <a:ext uri="{FF2B5EF4-FFF2-40B4-BE49-F238E27FC236}">
                      <a16:creationId xmlns:a16="http://schemas.microsoft.com/office/drawing/2014/main" id="{8EA05D4D-3373-2A4D-0CFC-C8AFFFD65649}"/>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4" name="Freeform: Shape 16603">
                  <a:extLst>
                    <a:ext uri="{FF2B5EF4-FFF2-40B4-BE49-F238E27FC236}">
                      <a16:creationId xmlns:a16="http://schemas.microsoft.com/office/drawing/2014/main" id="{3AE466AE-BD50-3600-79E5-8E4E6168E87A}"/>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6" name="Graphic 1391">
                <a:extLst>
                  <a:ext uri="{FF2B5EF4-FFF2-40B4-BE49-F238E27FC236}">
                    <a16:creationId xmlns:a16="http://schemas.microsoft.com/office/drawing/2014/main" id="{A05BE11A-ED27-7F02-1856-BC7B4F600145}"/>
                  </a:ext>
                </a:extLst>
              </p:cNvPr>
              <p:cNvGrpSpPr/>
              <p:nvPr/>
            </p:nvGrpSpPr>
            <p:grpSpPr>
              <a:xfrm>
                <a:off x="4946999" y="3369564"/>
                <a:ext cx="75723" cy="75628"/>
                <a:chOff x="4946999" y="3369564"/>
                <a:chExt cx="75723" cy="75628"/>
              </a:xfrm>
            </p:grpSpPr>
            <p:sp>
              <p:nvSpPr>
                <p:cNvPr id="16601" name="Freeform: Shape 16600">
                  <a:extLst>
                    <a:ext uri="{FF2B5EF4-FFF2-40B4-BE49-F238E27FC236}">
                      <a16:creationId xmlns:a16="http://schemas.microsoft.com/office/drawing/2014/main" id="{978F2B2F-A7C9-F089-4E6B-4C22EC2E691D}"/>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2" name="Freeform: Shape 16601">
                  <a:extLst>
                    <a:ext uri="{FF2B5EF4-FFF2-40B4-BE49-F238E27FC236}">
                      <a16:creationId xmlns:a16="http://schemas.microsoft.com/office/drawing/2014/main" id="{0659932A-12F0-A1D5-1D97-131683BE45EB}"/>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7" name="Graphic 1391">
                <a:extLst>
                  <a:ext uri="{FF2B5EF4-FFF2-40B4-BE49-F238E27FC236}">
                    <a16:creationId xmlns:a16="http://schemas.microsoft.com/office/drawing/2014/main" id="{9B661672-8C91-3516-E74A-CDED34915829}"/>
                  </a:ext>
                </a:extLst>
              </p:cNvPr>
              <p:cNvGrpSpPr/>
              <p:nvPr/>
            </p:nvGrpSpPr>
            <p:grpSpPr>
              <a:xfrm>
                <a:off x="4935664" y="3369564"/>
                <a:ext cx="75723" cy="75628"/>
                <a:chOff x="4935664" y="3369564"/>
                <a:chExt cx="75723" cy="75628"/>
              </a:xfrm>
            </p:grpSpPr>
            <p:sp>
              <p:nvSpPr>
                <p:cNvPr id="16599" name="Freeform: Shape 16598">
                  <a:extLst>
                    <a:ext uri="{FF2B5EF4-FFF2-40B4-BE49-F238E27FC236}">
                      <a16:creationId xmlns:a16="http://schemas.microsoft.com/office/drawing/2014/main" id="{6EC8A453-B9E3-1A57-2FF9-4BE2A3C1D86D}"/>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0" name="Freeform: Shape 16599">
                  <a:extLst>
                    <a:ext uri="{FF2B5EF4-FFF2-40B4-BE49-F238E27FC236}">
                      <a16:creationId xmlns:a16="http://schemas.microsoft.com/office/drawing/2014/main" id="{BBE8D04B-351C-3237-0D8B-62B1E458A31A}"/>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8" name="Graphic 1391">
                <a:extLst>
                  <a:ext uri="{FF2B5EF4-FFF2-40B4-BE49-F238E27FC236}">
                    <a16:creationId xmlns:a16="http://schemas.microsoft.com/office/drawing/2014/main" id="{C365170D-602C-C2BF-B98B-1D0981DC0984}"/>
                  </a:ext>
                </a:extLst>
              </p:cNvPr>
              <p:cNvGrpSpPr/>
              <p:nvPr/>
            </p:nvGrpSpPr>
            <p:grpSpPr>
              <a:xfrm>
                <a:off x="4931092" y="3335464"/>
                <a:ext cx="75628" cy="75723"/>
                <a:chOff x="4931092" y="3335464"/>
                <a:chExt cx="75628" cy="75723"/>
              </a:xfrm>
            </p:grpSpPr>
            <p:sp>
              <p:nvSpPr>
                <p:cNvPr id="16597" name="Freeform: Shape 16596">
                  <a:extLst>
                    <a:ext uri="{FF2B5EF4-FFF2-40B4-BE49-F238E27FC236}">
                      <a16:creationId xmlns:a16="http://schemas.microsoft.com/office/drawing/2014/main" id="{A0DD9788-6906-63BF-6225-14BA889B1119}"/>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8" name="Freeform: Shape 16597">
                  <a:extLst>
                    <a:ext uri="{FF2B5EF4-FFF2-40B4-BE49-F238E27FC236}">
                      <a16:creationId xmlns:a16="http://schemas.microsoft.com/office/drawing/2014/main" id="{0D2DAE6E-D63A-4297-E380-3FA5B1D57D77}"/>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9" name="Graphic 1391">
                <a:extLst>
                  <a:ext uri="{FF2B5EF4-FFF2-40B4-BE49-F238E27FC236}">
                    <a16:creationId xmlns:a16="http://schemas.microsoft.com/office/drawing/2014/main" id="{406E16F8-09F4-61DD-21D1-F98ED35542C1}"/>
                  </a:ext>
                </a:extLst>
              </p:cNvPr>
              <p:cNvGrpSpPr/>
              <p:nvPr/>
            </p:nvGrpSpPr>
            <p:grpSpPr>
              <a:xfrm>
                <a:off x="4927854" y="3319081"/>
                <a:ext cx="75628" cy="75723"/>
                <a:chOff x="4927854" y="3319081"/>
                <a:chExt cx="75628" cy="75723"/>
              </a:xfrm>
            </p:grpSpPr>
            <p:sp>
              <p:nvSpPr>
                <p:cNvPr id="16595" name="Freeform: Shape 16594">
                  <a:extLst>
                    <a:ext uri="{FF2B5EF4-FFF2-40B4-BE49-F238E27FC236}">
                      <a16:creationId xmlns:a16="http://schemas.microsoft.com/office/drawing/2014/main" id="{E0ABF7F5-C4D2-BC5E-F475-FB21BE3A26A7}"/>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6" name="Freeform: Shape 16595">
                  <a:extLst>
                    <a:ext uri="{FF2B5EF4-FFF2-40B4-BE49-F238E27FC236}">
                      <a16:creationId xmlns:a16="http://schemas.microsoft.com/office/drawing/2014/main" id="{C5DB55EC-52E5-3880-469D-2A429E657450}"/>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0" name="Graphic 1391">
                <a:extLst>
                  <a:ext uri="{FF2B5EF4-FFF2-40B4-BE49-F238E27FC236}">
                    <a16:creationId xmlns:a16="http://schemas.microsoft.com/office/drawing/2014/main" id="{3DCEA643-6920-CB6A-D2EB-AB5752E8C768}"/>
                  </a:ext>
                </a:extLst>
              </p:cNvPr>
              <p:cNvGrpSpPr/>
              <p:nvPr/>
            </p:nvGrpSpPr>
            <p:grpSpPr>
              <a:xfrm>
                <a:off x="4916900" y="3272504"/>
                <a:ext cx="75628" cy="75723"/>
                <a:chOff x="4916900" y="3272504"/>
                <a:chExt cx="75628" cy="75723"/>
              </a:xfrm>
            </p:grpSpPr>
            <p:sp>
              <p:nvSpPr>
                <p:cNvPr id="16593" name="Freeform: Shape 16592">
                  <a:extLst>
                    <a:ext uri="{FF2B5EF4-FFF2-40B4-BE49-F238E27FC236}">
                      <a16:creationId xmlns:a16="http://schemas.microsoft.com/office/drawing/2014/main" id="{EE6F15D4-7D7E-29D0-CCD4-E24628FC3C71}"/>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4" name="Freeform: Shape 16593">
                  <a:extLst>
                    <a:ext uri="{FF2B5EF4-FFF2-40B4-BE49-F238E27FC236}">
                      <a16:creationId xmlns:a16="http://schemas.microsoft.com/office/drawing/2014/main" id="{01F4B4A1-378E-1332-A137-04C0A7862B7E}"/>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1" name="Graphic 1391">
                <a:extLst>
                  <a:ext uri="{FF2B5EF4-FFF2-40B4-BE49-F238E27FC236}">
                    <a16:creationId xmlns:a16="http://schemas.microsoft.com/office/drawing/2014/main" id="{C3E70212-94D2-18FD-842C-C9918DAA58B9}"/>
                  </a:ext>
                </a:extLst>
              </p:cNvPr>
              <p:cNvGrpSpPr/>
              <p:nvPr/>
            </p:nvGrpSpPr>
            <p:grpSpPr>
              <a:xfrm>
                <a:off x="4905089" y="3272504"/>
                <a:ext cx="75723" cy="75723"/>
                <a:chOff x="4905089" y="3272504"/>
                <a:chExt cx="75723" cy="75723"/>
              </a:xfrm>
            </p:grpSpPr>
            <p:sp>
              <p:nvSpPr>
                <p:cNvPr id="16591" name="Freeform: Shape 16590">
                  <a:extLst>
                    <a:ext uri="{FF2B5EF4-FFF2-40B4-BE49-F238E27FC236}">
                      <a16:creationId xmlns:a16="http://schemas.microsoft.com/office/drawing/2014/main" id="{2A4B9DEF-ABB4-5853-05C7-B40B2E2E812F}"/>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2" name="Freeform: Shape 16591">
                  <a:extLst>
                    <a:ext uri="{FF2B5EF4-FFF2-40B4-BE49-F238E27FC236}">
                      <a16:creationId xmlns:a16="http://schemas.microsoft.com/office/drawing/2014/main" id="{E786DEF1-2164-673D-8E26-C15BE35A586F}"/>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2" name="Graphic 1391">
                <a:extLst>
                  <a:ext uri="{FF2B5EF4-FFF2-40B4-BE49-F238E27FC236}">
                    <a16:creationId xmlns:a16="http://schemas.microsoft.com/office/drawing/2014/main" id="{E566BE18-1570-911C-488A-55E5741EE4E1}"/>
                  </a:ext>
                </a:extLst>
              </p:cNvPr>
              <p:cNvGrpSpPr/>
              <p:nvPr/>
            </p:nvGrpSpPr>
            <p:grpSpPr>
              <a:xfrm>
                <a:off x="4889944" y="3259740"/>
                <a:ext cx="75723" cy="75723"/>
                <a:chOff x="4889944" y="3259740"/>
                <a:chExt cx="75723" cy="75723"/>
              </a:xfrm>
            </p:grpSpPr>
            <p:sp>
              <p:nvSpPr>
                <p:cNvPr id="16589" name="Freeform: Shape 16588">
                  <a:extLst>
                    <a:ext uri="{FF2B5EF4-FFF2-40B4-BE49-F238E27FC236}">
                      <a16:creationId xmlns:a16="http://schemas.microsoft.com/office/drawing/2014/main" id="{3A24CF4D-25A2-4757-05BD-94C9FF549B63}"/>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0" name="Freeform: Shape 16589">
                  <a:extLst>
                    <a:ext uri="{FF2B5EF4-FFF2-40B4-BE49-F238E27FC236}">
                      <a16:creationId xmlns:a16="http://schemas.microsoft.com/office/drawing/2014/main" id="{8C1BF8D7-B3B9-78D2-7305-A1702B66BB2A}"/>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3" name="Graphic 1391">
                <a:extLst>
                  <a:ext uri="{FF2B5EF4-FFF2-40B4-BE49-F238E27FC236}">
                    <a16:creationId xmlns:a16="http://schemas.microsoft.com/office/drawing/2014/main" id="{FACBDD70-ED8B-12B2-9B2F-0777992A48A0}"/>
                  </a:ext>
                </a:extLst>
              </p:cNvPr>
              <p:cNvGrpSpPr/>
              <p:nvPr/>
            </p:nvGrpSpPr>
            <p:grpSpPr>
              <a:xfrm>
                <a:off x="4657344" y="3139154"/>
                <a:ext cx="75628" cy="75723"/>
                <a:chOff x="4657344" y="3139154"/>
                <a:chExt cx="75628" cy="75723"/>
              </a:xfrm>
            </p:grpSpPr>
            <p:sp>
              <p:nvSpPr>
                <p:cNvPr id="16587" name="Freeform: Shape 16586">
                  <a:extLst>
                    <a:ext uri="{FF2B5EF4-FFF2-40B4-BE49-F238E27FC236}">
                      <a16:creationId xmlns:a16="http://schemas.microsoft.com/office/drawing/2014/main" id="{57CA55FB-137B-DBAB-84A8-646881705797}"/>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8" name="Freeform: Shape 16587">
                  <a:extLst>
                    <a:ext uri="{FF2B5EF4-FFF2-40B4-BE49-F238E27FC236}">
                      <a16:creationId xmlns:a16="http://schemas.microsoft.com/office/drawing/2014/main" id="{184D0848-BBE8-DACA-CCE3-101E7797B891}"/>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4" name="Graphic 1391">
                <a:extLst>
                  <a:ext uri="{FF2B5EF4-FFF2-40B4-BE49-F238E27FC236}">
                    <a16:creationId xmlns:a16="http://schemas.microsoft.com/office/drawing/2014/main" id="{D1B4C836-92DC-D0C2-996E-F516636D9C99}"/>
                  </a:ext>
                </a:extLst>
              </p:cNvPr>
              <p:cNvGrpSpPr/>
              <p:nvPr/>
            </p:nvGrpSpPr>
            <p:grpSpPr>
              <a:xfrm>
                <a:off x="4566094" y="3094672"/>
                <a:ext cx="75723" cy="75723"/>
                <a:chOff x="4566094" y="3094672"/>
                <a:chExt cx="75723" cy="75723"/>
              </a:xfrm>
            </p:grpSpPr>
            <p:sp>
              <p:nvSpPr>
                <p:cNvPr id="16585" name="Freeform: Shape 16584">
                  <a:extLst>
                    <a:ext uri="{FF2B5EF4-FFF2-40B4-BE49-F238E27FC236}">
                      <a16:creationId xmlns:a16="http://schemas.microsoft.com/office/drawing/2014/main" id="{B23DDB5C-5072-67EC-14C4-DB144558FCB5}"/>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6" name="Freeform: Shape 16585">
                  <a:extLst>
                    <a:ext uri="{FF2B5EF4-FFF2-40B4-BE49-F238E27FC236}">
                      <a16:creationId xmlns:a16="http://schemas.microsoft.com/office/drawing/2014/main" id="{BF7CCC68-B725-8976-B5ED-0D30F5D33723}"/>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5" name="Graphic 1391">
                <a:extLst>
                  <a:ext uri="{FF2B5EF4-FFF2-40B4-BE49-F238E27FC236}">
                    <a16:creationId xmlns:a16="http://schemas.microsoft.com/office/drawing/2014/main" id="{A9998754-3ADB-5829-5C29-80DDB993D2AF}"/>
                  </a:ext>
                </a:extLst>
              </p:cNvPr>
              <p:cNvGrpSpPr/>
              <p:nvPr/>
            </p:nvGrpSpPr>
            <p:grpSpPr>
              <a:xfrm>
                <a:off x="4553521" y="3061049"/>
                <a:ext cx="75723" cy="75723"/>
                <a:chOff x="4553521" y="3061049"/>
                <a:chExt cx="75723" cy="75723"/>
              </a:xfrm>
            </p:grpSpPr>
            <p:sp>
              <p:nvSpPr>
                <p:cNvPr id="16583" name="Freeform: Shape 16582">
                  <a:extLst>
                    <a:ext uri="{FF2B5EF4-FFF2-40B4-BE49-F238E27FC236}">
                      <a16:creationId xmlns:a16="http://schemas.microsoft.com/office/drawing/2014/main" id="{FD9B24A9-AE2E-59BA-BC4D-3DE19C0C0A50}"/>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4" name="Freeform: Shape 16583">
                  <a:extLst>
                    <a:ext uri="{FF2B5EF4-FFF2-40B4-BE49-F238E27FC236}">
                      <a16:creationId xmlns:a16="http://schemas.microsoft.com/office/drawing/2014/main" id="{91277108-97A1-1F14-3FAD-0EE40DEAD5CC}"/>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6" name="Graphic 1391">
                <a:extLst>
                  <a:ext uri="{FF2B5EF4-FFF2-40B4-BE49-F238E27FC236}">
                    <a16:creationId xmlns:a16="http://schemas.microsoft.com/office/drawing/2014/main" id="{DA61878E-19B6-EB85-C1C9-88B95239AAB1}"/>
                  </a:ext>
                </a:extLst>
              </p:cNvPr>
              <p:cNvGrpSpPr/>
              <p:nvPr/>
            </p:nvGrpSpPr>
            <p:grpSpPr>
              <a:xfrm>
                <a:off x="4553521" y="3046476"/>
                <a:ext cx="75723" cy="75723"/>
                <a:chOff x="4553521" y="3046476"/>
                <a:chExt cx="75723" cy="75723"/>
              </a:xfrm>
            </p:grpSpPr>
            <p:sp>
              <p:nvSpPr>
                <p:cNvPr id="16581" name="Freeform: Shape 16580">
                  <a:extLst>
                    <a:ext uri="{FF2B5EF4-FFF2-40B4-BE49-F238E27FC236}">
                      <a16:creationId xmlns:a16="http://schemas.microsoft.com/office/drawing/2014/main" id="{0150EF3F-B92C-530F-4990-26EF17EE25CA}"/>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2" name="Freeform: Shape 16581">
                  <a:extLst>
                    <a:ext uri="{FF2B5EF4-FFF2-40B4-BE49-F238E27FC236}">
                      <a16:creationId xmlns:a16="http://schemas.microsoft.com/office/drawing/2014/main" id="{751D6AA7-5AB8-38AD-F626-6D984325E16F}"/>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7" name="Graphic 1391">
                <a:extLst>
                  <a:ext uri="{FF2B5EF4-FFF2-40B4-BE49-F238E27FC236}">
                    <a16:creationId xmlns:a16="http://schemas.microsoft.com/office/drawing/2014/main" id="{70830C88-59E5-1C25-F246-75D0B9E92C56}"/>
                  </a:ext>
                </a:extLst>
              </p:cNvPr>
              <p:cNvGrpSpPr/>
              <p:nvPr/>
            </p:nvGrpSpPr>
            <p:grpSpPr>
              <a:xfrm>
                <a:off x="4545901" y="3008661"/>
                <a:ext cx="75628" cy="75628"/>
                <a:chOff x="4545901" y="3008661"/>
                <a:chExt cx="75628" cy="75628"/>
              </a:xfrm>
            </p:grpSpPr>
            <p:sp>
              <p:nvSpPr>
                <p:cNvPr id="16579" name="Freeform: Shape 16578">
                  <a:extLst>
                    <a:ext uri="{FF2B5EF4-FFF2-40B4-BE49-F238E27FC236}">
                      <a16:creationId xmlns:a16="http://schemas.microsoft.com/office/drawing/2014/main" id="{E40633C3-1818-FFE9-52EC-61EE307C8308}"/>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0" name="Freeform: Shape 16579">
                  <a:extLst>
                    <a:ext uri="{FF2B5EF4-FFF2-40B4-BE49-F238E27FC236}">
                      <a16:creationId xmlns:a16="http://schemas.microsoft.com/office/drawing/2014/main" id="{7BE2CFEB-2548-C0F0-FCB3-A744E8A3BC99}"/>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8" name="Graphic 1391">
                <a:extLst>
                  <a:ext uri="{FF2B5EF4-FFF2-40B4-BE49-F238E27FC236}">
                    <a16:creationId xmlns:a16="http://schemas.microsoft.com/office/drawing/2014/main" id="{1E691FBA-42F0-82C9-A8B8-32CACB920651}"/>
                  </a:ext>
                </a:extLst>
              </p:cNvPr>
              <p:cNvGrpSpPr/>
              <p:nvPr/>
            </p:nvGrpSpPr>
            <p:grpSpPr>
              <a:xfrm>
                <a:off x="4537710" y="3008661"/>
                <a:ext cx="75723" cy="75628"/>
                <a:chOff x="4537710" y="3008661"/>
                <a:chExt cx="75723" cy="75628"/>
              </a:xfrm>
            </p:grpSpPr>
            <p:sp>
              <p:nvSpPr>
                <p:cNvPr id="16577" name="Freeform: Shape 16576">
                  <a:extLst>
                    <a:ext uri="{FF2B5EF4-FFF2-40B4-BE49-F238E27FC236}">
                      <a16:creationId xmlns:a16="http://schemas.microsoft.com/office/drawing/2014/main" id="{04D5AF49-EE43-CECD-800F-7DC78CF42E47}"/>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8" name="Freeform: Shape 16577">
                  <a:extLst>
                    <a:ext uri="{FF2B5EF4-FFF2-40B4-BE49-F238E27FC236}">
                      <a16:creationId xmlns:a16="http://schemas.microsoft.com/office/drawing/2014/main" id="{46562A48-F057-6307-CAA4-B4F8B63C768F}"/>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9" name="Graphic 1391">
                <a:extLst>
                  <a:ext uri="{FF2B5EF4-FFF2-40B4-BE49-F238E27FC236}">
                    <a16:creationId xmlns:a16="http://schemas.microsoft.com/office/drawing/2014/main" id="{7B06C7AD-57D0-AFD8-7776-29030D0D5886}"/>
                  </a:ext>
                </a:extLst>
              </p:cNvPr>
              <p:cNvGrpSpPr/>
              <p:nvPr/>
            </p:nvGrpSpPr>
            <p:grpSpPr>
              <a:xfrm>
                <a:off x="4531709" y="2994183"/>
                <a:ext cx="75628" cy="75723"/>
                <a:chOff x="4531709" y="2994183"/>
                <a:chExt cx="75628" cy="75723"/>
              </a:xfrm>
            </p:grpSpPr>
            <p:sp>
              <p:nvSpPr>
                <p:cNvPr id="16575" name="Freeform: Shape 16574">
                  <a:extLst>
                    <a:ext uri="{FF2B5EF4-FFF2-40B4-BE49-F238E27FC236}">
                      <a16:creationId xmlns:a16="http://schemas.microsoft.com/office/drawing/2014/main" id="{8C48EFE2-A5F7-4734-F876-8A8EED4DC5DE}"/>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6" name="Freeform: Shape 16575">
                  <a:extLst>
                    <a:ext uri="{FF2B5EF4-FFF2-40B4-BE49-F238E27FC236}">
                      <a16:creationId xmlns:a16="http://schemas.microsoft.com/office/drawing/2014/main" id="{2906E94F-9E9E-5E21-2DA5-8970600AFC19}"/>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0" name="Graphic 1391">
                <a:extLst>
                  <a:ext uri="{FF2B5EF4-FFF2-40B4-BE49-F238E27FC236}">
                    <a16:creationId xmlns:a16="http://schemas.microsoft.com/office/drawing/2014/main" id="{A8A00C4D-E613-20DD-83F3-C3052F3AE54B}"/>
                  </a:ext>
                </a:extLst>
              </p:cNvPr>
              <p:cNvGrpSpPr/>
              <p:nvPr/>
            </p:nvGrpSpPr>
            <p:grpSpPr>
              <a:xfrm>
                <a:off x="4523136" y="2978372"/>
                <a:ext cx="75723" cy="75723"/>
                <a:chOff x="4523136" y="2978372"/>
                <a:chExt cx="75723" cy="75723"/>
              </a:xfrm>
            </p:grpSpPr>
            <p:sp>
              <p:nvSpPr>
                <p:cNvPr id="16573" name="Freeform: Shape 16572">
                  <a:extLst>
                    <a:ext uri="{FF2B5EF4-FFF2-40B4-BE49-F238E27FC236}">
                      <a16:creationId xmlns:a16="http://schemas.microsoft.com/office/drawing/2014/main" id="{0E497BC6-4D65-115B-9DF5-F0871FFC1E54}"/>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4" name="Freeform: Shape 16573">
                  <a:extLst>
                    <a:ext uri="{FF2B5EF4-FFF2-40B4-BE49-F238E27FC236}">
                      <a16:creationId xmlns:a16="http://schemas.microsoft.com/office/drawing/2014/main" id="{3BEEB6C7-5486-3F6A-67B5-D964651F8225}"/>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1" name="Graphic 1391">
                <a:extLst>
                  <a:ext uri="{FF2B5EF4-FFF2-40B4-BE49-F238E27FC236}">
                    <a16:creationId xmlns:a16="http://schemas.microsoft.com/office/drawing/2014/main" id="{34B8B0AA-DFB1-D379-2890-9D1F17DD80CE}"/>
                  </a:ext>
                </a:extLst>
              </p:cNvPr>
              <p:cNvGrpSpPr/>
              <p:nvPr/>
            </p:nvGrpSpPr>
            <p:grpSpPr>
              <a:xfrm>
                <a:off x="4521517" y="2956369"/>
                <a:ext cx="75723" cy="75628"/>
                <a:chOff x="4521517" y="2956369"/>
                <a:chExt cx="75723" cy="75628"/>
              </a:xfrm>
            </p:grpSpPr>
            <p:sp>
              <p:nvSpPr>
                <p:cNvPr id="16571" name="Freeform: Shape 16570">
                  <a:extLst>
                    <a:ext uri="{FF2B5EF4-FFF2-40B4-BE49-F238E27FC236}">
                      <a16:creationId xmlns:a16="http://schemas.microsoft.com/office/drawing/2014/main" id="{C2069792-731D-489F-F87B-0C229B919761}"/>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2" name="Freeform: Shape 16571">
                  <a:extLst>
                    <a:ext uri="{FF2B5EF4-FFF2-40B4-BE49-F238E27FC236}">
                      <a16:creationId xmlns:a16="http://schemas.microsoft.com/office/drawing/2014/main" id="{286D3D14-0968-98C0-005A-CDC5F9151D97}"/>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2" name="Graphic 1391">
                <a:extLst>
                  <a:ext uri="{FF2B5EF4-FFF2-40B4-BE49-F238E27FC236}">
                    <a16:creationId xmlns:a16="http://schemas.microsoft.com/office/drawing/2014/main" id="{314509B5-C15E-4A4C-F0D1-B362337DBD1C}"/>
                  </a:ext>
                </a:extLst>
              </p:cNvPr>
              <p:cNvGrpSpPr/>
              <p:nvPr/>
            </p:nvGrpSpPr>
            <p:grpSpPr>
              <a:xfrm>
                <a:off x="4195286" y="2825210"/>
                <a:ext cx="75628" cy="75628"/>
                <a:chOff x="4195286" y="2825210"/>
                <a:chExt cx="75628" cy="75628"/>
              </a:xfrm>
            </p:grpSpPr>
            <p:sp>
              <p:nvSpPr>
                <p:cNvPr id="16569" name="Freeform: Shape 16568">
                  <a:extLst>
                    <a:ext uri="{FF2B5EF4-FFF2-40B4-BE49-F238E27FC236}">
                      <a16:creationId xmlns:a16="http://schemas.microsoft.com/office/drawing/2014/main" id="{1544A4EE-E84A-83B4-1B38-4DDBAF3F0652}"/>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0" name="Freeform: Shape 16569">
                  <a:extLst>
                    <a:ext uri="{FF2B5EF4-FFF2-40B4-BE49-F238E27FC236}">
                      <a16:creationId xmlns:a16="http://schemas.microsoft.com/office/drawing/2014/main" id="{952FF0EF-E9A5-AA72-2698-2E5B319AF9E3}"/>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3" name="Graphic 1391">
                <a:extLst>
                  <a:ext uri="{FF2B5EF4-FFF2-40B4-BE49-F238E27FC236}">
                    <a16:creationId xmlns:a16="http://schemas.microsoft.com/office/drawing/2014/main" id="{74CA1FBD-8E92-58A6-A307-4BDC9BAEE7F9}"/>
                  </a:ext>
                </a:extLst>
              </p:cNvPr>
              <p:cNvGrpSpPr/>
              <p:nvPr/>
            </p:nvGrpSpPr>
            <p:grpSpPr>
              <a:xfrm>
                <a:off x="3800475" y="2590800"/>
                <a:ext cx="75723" cy="75723"/>
                <a:chOff x="3800475" y="2590800"/>
                <a:chExt cx="75723" cy="75723"/>
              </a:xfrm>
            </p:grpSpPr>
            <p:sp>
              <p:nvSpPr>
                <p:cNvPr id="16567" name="Freeform: Shape 16566">
                  <a:extLst>
                    <a:ext uri="{FF2B5EF4-FFF2-40B4-BE49-F238E27FC236}">
                      <a16:creationId xmlns:a16="http://schemas.microsoft.com/office/drawing/2014/main" id="{26313C3D-995B-837F-52F5-88B0CC0AD781}"/>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8" name="Freeform: Shape 16567">
                  <a:extLst>
                    <a:ext uri="{FF2B5EF4-FFF2-40B4-BE49-F238E27FC236}">
                      <a16:creationId xmlns:a16="http://schemas.microsoft.com/office/drawing/2014/main" id="{DD9B8320-2F28-29D9-3E3F-913E62CD9E6E}"/>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4" name="Graphic 1391">
                <a:extLst>
                  <a:ext uri="{FF2B5EF4-FFF2-40B4-BE49-F238E27FC236}">
                    <a16:creationId xmlns:a16="http://schemas.microsoft.com/office/drawing/2014/main" id="{991F3ADE-B2C2-FA6E-8C53-7FCC79D51BA3}"/>
                  </a:ext>
                </a:extLst>
              </p:cNvPr>
              <p:cNvGrpSpPr/>
              <p:nvPr/>
            </p:nvGrpSpPr>
            <p:grpSpPr>
              <a:xfrm>
                <a:off x="5280564" y="3536918"/>
                <a:ext cx="75723" cy="75723"/>
                <a:chOff x="5280564" y="3536918"/>
                <a:chExt cx="75723" cy="75723"/>
              </a:xfrm>
            </p:grpSpPr>
            <p:sp>
              <p:nvSpPr>
                <p:cNvPr id="16565" name="Freeform: Shape 16564">
                  <a:extLst>
                    <a:ext uri="{FF2B5EF4-FFF2-40B4-BE49-F238E27FC236}">
                      <a16:creationId xmlns:a16="http://schemas.microsoft.com/office/drawing/2014/main" id="{69F74947-90F2-1032-FC38-0F6491890344}"/>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6" name="Freeform: Shape 16565">
                  <a:extLst>
                    <a:ext uri="{FF2B5EF4-FFF2-40B4-BE49-F238E27FC236}">
                      <a16:creationId xmlns:a16="http://schemas.microsoft.com/office/drawing/2014/main" id="{212541B2-CB1B-F34E-65CC-B7E0D43A51DA}"/>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5" name="Graphic 1391">
                <a:extLst>
                  <a:ext uri="{FF2B5EF4-FFF2-40B4-BE49-F238E27FC236}">
                    <a16:creationId xmlns:a16="http://schemas.microsoft.com/office/drawing/2014/main" id="{1D032FD6-80F7-CF58-A0E5-E412EAD45630}"/>
                  </a:ext>
                </a:extLst>
              </p:cNvPr>
              <p:cNvGrpSpPr/>
              <p:nvPr/>
            </p:nvGrpSpPr>
            <p:grpSpPr>
              <a:xfrm>
                <a:off x="5298852" y="3536918"/>
                <a:ext cx="75723" cy="75723"/>
                <a:chOff x="5298852" y="3536918"/>
                <a:chExt cx="75723" cy="75723"/>
              </a:xfrm>
            </p:grpSpPr>
            <p:sp>
              <p:nvSpPr>
                <p:cNvPr id="16563" name="Freeform: Shape 16562">
                  <a:extLst>
                    <a:ext uri="{FF2B5EF4-FFF2-40B4-BE49-F238E27FC236}">
                      <a16:creationId xmlns:a16="http://schemas.microsoft.com/office/drawing/2014/main" id="{74ABA6C9-00DC-BF4B-72F6-97D6797D0136}"/>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4" name="Freeform: Shape 16563">
                  <a:extLst>
                    <a:ext uri="{FF2B5EF4-FFF2-40B4-BE49-F238E27FC236}">
                      <a16:creationId xmlns:a16="http://schemas.microsoft.com/office/drawing/2014/main" id="{21D38228-0F05-F78A-767E-A56B30ED6552}"/>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6" name="Graphic 1391">
                <a:extLst>
                  <a:ext uri="{FF2B5EF4-FFF2-40B4-BE49-F238E27FC236}">
                    <a16:creationId xmlns:a16="http://schemas.microsoft.com/office/drawing/2014/main" id="{2811DF1C-750C-1AB8-9B6E-B37669979012}"/>
                  </a:ext>
                </a:extLst>
              </p:cNvPr>
              <p:cNvGrpSpPr/>
              <p:nvPr/>
            </p:nvGrpSpPr>
            <p:grpSpPr>
              <a:xfrm>
                <a:off x="5305044" y="3573018"/>
                <a:ext cx="75723" cy="75628"/>
                <a:chOff x="5305044" y="3573018"/>
                <a:chExt cx="75723" cy="75628"/>
              </a:xfrm>
            </p:grpSpPr>
            <p:sp>
              <p:nvSpPr>
                <p:cNvPr id="16561" name="Freeform: Shape 16560">
                  <a:extLst>
                    <a:ext uri="{FF2B5EF4-FFF2-40B4-BE49-F238E27FC236}">
                      <a16:creationId xmlns:a16="http://schemas.microsoft.com/office/drawing/2014/main" id="{3C62A187-85BB-DABB-37DE-66C37B7F28E9}"/>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2" name="Freeform: Shape 16561">
                  <a:extLst>
                    <a:ext uri="{FF2B5EF4-FFF2-40B4-BE49-F238E27FC236}">
                      <a16:creationId xmlns:a16="http://schemas.microsoft.com/office/drawing/2014/main" id="{B4E8F1EB-487C-5847-4555-B538AC855B51}"/>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7" name="Graphic 1391">
                <a:extLst>
                  <a:ext uri="{FF2B5EF4-FFF2-40B4-BE49-F238E27FC236}">
                    <a16:creationId xmlns:a16="http://schemas.microsoft.com/office/drawing/2014/main" id="{6873A37A-1771-2551-5CED-CED51F232892}"/>
                  </a:ext>
                </a:extLst>
              </p:cNvPr>
              <p:cNvGrpSpPr/>
              <p:nvPr/>
            </p:nvGrpSpPr>
            <p:grpSpPr>
              <a:xfrm>
                <a:off x="5314473" y="3585114"/>
                <a:ext cx="75723" cy="75723"/>
                <a:chOff x="5314473" y="3585114"/>
                <a:chExt cx="75723" cy="75723"/>
              </a:xfrm>
            </p:grpSpPr>
            <p:sp>
              <p:nvSpPr>
                <p:cNvPr id="16559" name="Freeform: Shape 16558">
                  <a:extLst>
                    <a:ext uri="{FF2B5EF4-FFF2-40B4-BE49-F238E27FC236}">
                      <a16:creationId xmlns:a16="http://schemas.microsoft.com/office/drawing/2014/main" id="{D38A2B29-C39A-62EC-CD99-83398216758A}"/>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0" name="Freeform: Shape 16559">
                  <a:extLst>
                    <a:ext uri="{FF2B5EF4-FFF2-40B4-BE49-F238E27FC236}">
                      <a16:creationId xmlns:a16="http://schemas.microsoft.com/office/drawing/2014/main" id="{060DF055-ED54-71D0-8528-8A51FCEDD12E}"/>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8" name="Graphic 1391">
                <a:extLst>
                  <a:ext uri="{FF2B5EF4-FFF2-40B4-BE49-F238E27FC236}">
                    <a16:creationId xmlns:a16="http://schemas.microsoft.com/office/drawing/2014/main" id="{C79AC9C8-D5E8-8787-CD3C-F8D604D70046}"/>
                  </a:ext>
                </a:extLst>
              </p:cNvPr>
              <p:cNvGrpSpPr/>
              <p:nvPr/>
            </p:nvGrpSpPr>
            <p:grpSpPr>
              <a:xfrm>
                <a:off x="5328380" y="3585114"/>
                <a:ext cx="75723" cy="75723"/>
                <a:chOff x="5328380" y="3585114"/>
                <a:chExt cx="75723" cy="75723"/>
              </a:xfrm>
            </p:grpSpPr>
            <p:sp>
              <p:nvSpPr>
                <p:cNvPr id="16557" name="Freeform: Shape 16556">
                  <a:extLst>
                    <a:ext uri="{FF2B5EF4-FFF2-40B4-BE49-F238E27FC236}">
                      <a16:creationId xmlns:a16="http://schemas.microsoft.com/office/drawing/2014/main" id="{0F4212A2-55F6-BFDD-74A8-F977BB614076}"/>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8" name="Freeform: Shape 16557">
                  <a:extLst>
                    <a:ext uri="{FF2B5EF4-FFF2-40B4-BE49-F238E27FC236}">
                      <a16:creationId xmlns:a16="http://schemas.microsoft.com/office/drawing/2014/main" id="{3B02281E-A738-7FDE-4BF3-1461348EC2B7}"/>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9" name="Graphic 1391">
                <a:extLst>
                  <a:ext uri="{FF2B5EF4-FFF2-40B4-BE49-F238E27FC236}">
                    <a16:creationId xmlns:a16="http://schemas.microsoft.com/office/drawing/2014/main" id="{9C139E18-F275-D9E5-8611-EEB93EF32EE1}"/>
                  </a:ext>
                </a:extLst>
              </p:cNvPr>
              <p:cNvGrpSpPr/>
              <p:nvPr/>
            </p:nvGrpSpPr>
            <p:grpSpPr>
              <a:xfrm>
                <a:off x="5342382" y="3585114"/>
                <a:ext cx="75628" cy="75723"/>
                <a:chOff x="5342382" y="3585114"/>
                <a:chExt cx="75628" cy="75723"/>
              </a:xfrm>
            </p:grpSpPr>
            <p:sp>
              <p:nvSpPr>
                <p:cNvPr id="16555" name="Freeform: Shape 16554">
                  <a:extLst>
                    <a:ext uri="{FF2B5EF4-FFF2-40B4-BE49-F238E27FC236}">
                      <a16:creationId xmlns:a16="http://schemas.microsoft.com/office/drawing/2014/main" id="{965EE43A-9406-54CB-3258-48224228F453}"/>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6" name="Freeform: Shape 16555">
                  <a:extLst>
                    <a:ext uri="{FF2B5EF4-FFF2-40B4-BE49-F238E27FC236}">
                      <a16:creationId xmlns:a16="http://schemas.microsoft.com/office/drawing/2014/main" id="{2272617B-68A2-2624-379F-728D14B6DF6C}"/>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0" name="Graphic 1391">
                <a:extLst>
                  <a:ext uri="{FF2B5EF4-FFF2-40B4-BE49-F238E27FC236}">
                    <a16:creationId xmlns:a16="http://schemas.microsoft.com/office/drawing/2014/main" id="{7CBFF72D-A845-7E2F-4082-40C24EC1711B}"/>
                  </a:ext>
                </a:extLst>
              </p:cNvPr>
              <p:cNvGrpSpPr/>
              <p:nvPr/>
            </p:nvGrpSpPr>
            <p:grpSpPr>
              <a:xfrm>
                <a:off x="5356288" y="3585114"/>
                <a:ext cx="75723" cy="75723"/>
                <a:chOff x="5356288" y="3585114"/>
                <a:chExt cx="75723" cy="75723"/>
              </a:xfrm>
            </p:grpSpPr>
            <p:sp>
              <p:nvSpPr>
                <p:cNvPr id="16553" name="Freeform: Shape 16552">
                  <a:extLst>
                    <a:ext uri="{FF2B5EF4-FFF2-40B4-BE49-F238E27FC236}">
                      <a16:creationId xmlns:a16="http://schemas.microsoft.com/office/drawing/2014/main" id="{473BE78C-793C-C59D-6B31-A8B2193F6F95}"/>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4" name="Freeform: Shape 16553">
                  <a:extLst>
                    <a:ext uri="{FF2B5EF4-FFF2-40B4-BE49-F238E27FC236}">
                      <a16:creationId xmlns:a16="http://schemas.microsoft.com/office/drawing/2014/main" id="{9CDFCAD5-EB28-E6D6-BF20-5F3206BAB2AD}"/>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1" name="Graphic 1391">
                <a:extLst>
                  <a:ext uri="{FF2B5EF4-FFF2-40B4-BE49-F238E27FC236}">
                    <a16:creationId xmlns:a16="http://schemas.microsoft.com/office/drawing/2014/main" id="{84F78798-A9D8-38DD-7DE2-BC9FD410F31B}"/>
                  </a:ext>
                </a:extLst>
              </p:cNvPr>
              <p:cNvGrpSpPr/>
              <p:nvPr/>
            </p:nvGrpSpPr>
            <p:grpSpPr>
              <a:xfrm>
                <a:off x="5671566" y="3726180"/>
                <a:ext cx="75723" cy="75723"/>
                <a:chOff x="5671566" y="3726180"/>
                <a:chExt cx="75723" cy="75723"/>
              </a:xfrm>
            </p:grpSpPr>
            <p:sp>
              <p:nvSpPr>
                <p:cNvPr id="16551" name="Freeform: Shape 16550">
                  <a:extLst>
                    <a:ext uri="{FF2B5EF4-FFF2-40B4-BE49-F238E27FC236}">
                      <a16:creationId xmlns:a16="http://schemas.microsoft.com/office/drawing/2014/main" id="{160AA855-8AED-9FD1-0221-A84A48EB46EF}"/>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2" name="Freeform: Shape 16551">
                  <a:extLst>
                    <a:ext uri="{FF2B5EF4-FFF2-40B4-BE49-F238E27FC236}">
                      <a16:creationId xmlns:a16="http://schemas.microsoft.com/office/drawing/2014/main" id="{AA994D1A-C065-B506-464D-DFC1D51325DD}"/>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2" name="Graphic 1391">
                <a:extLst>
                  <a:ext uri="{FF2B5EF4-FFF2-40B4-BE49-F238E27FC236}">
                    <a16:creationId xmlns:a16="http://schemas.microsoft.com/office/drawing/2014/main" id="{1CDB92B5-4840-6852-0D54-77786D3CAB60}"/>
                  </a:ext>
                </a:extLst>
              </p:cNvPr>
              <p:cNvGrpSpPr/>
              <p:nvPr/>
            </p:nvGrpSpPr>
            <p:grpSpPr>
              <a:xfrm>
                <a:off x="5682900" y="3735514"/>
                <a:ext cx="75723" cy="75723"/>
                <a:chOff x="5682900" y="3735514"/>
                <a:chExt cx="75723" cy="75723"/>
              </a:xfrm>
            </p:grpSpPr>
            <p:sp>
              <p:nvSpPr>
                <p:cNvPr id="16549" name="Freeform: Shape 16548">
                  <a:extLst>
                    <a:ext uri="{FF2B5EF4-FFF2-40B4-BE49-F238E27FC236}">
                      <a16:creationId xmlns:a16="http://schemas.microsoft.com/office/drawing/2014/main" id="{84E37BA4-42DE-29AD-C398-CAEDCFA140A8}"/>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0" name="Freeform: Shape 16549">
                  <a:extLst>
                    <a:ext uri="{FF2B5EF4-FFF2-40B4-BE49-F238E27FC236}">
                      <a16:creationId xmlns:a16="http://schemas.microsoft.com/office/drawing/2014/main" id="{CF329228-9EC4-AF03-2CED-8A74B0A04881}"/>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3" name="Graphic 1391">
                <a:extLst>
                  <a:ext uri="{FF2B5EF4-FFF2-40B4-BE49-F238E27FC236}">
                    <a16:creationId xmlns:a16="http://schemas.microsoft.com/office/drawing/2014/main" id="{7060D3E6-C84F-2349-6E8C-818A918F29DC}"/>
                  </a:ext>
                </a:extLst>
              </p:cNvPr>
              <p:cNvGrpSpPr/>
              <p:nvPr/>
            </p:nvGrpSpPr>
            <p:grpSpPr>
              <a:xfrm>
                <a:off x="5692235" y="3735514"/>
                <a:ext cx="75723" cy="75723"/>
                <a:chOff x="5692235" y="3735514"/>
                <a:chExt cx="75723" cy="75723"/>
              </a:xfrm>
            </p:grpSpPr>
            <p:sp>
              <p:nvSpPr>
                <p:cNvPr id="16547" name="Freeform: Shape 16546">
                  <a:extLst>
                    <a:ext uri="{FF2B5EF4-FFF2-40B4-BE49-F238E27FC236}">
                      <a16:creationId xmlns:a16="http://schemas.microsoft.com/office/drawing/2014/main" id="{A5D6EB36-0FEC-CA7F-ED50-D54A60925753}"/>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8" name="Freeform: Shape 16547">
                  <a:extLst>
                    <a:ext uri="{FF2B5EF4-FFF2-40B4-BE49-F238E27FC236}">
                      <a16:creationId xmlns:a16="http://schemas.microsoft.com/office/drawing/2014/main" id="{27950D0C-8BA2-E215-A1A6-E8EFD801C84F}"/>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4" name="Graphic 1391">
                <a:extLst>
                  <a:ext uri="{FF2B5EF4-FFF2-40B4-BE49-F238E27FC236}">
                    <a16:creationId xmlns:a16="http://schemas.microsoft.com/office/drawing/2014/main" id="{4C6047B4-70D4-DDBC-19F1-21525D16B0EF}"/>
                  </a:ext>
                </a:extLst>
              </p:cNvPr>
              <p:cNvGrpSpPr/>
              <p:nvPr/>
            </p:nvGrpSpPr>
            <p:grpSpPr>
              <a:xfrm>
                <a:off x="7189470" y="4189952"/>
                <a:ext cx="75723" cy="75723"/>
                <a:chOff x="7189470" y="4189952"/>
                <a:chExt cx="75723" cy="75723"/>
              </a:xfrm>
            </p:grpSpPr>
            <p:sp>
              <p:nvSpPr>
                <p:cNvPr id="16545" name="Freeform: Shape 16544">
                  <a:extLst>
                    <a:ext uri="{FF2B5EF4-FFF2-40B4-BE49-F238E27FC236}">
                      <a16:creationId xmlns:a16="http://schemas.microsoft.com/office/drawing/2014/main" id="{542D722C-36B4-EA6A-A040-0FB0BF85F158}"/>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6" name="Freeform: Shape 16545">
                  <a:extLst>
                    <a:ext uri="{FF2B5EF4-FFF2-40B4-BE49-F238E27FC236}">
                      <a16:creationId xmlns:a16="http://schemas.microsoft.com/office/drawing/2014/main" id="{9B9582E7-FDFC-649D-271E-28A2DCAEF69E}"/>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482" name="Freeform: Shape 16481">
              <a:extLst>
                <a:ext uri="{FF2B5EF4-FFF2-40B4-BE49-F238E27FC236}">
                  <a16:creationId xmlns:a16="http://schemas.microsoft.com/office/drawing/2014/main" id="{9F7CCA5C-05B1-94EE-5C57-C46C059F8294}"/>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7" name="Group 15696" hidden="1">
            <a:extLst>
              <a:ext uri="{FF2B5EF4-FFF2-40B4-BE49-F238E27FC236}">
                <a16:creationId xmlns:a16="http://schemas.microsoft.com/office/drawing/2014/main" id="{7B0DF925-A97B-3CDA-5EEC-56D22BB03786}"/>
              </a:ext>
            </a:extLst>
          </p:cNvPr>
          <p:cNvGrpSpPr/>
          <p:nvPr/>
        </p:nvGrpSpPr>
        <p:grpSpPr>
          <a:xfrm>
            <a:off x="670502" y="1444605"/>
            <a:ext cx="6833677" cy="2159001"/>
            <a:chOff x="3486150" y="2509837"/>
            <a:chExt cx="5217128" cy="1841658"/>
          </a:xfrm>
        </p:grpSpPr>
        <p:grpSp>
          <p:nvGrpSpPr>
            <p:cNvPr id="15967" name="Graphic 745">
              <a:extLst>
                <a:ext uri="{FF2B5EF4-FFF2-40B4-BE49-F238E27FC236}">
                  <a16:creationId xmlns:a16="http://schemas.microsoft.com/office/drawing/2014/main" id="{CFB0CD08-1AA0-A4D7-22BC-FF7D43BE0CDF}"/>
                </a:ext>
              </a:extLst>
            </p:cNvPr>
            <p:cNvGrpSpPr/>
            <p:nvPr/>
          </p:nvGrpSpPr>
          <p:grpSpPr>
            <a:xfrm>
              <a:off x="3486150" y="2509837"/>
              <a:ext cx="5217128" cy="1841658"/>
              <a:chOff x="3486150" y="2509837"/>
              <a:chExt cx="5217128" cy="1841658"/>
            </a:xfrm>
          </p:grpSpPr>
          <p:grpSp>
            <p:nvGrpSpPr>
              <p:cNvPr id="15969" name="Graphic 745">
                <a:extLst>
                  <a:ext uri="{FF2B5EF4-FFF2-40B4-BE49-F238E27FC236}">
                    <a16:creationId xmlns:a16="http://schemas.microsoft.com/office/drawing/2014/main" id="{C4FED823-FDA3-B65A-3F2A-ECAFC18A2DDB}"/>
                  </a:ext>
                </a:extLst>
              </p:cNvPr>
              <p:cNvGrpSpPr/>
              <p:nvPr/>
            </p:nvGrpSpPr>
            <p:grpSpPr>
              <a:xfrm>
                <a:off x="8627554" y="4275772"/>
                <a:ext cx="75723" cy="75723"/>
                <a:chOff x="8627554" y="4275772"/>
                <a:chExt cx="75723" cy="75723"/>
              </a:xfrm>
            </p:grpSpPr>
            <p:sp>
              <p:nvSpPr>
                <p:cNvPr id="16276" name="Freeform: Shape 16275">
                  <a:extLst>
                    <a:ext uri="{FF2B5EF4-FFF2-40B4-BE49-F238E27FC236}">
                      <a16:creationId xmlns:a16="http://schemas.microsoft.com/office/drawing/2014/main" id="{BEBB1F6F-4670-53CC-625C-621F973AD8CE}"/>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7" name="Freeform: Shape 16276">
                  <a:extLst>
                    <a:ext uri="{FF2B5EF4-FFF2-40B4-BE49-F238E27FC236}">
                      <a16:creationId xmlns:a16="http://schemas.microsoft.com/office/drawing/2014/main" id="{D4B3C745-D8B2-A734-D596-75FC1991D854}"/>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0" name="Graphic 745">
                <a:extLst>
                  <a:ext uri="{FF2B5EF4-FFF2-40B4-BE49-F238E27FC236}">
                    <a16:creationId xmlns:a16="http://schemas.microsoft.com/office/drawing/2014/main" id="{2C6A6504-D576-43A4-F3B2-65EE0D2DAF46}"/>
                  </a:ext>
                </a:extLst>
              </p:cNvPr>
              <p:cNvGrpSpPr/>
              <p:nvPr/>
            </p:nvGrpSpPr>
            <p:grpSpPr>
              <a:xfrm>
                <a:off x="8617458" y="4275772"/>
                <a:ext cx="75628" cy="75723"/>
                <a:chOff x="8617458" y="4275772"/>
                <a:chExt cx="75628" cy="75723"/>
              </a:xfrm>
            </p:grpSpPr>
            <p:sp>
              <p:nvSpPr>
                <p:cNvPr id="16274" name="Freeform: Shape 16273">
                  <a:extLst>
                    <a:ext uri="{FF2B5EF4-FFF2-40B4-BE49-F238E27FC236}">
                      <a16:creationId xmlns:a16="http://schemas.microsoft.com/office/drawing/2014/main" id="{BA212B27-70E4-38EF-F4A4-E167BBA11D38}"/>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5" name="Freeform: Shape 16274">
                  <a:extLst>
                    <a:ext uri="{FF2B5EF4-FFF2-40B4-BE49-F238E27FC236}">
                      <a16:creationId xmlns:a16="http://schemas.microsoft.com/office/drawing/2014/main" id="{4ECB77C2-A9A6-A9C0-9E3A-0254CD07A294}"/>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1" name="Graphic 745">
                <a:extLst>
                  <a:ext uri="{FF2B5EF4-FFF2-40B4-BE49-F238E27FC236}">
                    <a16:creationId xmlns:a16="http://schemas.microsoft.com/office/drawing/2014/main" id="{4BA075EB-8B30-EDB3-7D6C-CDA5AF142075}"/>
                  </a:ext>
                </a:extLst>
              </p:cNvPr>
              <p:cNvGrpSpPr/>
              <p:nvPr/>
            </p:nvGrpSpPr>
            <p:grpSpPr>
              <a:xfrm>
                <a:off x="8244268" y="4275772"/>
                <a:ext cx="75628" cy="75723"/>
                <a:chOff x="8244268" y="4275772"/>
                <a:chExt cx="75628" cy="75723"/>
              </a:xfrm>
            </p:grpSpPr>
            <p:sp>
              <p:nvSpPr>
                <p:cNvPr id="16272" name="Freeform: Shape 16271">
                  <a:extLst>
                    <a:ext uri="{FF2B5EF4-FFF2-40B4-BE49-F238E27FC236}">
                      <a16:creationId xmlns:a16="http://schemas.microsoft.com/office/drawing/2014/main" id="{EE3BEC80-6038-790A-673C-A6C35129DD98}"/>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3" name="Freeform: Shape 16272">
                  <a:extLst>
                    <a:ext uri="{FF2B5EF4-FFF2-40B4-BE49-F238E27FC236}">
                      <a16:creationId xmlns:a16="http://schemas.microsoft.com/office/drawing/2014/main" id="{EE19AE77-A62B-4ED9-E21A-57F39A7EFB86}"/>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2" name="Graphic 745">
                <a:extLst>
                  <a:ext uri="{FF2B5EF4-FFF2-40B4-BE49-F238E27FC236}">
                    <a16:creationId xmlns:a16="http://schemas.microsoft.com/office/drawing/2014/main" id="{8DF34C9A-8898-F887-0E28-8515DD747EDF}"/>
                  </a:ext>
                </a:extLst>
              </p:cNvPr>
              <p:cNvGrpSpPr/>
              <p:nvPr/>
            </p:nvGrpSpPr>
            <p:grpSpPr>
              <a:xfrm>
                <a:off x="8139684" y="4275772"/>
                <a:ext cx="75723" cy="75723"/>
                <a:chOff x="8139684" y="4275772"/>
                <a:chExt cx="75723" cy="75723"/>
              </a:xfrm>
            </p:grpSpPr>
            <p:sp>
              <p:nvSpPr>
                <p:cNvPr id="16270" name="Freeform: Shape 16269">
                  <a:extLst>
                    <a:ext uri="{FF2B5EF4-FFF2-40B4-BE49-F238E27FC236}">
                      <a16:creationId xmlns:a16="http://schemas.microsoft.com/office/drawing/2014/main" id="{DD0D6EE6-14BF-1620-40C1-4AC6A03044D2}"/>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1" name="Freeform: Shape 16270">
                  <a:extLst>
                    <a:ext uri="{FF2B5EF4-FFF2-40B4-BE49-F238E27FC236}">
                      <a16:creationId xmlns:a16="http://schemas.microsoft.com/office/drawing/2014/main" id="{CE78BD47-7F04-9BD7-8B7A-31EA384329CC}"/>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3" name="Graphic 745">
                <a:extLst>
                  <a:ext uri="{FF2B5EF4-FFF2-40B4-BE49-F238E27FC236}">
                    <a16:creationId xmlns:a16="http://schemas.microsoft.com/office/drawing/2014/main" id="{F38C70C3-7E1C-B8C2-264C-D9270D111121}"/>
                  </a:ext>
                </a:extLst>
              </p:cNvPr>
              <p:cNvGrpSpPr/>
              <p:nvPr/>
            </p:nvGrpSpPr>
            <p:grpSpPr>
              <a:xfrm>
                <a:off x="7737157" y="4275772"/>
                <a:ext cx="75723" cy="75723"/>
                <a:chOff x="7737157" y="4275772"/>
                <a:chExt cx="75723" cy="75723"/>
              </a:xfrm>
            </p:grpSpPr>
            <p:sp>
              <p:nvSpPr>
                <p:cNvPr id="16268" name="Freeform: Shape 16267">
                  <a:extLst>
                    <a:ext uri="{FF2B5EF4-FFF2-40B4-BE49-F238E27FC236}">
                      <a16:creationId xmlns:a16="http://schemas.microsoft.com/office/drawing/2014/main" id="{7D379188-8827-89E6-3334-F4CB9C677600}"/>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9" name="Freeform: Shape 16268">
                  <a:extLst>
                    <a:ext uri="{FF2B5EF4-FFF2-40B4-BE49-F238E27FC236}">
                      <a16:creationId xmlns:a16="http://schemas.microsoft.com/office/drawing/2014/main" id="{016E0A3F-5601-1D98-5190-6E934D1A7D26}"/>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4" name="Graphic 745">
                <a:extLst>
                  <a:ext uri="{FF2B5EF4-FFF2-40B4-BE49-F238E27FC236}">
                    <a16:creationId xmlns:a16="http://schemas.microsoft.com/office/drawing/2014/main" id="{0366CE49-8ED8-3B93-8E19-04CC37AC794A}"/>
                  </a:ext>
                </a:extLst>
              </p:cNvPr>
              <p:cNvGrpSpPr/>
              <p:nvPr/>
            </p:nvGrpSpPr>
            <p:grpSpPr>
              <a:xfrm>
                <a:off x="7382160" y="4275772"/>
                <a:ext cx="75628" cy="75723"/>
                <a:chOff x="7382160" y="4275772"/>
                <a:chExt cx="75628" cy="75723"/>
              </a:xfrm>
            </p:grpSpPr>
            <p:sp>
              <p:nvSpPr>
                <p:cNvPr id="16266" name="Freeform: Shape 16265">
                  <a:extLst>
                    <a:ext uri="{FF2B5EF4-FFF2-40B4-BE49-F238E27FC236}">
                      <a16:creationId xmlns:a16="http://schemas.microsoft.com/office/drawing/2014/main" id="{9DE45038-4C11-37AE-31EE-E3C3601E6380}"/>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7" name="Freeform: Shape 16266">
                  <a:extLst>
                    <a:ext uri="{FF2B5EF4-FFF2-40B4-BE49-F238E27FC236}">
                      <a16:creationId xmlns:a16="http://schemas.microsoft.com/office/drawing/2014/main" id="{F9BEF0F7-8A10-2820-A830-979BFDF9591F}"/>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5" name="Graphic 745">
                <a:extLst>
                  <a:ext uri="{FF2B5EF4-FFF2-40B4-BE49-F238E27FC236}">
                    <a16:creationId xmlns:a16="http://schemas.microsoft.com/office/drawing/2014/main" id="{CFCAA09B-06EF-62FD-BAFA-11B98811809A}"/>
                  </a:ext>
                </a:extLst>
              </p:cNvPr>
              <p:cNvGrpSpPr/>
              <p:nvPr/>
            </p:nvGrpSpPr>
            <p:grpSpPr>
              <a:xfrm>
                <a:off x="7337964" y="4242339"/>
                <a:ext cx="75723" cy="75723"/>
                <a:chOff x="7337964" y="4242339"/>
                <a:chExt cx="75723" cy="75723"/>
              </a:xfrm>
            </p:grpSpPr>
            <p:sp>
              <p:nvSpPr>
                <p:cNvPr id="16264" name="Freeform: Shape 16263">
                  <a:extLst>
                    <a:ext uri="{FF2B5EF4-FFF2-40B4-BE49-F238E27FC236}">
                      <a16:creationId xmlns:a16="http://schemas.microsoft.com/office/drawing/2014/main" id="{26D14837-2D79-6029-6286-C57B1058A9E1}"/>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5" name="Freeform: Shape 16264">
                  <a:extLst>
                    <a:ext uri="{FF2B5EF4-FFF2-40B4-BE49-F238E27FC236}">
                      <a16:creationId xmlns:a16="http://schemas.microsoft.com/office/drawing/2014/main" id="{4F9B2FD5-1771-498A-A325-634A4911C5E3}"/>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6" name="Graphic 745">
                <a:extLst>
                  <a:ext uri="{FF2B5EF4-FFF2-40B4-BE49-F238E27FC236}">
                    <a16:creationId xmlns:a16="http://schemas.microsoft.com/office/drawing/2014/main" id="{F274E0B3-B660-A2BB-0552-A59BA57D4CDE}"/>
                  </a:ext>
                </a:extLst>
              </p:cNvPr>
              <p:cNvGrpSpPr/>
              <p:nvPr/>
            </p:nvGrpSpPr>
            <p:grpSpPr>
              <a:xfrm>
                <a:off x="7347394" y="4242339"/>
                <a:ext cx="75628" cy="75723"/>
                <a:chOff x="7347394" y="4242339"/>
                <a:chExt cx="75628" cy="75723"/>
              </a:xfrm>
            </p:grpSpPr>
            <p:sp>
              <p:nvSpPr>
                <p:cNvPr id="16262" name="Freeform: Shape 16261">
                  <a:extLst>
                    <a:ext uri="{FF2B5EF4-FFF2-40B4-BE49-F238E27FC236}">
                      <a16:creationId xmlns:a16="http://schemas.microsoft.com/office/drawing/2014/main" id="{4C2027D0-114E-A2C1-A191-C449259B8342}"/>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3" name="Freeform: Shape 16262">
                  <a:extLst>
                    <a:ext uri="{FF2B5EF4-FFF2-40B4-BE49-F238E27FC236}">
                      <a16:creationId xmlns:a16="http://schemas.microsoft.com/office/drawing/2014/main" id="{AE2DB200-7B8B-9EA6-A82F-AB2AA193094D}"/>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7" name="Graphic 745">
                <a:extLst>
                  <a:ext uri="{FF2B5EF4-FFF2-40B4-BE49-F238E27FC236}">
                    <a16:creationId xmlns:a16="http://schemas.microsoft.com/office/drawing/2014/main" id="{83B95381-B759-E147-A032-3454ACAFE500}"/>
                  </a:ext>
                </a:extLst>
              </p:cNvPr>
              <p:cNvGrpSpPr/>
              <p:nvPr/>
            </p:nvGrpSpPr>
            <p:grpSpPr>
              <a:xfrm>
                <a:off x="7308151" y="4185284"/>
                <a:ext cx="75723" cy="75723"/>
                <a:chOff x="7308151" y="4185284"/>
                <a:chExt cx="75723" cy="75723"/>
              </a:xfrm>
            </p:grpSpPr>
            <p:sp>
              <p:nvSpPr>
                <p:cNvPr id="16260" name="Freeform: Shape 16259">
                  <a:extLst>
                    <a:ext uri="{FF2B5EF4-FFF2-40B4-BE49-F238E27FC236}">
                      <a16:creationId xmlns:a16="http://schemas.microsoft.com/office/drawing/2014/main" id="{81F1BEE2-D956-0A6D-E39A-5287792AEFFB}"/>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1" name="Freeform: Shape 16260">
                  <a:extLst>
                    <a:ext uri="{FF2B5EF4-FFF2-40B4-BE49-F238E27FC236}">
                      <a16:creationId xmlns:a16="http://schemas.microsoft.com/office/drawing/2014/main" id="{35352C99-C824-13D8-A642-3E4077FFB926}"/>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8" name="Graphic 745">
                <a:extLst>
                  <a:ext uri="{FF2B5EF4-FFF2-40B4-BE49-F238E27FC236}">
                    <a16:creationId xmlns:a16="http://schemas.microsoft.com/office/drawing/2014/main" id="{5D16AF85-7C5F-67B3-4881-1BD9BE58E454}"/>
                  </a:ext>
                </a:extLst>
              </p:cNvPr>
              <p:cNvGrpSpPr/>
              <p:nvPr/>
            </p:nvGrpSpPr>
            <p:grpSpPr>
              <a:xfrm>
                <a:off x="7319295" y="4185284"/>
                <a:ext cx="75628" cy="75723"/>
                <a:chOff x="7319295" y="4185284"/>
                <a:chExt cx="75628" cy="75723"/>
              </a:xfrm>
            </p:grpSpPr>
            <p:sp>
              <p:nvSpPr>
                <p:cNvPr id="16258" name="Freeform: Shape 16257">
                  <a:extLst>
                    <a:ext uri="{FF2B5EF4-FFF2-40B4-BE49-F238E27FC236}">
                      <a16:creationId xmlns:a16="http://schemas.microsoft.com/office/drawing/2014/main" id="{423B2FE7-FE16-1697-B630-B896FA5264A9}"/>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9" name="Freeform: Shape 16258">
                  <a:extLst>
                    <a:ext uri="{FF2B5EF4-FFF2-40B4-BE49-F238E27FC236}">
                      <a16:creationId xmlns:a16="http://schemas.microsoft.com/office/drawing/2014/main" id="{5A0349B5-A74B-322A-77DF-927638CC55F5}"/>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9" name="Graphic 745">
                <a:extLst>
                  <a:ext uri="{FF2B5EF4-FFF2-40B4-BE49-F238E27FC236}">
                    <a16:creationId xmlns:a16="http://schemas.microsoft.com/office/drawing/2014/main" id="{CD1B66BE-F59F-4EC1-1DEE-228816AC8FC1}"/>
                  </a:ext>
                </a:extLst>
              </p:cNvPr>
              <p:cNvGrpSpPr/>
              <p:nvPr/>
            </p:nvGrpSpPr>
            <p:grpSpPr>
              <a:xfrm>
                <a:off x="7330344" y="4185284"/>
                <a:ext cx="75723" cy="75723"/>
                <a:chOff x="7330344" y="4185284"/>
                <a:chExt cx="75723" cy="75723"/>
              </a:xfrm>
            </p:grpSpPr>
            <p:sp>
              <p:nvSpPr>
                <p:cNvPr id="16256" name="Freeform: Shape 16255">
                  <a:extLst>
                    <a:ext uri="{FF2B5EF4-FFF2-40B4-BE49-F238E27FC236}">
                      <a16:creationId xmlns:a16="http://schemas.microsoft.com/office/drawing/2014/main" id="{AA2006AE-6F20-4603-5875-F5353717FBA1}"/>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7" name="Freeform: Shape 16256">
                  <a:extLst>
                    <a:ext uri="{FF2B5EF4-FFF2-40B4-BE49-F238E27FC236}">
                      <a16:creationId xmlns:a16="http://schemas.microsoft.com/office/drawing/2014/main" id="{D907FF2A-0926-F04A-0471-3FE66111A19E}"/>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0" name="Graphic 745">
                <a:extLst>
                  <a:ext uri="{FF2B5EF4-FFF2-40B4-BE49-F238E27FC236}">
                    <a16:creationId xmlns:a16="http://schemas.microsoft.com/office/drawing/2014/main" id="{CD8D3B57-9F21-93FD-94E2-0D2EB5170BD6}"/>
                  </a:ext>
                </a:extLst>
              </p:cNvPr>
              <p:cNvGrpSpPr/>
              <p:nvPr/>
            </p:nvGrpSpPr>
            <p:grpSpPr>
              <a:xfrm>
                <a:off x="7009923" y="4185284"/>
                <a:ext cx="75723" cy="75723"/>
                <a:chOff x="7009923" y="4185284"/>
                <a:chExt cx="75723" cy="75723"/>
              </a:xfrm>
            </p:grpSpPr>
            <p:sp>
              <p:nvSpPr>
                <p:cNvPr id="16254" name="Freeform: Shape 16253">
                  <a:extLst>
                    <a:ext uri="{FF2B5EF4-FFF2-40B4-BE49-F238E27FC236}">
                      <a16:creationId xmlns:a16="http://schemas.microsoft.com/office/drawing/2014/main" id="{665D3731-02D1-C591-B74C-B9527097CB1D}"/>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5" name="Freeform: Shape 16254">
                  <a:extLst>
                    <a:ext uri="{FF2B5EF4-FFF2-40B4-BE49-F238E27FC236}">
                      <a16:creationId xmlns:a16="http://schemas.microsoft.com/office/drawing/2014/main" id="{BA82DF6A-A2AF-4EE5-084F-77BA166B25C7}"/>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1" name="Graphic 745">
                <a:extLst>
                  <a:ext uri="{FF2B5EF4-FFF2-40B4-BE49-F238E27FC236}">
                    <a16:creationId xmlns:a16="http://schemas.microsoft.com/office/drawing/2014/main" id="{5AA68D51-A539-1BCA-640C-C512945B8E16}"/>
                  </a:ext>
                </a:extLst>
              </p:cNvPr>
              <p:cNvGrpSpPr/>
              <p:nvPr/>
            </p:nvGrpSpPr>
            <p:grpSpPr>
              <a:xfrm>
                <a:off x="7021068" y="4185284"/>
                <a:ext cx="75628" cy="75723"/>
                <a:chOff x="7021068" y="4185284"/>
                <a:chExt cx="75628" cy="75723"/>
              </a:xfrm>
            </p:grpSpPr>
            <p:sp>
              <p:nvSpPr>
                <p:cNvPr id="16252" name="Freeform: Shape 16251">
                  <a:extLst>
                    <a:ext uri="{FF2B5EF4-FFF2-40B4-BE49-F238E27FC236}">
                      <a16:creationId xmlns:a16="http://schemas.microsoft.com/office/drawing/2014/main" id="{84484112-C79A-3A2C-7224-77B4FCB95EE0}"/>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3" name="Freeform: Shape 16252">
                  <a:extLst>
                    <a:ext uri="{FF2B5EF4-FFF2-40B4-BE49-F238E27FC236}">
                      <a16:creationId xmlns:a16="http://schemas.microsoft.com/office/drawing/2014/main" id="{736F0C91-29EC-8A34-A3D8-B85A5CAA983C}"/>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2" name="Graphic 745">
                <a:extLst>
                  <a:ext uri="{FF2B5EF4-FFF2-40B4-BE49-F238E27FC236}">
                    <a16:creationId xmlns:a16="http://schemas.microsoft.com/office/drawing/2014/main" id="{C50D111A-58EF-A201-A41E-1753B96A3160}"/>
                  </a:ext>
                </a:extLst>
              </p:cNvPr>
              <p:cNvGrpSpPr/>
              <p:nvPr/>
            </p:nvGrpSpPr>
            <p:grpSpPr>
              <a:xfrm>
                <a:off x="6889051" y="4071937"/>
                <a:ext cx="75628" cy="75723"/>
                <a:chOff x="6889051" y="4071937"/>
                <a:chExt cx="75628" cy="75723"/>
              </a:xfrm>
            </p:grpSpPr>
            <p:sp>
              <p:nvSpPr>
                <p:cNvPr id="16250" name="Freeform: Shape 16249">
                  <a:extLst>
                    <a:ext uri="{FF2B5EF4-FFF2-40B4-BE49-F238E27FC236}">
                      <a16:creationId xmlns:a16="http://schemas.microsoft.com/office/drawing/2014/main" id="{F842197D-7DB2-03F8-954D-28647136D69C}"/>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1" name="Freeform: Shape 16250">
                  <a:extLst>
                    <a:ext uri="{FF2B5EF4-FFF2-40B4-BE49-F238E27FC236}">
                      <a16:creationId xmlns:a16="http://schemas.microsoft.com/office/drawing/2014/main" id="{9A9F1D95-F402-138B-E3F7-A8FE52FC87D3}"/>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3" name="Graphic 745">
                <a:extLst>
                  <a:ext uri="{FF2B5EF4-FFF2-40B4-BE49-F238E27FC236}">
                    <a16:creationId xmlns:a16="http://schemas.microsoft.com/office/drawing/2014/main" id="{EC133863-8AB9-C1D2-9852-757F8A6D4C64}"/>
                  </a:ext>
                </a:extLst>
              </p:cNvPr>
              <p:cNvGrpSpPr/>
              <p:nvPr/>
            </p:nvGrpSpPr>
            <p:grpSpPr>
              <a:xfrm>
                <a:off x="6786372" y="4071937"/>
                <a:ext cx="75723" cy="75723"/>
                <a:chOff x="6786372" y="4071937"/>
                <a:chExt cx="75723" cy="75723"/>
              </a:xfrm>
            </p:grpSpPr>
            <p:sp>
              <p:nvSpPr>
                <p:cNvPr id="16248" name="Freeform: Shape 16247">
                  <a:extLst>
                    <a:ext uri="{FF2B5EF4-FFF2-40B4-BE49-F238E27FC236}">
                      <a16:creationId xmlns:a16="http://schemas.microsoft.com/office/drawing/2014/main" id="{A7528CAB-B54A-F883-EE7C-E9F56F3C0A40}"/>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9" name="Freeform: Shape 16248">
                  <a:extLst>
                    <a:ext uri="{FF2B5EF4-FFF2-40B4-BE49-F238E27FC236}">
                      <a16:creationId xmlns:a16="http://schemas.microsoft.com/office/drawing/2014/main" id="{DF9F1C30-E6AB-E420-2C41-9D4DB27C8A09}"/>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4" name="Graphic 745">
                <a:extLst>
                  <a:ext uri="{FF2B5EF4-FFF2-40B4-BE49-F238E27FC236}">
                    <a16:creationId xmlns:a16="http://schemas.microsoft.com/office/drawing/2014/main" id="{3B7887C1-64EA-5887-A297-62DBACE8F10F}"/>
                  </a:ext>
                </a:extLst>
              </p:cNvPr>
              <p:cNvGrpSpPr/>
              <p:nvPr/>
            </p:nvGrpSpPr>
            <p:grpSpPr>
              <a:xfrm>
                <a:off x="6533864" y="4050886"/>
                <a:ext cx="75723" cy="75628"/>
                <a:chOff x="6533864" y="4050886"/>
                <a:chExt cx="75723" cy="75628"/>
              </a:xfrm>
            </p:grpSpPr>
            <p:sp>
              <p:nvSpPr>
                <p:cNvPr id="16246" name="Freeform: Shape 16245">
                  <a:extLst>
                    <a:ext uri="{FF2B5EF4-FFF2-40B4-BE49-F238E27FC236}">
                      <a16:creationId xmlns:a16="http://schemas.microsoft.com/office/drawing/2014/main" id="{46040919-D526-A01E-5A75-EA6CA5FE3178}"/>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7" name="Freeform: Shape 16246">
                  <a:extLst>
                    <a:ext uri="{FF2B5EF4-FFF2-40B4-BE49-F238E27FC236}">
                      <a16:creationId xmlns:a16="http://schemas.microsoft.com/office/drawing/2014/main" id="{C38B17E0-97BF-FF7E-69E5-21608E9FD404}"/>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5" name="Graphic 745">
                <a:extLst>
                  <a:ext uri="{FF2B5EF4-FFF2-40B4-BE49-F238E27FC236}">
                    <a16:creationId xmlns:a16="http://schemas.microsoft.com/office/drawing/2014/main" id="{40A6C02E-E7CB-0893-2DDE-F8624130E435}"/>
                  </a:ext>
                </a:extLst>
              </p:cNvPr>
              <p:cNvGrpSpPr/>
              <p:nvPr/>
            </p:nvGrpSpPr>
            <p:grpSpPr>
              <a:xfrm>
                <a:off x="6504717" y="4028598"/>
                <a:ext cx="75723" cy="75723"/>
                <a:chOff x="6504717" y="4028598"/>
                <a:chExt cx="75723" cy="75723"/>
              </a:xfrm>
            </p:grpSpPr>
            <p:sp>
              <p:nvSpPr>
                <p:cNvPr id="16244" name="Freeform: Shape 16243">
                  <a:extLst>
                    <a:ext uri="{FF2B5EF4-FFF2-40B4-BE49-F238E27FC236}">
                      <a16:creationId xmlns:a16="http://schemas.microsoft.com/office/drawing/2014/main" id="{156F4DE2-D4AA-BFBF-01BD-ED28B25B4822}"/>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5" name="Freeform: Shape 16244">
                  <a:extLst>
                    <a:ext uri="{FF2B5EF4-FFF2-40B4-BE49-F238E27FC236}">
                      <a16:creationId xmlns:a16="http://schemas.microsoft.com/office/drawing/2014/main" id="{DB4A9CC6-5A34-1A16-0CAD-213EF5CEAD60}"/>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6" name="Graphic 745">
                <a:extLst>
                  <a:ext uri="{FF2B5EF4-FFF2-40B4-BE49-F238E27FC236}">
                    <a16:creationId xmlns:a16="http://schemas.microsoft.com/office/drawing/2014/main" id="{74DD9487-482F-8A13-5BFA-530E74F83E13}"/>
                  </a:ext>
                </a:extLst>
              </p:cNvPr>
              <p:cNvGrpSpPr/>
              <p:nvPr/>
            </p:nvGrpSpPr>
            <p:grpSpPr>
              <a:xfrm>
                <a:off x="6477952" y="4028598"/>
                <a:ext cx="75723" cy="75723"/>
                <a:chOff x="6477952" y="4028598"/>
                <a:chExt cx="75723" cy="75723"/>
              </a:xfrm>
            </p:grpSpPr>
            <p:sp>
              <p:nvSpPr>
                <p:cNvPr id="16242" name="Freeform: Shape 16241">
                  <a:extLst>
                    <a:ext uri="{FF2B5EF4-FFF2-40B4-BE49-F238E27FC236}">
                      <a16:creationId xmlns:a16="http://schemas.microsoft.com/office/drawing/2014/main" id="{732D6864-96D4-D17B-5AB9-5EA745D88AE9}"/>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3" name="Freeform: Shape 16242">
                  <a:extLst>
                    <a:ext uri="{FF2B5EF4-FFF2-40B4-BE49-F238E27FC236}">
                      <a16:creationId xmlns:a16="http://schemas.microsoft.com/office/drawing/2014/main" id="{5B22E7F8-BC24-87BD-0C3A-5ACEE4A67C75}"/>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7" name="Graphic 745">
                <a:extLst>
                  <a:ext uri="{FF2B5EF4-FFF2-40B4-BE49-F238E27FC236}">
                    <a16:creationId xmlns:a16="http://schemas.microsoft.com/office/drawing/2014/main" id="{506E0AF2-FCC5-9D11-B0F1-2A4EE15BD510}"/>
                  </a:ext>
                </a:extLst>
              </p:cNvPr>
              <p:cNvGrpSpPr/>
              <p:nvPr/>
            </p:nvGrpSpPr>
            <p:grpSpPr>
              <a:xfrm>
                <a:off x="6491382" y="4028598"/>
                <a:ext cx="75628" cy="75723"/>
                <a:chOff x="6491382" y="4028598"/>
                <a:chExt cx="75628" cy="75723"/>
              </a:xfrm>
            </p:grpSpPr>
            <p:sp>
              <p:nvSpPr>
                <p:cNvPr id="16240" name="Freeform: Shape 16239">
                  <a:extLst>
                    <a:ext uri="{FF2B5EF4-FFF2-40B4-BE49-F238E27FC236}">
                      <a16:creationId xmlns:a16="http://schemas.microsoft.com/office/drawing/2014/main" id="{070726D5-BA41-EEDE-02A5-36F5AD20B689}"/>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1" name="Freeform: Shape 16240">
                  <a:extLst>
                    <a:ext uri="{FF2B5EF4-FFF2-40B4-BE49-F238E27FC236}">
                      <a16:creationId xmlns:a16="http://schemas.microsoft.com/office/drawing/2014/main" id="{8FCC9EC8-4459-3438-5C6F-CA9DE08ED8CB}"/>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8" name="Graphic 745">
                <a:extLst>
                  <a:ext uri="{FF2B5EF4-FFF2-40B4-BE49-F238E27FC236}">
                    <a16:creationId xmlns:a16="http://schemas.microsoft.com/office/drawing/2014/main" id="{D3224E6A-388F-F26A-5B7F-7C93486CF19B}"/>
                  </a:ext>
                </a:extLst>
              </p:cNvPr>
              <p:cNvGrpSpPr/>
              <p:nvPr/>
            </p:nvGrpSpPr>
            <p:grpSpPr>
              <a:xfrm>
                <a:off x="6347460" y="3952969"/>
                <a:ext cx="75723" cy="75628"/>
                <a:chOff x="6347460" y="3952969"/>
                <a:chExt cx="75723" cy="75628"/>
              </a:xfrm>
            </p:grpSpPr>
            <p:sp>
              <p:nvSpPr>
                <p:cNvPr id="16238" name="Freeform: Shape 16237">
                  <a:extLst>
                    <a:ext uri="{FF2B5EF4-FFF2-40B4-BE49-F238E27FC236}">
                      <a16:creationId xmlns:a16="http://schemas.microsoft.com/office/drawing/2014/main" id="{3930FCC3-F1BC-97AE-3887-83D973A8621A}"/>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9" name="Freeform: Shape 16238">
                  <a:extLst>
                    <a:ext uri="{FF2B5EF4-FFF2-40B4-BE49-F238E27FC236}">
                      <a16:creationId xmlns:a16="http://schemas.microsoft.com/office/drawing/2014/main" id="{225DC8BA-56D2-1824-175E-099804D45A43}"/>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9" name="Graphic 745">
                <a:extLst>
                  <a:ext uri="{FF2B5EF4-FFF2-40B4-BE49-F238E27FC236}">
                    <a16:creationId xmlns:a16="http://schemas.microsoft.com/office/drawing/2014/main" id="{900E9AC9-AA16-F615-E9F8-7BEAE080CDB4}"/>
                  </a:ext>
                </a:extLst>
              </p:cNvPr>
              <p:cNvGrpSpPr/>
              <p:nvPr/>
            </p:nvGrpSpPr>
            <p:grpSpPr>
              <a:xfrm>
                <a:off x="6402228" y="3952969"/>
                <a:ext cx="75723" cy="75628"/>
                <a:chOff x="6402228" y="3952969"/>
                <a:chExt cx="75723" cy="75628"/>
              </a:xfrm>
            </p:grpSpPr>
            <p:sp>
              <p:nvSpPr>
                <p:cNvPr id="16236" name="Freeform: Shape 16235">
                  <a:extLst>
                    <a:ext uri="{FF2B5EF4-FFF2-40B4-BE49-F238E27FC236}">
                      <a16:creationId xmlns:a16="http://schemas.microsoft.com/office/drawing/2014/main" id="{816BCDCC-DD9F-63A8-BBB8-139727552917}"/>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7" name="Freeform: Shape 16236">
                  <a:extLst>
                    <a:ext uri="{FF2B5EF4-FFF2-40B4-BE49-F238E27FC236}">
                      <a16:creationId xmlns:a16="http://schemas.microsoft.com/office/drawing/2014/main" id="{40B95D4F-173E-5B98-E947-F00DDB3FB01D}"/>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0" name="Graphic 745">
                <a:extLst>
                  <a:ext uri="{FF2B5EF4-FFF2-40B4-BE49-F238E27FC236}">
                    <a16:creationId xmlns:a16="http://schemas.microsoft.com/office/drawing/2014/main" id="{B67631C5-B604-6464-A5A6-5EC479D44DCF}"/>
                  </a:ext>
                </a:extLst>
              </p:cNvPr>
              <p:cNvGrpSpPr/>
              <p:nvPr/>
            </p:nvGrpSpPr>
            <p:grpSpPr>
              <a:xfrm>
                <a:off x="6437852" y="3966304"/>
                <a:ext cx="75723" cy="75723"/>
                <a:chOff x="6437852" y="3966304"/>
                <a:chExt cx="75723" cy="75723"/>
              </a:xfrm>
            </p:grpSpPr>
            <p:sp>
              <p:nvSpPr>
                <p:cNvPr id="16234" name="Freeform: Shape 16233">
                  <a:extLst>
                    <a:ext uri="{FF2B5EF4-FFF2-40B4-BE49-F238E27FC236}">
                      <a16:creationId xmlns:a16="http://schemas.microsoft.com/office/drawing/2014/main" id="{708D4882-6291-8F20-F6D6-4537E38435D6}"/>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5" name="Freeform: Shape 16234">
                  <a:extLst>
                    <a:ext uri="{FF2B5EF4-FFF2-40B4-BE49-F238E27FC236}">
                      <a16:creationId xmlns:a16="http://schemas.microsoft.com/office/drawing/2014/main" id="{1D388F45-27A0-367A-D664-FD13E9710A0A}"/>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1" name="Graphic 745">
                <a:extLst>
                  <a:ext uri="{FF2B5EF4-FFF2-40B4-BE49-F238E27FC236}">
                    <a16:creationId xmlns:a16="http://schemas.microsoft.com/office/drawing/2014/main" id="{FBAB5A85-A64F-7D8E-ADC0-2E043B3BE103}"/>
                  </a:ext>
                </a:extLst>
              </p:cNvPr>
              <p:cNvGrpSpPr/>
              <p:nvPr/>
            </p:nvGrpSpPr>
            <p:grpSpPr>
              <a:xfrm>
                <a:off x="6461379" y="3976877"/>
                <a:ext cx="75628" cy="75628"/>
                <a:chOff x="6461379" y="3976877"/>
                <a:chExt cx="75628" cy="75628"/>
              </a:xfrm>
            </p:grpSpPr>
            <p:sp>
              <p:nvSpPr>
                <p:cNvPr id="16232" name="Freeform: Shape 16231">
                  <a:extLst>
                    <a:ext uri="{FF2B5EF4-FFF2-40B4-BE49-F238E27FC236}">
                      <a16:creationId xmlns:a16="http://schemas.microsoft.com/office/drawing/2014/main" id="{331118E9-19B5-9216-9702-E0E0CABE37E9}"/>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3" name="Freeform: Shape 16232">
                  <a:extLst>
                    <a:ext uri="{FF2B5EF4-FFF2-40B4-BE49-F238E27FC236}">
                      <a16:creationId xmlns:a16="http://schemas.microsoft.com/office/drawing/2014/main" id="{811ABABC-CF79-A1EF-A027-F79269F8DD3C}"/>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2" name="Graphic 745">
                <a:extLst>
                  <a:ext uri="{FF2B5EF4-FFF2-40B4-BE49-F238E27FC236}">
                    <a16:creationId xmlns:a16="http://schemas.microsoft.com/office/drawing/2014/main" id="{3A036321-7900-845F-6D44-253CE1127258}"/>
                  </a:ext>
                </a:extLst>
              </p:cNvPr>
              <p:cNvGrpSpPr/>
              <p:nvPr/>
            </p:nvGrpSpPr>
            <p:grpSpPr>
              <a:xfrm>
                <a:off x="6475666" y="3986974"/>
                <a:ext cx="75723" cy="75723"/>
                <a:chOff x="6475666" y="3986974"/>
                <a:chExt cx="75723" cy="75723"/>
              </a:xfrm>
            </p:grpSpPr>
            <p:sp>
              <p:nvSpPr>
                <p:cNvPr id="16230" name="Freeform: Shape 16229">
                  <a:extLst>
                    <a:ext uri="{FF2B5EF4-FFF2-40B4-BE49-F238E27FC236}">
                      <a16:creationId xmlns:a16="http://schemas.microsoft.com/office/drawing/2014/main" id="{46A69FD4-934D-2CD4-07AC-0C68E2909F31}"/>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1" name="Freeform: Shape 16230">
                  <a:extLst>
                    <a:ext uri="{FF2B5EF4-FFF2-40B4-BE49-F238E27FC236}">
                      <a16:creationId xmlns:a16="http://schemas.microsoft.com/office/drawing/2014/main" id="{03DD588C-BE27-5D70-4F96-5294718085CB}"/>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3" name="Graphic 745">
                <a:extLst>
                  <a:ext uri="{FF2B5EF4-FFF2-40B4-BE49-F238E27FC236}">
                    <a16:creationId xmlns:a16="http://schemas.microsoft.com/office/drawing/2014/main" id="{E4B47518-5228-5847-ADE8-868907AD6475}"/>
                  </a:ext>
                </a:extLst>
              </p:cNvPr>
              <p:cNvGrpSpPr/>
              <p:nvPr/>
            </p:nvGrpSpPr>
            <p:grpSpPr>
              <a:xfrm>
                <a:off x="6229540" y="3936301"/>
                <a:ext cx="75628" cy="75723"/>
                <a:chOff x="6229540" y="3936301"/>
                <a:chExt cx="75628" cy="75723"/>
              </a:xfrm>
            </p:grpSpPr>
            <p:sp>
              <p:nvSpPr>
                <p:cNvPr id="16228" name="Freeform: Shape 16227">
                  <a:extLst>
                    <a:ext uri="{FF2B5EF4-FFF2-40B4-BE49-F238E27FC236}">
                      <a16:creationId xmlns:a16="http://schemas.microsoft.com/office/drawing/2014/main" id="{6A0DBC4E-2380-A20E-86CF-96B08DFBA06F}"/>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9" name="Freeform: Shape 16228">
                  <a:extLst>
                    <a:ext uri="{FF2B5EF4-FFF2-40B4-BE49-F238E27FC236}">
                      <a16:creationId xmlns:a16="http://schemas.microsoft.com/office/drawing/2014/main" id="{1A4A6841-173A-3049-8188-88A86E8652F1}"/>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4" name="Graphic 745">
                <a:extLst>
                  <a:ext uri="{FF2B5EF4-FFF2-40B4-BE49-F238E27FC236}">
                    <a16:creationId xmlns:a16="http://schemas.microsoft.com/office/drawing/2014/main" id="{E871E14C-12C7-755A-163C-D7158154994D}"/>
                  </a:ext>
                </a:extLst>
              </p:cNvPr>
              <p:cNvGrpSpPr/>
              <p:nvPr/>
            </p:nvGrpSpPr>
            <p:grpSpPr>
              <a:xfrm>
                <a:off x="5918644" y="3830478"/>
                <a:ext cx="75628" cy="75723"/>
                <a:chOff x="5918644" y="3830478"/>
                <a:chExt cx="75628" cy="75723"/>
              </a:xfrm>
            </p:grpSpPr>
            <p:sp>
              <p:nvSpPr>
                <p:cNvPr id="16226" name="Freeform: Shape 16225">
                  <a:extLst>
                    <a:ext uri="{FF2B5EF4-FFF2-40B4-BE49-F238E27FC236}">
                      <a16:creationId xmlns:a16="http://schemas.microsoft.com/office/drawing/2014/main" id="{1D9E5C24-0FC3-C955-6CD4-36460569E7D9}"/>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7" name="Freeform: Shape 16226">
                  <a:extLst>
                    <a:ext uri="{FF2B5EF4-FFF2-40B4-BE49-F238E27FC236}">
                      <a16:creationId xmlns:a16="http://schemas.microsoft.com/office/drawing/2014/main" id="{244A625D-C8A8-5895-9458-B3D1BA18305B}"/>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5" name="Graphic 745">
                <a:extLst>
                  <a:ext uri="{FF2B5EF4-FFF2-40B4-BE49-F238E27FC236}">
                    <a16:creationId xmlns:a16="http://schemas.microsoft.com/office/drawing/2014/main" id="{4536D531-5CDC-1B4A-368F-36859E200D1D}"/>
                  </a:ext>
                </a:extLst>
              </p:cNvPr>
              <p:cNvGrpSpPr/>
              <p:nvPr/>
            </p:nvGrpSpPr>
            <p:grpSpPr>
              <a:xfrm>
                <a:off x="5699379" y="3807427"/>
                <a:ext cx="75628" cy="75723"/>
                <a:chOff x="5699379" y="3807427"/>
                <a:chExt cx="75628" cy="75723"/>
              </a:xfrm>
            </p:grpSpPr>
            <p:sp>
              <p:nvSpPr>
                <p:cNvPr id="16224" name="Freeform: Shape 16223">
                  <a:extLst>
                    <a:ext uri="{FF2B5EF4-FFF2-40B4-BE49-F238E27FC236}">
                      <a16:creationId xmlns:a16="http://schemas.microsoft.com/office/drawing/2014/main" id="{50F4FF5E-EEF6-D0B0-5D27-0F9EEFCCE9A2}"/>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5" name="Freeform: Shape 16224">
                  <a:extLst>
                    <a:ext uri="{FF2B5EF4-FFF2-40B4-BE49-F238E27FC236}">
                      <a16:creationId xmlns:a16="http://schemas.microsoft.com/office/drawing/2014/main" id="{15022F34-E819-2831-41C5-ECCD957E9564}"/>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6" name="Graphic 745">
                <a:extLst>
                  <a:ext uri="{FF2B5EF4-FFF2-40B4-BE49-F238E27FC236}">
                    <a16:creationId xmlns:a16="http://schemas.microsoft.com/office/drawing/2014/main" id="{02429783-6BEB-A557-9854-93CBBA9F1AD6}"/>
                  </a:ext>
                </a:extLst>
              </p:cNvPr>
              <p:cNvGrpSpPr/>
              <p:nvPr/>
            </p:nvGrpSpPr>
            <p:grpSpPr>
              <a:xfrm>
                <a:off x="5574125" y="3710177"/>
                <a:ext cx="75628" cy="75628"/>
                <a:chOff x="5574125" y="3710177"/>
                <a:chExt cx="75628" cy="75628"/>
              </a:xfrm>
            </p:grpSpPr>
            <p:sp>
              <p:nvSpPr>
                <p:cNvPr id="16222" name="Freeform: Shape 16221">
                  <a:extLst>
                    <a:ext uri="{FF2B5EF4-FFF2-40B4-BE49-F238E27FC236}">
                      <a16:creationId xmlns:a16="http://schemas.microsoft.com/office/drawing/2014/main" id="{8941E365-2305-5796-842C-814D095C0F4D}"/>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3" name="Freeform: Shape 16222">
                  <a:extLst>
                    <a:ext uri="{FF2B5EF4-FFF2-40B4-BE49-F238E27FC236}">
                      <a16:creationId xmlns:a16="http://schemas.microsoft.com/office/drawing/2014/main" id="{7ED73DC4-E641-4F1D-9422-0305E0DAAF37}"/>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7" name="Graphic 745">
                <a:extLst>
                  <a:ext uri="{FF2B5EF4-FFF2-40B4-BE49-F238E27FC236}">
                    <a16:creationId xmlns:a16="http://schemas.microsoft.com/office/drawing/2014/main" id="{7DABCE00-AE53-737B-163C-7E79152D61F7}"/>
                  </a:ext>
                </a:extLst>
              </p:cNvPr>
              <p:cNvGrpSpPr/>
              <p:nvPr/>
            </p:nvGrpSpPr>
            <p:grpSpPr>
              <a:xfrm>
                <a:off x="5244941" y="3624643"/>
                <a:ext cx="75723" cy="75628"/>
                <a:chOff x="5244941" y="3624643"/>
                <a:chExt cx="75723" cy="75628"/>
              </a:xfrm>
            </p:grpSpPr>
            <p:sp>
              <p:nvSpPr>
                <p:cNvPr id="16220" name="Freeform: Shape 16219">
                  <a:extLst>
                    <a:ext uri="{FF2B5EF4-FFF2-40B4-BE49-F238E27FC236}">
                      <a16:creationId xmlns:a16="http://schemas.microsoft.com/office/drawing/2014/main" id="{55699839-B957-63B4-6734-B091F8E193D8}"/>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1" name="Freeform: Shape 16220">
                  <a:extLst>
                    <a:ext uri="{FF2B5EF4-FFF2-40B4-BE49-F238E27FC236}">
                      <a16:creationId xmlns:a16="http://schemas.microsoft.com/office/drawing/2014/main" id="{624CD0EB-DD59-AEDD-7F30-3BDD74FDAC5A}"/>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8" name="Graphic 745">
                <a:extLst>
                  <a:ext uri="{FF2B5EF4-FFF2-40B4-BE49-F238E27FC236}">
                    <a16:creationId xmlns:a16="http://schemas.microsoft.com/office/drawing/2014/main" id="{44FA4C26-B15F-9902-8393-64995710AABC}"/>
                  </a:ext>
                </a:extLst>
              </p:cNvPr>
              <p:cNvGrpSpPr/>
              <p:nvPr/>
            </p:nvGrpSpPr>
            <p:grpSpPr>
              <a:xfrm>
                <a:off x="5150929" y="3447097"/>
                <a:ext cx="75723" cy="75723"/>
                <a:chOff x="5150929" y="3447097"/>
                <a:chExt cx="75723" cy="75723"/>
              </a:xfrm>
            </p:grpSpPr>
            <p:sp>
              <p:nvSpPr>
                <p:cNvPr id="16218" name="Freeform: Shape 16217">
                  <a:extLst>
                    <a:ext uri="{FF2B5EF4-FFF2-40B4-BE49-F238E27FC236}">
                      <a16:creationId xmlns:a16="http://schemas.microsoft.com/office/drawing/2014/main" id="{5A5D367A-B488-D3B8-D255-794F55583BC4}"/>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9" name="Freeform: Shape 16218">
                  <a:extLst>
                    <a:ext uri="{FF2B5EF4-FFF2-40B4-BE49-F238E27FC236}">
                      <a16:creationId xmlns:a16="http://schemas.microsoft.com/office/drawing/2014/main" id="{7FDB8CF6-D9A3-D4E6-78B7-CB5E52CFEAFA}"/>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9" name="Graphic 745">
                <a:extLst>
                  <a:ext uri="{FF2B5EF4-FFF2-40B4-BE49-F238E27FC236}">
                    <a16:creationId xmlns:a16="http://schemas.microsoft.com/office/drawing/2014/main" id="{295614FB-5DDC-00E5-443E-5CB443A4E440}"/>
                  </a:ext>
                </a:extLst>
              </p:cNvPr>
              <p:cNvGrpSpPr/>
              <p:nvPr/>
            </p:nvGrpSpPr>
            <p:grpSpPr>
              <a:xfrm>
                <a:off x="4796694" y="3325081"/>
                <a:ext cx="75723" cy="75723"/>
                <a:chOff x="4796694" y="3325081"/>
                <a:chExt cx="75723" cy="75723"/>
              </a:xfrm>
            </p:grpSpPr>
            <p:sp>
              <p:nvSpPr>
                <p:cNvPr id="16216" name="Freeform: Shape 16215">
                  <a:extLst>
                    <a:ext uri="{FF2B5EF4-FFF2-40B4-BE49-F238E27FC236}">
                      <a16:creationId xmlns:a16="http://schemas.microsoft.com/office/drawing/2014/main" id="{2E63B839-F474-845E-87A5-8A10DFB2B0D6}"/>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7" name="Freeform: Shape 16216">
                  <a:extLst>
                    <a:ext uri="{FF2B5EF4-FFF2-40B4-BE49-F238E27FC236}">
                      <a16:creationId xmlns:a16="http://schemas.microsoft.com/office/drawing/2014/main" id="{BAFAFEA0-61F6-22A0-1CD8-4004FF208936}"/>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0" name="Graphic 745">
                <a:extLst>
                  <a:ext uri="{FF2B5EF4-FFF2-40B4-BE49-F238E27FC236}">
                    <a16:creationId xmlns:a16="http://schemas.microsoft.com/office/drawing/2014/main" id="{0419DF3C-40D4-5467-D88A-27AD5F563CA6}"/>
                  </a:ext>
                </a:extLst>
              </p:cNvPr>
              <p:cNvGrpSpPr/>
              <p:nvPr/>
            </p:nvGrpSpPr>
            <p:grpSpPr>
              <a:xfrm>
                <a:off x="4718494" y="3173920"/>
                <a:ext cx="75628" cy="75628"/>
                <a:chOff x="4718494" y="3173920"/>
                <a:chExt cx="75628" cy="75628"/>
              </a:xfrm>
            </p:grpSpPr>
            <p:sp>
              <p:nvSpPr>
                <p:cNvPr id="16214" name="Freeform: Shape 16213">
                  <a:extLst>
                    <a:ext uri="{FF2B5EF4-FFF2-40B4-BE49-F238E27FC236}">
                      <a16:creationId xmlns:a16="http://schemas.microsoft.com/office/drawing/2014/main" id="{D95E87A9-1ADE-71FC-FF2E-668CCEF472A4}"/>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5" name="Freeform: Shape 16214">
                  <a:extLst>
                    <a:ext uri="{FF2B5EF4-FFF2-40B4-BE49-F238E27FC236}">
                      <a16:creationId xmlns:a16="http://schemas.microsoft.com/office/drawing/2014/main" id="{AA4D6872-FBEC-E464-6F14-33EAE0A51664}"/>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1" name="Graphic 745">
                <a:extLst>
                  <a:ext uri="{FF2B5EF4-FFF2-40B4-BE49-F238E27FC236}">
                    <a16:creationId xmlns:a16="http://schemas.microsoft.com/office/drawing/2014/main" id="{68992B70-0729-3019-4A70-59B791510242}"/>
                  </a:ext>
                </a:extLst>
              </p:cNvPr>
              <p:cNvGrpSpPr/>
              <p:nvPr/>
            </p:nvGrpSpPr>
            <p:grpSpPr>
              <a:xfrm>
                <a:off x="4527994" y="3072955"/>
                <a:ext cx="75628" cy="75723"/>
                <a:chOff x="4527994" y="3072955"/>
                <a:chExt cx="75628" cy="75723"/>
              </a:xfrm>
            </p:grpSpPr>
            <p:sp>
              <p:nvSpPr>
                <p:cNvPr id="16212" name="Freeform: Shape 16211">
                  <a:extLst>
                    <a:ext uri="{FF2B5EF4-FFF2-40B4-BE49-F238E27FC236}">
                      <a16:creationId xmlns:a16="http://schemas.microsoft.com/office/drawing/2014/main" id="{E6DA29B9-031A-3B1F-F7C8-B2279C0094C0}"/>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3" name="Freeform: Shape 16212">
                  <a:extLst>
                    <a:ext uri="{FF2B5EF4-FFF2-40B4-BE49-F238E27FC236}">
                      <a16:creationId xmlns:a16="http://schemas.microsoft.com/office/drawing/2014/main" id="{B65E0011-1822-EA7F-89E3-C44079AF3BAA}"/>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2" name="Graphic 745">
                <a:extLst>
                  <a:ext uri="{FF2B5EF4-FFF2-40B4-BE49-F238E27FC236}">
                    <a16:creationId xmlns:a16="http://schemas.microsoft.com/office/drawing/2014/main" id="{FC4521D2-453E-0769-CE47-F8C08D5F5F17}"/>
                  </a:ext>
                </a:extLst>
              </p:cNvPr>
              <p:cNvGrpSpPr/>
              <p:nvPr/>
            </p:nvGrpSpPr>
            <p:grpSpPr>
              <a:xfrm>
                <a:off x="4457414" y="3047809"/>
                <a:ext cx="75723" cy="75723"/>
                <a:chOff x="4457414" y="3047809"/>
                <a:chExt cx="75723" cy="75723"/>
              </a:xfrm>
            </p:grpSpPr>
            <p:sp>
              <p:nvSpPr>
                <p:cNvPr id="16210" name="Freeform: Shape 16209">
                  <a:extLst>
                    <a:ext uri="{FF2B5EF4-FFF2-40B4-BE49-F238E27FC236}">
                      <a16:creationId xmlns:a16="http://schemas.microsoft.com/office/drawing/2014/main" id="{F61D9967-5213-40F8-19EE-B50C0F23177E}"/>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1" name="Freeform: Shape 16210">
                  <a:extLst>
                    <a:ext uri="{FF2B5EF4-FFF2-40B4-BE49-F238E27FC236}">
                      <a16:creationId xmlns:a16="http://schemas.microsoft.com/office/drawing/2014/main" id="{CF69ABA4-7691-34BD-1C9E-D24B9ECEE1AD}"/>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3" name="Graphic 745">
                <a:extLst>
                  <a:ext uri="{FF2B5EF4-FFF2-40B4-BE49-F238E27FC236}">
                    <a16:creationId xmlns:a16="http://schemas.microsoft.com/office/drawing/2014/main" id="{7DDF8B0B-ED1D-AC0C-9C36-DEF1A13AEC3B}"/>
                  </a:ext>
                </a:extLst>
              </p:cNvPr>
              <p:cNvGrpSpPr/>
              <p:nvPr/>
            </p:nvGrpSpPr>
            <p:grpSpPr>
              <a:xfrm>
                <a:off x="4358925" y="3014471"/>
                <a:ext cx="75723" cy="75723"/>
                <a:chOff x="4358925" y="3014471"/>
                <a:chExt cx="75723" cy="75723"/>
              </a:xfrm>
            </p:grpSpPr>
            <p:sp>
              <p:nvSpPr>
                <p:cNvPr id="16208" name="Freeform: Shape 16207">
                  <a:extLst>
                    <a:ext uri="{FF2B5EF4-FFF2-40B4-BE49-F238E27FC236}">
                      <a16:creationId xmlns:a16="http://schemas.microsoft.com/office/drawing/2014/main" id="{CFA2B9ED-0F88-7549-2473-4C4F6E12D44F}"/>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9" name="Freeform: Shape 16208">
                  <a:extLst>
                    <a:ext uri="{FF2B5EF4-FFF2-40B4-BE49-F238E27FC236}">
                      <a16:creationId xmlns:a16="http://schemas.microsoft.com/office/drawing/2014/main" id="{8AF94DB2-9C75-ACB6-A7B6-A3B58F38196C}"/>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4" name="Graphic 745">
                <a:extLst>
                  <a:ext uri="{FF2B5EF4-FFF2-40B4-BE49-F238E27FC236}">
                    <a16:creationId xmlns:a16="http://schemas.microsoft.com/office/drawing/2014/main" id="{8B3F3FCE-A41A-3469-A2D2-2709BAC1DD73}"/>
                  </a:ext>
                </a:extLst>
              </p:cNvPr>
              <p:cNvGrpSpPr/>
              <p:nvPr/>
            </p:nvGrpSpPr>
            <p:grpSpPr>
              <a:xfrm>
                <a:off x="4350448" y="3001898"/>
                <a:ext cx="75723" cy="75723"/>
                <a:chOff x="4350448" y="3001898"/>
                <a:chExt cx="75723" cy="75723"/>
              </a:xfrm>
            </p:grpSpPr>
            <p:sp>
              <p:nvSpPr>
                <p:cNvPr id="16206" name="Freeform: Shape 16205">
                  <a:extLst>
                    <a:ext uri="{FF2B5EF4-FFF2-40B4-BE49-F238E27FC236}">
                      <a16:creationId xmlns:a16="http://schemas.microsoft.com/office/drawing/2014/main" id="{34E79EB4-DAFB-A965-6435-599132D25095}"/>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7" name="Freeform: Shape 16206">
                  <a:extLst>
                    <a:ext uri="{FF2B5EF4-FFF2-40B4-BE49-F238E27FC236}">
                      <a16:creationId xmlns:a16="http://schemas.microsoft.com/office/drawing/2014/main" id="{73AEB8D9-980B-0571-94F9-99855B11A955}"/>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5" name="Graphic 745">
                <a:extLst>
                  <a:ext uri="{FF2B5EF4-FFF2-40B4-BE49-F238E27FC236}">
                    <a16:creationId xmlns:a16="http://schemas.microsoft.com/office/drawing/2014/main" id="{DD3DF3F9-4C57-B8D0-C09B-F3C6EBCE15C8}"/>
                  </a:ext>
                </a:extLst>
              </p:cNvPr>
              <p:cNvGrpSpPr/>
              <p:nvPr/>
            </p:nvGrpSpPr>
            <p:grpSpPr>
              <a:xfrm>
                <a:off x="4301775" y="2881883"/>
                <a:ext cx="75723" cy="75723"/>
                <a:chOff x="4301775" y="2881883"/>
                <a:chExt cx="75723" cy="75723"/>
              </a:xfrm>
            </p:grpSpPr>
            <p:sp>
              <p:nvSpPr>
                <p:cNvPr id="16204" name="Freeform: Shape 16203">
                  <a:extLst>
                    <a:ext uri="{FF2B5EF4-FFF2-40B4-BE49-F238E27FC236}">
                      <a16:creationId xmlns:a16="http://schemas.microsoft.com/office/drawing/2014/main" id="{275592BA-18FD-F0CF-46DA-A96E6008146B}"/>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5" name="Freeform: Shape 16204">
                  <a:extLst>
                    <a:ext uri="{FF2B5EF4-FFF2-40B4-BE49-F238E27FC236}">
                      <a16:creationId xmlns:a16="http://schemas.microsoft.com/office/drawing/2014/main" id="{A1B6FC12-5655-5C34-CB4D-EB6794D48BEE}"/>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6" name="Graphic 745">
                <a:extLst>
                  <a:ext uri="{FF2B5EF4-FFF2-40B4-BE49-F238E27FC236}">
                    <a16:creationId xmlns:a16="http://schemas.microsoft.com/office/drawing/2014/main" id="{764BBACB-8BDC-B415-3E9A-158BD2FAFB0C}"/>
                  </a:ext>
                </a:extLst>
              </p:cNvPr>
              <p:cNvGrpSpPr/>
              <p:nvPr/>
            </p:nvGrpSpPr>
            <p:grpSpPr>
              <a:xfrm>
                <a:off x="3954018" y="2741485"/>
                <a:ext cx="75723" cy="75723"/>
                <a:chOff x="3954018" y="2741485"/>
                <a:chExt cx="75723" cy="75723"/>
              </a:xfrm>
            </p:grpSpPr>
            <p:sp>
              <p:nvSpPr>
                <p:cNvPr id="16202" name="Freeform: Shape 16201">
                  <a:extLst>
                    <a:ext uri="{FF2B5EF4-FFF2-40B4-BE49-F238E27FC236}">
                      <a16:creationId xmlns:a16="http://schemas.microsoft.com/office/drawing/2014/main" id="{5034C857-AE4E-3D0A-1BD9-F9E1384E618C}"/>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3" name="Freeform: Shape 16202">
                  <a:extLst>
                    <a:ext uri="{FF2B5EF4-FFF2-40B4-BE49-F238E27FC236}">
                      <a16:creationId xmlns:a16="http://schemas.microsoft.com/office/drawing/2014/main" id="{4AC2C8EA-0EDE-AA8F-FA4B-4B205EBB0C77}"/>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7" name="Graphic 745">
                <a:extLst>
                  <a:ext uri="{FF2B5EF4-FFF2-40B4-BE49-F238E27FC236}">
                    <a16:creationId xmlns:a16="http://schemas.microsoft.com/office/drawing/2014/main" id="{C0A12C4A-997D-F517-25E8-1C60E1FE4DCC}"/>
                  </a:ext>
                </a:extLst>
              </p:cNvPr>
              <p:cNvGrpSpPr/>
              <p:nvPr/>
            </p:nvGrpSpPr>
            <p:grpSpPr>
              <a:xfrm>
                <a:off x="3935825" y="2741485"/>
                <a:ext cx="75628" cy="75723"/>
                <a:chOff x="3935825" y="2741485"/>
                <a:chExt cx="75628" cy="75723"/>
              </a:xfrm>
            </p:grpSpPr>
            <p:sp>
              <p:nvSpPr>
                <p:cNvPr id="16200" name="Freeform: Shape 16199">
                  <a:extLst>
                    <a:ext uri="{FF2B5EF4-FFF2-40B4-BE49-F238E27FC236}">
                      <a16:creationId xmlns:a16="http://schemas.microsoft.com/office/drawing/2014/main" id="{7D443CFE-3963-5481-6101-2FDBEEC8FDEE}"/>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1" name="Freeform: Shape 16200">
                  <a:extLst>
                    <a:ext uri="{FF2B5EF4-FFF2-40B4-BE49-F238E27FC236}">
                      <a16:creationId xmlns:a16="http://schemas.microsoft.com/office/drawing/2014/main" id="{1B67A9E9-898E-A04D-B4CC-1EDC78CD1424}"/>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8" name="Graphic 745">
                <a:extLst>
                  <a:ext uri="{FF2B5EF4-FFF2-40B4-BE49-F238E27FC236}">
                    <a16:creationId xmlns:a16="http://schemas.microsoft.com/office/drawing/2014/main" id="{0F374B83-BA16-3ACA-D574-C047D4E0D015}"/>
                  </a:ext>
                </a:extLst>
              </p:cNvPr>
              <p:cNvGrpSpPr/>
              <p:nvPr/>
            </p:nvGrpSpPr>
            <p:grpSpPr>
              <a:xfrm>
                <a:off x="3916203" y="2706623"/>
                <a:ext cx="75723" cy="75723"/>
                <a:chOff x="3916203" y="2706623"/>
                <a:chExt cx="75723" cy="75723"/>
              </a:xfrm>
            </p:grpSpPr>
            <p:sp>
              <p:nvSpPr>
                <p:cNvPr id="16198" name="Freeform: Shape 16197">
                  <a:extLst>
                    <a:ext uri="{FF2B5EF4-FFF2-40B4-BE49-F238E27FC236}">
                      <a16:creationId xmlns:a16="http://schemas.microsoft.com/office/drawing/2014/main" id="{CA771CA8-FAA5-0486-DFCA-46307056E9A4}"/>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9" name="Freeform: Shape 16198">
                  <a:extLst>
                    <a:ext uri="{FF2B5EF4-FFF2-40B4-BE49-F238E27FC236}">
                      <a16:creationId xmlns:a16="http://schemas.microsoft.com/office/drawing/2014/main" id="{A825F0EF-6F92-D6DC-D8C2-3E22D727B1C2}"/>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9" name="Graphic 745">
                <a:extLst>
                  <a:ext uri="{FF2B5EF4-FFF2-40B4-BE49-F238E27FC236}">
                    <a16:creationId xmlns:a16="http://schemas.microsoft.com/office/drawing/2014/main" id="{2746869C-8D62-D9F0-C843-94DC4FF61C00}"/>
                  </a:ext>
                </a:extLst>
              </p:cNvPr>
              <p:cNvGrpSpPr/>
              <p:nvPr/>
            </p:nvGrpSpPr>
            <p:grpSpPr>
              <a:xfrm>
                <a:off x="3916203" y="2733293"/>
                <a:ext cx="75723" cy="75723"/>
                <a:chOff x="3916203" y="2733293"/>
                <a:chExt cx="75723" cy="75723"/>
              </a:xfrm>
            </p:grpSpPr>
            <p:sp>
              <p:nvSpPr>
                <p:cNvPr id="16196" name="Freeform: Shape 16195">
                  <a:extLst>
                    <a:ext uri="{FF2B5EF4-FFF2-40B4-BE49-F238E27FC236}">
                      <a16:creationId xmlns:a16="http://schemas.microsoft.com/office/drawing/2014/main" id="{0EAFE94B-3CC4-6CDC-0127-5AD2452C4DEF}"/>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7" name="Freeform: Shape 16196">
                  <a:extLst>
                    <a:ext uri="{FF2B5EF4-FFF2-40B4-BE49-F238E27FC236}">
                      <a16:creationId xmlns:a16="http://schemas.microsoft.com/office/drawing/2014/main" id="{537872A2-5455-47D5-CC59-B893AAA57F8A}"/>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0" name="Graphic 745">
                <a:extLst>
                  <a:ext uri="{FF2B5EF4-FFF2-40B4-BE49-F238E27FC236}">
                    <a16:creationId xmlns:a16="http://schemas.microsoft.com/office/drawing/2014/main" id="{022C51DC-0F44-2903-A3B5-F88D53AB051E}"/>
                  </a:ext>
                </a:extLst>
              </p:cNvPr>
              <p:cNvGrpSpPr/>
              <p:nvPr/>
            </p:nvGrpSpPr>
            <p:grpSpPr>
              <a:xfrm>
                <a:off x="3486150" y="2509837"/>
                <a:ext cx="75723" cy="75723"/>
                <a:chOff x="3486150" y="2509837"/>
                <a:chExt cx="75723" cy="75723"/>
              </a:xfrm>
            </p:grpSpPr>
            <p:sp>
              <p:nvSpPr>
                <p:cNvPr id="16194" name="Freeform: Shape 16193">
                  <a:extLst>
                    <a:ext uri="{FF2B5EF4-FFF2-40B4-BE49-F238E27FC236}">
                      <a16:creationId xmlns:a16="http://schemas.microsoft.com/office/drawing/2014/main" id="{D05A6BA4-1A39-7B9C-E219-8897A59AB9AB}"/>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5" name="Freeform: Shape 16194">
                  <a:extLst>
                    <a:ext uri="{FF2B5EF4-FFF2-40B4-BE49-F238E27FC236}">
                      <a16:creationId xmlns:a16="http://schemas.microsoft.com/office/drawing/2014/main" id="{4CEEFB3B-E755-287B-659C-14A30E62D70E}"/>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1" name="Graphic 745">
                <a:extLst>
                  <a:ext uri="{FF2B5EF4-FFF2-40B4-BE49-F238E27FC236}">
                    <a16:creationId xmlns:a16="http://schemas.microsoft.com/office/drawing/2014/main" id="{73800AA2-0EFB-D3EC-E261-578B0123920E}"/>
                  </a:ext>
                </a:extLst>
              </p:cNvPr>
              <p:cNvGrpSpPr/>
              <p:nvPr/>
            </p:nvGrpSpPr>
            <p:grpSpPr>
              <a:xfrm>
                <a:off x="4306633" y="2894932"/>
                <a:ext cx="75723" cy="75628"/>
                <a:chOff x="4306633" y="2894932"/>
                <a:chExt cx="75723" cy="75628"/>
              </a:xfrm>
            </p:grpSpPr>
            <p:sp>
              <p:nvSpPr>
                <p:cNvPr id="16192" name="Freeform: Shape 16191">
                  <a:extLst>
                    <a:ext uri="{FF2B5EF4-FFF2-40B4-BE49-F238E27FC236}">
                      <a16:creationId xmlns:a16="http://schemas.microsoft.com/office/drawing/2014/main" id="{8921F998-77CF-AEEB-7D21-EE78B0027E83}"/>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3" name="Freeform: Shape 16192">
                  <a:extLst>
                    <a:ext uri="{FF2B5EF4-FFF2-40B4-BE49-F238E27FC236}">
                      <a16:creationId xmlns:a16="http://schemas.microsoft.com/office/drawing/2014/main" id="{BE48A271-DCD4-3843-7C89-74163D2CCA66}"/>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2" name="Graphic 745">
                <a:extLst>
                  <a:ext uri="{FF2B5EF4-FFF2-40B4-BE49-F238E27FC236}">
                    <a16:creationId xmlns:a16="http://schemas.microsoft.com/office/drawing/2014/main" id="{2BD5F9DB-1083-AEFA-4C95-31B8DE5FD212}"/>
                  </a:ext>
                </a:extLst>
              </p:cNvPr>
              <p:cNvGrpSpPr/>
              <p:nvPr/>
            </p:nvGrpSpPr>
            <p:grpSpPr>
              <a:xfrm>
                <a:off x="4312634" y="2905410"/>
                <a:ext cx="75628" cy="75723"/>
                <a:chOff x="4312634" y="2905410"/>
                <a:chExt cx="75628" cy="75723"/>
              </a:xfrm>
            </p:grpSpPr>
            <p:sp>
              <p:nvSpPr>
                <p:cNvPr id="16190" name="Freeform: Shape 16189">
                  <a:extLst>
                    <a:ext uri="{FF2B5EF4-FFF2-40B4-BE49-F238E27FC236}">
                      <a16:creationId xmlns:a16="http://schemas.microsoft.com/office/drawing/2014/main" id="{BB1CDB4B-9FEE-DE9B-DAC2-2A5A209BA322}"/>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1" name="Freeform: Shape 16190">
                  <a:extLst>
                    <a:ext uri="{FF2B5EF4-FFF2-40B4-BE49-F238E27FC236}">
                      <a16:creationId xmlns:a16="http://schemas.microsoft.com/office/drawing/2014/main" id="{5F662055-5DF0-C400-D74B-E2895A73021D}"/>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3" name="Graphic 745">
                <a:extLst>
                  <a:ext uri="{FF2B5EF4-FFF2-40B4-BE49-F238E27FC236}">
                    <a16:creationId xmlns:a16="http://schemas.microsoft.com/office/drawing/2014/main" id="{4ECA188B-352A-B5DA-276E-F073C2955FFD}"/>
                  </a:ext>
                </a:extLst>
              </p:cNvPr>
              <p:cNvGrpSpPr/>
              <p:nvPr/>
            </p:nvGrpSpPr>
            <p:grpSpPr>
              <a:xfrm>
                <a:off x="4321111" y="2915602"/>
                <a:ext cx="75723" cy="75628"/>
                <a:chOff x="4321111" y="2915602"/>
                <a:chExt cx="75723" cy="75628"/>
              </a:xfrm>
            </p:grpSpPr>
            <p:sp>
              <p:nvSpPr>
                <p:cNvPr id="16188" name="Freeform: Shape 16187">
                  <a:extLst>
                    <a:ext uri="{FF2B5EF4-FFF2-40B4-BE49-F238E27FC236}">
                      <a16:creationId xmlns:a16="http://schemas.microsoft.com/office/drawing/2014/main" id="{D618F2DB-2338-32AB-E364-0F2D9E04ED5A}"/>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9" name="Freeform: Shape 16188">
                  <a:extLst>
                    <a:ext uri="{FF2B5EF4-FFF2-40B4-BE49-F238E27FC236}">
                      <a16:creationId xmlns:a16="http://schemas.microsoft.com/office/drawing/2014/main" id="{73A11B57-9CA7-485A-7693-5189C868A2A9}"/>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4" name="Graphic 745">
                <a:extLst>
                  <a:ext uri="{FF2B5EF4-FFF2-40B4-BE49-F238E27FC236}">
                    <a16:creationId xmlns:a16="http://schemas.microsoft.com/office/drawing/2014/main" id="{5A3B75BE-2C15-4080-03FC-D8C4A82D4FD7}"/>
                  </a:ext>
                </a:extLst>
              </p:cNvPr>
              <p:cNvGrpSpPr/>
              <p:nvPr/>
            </p:nvGrpSpPr>
            <p:grpSpPr>
              <a:xfrm>
                <a:off x="4334256" y="2915602"/>
                <a:ext cx="75628" cy="75628"/>
                <a:chOff x="4334256" y="2915602"/>
                <a:chExt cx="75628" cy="75628"/>
              </a:xfrm>
            </p:grpSpPr>
            <p:sp>
              <p:nvSpPr>
                <p:cNvPr id="16186" name="Freeform: Shape 16185">
                  <a:extLst>
                    <a:ext uri="{FF2B5EF4-FFF2-40B4-BE49-F238E27FC236}">
                      <a16:creationId xmlns:a16="http://schemas.microsoft.com/office/drawing/2014/main" id="{9F26EFDB-FE69-5629-BDE6-9C43219D66BD}"/>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7" name="Freeform: Shape 16186">
                  <a:extLst>
                    <a:ext uri="{FF2B5EF4-FFF2-40B4-BE49-F238E27FC236}">
                      <a16:creationId xmlns:a16="http://schemas.microsoft.com/office/drawing/2014/main" id="{578BFA32-6E68-91A1-C68B-A43189B8231F}"/>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5" name="Graphic 745">
                <a:extLst>
                  <a:ext uri="{FF2B5EF4-FFF2-40B4-BE49-F238E27FC236}">
                    <a16:creationId xmlns:a16="http://schemas.microsoft.com/office/drawing/2014/main" id="{80A551BC-D2D4-A9CC-3116-16456AB061BC}"/>
                  </a:ext>
                </a:extLst>
              </p:cNvPr>
              <p:cNvGrpSpPr/>
              <p:nvPr/>
            </p:nvGrpSpPr>
            <p:grpSpPr>
              <a:xfrm>
                <a:off x="4344543" y="2966656"/>
                <a:ext cx="75628" cy="75628"/>
                <a:chOff x="4344543" y="2966656"/>
                <a:chExt cx="75628" cy="75628"/>
              </a:xfrm>
            </p:grpSpPr>
            <p:sp>
              <p:nvSpPr>
                <p:cNvPr id="16184" name="Freeform: Shape 16183">
                  <a:extLst>
                    <a:ext uri="{FF2B5EF4-FFF2-40B4-BE49-F238E27FC236}">
                      <a16:creationId xmlns:a16="http://schemas.microsoft.com/office/drawing/2014/main" id="{7A87334C-C1A4-36A3-09E6-202389180D30}"/>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5" name="Freeform: Shape 16184">
                  <a:extLst>
                    <a:ext uri="{FF2B5EF4-FFF2-40B4-BE49-F238E27FC236}">
                      <a16:creationId xmlns:a16="http://schemas.microsoft.com/office/drawing/2014/main" id="{B2E85B63-FDA4-D0F4-C95A-D9B7AFE2FD7F}"/>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6" name="Graphic 745">
                <a:extLst>
                  <a:ext uri="{FF2B5EF4-FFF2-40B4-BE49-F238E27FC236}">
                    <a16:creationId xmlns:a16="http://schemas.microsoft.com/office/drawing/2014/main" id="{52F1CD16-C7CE-D57E-0915-06142BA8DEE8}"/>
                  </a:ext>
                </a:extLst>
              </p:cNvPr>
              <p:cNvGrpSpPr/>
              <p:nvPr/>
            </p:nvGrpSpPr>
            <p:grpSpPr>
              <a:xfrm>
                <a:off x="4344543" y="2981134"/>
                <a:ext cx="75628" cy="75723"/>
                <a:chOff x="4344543" y="2981134"/>
                <a:chExt cx="75628" cy="75723"/>
              </a:xfrm>
            </p:grpSpPr>
            <p:sp>
              <p:nvSpPr>
                <p:cNvPr id="16182" name="Freeform: Shape 16181">
                  <a:extLst>
                    <a:ext uri="{FF2B5EF4-FFF2-40B4-BE49-F238E27FC236}">
                      <a16:creationId xmlns:a16="http://schemas.microsoft.com/office/drawing/2014/main" id="{34A8F406-5ABF-1BC0-8567-F22A3641CA89}"/>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3" name="Freeform: Shape 16182">
                  <a:extLst>
                    <a:ext uri="{FF2B5EF4-FFF2-40B4-BE49-F238E27FC236}">
                      <a16:creationId xmlns:a16="http://schemas.microsoft.com/office/drawing/2014/main" id="{0D4985C7-0822-8029-3231-E40B0D695445}"/>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7" name="Graphic 745">
                <a:extLst>
                  <a:ext uri="{FF2B5EF4-FFF2-40B4-BE49-F238E27FC236}">
                    <a16:creationId xmlns:a16="http://schemas.microsoft.com/office/drawing/2014/main" id="{2B026CE1-25FF-BEBF-6936-8E41192814EC}"/>
                  </a:ext>
                </a:extLst>
              </p:cNvPr>
              <p:cNvGrpSpPr/>
              <p:nvPr/>
            </p:nvGrpSpPr>
            <p:grpSpPr>
              <a:xfrm>
                <a:off x="4350448" y="3006375"/>
                <a:ext cx="75723" cy="75723"/>
                <a:chOff x="4350448" y="3006375"/>
                <a:chExt cx="75723" cy="75723"/>
              </a:xfrm>
            </p:grpSpPr>
            <p:sp>
              <p:nvSpPr>
                <p:cNvPr id="16180" name="Freeform: Shape 16179">
                  <a:extLst>
                    <a:ext uri="{FF2B5EF4-FFF2-40B4-BE49-F238E27FC236}">
                      <a16:creationId xmlns:a16="http://schemas.microsoft.com/office/drawing/2014/main" id="{B28C7DCB-163B-CCC4-DA2C-02481F54E1D9}"/>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1" name="Freeform: Shape 16180">
                  <a:extLst>
                    <a:ext uri="{FF2B5EF4-FFF2-40B4-BE49-F238E27FC236}">
                      <a16:creationId xmlns:a16="http://schemas.microsoft.com/office/drawing/2014/main" id="{E4631C6F-066C-9F1D-C523-AD303CE575BF}"/>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8" name="Graphic 745">
                <a:extLst>
                  <a:ext uri="{FF2B5EF4-FFF2-40B4-BE49-F238E27FC236}">
                    <a16:creationId xmlns:a16="http://schemas.microsoft.com/office/drawing/2014/main" id="{9C6EC828-02A4-91A7-211A-283DB534C04A}"/>
                  </a:ext>
                </a:extLst>
              </p:cNvPr>
              <p:cNvGrpSpPr/>
              <p:nvPr/>
            </p:nvGrpSpPr>
            <p:grpSpPr>
              <a:xfrm>
                <a:off x="4727829" y="3184397"/>
                <a:ext cx="75628" cy="75723"/>
                <a:chOff x="4727829" y="3184397"/>
                <a:chExt cx="75628" cy="75723"/>
              </a:xfrm>
            </p:grpSpPr>
            <p:sp>
              <p:nvSpPr>
                <p:cNvPr id="16178" name="Freeform: Shape 16177">
                  <a:extLst>
                    <a:ext uri="{FF2B5EF4-FFF2-40B4-BE49-F238E27FC236}">
                      <a16:creationId xmlns:a16="http://schemas.microsoft.com/office/drawing/2014/main" id="{347B020E-2FF0-1C46-4169-B2B1D7FC7BC2}"/>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9" name="Freeform: Shape 16178">
                  <a:extLst>
                    <a:ext uri="{FF2B5EF4-FFF2-40B4-BE49-F238E27FC236}">
                      <a16:creationId xmlns:a16="http://schemas.microsoft.com/office/drawing/2014/main" id="{13A4A29D-2DB7-C01D-7C74-DD1F97909938}"/>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9" name="Graphic 745">
                <a:extLst>
                  <a:ext uri="{FF2B5EF4-FFF2-40B4-BE49-F238E27FC236}">
                    <a16:creationId xmlns:a16="http://schemas.microsoft.com/office/drawing/2014/main" id="{43A35D2A-27E1-9C63-15B2-6F00052E1735}"/>
                  </a:ext>
                </a:extLst>
              </p:cNvPr>
              <p:cNvGrpSpPr/>
              <p:nvPr/>
            </p:nvGrpSpPr>
            <p:grpSpPr>
              <a:xfrm>
                <a:off x="4736973" y="3189350"/>
                <a:ext cx="75723" cy="75628"/>
                <a:chOff x="4736973" y="3189350"/>
                <a:chExt cx="75723" cy="75628"/>
              </a:xfrm>
            </p:grpSpPr>
            <p:sp>
              <p:nvSpPr>
                <p:cNvPr id="16176" name="Freeform: Shape 16175">
                  <a:extLst>
                    <a:ext uri="{FF2B5EF4-FFF2-40B4-BE49-F238E27FC236}">
                      <a16:creationId xmlns:a16="http://schemas.microsoft.com/office/drawing/2014/main" id="{419DF4E4-1F96-0426-5F4F-6E1C3D77FCC4}"/>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7" name="Freeform: Shape 16176">
                  <a:extLst>
                    <a:ext uri="{FF2B5EF4-FFF2-40B4-BE49-F238E27FC236}">
                      <a16:creationId xmlns:a16="http://schemas.microsoft.com/office/drawing/2014/main" id="{A7777621-510D-4B74-8C39-7CCA28E0B80B}"/>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0" name="Graphic 745">
                <a:extLst>
                  <a:ext uri="{FF2B5EF4-FFF2-40B4-BE49-F238E27FC236}">
                    <a16:creationId xmlns:a16="http://schemas.microsoft.com/office/drawing/2014/main" id="{7C8B73A9-8A5C-3A1C-6B1E-18EC9E04D3BD}"/>
                  </a:ext>
                </a:extLst>
              </p:cNvPr>
              <p:cNvGrpSpPr/>
              <p:nvPr/>
            </p:nvGrpSpPr>
            <p:grpSpPr>
              <a:xfrm>
                <a:off x="4749165" y="3206305"/>
                <a:ext cx="75628" cy="75723"/>
                <a:chOff x="4749165" y="3206305"/>
                <a:chExt cx="75628" cy="75723"/>
              </a:xfrm>
            </p:grpSpPr>
            <p:sp>
              <p:nvSpPr>
                <p:cNvPr id="16174" name="Freeform: Shape 16173">
                  <a:extLst>
                    <a:ext uri="{FF2B5EF4-FFF2-40B4-BE49-F238E27FC236}">
                      <a16:creationId xmlns:a16="http://schemas.microsoft.com/office/drawing/2014/main" id="{9874EF59-A1EC-0963-A7A8-3DB3CD46F2B5}"/>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5" name="Freeform: Shape 16174">
                  <a:extLst>
                    <a:ext uri="{FF2B5EF4-FFF2-40B4-BE49-F238E27FC236}">
                      <a16:creationId xmlns:a16="http://schemas.microsoft.com/office/drawing/2014/main" id="{E5B55D0E-57E2-A6AA-600D-BB2DAF3FF9C9}"/>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1" name="Graphic 745">
                <a:extLst>
                  <a:ext uri="{FF2B5EF4-FFF2-40B4-BE49-F238E27FC236}">
                    <a16:creationId xmlns:a16="http://schemas.microsoft.com/office/drawing/2014/main" id="{E8ABBD65-D89D-D8F2-1D3D-74A6C1AE5272}"/>
                  </a:ext>
                </a:extLst>
              </p:cNvPr>
              <p:cNvGrpSpPr/>
              <p:nvPr/>
            </p:nvGrpSpPr>
            <p:grpSpPr>
              <a:xfrm>
                <a:off x="4756308" y="3216496"/>
                <a:ext cx="75723" cy="75628"/>
                <a:chOff x="4756308" y="3216496"/>
                <a:chExt cx="75723" cy="75628"/>
              </a:xfrm>
            </p:grpSpPr>
            <p:sp>
              <p:nvSpPr>
                <p:cNvPr id="16172" name="Freeform: Shape 16171">
                  <a:extLst>
                    <a:ext uri="{FF2B5EF4-FFF2-40B4-BE49-F238E27FC236}">
                      <a16:creationId xmlns:a16="http://schemas.microsoft.com/office/drawing/2014/main" id="{F8A11F45-FDEA-C216-A19B-F14F1F38227C}"/>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3" name="Freeform: Shape 16172">
                  <a:extLst>
                    <a:ext uri="{FF2B5EF4-FFF2-40B4-BE49-F238E27FC236}">
                      <a16:creationId xmlns:a16="http://schemas.microsoft.com/office/drawing/2014/main" id="{6441CEC4-3ACD-742D-5F97-95590921216E}"/>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2" name="Graphic 745">
                <a:extLst>
                  <a:ext uri="{FF2B5EF4-FFF2-40B4-BE49-F238E27FC236}">
                    <a16:creationId xmlns:a16="http://schemas.microsoft.com/office/drawing/2014/main" id="{DB8C4BA7-6E2B-DE46-5C44-57A540A584B5}"/>
                  </a:ext>
                </a:extLst>
              </p:cNvPr>
              <p:cNvGrpSpPr/>
              <p:nvPr/>
            </p:nvGrpSpPr>
            <p:grpSpPr>
              <a:xfrm>
                <a:off x="4758880" y="3238785"/>
                <a:ext cx="75628" cy="75628"/>
                <a:chOff x="4758880" y="3238785"/>
                <a:chExt cx="75628" cy="75628"/>
              </a:xfrm>
            </p:grpSpPr>
            <p:sp>
              <p:nvSpPr>
                <p:cNvPr id="16170" name="Freeform: Shape 16169">
                  <a:extLst>
                    <a:ext uri="{FF2B5EF4-FFF2-40B4-BE49-F238E27FC236}">
                      <a16:creationId xmlns:a16="http://schemas.microsoft.com/office/drawing/2014/main" id="{5EFB4E19-17F6-28C0-205B-E274EDD8D447}"/>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1" name="Freeform: Shape 16170">
                  <a:extLst>
                    <a:ext uri="{FF2B5EF4-FFF2-40B4-BE49-F238E27FC236}">
                      <a16:creationId xmlns:a16="http://schemas.microsoft.com/office/drawing/2014/main" id="{D155A156-6DD0-23E5-21AE-AB82F01A6403}"/>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3" name="Graphic 745">
                <a:extLst>
                  <a:ext uri="{FF2B5EF4-FFF2-40B4-BE49-F238E27FC236}">
                    <a16:creationId xmlns:a16="http://schemas.microsoft.com/office/drawing/2014/main" id="{6B4B6492-F922-BCEB-D8C4-21005AD41E9E}"/>
                  </a:ext>
                </a:extLst>
              </p:cNvPr>
              <p:cNvGrpSpPr/>
              <p:nvPr/>
            </p:nvGrpSpPr>
            <p:grpSpPr>
              <a:xfrm>
                <a:off x="4765643" y="3249548"/>
                <a:ext cx="75723" cy="75723"/>
                <a:chOff x="4765643" y="3249548"/>
                <a:chExt cx="75723" cy="75723"/>
              </a:xfrm>
            </p:grpSpPr>
            <p:sp>
              <p:nvSpPr>
                <p:cNvPr id="16168" name="Freeform: Shape 16167">
                  <a:extLst>
                    <a:ext uri="{FF2B5EF4-FFF2-40B4-BE49-F238E27FC236}">
                      <a16:creationId xmlns:a16="http://schemas.microsoft.com/office/drawing/2014/main" id="{AC56A76E-9D30-0C80-4311-7D2605190DC4}"/>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9" name="Freeform: Shape 16168">
                  <a:extLst>
                    <a:ext uri="{FF2B5EF4-FFF2-40B4-BE49-F238E27FC236}">
                      <a16:creationId xmlns:a16="http://schemas.microsoft.com/office/drawing/2014/main" id="{4626C9B3-FAD7-8340-21B3-3193530DA2F8}"/>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4" name="Graphic 745">
                <a:extLst>
                  <a:ext uri="{FF2B5EF4-FFF2-40B4-BE49-F238E27FC236}">
                    <a16:creationId xmlns:a16="http://schemas.microsoft.com/office/drawing/2014/main" id="{9D4E665E-B3D7-E4B5-ECB6-1D486A1F21E8}"/>
                  </a:ext>
                </a:extLst>
              </p:cNvPr>
              <p:cNvGrpSpPr/>
              <p:nvPr/>
            </p:nvGrpSpPr>
            <p:grpSpPr>
              <a:xfrm>
                <a:off x="4768881" y="3267169"/>
                <a:ext cx="75723" cy="75628"/>
                <a:chOff x="4768881" y="3267169"/>
                <a:chExt cx="75723" cy="75628"/>
              </a:xfrm>
            </p:grpSpPr>
            <p:sp>
              <p:nvSpPr>
                <p:cNvPr id="16166" name="Freeform: Shape 16165">
                  <a:extLst>
                    <a:ext uri="{FF2B5EF4-FFF2-40B4-BE49-F238E27FC236}">
                      <a16:creationId xmlns:a16="http://schemas.microsoft.com/office/drawing/2014/main" id="{8DCD7A29-3E4D-7C75-00CF-FFDCA3D78069}"/>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7" name="Freeform: Shape 16166">
                  <a:extLst>
                    <a:ext uri="{FF2B5EF4-FFF2-40B4-BE49-F238E27FC236}">
                      <a16:creationId xmlns:a16="http://schemas.microsoft.com/office/drawing/2014/main" id="{660FE261-7FF0-A311-2A81-2232810A44F2}"/>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5" name="Graphic 745">
                <a:extLst>
                  <a:ext uri="{FF2B5EF4-FFF2-40B4-BE49-F238E27FC236}">
                    <a16:creationId xmlns:a16="http://schemas.microsoft.com/office/drawing/2014/main" id="{24788D8F-9742-0910-8353-202AF3ED7D8D}"/>
                  </a:ext>
                </a:extLst>
              </p:cNvPr>
              <p:cNvGrpSpPr/>
              <p:nvPr/>
            </p:nvGrpSpPr>
            <p:grpSpPr>
              <a:xfrm>
                <a:off x="4771739" y="3287458"/>
                <a:ext cx="75628" cy="75723"/>
                <a:chOff x="4771739" y="3287458"/>
                <a:chExt cx="75628" cy="75723"/>
              </a:xfrm>
            </p:grpSpPr>
            <p:sp>
              <p:nvSpPr>
                <p:cNvPr id="16164" name="Freeform: Shape 16163">
                  <a:extLst>
                    <a:ext uri="{FF2B5EF4-FFF2-40B4-BE49-F238E27FC236}">
                      <a16:creationId xmlns:a16="http://schemas.microsoft.com/office/drawing/2014/main" id="{2DB4194F-57BE-6580-7BC7-565FC2970E70}"/>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5" name="Freeform: Shape 16164">
                  <a:extLst>
                    <a:ext uri="{FF2B5EF4-FFF2-40B4-BE49-F238E27FC236}">
                      <a16:creationId xmlns:a16="http://schemas.microsoft.com/office/drawing/2014/main" id="{54B50B15-326F-A97B-1830-A12373F26DC5}"/>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6" name="Graphic 745">
                <a:extLst>
                  <a:ext uri="{FF2B5EF4-FFF2-40B4-BE49-F238E27FC236}">
                    <a16:creationId xmlns:a16="http://schemas.microsoft.com/office/drawing/2014/main" id="{8E731C86-5CCD-2B06-BFFC-241393ED23AB}"/>
                  </a:ext>
                </a:extLst>
              </p:cNvPr>
              <p:cNvGrpSpPr/>
              <p:nvPr/>
            </p:nvGrpSpPr>
            <p:grpSpPr>
              <a:xfrm>
                <a:off x="4771739" y="3299935"/>
                <a:ext cx="75628" cy="75723"/>
                <a:chOff x="4771739" y="3299935"/>
                <a:chExt cx="75628" cy="75723"/>
              </a:xfrm>
            </p:grpSpPr>
            <p:sp>
              <p:nvSpPr>
                <p:cNvPr id="16162" name="Freeform: Shape 16161">
                  <a:extLst>
                    <a:ext uri="{FF2B5EF4-FFF2-40B4-BE49-F238E27FC236}">
                      <a16:creationId xmlns:a16="http://schemas.microsoft.com/office/drawing/2014/main" id="{E6C1ACA1-A794-E019-C6D4-81E348B3FDB5}"/>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3" name="Freeform: Shape 16162">
                  <a:extLst>
                    <a:ext uri="{FF2B5EF4-FFF2-40B4-BE49-F238E27FC236}">
                      <a16:creationId xmlns:a16="http://schemas.microsoft.com/office/drawing/2014/main" id="{A5FBB1D7-8208-560B-1277-6E79DC3ADB46}"/>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7" name="Graphic 745">
                <a:extLst>
                  <a:ext uri="{FF2B5EF4-FFF2-40B4-BE49-F238E27FC236}">
                    <a16:creationId xmlns:a16="http://schemas.microsoft.com/office/drawing/2014/main" id="{8BB83318-207F-1853-A17F-610A46D231A1}"/>
                  </a:ext>
                </a:extLst>
              </p:cNvPr>
              <p:cNvGrpSpPr/>
              <p:nvPr/>
            </p:nvGrpSpPr>
            <p:grpSpPr>
              <a:xfrm>
                <a:off x="4771739" y="3310127"/>
                <a:ext cx="75628" cy="75628"/>
                <a:chOff x="4771739" y="3310127"/>
                <a:chExt cx="75628" cy="75628"/>
              </a:xfrm>
            </p:grpSpPr>
            <p:sp>
              <p:nvSpPr>
                <p:cNvPr id="16160" name="Freeform: Shape 16159">
                  <a:extLst>
                    <a:ext uri="{FF2B5EF4-FFF2-40B4-BE49-F238E27FC236}">
                      <a16:creationId xmlns:a16="http://schemas.microsoft.com/office/drawing/2014/main" id="{35E24FBC-5AF5-2D0B-7975-6446869F95EA}"/>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1" name="Freeform: Shape 16160">
                  <a:extLst>
                    <a:ext uri="{FF2B5EF4-FFF2-40B4-BE49-F238E27FC236}">
                      <a16:creationId xmlns:a16="http://schemas.microsoft.com/office/drawing/2014/main" id="{8A93E674-F070-38EF-5554-246695210C38}"/>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8" name="Graphic 745">
                <a:extLst>
                  <a:ext uri="{FF2B5EF4-FFF2-40B4-BE49-F238E27FC236}">
                    <a16:creationId xmlns:a16="http://schemas.microsoft.com/office/drawing/2014/main" id="{A6F9F1F2-5E47-3F31-DDC3-858ED3C561EC}"/>
                  </a:ext>
                </a:extLst>
              </p:cNvPr>
              <p:cNvGrpSpPr/>
              <p:nvPr/>
            </p:nvGrpSpPr>
            <p:grpSpPr>
              <a:xfrm>
                <a:off x="4778502" y="3316604"/>
                <a:ext cx="75723" cy="75628"/>
                <a:chOff x="4778502" y="3316604"/>
                <a:chExt cx="75723" cy="75628"/>
              </a:xfrm>
            </p:grpSpPr>
            <p:sp>
              <p:nvSpPr>
                <p:cNvPr id="16158" name="Freeform: Shape 16157">
                  <a:extLst>
                    <a:ext uri="{FF2B5EF4-FFF2-40B4-BE49-F238E27FC236}">
                      <a16:creationId xmlns:a16="http://schemas.microsoft.com/office/drawing/2014/main" id="{249EB219-AE29-5239-4E79-5E7072E3C256}"/>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9" name="Freeform: Shape 16158">
                  <a:extLst>
                    <a:ext uri="{FF2B5EF4-FFF2-40B4-BE49-F238E27FC236}">
                      <a16:creationId xmlns:a16="http://schemas.microsoft.com/office/drawing/2014/main" id="{00CAB00D-A1F9-30A1-9E63-15E49A747A8F}"/>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9" name="Graphic 745">
                <a:extLst>
                  <a:ext uri="{FF2B5EF4-FFF2-40B4-BE49-F238E27FC236}">
                    <a16:creationId xmlns:a16="http://schemas.microsoft.com/office/drawing/2014/main" id="{C7006B02-94CC-5EDA-0091-C7CA0CB90CC5}"/>
                  </a:ext>
                </a:extLst>
              </p:cNvPr>
              <p:cNvGrpSpPr/>
              <p:nvPr/>
            </p:nvGrpSpPr>
            <p:grpSpPr>
              <a:xfrm>
                <a:off x="5163883" y="3466528"/>
                <a:ext cx="75723" cy="75723"/>
                <a:chOff x="5163883" y="3466528"/>
                <a:chExt cx="75723" cy="75723"/>
              </a:xfrm>
            </p:grpSpPr>
            <p:sp>
              <p:nvSpPr>
                <p:cNvPr id="16156" name="Freeform: Shape 16155">
                  <a:extLst>
                    <a:ext uri="{FF2B5EF4-FFF2-40B4-BE49-F238E27FC236}">
                      <a16:creationId xmlns:a16="http://schemas.microsoft.com/office/drawing/2014/main" id="{8E6E7C38-1D0C-29CE-9B08-C6379C7CD175}"/>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7" name="Freeform: Shape 16156">
                  <a:extLst>
                    <a:ext uri="{FF2B5EF4-FFF2-40B4-BE49-F238E27FC236}">
                      <a16:creationId xmlns:a16="http://schemas.microsoft.com/office/drawing/2014/main" id="{D5B0EAF7-95F5-AAFB-96B1-AFC2AAA18861}"/>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0" name="Graphic 745">
                <a:extLst>
                  <a:ext uri="{FF2B5EF4-FFF2-40B4-BE49-F238E27FC236}">
                    <a16:creationId xmlns:a16="http://schemas.microsoft.com/office/drawing/2014/main" id="{746498C4-7826-31D3-A269-ACE9FDD7C7AB}"/>
                  </a:ext>
                </a:extLst>
              </p:cNvPr>
              <p:cNvGrpSpPr/>
              <p:nvPr/>
            </p:nvGrpSpPr>
            <p:grpSpPr>
              <a:xfrm>
                <a:off x="5180171" y="3471385"/>
                <a:ext cx="75628" cy="75723"/>
                <a:chOff x="5180171" y="3471385"/>
                <a:chExt cx="75628" cy="75723"/>
              </a:xfrm>
            </p:grpSpPr>
            <p:sp>
              <p:nvSpPr>
                <p:cNvPr id="16154" name="Freeform: Shape 16153">
                  <a:extLst>
                    <a:ext uri="{FF2B5EF4-FFF2-40B4-BE49-F238E27FC236}">
                      <a16:creationId xmlns:a16="http://schemas.microsoft.com/office/drawing/2014/main" id="{76A00674-538D-1E00-356C-15C1F438A92C}"/>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5" name="Freeform: Shape 16154">
                  <a:extLst>
                    <a:ext uri="{FF2B5EF4-FFF2-40B4-BE49-F238E27FC236}">
                      <a16:creationId xmlns:a16="http://schemas.microsoft.com/office/drawing/2014/main" id="{C3900982-03E2-DBD8-CD62-91CD356B9D1F}"/>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1" name="Graphic 745">
                <a:extLst>
                  <a:ext uri="{FF2B5EF4-FFF2-40B4-BE49-F238E27FC236}">
                    <a16:creationId xmlns:a16="http://schemas.microsoft.com/office/drawing/2014/main" id="{D14CF228-A7C4-4131-3758-0D4C644C5992}"/>
                  </a:ext>
                </a:extLst>
              </p:cNvPr>
              <p:cNvGrpSpPr/>
              <p:nvPr/>
            </p:nvGrpSpPr>
            <p:grpSpPr>
              <a:xfrm>
                <a:off x="5196554" y="3504342"/>
                <a:ext cx="75723" cy="75723"/>
                <a:chOff x="5196554" y="3504342"/>
                <a:chExt cx="75723" cy="75723"/>
              </a:xfrm>
            </p:grpSpPr>
            <p:sp>
              <p:nvSpPr>
                <p:cNvPr id="16152" name="Freeform: Shape 16151">
                  <a:extLst>
                    <a:ext uri="{FF2B5EF4-FFF2-40B4-BE49-F238E27FC236}">
                      <a16:creationId xmlns:a16="http://schemas.microsoft.com/office/drawing/2014/main" id="{ED628769-2676-12A5-5C40-92FD7590E923}"/>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3" name="Freeform: Shape 16152">
                  <a:extLst>
                    <a:ext uri="{FF2B5EF4-FFF2-40B4-BE49-F238E27FC236}">
                      <a16:creationId xmlns:a16="http://schemas.microsoft.com/office/drawing/2014/main" id="{E272A7DE-80C1-D691-393E-EF2B6259173A}"/>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2" name="Graphic 745">
                <a:extLst>
                  <a:ext uri="{FF2B5EF4-FFF2-40B4-BE49-F238E27FC236}">
                    <a16:creationId xmlns:a16="http://schemas.microsoft.com/office/drawing/2014/main" id="{5BA6A0B5-B301-EB10-59CC-80CC1355D053}"/>
                  </a:ext>
                </a:extLst>
              </p:cNvPr>
              <p:cNvGrpSpPr/>
              <p:nvPr/>
            </p:nvGrpSpPr>
            <p:grpSpPr>
              <a:xfrm>
                <a:off x="5196554" y="3535870"/>
                <a:ext cx="75723" cy="75628"/>
                <a:chOff x="5196554" y="3535870"/>
                <a:chExt cx="75723" cy="75628"/>
              </a:xfrm>
            </p:grpSpPr>
            <p:sp>
              <p:nvSpPr>
                <p:cNvPr id="16150" name="Freeform: Shape 16149">
                  <a:extLst>
                    <a:ext uri="{FF2B5EF4-FFF2-40B4-BE49-F238E27FC236}">
                      <a16:creationId xmlns:a16="http://schemas.microsoft.com/office/drawing/2014/main" id="{A46289FD-5B01-D85F-0995-BAB84632F9C5}"/>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1" name="Freeform: Shape 16150">
                  <a:extLst>
                    <a:ext uri="{FF2B5EF4-FFF2-40B4-BE49-F238E27FC236}">
                      <a16:creationId xmlns:a16="http://schemas.microsoft.com/office/drawing/2014/main" id="{2CC3B7B5-227B-28F3-C021-4EF09C8CF852}"/>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3" name="Graphic 745">
                <a:extLst>
                  <a:ext uri="{FF2B5EF4-FFF2-40B4-BE49-F238E27FC236}">
                    <a16:creationId xmlns:a16="http://schemas.microsoft.com/office/drawing/2014/main" id="{7CA7660B-6347-6635-E842-7480F4F25DB2}"/>
                  </a:ext>
                </a:extLst>
              </p:cNvPr>
              <p:cNvGrpSpPr/>
              <p:nvPr/>
            </p:nvGrpSpPr>
            <p:grpSpPr>
              <a:xfrm>
                <a:off x="5201793" y="3560158"/>
                <a:ext cx="75628" cy="75723"/>
                <a:chOff x="5201793" y="3560158"/>
                <a:chExt cx="75628" cy="75723"/>
              </a:xfrm>
            </p:grpSpPr>
            <p:sp>
              <p:nvSpPr>
                <p:cNvPr id="16148" name="Freeform: Shape 16147">
                  <a:extLst>
                    <a:ext uri="{FF2B5EF4-FFF2-40B4-BE49-F238E27FC236}">
                      <a16:creationId xmlns:a16="http://schemas.microsoft.com/office/drawing/2014/main" id="{C488F241-9BB0-574E-3F80-1AE462FD767F}"/>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9" name="Freeform: Shape 16148">
                  <a:extLst>
                    <a:ext uri="{FF2B5EF4-FFF2-40B4-BE49-F238E27FC236}">
                      <a16:creationId xmlns:a16="http://schemas.microsoft.com/office/drawing/2014/main" id="{73DF762E-8B0A-98A3-288A-FFA3019D1E7B}"/>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4" name="Graphic 745">
                <a:extLst>
                  <a:ext uri="{FF2B5EF4-FFF2-40B4-BE49-F238E27FC236}">
                    <a16:creationId xmlns:a16="http://schemas.microsoft.com/office/drawing/2014/main" id="{5555F761-9D92-42EC-39A9-CCB55240C4F4}"/>
                  </a:ext>
                </a:extLst>
              </p:cNvPr>
              <p:cNvGrpSpPr/>
              <p:nvPr/>
            </p:nvGrpSpPr>
            <p:grpSpPr>
              <a:xfrm>
                <a:off x="5204174" y="3580066"/>
                <a:ext cx="75723" cy="75723"/>
                <a:chOff x="5204174" y="3580066"/>
                <a:chExt cx="75723" cy="75723"/>
              </a:xfrm>
            </p:grpSpPr>
            <p:sp>
              <p:nvSpPr>
                <p:cNvPr id="16146" name="Freeform: Shape 16145">
                  <a:extLst>
                    <a:ext uri="{FF2B5EF4-FFF2-40B4-BE49-F238E27FC236}">
                      <a16:creationId xmlns:a16="http://schemas.microsoft.com/office/drawing/2014/main" id="{56E572A8-3CDB-E894-1910-8DC29A81E5E8}"/>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7" name="Freeform: Shape 16146">
                  <a:extLst>
                    <a:ext uri="{FF2B5EF4-FFF2-40B4-BE49-F238E27FC236}">
                      <a16:creationId xmlns:a16="http://schemas.microsoft.com/office/drawing/2014/main" id="{DD9BC618-EE14-78DC-3747-B2F4990FE61A}"/>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5" name="Graphic 745">
                <a:extLst>
                  <a:ext uri="{FF2B5EF4-FFF2-40B4-BE49-F238E27FC236}">
                    <a16:creationId xmlns:a16="http://schemas.microsoft.com/office/drawing/2014/main" id="{2685D700-066C-8789-0497-2E39CEC4ED1E}"/>
                  </a:ext>
                </a:extLst>
              </p:cNvPr>
              <p:cNvGrpSpPr/>
              <p:nvPr/>
            </p:nvGrpSpPr>
            <p:grpSpPr>
              <a:xfrm>
                <a:off x="5217985" y="3580066"/>
                <a:ext cx="75723" cy="75723"/>
                <a:chOff x="5217985" y="3580066"/>
                <a:chExt cx="75723" cy="75723"/>
              </a:xfrm>
            </p:grpSpPr>
            <p:sp>
              <p:nvSpPr>
                <p:cNvPr id="16144" name="Freeform: Shape 16143">
                  <a:extLst>
                    <a:ext uri="{FF2B5EF4-FFF2-40B4-BE49-F238E27FC236}">
                      <a16:creationId xmlns:a16="http://schemas.microsoft.com/office/drawing/2014/main" id="{97DD59BB-C1F7-7BA6-1A27-838E1782A5CB}"/>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5" name="Freeform: Shape 16144">
                  <a:extLst>
                    <a:ext uri="{FF2B5EF4-FFF2-40B4-BE49-F238E27FC236}">
                      <a16:creationId xmlns:a16="http://schemas.microsoft.com/office/drawing/2014/main" id="{C53DDFFA-B232-6B22-7C6A-FBF214263E63}"/>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6" name="Graphic 745">
                <a:extLst>
                  <a:ext uri="{FF2B5EF4-FFF2-40B4-BE49-F238E27FC236}">
                    <a16:creationId xmlns:a16="http://schemas.microsoft.com/office/drawing/2014/main" id="{709785B7-981A-1CB8-5F5B-FC6E8DEE7A51}"/>
                  </a:ext>
                </a:extLst>
              </p:cNvPr>
              <p:cNvGrpSpPr/>
              <p:nvPr/>
            </p:nvGrpSpPr>
            <p:grpSpPr>
              <a:xfrm>
                <a:off x="5196554" y="3517772"/>
                <a:ext cx="75723" cy="75723"/>
                <a:chOff x="5196554" y="3517772"/>
                <a:chExt cx="75723" cy="75723"/>
              </a:xfrm>
            </p:grpSpPr>
            <p:sp>
              <p:nvSpPr>
                <p:cNvPr id="16142" name="Freeform: Shape 16141">
                  <a:extLst>
                    <a:ext uri="{FF2B5EF4-FFF2-40B4-BE49-F238E27FC236}">
                      <a16:creationId xmlns:a16="http://schemas.microsoft.com/office/drawing/2014/main" id="{E2BA3C44-1E91-A043-CC75-CA849DBCF104}"/>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3" name="Freeform: Shape 16142">
                  <a:extLst>
                    <a:ext uri="{FF2B5EF4-FFF2-40B4-BE49-F238E27FC236}">
                      <a16:creationId xmlns:a16="http://schemas.microsoft.com/office/drawing/2014/main" id="{9C0A778B-4CB1-E1C0-1248-12B64727BC0F}"/>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7" name="Graphic 745">
                <a:extLst>
                  <a:ext uri="{FF2B5EF4-FFF2-40B4-BE49-F238E27FC236}">
                    <a16:creationId xmlns:a16="http://schemas.microsoft.com/office/drawing/2014/main" id="{49246385-BF68-6D70-BEAE-21A1ABC8DAF7}"/>
                  </a:ext>
                </a:extLst>
              </p:cNvPr>
              <p:cNvGrpSpPr/>
              <p:nvPr/>
            </p:nvGrpSpPr>
            <p:grpSpPr>
              <a:xfrm>
                <a:off x="5234463" y="3624643"/>
                <a:ext cx="75628" cy="75628"/>
                <a:chOff x="5234463" y="3624643"/>
                <a:chExt cx="75628" cy="75628"/>
              </a:xfrm>
            </p:grpSpPr>
            <p:sp>
              <p:nvSpPr>
                <p:cNvPr id="16140" name="Freeform: Shape 16139">
                  <a:extLst>
                    <a:ext uri="{FF2B5EF4-FFF2-40B4-BE49-F238E27FC236}">
                      <a16:creationId xmlns:a16="http://schemas.microsoft.com/office/drawing/2014/main" id="{BA775D55-E76B-A8CE-39CE-04E23C54A6C5}"/>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1" name="Freeform: Shape 16140">
                  <a:extLst>
                    <a:ext uri="{FF2B5EF4-FFF2-40B4-BE49-F238E27FC236}">
                      <a16:creationId xmlns:a16="http://schemas.microsoft.com/office/drawing/2014/main" id="{AEFC8799-C935-CD1F-9D3A-2B187BCFF6FD}"/>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8" name="Graphic 745">
                <a:extLst>
                  <a:ext uri="{FF2B5EF4-FFF2-40B4-BE49-F238E27FC236}">
                    <a16:creationId xmlns:a16="http://schemas.microsoft.com/office/drawing/2014/main" id="{BBF77204-C3F9-0116-F548-06E07A370332}"/>
                  </a:ext>
                </a:extLst>
              </p:cNvPr>
              <p:cNvGrpSpPr/>
              <p:nvPr/>
            </p:nvGrpSpPr>
            <p:grpSpPr>
              <a:xfrm>
                <a:off x="5591079" y="3728751"/>
                <a:ext cx="75723" cy="75723"/>
                <a:chOff x="5591079" y="3728751"/>
                <a:chExt cx="75723" cy="75723"/>
              </a:xfrm>
            </p:grpSpPr>
            <p:sp>
              <p:nvSpPr>
                <p:cNvPr id="16138" name="Freeform: Shape 16137">
                  <a:extLst>
                    <a:ext uri="{FF2B5EF4-FFF2-40B4-BE49-F238E27FC236}">
                      <a16:creationId xmlns:a16="http://schemas.microsoft.com/office/drawing/2014/main" id="{CB87C0D1-26BC-DB66-DF0E-0549D5A19D64}"/>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9" name="Freeform: Shape 16138">
                  <a:extLst>
                    <a:ext uri="{FF2B5EF4-FFF2-40B4-BE49-F238E27FC236}">
                      <a16:creationId xmlns:a16="http://schemas.microsoft.com/office/drawing/2014/main" id="{2A6EAFA1-D310-2912-36E0-F3216349E79E}"/>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9" name="Graphic 745">
                <a:extLst>
                  <a:ext uri="{FF2B5EF4-FFF2-40B4-BE49-F238E27FC236}">
                    <a16:creationId xmlns:a16="http://schemas.microsoft.com/office/drawing/2014/main" id="{85763F1B-A7BF-1799-D8E9-137A2840AE61}"/>
                  </a:ext>
                </a:extLst>
              </p:cNvPr>
              <p:cNvGrpSpPr/>
              <p:nvPr/>
            </p:nvGrpSpPr>
            <p:grpSpPr>
              <a:xfrm>
                <a:off x="5602509" y="3737323"/>
                <a:ext cx="75628" cy="75628"/>
                <a:chOff x="5602509" y="3737323"/>
                <a:chExt cx="75628" cy="75628"/>
              </a:xfrm>
            </p:grpSpPr>
            <p:sp>
              <p:nvSpPr>
                <p:cNvPr id="16136" name="Freeform: Shape 16135">
                  <a:extLst>
                    <a:ext uri="{FF2B5EF4-FFF2-40B4-BE49-F238E27FC236}">
                      <a16:creationId xmlns:a16="http://schemas.microsoft.com/office/drawing/2014/main" id="{6FBE17FB-6526-BB96-69E4-51AD268EA0DA}"/>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7" name="Freeform: Shape 16136">
                  <a:extLst>
                    <a:ext uri="{FF2B5EF4-FFF2-40B4-BE49-F238E27FC236}">
                      <a16:creationId xmlns:a16="http://schemas.microsoft.com/office/drawing/2014/main" id="{0D60ACE2-CA1D-78E8-36B0-13D1593C68A9}"/>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0" name="Graphic 745">
                <a:extLst>
                  <a:ext uri="{FF2B5EF4-FFF2-40B4-BE49-F238E27FC236}">
                    <a16:creationId xmlns:a16="http://schemas.microsoft.com/office/drawing/2014/main" id="{8606E0A4-F073-7017-EA45-10C2D0E0B432}"/>
                  </a:ext>
                </a:extLst>
              </p:cNvPr>
              <p:cNvGrpSpPr/>
              <p:nvPr/>
            </p:nvGrpSpPr>
            <p:grpSpPr>
              <a:xfrm>
                <a:off x="5615844" y="3747991"/>
                <a:ext cx="75723" cy="75723"/>
                <a:chOff x="5615844" y="3747991"/>
                <a:chExt cx="75723" cy="75723"/>
              </a:xfrm>
            </p:grpSpPr>
            <p:sp>
              <p:nvSpPr>
                <p:cNvPr id="16134" name="Freeform: Shape 16133">
                  <a:extLst>
                    <a:ext uri="{FF2B5EF4-FFF2-40B4-BE49-F238E27FC236}">
                      <a16:creationId xmlns:a16="http://schemas.microsoft.com/office/drawing/2014/main" id="{8FD1503C-8D66-B4F9-74D9-C39CEBECA12E}"/>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5" name="Freeform: Shape 16134">
                  <a:extLst>
                    <a:ext uri="{FF2B5EF4-FFF2-40B4-BE49-F238E27FC236}">
                      <a16:creationId xmlns:a16="http://schemas.microsoft.com/office/drawing/2014/main" id="{7881D901-DCD3-41C7-A052-1C2F4040E547}"/>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1" name="Graphic 745">
                <a:extLst>
                  <a:ext uri="{FF2B5EF4-FFF2-40B4-BE49-F238E27FC236}">
                    <a16:creationId xmlns:a16="http://schemas.microsoft.com/office/drawing/2014/main" id="{84F32302-A534-AEAD-9C0F-00F0A02567DD}"/>
                  </a:ext>
                </a:extLst>
              </p:cNvPr>
              <p:cNvGrpSpPr/>
              <p:nvPr/>
            </p:nvGrpSpPr>
            <p:grpSpPr>
              <a:xfrm>
                <a:off x="5631275" y="3761803"/>
                <a:ext cx="75628" cy="75628"/>
                <a:chOff x="5631275" y="3761803"/>
                <a:chExt cx="75628" cy="75628"/>
              </a:xfrm>
            </p:grpSpPr>
            <p:sp>
              <p:nvSpPr>
                <p:cNvPr id="16132" name="Freeform: Shape 16131">
                  <a:extLst>
                    <a:ext uri="{FF2B5EF4-FFF2-40B4-BE49-F238E27FC236}">
                      <a16:creationId xmlns:a16="http://schemas.microsoft.com/office/drawing/2014/main" id="{E2916EE5-3310-A113-226B-3E8A32E2608E}"/>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3" name="Freeform: Shape 16132">
                  <a:extLst>
                    <a:ext uri="{FF2B5EF4-FFF2-40B4-BE49-F238E27FC236}">
                      <a16:creationId xmlns:a16="http://schemas.microsoft.com/office/drawing/2014/main" id="{335FBE33-D573-148C-2E75-7AFFB016E682}"/>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2" name="Graphic 745">
                <a:extLst>
                  <a:ext uri="{FF2B5EF4-FFF2-40B4-BE49-F238E27FC236}">
                    <a16:creationId xmlns:a16="http://schemas.microsoft.com/office/drawing/2014/main" id="{4422AE30-5D39-0525-9DA0-B29544948C59}"/>
                  </a:ext>
                </a:extLst>
              </p:cNvPr>
              <p:cNvGrpSpPr/>
              <p:nvPr/>
            </p:nvGrpSpPr>
            <p:grpSpPr>
              <a:xfrm>
                <a:off x="5642229" y="3780948"/>
                <a:ext cx="75628" cy="75723"/>
                <a:chOff x="5642229" y="3780948"/>
                <a:chExt cx="75628" cy="75723"/>
              </a:xfrm>
            </p:grpSpPr>
            <p:sp>
              <p:nvSpPr>
                <p:cNvPr id="16130" name="Freeform: Shape 16129">
                  <a:extLst>
                    <a:ext uri="{FF2B5EF4-FFF2-40B4-BE49-F238E27FC236}">
                      <a16:creationId xmlns:a16="http://schemas.microsoft.com/office/drawing/2014/main" id="{5AB11CB6-A285-C70E-740B-B872B6095B30}"/>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1" name="Freeform: Shape 16130">
                  <a:extLst>
                    <a:ext uri="{FF2B5EF4-FFF2-40B4-BE49-F238E27FC236}">
                      <a16:creationId xmlns:a16="http://schemas.microsoft.com/office/drawing/2014/main" id="{AB8F01D3-151D-CA03-CC13-883A43B1F2FF}"/>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3" name="Graphic 745">
                <a:extLst>
                  <a:ext uri="{FF2B5EF4-FFF2-40B4-BE49-F238E27FC236}">
                    <a16:creationId xmlns:a16="http://schemas.microsoft.com/office/drawing/2014/main" id="{45F6E2DF-C4A5-8718-DF60-BC2AE64409C2}"/>
                  </a:ext>
                </a:extLst>
              </p:cNvPr>
              <p:cNvGrpSpPr/>
              <p:nvPr/>
            </p:nvGrpSpPr>
            <p:grpSpPr>
              <a:xfrm>
                <a:off x="5649753" y="3792664"/>
                <a:ext cx="75723" cy="75723"/>
                <a:chOff x="5649753" y="3792664"/>
                <a:chExt cx="75723" cy="75723"/>
              </a:xfrm>
            </p:grpSpPr>
            <p:sp>
              <p:nvSpPr>
                <p:cNvPr id="16128" name="Freeform: Shape 16127">
                  <a:extLst>
                    <a:ext uri="{FF2B5EF4-FFF2-40B4-BE49-F238E27FC236}">
                      <a16:creationId xmlns:a16="http://schemas.microsoft.com/office/drawing/2014/main" id="{2F2F888E-31B7-97EA-224D-66F9A48089B1}"/>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9" name="Freeform: Shape 16128">
                  <a:extLst>
                    <a:ext uri="{FF2B5EF4-FFF2-40B4-BE49-F238E27FC236}">
                      <a16:creationId xmlns:a16="http://schemas.microsoft.com/office/drawing/2014/main" id="{E78C8289-04EE-74F3-5F18-2F0EA26429AE}"/>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4" name="Graphic 745">
                <a:extLst>
                  <a:ext uri="{FF2B5EF4-FFF2-40B4-BE49-F238E27FC236}">
                    <a16:creationId xmlns:a16="http://schemas.microsoft.com/office/drawing/2014/main" id="{223F6031-67A2-C8A8-6438-091EB233A7E9}"/>
                  </a:ext>
                </a:extLst>
              </p:cNvPr>
              <p:cNvGrpSpPr/>
              <p:nvPr/>
            </p:nvGrpSpPr>
            <p:grpSpPr>
              <a:xfrm>
                <a:off x="5666803" y="3792664"/>
                <a:ext cx="75723" cy="75723"/>
                <a:chOff x="5666803" y="3792664"/>
                <a:chExt cx="75723" cy="75723"/>
              </a:xfrm>
            </p:grpSpPr>
            <p:sp>
              <p:nvSpPr>
                <p:cNvPr id="16126" name="Freeform: Shape 16125">
                  <a:extLst>
                    <a:ext uri="{FF2B5EF4-FFF2-40B4-BE49-F238E27FC236}">
                      <a16:creationId xmlns:a16="http://schemas.microsoft.com/office/drawing/2014/main" id="{F06EE2F3-B703-C4E1-6741-4A0ED2E86ABE}"/>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7" name="Freeform: Shape 16126">
                  <a:extLst>
                    <a:ext uri="{FF2B5EF4-FFF2-40B4-BE49-F238E27FC236}">
                      <a16:creationId xmlns:a16="http://schemas.microsoft.com/office/drawing/2014/main" id="{5F21ECD3-04FC-10E1-6A49-7F9D9BC23D4A}"/>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5" name="Graphic 745">
                <a:extLst>
                  <a:ext uri="{FF2B5EF4-FFF2-40B4-BE49-F238E27FC236}">
                    <a16:creationId xmlns:a16="http://schemas.microsoft.com/office/drawing/2014/main" id="{266C734D-1E21-83F0-4968-7F9E982763C5}"/>
                  </a:ext>
                </a:extLst>
              </p:cNvPr>
              <p:cNvGrpSpPr/>
              <p:nvPr/>
            </p:nvGrpSpPr>
            <p:grpSpPr>
              <a:xfrm>
                <a:off x="5680043" y="3792664"/>
                <a:ext cx="75723" cy="75723"/>
                <a:chOff x="5680043" y="3792664"/>
                <a:chExt cx="75723" cy="75723"/>
              </a:xfrm>
            </p:grpSpPr>
            <p:sp>
              <p:nvSpPr>
                <p:cNvPr id="16124" name="Freeform: Shape 16123">
                  <a:extLst>
                    <a:ext uri="{FF2B5EF4-FFF2-40B4-BE49-F238E27FC236}">
                      <a16:creationId xmlns:a16="http://schemas.microsoft.com/office/drawing/2014/main" id="{67DA23CE-ED98-7E56-5109-B40486C32A2D}"/>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5" name="Freeform: Shape 16124">
                  <a:extLst>
                    <a:ext uri="{FF2B5EF4-FFF2-40B4-BE49-F238E27FC236}">
                      <a16:creationId xmlns:a16="http://schemas.microsoft.com/office/drawing/2014/main" id="{3CE22B32-F6A6-A16D-DC3A-ACA14A8E67FD}"/>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6" name="Graphic 745">
                <a:extLst>
                  <a:ext uri="{FF2B5EF4-FFF2-40B4-BE49-F238E27FC236}">
                    <a16:creationId xmlns:a16="http://schemas.microsoft.com/office/drawing/2014/main" id="{694ECBD9-D20D-D177-60B7-B637C18BA984}"/>
                  </a:ext>
                </a:extLst>
              </p:cNvPr>
              <p:cNvGrpSpPr/>
              <p:nvPr/>
            </p:nvGrpSpPr>
            <p:grpSpPr>
              <a:xfrm>
                <a:off x="5972937" y="3841051"/>
                <a:ext cx="75723" cy="75723"/>
                <a:chOff x="5972937" y="3841051"/>
                <a:chExt cx="75723" cy="75723"/>
              </a:xfrm>
            </p:grpSpPr>
            <p:sp>
              <p:nvSpPr>
                <p:cNvPr id="16122" name="Freeform: Shape 16121">
                  <a:extLst>
                    <a:ext uri="{FF2B5EF4-FFF2-40B4-BE49-F238E27FC236}">
                      <a16:creationId xmlns:a16="http://schemas.microsoft.com/office/drawing/2014/main" id="{DBDE370E-D276-EE7C-8B4C-98B803486F3B}"/>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3" name="Freeform: Shape 16122">
                  <a:extLst>
                    <a:ext uri="{FF2B5EF4-FFF2-40B4-BE49-F238E27FC236}">
                      <a16:creationId xmlns:a16="http://schemas.microsoft.com/office/drawing/2014/main" id="{5F9CDE52-3EB5-48D6-9F5F-3892B0252937}"/>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7" name="Graphic 745">
                <a:extLst>
                  <a:ext uri="{FF2B5EF4-FFF2-40B4-BE49-F238E27FC236}">
                    <a16:creationId xmlns:a16="http://schemas.microsoft.com/office/drawing/2014/main" id="{2D4B95DF-B786-9219-1C15-F8B1B629BC9C}"/>
                  </a:ext>
                </a:extLst>
              </p:cNvPr>
              <p:cNvGrpSpPr/>
              <p:nvPr/>
            </p:nvGrpSpPr>
            <p:grpSpPr>
              <a:xfrm>
                <a:off x="6008560" y="3841051"/>
                <a:ext cx="75723" cy="75723"/>
                <a:chOff x="6008560" y="3841051"/>
                <a:chExt cx="75723" cy="75723"/>
              </a:xfrm>
            </p:grpSpPr>
            <p:sp>
              <p:nvSpPr>
                <p:cNvPr id="16120" name="Freeform: Shape 16119">
                  <a:extLst>
                    <a:ext uri="{FF2B5EF4-FFF2-40B4-BE49-F238E27FC236}">
                      <a16:creationId xmlns:a16="http://schemas.microsoft.com/office/drawing/2014/main" id="{0EDE23CF-3367-C5CB-75E5-5810ED45895D}"/>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1" name="Freeform: Shape 16120">
                  <a:extLst>
                    <a:ext uri="{FF2B5EF4-FFF2-40B4-BE49-F238E27FC236}">
                      <a16:creationId xmlns:a16="http://schemas.microsoft.com/office/drawing/2014/main" id="{B1535A78-ABDF-FFF5-8B41-B6CDE537151F}"/>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8" name="Graphic 745">
                <a:extLst>
                  <a:ext uri="{FF2B5EF4-FFF2-40B4-BE49-F238E27FC236}">
                    <a16:creationId xmlns:a16="http://schemas.microsoft.com/office/drawing/2014/main" id="{ED5B059B-344D-67C7-E0C9-8A2093DBB5E2}"/>
                  </a:ext>
                </a:extLst>
              </p:cNvPr>
              <p:cNvGrpSpPr/>
              <p:nvPr/>
            </p:nvGrpSpPr>
            <p:grpSpPr>
              <a:xfrm>
                <a:off x="6024848" y="3841051"/>
                <a:ext cx="75628" cy="75723"/>
                <a:chOff x="6024848" y="3841051"/>
                <a:chExt cx="75628" cy="75723"/>
              </a:xfrm>
            </p:grpSpPr>
            <p:sp>
              <p:nvSpPr>
                <p:cNvPr id="16118" name="Freeform: Shape 16117">
                  <a:extLst>
                    <a:ext uri="{FF2B5EF4-FFF2-40B4-BE49-F238E27FC236}">
                      <a16:creationId xmlns:a16="http://schemas.microsoft.com/office/drawing/2014/main" id="{848D68C8-FBE6-5133-DFCE-3F3E809823A2}"/>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9" name="Freeform: Shape 16118">
                  <a:extLst>
                    <a:ext uri="{FF2B5EF4-FFF2-40B4-BE49-F238E27FC236}">
                      <a16:creationId xmlns:a16="http://schemas.microsoft.com/office/drawing/2014/main" id="{02D52DC3-B768-A302-0320-FEBE5087A06C}"/>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9" name="Graphic 745">
                <a:extLst>
                  <a:ext uri="{FF2B5EF4-FFF2-40B4-BE49-F238E27FC236}">
                    <a16:creationId xmlns:a16="http://schemas.microsoft.com/office/drawing/2014/main" id="{C287EA31-9E55-AB4B-6F9B-32C54FDE80D5}"/>
                  </a:ext>
                </a:extLst>
              </p:cNvPr>
              <p:cNvGrpSpPr/>
              <p:nvPr/>
            </p:nvGrpSpPr>
            <p:grpSpPr>
              <a:xfrm>
                <a:off x="6036564" y="3841051"/>
                <a:ext cx="75723" cy="75723"/>
                <a:chOff x="6036564" y="3841051"/>
                <a:chExt cx="75723" cy="75723"/>
              </a:xfrm>
            </p:grpSpPr>
            <p:sp>
              <p:nvSpPr>
                <p:cNvPr id="16116" name="Freeform: Shape 16115">
                  <a:extLst>
                    <a:ext uri="{FF2B5EF4-FFF2-40B4-BE49-F238E27FC236}">
                      <a16:creationId xmlns:a16="http://schemas.microsoft.com/office/drawing/2014/main" id="{89228CDF-F984-B016-9296-65F928E82286}"/>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7" name="Freeform: Shape 16116">
                  <a:extLst>
                    <a:ext uri="{FF2B5EF4-FFF2-40B4-BE49-F238E27FC236}">
                      <a16:creationId xmlns:a16="http://schemas.microsoft.com/office/drawing/2014/main" id="{54225A8A-661D-2EC2-F70C-01C6501BEA26}"/>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0" name="Graphic 745">
                <a:extLst>
                  <a:ext uri="{FF2B5EF4-FFF2-40B4-BE49-F238E27FC236}">
                    <a16:creationId xmlns:a16="http://schemas.microsoft.com/office/drawing/2014/main" id="{D1D9215F-B937-0D0D-DBA1-677C077E6212}"/>
                  </a:ext>
                </a:extLst>
              </p:cNvPr>
              <p:cNvGrpSpPr/>
              <p:nvPr/>
            </p:nvGrpSpPr>
            <p:grpSpPr>
              <a:xfrm>
                <a:off x="6052756" y="3871435"/>
                <a:ext cx="75723" cy="75723"/>
                <a:chOff x="6052756" y="3871435"/>
                <a:chExt cx="75723" cy="75723"/>
              </a:xfrm>
            </p:grpSpPr>
            <p:sp>
              <p:nvSpPr>
                <p:cNvPr id="16114" name="Freeform: Shape 16113">
                  <a:extLst>
                    <a:ext uri="{FF2B5EF4-FFF2-40B4-BE49-F238E27FC236}">
                      <a16:creationId xmlns:a16="http://schemas.microsoft.com/office/drawing/2014/main" id="{9CB7A180-535A-EF40-2453-65F16101D88B}"/>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5" name="Freeform: Shape 16114">
                  <a:extLst>
                    <a:ext uri="{FF2B5EF4-FFF2-40B4-BE49-F238E27FC236}">
                      <a16:creationId xmlns:a16="http://schemas.microsoft.com/office/drawing/2014/main" id="{2C25EEE5-5F8C-1F93-814F-DAB3D9FF60FE}"/>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1" name="Graphic 745">
                <a:extLst>
                  <a:ext uri="{FF2B5EF4-FFF2-40B4-BE49-F238E27FC236}">
                    <a16:creationId xmlns:a16="http://schemas.microsoft.com/office/drawing/2014/main" id="{A4B6BE2C-2268-56E3-2298-63B3B68788E1}"/>
                  </a:ext>
                </a:extLst>
              </p:cNvPr>
              <p:cNvGrpSpPr/>
              <p:nvPr/>
            </p:nvGrpSpPr>
            <p:grpSpPr>
              <a:xfrm>
                <a:off x="6066567" y="3871435"/>
                <a:ext cx="75723" cy="75723"/>
                <a:chOff x="6066567" y="3871435"/>
                <a:chExt cx="75723" cy="75723"/>
              </a:xfrm>
            </p:grpSpPr>
            <p:sp>
              <p:nvSpPr>
                <p:cNvPr id="16112" name="Freeform: Shape 16111">
                  <a:extLst>
                    <a:ext uri="{FF2B5EF4-FFF2-40B4-BE49-F238E27FC236}">
                      <a16:creationId xmlns:a16="http://schemas.microsoft.com/office/drawing/2014/main" id="{6166379D-FE7E-12E2-38FB-46920976CF28}"/>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3" name="Freeform: Shape 16112">
                  <a:extLst>
                    <a:ext uri="{FF2B5EF4-FFF2-40B4-BE49-F238E27FC236}">
                      <a16:creationId xmlns:a16="http://schemas.microsoft.com/office/drawing/2014/main" id="{29B36E7F-F69A-FD15-DA57-5570B923575B}"/>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2" name="Graphic 745">
                <a:extLst>
                  <a:ext uri="{FF2B5EF4-FFF2-40B4-BE49-F238E27FC236}">
                    <a16:creationId xmlns:a16="http://schemas.microsoft.com/office/drawing/2014/main" id="{B2F757BA-ECC6-E5F5-9D78-ECEA0A79B806}"/>
                  </a:ext>
                </a:extLst>
              </p:cNvPr>
              <p:cNvGrpSpPr/>
              <p:nvPr/>
            </p:nvGrpSpPr>
            <p:grpSpPr>
              <a:xfrm>
                <a:off x="6074378" y="3888104"/>
                <a:ext cx="75723" cy="75628"/>
                <a:chOff x="6074378" y="3888104"/>
                <a:chExt cx="75723" cy="75628"/>
              </a:xfrm>
            </p:grpSpPr>
            <p:sp>
              <p:nvSpPr>
                <p:cNvPr id="16110" name="Freeform: Shape 16109">
                  <a:extLst>
                    <a:ext uri="{FF2B5EF4-FFF2-40B4-BE49-F238E27FC236}">
                      <a16:creationId xmlns:a16="http://schemas.microsoft.com/office/drawing/2014/main" id="{A104B8C7-9D66-546C-46F9-E93C86B0E869}"/>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1" name="Freeform: Shape 16110">
                  <a:extLst>
                    <a:ext uri="{FF2B5EF4-FFF2-40B4-BE49-F238E27FC236}">
                      <a16:creationId xmlns:a16="http://schemas.microsoft.com/office/drawing/2014/main" id="{F86F81C1-BAA5-D6F4-3D5D-E47BBA08CE31}"/>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3" name="Graphic 745">
                <a:extLst>
                  <a:ext uri="{FF2B5EF4-FFF2-40B4-BE49-F238E27FC236}">
                    <a16:creationId xmlns:a16="http://schemas.microsoft.com/office/drawing/2014/main" id="{4A52AC78-8487-45D4-CB7D-ECA12A20CE03}"/>
                  </a:ext>
                </a:extLst>
              </p:cNvPr>
              <p:cNvGrpSpPr/>
              <p:nvPr/>
            </p:nvGrpSpPr>
            <p:grpSpPr>
              <a:xfrm>
                <a:off x="6088856" y="3909345"/>
                <a:ext cx="75723" cy="75628"/>
                <a:chOff x="6088856" y="3909345"/>
                <a:chExt cx="75723" cy="75628"/>
              </a:xfrm>
            </p:grpSpPr>
            <p:sp>
              <p:nvSpPr>
                <p:cNvPr id="16108" name="Freeform: Shape 16107">
                  <a:extLst>
                    <a:ext uri="{FF2B5EF4-FFF2-40B4-BE49-F238E27FC236}">
                      <a16:creationId xmlns:a16="http://schemas.microsoft.com/office/drawing/2014/main" id="{9001E825-EE98-7A4C-410E-903403CBAD3E}"/>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9" name="Freeform: Shape 16108">
                  <a:extLst>
                    <a:ext uri="{FF2B5EF4-FFF2-40B4-BE49-F238E27FC236}">
                      <a16:creationId xmlns:a16="http://schemas.microsoft.com/office/drawing/2014/main" id="{A87FE33B-F622-F944-674E-2106C0669D11}"/>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4" name="Graphic 745">
                <a:extLst>
                  <a:ext uri="{FF2B5EF4-FFF2-40B4-BE49-F238E27FC236}">
                    <a16:creationId xmlns:a16="http://schemas.microsoft.com/office/drawing/2014/main" id="{E328E822-C17D-AD66-B052-7B55324B2F67}"/>
                  </a:ext>
                </a:extLst>
              </p:cNvPr>
              <p:cNvGrpSpPr/>
              <p:nvPr/>
            </p:nvGrpSpPr>
            <p:grpSpPr>
              <a:xfrm>
                <a:off x="6112287" y="3909345"/>
                <a:ext cx="75628" cy="75628"/>
                <a:chOff x="6112287" y="3909345"/>
                <a:chExt cx="75628" cy="75628"/>
              </a:xfrm>
            </p:grpSpPr>
            <p:sp>
              <p:nvSpPr>
                <p:cNvPr id="16106" name="Freeform: Shape 16105">
                  <a:extLst>
                    <a:ext uri="{FF2B5EF4-FFF2-40B4-BE49-F238E27FC236}">
                      <a16:creationId xmlns:a16="http://schemas.microsoft.com/office/drawing/2014/main" id="{557647D0-C771-FFB4-CA18-0555703BBAAF}"/>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7" name="Freeform: Shape 16106">
                  <a:extLst>
                    <a:ext uri="{FF2B5EF4-FFF2-40B4-BE49-F238E27FC236}">
                      <a16:creationId xmlns:a16="http://schemas.microsoft.com/office/drawing/2014/main" id="{0A76C0EB-1776-8DB7-E2E9-10DADBE76C79}"/>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5" name="Graphic 745">
                <a:extLst>
                  <a:ext uri="{FF2B5EF4-FFF2-40B4-BE49-F238E27FC236}">
                    <a16:creationId xmlns:a16="http://schemas.microsoft.com/office/drawing/2014/main" id="{CF258DA4-5381-C54A-7EC4-CD0057AB0EC8}"/>
                  </a:ext>
                </a:extLst>
              </p:cNvPr>
              <p:cNvGrpSpPr/>
              <p:nvPr/>
            </p:nvGrpSpPr>
            <p:grpSpPr>
              <a:xfrm>
                <a:off x="6100476" y="3909345"/>
                <a:ext cx="75723" cy="75628"/>
                <a:chOff x="6100476" y="3909345"/>
                <a:chExt cx="75723" cy="75628"/>
              </a:xfrm>
            </p:grpSpPr>
            <p:sp>
              <p:nvSpPr>
                <p:cNvPr id="16104" name="Freeform: Shape 16103">
                  <a:extLst>
                    <a:ext uri="{FF2B5EF4-FFF2-40B4-BE49-F238E27FC236}">
                      <a16:creationId xmlns:a16="http://schemas.microsoft.com/office/drawing/2014/main" id="{B5A0C638-F144-EC4B-5E69-91AD6E49F4BC}"/>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5" name="Freeform: Shape 16104">
                  <a:extLst>
                    <a:ext uri="{FF2B5EF4-FFF2-40B4-BE49-F238E27FC236}">
                      <a16:creationId xmlns:a16="http://schemas.microsoft.com/office/drawing/2014/main" id="{69660DDD-E1AD-C5D7-8761-49A76A2A68D5}"/>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6" name="Graphic 745">
                <a:extLst>
                  <a:ext uri="{FF2B5EF4-FFF2-40B4-BE49-F238E27FC236}">
                    <a16:creationId xmlns:a16="http://schemas.microsoft.com/office/drawing/2014/main" id="{35CD7C0E-F743-2639-815E-BD9B92BD62BF}"/>
                  </a:ext>
                </a:extLst>
              </p:cNvPr>
              <p:cNvGrpSpPr/>
              <p:nvPr/>
            </p:nvGrpSpPr>
            <p:grpSpPr>
              <a:xfrm>
                <a:off x="6900100" y="4071937"/>
                <a:ext cx="75723" cy="75723"/>
                <a:chOff x="6900100" y="4071937"/>
                <a:chExt cx="75723" cy="75723"/>
              </a:xfrm>
            </p:grpSpPr>
            <p:sp>
              <p:nvSpPr>
                <p:cNvPr id="16102" name="Freeform: Shape 16101">
                  <a:extLst>
                    <a:ext uri="{FF2B5EF4-FFF2-40B4-BE49-F238E27FC236}">
                      <a16:creationId xmlns:a16="http://schemas.microsoft.com/office/drawing/2014/main" id="{82D7D30F-0F5B-1F2A-A777-A2A3C4DEF215}"/>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3" name="Freeform: Shape 16102">
                  <a:extLst>
                    <a:ext uri="{FF2B5EF4-FFF2-40B4-BE49-F238E27FC236}">
                      <a16:creationId xmlns:a16="http://schemas.microsoft.com/office/drawing/2014/main" id="{B9EF6407-510E-1577-5EAA-5A2B9D1CB586}"/>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7" name="Graphic 745">
                <a:extLst>
                  <a:ext uri="{FF2B5EF4-FFF2-40B4-BE49-F238E27FC236}">
                    <a16:creationId xmlns:a16="http://schemas.microsoft.com/office/drawing/2014/main" id="{19891E4E-513B-9D92-6A6A-E61BA499FEA6}"/>
                  </a:ext>
                </a:extLst>
              </p:cNvPr>
              <p:cNvGrpSpPr/>
              <p:nvPr/>
            </p:nvGrpSpPr>
            <p:grpSpPr>
              <a:xfrm>
                <a:off x="6962298" y="4156328"/>
                <a:ext cx="75723" cy="75628"/>
                <a:chOff x="6962298" y="4156328"/>
                <a:chExt cx="75723" cy="75628"/>
              </a:xfrm>
            </p:grpSpPr>
            <p:sp>
              <p:nvSpPr>
                <p:cNvPr id="16100" name="Freeform: Shape 16099">
                  <a:extLst>
                    <a:ext uri="{FF2B5EF4-FFF2-40B4-BE49-F238E27FC236}">
                      <a16:creationId xmlns:a16="http://schemas.microsoft.com/office/drawing/2014/main" id="{47A7AA95-B021-2C59-DDE2-A091A3AE72FE}"/>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1" name="Freeform: Shape 16100">
                  <a:extLst>
                    <a:ext uri="{FF2B5EF4-FFF2-40B4-BE49-F238E27FC236}">
                      <a16:creationId xmlns:a16="http://schemas.microsoft.com/office/drawing/2014/main" id="{22AC9896-2C34-F265-3534-0330474DC16C}"/>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8" name="Graphic 745">
                <a:extLst>
                  <a:ext uri="{FF2B5EF4-FFF2-40B4-BE49-F238E27FC236}">
                    <a16:creationId xmlns:a16="http://schemas.microsoft.com/office/drawing/2014/main" id="{0D57C547-2810-3D7E-DDEB-A26D8962B079}"/>
                  </a:ext>
                </a:extLst>
              </p:cNvPr>
              <p:cNvGrpSpPr/>
              <p:nvPr/>
            </p:nvGrpSpPr>
            <p:grpSpPr>
              <a:xfrm>
                <a:off x="6946773" y="4131087"/>
                <a:ext cx="75723" cy="75628"/>
                <a:chOff x="6946773" y="4131087"/>
                <a:chExt cx="75723" cy="75628"/>
              </a:xfrm>
            </p:grpSpPr>
            <p:sp>
              <p:nvSpPr>
                <p:cNvPr id="16098" name="Freeform: Shape 16097">
                  <a:extLst>
                    <a:ext uri="{FF2B5EF4-FFF2-40B4-BE49-F238E27FC236}">
                      <a16:creationId xmlns:a16="http://schemas.microsoft.com/office/drawing/2014/main" id="{BED7B861-55AD-B9A1-4331-0C3EA5AA8988}"/>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9" name="Freeform: Shape 16098">
                  <a:extLst>
                    <a:ext uri="{FF2B5EF4-FFF2-40B4-BE49-F238E27FC236}">
                      <a16:creationId xmlns:a16="http://schemas.microsoft.com/office/drawing/2014/main" id="{74349E06-4261-DFB1-E8D5-09C47013672A}"/>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9" name="Graphic 745">
                <a:extLst>
                  <a:ext uri="{FF2B5EF4-FFF2-40B4-BE49-F238E27FC236}">
                    <a16:creationId xmlns:a16="http://schemas.microsoft.com/office/drawing/2014/main" id="{F9BB5B38-FD1E-7B5C-25E2-2E5EEE348475}"/>
                  </a:ext>
                </a:extLst>
              </p:cNvPr>
              <p:cNvGrpSpPr/>
              <p:nvPr/>
            </p:nvGrpSpPr>
            <p:grpSpPr>
              <a:xfrm>
                <a:off x="6926865" y="4104322"/>
                <a:ext cx="75723" cy="75723"/>
                <a:chOff x="6926865" y="4104322"/>
                <a:chExt cx="75723" cy="75723"/>
              </a:xfrm>
            </p:grpSpPr>
            <p:sp>
              <p:nvSpPr>
                <p:cNvPr id="16096" name="Freeform: Shape 16095">
                  <a:extLst>
                    <a:ext uri="{FF2B5EF4-FFF2-40B4-BE49-F238E27FC236}">
                      <a16:creationId xmlns:a16="http://schemas.microsoft.com/office/drawing/2014/main" id="{64C51236-532B-DF14-65F4-B74556A62FB4}"/>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7" name="Freeform: Shape 16096">
                  <a:extLst>
                    <a:ext uri="{FF2B5EF4-FFF2-40B4-BE49-F238E27FC236}">
                      <a16:creationId xmlns:a16="http://schemas.microsoft.com/office/drawing/2014/main" id="{D2B1C70E-7785-5485-81E3-F07B0278720F}"/>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0" name="Graphic 745">
                <a:extLst>
                  <a:ext uri="{FF2B5EF4-FFF2-40B4-BE49-F238E27FC236}">
                    <a16:creationId xmlns:a16="http://schemas.microsoft.com/office/drawing/2014/main" id="{C40C5043-A58A-2F8B-64EF-CBBA8A0B2EC8}"/>
                  </a:ext>
                </a:extLst>
              </p:cNvPr>
              <p:cNvGrpSpPr/>
              <p:nvPr/>
            </p:nvGrpSpPr>
            <p:grpSpPr>
              <a:xfrm>
                <a:off x="6912864" y="4104322"/>
                <a:ext cx="75723" cy="75723"/>
                <a:chOff x="6912864" y="4104322"/>
                <a:chExt cx="75723" cy="75723"/>
              </a:xfrm>
            </p:grpSpPr>
            <p:sp>
              <p:nvSpPr>
                <p:cNvPr id="16094" name="Freeform: Shape 16093">
                  <a:extLst>
                    <a:ext uri="{FF2B5EF4-FFF2-40B4-BE49-F238E27FC236}">
                      <a16:creationId xmlns:a16="http://schemas.microsoft.com/office/drawing/2014/main" id="{FE6B927A-9323-17E1-8B7D-0A81F15869A2}"/>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5" name="Freeform: Shape 16094">
                  <a:extLst>
                    <a:ext uri="{FF2B5EF4-FFF2-40B4-BE49-F238E27FC236}">
                      <a16:creationId xmlns:a16="http://schemas.microsoft.com/office/drawing/2014/main" id="{B2F40A9E-FEBF-2A37-4D48-3E535AC3CA75}"/>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1" name="Graphic 745">
                <a:extLst>
                  <a:ext uri="{FF2B5EF4-FFF2-40B4-BE49-F238E27FC236}">
                    <a16:creationId xmlns:a16="http://schemas.microsoft.com/office/drawing/2014/main" id="{0C4B78C5-E23B-55B1-FC17-CC86C1B5B1F7}"/>
                  </a:ext>
                </a:extLst>
              </p:cNvPr>
              <p:cNvGrpSpPr/>
              <p:nvPr/>
            </p:nvGrpSpPr>
            <p:grpSpPr>
              <a:xfrm>
                <a:off x="7032117" y="4185284"/>
                <a:ext cx="75723" cy="75723"/>
                <a:chOff x="7032117" y="4185284"/>
                <a:chExt cx="75723" cy="75723"/>
              </a:xfrm>
            </p:grpSpPr>
            <p:sp>
              <p:nvSpPr>
                <p:cNvPr id="16092" name="Freeform: Shape 16091">
                  <a:extLst>
                    <a:ext uri="{FF2B5EF4-FFF2-40B4-BE49-F238E27FC236}">
                      <a16:creationId xmlns:a16="http://schemas.microsoft.com/office/drawing/2014/main" id="{E2F3460C-7E7C-76A3-AA62-608EF8355BFF}"/>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3" name="Freeform: Shape 16092">
                  <a:extLst>
                    <a:ext uri="{FF2B5EF4-FFF2-40B4-BE49-F238E27FC236}">
                      <a16:creationId xmlns:a16="http://schemas.microsoft.com/office/drawing/2014/main" id="{57445CE7-FE39-7F37-DD83-CFF263506ACD}"/>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2" name="Graphic 745">
                <a:extLst>
                  <a:ext uri="{FF2B5EF4-FFF2-40B4-BE49-F238E27FC236}">
                    <a16:creationId xmlns:a16="http://schemas.microsoft.com/office/drawing/2014/main" id="{93BBC878-AD19-3D23-6421-402B15D974B0}"/>
                  </a:ext>
                </a:extLst>
              </p:cNvPr>
              <p:cNvGrpSpPr/>
              <p:nvPr/>
            </p:nvGrpSpPr>
            <p:grpSpPr>
              <a:xfrm>
                <a:off x="7742872" y="4275772"/>
                <a:ext cx="75723" cy="75723"/>
                <a:chOff x="7742872" y="4275772"/>
                <a:chExt cx="75723" cy="75723"/>
              </a:xfrm>
            </p:grpSpPr>
            <p:sp>
              <p:nvSpPr>
                <p:cNvPr id="16090" name="Freeform: Shape 16089">
                  <a:extLst>
                    <a:ext uri="{FF2B5EF4-FFF2-40B4-BE49-F238E27FC236}">
                      <a16:creationId xmlns:a16="http://schemas.microsoft.com/office/drawing/2014/main" id="{52AF56A7-CB5B-A156-3D5A-D63FE7490211}"/>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1" name="Freeform: Shape 16090">
                  <a:extLst>
                    <a:ext uri="{FF2B5EF4-FFF2-40B4-BE49-F238E27FC236}">
                      <a16:creationId xmlns:a16="http://schemas.microsoft.com/office/drawing/2014/main" id="{A4D1063C-4305-5644-9EDE-9ECD6D2D9895}"/>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3" name="Graphic 745">
                <a:extLst>
                  <a:ext uri="{FF2B5EF4-FFF2-40B4-BE49-F238E27FC236}">
                    <a16:creationId xmlns:a16="http://schemas.microsoft.com/office/drawing/2014/main" id="{0FF1FE0D-6B7F-C24F-4E39-0E9A7493738A}"/>
                  </a:ext>
                </a:extLst>
              </p:cNvPr>
              <p:cNvGrpSpPr/>
              <p:nvPr/>
            </p:nvGrpSpPr>
            <p:grpSpPr>
              <a:xfrm>
                <a:off x="7766399" y="4275772"/>
                <a:ext cx="75628" cy="75723"/>
                <a:chOff x="7766399" y="4275772"/>
                <a:chExt cx="75628" cy="75723"/>
              </a:xfrm>
            </p:grpSpPr>
            <p:sp>
              <p:nvSpPr>
                <p:cNvPr id="16088" name="Freeform: Shape 16087">
                  <a:extLst>
                    <a:ext uri="{FF2B5EF4-FFF2-40B4-BE49-F238E27FC236}">
                      <a16:creationId xmlns:a16="http://schemas.microsoft.com/office/drawing/2014/main" id="{733E700B-67C2-467F-4FF3-9EE2DDBF2661}"/>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9" name="Freeform: Shape 16088">
                  <a:extLst>
                    <a:ext uri="{FF2B5EF4-FFF2-40B4-BE49-F238E27FC236}">
                      <a16:creationId xmlns:a16="http://schemas.microsoft.com/office/drawing/2014/main" id="{77954659-BD72-92AE-9DBE-412E322A9441}"/>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4" name="Graphic 745">
                <a:extLst>
                  <a:ext uri="{FF2B5EF4-FFF2-40B4-BE49-F238E27FC236}">
                    <a16:creationId xmlns:a16="http://schemas.microsoft.com/office/drawing/2014/main" id="{C9A6F7CE-DDDA-9190-75A1-1C9D0517000C}"/>
                  </a:ext>
                </a:extLst>
              </p:cNvPr>
              <p:cNvGrpSpPr/>
              <p:nvPr/>
            </p:nvGrpSpPr>
            <p:grpSpPr>
              <a:xfrm>
                <a:off x="7787449" y="4275772"/>
                <a:ext cx="75723" cy="75723"/>
                <a:chOff x="7787449" y="4275772"/>
                <a:chExt cx="75723" cy="75723"/>
              </a:xfrm>
            </p:grpSpPr>
            <p:sp>
              <p:nvSpPr>
                <p:cNvPr id="16086" name="Freeform: Shape 16085">
                  <a:extLst>
                    <a:ext uri="{FF2B5EF4-FFF2-40B4-BE49-F238E27FC236}">
                      <a16:creationId xmlns:a16="http://schemas.microsoft.com/office/drawing/2014/main" id="{0B4A36C1-3588-F560-95E5-D5C784FF1C16}"/>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7" name="Freeform: Shape 16086">
                  <a:extLst>
                    <a:ext uri="{FF2B5EF4-FFF2-40B4-BE49-F238E27FC236}">
                      <a16:creationId xmlns:a16="http://schemas.microsoft.com/office/drawing/2014/main" id="{E42E0837-807F-A220-71B9-4CCB982F9720}"/>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5" name="Graphic 745">
                <a:extLst>
                  <a:ext uri="{FF2B5EF4-FFF2-40B4-BE49-F238E27FC236}">
                    <a16:creationId xmlns:a16="http://schemas.microsoft.com/office/drawing/2014/main" id="{9634F47C-1713-3C03-A658-2E0A46FBF5BC}"/>
                  </a:ext>
                </a:extLst>
              </p:cNvPr>
              <p:cNvGrpSpPr/>
              <p:nvPr/>
            </p:nvGrpSpPr>
            <p:grpSpPr>
              <a:xfrm>
                <a:off x="7793545" y="4275772"/>
                <a:ext cx="75628" cy="75723"/>
                <a:chOff x="7793545" y="4275772"/>
                <a:chExt cx="75628" cy="75723"/>
              </a:xfrm>
            </p:grpSpPr>
            <p:sp>
              <p:nvSpPr>
                <p:cNvPr id="16084" name="Freeform: Shape 16083">
                  <a:extLst>
                    <a:ext uri="{FF2B5EF4-FFF2-40B4-BE49-F238E27FC236}">
                      <a16:creationId xmlns:a16="http://schemas.microsoft.com/office/drawing/2014/main" id="{3DCFE86E-8B4A-8EFE-CF6C-F1D2750EE651}"/>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5" name="Freeform: Shape 16084">
                  <a:extLst>
                    <a:ext uri="{FF2B5EF4-FFF2-40B4-BE49-F238E27FC236}">
                      <a16:creationId xmlns:a16="http://schemas.microsoft.com/office/drawing/2014/main" id="{D58D0285-7756-99E2-6B82-DED5112475D5}"/>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6" name="Graphic 745">
                <a:extLst>
                  <a:ext uri="{FF2B5EF4-FFF2-40B4-BE49-F238E27FC236}">
                    <a16:creationId xmlns:a16="http://schemas.microsoft.com/office/drawing/2014/main" id="{FEA5836F-EDCF-063A-6157-97CFA0E0B2FE}"/>
                  </a:ext>
                </a:extLst>
              </p:cNvPr>
              <p:cNvGrpSpPr/>
              <p:nvPr/>
            </p:nvGrpSpPr>
            <p:grpSpPr>
              <a:xfrm>
                <a:off x="7821453" y="4275772"/>
                <a:ext cx="75723" cy="75723"/>
                <a:chOff x="7821453" y="4275772"/>
                <a:chExt cx="75723" cy="75723"/>
              </a:xfrm>
            </p:grpSpPr>
            <p:sp>
              <p:nvSpPr>
                <p:cNvPr id="16082" name="Freeform: Shape 16081">
                  <a:extLst>
                    <a:ext uri="{FF2B5EF4-FFF2-40B4-BE49-F238E27FC236}">
                      <a16:creationId xmlns:a16="http://schemas.microsoft.com/office/drawing/2014/main" id="{443D556D-1A9A-27A5-FDEB-E5E63FF66221}"/>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3" name="Freeform: Shape 16082">
                  <a:extLst>
                    <a:ext uri="{FF2B5EF4-FFF2-40B4-BE49-F238E27FC236}">
                      <a16:creationId xmlns:a16="http://schemas.microsoft.com/office/drawing/2014/main" id="{DB37A267-A921-CA03-6D21-164C4D07B956}"/>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7" name="Graphic 745">
                <a:extLst>
                  <a:ext uri="{FF2B5EF4-FFF2-40B4-BE49-F238E27FC236}">
                    <a16:creationId xmlns:a16="http://schemas.microsoft.com/office/drawing/2014/main" id="{EB5E877C-FEAD-D701-BFFC-63BA0E153321}"/>
                  </a:ext>
                </a:extLst>
              </p:cNvPr>
              <p:cNvGrpSpPr/>
              <p:nvPr/>
            </p:nvGrpSpPr>
            <p:grpSpPr>
              <a:xfrm>
                <a:off x="7807737" y="4275772"/>
                <a:ext cx="75628" cy="75723"/>
                <a:chOff x="7807737" y="4275772"/>
                <a:chExt cx="75628" cy="75723"/>
              </a:xfrm>
            </p:grpSpPr>
            <p:sp>
              <p:nvSpPr>
                <p:cNvPr id="16080" name="Freeform: Shape 16079">
                  <a:extLst>
                    <a:ext uri="{FF2B5EF4-FFF2-40B4-BE49-F238E27FC236}">
                      <a16:creationId xmlns:a16="http://schemas.microsoft.com/office/drawing/2014/main" id="{A66E5194-67C3-20F6-7136-608E733CAE47}"/>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1" name="Freeform: Shape 16080">
                  <a:extLst>
                    <a:ext uri="{FF2B5EF4-FFF2-40B4-BE49-F238E27FC236}">
                      <a16:creationId xmlns:a16="http://schemas.microsoft.com/office/drawing/2014/main" id="{E969073F-4C18-827D-A0A8-2B7317D454E9}"/>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8" name="Graphic 745">
                <a:extLst>
                  <a:ext uri="{FF2B5EF4-FFF2-40B4-BE49-F238E27FC236}">
                    <a16:creationId xmlns:a16="http://schemas.microsoft.com/office/drawing/2014/main" id="{50EB6033-908E-2B40-E463-995D143E219F}"/>
                  </a:ext>
                </a:extLst>
              </p:cNvPr>
              <p:cNvGrpSpPr/>
              <p:nvPr/>
            </p:nvGrpSpPr>
            <p:grpSpPr>
              <a:xfrm>
                <a:off x="8174545" y="4275772"/>
                <a:ext cx="75628" cy="75723"/>
                <a:chOff x="8174545" y="4275772"/>
                <a:chExt cx="75628" cy="75723"/>
              </a:xfrm>
            </p:grpSpPr>
            <p:sp>
              <p:nvSpPr>
                <p:cNvPr id="16078" name="Freeform: Shape 16077">
                  <a:extLst>
                    <a:ext uri="{FF2B5EF4-FFF2-40B4-BE49-F238E27FC236}">
                      <a16:creationId xmlns:a16="http://schemas.microsoft.com/office/drawing/2014/main" id="{01A4D764-6410-3D2C-37B2-D02449BF480C}"/>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9" name="Freeform: Shape 16078">
                  <a:extLst>
                    <a:ext uri="{FF2B5EF4-FFF2-40B4-BE49-F238E27FC236}">
                      <a16:creationId xmlns:a16="http://schemas.microsoft.com/office/drawing/2014/main" id="{0AD5B6E2-12B3-D620-F5DD-AB09489798E1}"/>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9" name="Graphic 745">
                <a:extLst>
                  <a:ext uri="{FF2B5EF4-FFF2-40B4-BE49-F238E27FC236}">
                    <a16:creationId xmlns:a16="http://schemas.microsoft.com/office/drawing/2014/main" id="{C6EC692A-DE47-F992-2318-3C2B8E850877}"/>
                  </a:ext>
                </a:extLst>
              </p:cNvPr>
              <p:cNvGrpSpPr/>
              <p:nvPr/>
            </p:nvGrpSpPr>
            <p:grpSpPr>
              <a:xfrm>
                <a:off x="8189118" y="4275772"/>
                <a:ext cx="75723" cy="75723"/>
                <a:chOff x="8189118" y="4275772"/>
                <a:chExt cx="75723" cy="75723"/>
              </a:xfrm>
            </p:grpSpPr>
            <p:sp>
              <p:nvSpPr>
                <p:cNvPr id="16076" name="Freeform: Shape 16075">
                  <a:extLst>
                    <a:ext uri="{FF2B5EF4-FFF2-40B4-BE49-F238E27FC236}">
                      <a16:creationId xmlns:a16="http://schemas.microsoft.com/office/drawing/2014/main" id="{25CEB7F6-6AEE-EE46-96BC-B7EA01C7490F}"/>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7" name="Freeform: Shape 16076">
                  <a:extLst>
                    <a:ext uri="{FF2B5EF4-FFF2-40B4-BE49-F238E27FC236}">
                      <a16:creationId xmlns:a16="http://schemas.microsoft.com/office/drawing/2014/main" id="{367D6E20-0F81-9CC2-EE14-1A3EFC1E2F00}"/>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0" name="Graphic 745">
                <a:extLst>
                  <a:ext uri="{FF2B5EF4-FFF2-40B4-BE49-F238E27FC236}">
                    <a16:creationId xmlns:a16="http://schemas.microsoft.com/office/drawing/2014/main" id="{0B0A6682-2C06-C120-05C3-38127CEB5D7E}"/>
                  </a:ext>
                </a:extLst>
              </p:cNvPr>
              <p:cNvGrpSpPr/>
              <p:nvPr/>
            </p:nvGrpSpPr>
            <p:grpSpPr>
              <a:xfrm>
                <a:off x="8212359" y="4275772"/>
                <a:ext cx="75723" cy="75723"/>
                <a:chOff x="8212359" y="4275772"/>
                <a:chExt cx="75723" cy="75723"/>
              </a:xfrm>
            </p:grpSpPr>
            <p:sp>
              <p:nvSpPr>
                <p:cNvPr id="16074" name="Freeform: Shape 16073">
                  <a:extLst>
                    <a:ext uri="{FF2B5EF4-FFF2-40B4-BE49-F238E27FC236}">
                      <a16:creationId xmlns:a16="http://schemas.microsoft.com/office/drawing/2014/main" id="{3F78678A-8DD7-7B5E-AB14-3A4DF3A4D851}"/>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5" name="Freeform: Shape 16074">
                  <a:extLst>
                    <a:ext uri="{FF2B5EF4-FFF2-40B4-BE49-F238E27FC236}">
                      <a16:creationId xmlns:a16="http://schemas.microsoft.com/office/drawing/2014/main" id="{6E5E1B76-EB47-8594-0E6F-EAB6CF07882A}"/>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1" name="Graphic 745">
                <a:extLst>
                  <a:ext uri="{FF2B5EF4-FFF2-40B4-BE49-F238E27FC236}">
                    <a16:creationId xmlns:a16="http://schemas.microsoft.com/office/drawing/2014/main" id="{6060D560-8998-8C07-1C74-E79A42C1F218}"/>
                  </a:ext>
                </a:extLst>
              </p:cNvPr>
              <p:cNvGrpSpPr/>
              <p:nvPr/>
            </p:nvGrpSpPr>
            <p:grpSpPr>
              <a:xfrm>
                <a:off x="8226933" y="4275772"/>
                <a:ext cx="75723" cy="75723"/>
                <a:chOff x="8226933" y="4275772"/>
                <a:chExt cx="75723" cy="75723"/>
              </a:xfrm>
            </p:grpSpPr>
            <p:sp>
              <p:nvSpPr>
                <p:cNvPr id="16072" name="Freeform: Shape 16071">
                  <a:extLst>
                    <a:ext uri="{FF2B5EF4-FFF2-40B4-BE49-F238E27FC236}">
                      <a16:creationId xmlns:a16="http://schemas.microsoft.com/office/drawing/2014/main" id="{A33E0869-F052-A969-0DAA-684F64AEE39C}"/>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3" name="Freeform: Shape 16072">
                  <a:extLst>
                    <a:ext uri="{FF2B5EF4-FFF2-40B4-BE49-F238E27FC236}">
                      <a16:creationId xmlns:a16="http://schemas.microsoft.com/office/drawing/2014/main" id="{AAD6C457-86F1-0DC0-CD27-819FE9F05DAD}"/>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968" name="Freeform: Shape 15967">
              <a:extLst>
                <a:ext uri="{FF2B5EF4-FFF2-40B4-BE49-F238E27FC236}">
                  <a16:creationId xmlns:a16="http://schemas.microsoft.com/office/drawing/2014/main" id="{B916F11E-83E5-669F-56BE-8FCA117F2E7C}"/>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aphicFrame>
        <p:nvGraphicFramePr>
          <p:cNvPr id="5" name="Table 4">
            <a:extLst>
              <a:ext uri="{FF2B5EF4-FFF2-40B4-BE49-F238E27FC236}">
                <a16:creationId xmlns:a16="http://schemas.microsoft.com/office/drawing/2014/main" id="{EB21D3D3-50D0-260B-DFF2-C85100A7BB19}"/>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5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8</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grpSp>
        <p:nvGrpSpPr>
          <p:cNvPr id="15321" name="Group 15320">
            <a:extLst>
              <a:ext uri="{FF2B5EF4-FFF2-40B4-BE49-F238E27FC236}">
                <a16:creationId xmlns:a16="http://schemas.microsoft.com/office/drawing/2014/main" id="{EADC52EC-97AF-2D42-15F0-10D80B34F599}"/>
              </a:ext>
            </a:extLst>
          </p:cNvPr>
          <p:cNvGrpSpPr/>
          <p:nvPr/>
        </p:nvGrpSpPr>
        <p:grpSpPr>
          <a:xfrm>
            <a:off x="8595610" y="1841319"/>
            <a:ext cx="3422910" cy="4317887"/>
            <a:chOff x="8095933" y="1892105"/>
            <a:chExt cx="3422910" cy="4317887"/>
          </a:xfrm>
        </p:grpSpPr>
        <p:sp>
          <p:nvSpPr>
            <p:cNvPr id="14707" name="Rectangle 14706">
              <a:extLst>
                <a:ext uri="{FF2B5EF4-FFF2-40B4-BE49-F238E27FC236}">
                  <a16:creationId xmlns:a16="http://schemas.microsoft.com/office/drawing/2014/main" id="{DAED4BFD-900D-A3A9-7C3D-4239B39C2510}"/>
                </a:ext>
              </a:extLst>
            </p:cNvPr>
            <p:cNvSpPr/>
            <p:nvPr/>
          </p:nvSpPr>
          <p:spPr>
            <a:xfrm>
              <a:off x="9296400" y="1893537"/>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6C01BD7A-4746-F162-7A5A-5C021A052FB4}"/>
                </a:ext>
              </a:extLst>
            </p:cNvPr>
            <p:cNvGrpSpPr/>
            <p:nvPr/>
          </p:nvGrpSpPr>
          <p:grpSpPr>
            <a:xfrm>
              <a:off x="8095933" y="5588589"/>
              <a:ext cx="3422910" cy="621403"/>
              <a:chOff x="6947747" y="5927550"/>
              <a:chExt cx="3422910" cy="621403"/>
            </a:xfrm>
          </p:grpSpPr>
          <p:grpSp>
            <p:nvGrpSpPr>
              <p:cNvPr id="15243" name="Group 15242">
                <a:extLst>
                  <a:ext uri="{FF2B5EF4-FFF2-40B4-BE49-F238E27FC236}">
                    <a16:creationId xmlns:a16="http://schemas.microsoft.com/office/drawing/2014/main" id="{73401008-6EA9-FC69-CDA2-EFB06216D874}"/>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38A087C4-5B47-3900-7209-096CD2661FBD}"/>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BED48244-8440-A8FA-B075-2889DC69C2E8}"/>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A814CB24-7A1A-1D9F-836F-E04FACA7BBF9}"/>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1D17F7DE-D37E-E750-7B82-9E099051B702}"/>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05B2E034-9429-183C-4059-450F045F6BE2}"/>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7786E0DD-4D87-BFF9-4B8C-59188DDBAEDC}"/>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323325FC-86DC-B2FC-3981-C1213DD31CEC}"/>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49BB7DBB-A668-6F5F-9A39-EC323D3D9D1E}"/>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BFF0D0F6-8A7A-7810-E48D-56C42859D2D4}"/>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4F1B251D-8F3D-DE78-271A-D1188CD8EE3B}"/>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3C413CAD-1269-95E0-C2D4-A6D4FE2F6401}"/>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8F771E4F-06AE-F282-4125-9C5CF0056FA8}"/>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454CEBC2-806E-3F6D-27B8-CEEA6631A398}"/>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340A3614-F5A1-E23C-B68C-6389F8E49807}"/>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14715" name="Group 14714">
              <a:extLst>
                <a:ext uri="{FF2B5EF4-FFF2-40B4-BE49-F238E27FC236}">
                  <a16:creationId xmlns:a16="http://schemas.microsoft.com/office/drawing/2014/main" id="{F6B7E489-B8E3-553C-1B30-970DE9C1C1DD}"/>
                </a:ext>
              </a:extLst>
            </p:cNvPr>
            <p:cNvGrpSpPr>
              <a:grpSpLocks/>
            </p:cNvGrpSpPr>
            <p:nvPr/>
          </p:nvGrpSpPr>
          <p:grpSpPr>
            <a:xfrm>
              <a:off x="8995305" y="4125526"/>
              <a:ext cx="752890" cy="162000"/>
              <a:chOff x="4774830" y="5018189"/>
              <a:chExt cx="752890" cy="162000"/>
            </a:xfrm>
          </p:grpSpPr>
          <p:sp>
            <p:nvSpPr>
              <p:cNvPr id="15288" name="Oval 15287">
                <a:extLst>
                  <a:ext uri="{FF2B5EF4-FFF2-40B4-BE49-F238E27FC236}">
                    <a16:creationId xmlns:a16="http://schemas.microsoft.com/office/drawing/2014/main" id="{86741829-E670-D53B-3E9C-FA8FE693D687}"/>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89" name="Group 15288">
                <a:extLst>
                  <a:ext uri="{FF2B5EF4-FFF2-40B4-BE49-F238E27FC236}">
                    <a16:creationId xmlns:a16="http://schemas.microsoft.com/office/drawing/2014/main" id="{B2F05F5B-9E5C-A8C5-1086-BA4FCC18116F}"/>
                  </a:ext>
                </a:extLst>
              </p:cNvPr>
              <p:cNvGrpSpPr>
                <a:grpSpLocks/>
              </p:cNvGrpSpPr>
              <p:nvPr/>
            </p:nvGrpSpPr>
            <p:grpSpPr>
              <a:xfrm>
                <a:off x="4774830" y="5018189"/>
                <a:ext cx="752890" cy="162000"/>
                <a:chOff x="3115805" y="2070402"/>
                <a:chExt cx="140336" cy="162000"/>
              </a:xfrm>
            </p:grpSpPr>
            <p:cxnSp>
              <p:nvCxnSpPr>
                <p:cNvPr id="15290" name="Straight Connector 15289">
                  <a:extLst>
                    <a:ext uri="{FF2B5EF4-FFF2-40B4-BE49-F238E27FC236}">
                      <a16:creationId xmlns:a16="http://schemas.microsoft.com/office/drawing/2014/main" id="{74E602CC-08E2-C65A-2A39-F1A98DFE2E58}"/>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15291" name="Straight Connector 15290">
                  <a:extLst>
                    <a:ext uri="{FF2B5EF4-FFF2-40B4-BE49-F238E27FC236}">
                      <a16:creationId xmlns:a16="http://schemas.microsoft.com/office/drawing/2014/main" id="{1C1E1236-2D1F-91A6-001C-8937B5A25EAC}"/>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5292" name="Straight Connector 15291">
                  <a:extLst>
                    <a:ext uri="{FF2B5EF4-FFF2-40B4-BE49-F238E27FC236}">
                      <a16:creationId xmlns:a16="http://schemas.microsoft.com/office/drawing/2014/main" id="{8E3C1125-5E98-6F5E-CD47-770CE5CDE03C}"/>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14718" name="Group 14717">
              <a:extLst>
                <a:ext uri="{FF2B5EF4-FFF2-40B4-BE49-F238E27FC236}">
                  <a16:creationId xmlns:a16="http://schemas.microsoft.com/office/drawing/2014/main" id="{A743B819-65E1-47CE-5ADA-1C5A5352B26E}"/>
                </a:ext>
              </a:extLst>
            </p:cNvPr>
            <p:cNvGrpSpPr>
              <a:grpSpLocks/>
            </p:cNvGrpSpPr>
            <p:nvPr/>
          </p:nvGrpSpPr>
          <p:grpSpPr>
            <a:xfrm>
              <a:off x="8904210" y="5052014"/>
              <a:ext cx="832326" cy="162000"/>
              <a:chOff x="4829944" y="4340228"/>
              <a:chExt cx="832326" cy="162000"/>
            </a:xfrm>
          </p:grpSpPr>
          <p:sp>
            <p:nvSpPr>
              <p:cNvPr id="15273" name="Oval 15272">
                <a:extLst>
                  <a:ext uri="{FF2B5EF4-FFF2-40B4-BE49-F238E27FC236}">
                    <a16:creationId xmlns:a16="http://schemas.microsoft.com/office/drawing/2014/main" id="{D9C7AB9B-C40B-A298-FED2-172E5608353E}"/>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74" name="Group 15273">
                <a:extLst>
                  <a:ext uri="{FF2B5EF4-FFF2-40B4-BE49-F238E27FC236}">
                    <a16:creationId xmlns:a16="http://schemas.microsoft.com/office/drawing/2014/main" id="{F371E6C1-AE6C-28CF-06B0-579D581FE29B}"/>
                  </a:ext>
                </a:extLst>
              </p:cNvPr>
              <p:cNvGrpSpPr>
                <a:grpSpLocks/>
              </p:cNvGrpSpPr>
              <p:nvPr/>
            </p:nvGrpSpPr>
            <p:grpSpPr>
              <a:xfrm>
                <a:off x="4829944" y="4340228"/>
                <a:ext cx="832326" cy="162000"/>
                <a:chOff x="3115219" y="2070402"/>
                <a:chExt cx="108588" cy="162000"/>
              </a:xfrm>
            </p:grpSpPr>
            <p:cxnSp>
              <p:nvCxnSpPr>
                <p:cNvPr id="15277" name="Straight Connector 15276">
                  <a:extLst>
                    <a:ext uri="{FF2B5EF4-FFF2-40B4-BE49-F238E27FC236}">
                      <a16:creationId xmlns:a16="http://schemas.microsoft.com/office/drawing/2014/main" id="{4BA29035-1343-9002-B49F-50C563B76BBA}"/>
                    </a:ext>
                  </a:extLst>
                </p:cNvPr>
                <p:cNvCxnSpPr>
                  <a:cxnSpLocks/>
                </p:cNvCxnSpPr>
                <p:nvPr/>
              </p:nvCxnSpPr>
              <p:spPr>
                <a:xfrm flipH="1">
                  <a:off x="3115219" y="2151402"/>
                  <a:ext cx="108493" cy="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5" name="Straight Connector 15274">
                  <a:extLst>
                    <a:ext uri="{FF2B5EF4-FFF2-40B4-BE49-F238E27FC236}">
                      <a16:creationId xmlns:a16="http://schemas.microsoft.com/office/drawing/2014/main" id="{E38D186E-866D-0C29-9D12-1085F1053CD5}"/>
                    </a:ext>
                  </a:extLst>
                </p:cNvPr>
                <p:cNvCxnSpPr>
                  <a:cxnSpLocks/>
                </p:cNvCxnSpPr>
                <p:nvPr/>
              </p:nvCxnSpPr>
              <p:spPr>
                <a:xfrm>
                  <a:off x="3115805" y="2070402"/>
                  <a:ext cx="0" cy="16200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6" name="Straight Connector 15275">
                  <a:extLst>
                    <a:ext uri="{FF2B5EF4-FFF2-40B4-BE49-F238E27FC236}">
                      <a16:creationId xmlns:a16="http://schemas.microsoft.com/office/drawing/2014/main" id="{73299D86-8593-E350-D053-6E1F432FA41D}"/>
                    </a:ext>
                  </a:extLst>
                </p:cNvPr>
                <p:cNvCxnSpPr>
                  <a:cxnSpLocks/>
                </p:cNvCxnSpPr>
                <p:nvPr/>
              </p:nvCxnSpPr>
              <p:spPr>
                <a:xfrm>
                  <a:off x="3223807" y="2070402"/>
                  <a:ext cx="0" cy="162000"/>
                </a:xfrm>
                <a:prstGeom prst="line">
                  <a:avLst/>
                </a:prstGeom>
                <a:solidFill>
                  <a:schemeClr val="tx2">
                    <a:lumMod val="75000"/>
                    <a:lumOff val="25000"/>
                  </a:schemeClr>
                </a:solidFill>
                <a:ln w="9525" cap="flat" cmpd="sng" algn="ctr">
                  <a:solidFill>
                    <a:srgbClr val="000000"/>
                  </a:solidFill>
                  <a:prstDash val="solid"/>
                </a:ln>
                <a:effectLst/>
              </p:spPr>
            </p:cxnSp>
          </p:grpSp>
        </p:grpSp>
        <p:grpSp>
          <p:nvGrpSpPr>
            <p:cNvPr id="15233" name="Group 15232">
              <a:extLst>
                <a:ext uri="{FF2B5EF4-FFF2-40B4-BE49-F238E27FC236}">
                  <a16:creationId xmlns:a16="http://schemas.microsoft.com/office/drawing/2014/main" id="{07C76062-46AA-20FD-3BF8-6FE146A0EBF2}"/>
                </a:ext>
              </a:extLst>
            </p:cNvPr>
            <p:cNvGrpSpPr>
              <a:grpSpLocks/>
            </p:cNvGrpSpPr>
            <p:nvPr/>
          </p:nvGrpSpPr>
          <p:grpSpPr>
            <a:xfrm>
              <a:off x="9187327" y="3180927"/>
              <a:ext cx="515622" cy="203289"/>
              <a:chOff x="4713766" y="3682352"/>
              <a:chExt cx="515622" cy="203289"/>
            </a:xfrm>
          </p:grpSpPr>
          <p:sp>
            <p:nvSpPr>
              <p:cNvPr id="15258" name="Oval 15257">
                <a:extLst>
                  <a:ext uri="{FF2B5EF4-FFF2-40B4-BE49-F238E27FC236}">
                    <a16:creationId xmlns:a16="http://schemas.microsoft.com/office/drawing/2014/main" id="{FFB1F205-5F1D-ADC7-2267-7350DE5EC316}"/>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59" name="Group 15258">
                <a:extLst>
                  <a:ext uri="{FF2B5EF4-FFF2-40B4-BE49-F238E27FC236}">
                    <a16:creationId xmlns:a16="http://schemas.microsoft.com/office/drawing/2014/main" id="{EEF536D1-638D-4224-D71C-2981F659FFF6}"/>
                  </a:ext>
                </a:extLst>
              </p:cNvPr>
              <p:cNvGrpSpPr>
                <a:grpSpLocks/>
              </p:cNvGrpSpPr>
              <p:nvPr/>
            </p:nvGrpSpPr>
            <p:grpSpPr>
              <a:xfrm>
                <a:off x="4713766" y="3702996"/>
                <a:ext cx="515622" cy="162000"/>
                <a:chOff x="3115805" y="2073465"/>
                <a:chExt cx="89927" cy="162000"/>
              </a:xfrm>
            </p:grpSpPr>
            <p:cxnSp>
              <p:nvCxnSpPr>
                <p:cNvPr id="15260" name="Straight Connector 15259">
                  <a:extLst>
                    <a:ext uri="{FF2B5EF4-FFF2-40B4-BE49-F238E27FC236}">
                      <a16:creationId xmlns:a16="http://schemas.microsoft.com/office/drawing/2014/main" id="{C0B12A02-819A-3300-409B-09F4E0885100}"/>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15261" name="Straight Connector 15260">
                  <a:extLst>
                    <a:ext uri="{FF2B5EF4-FFF2-40B4-BE49-F238E27FC236}">
                      <a16:creationId xmlns:a16="http://schemas.microsoft.com/office/drawing/2014/main" id="{5CC9AD1F-E85C-0ACC-EBCC-33BEA150B023}"/>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15262" name="Straight Connector 15261">
                  <a:extLst>
                    <a:ext uri="{FF2B5EF4-FFF2-40B4-BE49-F238E27FC236}">
                      <a16:creationId xmlns:a16="http://schemas.microsoft.com/office/drawing/2014/main" id="{4663CE5B-60AA-25DD-F5E3-D6BACAFB8932}"/>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15234" name="Straight Connector 15233">
              <a:extLst>
                <a:ext uri="{FF2B5EF4-FFF2-40B4-BE49-F238E27FC236}">
                  <a16:creationId xmlns:a16="http://schemas.microsoft.com/office/drawing/2014/main" id="{A35BEE60-6488-1F7D-1D6B-E40F61A5EE39}"/>
                </a:ext>
              </a:extLst>
            </p:cNvPr>
            <p:cNvCxnSpPr>
              <a:cxnSpLocks/>
            </p:cNvCxnSpPr>
            <p:nvPr/>
          </p:nvCxnSpPr>
          <p:spPr>
            <a:xfrm>
              <a:off x="9782256" y="1892105"/>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A87DB742-EB98-8C19-A59F-E0D524361DB2}"/>
                </a:ext>
              </a:extLst>
            </p:cNvPr>
            <p:cNvGrpSpPr>
              <a:grpSpLocks/>
            </p:cNvGrpSpPr>
            <p:nvPr/>
          </p:nvGrpSpPr>
          <p:grpSpPr>
            <a:xfrm>
              <a:off x="9291527" y="2236222"/>
              <a:ext cx="467997" cy="231865"/>
              <a:chOff x="4760816" y="3665683"/>
              <a:chExt cx="467997" cy="231865"/>
            </a:xfrm>
          </p:grpSpPr>
          <p:sp>
            <p:nvSpPr>
              <p:cNvPr id="15311" name="Oval 15310">
                <a:extLst>
                  <a:ext uri="{FF2B5EF4-FFF2-40B4-BE49-F238E27FC236}">
                    <a16:creationId xmlns:a16="http://schemas.microsoft.com/office/drawing/2014/main" id="{0B10CC1F-BBDE-7466-C765-F94799E83213}"/>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D968E11E-995E-5EEC-EBE7-31E7C0746DA5}"/>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CC310458-6218-8878-A8EB-38D1F9E981FE}"/>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7EA1D764-0AD7-F4AE-9782-1EF3A6A30A95}"/>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8CF32643-FEC2-707D-7EF1-C83BE710D78A}"/>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sp>
        <p:nvSpPr>
          <p:cNvPr id="2" name="Text Placeholder 1">
            <a:extLst>
              <a:ext uri="{FF2B5EF4-FFF2-40B4-BE49-F238E27FC236}">
                <a16:creationId xmlns:a16="http://schemas.microsoft.com/office/drawing/2014/main" id="{30D9E98B-EAC6-C427-B1BD-DE9964D7C2FB}"/>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3182" name="Rectangle 13181" hidden="1">
            <a:extLst>
              <a:ext uri="{FF2B5EF4-FFF2-40B4-BE49-F238E27FC236}">
                <a16:creationId xmlns:a16="http://schemas.microsoft.com/office/drawing/2014/main" id="{4520452D-94E4-2A53-1E08-C22D999F2F27}"/>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9523F382-6A7F-DD0A-5BF4-D12389F75CE2}"/>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9EEACC59-4FCB-F58A-D878-B3F93C786489}"/>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9012181F-2979-9CBF-2FEF-4B7AFF6491CD}"/>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EB44D25D-CD4E-CBFF-CF50-53B5DCCC8AFF}"/>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B148D1A8-44E5-76D0-FBCC-E9B595702C50}"/>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A5377592-AD1D-47DA-EA4C-3CAB971B38D1}"/>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A6E12190-4E37-4D62-98A6-960897D1B9C3}"/>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4DA3F29D-1D12-73F6-190B-A609BC8520D8}"/>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1170715E-0BDF-DB2A-A785-A76AF59E6609}"/>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183C52B9-4DAA-93AB-A840-5C519C154C4D}"/>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01134AF5-AECD-266C-FCE7-B8E5CC287899}"/>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82122091-65E5-4238-1C8E-D5E98E242660}"/>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29DA1C1A-09BB-D513-A4F1-8A479F011650}"/>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53A239EA-6CAD-FB5D-C6D8-F2231F171880}"/>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F3B1466B-EAF2-4BF7-7204-51EE7D6BB245}"/>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ECF3BE67-CCBF-B48C-D693-C77F3017E90F}"/>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33419A0C-9E86-87DE-34AC-B63D5C1B99DC}"/>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44B737EC-3367-B9D5-11DE-EF2EB4FFCEA3}"/>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C47F351F-11FA-5988-9E1F-385AF4E58552}"/>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98CCB6A0-2099-298D-1664-81764BC06B9E}"/>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5246D888-D63D-9C97-EAB4-ED0F23F52F1C}"/>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77410501-E1F8-5536-8FA7-9FC2A32D4C54}"/>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88DDDFA1-659B-1EC5-8A4B-4D0D79A3DD91}"/>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E6AB05C9-B47A-E4E7-08E6-B49CE20A6AC9}"/>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EFFE0797-FF88-E2DE-595A-66E3093C3802}"/>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C3897F8E-13D8-6BFC-3E22-E1AB437A47DA}"/>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32438D3A-E562-7CD8-6A2A-A4954CB2C993}"/>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EDDFBB80-3B71-B173-98DB-15A899E51146}"/>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845C0499-792B-2005-D107-2023305C4D26}"/>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0253C15F-DD45-730E-3341-010E1A35448D}"/>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B3340338-2F9E-BFDB-4802-8CE241B82F68}"/>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A52EC28B-8F44-F21F-81D6-949D512E99FD}"/>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9A335658-202C-ECAF-FEF5-531B422C9308}"/>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5B60876B-142D-AB92-DD2B-80E560FB2ECD}"/>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12FE2F88-44F1-C8E1-EA68-B772C16924FB}"/>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D676023A-ACEC-123D-A725-3A008575BD7C}"/>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0AECE940-4248-E32E-A679-9B747B87793A}"/>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2F0406B3-C5AF-1549-D38D-9B35EB8447E0}"/>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F54440FE-9791-137F-46BA-CB203C46E6B2}"/>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E6F27D46-11BF-1873-0CE1-C2CB712DDF25}"/>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5405179C-20EB-400E-EC5A-612C6852AFAB}"/>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EB8CA402-A90A-E17B-63EC-A3BDB9F48BC0}"/>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3C10B305-4CDE-1B35-5E66-4BD125A26883}"/>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171D7EDF-F382-2E5A-CCA6-6D129233DAC8}"/>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04B66E37-BEDA-295A-2089-FBD2D1C25400}"/>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2D627CC3-46BB-345C-CEB7-6963A68E3D63}"/>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285BEB17-133B-8F66-A9D5-723649B195F7}"/>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EC958F4E-1D20-546F-4A95-E1CD34EFD19F}"/>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CA4D46EF-743D-AA19-63A0-3B61E0E418F3}"/>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E270C19E-88DC-6A4C-27E1-53B9A42DFBD8}"/>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AC2AE33E-3B7C-E118-F14A-AA06E8F0F703}"/>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56364871-E2AF-2F75-92F4-0C56F9255CC8}"/>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0684B1DE-21C9-EFC9-EC2A-E4B7D4D6D047}"/>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82FD7FEE-A367-42C1-8022-CB96E7E3A041}"/>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AD7C26C5-4E11-6AF8-FAD4-2E0495D9F2BA}"/>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F4A7B872-095A-6BAA-5855-55F2DA116227}"/>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BCD4FF14-B583-8AE6-3264-C89DB286F066}"/>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A7541526-7D90-F43A-E6BF-DA3E97C6804B}"/>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90FBC48B-18B9-416C-4B09-7A78A3981AC0}"/>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2C682FB3-38E4-995E-D6CD-AF493CE30B2F}"/>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CF1D281B-071B-D3A0-94BD-590FD40EBDB9}"/>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36087DD4-2CA8-6CB2-7D41-C03C67C21911}"/>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640C235B-E556-F74E-CAB3-97CD282018E5}"/>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2887AC73-A610-66A6-5555-249DB52F28A6}"/>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C11B994B-4C35-C787-B472-CC1F933B9382}"/>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0F7DE950-FD5E-1426-4E68-9CE49090B183}"/>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8AF5B942-AAA8-E51C-A7B5-5F537DEBEA5B}"/>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C7A0408C-0C0F-1EEE-0649-66948F4B9556}"/>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44B5E918-6050-522B-D5E3-80492C0C628A}"/>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86ABB092-DBDB-4E09-D9FC-97B607B93EDF}"/>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BC0DB85F-227D-AE41-7075-B5F140531CCE}"/>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C9283F02-BE55-EDA4-1224-D5BDB20C4C9B}"/>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9F9A65DB-BFCD-DAD8-F26B-32F631DD7CAC}"/>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BA07229E-1646-1ED5-C67E-D4513C19CF24}"/>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E56AAB6F-2028-09AB-03CD-9F5B0A5B8AA3}"/>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BD06EF80-C56B-BAF4-6472-A0028C0302D2}"/>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9C6FB30E-F8BD-299A-ECC4-4FD97AE04F84}"/>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377139E5-A7B0-16AB-AFB7-1A39A651AA50}"/>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6C46FE11-4553-C9EB-9900-32E0039531E1}"/>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897A48AD-C326-EBA6-9330-54F6964A5BFA}"/>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F7954DA4-F48C-A0AE-AFE8-394A57C3C36F}"/>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8CF73775-048B-753D-60BD-40206F5DEB6E}"/>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04F1ABC7-3E38-0328-EA8E-3F54F23B71E4}"/>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FBE83F21-D26A-66DB-EECC-A9EB139C548F}"/>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1664EB5F-9CBF-6AF4-D8AD-C24C7633DBE1}"/>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3CF5B340-FBD3-12C5-1560-3B5C8E08C660}"/>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510E9133-36FB-991C-6BB3-99FA7B8525E2}"/>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43FD57DB-AE16-A7DC-C9CA-751311C3DD96}"/>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81C7B9D6-9922-0F8F-F179-7CE3B0B89417}"/>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1C4AC994-BB7F-F820-E96C-2C8237BC7ED5}"/>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3B357E4F-D6DD-41A6-095D-A13E0DEEE898}"/>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1CBDEDE3-C688-099D-8D46-AD7A9E1F860D}"/>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74200A67-825A-4830-5EA3-E95A1EC4DA97}"/>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D4BCA75B-D25E-8F92-2E9F-9D0490CD0864}"/>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2E1F6D4F-7169-917D-C83D-F831467CE977}"/>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E6A59A0D-3C15-F0C8-B267-53200522A62E}"/>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FC6BFD1B-3F5D-CDC6-755A-4F8A90F3AC77}"/>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E3AFD28C-A247-096D-698F-083A54A8C67D}"/>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0B877AC8-338F-5EE3-0B16-A9D3B07FEE95}"/>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82960D63-CF59-BEC2-BD9E-C824373B7CA1}"/>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1D24C1FD-1CFA-8C10-EACF-2AC6188B228D}"/>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44969C6F-B0DD-27D8-57C5-8C01261AC4F3}"/>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89219991-7CA6-C6C0-6B6E-2F2AD7DC37A7}"/>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7157FCCB-66C9-DFB1-532E-93AB670233D1}"/>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4DCF8B3A-0C71-66DC-BF1C-9831C9E8B6D9}"/>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55B4B3B5-1289-4F27-65E8-58EA1CD1E37A}"/>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0D1C59E8-46F5-3EFB-02E2-1D7F1DEC38FB}"/>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F5C6DEA6-3B3F-19C7-5D2A-ED05BF66C271}"/>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C1BCB8D0-39E8-011B-192E-07B8812B46C7}"/>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3656ABFB-1DC0-C997-7689-A77A799C3409}"/>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205B8E30-5113-094E-EDBB-442B103EB080}"/>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86649C2F-1BF2-D108-0210-078098B02A0F}"/>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2ED924CB-351C-8DEC-11F7-F44BDC1EB69C}"/>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63EC1DA5-BC6B-6588-D3D2-CED0A60AD87D}"/>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2BF88B33-CEA7-3D5D-334D-AD0C8A66C680}"/>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3272B02F-78CE-DCE6-29CD-E397D0A44744}"/>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71800487-BC37-699F-DC78-D22CCD908919}"/>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83156672-263D-C67D-8798-1CE82DC32BC5}"/>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F5120FB4-13A2-ECA8-98BE-DADE2E0F18F6}"/>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64E86C0A-D6B7-CF11-A062-409A4050ADC0}"/>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6E179F52-EC65-DA26-7DB1-082787B3CA46}"/>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6D9CB302-6443-1FE6-8891-AB54A94609EB}"/>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1F82E2B5-4438-7517-DF86-4CA7C5E14CC8}"/>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D3952D4D-AE1A-71EC-C477-A0A72FFC96AF}"/>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FDA79A62-E4D8-54AC-4018-56115C34022A}"/>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AAC21904-F135-D9B0-47F9-B95F97B175D6}"/>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575378E0-5563-D9CE-22FC-5786CB3C3343}"/>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341299CD-FC47-94EC-0BA2-ECC89D63E304}"/>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3FC18A61-BD63-2EE9-793C-FAA5526335E9}"/>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05561BF9-FF6B-B0AA-D1D4-82AF544F57D9}"/>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A52E0A04-96A5-9AAA-91DD-0EC8C39D04C9}"/>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372EFEE4-ABB4-AC7A-B01F-9744A237EBB0}"/>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E1B1F004-25F8-BB98-2118-AEF0F1813610}"/>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4C8BD54F-CF1D-532E-BB9F-634FF381B982}"/>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DB15CE6A-35A5-A384-55C9-3784195B5ADA}"/>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1D4DF6F1-81EF-174E-8834-642611BE3F91}"/>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B9AC8090-D21D-065E-5F24-0F37942DFECE}"/>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B5549D1F-D92B-8466-AC7D-A77D50F1BD9E}"/>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DAD588B6-53D5-DE0B-8B93-55F9767F1BB6}"/>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343A49C1-AF55-0DC8-E827-B8E4C6987BC0}"/>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264FEE50-A026-5F23-0B3B-E4EE007BDC18}"/>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76A3001F-FADD-2367-F329-DBBA7A9C359E}"/>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869C0770-CEC2-5216-E46A-9AF72B441EAD}"/>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C9D654F9-8AF3-6400-020B-3F4C4914E870}"/>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03F52004-238D-45AF-A773-17A35FCF0ADA}"/>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E6D99C4E-A502-DB0F-876E-AF39A52C05C4}"/>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BE723118-6E46-4F62-E81D-FBCFEF7A86AC}"/>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CF111555-1A3A-9CC0-C5A1-B6833E48CCE9}"/>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7703FF03-9848-CAE1-8537-27D0E7D35E8D}"/>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CE67D485-6691-AC34-3C57-C35D8DE53EB6}"/>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21E18F9B-9FDA-B86E-4EDD-EFBEEDFA8862}"/>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0ED49B39-4D3D-6B69-0BEB-BD25A82A1069}"/>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594092B0-AEEE-F29A-641B-92099ECB252E}"/>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1D81258C-B188-1F88-43D0-A2A00767E237}"/>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3982ADE5-9CD0-B400-15C9-84F5A862B1D6}"/>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E4470E17-D10A-ADF3-65FF-4E5FB67E84CE}"/>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47B41EF2-E9EB-FBED-15F2-8E1122AC52FA}"/>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33C4B3EB-AE76-8345-EAF3-F61A2A1524E8}"/>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3975FB8B-59A2-51DA-E9E5-D04C2EA947D5}"/>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901C9A11-D621-A538-C78B-20DADD83C5C7}"/>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5E4C5D96-CBA3-102B-5042-364EE98E3EF3}"/>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0EDA6DBF-109F-4EB3-28FF-E384A9415816}"/>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EFC6AF3D-623E-F647-3E05-622AFAC27E17}"/>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80B490B0-8327-CF64-7123-B2DE17D9DFB8}"/>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C3BADA89-FECD-7043-6A57-DE502293A8C9}"/>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6A4218D3-8FF8-062B-8F3B-9F489C3BC831}"/>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3ED9A586-5753-C157-BE2F-1184BD598BFD}"/>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7997F39D-6CE5-EE51-37BF-D9FFB6ACB3B7}"/>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765BD759-C541-20DF-699D-9A26B187893F}"/>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333F785A-E09E-FCF7-BED8-75F95F4CB082}"/>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A4F80886-9EBB-4BA8-FD4A-0A1F3980B110}"/>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C9936607-2E25-7726-47A9-2842D3614FFE}"/>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77A1838F-96A1-EF7F-6193-C3284B5B6D20}"/>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79192914-17F1-78AA-17DA-C84D5808F1A5}"/>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F2E48FD6-27FB-C958-EE30-7034A646BE86}"/>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C7C99223-9E49-8AFE-5EB7-2CE775231FEF}"/>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6E870A31-8221-F1AD-AD92-31CAB6BECCE3}"/>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F0DAD8D9-10CF-7C97-5A52-ED60F71E336C}"/>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46D30178-732F-80C8-6F79-B43866E8A4C6}"/>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CFE2F7D7-02C7-7093-98C8-5A3E9462D574}"/>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7EFC8E1D-5C08-05F7-039D-E11E3A7E9A72}"/>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371A0A2A-BEAC-7D9F-0CAD-76C8EF58B97A}"/>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13956228-5574-BDD6-6744-B309E0EBFF03}"/>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980EAD6D-A300-F16D-32C6-ACC087758169}"/>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A50CB134-9B49-B867-33CC-669A5F575CBA}"/>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F1C6CAA4-8D05-0D84-8D3D-8B8F12EBA02B}"/>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8F12952D-92EB-EB93-3C6F-C2FFEFC9C505}"/>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D3E4501C-A4B5-B4F7-F458-91A1AD7A2CD8}"/>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B03DDF16-380C-B2D2-1727-A838B0B59F12}"/>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33CE4B78-4B56-37AC-D6E2-56529026938E}"/>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3EC1D8C9-F11E-9399-9B6B-79F9D9C1EFC3}"/>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68F82C48-566F-CB27-064A-756734F55467}"/>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E1B026B5-1276-03BE-E3BC-89F636A7CFF5}"/>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1054974A-8664-D004-EFCB-CF625B6CACFC}"/>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4751804C-1350-2013-3E28-67F406DE86CB}"/>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60072304-EEB5-1932-4413-FF6023F7E7C1}"/>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2CDEC285-8BF1-055D-E3BD-5F34BD092B0D}"/>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B5125E4D-9AF9-93D2-BB6A-3E76BA543B3E}"/>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74EE8A02-28A7-6A02-2E26-8F80BB830708}"/>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2F952803-2D6C-3DEA-7283-406A21501FF8}"/>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E357B430-2BA8-3B49-0760-DFC8B6E587C1}"/>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76E04C8B-13E8-C821-828A-1F7D8D36D2FD}"/>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46BB8834-3876-0BA4-3E6C-076D6EDBB9C5}"/>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7C9202B6-238D-6595-ECDF-999DD651B043}"/>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3ED2C665-9D24-9C68-9F9E-621949750BA0}"/>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E96796D8-66E0-7E20-7B59-12D2E4D91323}"/>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4BB49896-D9BE-B118-F969-4837038AEFE7}"/>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9B3D7B6C-0B5C-406E-809D-8421A48480CF}"/>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060C5348-FF1C-159A-7309-0D6439F989D0}"/>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F5B051E1-F16A-C250-CEBF-2D86739E56B2}"/>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E1BD5EF0-B936-C7B5-930B-2B744EC11D7D}"/>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667C3027-A16F-B9A6-B598-089184BC2759}"/>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FD9DE0FE-648B-C634-AAAF-98CC8C2DD215}"/>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F031A435-D0B1-B086-6AD6-53FC91187E2A}"/>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2B6ED87A-9364-CF27-2AA2-710B0AD8094A}"/>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976CF2C2-AE67-B99D-D8B7-FDB55D7E461B}"/>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B4341E2B-26B4-7EBF-6984-438EA13D17C8}"/>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1C432724-4B78-6FFD-835E-37A855A46E49}"/>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9915CBAF-97DC-F73A-9B90-198CC4111DE2}"/>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130AAFF0-902C-9DBD-E8BE-478047496F5D}"/>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797DD650-ACE6-004D-CD49-DC2F81797980}"/>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E6ACB8CD-07CF-991B-57F4-7444FA4E55B5}"/>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5BE4B5AC-094D-2D74-66AB-DE94AB4A8A9F}"/>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4EC0E570-C063-D3B3-08C4-DC5CD1D54957}"/>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19CD534E-22EC-241A-5242-CA66A4FA46CD}"/>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CF039E76-FA22-916B-7748-3E1D335D9950}"/>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ECABC086-992B-1E01-2E09-994A606752E3}"/>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39B9531C-3D5A-F7E3-52EC-9FC515D81ED4}"/>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378EBD43-C78C-358F-FCFF-A740286151E8}"/>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81E0754B-5C53-B889-6564-AB2D19DDA881}"/>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BD208BA7-E1BB-708D-0DC4-E923ABA89C3F}"/>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AC60AE17-6D60-1C66-F097-FB4638738F03}"/>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20AD79FD-AB6E-41CD-A998-EEE7BB56E028}"/>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226C6724-F914-CCB1-5C17-17B077494502}"/>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C052CE12-2562-6736-3867-6A17E47FFA13}"/>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6239827C-E69F-502D-E69A-AD2B8CE21199}"/>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7E666EA2-3948-226C-36DD-E0829C820C9C}"/>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EB653FE2-C55B-B423-16DF-A8B5BF101BA6}"/>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8C1115AB-B0EA-DA22-9BDD-36250DD85F02}"/>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9B06FB47-1284-2B60-9094-63E72BE00B75}"/>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B47C0A49-37A8-BA1E-F426-A6C57E03C0D4}"/>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4A4CE527-7604-EEE0-517D-65A564D4BA0F}"/>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28B01066-49D2-5020-5618-1B28B75B1C95}"/>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E9646D05-78F5-0E29-B6A5-B0BE94B0B9A4}"/>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1E43424E-F43D-1CA1-1D09-E09214A77D88}"/>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B5FB8845-DF1A-3258-7D97-B153B9E0B5FC}"/>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292EDC84-78C9-8079-10EC-F4BE83DF3B81}"/>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748E3496-396D-82BD-502D-F4D8D5EF68E9}"/>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18E3881A-E51C-1CDF-8CF5-54CED4841F66}"/>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098D68EC-8DAD-D26B-4BC4-B502929FAABA}"/>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DED64B8B-ED2F-5993-47FF-B38CEBD9A8E6}"/>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281AA293-91C3-DFA3-FB81-24BF54B460B0}"/>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39BA9777-5132-1C38-552E-493CE50424FC}"/>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BAE3744A-B10E-0418-422A-EA4906EA6701}"/>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57AEE7EC-97FF-AFB2-26A6-28D3A39B858B}"/>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0D8ED222-358E-3514-F6BC-4AB1F17FD166}"/>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B7663125-DFA6-DF25-7274-EA6AA5F5B147}"/>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AAD1B82E-A7E5-6DE2-E9BA-112FF9B03161}"/>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B38BC676-B4E0-1F8F-B423-31912CB7B1CD}"/>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9D6EAA36-D5D6-EA72-DA65-BA4B70315B5F}"/>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0433E7BA-A2EE-1B40-55D3-2C262D7F0405}"/>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2D4206A6-70CF-2150-B1FD-8E945EC8D262}"/>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F6A8A34C-A866-57CA-E02B-6E86DC09A557}"/>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6FBA2C5E-D87E-CF66-D430-6386747029D0}"/>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7F971626-C8AC-6ED7-5919-99A5932376ED}"/>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0C03FBEE-17FD-96A0-0907-73CF234C1842}"/>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84BE9958-C869-4E56-653A-C01DE32FE8BB}"/>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FCFB092E-E071-9F10-74BB-741D3EBDBA24}"/>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F1F6AAD4-9A23-D6D7-1B04-05B90B3BBE20}"/>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3D47F8D3-AB1F-1381-A22A-C07A9AB93B99}"/>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BDC5DA1D-4C1D-23B1-C9F5-4443DC48DAAA}"/>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5581C1F0-A2A5-32E6-500A-CE0083CD8077}"/>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E65B3DD0-3F3B-91B5-05FC-AA18DB7FFD5E}"/>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DF113205-D9DE-5E4D-DD37-0511F87922D0}"/>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B1B7B477-2A16-FE6C-B6A9-49014FB380F5}"/>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CC7132C1-A84F-0EE0-397A-4E46A2CF4DEA}"/>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0B5370D6-4CB0-77AF-6ADC-8A13DBBEF9CE}"/>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4B23DC8D-15BA-91FD-4A82-74C9CEC2A0EA}"/>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188E186B-04C9-DCE8-2E79-529E3D3CD277}"/>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DA683FFE-3EDD-7C1F-DA57-C6D327FC482E}"/>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F73671CD-E94C-48FC-668D-C52517E2215E}"/>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0A591D64-596D-D2A8-22CF-74D7A1B2CDA3}"/>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FD7C2F91-1356-AC77-1760-3724F0649DF3}"/>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3E5837F8-6EA0-52B7-9416-85F12DA0F0FA}"/>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E81002A6-A82E-9A87-480F-6F03169542A3}"/>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F711C123-3E0D-497C-E276-FB414E2D0075}"/>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4B026C79-DD3C-2731-4EFF-ABAE8AC9A5BF}"/>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F0483EC4-668F-A93E-5BB1-07A6740A5A1A}"/>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A3B51846-AC44-0820-6E40-5EBB6E87235F}"/>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45FF3BC8-7C4F-2775-2F29-C6D2B8140E93}"/>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976AF285-1484-935C-4044-7A4E5487980F}"/>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00E4AB4B-3BE5-E70D-AD8F-B1B8FB854374}"/>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39662633-5651-4013-4AE7-0C8877EBF809}"/>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CB8D86E6-7543-D0F6-5B95-6D925FD9659A}"/>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9EE3BDB2-1984-A182-F1B0-81628A484476}"/>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1A01A023-7F4C-1DD7-38C9-4B4D0B2AAB6A}"/>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38913318-2289-FAD7-FB93-1F991DBA5644}"/>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EE131704-2F08-1ADB-91EF-46C087654ABA}"/>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8A936CC3-6178-0261-800F-D05CD4D9A505}"/>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C02F1EAF-5486-CE8C-5E17-48200D130E9B}"/>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AEABADD1-2554-D97C-15E7-9C915EA5490C}"/>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FAB02916-2040-6745-BE1F-7990BA82282E}"/>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7D232A56-4345-F819-4549-F22C14C15BCF}"/>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D45D3B5E-D519-684D-66E9-332294E10E51}"/>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447BA816-B800-2693-98ED-6CD62A8849CF}"/>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360C0E65-59A0-564F-8392-DCC73F179307}"/>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087A7100-FD03-3062-4B11-5437B3D85EBD}"/>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F23072F0-DFA2-2A41-3F9F-58AC8A600120}"/>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22578397-3C6F-1E9D-C372-D8F56ECFA5A5}"/>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9F1B0C07-1E45-248F-E101-F4D49CF8C781}"/>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BD7A1042-07CF-8E2F-DC35-2A01FF4EF246}"/>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88B2B7D3-D164-B36D-3A6A-9D0A68EFB342}"/>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FD2DA94C-0D1A-588F-C914-704C34A161BF}"/>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EEE49D8F-CB93-953B-AE9D-A09462FAF089}"/>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E3C7898B-099E-D19E-7F68-191318854A3F}"/>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7C335B82-CC64-9044-DC88-24AD15F8EA96}"/>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77F1E541-4741-72CF-8927-CC7410DFBDCB}"/>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8FC80025-B143-D83D-3077-E3B832F8C9F0}"/>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45CCB748-B4E7-F74F-4154-1A482D34CDB6}"/>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EBE8E45D-82C3-2DB5-B4FA-E1360D810939}"/>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59446C4A-FA65-F18A-B6D5-8BC2A9D85CBF}"/>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3FC2BDB1-C75A-9472-E528-1A83EFFD8C99}"/>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A0321DDD-8413-07C6-E88F-D1D8C0D2BDF0}"/>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B623071F-BB92-F79D-91BF-526E80DAC443}"/>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16FFA830-8902-CE6D-2289-36441FF1BC01}"/>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BA3B4E04-A28C-225E-797C-095C630E96E3}"/>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A138AEEF-F58C-B634-1BF1-0C1B45BEA598}"/>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37E20E7A-D39D-D917-6585-7AFA756A0D75}"/>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64214FF1-3771-1832-F0BD-6D251451FF4A}"/>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FABE0DAA-40DA-169B-4EA8-47BE67AE7629}"/>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E5147DE8-4F8A-A973-2AA3-08C26AE576D2}"/>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F8E97916-251F-4FE9-9DE5-BF62AEF74FC2}"/>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F8F5BC67-F3D8-8FC8-1D9F-BEC4065558E8}"/>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A25D7D2F-78A2-64D2-3181-D092D82BF6C7}"/>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F826EB31-8620-2F88-20C4-953ECF994203}"/>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894815D6-30AA-BE67-7A31-033C790B110D}"/>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6E06FD2A-51CB-B978-4514-B201E1DA2F30}"/>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03070F7C-D427-06A9-F474-57ED0841BA1E}"/>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BD22AA65-E3C3-F166-F095-7AEBDD2893B7}"/>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58AF81A8-C14C-E57F-F922-CBCE6CF2525F}"/>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3BB77E20-3778-7386-BBFD-D7CD62CD6B51}"/>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D59FD681-BA4F-3405-A595-3960FAADAE73}"/>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C513BEC0-47DA-989F-DEE1-0434F3242DD0}"/>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20C8D337-ABA2-258F-29E3-4DCDF2A40B47}"/>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6F09E04D-E600-FEDE-E776-A2CD6F98E8F0}"/>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F0C3A1D2-5B4E-1E4E-6E6D-380905B2B815}"/>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074B354B-0F38-F654-B8F3-E7D288C02AC4}"/>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A45FF4EC-C7D7-4F60-6C00-79F69544F503}"/>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6ECA593E-49B0-9A09-E7F5-72CF7BFB6374}"/>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7171549F-C444-BBA1-E436-46768876E69F}"/>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249F082E-A60C-B35A-59B9-1AF0A3153B38}"/>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2DC1C6BA-9FA9-B59A-CB6F-C3BAACD690C2}"/>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A88280A5-FA25-3D09-D89D-6364F8094EEB}"/>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D17E3ACD-FF5B-B053-D541-E10C532ECDD3}"/>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ADBAADA4-0785-60CD-ADFB-43A1B86D7DCD}"/>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BA241BCB-DBE3-12AF-C2DB-47FBA70C4434}"/>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41B275A5-7693-7114-809A-154EF4EC7E50}"/>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FE63BFD7-BEFC-6AFA-5DBF-E1B33F500B29}"/>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2F3BBB5E-E0F1-A095-8EDD-8B6AF353B2F0}"/>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B6E6030F-D4EF-C6BA-04E1-58C8CC16FBF2}"/>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AB529A8B-ABB2-FEE3-9292-5F1DB38775C2}"/>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7159B187-C310-3162-5859-B428C6D01D35}"/>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3BDC75AC-A386-2C1F-B5CA-A91680F5C1D6}"/>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38A511B2-E1C8-1B48-6820-08ADB4672D0E}"/>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5762FCBC-9558-F512-DFE6-AD67DCC61730}"/>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48FDD934-CAEF-AF5E-02C8-B9A068F8290A}"/>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35C6C805-1F3A-A013-65B4-6BB64F05453B}"/>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7423FA92-A89F-D956-4AFB-902ED0583973}"/>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323E1B73-A9D6-690A-A180-971765052013}"/>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D2A1C3A7-0F9C-D209-ED4F-2FE25BF55A54}"/>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D482716C-9125-1900-DC19-7416AF20E053}"/>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745D9755-9D0E-24D0-F703-36E2B9AB6CAF}"/>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D08C7B64-C1FA-F080-9952-39E33B2E4E88}"/>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47836D77-3503-B184-0A7D-7469AB527180}"/>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F0AA24BC-364D-3769-6696-A395369B6ABF}"/>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8673ACF6-CA38-6092-D9F5-7C66A03592B2}"/>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753322CC-5B2B-AECD-4A4F-54E116209F1D}"/>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01ED890E-5F48-9643-E121-C70C186CB272}"/>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0CB60EFE-8BF6-5D7E-78FB-3DE3CCF96F36}"/>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FA66D4C6-2BBC-10E6-01A0-80BCA9F42E64}"/>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B465D625-B4A4-658A-4F32-9B7609F28F37}"/>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D1CB0C82-8E97-B33B-EDED-30A9F4DB689B}"/>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04503ECF-9C77-0BBA-5442-C6F865B85F9C}"/>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C930D227-E0AD-9113-97FA-97F6A68CBD37}"/>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BE5380B2-808B-AE0D-3BA3-25E9FEBEFD2A}"/>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C95EF868-2494-5F3E-F819-81AF0342DF33}"/>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551A0001-ADCD-7D0D-1136-F79E006FFF1B}"/>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29A75A9F-BF1D-916A-9F53-2128FCB13138}"/>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9C5EB452-D044-C171-D5DB-61EE0E827C9F}"/>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19390726-36FC-0DF7-E215-A18B1E170733}"/>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800EB46C-CDAE-620D-7413-394F8311F5FF}"/>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0796866E-55D2-F6B2-2DFA-9468672EEB48}"/>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43FC505F-C1D6-1AE6-3902-AFA06CD7E7FE}"/>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8CB236BD-1983-8AA2-4A80-705A076C671F}"/>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B9463535-E6FD-7A14-51FE-318C4D89DCCB}"/>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E0C02BED-A96A-905B-D0BB-0DF4FFC0D45C}"/>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742FAF2F-B7CB-D014-E562-904FFE8AA192}"/>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8C8A0727-354A-4D2E-302A-69246953FD9D}"/>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B790267C-32FA-4A55-6BA4-AE553F8E0B51}"/>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1F1AB9D2-9CD0-E755-7B7D-5DF94902362B}"/>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15594BD5-7E25-900B-912A-6CA38697603B}"/>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3C0C2422-64E4-07BD-7E87-5184B0FB195F}"/>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F9DD0E28-ECA3-3639-BBBE-0D6E52C3C11B}"/>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5EA47713-577D-A068-5230-9C22083CDBFE}"/>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B2F7B41D-843E-2D8F-D313-A6FA0F298754}"/>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64D0ADFA-97F7-8EA0-9C02-03D3B3EC08A4}"/>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2BD91DB1-6883-829D-D481-A83B4A93A459}"/>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0CF1A677-5493-C2ED-0898-1331D00100BC}"/>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A9B95F27-6307-98C7-0BC9-A28405E6C69C}"/>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ED7C7022-C36C-F7DD-8ED8-78664ED11CC2}"/>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F4934F70-85F5-C41D-2840-43D26BFA4388}"/>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7555C2E9-A339-393D-78CF-1816FC5D185B}"/>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14B1C848-4DD2-C445-7886-CE3CB59DECF7}"/>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E257C7F4-CF9E-D68B-0AAB-97072FF028FA}"/>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424A8B26-FFE5-03BC-84B6-8B32DB232B0B}"/>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5A8A8C44-2F1B-1200-096C-DD8E4A0D3341}"/>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A1D6C6B3-40B1-93D8-141B-DE3318E9CF9B}"/>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05D04925-AB40-07A7-08A1-14E050B27229}"/>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5AA84BA3-5F11-BAF3-CFCF-A792CD593949}"/>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F5F2398E-6573-C802-A654-53808DDE5257}"/>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0AB5743A-C5A1-EFCA-78BB-380AE2CBC42B}"/>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9FA7450C-2B84-98A8-EBA9-8F0805CC8AA3}"/>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A298BAF6-98FA-4975-6A16-A0FF9BC5EC16}"/>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5D6B6922-7705-6C86-0824-83334AAFF293}"/>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81F63277-9B2F-55F3-62D5-7957C15B9077}"/>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65F0A9EB-927A-9268-BF01-73EBF1238C61}"/>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51A9DB30-1965-2984-5C61-5A4E05D36660}"/>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C707F00A-16C8-4842-9F7E-1D8D2981C6CC}"/>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C5FA7C32-F04D-2653-B785-282770089283}"/>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F61B2217-55D5-A14A-45A1-CBC6927DCF24}"/>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F490F1F1-EE8D-CE15-DB00-F863E264380D}"/>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70FBAC79-F5A4-8331-46DA-8683A1A21811}"/>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12BC5CEC-E62D-B0E8-2C2C-E9C66F94695E}"/>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5AE4133C-EDB0-61E2-F7DC-C3C7296977B4}"/>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30D7705A-134A-F78F-DC22-B1EC066343A1}"/>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4FE4B1FD-81FE-F295-6A6B-8BE374F1A93B}"/>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71EBBD43-7864-0BCE-7CEE-2B7816E91805}"/>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8CFB12EC-D8F9-3767-78DE-B8AA8625B9BD}"/>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9A26E982-AA00-3953-318C-14958B22258E}"/>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4DF6EB8B-D8C4-2B1F-CF85-EFD9B660B760}"/>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6FDDEB9B-07D0-D043-24E0-564038A2664A}"/>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E02587A7-0146-EC84-5CB2-67449D2658D8}"/>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8137CE28-B56D-1656-4B22-CA1E405A3520}"/>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75C854F0-8DEA-47AF-C68D-8A2B44C720B1}"/>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B374E6D4-19AC-A5E8-68E4-F0CE0AAEEE13}"/>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3F18119B-8ED5-CF8F-92C9-CE1513B7558A}"/>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AC91A6A7-3666-12FF-1E87-DCA0944DF0B2}"/>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F364658B-FFE9-47E6-CCD9-638C45F1B865}"/>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784525C8-AFF7-1A44-42A1-535BEE337B1F}"/>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3C8CAF56-6602-A9BB-51ED-2CAD407FF5FA}"/>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551BB0C7-1A0A-B0ED-E32F-1210CDA27A32}"/>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DCE70404-5EF4-E7B7-1C8F-4CD631676CF6}"/>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B5883510-F382-865E-C2A4-E49FC6725DB2}"/>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B4E55758-8C0A-B746-E7BD-79C01E0006A4}"/>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2CCDA1D5-30C0-94BB-F186-DEAFF6058EDA}"/>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918E254B-6747-A774-3340-0468D8DB96ED}"/>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23F5697D-5F5E-0FC9-A5C8-2E614817347D}"/>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87BA7788-5CDE-A0C4-6CF2-2C152759CAAE}"/>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24F68222-7A8C-3D76-46C8-FD121BA31808}"/>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C5F70706-AD6D-0BFB-9E72-7E379B08EF95}"/>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78251AC2-8B8D-5CF9-C989-9210322ACE06}"/>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80CB3BD2-395E-F9A6-3CCE-1DBC8A7C004A}"/>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8855B258-320A-68F1-4BDA-7222CE732BD1}"/>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1DFE2800-FA1F-70C5-203C-6906EE82E848}"/>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757CAEFB-3B55-A41D-887B-1539937D1A1A}"/>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27EFC3F8-9861-5803-DF31-DD8656B0BCC0}"/>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755EB5C6-687F-9B4E-61F7-6560797FCB2B}"/>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D54B2C86-8522-C091-A9DF-3D1E895310A2}"/>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4E621D0B-4F61-DB8A-0A53-AE9451DBBEBC}"/>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4A8ED1B2-07C4-C312-FA4C-17419644ABFD}"/>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C973A86C-C392-F0E9-1A19-4C6E19B18414}"/>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574E2FE4-172E-D41D-D5BE-F60D50ABC29B}"/>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3550A718-9785-AEF1-ABD9-7C1767B09343}"/>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7B0414A3-0739-5864-A3F1-0F4326A67A64}"/>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0F36212D-D1AC-F843-7EDE-1287264EE292}"/>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339ABC23-0FB7-5271-78C2-2BE7914B0C2C}"/>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F96BC989-1688-7365-94A5-821D86B37B13}"/>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1CADC651-8587-15B0-26E2-59B70DBC31B2}"/>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8863C3B6-2889-AF02-CA89-520D48D09BC1}"/>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2C0A4CD1-FF5A-C045-AC3D-8AB74AE90BFE}"/>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77ED62AF-5DC5-959D-5AE2-50387E7D7C7E}"/>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A9093DC0-0686-DD23-E36D-EC5BCB0CF900}"/>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0342B389-5BB0-5313-6495-0EBCD8FC049C}"/>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179C1141-A9F1-64C2-2C2F-E01CB4C95E6A}"/>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0AB11B86-A81F-E08B-4788-54312E6C37AD}"/>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FE112518-7686-0FB9-10E7-F55BBE4B55E6}"/>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1AFD09E3-703F-FA71-CFB4-C80C0026B384}"/>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DF430824-C515-0B2D-205F-DC2E2B7AF4EE}"/>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86348769-C182-F852-E704-1D04F61F60DA}"/>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45E7E670-AFD5-85CA-673C-87CF06F7D8CD}"/>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D1F0CC8D-5961-C70B-9D55-7EE68187146E}"/>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DE51C666-DA31-184E-C7EB-77E2EBA2E7DC}"/>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961E12F0-3847-C5CA-0C79-7435CFB81A44}"/>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4CE8F202-5313-1172-B2DC-750A4FE80403}"/>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286CE33E-4C67-06CC-A3AE-3B3BA3481542}"/>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F71DA0B7-E4AC-81CF-71B2-15AA4DE5C5C0}"/>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6651A086-3676-E058-A732-284C91A4CC87}"/>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69922173-B841-87E2-4156-C9BF09C5DF61}"/>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E0054283-FDB5-EA30-EF07-2929C890E99F}"/>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4B7C7B53-5F64-288F-6D5F-6B56141F929E}"/>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8A4B7D8C-BEF6-D968-03DD-91B2C0C391FE}"/>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08304FEB-6DF5-786E-FB7C-B909188D3E81}"/>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6276213F-704F-B8BE-1CD1-2DC314D90636}"/>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E1345C1B-FFD1-A067-DB49-80BACB24136E}"/>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19C6BF67-165F-C0DE-590C-1C1A17DBF0D8}"/>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F2BC4982-38A3-9C5A-A43A-103EED55E129}"/>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63D0445A-B008-7DE6-CC8F-35BF3890D8D0}"/>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8A7AAE0D-D9EB-19EB-39CD-7B3DC9E40C7B}"/>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AF2799A4-6C35-F4D4-DC9A-1E75A7D66A70}"/>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A2D40976-43B8-67D3-4A45-A03E942817F2}"/>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BC852BCC-10EA-B8CC-610A-8C1126A06A89}"/>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CA669008-82B8-2035-3E40-BD1EBC763F50}"/>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7AF56A3E-50D8-2939-AB81-CAA7197B9764}"/>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BF6DFD73-D85A-72E4-A06A-69FF336700E0}"/>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04B26927-481A-758D-ABED-0ACF34D8103F}"/>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FB14A7EA-6448-BEA0-4F61-73722F71A1F3}"/>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17FFD747-56C2-C21D-62C0-093D624DF4B0}"/>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62BC8706-D5F8-F5E1-555C-7D34719518EB}"/>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6D72C592-02E5-BD6D-9D86-1EC3754321CC}"/>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789D0805-F1F1-1568-0161-95B8C7506DFD}"/>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F5E2DD0B-86DD-1D7D-522B-94CDBEFCD47A}"/>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C706B407-3B84-A46D-6690-3C2BB207338E}"/>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7E178EB9-B416-F268-3320-4F51280C2639}"/>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F73820F9-6B20-3EBD-EE5E-F0E0611C14D4}"/>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E186FBC8-B27C-DDFF-8986-5836C3672499}"/>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F4CCAD21-A03F-7F7A-3DD8-A1440CE090BF}"/>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B5033A18-6FC1-E29F-4123-1A81FE7EE550}"/>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DDB6EEA2-0D33-1359-1FF5-2852B257E07D}"/>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09613108-25FA-D787-4BD4-265216DFD48E}"/>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F9557BE0-3A45-0508-03D8-8C0EAC464B6C}"/>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229E39EB-2608-A9D5-3EAB-DD60600FFC34}"/>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E12B9E84-8935-E973-C8C0-2CF155D441F0}"/>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48288BAB-5211-D7AA-3BBC-46DC12E9327E}"/>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199A944A-8242-B2FB-C2A1-AB5E71C1564D}"/>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89081A7F-7F3B-C4A5-74ED-6B01D663FD62}"/>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B89682BB-0A7D-8DCD-EE89-D739D0C2611A}"/>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57533438-3229-DADD-EBB2-D5919FBDD1C8}"/>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9ADDE0BE-D59C-753B-84E3-BE1C6605ABA8}"/>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60FE1C3F-DFBE-C976-66E0-29F97950AA34}"/>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49B20EA5-E413-DB03-4212-958656E1A7B4}"/>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497BC858-460A-0064-69E4-F5BE1BD1502C}"/>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AF6400E9-9C10-FDC8-7CCA-29B9A16A40DA}"/>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B59E089C-29D8-BE52-9023-40B3CDFEA723}"/>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F2252FE1-AFBE-5FB7-529A-DB2C39DDF4A8}"/>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9191F084-92C7-1254-BFAE-1DC4D7A514A8}"/>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081C93AF-9258-4F52-718A-FF1E12C2A91E}"/>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201BA0CB-E842-3F2E-455F-3C63A86ED040}"/>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51D8C30B-9CCF-BCE5-F149-16A35E5B6AD8}"/>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2CD0F4D1-74F8-F779-8EFC-D722E2BBB80F}"/>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8E36FC0A-44B6-4C20-247D-76D57874AAA9}"/>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5580539F-A373-A794-497D-FE757087209B}"/>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552BE25F-E254-48DF-F9E3-AA7490984C04}"/>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B1FFFA0A-CF6E-26D2-90B1-FA85403B1A11}"/>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31A09889-6D2E-EF84-4279-0DB70DFFE75A}"/>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AD785AA6-FACF-B58C-08CB-FB92B2CEC81C}"/>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EE023D7E-05FE-F033-11D2-A480580D8568}"/>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061CD669-4545-484B-6D32-E1214D8D25A6}"/>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B06780FA-4C2C-F3C0-3CB2-41270EF78B2B}"/>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48A4B817-F213-8DD3-D7C2-D6D5E2489412}"/>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E3978ECE-335A-1353-EE7E-A7E73BBF4107}"/>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477F05E6-563F-2698-EEE0-BD91516A1CE4}"/>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1B755652-F0E6-89F6-E8C7-743E823B3A35}"/>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4F68A0CF-F1C0-9953-2634-7686FECA9C70}"/>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0863FB93-CAE5-CBA0-E049-8F65EBCCFB36}"/>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6426C910-4F1C-8118-5AFF-2CE34199CF0B}"/>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B66626DA-728B-AE98-73A4-0CC4CDEE08CF}"/>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BF20D4E4-71B4-0C97-D838-AB5C2DDD65AC}"/>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FC014228-FDE4-2729-5A51-51E0797E81B6}"/>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3E2BBC7A-0199-959D-8255-C3442D6C8799}"/>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4C09FA55-08CD-DD11-3310-AA7756CBE866}"/>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B60F79AC-AE2D-A456-B0D6-E1722254822D}"/>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CC04155A-6D17-742F-CAF7-1A564EA1A849}"/>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C4E611AC-9B80-17FC-6EBE-418CF8A2BAA8}"/>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3935E659-47D8-ACD6-0207-6243E9553BFF}"/>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EA7B5F47-2416-7654-3D46-3B2394ED0511}"/>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3B8D56BC-B456-63C2-2865-DAB25F88C83D}"/>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AE774AA9-5A22-0440-A36D-84195A8E914C}"/>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49E09EF5-CB01-4EDF-B4A5-C25F90A091CC}"/>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FF6D4768-9507-CF31-649A-2C043146EB7B}"/>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FFCD0DDB-9A71-3D2C-0500-F783D5C24026}"/>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F28B46DB-5530-395A-C0E8-155BC4E9FE52}"/>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1C70AD8C-C72D-C698-1AB7-752E072329C0}"/>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7451BB49-84ED-EC64-A975-1BC06711EFE7}"/>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2C57E547-A79E-82F6-1BB4-ED46C595763E}"/>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ECE81641-E7BD-348A-2E5E-E5282C6429B5}"/>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3092CA10-7694-F350-1CD1-A7E0C4D63F53}"/>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84826CE0-3DB0-7122-4A31-83296AC35163}"/>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72D2DB8A-470B-7B40-37EC-1803DE436F65}"/>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61C6F459-A250-3F58-D577-D0948C6B7CA9}"/>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5FFE4F60-56C8-D87A-EEA5-A80A036D8D89}"/>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B1B753D6-E749-E047-8624-327476077236}"/>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3AE10283-1E08-448A-BD67-F3BDF2F4971B}"/>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D595519C-8BB0-1D94-0542-3E992668C306}"/>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A0F95F44-1A1B-2E49-8BC4-C194E9178241}"/>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A3DB720F-497E-1580-C474-B5CACB0418B4}"/>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7B072B78-7355-7AD8-7BA6-C24EDDF82C28}"/>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A47EDBC8-96A0-86F2-088D-E84E8F10B29D}"/>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DE00C40B-66DC-07CC-F4D2-CBF4B4D777AA}"/>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B697555D-9739-78F3-E40C-64DF32234AB3}"/>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577C7262-5583-06BA-DDD1-447D5B9B160C}"/>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679680DA-B092-E253-80BF-004CBB812D5E}"/>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3BAAA0F9-A2F2-981D-E74C-21201DC575AE}"/>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FA256F7C-7C08-559B-DB81-8F025C35E613}"/>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15284A0F-B60E-4180-0177-812BA9FA620F}"/>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650EDC74-DC88-ABB4-72B4-CD0CD26390DB}"/>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695DA769-3920-7087-D5AB-3C7A160AA594}"/>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9C434D8F-6169-7F04-31CE-41D3139E44CC}"/>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B0177A55-7BD3-13C7-FCCB-D9B0B846BFB5}"/>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7A2177A6-A62B-A287-F7B1-536A46564177}"/>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42892EB5-6C0E-1B8F-9CA1-FA81DA070C14}"/>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82E59E04-3EAF-1DA1-6169-8AFFEB5ABF5C}"/>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A7381DCB-6D4D-C9CB-5FC3-B907D9F59A87}"/>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72EDF4B5-C807-A8AB-F76B-0F060F3AF931}"/>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6E882E32-8F8A-F1B7-BBB9-4AFD859CEB4A}"/>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2A0AC00A-34DA-9B68-869F-0EBFB9E348FB}"/>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19673B8B-A364-5DAE-E254-2417511D1F6A}"/>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261F39E4-9D89-16C4-C932-299EB5A8986C}"/>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BF93958D-F4A7-1C1A-947B-84DB15D0FAC7}"/>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7AF8F458-618B-0CBE-7104-A80893BEA802}"/>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D0E87FA0-AE48-060C-60A6-43FD17E8A4D0}"/>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81D14B7B-BDE5-1455-1B09-E738BE4B73EE}"/>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9384CF71-ABF3-8C90-AF24-BFEE29D69C0B}"/>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B7742B7E-3517-EFD6-C2AA-7285A74F5BC2}"/>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4141A95A-BC7E-32B8-108C-E6BD612444C8}"/>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FE7A6DDD-C199-015A-1E65-FB3AF6F0A229}"/>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96BFF4AA-81DC-6042-9BE6-D712CA5CD5FD}"/>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D82F7D33-9F1F-EA69-04B4-21507E1A3088}"/>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3CC673D8-7695-53FD-0B58-9E8BEEBC3411}"/>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03DEFF19-1A7C-C7C6-DD32-EB687F5270A0}"/>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1DEC1FBB-A218-9BA8-6305-25F0AB8AD363}"/>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2DB17A68-3D1D-8764-CE5A-1EE9DB846727}"/>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B01220DE-16F4-E1D8-45FA-D9E9679A7174}"/>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059895DE-F134-68F3-1F32-32C0C6C7C695}"/>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00A16442-5F51-B114-8301-09B86D66FF39}"/>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85633FCF-9061-1543-FAE4-83A45CBE40B3}"/>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A3D03DF2-37C6-3FD4-A236-052D5AC22A76}"/>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2DA99CC6-D205-FC77-F56A-4D277B909054}"/>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9457E187-6380-ACC3-D305-CDCA9321E327}"/>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13CF344A-31EB-8384-FAA1-87F5E096FA9C}"/>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08522940-A6AA-D726-D11E-4891C803C277}"/>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C7E0893D-B263-2CB3-00A5-9E4DCF14D581}"/>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EC46D27A-C845-59DA-F9E0-2602A523CC01}"/>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CC0D21E5-9BAA-BFAA-B91C-68C2138E450B}"/>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ABA3BC60-4DAB-C5CD-2323-454E5D70D173}"/>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572FB4AC-3EFF-1B42-1F80-002A473D4D6D}"/>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F09FA9F5-F013-3E6B-3774-6C2ED0419546}"/>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AA89DD2A-2258-32AC-AE0A-BEC471307873}"/>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C4B86837-4C36-5978-14D1-E61004447CEF}"/>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AB2947F9-7633-FCA2-71C1-59E7A7CEA156}"/>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14A9DE5A-7C56-67FC-96CB-6EE66FE4AD3A}"/>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DB23518D-DD9B-A037-6CD5-A250BFDE6C47}"/>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85D7B98E-2B36-048C-3E15-49F1EA2EFF99}"/>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9D22394B-D4C3-6117-4D38-412680AD4E3B}"/>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92EC6F2A-6975-B98D-7CA3-85852F68B175}"/>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1445B57F-F7F8-A306-65C6-B865AECBDE76}"/>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3FE8B591-C078-7851-77C7-F125F9FE5B65}"/>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D49E8FA3-CFF7-E143-AF1A-AF4B28839D48}"/>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31E7CAB5-2B9B-BBA9-27A8-733499E92762}"/>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49F06A75-9188-8809-02F5-905446A8B6B7}"/>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A4D9D896-B29A-7BD4-41CC-12E0F35BB197}"/>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86AB9701-42C4-8445-254D-8407D16F5632}"/>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24DA5C85-5FFD-DEAC-DB9F-8D2000F9FD4D}"/>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DBC73EED-4E1D-CBF3-C19B-5E4ABC76D115}"/>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F4C9E3A7-7E81-E160-14BC-DD846BEDFCA2}"/>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C928528C-7B48-C3D8-3344-48149F7A3D07}"/>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3CE351A5-983C-BC88-FCA8-C55729C62745}"/>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3C652866-D920-4970-C6B0-359B3A2436D0}"/>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8DD4E3C2-057E-9283-25AE-DEFD4677B43C}"/>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048BD238-5B5B-C64D-5CC1-F9F9206C7FBF}"/>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246B82E6-CD26-B93C-0135-52A3710EEDF5}"/>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44CA8F47-D586-A9A1-9898-A98EF350BFC4}"/>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0E84B763-1844-01CE-DEFB-7B6107CC81AD}"/>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09947E63-FC98-F428-0CCA-C25D8B4EA7BF}"/>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7C07B981-669B-CD13-3F73-1320B955DBC0}"/>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A03387B5-6848-1D22-2D62-C3116B38E66B}"/>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B94EE536-0DBA-1B73-FFE0-73ED249F2605}"/>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5EA57729-3391-5A1B-A9F2-1B1601C358BC}"/>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9217288E-424A-F782-2429-2B10040239D4}"/>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F7887200-0D30-C7D3-2D06-6E2B1AEA900C}"/>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E578DF5A-DEB8-D6CC-6285-7B36959AC3F7}"/>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6521E89A-05EE-70C2-49AF-E9A6632F2680}"/>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43905B68-B7E3-491A-40A1-65318FF7819A}"/>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BB637C90-E630-8A7E-3A4B-2CA6048942F6}"/>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EDBA94BF-B0F1-0106-9FD9-AF5263D90621}"/>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FEF61D51-9842-5B39-1352-75197B1A9638}"/>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3EF17779-5444-0F75-0C6A-8988E750854B}"/>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EC26EC25-BE88-AEE8-0D40-94DC1D10D8A8}"/>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A8CE22DD-FD3B-86BE-5579-B1DAA24A499E}"/>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7EA43380-E2C4-1F20-51A8-80D078631969}"/>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8868FC38-FBBD-374E-CDCE-B3C0FF5FE008}"/>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9D30DF32-C54D-66A5-8A14-5B7A38FC1D71}"/>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915509C5-30BF-A74B-5AB4-DBED8B3E6AE3}"/>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76C214DC-5751-C311-4EC3-46F202BA71FE}"/>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9DC5319A-BD29-D03F-63A7-1DB3046D0692}"/>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C06DD4AE-E4E9-A433-E139-15CD1DA59C34}"/>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CBFFEBF4-20D1-AA2C-631A-41EBAD51FC19}"/>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376C396E-516B-21E4-443F-2F45C027FA9A}"/>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659EDC78-2EE6-45CC-5703-950715BDE2AC}"/>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573AEAA5-6280-592F-DF56-6B668D605D90}"/>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BF3F76CB-4471-C31F-4650-0D8097935329}"/>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262EB979-7FDD-A23B-3766-9E4D12E86DB9}"/>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35CA30E6-BD7B-E4BE-E0A1-E2B893D78023}"/>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37AB196F-9CF3-4E82-12E8-6668BE98C28B}"/>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3EAD58B0-CBE9-9746-ED47-8829253328F7}"/>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1AFFE38F-E37C-D265-CB6F-78C9270C984F}"/>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8375885B-E67D-C736-8817-1EE4048F3AF9}"/>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C34A5565-50AE-E821-D813-8B97E118E282}"/>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590C3295-4653-A215-A048-E1520CDA0D56}"/>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3C0B4B32-F44F-FC75-971D-72754797A32E}"/>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5A08EEEF-0CFD-BE43-2A74-EFACA8A2596B}"/>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6F551FD4-C62A-A878-6F0B-B9E3B883BD65}"/>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6CF33E1C-BD7C-A325-C947-C488744CC7E0}"/>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094086CA-99CF-E6F9-03B2-BA1990AB24E1}"/>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FC1FAA05-A403-4EAF-B529-EEAC54378988}"/>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696B578A-551E-1249-681D-DA3837FEE54B}"/>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74384735-823B-8B6F-1B26-D58D0F917CA5}"/>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528579FB-3368-B86F-C391-15DF6AA436F3}"/>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CF8BA17E-545E-D65D-95C4-C32503AA81E4}"/>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D195B046-532D-BD9F-2F45-9C415E81425F}"/>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1D1463D0-8C10-F758-324F-356281EDA7AA}"/>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CC2884BE-CA8B-AEDC-118E-AEED6DAB3FC2}"/>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E859D5AA-7786-46B7-4253-B5C1AFD8D3F9}"/>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FB7B1106-5A29-16BD-5CF1-D03CA23F8835}"/>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6FB5885D-6042-0174-0C77-EC9258DA22DF}"/>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0A2DB374-956B-A869-C02A-B1668641B95D}"/>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EC166E5C-76E0-F416-3EEB-C48FE060EE33}"/>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CEFBEA58-7568-4E79-9435-33702CB42E20}"/>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A04A1CEE-14E5-59A9-9C3A-27FB9887395F}"/>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838063CC-93C4-FDB1-1267-359FD93A2328}"/>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86AD7C5A-6FC1-AA2C-8D3D-490D75EE5168}"/>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2D3A2EF3-7B3B-1843-6F9E-848574A93A98}"/>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BE3D88F6-408B-7198-D19F-860E37406894}"/>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B15BC3A8-4AC4-547B-7D09-01CF8C8DDD3D}"/>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8F42963F-FF9F-02BA-27B7-58034EFFCEE3}"/>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0A623584-D838-5C86-F268-2A5152394BED}"/>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6E310416-70AA-3011-ACD5-9D17C7DB4082}"/>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D949FE53-66E8-BFE4-F5A0-2252585E3C8F}"/>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78B21BDF-1110-7F24-8836-E621D7314C0E}"/>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9A63FFBC-0EDC-4B24-3E43-EF0859379258}"/>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48DC1CE9-E5FE-ED4D-2D07-4308FA331CC8}"/>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372F08C6-61FE-0C5B-D857-A16F64A74903}"/>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B674F2DF-B340-9A3A-E589-ED61C22E5D71}"/>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7227234C-307E-CEE1-E29E-B6C5D1DEE9DE}"/>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555BEF39-1807-2B13-0376-E78FCC54C34A}"/>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FBD6A92A-F834-5FCF-3D9D-A1FA8ED54814}"/>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DD6E36D4-549D-73F0-0072-4F7C29784FA0}"/>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523B4EA0-7032-8FC6-632C-2DA051E836C1}"/>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BB2139CB-8775-47AE-873E-75C872246D11}"/>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1963BBDB-CF38-A262-020E-5816472C815F}"/>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8D749472-9671-9625-8B0F-D35238387DC4}"/>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BD229056-6DEF-F934-9E68-5947812F2837}"/>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8DDC1C11-04F3-B6C6-884A-F7CB949BEAA0}"/>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370D0AB1-B92B-B54A-4C2C-21982831332D}"/>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BDE77EDA-5DD2-6669-0CAE-6F1AFE58C951}"/>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1B312E6E-CCCC-4E5E-36B8-10BCC58E4138}"/>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4C35FDE6-04D2-AFAB-EF4B-DC3A99D56307}"/>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434C7F90-7080-0C7A-7A66-4E186B2C5755}"/>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A7437362-7DF6-852E-5516-D872A3D14E4E}"/>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9D60195E-184F-7382-D94F-2FE3B1229B6C}"/>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9CC52CA7-2AA5-B469-69EA-7A786DA6A1C8}"/>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2D0672EB-61B7-DBF5-4A88-749FEB04F8B6}"/>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F9560016-CA76-C770-8EC4-84271EA66124}"/>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1D47882C-DD6C-59C4-61D8-4E1C5A094464}"/>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133FE12D-76D5-5881-82D8-DFD526B296FE}"/>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78B9AA08-5B10-FC4A-3AF0-CF4179B4C510}"/>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12C447BE-355A-E940-25DE-B0C57684394C}"/>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7C7C4BE4-F8A4-0F9D-B1DE-C5EB0624117C}"/>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FBB767FB-0218-6A19-7378-973BB754EDCA}"/>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A9DABD4D-0244-5D56-7936-9D89FC43BFEB}"/>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4BCC73DA-448E-E4BA-6040-54C3761C9F2D}"/>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E380C7DE-9C40-5F5D-A610-82058037E9E4}"/>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CDFEBDB5-F491-78D8-EE6B-DF86992F03EC}"/>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D63D2BA8-B0E7-BB0D-20C9-8D65F8586F84}"/>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002B979B-D84D-0CF2-73E7-E3F4E136AC9B}"/>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C590CBA3-2D30-0BCB-BFA5-9C1B57E435A7}"/>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B0BC32CC-5F55-4506-8477-EA6834924D74}"/>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A077D5D1-033F-DE01-AA03-454596A6C0F7}"/>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745A1FFE-92C3-D735-0AC1-5B3E7A9BB0DF}"/>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04DEF20B-8BA0-6437-6241-777FF2C04BBE}"/>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CAEF6758-71F9-BE57-EE85-D4E5C09EFCBA}"/>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9C112EE8-9DF5-D11C-A6B1-FB51950C6BF7}"/>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118274A1-C6E8-67E6-EBAE-F53E4D4577CC}"/>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CAF04712-49AD-D53D-D810-C8B191FDC16C}"/>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A2091D0E-75DF-97B5-2AAB-003976A8D9D1}"/>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1A5C7C82-556E-11BE-EA50-409883BB9F45}"/>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FD30185E-0DDD-CBD4-63E3-7739478C9B16}"/>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3E309781-B749-F7DA-F2FC-45754F75A3AA}"/>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1A21FE4D-4F53-AE75-A6DF-EBAEDF37B0AD}"/>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0FC3210B-EDC8-CABD-C417-EDA2CED9CC53}"/>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05027C84-514D-7001-C389-8A51ADA2C42E}"/>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5B209BF6-912A-414D-02C4-FF65A679544E}"/>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FCC2EBC4-B683-94BB-6DE5-479F1ED7D942}"/>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557FA895-E63E-F24E-FA87-232C76FD9861}"/>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693D4298-49E3-B093-0475-643BFEF43E53}"/>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E8337268-C9E0-0459-1EAA-68938668333C}"/>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2AAEAAA8-D4A0-2EEB-5BC8-730A764A91C3}"/>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D299B867-708F-FC93-8448-2537790982CA}"/>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76581F58-A11A-D592-36DA-918D9E59D794}"/>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E6060285-BB36-2079-E495-2E3DFD0935B4}"/>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CE26E024-7889-A231-05A7-03A12A2B8E6A}"/>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77E300C7-67D0-0996-222C-987409F55F3F}"/>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599E4151-2D6A-A8EB-FDCF-31EFD00FECD5}"/>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F282FF92-6D78-8689-D82B-1DF552DF89FD}"/>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FE94DCEC-7B79-17D0-7308-915270622EE8}"/>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6F28125D-AA8F-FEF3-B45F-F35BBF9DFD3A}"/>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D6909E4B-D183-AA0F-9A07-2582F0644FEE}"/>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E1C4E2B0-5149-6C91-0527-0356DE616D01}"/>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AFC62A92-933A-ED3D-AD10-E0071D27E22A}"/>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66EBEE15-A0B2-6A2A-6EC2-22E2A5A36368}"/>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CA89CEE4-7F97-2F63-6539-0B7F8BD5045A}"/>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2DB0C102-8A19-8089-1FD7-95260733109F}"/>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1705CDAF-7727-55A1-D0C1-02D9929974A1}"/>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5DB3AE3B-CC21-CEB8-54E4-7129F334EBF5}"/>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457A7223-FEC8-FFD2-CD65-A17C1840FF1C}"/>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BD77F84E-E736-969D-7324-715A5E0EE5FB}"/>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CF2437AD-7EBA-4061-E5EC-339A7F6B3A88}"/>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C8C68570-25BC-7D40-9B91-69A1C7216786}"/>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A005F24C-E218-81C4-A1B4-EAE18273A014}"/>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4CB50076-E096-5101-CECF-33CA99BDD5B8}"/>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ED551EFC-ABB6-B5E2-2985-70C2C87F85C6}"/>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8F5C45B3-4CA4-15B5-F2C8-F783B2354B9A}"/>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5A2A86A0-06EA-EC4A-99BF-B16BB01F786D}"/>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B1DAF020-BA9F-B987-84DA-D75FA44CC31B}"/>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7ED10801-424D-9D8B-C01E-E9EBFEE21EF4}"/>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8E270517-6A29-25DF-24DD-F8F3B7BE5D3D}"/>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E46D1840-EC30-39D4-A2CF-76E10ECDFFE2}"/>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694B9B16-4458-FF7D-4050-8EB283FBCF64}"/>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B9A0DD22-FF75-3FC8-971E-E009FF30810E}"/>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56409C7F-CE24-8F18-B3DD-C11597C118E3}"/>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E9E008FA-DA4B-F6DA-5674-3C2BAD658126}"/>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6EA048EF-6533-AACB-EFEB-DD74509C4607}"/>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8F7BD49B-7802-72B9-6212-9A996EB4EE7D}"/>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F74DD951-2903-7E22-09A1-F6763A75D180}"/>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332DF1E5-5AED-B6A6-6F46-3F0CD159A1B3}"/>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7E40D17D-DEF7-BAB6-8D2A-B9DC933BB687}"/>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20B13496-73E6-33FC-C3FC-AF3C50C12DA5}"/>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D432B126-1489-ED68-CC6D-1F49235DA68A}"/>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B2FE368C-A41E-7A5E-E457-80FE413D3481}"/>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80A25366-14DF-FDDC-2EDF-FBAA0543DFD8}"/>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2F04A447-B011-D6C8-CD61-2D7A42BD23EE}"/>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5C6E9BFC-E5C0-979B-F8A4-6350E0FADB26}"/>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90120317-978B-479A-21F1-8D4782873D40}"/>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AAB78D5A-9051-DFB8-9C9F-98F6AD66659C}"/>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214B2D9E-50FC-29A8-BB46-4D2B1B45E823}"/>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F93968C3-6885-4EFB-E78A-A645B8B7B55B}"/>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8E174E38-240A-BD4A-39E8-F505735A9561}"/>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47B556C5-B786-0824-E652-2B54B7EAC77E}"/>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2CE170EF-DB90-AB2D-46B2-B3B45E6AAA27}"/>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08C7C9E5-11FA-B094-DCA0-66EDBB8EBE61}"/>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E160E125-C722-854A-0094-C0869CFD3635}"/>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F96D6E46-2826-D6DF-F7CB-D1B78B8348AC}"/>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573BEAD9-F876-B443-B821-AFC0DCEFB9AD}"/>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FB3FD6F9-EA3B-0F61-630D-CEAA25FD00F9}"/>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C88042D2-2479-E16D-B0E1-CAB166BF7600}"/>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4FD64E71-E8EA-DAC2-E018-1EA150066223}"/>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BE4B27DC-0DA3-D0C8-7E9D-FC4D0336B2DC}"/>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74214EE1-F84C-2562-CCB5-6BC88CACE753}"/>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74AAE97D-A5A0-C087-EE19-DCDE0D18FE17}"/>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DE6B2BAD-C893-BF71-D858-9DEB5C07E6D9}"/>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B048705F-7D46-1F4F-CBD8-5C614D1FE966}"/>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AB7518EA-B212-E8F3-C6D6-0BB27D97D1B7}"/>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06A9E3A2-2FDB-5EFD-7C66-84956F65B2E9}"/>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9641D510-234F-DDFF-8106-F13C74FC09EF}"/>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80D5B227-7A3F-A5F2-BDE4-82A6DCF6181A}"/>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69279559-65A4-B8DA-3A9D-E41AE06979DE}"/>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4FEA333F-1181-66BE-34D0-48AF6B1F29CE}"/>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2AD958C1-A1BD-B705-56FD-CB6AED4E18E2}"/>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D7792667-1449-D406-68ED-33C685FE56FE}"/>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E5DC549C-3839-F6A3-2F7B-F0BE81635FE1}"/>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196D8014-18F5-7B82-6AEB-44550164358C}"/>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D47486D6-8F40-8FD3-3C59-E02B16FAC110}"/>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4691EDF6-C52A-3BD5-2CE0-578259843986}"/>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9A98C117-EFF9-97F8-FC04-6C9D39A2833F}"/>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194B19BB-D48F-83C3-9BBE-BF45DA604B30}"/>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E61D6C86-03A0-BFCE-6AF2-FB90108E4B62}"/>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6707DCF4-280E-FE1A-B92D-7DA1869D5E1A}"/>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5C857DB5-1A60-87D9-968D-FC04130FA2E1}"/>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EED26C84-E3A0-B5B4-428F-CFF4A1EEBF5A}"/>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82181690-9E19-AF11-FBEF-507DC744D851}"/>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D864DBAA-46C7-95F3-2917-77F27890F909}"/>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BC4AE5A5-28B0-B1F7-217E-4604FFF734EE}"/>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6132D7D9-4659-4C65-BCD9-3821D73BC09B}"/>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724959FB-918A-4FA4-A0C4-501CE698BFDC}"/>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574661F8-3EA7-490C-15C6-C6F93A1A2A3A}"/>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60820042-44D9-6590-D197-ECF822C14EA9}"/>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35EFF859-C385-4471-FBE4-4996871FCF42}"/>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557ED291-9E81-0CD3-DDF2-C8F8B1046218}"/>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80F01A3F-90E1-A0E8-F19D-BA59486D607E}"/>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5F56E8C5-DFB4-6398-FF65-78FD6C72C161}"/>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241F2CCF-A958-3A58-0B99-9E242BDC6FA0}"/>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3ADF222E-1151-4EDA-29D8-85FA1FEFD46F}"/>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4634F23A-3F80-05E7-60D8-B7D4319361A3}"/>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D1F0DEC3-AF83-98F7-686B-5F004D982C56}"/>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39ED1BA5-4D54-8EAA-83CE-06486AB23DB7}"/>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DFCDE154-2F09-C97D-9B27-4D60E398ADDA}"/>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B645C3C2-2BF4-12B9-28E2-192E943EAAF1}"/>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591B7134-55C2-CD3E-7FB8-5E636D17919E}"/>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2EC36150-C29C-8D1C-6604-F77B8E3440DF}"/>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86B1A950-2AE1-A833-739F-05034B31CAB2}"/>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EA4B30FB-8B56-D0C8-3B3A-5C63CD65F6F7}"/>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21BD35A5-CA7D-650C-2E84-05DF835255D4}"/>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B6E6CB90-AC7A-399E-5C9A-C8E8E46BE8B6}"/>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C7CD7967-2287-3CC8-8AA8-98530D2E8B05}"/>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1D5296F5-8934-0D1A-BC9E-CB53B23E7376}"/>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B9A12D87-5717-0D3A-92C6-D83FDCF962F6}"/>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AA779FEC-5F15-3963-525B-4C38D542982D}"/>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99CF5718-6462-B66E-7FBA-AAF5D75E7C21}"/>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716446C4-D98D-B211-69AD-A234FC82DACC}"/>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039FB8C5-F4C6-FB03-DC47-39837823D0C6}"/>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38A48F52-D077-2D33-2889-629817A70C2B}"/>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45B533EA-2DD2-3202-B99E-0238E95E937F}"/>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5EA7702A-4737-EAEC-FC14-E30A71B7A002}"/>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F29839EF-0153-60CF-4617-5415BC43BC97}"/>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514EB8A5-ED2B-68ED-07FC-E7137DB3AD02}"/>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0DAFD6F4-959E-0BB2-EF87-ED7B815D2D75}"/>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00458668-C7C6-FB4D-CB70-2246CEFF7AFB}"/>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AC528937-8AC6-4B46-259D-4E1528260676}"/>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841D9260-02B1-543F-3694-8115C0B19965}"/>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4A8426EA-D543-2E3E-7AC8-061CBC4A7D24}"/>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955C9564-A886-94D3-CFF4-1F34A66589FF}"/>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A71799C4-C9A4-F5E4-B9F7-E588EF59F872}"/>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21E2B8C7-ADA2-1139-E321-533717ADDE70}"/>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02E51F39-740C-BC3E-EAAB-60920C65E3DC}"/>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C5F6EF41-63A6-3B20-3165-D7F72EA5BBED}"/>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05F0318E-504E-871D-A860-CCEA25BC53FE}"/>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57B9A61B-B327-3918-DAE9-BE0F0A03E8CA}"/>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19CD7D0E-69D2-1095-023E-BCD0718E708D}"/>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E6B214E5-47D2-274F-97B6-15CDFCAC7444}"/>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4F5DA857-F520-3018-DCED-E6ABE9904E18}"/>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A9EB4D9A-AB9E-8D86-436D-F8C9A1EA583D}"/>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F4C0A778-E380-5647-8B29-47BA09A4BD67}"/>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CCEFE000-35A8-03F0-E9BA-50E24CA8A482}"/>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30258BE4-2694-C0AF-EDCA-73A35DCB84AA}"/>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4511F518-8AAB-BB6A-72C8-47E09626FF49}"/>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93BB90C5-5699-6892-E729-834DF1A1D45A}"/>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DEBEB614-13E9-095C-80D5-560764F92876}"/>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EBB90577-7C2D-6611-E4CD-9A40A921647E}"/>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4605631C-0A58-0112-49B1-C48A9F1F5441}"/>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E273AAE4-A90B-08A3-FE18-628C2735038A}"/>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7B91E90D-1AA2-C25A-BC23-43F54377A9E7}"/>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1C9DC22B-735C-188D-EA99-CF66D91E5A34}"/>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04EF291F-78B0-A342-82D4-53A1EA53D67D}"/>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F733C28B-DAD2-9E61-B7ED-29C33708580F}"/>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6597130B-BE9B-9DE2-A7C9-F09CBB0797E7}"/>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AC9BA10C-01C5-5E6B-1798-02EB6614B25B}"/>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176EFF7A-1726-802E-13E1-A5A22525C733}"/>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8BA3BA37-80E0-9E5E-1634-8F26CB6DA638}"/>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4066E6D1-7200-7005-432C-13A328852BF2}"/>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3DE86C12-ABE1-3DD2-BC6F-30AFBB4150B6}"/>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191F9D9E-5D98-9971-4309-EAF1CA868BE3}"/>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F5873288-6372-6734-C303-49C1F1B4B6C9}"/>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DCE623D9-D17A-EADF-D167-4C05001E628B}"/>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F813B2C9-83C0-2366-22F7-6F5A80A914BD}"/>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67111F74-454C-5E74-EE5E-0E3C740732FB}"/>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25EF70FE-9000-B027-3735-671E9687624C}"/>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DD3B6A3A-9E01-CF96-A963-818BE75B6065}"/>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F20432D8-BB96-3EBD-C84C-0431AD10349E}"/>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DF3EC91D-4F55-636F-12FD-906B64A2B611}"/>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64700C14-76BA-6060-E228-7D7A2B42611D}"/>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349312D6-4F38-A305-AE3D-90C7BFE86652}"/>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C88B8722-21F0-1E87-20AA-66F390369C41}"/>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7677CFBA-E594-D306-3ADB-B6C7DC6D4222}"/>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DD11303B-7A17-83E2-C987-44F8B6D92556}"/>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E8D810F7-44A9-F5F5-9B39-0C01B54C3006}"/>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83BD48B6-5E51-4132-FE29-351D1B637144}"/>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74042758-5E04-BD01-5EC6-7BB632434144}"/>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B18EE10B-BA36-7A41-06EE-095232CE67F1}"/>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6AB402B4-627F-3620-165E-785510206223}"/>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CCF96A3D-709B-B5CE-4275-DAF42B9CD249}"/>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F933ED76-EF11-4C6C-A917-459226C94973}"/>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267D0E9D-636A-A657-8864-2E9AF4E64FE8}"/>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6D0829AA-226F-9167-D189-E0B71CD4529F}"/>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CBCB649F-8233-A1A5-CC81-71CA81FEA556}"/>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9D652DC9-2C00-AEC6-7DDD-290040982E10}"/>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03743BFD-0FFE-3040-7D03-0A9FBA7F336A}"/>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DBFE38D6-A22F-3CB7-56C7-4E41867A8337}"/>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F83DC279-0281-EAC9-A7E1-03ADFF9DE2B4}"/>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D010051F-8486-8E07-018B-B6C0A28BE975}"/>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C3FBE344-619B-2665-2F92-021FA3BC966E}"/>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7E819C4D-FE6E-234B-B5AD-265318A16B7D}"/>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9EE49723-24B5-4EE8-D20D-83F71BCE2ED3}"/>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8A2FEDA4-9509-EAFC-23F1-184D83D4DD59}"/>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07495763-6B2C-7CCB-E6D8-4733B37B7E8B}"/>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F70D7216-7E7C-F0BB-AAEB-81F098AB024E}"/>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E4E7E477-95A2-9701-22FC-FE1CA1455589}"/>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695C2076-6B73-D376-208A-4CC8C29E2B5F}"/>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2439B07A-F714-6BD7-3564-346F52CD152F}"/>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96CC5213-B989-C28D-66CC-499492C5AB6E}"/>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D791139E-CAF2-03E6-3853-43ECB56EEA22}"/>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A93F77AB-9038-98C5-6477-ACD0B4E2D874}"/>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37E07A43-B845-8E52-F877-2181AA492D51}"/>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52E9FC2C-508D-C861-2C14-22E90B9A7BC4}"/>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F7F02926-AEBC-8A15-14AE-9263F6F4A28F}"/>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C146A9DD-20E2-4B5E-EDFA-3C64C8162017}"/>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F39BAEED-0025-6415-5BEF-134D267C67D1}"/>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8313A77D-B778-07A7-678E-55B379233AAA}"/>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10CEBE3F-F9CC-6494-19D5-CE7E10572505}"/>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1BF3E7E2-04BE-904F-47AB-BE30392D0DBA}"/>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90F5988E-A5AD-56D0-BED4-30699BC7B0F0}"/>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25240BF2-6BF3-6A31-922A-C68C8FFC0827}"/>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4FF7592A-DF12-6D65-DC1B-9C1DABFCFD5C}"/>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A2322436-401A-66C6-C017-B17205115283}"/>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50CDD251-9AF3-CE61-016E-F52CFFF0A61A}"/>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B953BC25-833C-E2DC-20D4-763102B0EE86}"/>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BCA40160-8D50-B527-6B04-622772C92255}"/>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68A8740B-C6AE-0575-44AF-B999C1FBC617}"/>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0EA254EA-0B45-95C3-B822-25803ED85DA0}"/>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849AF022-A9DB-3580-6E0B-C1CD07BE30D2}"/>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405EDE08-2032-367E-CE7C-AF660A6D7F4F}"/>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DDA438E4-3085-E6B4-94AB-427E1D5BE873}"/>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933911E0-E392-EE03-DCE0-4CAE8A94D3C9}"/>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32B37F15-7F3A-8FA3-3BE9-E5906E735F45}"/>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75D11CF3-AD2C-2AAF-020C-4193954069F8}"/>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8D8A1F9D-6651-AADD-20A5-48FE59013981}"/>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F1ED71A9-2BB9-0783-200E-1EF218C66B7B}"/>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9EBB8F12-ED27-C076-56F5-5BB03F0D8FDF}"/>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721B8C68-B3EE-7EAF-BC2C-C2F88846AE56}"/>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76E61FD8-5E48-6053-CFB3-0126C2B4AC3A}"/>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DA2B319A-7954-D085-C191-AEE1719B2D0A}"/>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EAF9CADE-D938-96DC-5B61-82964BF17BA9}"/>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A490A0AF-0B60-2254-A789-C4A2BAC5A32A}"/>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7F6A4BC4-46F9-8C4B-EA23-AF84939B31BA}"/>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062A1051-97D4-2882-C22A-47AB02F19E3F}"/>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6255693B-3389-C186-9248-D19FF54B776C}"/>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53A9CAFC-B528-1381-BBE1-41440F00BD36}"/>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F5D9B133-91D5-92A9-CB9D-A16E17DF3DD7}"/>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A19433AE-AAD0-974E-8E6C-AACA0D98BF10}"/>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EC3D1A20-BCBC-3974-403B-E34C3A7044A1}"/>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B1B08594-9F0F-11AD-73FB-27F67AEF58CE}"/>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8558C567-925A-AD94-1B9D-E6A0899D8182}"/>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C91C7D4A-267A-5511-3F9B-7FC5BE915CD3}"/>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AB756EF8-1622-2D49-E0D8-49703E3036C7}"/>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44552173-D992-C812-0790-1F4F989E204F}"/>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822C5375-83AF-BA82-4682-327B871D5BFC}"/>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0DF9465C-2501-D901-6CEC-920ACE1E7F34}"/>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A4FB3133-43E3-CDCD-EB39-21F5B1D74256}"/>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28C1AA6D-F9B8-43AF-2D87-34F5C897DBDC}"/>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2F7D61E8-385B-B065-71B9-F24A2C61F22E}"/>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B69C9086-A200-AD9A-DCC6-4D9E57DA6E2F}"/>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F6704A91-626B-6105-3110-266FE5975BFB}"/>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F6FD38F7-C776-49B1-DFDC-F9202829B769}"/>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cxnSp>
        <p:nvCxnSpPr>
          <p:cNvPr id="12510" name="Straight Connector 12509">
            <a:extLst>
              <a:ext uri="{FF2B5EF4-FFF2-40B4-BE49-F238E27FC236}">
                <a16:creationId xmlns:a16="http://schemas.microsoft.com/office/drawing/2014/main" id="{C85AE4FE-5C9A-9E86-CCDD-CC14068505A6}"/>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12AF3034-C218-DCC3-564A-0B789FC98970}"/>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1BAC4FE8-6927-92E7-3CA9-2902436D5AF4}"/>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7AC7F64A-04D4-CA7D-6681-3BD3B3B2ACE2}"/>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E6AECF53-7B28-36DF-0037-3E3667887E1A}"/>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D6D27041-50ED-D88C-A22B-BE5275C476BF}"/>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37EFB696-C425-C3E9-B0F5-AD47EFF5FE7A}"/>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B6EF9037-B6C0-2AA6-55B4-78F345217F0A}"/>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A7ADF198-4D48-EDF0-E56B-D04338F053FB}"/>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93086514-A7C4-78E3-BA58-AA75358C4BAE}"/>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F55F1CD8-E0C8-093F-90B3-9BF266060D51}"/>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8002AF38-8BD7-6F3D-5E26-D51BB2C8A1C3}"/>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59F8A639-E7CA-E990-21F2-29F3DCD00D56}"/>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D2B72034-F587-2AC4-C0C2-2CE601A80057}"/>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C4C0E003-DD2D-10F4-B46B-1C2F3F276A2D}"/>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ED76648C-FEC1-C6CD-87B6-DC202317ECF0}"/>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767BAA21-7DFD-1766-639A-154585949A9C}"/>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0A7EE84D-12D1-ECCD-10EC-B15150BEE001}"/>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E9A0DE4A-30E7-E5EF-A2B2-9E4F538F2DC1}"/>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9EBA96C0-D0EA-B205-4B53-6B491F29A2A9}"/>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6060221A-2791-B369-ABC9-7C8BB8E0D704}"/>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1CC1655E-E964-D509-EF86-ECED11BFD1D4}"/>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AFB1B95F-9E3B-F296-0C91-46126C9D192F}"/>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B57F1777-4081-9BB3-BD53-568EC026D783}"/>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45078E89-F733-2E70-CE47-2057B9C06DCE}"/>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44F468FD-E148-02D7-4358-4865CADF451F}"/>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FBECC624-C8B7-78BB-9F9B-9ACD92068A09}"/>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FEA9C940-C7B5-F39E-C16E-09C5165C1EDE}"/>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1CED4302-71BE-08AE-D011-752AE42223B3}"/>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06D90D7A-618E-E272-0F57-6A643E71029A}"/>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BC0D11BB-C2D6-22B4-3BCF-C53B599D5252}"/>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656B438E-A63E-5C22-7456-EEF979FF3CA6}"/>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C8FB7310-B08D-9F5F-D183-7471EA568609}"/>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D7E91975-DEE6-E00E-6594-3C89821B3035}"/>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43F77297-B57E-E89D-A489-82220C3F6782}"/>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0711A36D-7C76-A79C-0B3E-D719DF8AF6BE}"/>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9B03C3CE-BE97-17AD-7B1C-F4BED5CA97AD}"/>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1D7B994E-C8EF-6A65-5D0C-BBD48C987163}"/>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985897E5-75FB-A2A8-02EE-FC3263F909C9}"/>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CFA2D36C-11C9-A739-D340-338EFF53D8A1}"/>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DEFC472A-AB6A-DE61-384F-2B72276E0AFE}"/>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35814C2F-AD26-AF9A-75F9-459058BD43F5}"/>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B55E9088-0DD2-4859-F04C-0B089310C830}"/>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2C877AFB-65BD-92F7-84D1-0B83E57E705E}"/>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B1FCD596-8798-1B8A-91B1-18C05541B43E}"/>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1B35E6E7-80D3-434D-A9E5-15BACB483389}"/>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E6C82895-E19F-78FF-D872-9E13E4306FD9}"/>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DD557DB7-2AED-F1E7-1260-73363FA02AEA}"/>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9D053DFE-B7C2-EC5E-B3A7-EE668C51C0BE}"/>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2715C904-725E-9681-5FB0-70D29AFA9284}"/>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457B6FFF-518D-8791-F12B-79065890AE43}"/>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sp>
        <p:nvSpPr>
          <p:cNvPr id="18207" name="TextBox 18206">
            <a:extLst>
              <a:ext uri="{FF2B5EF4-FFF2-40B4-BE49-F238E27FC236}">
                <a16:creationId xmlns:a16="http://schemas.microsoft.com/office/drawing/2014/main" id="{96F377D3-A5F5-1B1B-B310-89E51B851941}"/>
              </a:ext>
            </a:extLst>
          </p:cNvPr>
          <p:cNvSpPr txBox="1"/>
          <p:nvPr/>
        </p:nvSpPr>
        <p:spPr>
          <a:xfrm>
            <a:off x="4826643" y="3641066"/>
            <a:ext cx="21422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PTEN cut-off: ≥90%</a:t>
            </a:r>
          </a:p>
        </p:txBody>
      </p:sp>
      <p:grpSp>
        <p:nvGrpSpPr>
          <p:cNvPr id="4" name="Group 3">
            <a:extLst>
              <a:ext uri="{FF2B5EF4-FFF2-40B4-BE49-F238E27FC236}">
                <a16:creationId xmlns:a16="http://schemas.microsoft.com/office/drawing/2014/main" id="{C44EAFAB-A2BC-DDB8-F35D-7B2AD24341B1}"/>
              </a:ext>
            </a:extLst>
          </p:cNvPr>
          <p:cNvGrpSpPr/>
          <p:nvPr/>
        </p:nvGrpSpPr>
        <p:grpSpPr>
          <a:xfrm>
            <a:off x="714940" y="1482475"/>
            <a:ext cx="6798425" cy="1935956"/>
            <a:chOff x="1040606" y="1476375"/>
            <a:chExt cx="6090949" cy="1935956"/>
          </a:xfrm>
        </p:grpSpPr>
        <p:grpSp>
          <p:nvGrpSpPr>
            <p:cNvPr id="6" name="Graphic 1583">
              <a:extLst>
                <a:ext uri="{FF2B5EF4-FFF2-40B4-BE49-F238E27FC236}">
                  <a16:creationId xmlns:a16="http://schemas.microsoft.com/office/drawing/2014/main" id="{66B4E253-4DF7-A157-0214-0057C77312C1}"/>
                </a:ext>
              </a:extLst>
            </p:cNvPr>
            <p:cNvGrpSpPr/>
            <p:nvPr/>
          </p:nvGrpSpPr>
          <p:grpSpPr>
            <a:xfrm>
              <a:off x="1469675" y="1616392"/>
              <a:ext cx="5661880" cy="1795939"/>
              <a:chOff x="4136421" y="2810065"/>
              <a:chExt cx="4244530" cy="1346358"/>
            </a:xfrm>
          </p:grpSpPr>
          <p:grpSp>
            <p:nvGrpSpPr>
              <p:cNvPr id="16" name="Graphic 1583">
                <a:extLst>
                  <a:ext uri="{FF2B5EF4-FFF2-40B4-BE49-F238E27FC236}">
                    <a16:creationId xmlns:a16="http://schemas.microsoft.com/office/drawing/2014/main" id="{A3209D80-257D-012B-F49A-61CA203773EF}"/>
                  </a:ext>
                </a:extLst>
              </p:cNvPr>
              <p:cNvGrpSpPr/>
              <p:nvPr/>
            </p:nvGrpSpPr>
            <p:grpSpPr>
              <a:xfrm>
                <a:off x="8305323" y="4080700"/>
                <a:ext cx="75628" cy="75723"/>
                <a:chOff x="8305323" y="4080700"/>
                <a:chExt cx="75628" cy="75723"/>
              </a:xfrm>
            </p:grpSpPr>
            <p:sp>
              <p:nvSpPr>
                <p:cNvPr id="14644" name="Freeform: Shape 14643">
                  <a:extLst>
                    <a:ext uri="{FF2B5EF4-FFF2-40B4-BE49-F238E27FC236}">
                      <a16:creationId xmlns:a16="http://schemas.microsoft.com/office/drawing/2014/main" id="{DC12B885-4F41-1B3A-F9EA-1A751E11E086}"/>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5" name="Freeform: Shape 14644">
                  <a:extLst>
                    <a:ext uri="{FF2B5EF4-FFF2-40B4-BE49-F238E27FC236}">
                      <a16:creationId xmlns:a16="http://schemas.microsoft.com/office/drawing/2014/main" id="{22464BE2-1FCE-4F43-5D0C-6907385EB919}"/>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 name="Graphic 1583">
                <a:extLst>
                  <a:ext uri="{FF2B5EF4-FFF2-40B4-BE49-F238E27FC236}">
                    <a16:creationId xmlns:a16="http://schemas.microsoft.com/office/drawing/2014/main" id="{F8DF2C11-B4C1-04DC-2E03-5839782C5ADB}"/>
                  </a:ext>
                </a:extLst>
              </p:cNvPr>
              <p:cNvGrpSpPr/>
              <p:nvPr/>
            </p:nvGrpSpPr>
            <p:grpSpPr>
              <a:xfrm>
                <a:off x="7934800" y="4080700"/>
                <a:ext cx="75628" cy="75723"/>
                <a:chOff x="7934800" y="4080700"/>
                <a:chExt cx="75628" cy="75723"/>
              </a:xfrm>
            </p:grpSpPr>
            <p:sp>
              <p:nvSpPr>
                <p:cNvPr id="14642" name="Freeform: Shape 14641">
                  <a:extLst>
                    <a:ext uri="{FF2B5EF4-FFF2-40B4-BE49-F238E27FC236}">
                      <a16:creationId xmlns:a16="http://schemas.microsoft.com/office/drawing/2014/main" id="{D4DDD5F1-FA1B-091E-203E-109CF9D722B9}"/>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3" name="Freeform: Shape 14642">
                  <a:extLst>
                    <a:ext uri="{FF2B5EF4-FFF2-40B4-BE49-F238E27FC236}">
                      <a16:creationId xmlns:a16="http://schemas.microsoft.com/office/drawing/2014/main" id="{E4DDCCEA-B13E-875D-5780-EB42AE8AD34F}"/>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 name="Graphic 1583">
                <a:extLst>
                  <a:ext uri="{FF2B5EF4-FFF2-40B4-BE49-F238E27FC236}">
                    <a16:creationId xmlns:a16="http://schemas.microsoft.com/office/drawing/2014/main" id="{2A7A20B2-A2A2-5E66-1A7E-49AE68195707}"/>
                  </a:ext>
                </a:extLst>
              </p:cNvPr>
              <p:cNvGrpSpPr/>
              <p:nvPr/>
            </p:nvGrpSpPr>
            <p:grpSpPr>
              <a:xfrm>
                <a:off x="7923561" y="4080700"/>
                <a:ext cx="75628" cy="75723"/>
                <a:chOff x="7923561" y="4080700"/>
                <a:chExt cx="75628" cy="75723"/>
              </a:xfrm>
            </p:grpSpPr>
            <p:sp>
              <p:nvSpPr>
                <p:cNvPr id="14640" name="Freeform: Shape 14639">
                  <a:extLst>
                    <a:ext uri="{FF2B5EF4-FFF2-40B4-BE49-F238E27FC236}">
                      <a16:creationId xmlns:a16="http://schemas.microsoft.com/office/drawing/2014/main" id="{79C0D4E5-273F-0ABE-BE38-F04882C9B6CB}"/>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1" name="Freeform: Shape 14640">
                  <a:extLst>
                    <a:ext uri="{FF2B5EF4-FFF2-40B4-BE49-F238E27FC236}">
                      <a16:creationId xmlns:a16="http://schemas.microsoft.com/office/drawing/2014/main" id="{E733DC86-1189-9B16-059F-C8D679F70B02}"/>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 name="Graphic 1583">
                <a:extLst>
                  <a:ext uri="{FF2B5EF4-FFF2-40B4-BE49-F238E27FC236}">
                    <a16:creationId xmlns:a16="http://schemas.microsoft.com/office/drawing/2014/main" id="{B7577952-B600-5EE7-F305-775F57060702}"/>
                  </a:ext>
                </a:extLst>
              </p:cNvPr>
              <p:cNvGrpSpPr/>
              <p:nvPr/>
            </p:nvGrpSpPr>
            <p:grpSpPr>
              <a:xfrm>
                <a:off x="7590281" y="4080700"/>
                <a:ext cx="75723" cy="75723"/>
                <a:chOff x="7590281" y="4080700"/>
                <a:chExt cx="75723" cy="75723"/>
              </a:xfrm>
            </p:grpSpPr>
            <p:sp>
              <p:nvSpPr>
                <p:cNvPr id="14638" name="Freeform: Shape 14637">
                  <a:extLst>
                    <a:ext uri="{FF2B5EF4-FFF2-40B4-BE49-F238E27FC236}">
                      <a16:creationId xmlns:a16="http://schemas.microsoft.com/office/drawing/2014/main" id="{4C0FDF4E-A7F6-6962-ECCC-C1D27BB3097B}"/>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9" name="Freeform: Shape 14638">
                  <a:extLst>
                    <a:ext uri="{FF2B5EF4-FFF2-40B4-BE49-F238E27FC236}">
                      <a16:creationId xmlns:a16="http://schemas.microsoft.com/office/drawing/2014/main" id="{A94DE72E-59FF-D992-88CA-915919F6A8F5}"/>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 name="Graphic 1583">
                <a:extLst>
                  <a:ext uri="{FF2B5EF4-FFF2-40B4-BE49-F238E27FC236}">
                    <a16:creationId xmlns:a16="http://schemas.microsoft.com/office/drawing/2014/main" id="{C359B2D2-57D6-8F25-0F8B-FDE38404E627}"/>
                  </a:ext>
                </a:extLst>
              </p:cNvPr>
              <p:cNvGrpSpPr/>
              <p:nvPr/>
            </p:nvGrpSpPr>
            <p:grpSpPr>
              <a:xfrm>
                <a:off x="7565040" y="4080700"/>
                <a:ext cx="75723" cy="75723"/>
                <a:chOff x="7565040" y="4080700"/>
                <a:chExt cx="75723" cy="75723"/>
              </a:xfrm>
            </p:grpSpPr>
            <p:sp>
              <p:nvSpPr>
                <p:cNvPr id="14635" name="Freeform: Shape 14634">
                  <a:extLst>
                    <a:ext uri="{FF2B5EF4-FFF2-40B4-BE49-F238E27FC236}">
                      <a16:creationId xmlns:a16="http://schemas.microsoft.com/office/drawing/2014/main" id="{E8BB8A9D-2BAF-31C2-C7C9-BD005D680B20}"/>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6" name="Freeform: Shape 14635">
                  <a:extLst>
                    <a:ext uri="{FF2B5EF4-FFF2-40B4-BE49-F238E27FC236}">
                      <a16:creationId xmlns:a16="http://schemas.microsoft.com/office/drawing/2014/main" id="{F7C305EF-5B5F-B4EC-9760-FAE640AB5CA6}"/>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 name="Graphic 1583">
                <a:extLst>
                  <a:ext uri="{FF2B5EF4-FFF2-40B4-BE49-F238E27FC236}">
                    <a16:creationId xmlns:a16="http://schemas.microsoft.com/office/drawing/2014/main" id="{6D6B0D5D-DA34-F580-6350-265B0141A49E}"/>
                  </a:ext>
                </a:extLst>
              </p:cNvPr>
              <p:cNvGrpSpPr/>
              <p:nvPr/>
            </p:nvGrpSpPr>
            <p:grpSpPr>
              <a:xfrm>
                <a:off x="7541799" y="3949826"/>
                <a:ext cx="75723" cy="75723"/>
                <a:chOff x="7541799" y="3949826"/>
                <a:chExt cx="75723" cy="75723"/>
              </a:xfrm>
            </p:grpSpPr>
            <p:sp>
              <p:nvSpPr>
                <p:cNvPr id="14632" name="Freeform: Shape 14631">
                  <a:extLst>
                    <a:ext uri="{FF2B5EF4-FFF2-40B4-BE49-F238E27FC236}">
                      <a16:creationId xmlns:a16="http://schemas.microsoft.com/office/drawing/2014/main" id="{74CBB80A-1D90-F1FD-8561-0FFF330DECC4}"/>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4" name="Freeform: Shape 14633">
                  <a:extLst>
                    <a:ext uri="{FF2B5EF4-FFF2-40B4-BE49-F238E27FC236}">
                      <a16:creationId xmlns:a16="http://schemas.microsoft.com/office/drawing/2014/main" id="{AA70AE0E-9D77-A443-78F3-7ADDB3FB0538}"/>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 name="Graphic 1583">
                <a:extLst>
                  <a:ext uri="{FF2B5EF4-FFF2-40B4-BE49-F238E27FC236}">
                    <a16:creationId xmlns:a16="http://schemas.microsoft.com/office/drawing/2014/main" id="{6CB1D0F6-CAEA-8FEA-1755-DC3D4E87847B}"/>
                  </a:ext>
                </a:extLst>
              </p:cNvPr>
              <p:cNvGrpSpPr/>
              <p:nvPr/>
            </p:nvGrpSpPr>
            <p:grpSpPr>
              <a:xfrm>
                <a:off x="7272146" y="3949826"/>
                <a:ext cx="75723" cy="75723"/>
                <a:chOff x="7272146" y="3949826"/>
                <a:chExt cx="75723" cy="75723"/>
              </a:xfrm>
            </p:grpSpPr>
            <p:sp>
              <p:nvSpPr>
                <p:cNvPr id="14630" name="Freeform: Shape 14629">
                  <a:extLst>
                    <a:ext uri="{FF2B5EF4-FFF2-40B4-BE49-F238E27FC236}">
                      <a16:creationId xmlns:a16="http://schemas.microsoft.com/office/drawing/2014/main" id="{FEBA2786-845E-63DF-823A-DE2CC9B3E6DF}"/>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1" name="Freeform: Shape 14630">
                  <a:extLst>
                    <a:ext uri="{FF2B5EF4-FFF2-40B4-BE49-F238E27FC236}">
                      <a16:creationId xmlns:a16="http://schemas.microsoft.com/office/drawing/2014/main" id="{B1F0B55B-85D3-65CC-0837-A7297E18A013}"/>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 name="Graphic 1583">
                <a:extLst>
                  <a:ext uri="{FF2B5EF4-FFF2-40B4-BE49-F238E27FC236}">
                    <a16:creationId xmlns:a16="http://schemas.microsoft.com/office/drawing/2014/main" id="{220AE08F-B670-4EE6-0F4B-285F50C0DAE3}"/>
                  </a:ext>
                </a:extLst>
              </p:cNvPr>
              <p:cNvGrpSpPr/>
              <p:nvPr/>
            </p:nvGrpSpPr>
            <p:grpSpPr>
              <a:xfrm>
                <a:off x="7220330" y="3850290"/>
                <a:ext cx="75628" cy="75723"/>
                <a:chOff x="7220330" y="3850290"/>
                <a:chExt cx="75628" cy="75723"/>
              </a:xfrm>
            </p:grpSpPr>
            <p:sp>
              <p:nvSpPr>
                <p:cNvPr id="14628" name="Freeform: Shape 14627">
                  <a:extLst>
                    <a:ext uri="{FF2B5EF4-FFF2-40B4-BE49-F238E27FC236}">
                      <a16:creationId xmlns:a16="http://schemas.microsoft.com/office/drawing/2014/main" id="{0F5B4960-5C61-29EA-82C5-6E9F0689A226}"/>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9" name="Freeform: Shape 14628">
                  <a:extLst>
                    <a:ext uri="{FF2B5EF4-FFF2-40B4-BE49-F238E27FC236}">
                      <a16:creationId xmlns:a16="http://schemas.microsoft.com/office/drawing/2014/main" id="{78196535-E287-E230-A671-4BB29FDDD789}"/>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 name="Graphic 1583">
                <a:extLst>
                  <a:ext uri="{FF2B5EF4-FFF2-40B4-BE49-F238E27FC236}">
                    <a16:creationId xmlns:a16="http://schemas.microsoft.com/office/drawing/2014/main" id="{F9D8EA19-9A62-DE9F-E5A1-9B269492B16F}"/>
                  </a:ext>
                </a:extLst>
              </p:cNvPr>
              <p:cNvGrpSpPr/>
              <p:nvPr/>
            </p:nvGrpSpPr>
            <p:grpSpPr>
              <a:xfrm>
                <a:off x="7176515" y="3850290"/>
                <a:ext cx="75723" cy="75723"/>
                <a:chOff x="7176515" y="3850290"/>
                <a:chExt cx="75723" cy="75723"/>
              </a:xfrm>
            </p:grpSpPr>
            <p:sp>
              <p:nvSpPr>
                <p:cNvPr id="14626" name="Freeform: Shape 14625">
                  <a:extLst>
                    <a:ext uri="{FF2B5EF4-FFF2-40B4-BE49-F238E27FC236}">
                      <a16:creationId xmlns:a16="http://schemas.microsoft.com/office/drawing/2014/main" id="{01B5234D-D6E2-2CA6-2E18-D70346977808}"/>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7" name="Freeform: Shape 14626">
                  <a:extLst>
                    <a:ext uri="{FF2B5EF4-FFF2-40B4-BE49-F238E27FC236}">
                      <a16:creationId xmlns:a16="http://schemas.microsoft.com/office/drawing/2014/main" id="{BBF013B8-FF8E-5FBC-8696-F00B73C81215}"/>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5" name="Graphic 1583">
                <a:extLst>
                  <a:ext uri="{FF2B5EF4-FFF2-40B4-BE49-F238E27FC236}">
                    <a16:creationId xmlns:a16="http://schemas.microsoft.com/office/drawing/2014/main" id="{E35C94D2-A7DA-7318-6E07-7DA7FEC594C6}"/>
                  </a:ext>
                </a:extLst>
              </p:cNvPr>
              <p:cNvGrpSpPr/>
              <p:nvPr/>
            </p:nvGrpSpPr>
            <p:grpSpPr>
              <a:xfrm>
                <a:off x="6829996" y="3789520"/>
                <a:ext cx="75723" cy="75628"/>
                <a:chOff x="6829996" y="3789520"/>
                <a:chExt cx="75723" cy="75628"/>
              </a:xfrm>
            </p:grpSpPr>
            <p:sp>
              <p:nvSpPr>
                <p:cNvPr id="14576" name="Freeform: Shape 14575">
                  <a:extLst>
                    <a:ext uri="{FF2B5EF4-FFF2-40B4-BE49-F238E27FC236}">
                      <a16:creationId xmlns:a16="http://schemas.microsoft.com/office/drawing/2014/main" id="{982481B9-1F44-CA64-F5DB-E022741FAAF6}"/>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5" name="Freeform: Shape 14624">
                  <a:extLst>
                    <a:ext uri="{FF2B5EF4-FFF2-40B4-BE49-F238E27FC236}">
                      <a16:creationId xmlns:a16="http://schemas.microsoft.com/office/drawing/2014/main" id="{26070EC6-6E34-1A6B-96FB-F0D9F333B8E7}"/>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6" name="Graphic 1583">
                <a:extLst>
                  <a:ext uri="{FF2B5EF4-FFF2-40B4-BE49-F238E27FC236}">
                    <a16:creationId xmlns:a16="http://schemas.microsoft.com/office/drawing/2014/main" id="{9AF1AB21-8594-73E5-88E5-85345DCDAFE6}"/>
                  </a:ext>
                </a:extLst>
              </p:cNvPr>
              <p:cNvGrpSpPr/>
              <p:nvPr/>
            </p:nvGrpSpPr>
            <p:grpSpPr>
              <a:xfrm>
                <a:off x="6816280" y="3789520"/>
                <a:ext cx="75723" cy="75628"/>
                <a:chOff x="6816280" y="3789520"/>
                <a:chExt cx="75723" cy="75628"/>
              </a:xfrm>
            </p:grpSpPr>
            <p:sp>
              <p:nvSpPr>
                <p:cNvPr id="14574" name="Freeform: Shape 14573">
                  <a:extLst>
                    <a:ext uri="{FF2B5EF4-FFF2-40B4-BE49-F238E27FC236}">
                      <a16:creationId xmlns:a16="http://schemas.microsoft.com/office/drawing/2014/main" id="{AFEB4C6F-C00A-8E14-A31B-03C19940C4D2}"/>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5" name="Freeform: Shape 14574">
                  <a:extLst>
                    <a:ext uri="{FF2B5EF4-FFF2-40B4-BE49-F238E27FC236}">
                      <a16:creationId xmlns:a16="http://schemas.microsoft.com/office/drawing/2014/main" id="{945F7CC4-B859-E96D-3ADB-EFF65986EB42}"/>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 name="Graphic 1583">
                <a:extLst>
                  <a:ext uri="{FF2B5EF4-FFF2-40B4-BE49-F238E27FC236}">
                    <a16:creationId xmlns:a16="http://schemas.microsoft.com/office/drawing/2014/main" id="{5539E0A0-FD78-D74F-7262-0B0A2A7003E2}"/>
                  </a:ext>
                </a:extLst>
              </p:cNvPr>
              <p:cNvGrpSpPr/>
              <p:nvPr/>
            </p:nvGrpSpPr>
            <p:grpSpPr>
              <a:xfrm>
                <a:off x="6795325" y="3789520"/>
                <a:ext cx="75723" cy="75628"/>
                <a:chOff x="6795325" y="3789520"/>
                <a:chExt cx="75723" cy="75628"/>
              </a:xfrm>
            </p:grpSpPr>
            <p:sp>
              <p:nvSpPr>
                <p:cNvPr id="14572" name="Freeform: Shape 14571">
                  <a:extLst>
                    <a:ext uri="{FF2B5EF4-FFF2-40B4-BE49-F238E27FC236}">
                      <a16:creationId xmlns:a16="http://schemas.microsoft.com/office/drawing/2014/main" id="{657A73B7-0A8F-C109-A7E9-7B0854F828DC}"/>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3" name="Freeform: Shape 14572">
                  <a:extLst>
                    <a:ext uri="{FF2B5EF4-FFF2-40B4-BE49-F238E27FC236}">
                      <a16:creationId xmlns:a16="http://schemas.microsoft.com/office/drawing/2014/main" id="{491D8352-402F-8DFB-0047-D383F0B24D80}"/>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8" name="Graphic 1583">
                <a:extLst>
                  <a:ext uri="{FF2B5EF4-FFF2-40B4-BE49-F238E27FC236}">
                    <a16:creationId xmlns:a16="http://schemas.microsoft.com/office/drawing/2014/main" id="{E7CC92D4-A81B-F0AB-BE15-1AD0FA6402CA}"/>
                  </a:ext>
                </a:extLst>
              </p:cNvPr>
              <p:cNvGrpSpPr/>
              <p:nvPr/>
            </p:nvGrpSpPr>
            <p:grpSpPr>
              <a:xfrm>
                <a:off x="6781990" y="3789520"/>
                <a:ext cx="75628" cy="75628"/>
                <a:chOff x="6781990" y="3789520"/>
                <a:chExt cx="75628" cy="75628"/>
              </a:xfrm>
            </p:grpSpPr>
            <p:sp>
              <p:nvSpPr>
                <p:cNvPr id="14570" name="Freeform: Shape 14569">
                  <a:extLst>
                    <a:ext uri="{FF2B5EF4-FFF2-40B4-BE49-F238E27FC236}">
                      <a16:creationId xmlns:a16="http://schemas.microsoft.com/office/drawing/2014/main" id="{31321088-0DE3-EDBF-0E36-E9D7D31685CF}"/>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1" name="Freeform: Shape 14570">
                  <a:extLst>
                    <a:ext uri="{FF2B5EF4-FFF2-40B4-BE49-F238E27FC236}">
                      <a16:creationId xmlns:a16="http://schemas.microsoft.com/office/drawing/2014/main" id="{5F5F5487-ADDC-4174-DCD1-2A850C86EA4F}"/>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9" name="Graphic 1583">
                <a:extLst>
                  <a:ext uri="{FF2B5EF4-FFF2-40B4-BE49-F238E27FC236}">
                    <a16:creationId xmlns:a16="http://schemas.microsoft.com/office/drawing/2014/main" id="{07548443-6207-9E2D-18D7-C63208459742}"/>
                  </a:ext>
                </a:extLst>
              </p:cNvPr>
              <p:cNvGrpSpPr/>
              <p:nvPr/>
            </p:nvGrpSpPr>
            <p:grpSpPr>
              <a:xfrm>
                <a:off x="6768845" y="3789520"/>
                <a:ext cx="75723" cy="75628"/>
                <a:chOff x="6768845" y="3789520"/>
                <a:chExt cx="75723" cy="75628"/>
              </a:xfrm>
            </p:grpSpPr>
            <p:sp>
              <p:nvSpPr>
                <p:cNvPr id="14568" name="Freeform: Shape 14567">
                  <a:extLst>
                    <a:ext uri="{FF2B5EF4-FFF2-40B4-BE49-F238E27FC236}">
                      <a16:creationId xmlns:a16="http://schemas.microsoft.com/office/drawing/2014/main" id="{9B4F9915-7D2B-07B1-11CF-D218DEB4542E}"/>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9" name="Freeform: Shape 14568">
                  <a:extLst>
                    <a:ext uri="{FF2B5EF4-FFF2-40B4-BE49-F238E27FC236}">
                      <a16:creationId xmlns:a16="http://schemas.microsoft.com/office/drawing/2014/main" id="{5C36463C-6068-BFD2-6F04-60C492C15355}"/>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0" name="Graphic 1583">
                <a:extLst>
                  <a:ext uri="{FF2B5EF4-FFF2-40B4-BE49-F238E27FC236}">
                    <a16:creationId xmlns:a16="http://schemas.microsoft.com/office/drawing/2014/main" id="{7AEC2A02-5C11-3B7B-D309-0CA3EEA0C811}"/>
                  </a:ext>
                </a:extLst>
              </p:cNvPr>
              <p:cNvGrpSpPr/>
              <p:nvPr/>
            </p:nvGrpSpPr>
            <p:grpSpPr>
              <a:xfrm>
                <a:off x="6443757" y="3789520"/>
                <a:ext cx="75723" cy="75628"/>
                <a:chOff x="6443757" y="3789520"/>
                <a:chExt cx="75723" cy="75628"/>
              </a:xfrm>
            </p:grpSpPr>
            <p:sp>
              <p:nvSpPr>
                <p:cNvPr id="14566" name="Freeform: Shape 14565">
                  <a:extLst>
                    <a:ext uri="{FF2B5EF4-FFF2-40B4-BE49-F238E27FC236}">
                      <a16:creationId xmlns:a16="http://schemas.microsoft.com/office/drawing/2014/main" id="{094C062E-F2A3-4562-8898-F33BD8CB2B46}"/>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7" name="Freeform: Shape 14566">
                  <a:extLst>
                    <a:ext uri="{FF2B5EF4-FFF2-40B4-BE49-F238E27FC236}">
                      <a16:creationId xmlns:a16="http://schemas.microsoft.com/office/drawing/2014/main" id="{C365A7BA-1403-C506-9EDE-8733015D58DC}"/>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1" name="Graphic 1583">
                <a:extLst>
                  <a:ext uri="{FF2B5EF4-FFF2-40B4-BE49-F238E27FC236}">
                    <a16:creationId xmlns:a16="http://schemas.microsoft.com/office/drawing/2014/main" id="{5AA8ADF4-CC87-4B60-F851-D15F820C7C5C}"/>
                  </a:ext>
                </a:extLst>
              </p:cNvPr>
              <p:cNvGrpSpPr/>
              <p:nvPr/>
            </p:nvGrpSpPr>
            <p:grpSpPr>
              <a:xfrm>
                <a:off x="6430422" y="3789520"/>
                <a:ext cx="75628" cy="75628"/>
                <a:chOff x="6430422" y="3789520"/>
                <a:chExt cx="75628" cy="75628"/>
              </a:xfrm>
            </p:grpSpPr>
            <p:sp>
              <p:nvSpPr>
                <p:cNvPr id="14564" name="Freeform: Shape 14563">
                  <a:extLst>
                    <a:ext uri="{FF2B5EF4-FFF2-40B4-BE49-F238E27FC236}">
                      <a16:creationId xmlns:a16="http://schemas.microsoft.com/office/drawing/2014/main" id="{107EAB06-2A28-BE7D-5DE2-B2B9729C4AC7}"/>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5" name="Freeform: Shape 14564">
                  <a:extLst>
                    <a:ext uri="{FF2B5EF4-FFF2-40B4-BE49-F238E27FC236}">
                      <a16:creationId xmlns:a16="http://schemas.microsoft.com/office/drawing/2014/main" id="{D13468F6-FF53-FA67-E025-DC7E62B46A7A}"/>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2" name="Graphic 1583">
                <a:extLst>
                  <a:ext uri="{FF2B5EF4-FFF2-40B4-BE49-F238E27FC236}">
                    <a16:creationId xmlns:a16="http://schemas.microsoft.com/office/drawing/2014/main" id="{7065CE84-847F-B35C-1A28-34F53F938853}"/>
                  </a:ext>
                </a:extLst>
              </p:cNvPr>
              <p:cNvGrpSpPr/>
              <p:nvPr/>
            </p:nvGrpSpPr>
            <p:grpSpPr>
              <a:xfrm>
                <a:off x="6417277" y="3789520"/>
                <a:ext cx="75723" cy="75628"/>
                <a:chOff x="6417277" y="3789520"/>
                <a:chExt cx="75723" cy="75628"/>
              </a:xfrm>
            </p:grpSpPr>
            <p:sp>
              <p:nvSpPr>
                <p:cNvPr id="14562" name="Freeform: Shape 14561">
                  <a:extLst>
                    <a:ext uri="{FF2B5EF4-FFF2-40B4-BE49-F238E27FC236}">
                      <a16:creationId xmlns:a16="http://schemas.microsoft.com/office/drawing/2014/main" id="{EF17A1DE-BFF2-F448-8370-E8DEC9E93526}"/>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3" name="Freeform: Shape 14562">
                  <a:extLst>
                    <a:ext uri="{FF2B5EF4-FFF2-40B4-BE49-F238E27FC236}">
                      <a16:creationId xmlns:a16="http://schemas.microsoft.com/office/drawing/2014/main" id="{A6A646E5-2C42-FAF2-08A1-A25E82B4D43B}"/>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3" name="Graphic 1583">
                <a:extLst>
                  <a:ext uri="{FF2B5EF4-FFF2-40B4-BE49-F238E27FC236}">
                    <a16:creationId xmlns:a16="http://schemas.microsoft.com/office/drawing/2014/main" id="{34648A6C-0A59-0ADB-72E5-F1B4A9169BB8}"/>
                  </a:ext>
                </a:extLst>
              </p:cNvPr>
              <p:cNvGrpSpPr/>
              <p:nvPr/>
            </p:nvGrpSpPr>
            <p:grpSpPr>
              <a:xfrm>
                <a:off x="6400704" y="3746277"/>
                <a:ext cx="75723" cy="75723"/>
                <a:chOff x="6400704" y="3746277"/>
                <a:chExt cx="75723" cy="75723"/>
              </a:xfrm>
            </p:grpSpPr>
            <p:sp>
              <p:nvSpPr>
                <p:cNvPr id="14560" name="Freeform: Shape 14559">
                  <a:extLst>
                    <a:ext uri="{FF2B5EF4-FFF2-40B4-BE49-F238E27FC236}">
                      <a16:creationId xmlns:a16="http://schemas.microsoft.com/office/drawing/2014/main" id="{446FC052-2B5C-D8F9-3C90-092921ECE834}"/>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1" name="Freeform: Shape 14560">
                  <a:extLst>
                    <a:ext uri="{FF2B5EF4-FFF2-40B4-BE49-F238E27FC236}">
                      <a16:creationId xmlns:a16="http://schemas.microsoft.com/office/drawing/2014/main" id="{D950499B-C5AE-5984-A437-340C0AB5DF4B}"/>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4" name="Graphic 1583">
                <a:extLst>
                  <a:ext uri="{FF2B5EF4-FFF2-40B4-BE49-F238E27FC236}">
                    <a16:creationId xmlns:a16="http://schemas.microsoft.com/office/drawing/2014/main" id="{B0C54FB7-86FC-63B9-CAEA-BCA65F84F2EF}"/>
                  </a:ext>
                </a:extLst>
              </p:cNvPr>
              <p:cNvGrpSpPr/>
              <p:nvPr/>
            </p:nvGrpSpPr>
            <p:grpSpPr>
              <a:xfrm>
                <a:off x="6387369" y="3746277"/>
                <a:ext cx="75723" cy="75723"/>
                <a:chOff x="6387369" y="3746277"/>
                <a:chExt cx="75723" cy="75723"/>
              </a:xfrm>
            </p:grpSpPr>
            <p:sp>
              <p:nvSpPr>
                <p:cNvPr id="14558" name="Freeform: Shape 14557">
                  <a:extLst>
                    <a:ext uri="{FF2B5EF4-FFF2-40B4-BE49-F238E27FC236}">
                      <a16:creationId xmlns:a16="http://schemas.microsoft.com/office/drawing/2014/main" id="{2DE3C5EA-E56E-3B97-8E59-C7E63E7E6136}"/>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9" name="Freeform: Shape 14558">
                  <a:extLst>
                    <a:ext uri="{FF2B5EF4-FFF2-40B4-BE49-F238E27FC236}">
                      <a16:creationId xmlns:a16="http://schemas.microsoft.com/office/drawing/2014/main" id="{D69D2255-2B86-DA22-2013-693267095607}"/>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5" name="Graphic 1583">
                <a:extLst>
                  <a:ext uri="{FF2B5EF4-FFF2-40B4-BE49-F238E27FC236}">
                    <a16:creationId xmlns:a16="http://schemas.microsoft.com/office/drawing/2014/main" id="{7DB40591-3A91-F6C2-162D-0C3CE8F94FD7}"/>
                  </a:ext>
                </a:extLst>
              </p:cNvPr>
              <p:cNvGrpSpPr/>
              <p:nvPr/>
            </p:nvGrpSpPr>
            <p:grpSpPr>
              <a:xfrm>
                <a:off x="6374320" y="3746277"/>
                <a:ext cx="75628" cy="75723"/>
                <a:chOff x="6374320" y="3746277"/>
                <a:chExt cx="75628" cy="75723"/>
              </a:xfrm>
            </p:grpSpPr>
            <p:sp>
              <p:nvSpPr>
                <p:cNvPr id="14556" name="Freeform: Shape 14555">
                  <a:extLst>
                    <a:ext uri="{FF2B5EF4-FFF2-40B4-BE49-F238E27FC236}">
                      <a16:creationId xmlns:a16="http://schemas.microsoft.com/office/drawing/2014/main" id="{EB29B0D0-84D9-F5A6-F5C3-EB2CB226D341}"/>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7" name="Freeform: Shape 14556">
                  <a:extLst>
                    <a:ext uri="{FF2B5EF4-FFF2-40B4-BE49-F238E27FC236}">
                      <a16:creationId xmlns:a16="http://schemas.microsoft.com/office/drawing/2014/main" id="{D17761B2-1C40-F03F-076D-460CE664135A}"/>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6" name="Graphic 1583">
                <a:extLst>
                  <a:ext uri="{FF2B5EF4-FFF2-40B4-BE49-F238E27FC236}">
                    <a16:creationId xmlns:a16="http://schemas.microsoft.com/office/drawing/2014/main" id="{D75304BF-D65D-70A3-3C9A-A591B6D194D1}"/>
                  </a:ext>
                </a:extLst>
              </p:cNvPr>
              <p:cNvGrpSpPr/>
              <p:nvPr/>
            </p:nvGrpSpPr>
            <p:grpSpPr>
              <a:xfrm>
                <a:off x="6244208" y="3746277"/>
                <a:ext cx="75723" cy="75723"/>
                <a:chOff x="6244208" y="3746277"/>
                <a:chExt cx="75723" cy="75723"/>
              </a:xfrm>
            </p:grpSpPr>
            <p:sp>
              <p:nvSpPr>
                <p:cNvPr id="14554" name="Freeform: Shape 14553">
                  <a:extLst>
                    <a:ext uri="{FF2B5EF4-FFF2-40B4-BE49-F238E27FC236}">
                      <a16:creationId xmlns:a16="http://schemas.microsoft.com/office/drawing/2014/main" id="{EA991E8C-5B6D-98E4-B9C9-55A40BF2DC8B}"/>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5" name="Freeform: Shape 14554">
                  <a:extLst>
                    <a:ext uri="{FF2B5EF4-FFF2-40B4-BE49-F238E27FC236}">
                      <a16:creationId xmlns:a16="http://schemas.microsoft.com/office/drawing/2014/main" id="{884FF467-FF06-E95C-9CCA-BCC47AFB21D7}"/>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7" name="Graphic 1583">
                <a:extLst>
                  <a:ext uri="{FF2B5EF4-FFF2-40B4-BE49-F238E27FC236}">
                    <a16:creationId xmlns:a16="http://schemas.microsoft.com/office/drawing/2014/main" id="{D69CD713-7C0A-03AE-A153-03AB7CB73AA1}"/>
                  </a:ext>
                </a:extLst>
              </p:cNvPr>
              <p:cNvGrpSpPr/>
              <p:nvPr/>
            </p:nvGrpSpPr>
            <p:grpSpPr>
              <a:xfrm>
                <a:off x="6229635" y="3746277"/>
                <a:ext cx="75628" cy="75723"/>
                <a:chOff x="6229635" y="3746277"/>
                <a:chExt cx="75628" cy="75723"/>
              </a:xfrm>
            </p:grpSpPr>
            <p:sp>
              <p:nvSpPr>
                <p:cNvPr id="14552" name="Freeform: Shape 14551">
                  <a:extLst>
                    <a:ext uri="{FF2B5EF4-FFF2-40B4-BE49-F238E27FC236}">
                      <a16:creationId xmlns:a16="http://schemas.microsoft.com/office/drawing/2014/main" id="{0E36B63B-0A65-645F-AA18-B762FFC9072D}"/>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3" name="Freeform: Shape 14552">
                  <a:extLst>
                    <a:ext uri="{FF2B5EF4-FFF2-40B4-BE49-F238E27FC236}">
                      <a16:creationId xmlns:a16="http://schemas.microsoft.com/office/drawing/2014/main" id="{7D86C99C-E741-32C9-8E9E-69814EEB2F1C}"/>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8" name="Graphic 1583">
                <a:extLst>
                  <a:ext uri="{FF2B5EF4-FFF2-40B4-BE49-F238E27FC236}">
                    <a16:creationId xmlns:a16="http://schemas.microsoft.com/office/drawing/2014/main" id="{2B799123-52F7-59F8-5F1D-8F6D328E5E68}"/>
                  </a:ext>
                </a:extLst>
              </p:cNvPr>
              <p:cNvGrpSpPr/>
              <p:nvPr/>
            </p:nvGrpSpPr>
            <p:grpSpPr>
              <a:xfrm>
                <a:off x="6184296" y="3746277"/>
                <a:ext cx="75723" cy="75723"/>
                <a:chOff x="6184296" y="3746277"/>
                <a:chExt cx="75723" cy="75723"/>
              </a:xfrm>
            </p:grpSpPr>
            <p:sp>
              <p:nvSpPr>
                <p:cNvPr id="14550" name="Freeform: Shape 14549">
                  <a:extLst>
                    <a:ext uri="{FF2B5EF4-FFF2-40B4-BE49-F238E27FC236}">
                      <a16:creationId xmlns:a16="http://schemas.microsoft.com/office/drawing/2014/main" id="{9A110CE7-D92A-3738-05B2-11C37B1E1C8A}"/>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1" name="Freeform: Shape 14550">
                  <a:extLst>
                    <a:ext uri="{FF2B5EF4-FFF2-40B4-BE49-F238E27FC236}">
                      <a16:creationId xmlns:a16="http://schemas.microsoft.com/office/drawing/2014/main" id="{6273EC06-E96C-08FC-7F1F-AA3FCBB0F3BD}"/>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9" name="Graphic 1583">
                <a:extLst>
                  <a:ext uri="{FF2B5EF4-FFF2-40B4-BE49-F238E27FC236}">
                    <a16:creationId xmlns:a16="http://schemas.microsoft.com/office/drawing/2014/main" id="{C81F58D4-EF14-D2EA-A2E2-26F1D8D4B67B}"/>
                  </a:ext>
                </a:extLst>
              </p:cNvPr>
              <p:cNvGrpSpPr/>
              <p:nvPr/>
            </p:nvGrpSpPr>
            <p:grpSpPr>
              <a:xfrm>
                <a:off x="6095618" y="3746277"/>
                <a:ext cx="75723" cy="75723"/>
                <a:chOff x="6095618" y="3746277"/>
                <a:chExt cx="75723" cy="75723"/>
              </a:xfrm>
            </p:grpSpPr>
            <p:sp>
              <p:nvSpPr>
                <p:cNvPr id="14548" name="Freeform: Shape 14547">
                  <a:extLst>
                    <a:ext uri="{FF2B5EF4-FFF2-40B4-BE49-F238E27FC236}">
                      <a16:creationId xmlns:a16="http://schemas.microsoft.com/office/drawing/2014/main" id="{81CDA3D9-63CC-3FB8-D2C4-8C2D46B582BA}"/>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9" name="Freeform: Shape 14548">
                  <a:extLst>
                    <a:ext uri="{FF2B5EF4-FFF2-40B4-BE49-F238E27FC236}">
                      <a16:creationId xmlns:a16="http://schemas.microsoft.com/office/drawing/2014/main" id="{9D75A5B9-AA90-8564-5641-D38EE65F13EE}"/>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0" name="Graphic 1583">
                <a:extLst>
                  <a:ext uri="{FF2B5EF4-FFF2-40B4-BE49-F238E27FC236}">
                    <a16:creationId xmlns:a16="http://schemas.microsoft.com/office/drawing/2014/main" id="{F462BC2D-BE85-45DC-34FA-17FF16F017C4}"/>
                  </a:ext>
                </a:extLst>
              </p:cNvPr>
              <p:cNvGrpSpPr/>
              <p:nvPr/>
            </p:nvGrpSpPr>
            <p:grpSpPr>
              <a:xfrm>
                <a:off x="6086379" y="3746277"/>
                <a:ext cx="75723" cy="75723"/>
                <a:chOff x="6086379" y="3746277"/>
                <a:chExt cx="75723" cy="75723"/>
              </a:xfrm>
            </p:grpSpPr>
            <p:sp>
              <p:nvSpPr>
                <p:cNvPr id="14546" name="Freeform: Shape 14545">
                  <a:extLst>
                    <a:ext uri="{FF2B5EF4-FFF2-40B4-BE49-F238E27FC236}">
                      <a16:creationId xmlns:a16="http://schemas.microsoft.com/office/drawing/2014/main" id="{ED5F3E17-3747-E685-3AE7-73E7D6370542}"/>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7" name="Freeform: Shape 14546">
                  <a:extLst>
                    <a:ext uri="{FF2B5EF4-FFF2-40B4-BE49-F238E27FC236}">
                      <a16:creationId xmlns:a16="http://schemas.microsoft.com/office/drawing/2014/main" id="{2E6318B0-0BAE-6B77-6284-B96236B132A6}"/>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1" name="Graphic 1583">
                <a:extLst>
                  <a:ext uri="{FF2B5EF4-FFF2-40B4-BE49-F238E27FC236}">
                    <a16:creationId xmlns:a16="http://schemas.microsoft.com/office/drawing/2014/main" id="{05811115-4C7F-2168-CA05-29F158CF4EAF}"/>
                  </a:ext>
                </a:extLst>
              </p:cNvPr>
              <p:cNvGrpSpPr/>
              <p:nvPr/>
            </p:nvGrpSpPr>
            <p:grpSpPr>
              <a:xfrm>
                <a:off x="6050089" y="3687603"/>
                <a:ext cx="75723" cy="75723"/>
                <a:chOff x="6050089" y="3687603"/>
                <a:chExt cx="75723" cy="75723"/>
              </a:xfrm>
            </p:grpSpPr>
            <p:sp>
              <p:nvSpPr>
                <p:cNvPr id="14544" name="Freeform: Shape 14543">
                  <a:extLst>
                    <a:ext uri="{FF2B5EF4-FFF2-40B4-BE49-F238E27FC236}">
                      <a16:creationId xmlns:a16="http://schemas.microsoft.com/office/drawing/2014/main" id="{289C38A7-D553-4F59-394C-91D042FAF31F}"/>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5" name="Freeform: Shape 14544">
                  <a:extLst>
                    <a:ext uri="{FF2B5EF4-FFF2-40B4-BE49-F238E27FC236}">
                      <a16:creationId xmlns:a16="http://schemas.microsoft.com/office/drawing/2014/main" id="{3B933F0B-458B-DC25-CF9E-EAC555B2A3A8}"/>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2" name="Graphic 1583">
                <a:extLst>
                  <a:ext uri="{FF2B5EF4-FFF2-40B4-BE49-F238E27FC236}">
                    <a16:creationId xmlns:a16="http://schemas.microsoft.com/office/drawing/2014/main" id="{5D1B0F80-CD5B-EACD-C5BB-F58A48BA0709}"/>
                  </a:ext>
                </a:extLst>
              </p:cNvPr>
              <p:cNvGrpSpPr/>
              <p:nvPr/>
            </p:nvGrpSpPr>
            <p:grpSpPr>
              <a:xfrm>
                <a:off x="6040849" y="3687603"/>
                <a:ext cx="75723" cy="75723"/>
                <a:chOff x="6040849" y="3687603"/>
                <a:chExt cx="75723" cy="75723"/>
              </a:xfrm>
            </p:grpSpPr>
            <p:sp>
              <p:nvSpPr>
                <p:cNvPr id="14542" name="Freeform: Shape 14541">
                  <a:extLst>
                    <a:ext uri="{FF2B5EF4-FFF2-40B4-BE49-F238E27FC236}">
                      <a16:creationId xmlns:a16="http://schemas.microsoft.com/office/drawing/2014/main" id="{4BC1491A-A2CF-BBCA-8889-1D676C0B6862}"/>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3" name="Freeform: Shape 14542">
                  <a:extLst>
                    <a:ext uri="{FF2B5EF4-FFF2-40B4-BE49-F238E27FC236}">
                      <a16:creationId xmlns:a16="http://schemas.microsoft.com/office/drawing/2014/main" id="{45FC13C7-6AF4-17A6-D838-BD94F1BA741C}"/>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3" name="Graphic 1583">
                <a:extLst>
                  <a:ext uri="{FF2B5EF4-FFF2-40B4-BE49-F238E27FC236}">
                    <a16:creationId xmlns:a16="http://schemas.microsoft.com/office/drawing/2014/main" id="{79219745-B2D1-72EA-DEF8-146291357F92}"/>
                  </a:ext>
                </a:extLst>
              </p:cNvPr>
              <p:cNvGrpSpPr/>
              <p:nvPr/>
            </p:nvGrpSpPr>
            <p:grpSpPr>
              <a:xfrm>
                <a:off x="6032277" y="3578542"/>
                <a:ext cx="75723" cy="75628"/>
                <a:chOff x="6032277" y="3578542"/>
                <a:chExt cx="75723" cy="75628"/>
              </a:xfrm>
            </p:grpSpPr>
            <p:sp>
              <p:nvSpPr>
                <p:cNvPr id="14540" name="Freeform: Shape 14539">
                  <a:extLst>
                    <a:ext uri="{FF2B5EF4-FFF2-40B4-BE49-F238E27FC236}">
                      <a16:creationId xmlns:a16="http://schemas.microsoft.com/office/drawing/2014/main" id="{A8DFAC43-1FDA-9A03-4A1F-6F7F5FECB7B5}"/>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1" name="Freeform: Shape 14540">
                  <a:extLst>
                    <a:ext uri="{FF2B5EF4-FFF2-40B4-BE49-F238E27FC236}">
                      <a16:creationId xmlns:a16="http://schemas.microsoft.com/office/drawing/2014/main" id="{3F837963-F48C-446E-36EE-F367B724EF94}"/>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4" name="Graphic 1583">
                <a:extLst>
                  <a:ext uri="{FF2B5EF4-FFF2-40B4-BE49-F238E27FC236}">
                    <a16:creationId xmlns:a16="http://schemas.microsoft.com/office/drawing/2014/main" id="{12BC7703-1306-DB88-3B76-AC551EA53491}"/>
                  </a:ext>
                </a:extLst>
              </p:cNvPr>
              <p:cNvGrpSpPr/>
              <p:nvPr/>
            </p:nvGrpSpPr>
            <p:grpSpPr>
              <a:xfrm>
                <a:off x="6023133" y="3578542"/>
                <a:ext cx="75628" cy="75628"/>
                <a:chOff x="6023133" y="3578542"/>
                <a:chExt cx="75628" cy="75628"/>
              </a:xfrm>
            </p:grpSpPr>
            <p:sp>
              <p:nvSpPr>
                <p:cNvPr id="14538" name="Freeform: Shape 14537">
                  <a:extLst>
                    <a:ext uri="{FF2B5EF4-FFF2-40B4-BE49-F238E27FC236}">
                      <a16:creationId xmlns:a16="http://schemas.microsoft.com/office/drawing/2014/main" id="{980DB245-07F4-15ED-A808-B521150CCA33}"/>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9" name="Freeform: Shape 14538">
                  <a:extLst>
                    <a:ext uri="{FF2B5EF4-FFF2-40B4-BE49-F238E27FC236}">
                      <a16:creationId xmlns:a16="http://schemas.microsoft.com/office/drawing/2014/main" id="{524DED3C-8F00-D049-2653-2C798E66A283}"/>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5" name="Graphic 1583">
                <a:extLst>
                  <a:ext uri="{FF2B5EF4-FFF2-40B4-BE49-F238E27FC236}">
                    <a16:creationId xmlns:a16="http://schemas.microsoft.com/office/drawing/2014/main" id="{AA78F8ED-7076-94C2-7B41-FF0C3C2A2979}"/>
                  </a:ext>
                </a:extLst>
              </p:cNvPr>
              <p:cNvGrpSpPr/>
              <p:nvPr/>
            </p:nvGrpSpPr>
            <p:grpSpPr>
              <a:xfrm>
                <a:off x="5692711" y="3553300"/>
                <a:ext cx="75723" cy="75628"/>
                <a:chOff x="5692711" y="3553300"/>
                <a:chExt cx="75723" cy="75628"/>
              </a:xfrm>
            </p:grpSpPr>
            <p:sp>
              <p:nvSpPr>
                <p:cNvPr id="14536" name="Freeform: Shape 14535">
                  <a:extLst>
                    <a:ext uri="{FF2B5EF4-FFF2-40B4-BE49-F238E27FC236}">
                      <a16:creationId xmlns:a16="http://schemas.microsoft.com/office/drawing/2014/main" id="{A7684A4E-1F1B-27BE-33BB-33308573E467}"/>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7" name="Freeform: Shape 14536">
                  <a:extLst>
                    <a:ext uri="{FF2B5EF4-FFF2-40B4-BE49-F238E27FC236}">
                      <a16:creationId xmlns:a16="http://schemas.microsoft.com/office/drawing/2014/main" id="{8843BCCB-0EF2-CE6A-6179-1FD5F4F1CF0C}"/>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6" name="Graphic 1583">
                <a:extLst>
                  <a:ext uri="{FF2B5EF4-FFF2-40B4-BE49-F238E27FC236}">
                    <a16:creationId xmlns:a16="http://schemas.microsoft.com/office/drawing/2014/main" id="{FDC4AD1B-FBC7-2DFE-EED6-1C6F1BA2A4A3}"/>
                  </a:ext>
                </a:extLst>
              </p:cNvPr>
              <p:cNvGrpSpPr/>
              <p:nvPr/>
            </p:nvGrpSpPr>
            <p:grpSpPr>
              <a:xfrm>
                <a:off x="5662993" y="3515391"/>
                <a:ext cx="75628" cy="75723"/>
                <a:chOff x="5662993" y="3515391"/>
                <a:chExt cx="75628" cy="75723"/>
              </a:xfrm>
            </p:grpSpPr>
            <p:sp>
              <p:nvSpPr>
                <p:cNvPr id="14534" name="Freeform: Shape 14533">
                  <a:extLst>
                    <a:ext uri="{FF2B5EF4-FFF2-40B4-BE49-F238E27FC236}">
                      <a16:creationId xmlns:a16="http://schemas.microsoft.com/office/drawing/2014/main" id="{FE40D676-F37B-E4BE-0D52-1E454E7826FA}"/>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5" name="Freeform: Shape 14534">
                  <a:extLst>
                    <a:ext uri="{FF2B5EF4-FFF2-40B4-BE49-F238E27FC236}">
                      <a16:creationId xmlns:a16="http://schemas.microsoft.com/office/drawing/2014/main" id="{A887FACD-D2B8-9082-C7A2-C0F9F20BAAE4}"/>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7" name="Graphic 1583">
                <a:extLst>
                  <a:ext uri="{FF2B5EF4-FFF2-40B4-BE49-F238E27FC236}">
                    <a16:creationId xmlns:a16="http://schemas.microsoft.com/office/drawing/2014/main" id="{5F34FB8D-BBB3-1AE6-2D27-D83551A31B51}"/>
                  </a:ext>
                </a:extLst>
              </p:cNvPr>
              <p:cNvGrpSpPr/>
              <p:nvPr/>
            </p:nvGrpSpPr>
            <p:grpSpPr>
              <a:xfrm>
                <a:off x="5648038" y="3515391"/>
                <a:ext cx="75628" cy="75723"/>
                <a:chOff x="5648038" y="3515391"/>
                <a:chExt cx="75628" cy="75723"/>
              </a:xfrm>
            </p:grpSpPr>
            <p:sp>
              <p:nvSpPr>
                <p:cNvPr id="14532" name="Freeform: Shape 14531">
                  <a:extLst>
                    <a:ext uri="{FF2B5EF4-FFF2-40B4-BE49-F238E27FC236}">
                      <a16:creationId xmlns:a16="http://schemas.microsoft.com/office/drawing/2014/main" id="{F185814E-2B71-5E05-6C0B-BA720DC94DAE}"/>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3" name="Freeform: Shape 14532">
                  <a:extLst>
                    <a:ext uri="{FF2B5EF4-FFF2-40B4-BE49-F238E27FC236}">
                      <a16:creationId xmlns:a16="http://schemas.microsoft.com/office/drawing/2014/main" id="{AC4F539A-8DF0-44DE-7C0F-87003053BE6D}"/>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8" name="Graphic 1583">
                <a:extLst>
                  <a:ext uri="{FF2B5EF4-FFF2-40B4-BE49-F238E27FC236}">
                    <a16:creationId xmlns:a16="http://schemas.microsoft.com/office/drawing/2014/main" id="{A4377870-02EC-A7BC-9D58-24BAFC497D4C}"/>
                  </a:ext>
                </a:extLst>
              </p:cNvPr>
              <p:cNvGrpSpPr/>
              <p:nvPr/>
            </p:nvGrpSpPr>
            <p:grpSpPr>
              <a:xfrm>
                <a:off x="5632894" y="3474433"/>
                <a:ext cx="75628" cy="75628"/>
                <a:chOff x="5632894" y="3474433"/>
                <a:chExt cx="75628" cy="75628"/>
              </a:xfrm>
            </p:grpSpPr>
            <p:sp>
              <p:nvSpPr>
                <p:cNvPr id="14530" name="Freeform: Shape 14529">
                  <a:extLst>
                    <a:ext uri="{FF2B5EF4-FFF2-40B4-BE49-F238E27FC236}">
                      <a16:creationId xmlns:a16="http://schemas.microsoft.com/office/drawing/2014/main" id="{D8787666-9A19-131F-EB14-18B820155151}"/>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1" name="Freeform: Shape 14530">
                  <a:extLst>
                    <a:ext uri="{FF2B5EF4-FFF2-40B4-BE49-F238E27FC236}">
                      <a16:creationId xmlns:a16="http://schemas.microsoft.com/office/drawing/2014/main" id="{A221A48C-0765-B792-8EE9-6D4EED1C522C}"/>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9" name="Graphic 1583">
                <a:extLst>
                  <a:ext uri="{FF2B5EF4-FFF2-40B4-BE49-F238E27FC236}">
                    <a16:creationId xmlns:a16="http://schemas.microsoft.com/office/drawing/2014/main" id="{18F2AD7B-5724-4EE1-1B69-96034E9BE75F}"/>
                  </a:ext>
                </a:extLst>
              </p:cNvPr>
              <p:cNvGrpSpPr/>
              <p:nvPr/>
            </p:nvGrpSpPr>
            <p:grpSpPr>
              <a:xfrm>
                <a:off x="5429154" y="3396614"/>
                <a:ext cx="75723" cy="75628"/>
                <a:chOff x="5429154" y="3396614"/>
                <a:chExt cx="75723" cy="75628"/>
              </a:xfrm>
            </p:grpSpPr>
            <p:sp>
              <p:nvSpPr>
                <p:cNvPr id="14528" name="Freeform: Shape 14527">
                  <a:extLst>
                    <a:ext uri="{FF2B5EF4-FFF2-40B4-BE49-F238E27FC236}">
                      <a16:creationId xmlns:a16="http://schemas.microsoft.com/office/drawing/2014/main" id="{5BDAF965-174E-2292-2561-493A4017D6B6}"/>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29" name="Freeform: Shape 14528">
                  <a:extLst>
                    <a:ext uri="{FF2B5EF4-FFF2-40B4-BE49-F238E27FC236}">
                      <a16:creationId xmlns:a16="http://schemas.microsoft.com/office/drawing/2014/main" id="{08BFE518-90FA-0F86-AB1E-6794FCA09196}"/>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2" name="Graphic 1583">
                <a:extLst>
                  <a:ext uri="{FF2B5EF4-FFF2-40B4-BE49-F238E27FC236}">
                    <a16:creationId xmlns:a16="http://schemas.microsoft.com/office/drawing/2014/main" id="{6E2D9607-4CA2-2896-1F04-54E64957F158}"/>
                  </a:ext>
                </a:extLst>
              </p:cNvPr>
              <p:cNvGrpSpPr/>
              <p:nvPr/>
            </p:nvGrpSpPr>
            <p:grpSpPr>
              <a:xfrm>
                <a:off x="5315235" y="3375278"/>
                <a:ext cx="75628" cy="75723"/>
                <a:chOff x="5315235" y="3375278"/>
                <a:chExt cx="75628" cy="75723"/>
              </a:xfrm>
            </p:grpSpPr>
            <p:sp>
              <p:nvSpPr>
                <p:cNvPr id="14270" name="Freeform: Shape 14269">
                  <a:extLst>
                    <a:ext uri="{FF2B5EF4-FFF2-40B4-BE49-F238E27FC236}">
                      <a16:creationId xmlns:a16="http://schemas.microsoft.com/office/drawing/2014/main" id="{7E26F207-F59E-01B1-364A-4AA0D1C65573}"/>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71" name="Freeform: Shape 14270">
                  <a:extLst>
                    <a:ext uri="{FF2B5EF4-FFF2-40B4-BE49-F238E27FC236}">
                      <a16:creationId xmlns:a16="http://schemas.microsoft.com/office/drawing/2014/main" id="{C3A6D4DE-39AE-E631-73DE-4EC867941E4B}"/>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3" name="Graphic 1583">
                <a:extLst>
                  <a:ext uri="{FF2B5EF4-FFF2-40B4-BE49-F238E27FC236}">
                    <a16:creationId xmlns:a16="http://schemas.microsoft.com/office/drawing/2014/main" id="{8FC4D60F-5A2D-7156-AA8B-59D2C292ACBF}"/>
                  </a:ext>
                </a:extLst>
              </p:cNvPr>
              <p:cNvGrpSpPr/>
              <p:nvPr/>
            </p:nvGrpSpPr>
            <p:grpSpPr>
              <a:xfrm>
                <a:off x="5284850" y="3341560"/>
                <a:ext cx="75628" cy="75723"/>
                <a:chOff x="5284850" y="3341560"/>
                <a:chExt cx="75628" cy="75723"/>
              </a:xfrm>
            </p:grpSpPr>
            <p:sp>
              <p:nvSpPr>
                <p:cNvPr id="14268" name="Freeform: Shape 14267">
                  <a:extLst>
                    <a:ext uri="{FF2B5EF4-FFF2-40B4-BE49-F238E27FC236}">
                      <a16:creationId xmlns:a16="http://schemas.microsoft.com/office/drawing/2014/main" id="{D27BE7FF-90D2-E533-3CFD-BD565F8051E4}"/>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9" name="Freeform: Shape 14268">
                  <a:extLst>
                    <a:ext uri="{FF2B5EF4-FFF2-40B4-BE49-F238E27FC236}">
                      <a16:creationId xmlns:a16="http://schemas.microsoft.com/office/drawing/2014/main" id="{F6BC68AC-823E-20C0-A5C9-F67B032D4AE9}"/>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 name="Graphic 1583">
                <a:extLst>
                  <a:ext uri="{FF2B5EF4-FFF2-40B4-BE49-F238E27FC236}">
                    <a16:creationId xmlns:a16="http://schemas.microsoft.com/office/drawing/2014/main" id="{23AAFA19-AC65-5C44-E72E-53503845DFB7}"/>
                  </a:ext>
                </a:extLst>
              </p:cNvPr>
              <p:cNvGrpSpPr/>
              <p:nvPr/>
            </p:nvGrpSpPr>
            <p:grpSpPr>
              <a:xfrm>
                <a:off x="5269039" y="3313842"/>
                <a:ext cx="75628" cy="75723"/>
                <a:chOff x="5269039" y="3313842"/>
                <a:chExt cx="75628" cy="75723"/>
              </a:xfrm>
            </p:grpSpPr>
            <p:sp>
              <p:nvSpPr>
                <p:cNvPr id="14266" name="Freeform: Shape 14265">
                  <a:extLst>
                    <a:ext uri="{FF2B5EF4-FFF2-40B4-BE49-F238E27FC236}">
                      <a16:creationId xmlns:a16="http://schemas.microsoft.com/office/drawing/2014/main" id="{0E641EFD-1356-B17D-76A7-F13745B286DB}"/>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7" name="Freeform: Shape 14266">
                  <a:extLst>
                    <a:ext uri="{FF2B5EF4-FFF2-40B4-BE49-F238E27FC236}">
                      <a16:creationId xmlns:a16="http://schemas.microsoft.com/office/drawing/2014/main" id="{9D0D70F7-91B8-9D15-3C42-5C6D55FE0FE9}"/>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 name="Graphic 1583">
                <a:extLst>
                  <a:ext uri="{FF2B5EF4-FFF2-40B4-BE49-F238E27FC236}">
                    <a16:creationId xmlns:a16="http://schemas.microsoft.com/office/drawing/2014/main" id="{90E28F55-D391-2835-69C1-6BBA0471F491}"/>
                  </a:ext>
                </a:extLst>
              </p:cNvPr>
              <p:cNvGrpSpPr/>
              <p:nvPr/>
            </p:nvGrpSpPr>
            <p:grpSpPr>
              <a:xfrm>
                <a:off x="5246941" y="3293554"/>
                <a:ext cx="75723" cy="75628"/>
                <a:chOff x="5246941" y="3293554"/>
                <a:chExt cx="75723" cy="75628"/>
              </a:xfrm>
            </p:grpSpPr>
            <p:sp>
              <p:nvSpPr>
                <p:cNvPr id="14264" name="Freeform: Shape 14263">
                  <a:extLst>
                    <a:ext uri="{FF2B5EF4-FFF2-40B4-BE49-F238E27FC236}">
                      <a16:creationId xmlns:a16="http://schemas.microsoft.com/office/drawing/2014/main" id="{A920209A-B51F-6DD1-308F-94C4AE5BC754}"/>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5" name="Freeform: Shape 14264">
                  <a:extLst>
                    <a:ext uri="{FF2B5EF4-FFF2-40B4-BE49-F238E27FC236}">
                      <a16:creationId xmlns:a16="http://schemas.microsoft.com/office/drawing/2014/main" id="{964D7498-1E83-1CF2-4790-FC39FC377621}"/>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 name="Graphic 1583">
                <a:extLst>
                  <a:ext uri="{FF2B5EF4-FFF2-40B4-BE49-F238E27FC236}">
                    <a16:creationId xmlns:a16="http://schemas.microsoft.com/office/drawing/2014/main" id="{4BCBF4DA-5DB2-2BC1-4FBA-651F283F7DBA}"/>
                  </a:ext>
                </a:extLst>
              </p:cNvPr>
              <p:cNvGrpSpPr/>
              <p:nvPr/>
            </p:nvGrpSpPr>
            <p:grpSpPr>
              <a:xfrm>
                <a:off x="5179599" y="3270122"/>
                <a:ext cx="75723" cy="75723"/>
                <a:chOff x="5179599" y="3270122"/>
                <a:chExt cx="75723" cy="75723"/>
              </a:xfrm>
            </p:grpSpPr>
            <p:sp>
              <p:nvSpPr>
                <p:cNvPr id="14262" name="Freeform: Shape 14261">
                  <a:extLst>
                    <a:ext uri="{FF2B5EF4-FFF2-40B4-BE49-F238E27FC236}">
                      <a16:creationId xmlns:a16="http://schemas.microsoft.com/office/drawing/2014/main" id="{3B510596-44A9-1D74-0EDC-A7C0917DD713}"/>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3" name="Freeform: Shape 14262">
                  <a:extLst>
                    <a:ext uri="{FF2B5EF4-FFF2-40B4-BE49-F238E27FC236}">
                      <a16:creationId xmlns:a16="http://schemas.microsoft.com/office/drawing/2014/main" id="{C47301F5-88AE-6CE6-9A5A-3D61DFCDA335}"/>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7" name="Graphic 1583">
                <a:extLst>
                  <a:ext uri="{FF2B5EF4-FFF2-40B4-BE49-F238E27FC236}">
                    <a16:creationId xmlns:a16="http://schemas.microsoft.com/office/drawing/2014/main" id="{4C3BD8B4-D0E7-AD9E-690A-5B8EF10BAF24}"/>
                  </a:ext>
                </a:extLst>
              </p:cNvPr>
              <p:cNvGrpSpPr/>
              <p:nvPr/>
            </p:nvGrpSpPr>
            <p:grpSpPr>
              <a:xfrm>
                <a:off x="4918233" y="3223926"/>
                <a:ext cx="75628" cy="75628"/>
                <a:chOff x="4918233" y="3223926"/>
                <a:chExt cx="75628" cy="75628"/>
              </a:xfrm>
            </p:grpSpPr>
            <p:sp>
              <p:nvSpPr>
                <p:cNvPr id="14260" name="Freeform: Shape 14259">
                  <a:extLst>
                    <a:ext uri="{FF2B5EF4-FFF2-40B4-BE49-F238E27FC236}">
                      <a16:creationId xmlns:a16="http://schemas.microsoft.com/office/drawing/2014/main" id="{AB1CD043-DB13-049A-1AEA-A80AAD27C01D}"/>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1" name="Freeform: Shape 14260">
                  <a:extLst>
                    <a:ext uri="{FF2B5EF4-FFF2-40B4-BE49-F238E27FC236}">
                      <a16:creationId xmlns:a16="http://schemas.microsoft.com/office/drawing/2014/main" id="{CFB6AC67-75CA-FC5C-C407-C5FAA2EB54CF}"/>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8" name="Graphic 1583">
                <a:extLst>
                  <a:ext uri="{FF2B5EF4-FFF2-40B4-BE49-F238E27FC236}">
                    <a16:creationId xmlns:a16="http://schemas.microsoft.com/office/drawing/2014/main" id="{6B94EFC3-4AE3-BD2D-2EDB-601EF144AE9C}"/>
                  </a:ext>
                </a:extLst>
              </p:cNvPr>
              <p:cNvGrpSpPr/>
              <p:nvPr/>
            </p:nvGrpSpPr>
            <p:grpSpPr>
              <a:xfrm>
                <a:off x="4912137" y="3214782"/>
                <a:ext cx="75628" cy="75723"/>
                <a:chOff x="4912137" y="3214782"/>
                <a:chExt cx="75628" cy="75723"/>
              </a:xfrm>
            </p:grpSpPr>
            <p:sp>
              <p:nvSpPr>
                <p:cNvPr id="14258" name="Freeform: Shape 14257">
                  <a:extLst>
                    <a:ext uri="{FF2B5EF4-FFF2-40B4-BE49-F238E27FC236}">
                      <a16:creationId xmlns:a16="http://schemas.microsoft.com/office/drawing/2014/main" id="{D9FF1D52-6913-FE05-552F-612DA37912ED}"/>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9" name="Freeform: Shape 14258">
                  <a:extLst>
                    <a:ext uri="{FF2B5EF4-FFF2-40B4-BE49-F238E27FC236}">
                      <a16:creationId xmlns:a16="http://schemas.microsoft.com/office/drawing/2014/main" id="{44186E80-8970-078E-D5A8-F13818AA9C5A}"/>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 name="Graphic 1583">
                <a:extLst>
                  <a:ext uri="{FF2B5EF4-FFF2-40B4-BE49-F238E27FC236}">
                    <a16:creationId xmlns:a16="http://schemas.microsoft.com/office/drawing/2014/main" id="{6BF6115F-C454-7954-38AA-C527CEA3F45F}"/>
                  </a:ext>
                </a:extLst>
              </p:cNvPr>
              <p:cNvGrpSpPr/>
              <p:nvPr/>
            </p:nvGrpSpPr>
            <p:grpSpPr>
              <a:xfrm>
                <a:off x="4907470" y="3206590"/>
                <a:ext cx="75723" cy="75723"/>
                <a:chOff x="4907470" y="3206590"/>
                <a:chExt cx="75723" cy="75723"/>
              </a:xfrm>
            </p:grpSpPr>
            <p:sp>
              <p:nvSpPr>
                <p:cNvPr id="14256" name="Freeform: Shape 14255">
                  <a:extLst>
                    <a:ext uri="{FF2B5EF4-FFF2-40B4-BE49-F238E27FC236}">
                      <a16:creationId xmlns:a16="http://schemas.microsoft.com/office/drawing/2014/main" id="{9D4B3E87-D403-1B18-0F7D-838B703D3D2C}"/>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7" name="Freeform: Shape 14256">
                  <a:extLst>
                    <a:ext uri="{FF2B5EF4-FFF2-40B4-BE49-F238E27FC236}">
                      <a16:creationId xmlns:a16="http://schemas.microsoft.com/office/drawing/2014/main" id="{72037B77-97A9-96EC-7944-C76657CF2771}"/>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 name="Graphic 1583">
                <a:extLst>
                  <a:ext uri="{FF2B5EF4-FFF2-40B4-BE49-F238E27FC236}">
                    <a16:creationId xmlns:a16="http://schemas.microsoft.com/office/drawing/2014/main" id="{6EF593F2-96CD-5FB4-59DE-8BEE3C61A0C9}"/>
                  </a:ext>
                </a:extLst>
              </p:cNvPr>
              <p:cNvGrpSpPr/>
              <p:nvPr/>
            </p:nvGrpSpPr>
            <p:grpSpPr>
              <a:xfrm>
                <a:off x="4888420" y="3176968"/>
                <a:ext cx="75628" cy="75628"/>
                <a:chOff x="4888420" y="3176968"/>
                <a:chExt cx="75628" cy="75628"/>
              </a:xfrm>
            </p:grpSpPr>
            <p:sp>
              <p:nvSpPr>
                <p:cNvPr id="14254" name="Freeform: Shape 14253">
                  <a:extLst>
                    <a:ext uri="{FF2B5EF4-FFF2-40B4-BE49-F238E27FC236}">
                      <a16:creationId xmlns:a16="http://schemas.microsoft.com/office/drawing/2014/main" id="{B4A83EDA-D0D3-CA0F-159A-058958078538}"/>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5" name="Freeform: Shape 14254">
                  <a:extLst>
                    <a:ext uri="{FF2B5EF4-FFF2-40B4-BE49-F238E27FC236}">
                      <a16:creationId xmlns:a16="http://schemas.microsoft.com/office/drawing/2014/main" id="{36BDACCA-B8A5-C353-51D3-CC7160B869FE}"/>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 name="Graphic 1583">
                <a:extLst>
                  <a:ext uri="{FF2B5EF4-FFF2-40B4-BE49-F238E27FC236}">
                    <a16:creationId xmlns:a16="http://schemas.microsoft.com/office/drawing/2014/main" id="{03C532CA-2B6C-BB2B-E9A7-F89009D1128B}"/>
                  </a:ext>
                </a:extLst>
              </p:cNvPr>
              <p:cNvGrpSpPr/>
              <p:nvPr/>
            </p:nvGrpSpPr>
            <p:grpSpPr>
              <a:xfrm>
                <a:off x="4855463" y="3132867"/>
                <a:ext cx="75723" cy="75723"/>
                <a:chOff x="4855463" y="3132867"/>
                <a:chExt cx="75723" cy="75723"/>
              </a:xfrm>
            </p:grpSpPr>
            <p:sp>
              <p:nvSpPr>
                <p:cNvPr id="14252" name="Freeform: Shape 14251">
                  <a:extLst>
                    <a:ext uri="{FF2B5EF4-FFF2-40B4-BE49-F238E27FC236}">
                      <a16:creationId xmlns:a16="http://schemas.microsoft.com/office/drawing/2014/main" id="{225F0477-A4CA-46D0-7D37-E0C13CA5BBE3}"/>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3" name="Freeform: Shape 14252">
                  <a:extLst>
                    <a:ext uri="{FF2B5EF4-FFF2-40B4-BE49-F238E27FC236}">
                      <a16:creationId xmlns:a16="http://schemas.microsoft.com/office/drawing/2014/main" id="{D97F8232-A9F4-7655-8ABE-B4AD09F40B1F}"/>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2" name="Graphic 1583">
                <a:extLst>
                  <a:ext uri="{FF2B5EF4-FFF2-40B4-BE49-F238E27FC236}">
                    <a16:creationId xmlns:a16="http://schemas.microsoft.com/office/drawing/2014/main" id="{D4B1E5A4-870A-EFCB-BDFF-792607C63ADB}"/>
                  </a:ext>
                </a:extLst>
              </p:cNvPr>
              <p:cNvGrpSpPr/>
              <p:nvPr/>
            </p:nvGrpSpPr>
            <p:grpSpPr>
              <a:xfrm>
                <a:off x="4834603" y="3097339"/>
                <a:ext cx="75723" cy="75628"/>
                <a:chOff x="4834603" y="3097339"/>
                <a:chExt cx="75723" cy="75628"/>
              </a:xfrm>
            </p:grpSpPr>
            <p:sp>
              <p:nvSpPr>
                <p:cNvPr id="14250" name="Freeform: Shape 14249">
                  <a:extLst>
                    <a:ext uri="{FF2B5EF4-FFF2-40B4-BE49-F238E27FC236}">
                      <a16:creationId xmlns:a16="http://schemas.microsoft.com/office/drawing/2014/main" id="{A7364A6A-955C-3D3C-E58F-0DF77B92694E}"/>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1" name="Freeform: Shape 14250">
                  <a:extLst>
                    <a:ext uri="{FF2B5EF4-FFF2-40B4-BE49-F238E27FC236}">
                      <a16:creationId xmlns:a16="http://schemas.microsoft.com/office/drawing/2014/main" id="{348062A3-BF9E-3EEE-3031-94AD5BAF9E17}"/>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3" name="Graphic 1583">
                <a:extLst>
                  <a:ext uri="{FF2B5EF4-FFF2-40B4-BE49-F238E27FC236}">
                    <a16:creationId xmlns:a16="http://schemas.microsoft.com/office/drawing/2014/main" id="{BE42660B-473F-A607-C505-88A986E3ACD9}"/>
                  </a:ext>
                </a:extLst>
              </p:cNvPr>
              <p:cNvGrpSpPr/>
              <p:nvPr/>
            </p:nvGrpSpPr>
            <p:grpSpPr>
              <a:xfrm>
                <a:off x="4626101" y="3097339"/>
                <a:ext cx="75628" cy="75628"/>
                <a:chOff x="4626101" y="3097339"/>
                <a:chExt cx="75628" cy="75628"/>
              </a:xfrm>
            </p:grpSpPr>
            <p:sp>
              <p:nvSpPr>
                <p:cNvPr id="14248" name="Freeform: Shape 14247">
                  <a:extLst>
                    <a:ext uri="{FF2B5EF4-FFF2-40B4-BE49-F238E27FC236}">
                      <a16:creationId xmlns:a16="http://schemas.microsoft.com/office/drawing/2014/main" id="{57C518B3-528D-DC28-B942-481390DB0ED7}"/>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9" name="Freeform: Shape 14248">
                  <a:extLst>
                    <a:ext uri="{FF2B5EF4-FFF2-40B4-BE49-F238E27FC236}">
                      <a16:creationId xmlns:a16="http://schemas.microsoft.com/office/drawing/2014/main" id="{37DC6A95-4AFC-673D-AF6C-74739B2D5004}"/>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8" name="Graphic 1583">
                <a:extLst>
                  <a:ext uri="{FF2B5EF4-FFF2-40B4-BE49-F238E27FC236}">
                    <a16:creationId xmlns:a16="http://schemas.microsoft.com/office/drawing/2014/main" id="{B7770190-1432-CF67-4568-48B6192D1793}"/>
                  </a:ext>
                </a:extLst>
              </p:cNvPr>
              <p:cNvGrpSpPr/>
              <p:nvPr/>
            </p:nvGrpSpPr>
            <p:grpSpPr>
              <a:xfrm>
                <a:off x="4555807" y="3053524"/>
                <a:ext cx="75723" cy="75723"/>
                <a:chOff x="4555807" y="3053524"/>
                <a:chExt cx="75723" cy="75723"/>
              </a:xfrm>
            </p:grpSpPr>
            <p:sp>
              <p:nvSpPr>
                <p:cNvPr id="14246" name="Freeform: Shape 14245">
                  <a:extLst>
                    <a:ext uri="{FF2B5EF4-FFF2-40B4-BE49-F238E27FC236}">
                      <a16:creationId xmlns:a16="http://schemas.microsoft.com/office/drawing/2014/main" id="{980242B3-2615-320E-2B7D-8A86A53A6680}"/>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7" name="Freeform: Shape 14246">
                  <a:extLst>
                    <a:ext uri="{FF2B5EF4-FFF2-40B4-BE49-F238E27FC236}">
                      <a16:creationId xmlns:a16="http://schemas.microsoft.com/office/drawing/2014/main" id="{B5E6D09B-DF32-F4B0-81B7-2CFD4D1E5714}"/>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9" name="Graphic 1583">
                <a:extLst>
                  <a:ext uri="{FF2B5EF4-FFF2-40B4-BE49-F238E27FC236}">
                    <a16:creationId xmlns:a16="http://schemas.microsoft.com/office/drawing/2014/main" id="{9E22A494-5E0C-359C-2FC4-6304BF41CCDC}"/>
                  </a:ext>
                </a:extLst>
              </p:cNvPr>
              <p:cNvGrpSpPr/>
              <p:nvPr/>
            </p:nvGrpSpPr>
            <p:grpSpPr>
              <a:xfrm>
                <a:off x="4504753" y="2948939"/>
                <a:ext cx="75628" cy="75723"/>
                <a:chOff x="4504753" y="2948939"/>
                <a:chExt cx="75628" cy="75723"/>
              </a:xfrm>
            </p:grpSpPr>
            <p:sp>
              <p:nvSpPr>
                <p:cNvPr id="14244" name="Freeform: Shape 14243">
                  <a:extLst>
                    <a:ext uri="{FF2B5EF4-FFF2-40B4-BE49-F238E27FC236}">
                      <a16:creationId xmlns:a16="http://schemas.microsoft.com/office/drawing/2014/main" id="{A16261DC-89BC-6389-838F-776615C45866}"/>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5" name="Freeform: Shape 14244">
                  <a:extLst>
                    <a:ext uri="{FF2B5EF4-FFF2-40B4-BE49-F238E27FC236}">
                      <a16:creationId xmlns:a16="http://schemas.microsoft.com/office/drawing/2014/main" id="{933BD6BF-64C6-4070-32A4-E4FADE354900}"/>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0" name="Graphic 1583">
                <a:extLst>
                  <a:ext uri="{FF2B5EF4-FFF2-40B4-BE49-F238E27FC236}">
                    <a16:creationId xmlns:a16="http://schemas.microsoft.com/office/drawing/2014/main" id="{8AB62F1C-DB64-1A3D-7843-A0E72DA42885}"/>
                  </a:ext>
                </a:extLst>
              </p:cNvPr>
              <p:cNvGrpSpPr/>
              <p:nvPr/>
            </p:nvGrpSpPr>
            <p:grpSpPr>
              <a:xfrm>
                <a:off x="4510277" y="2958369"/>
                <a:ext cx="75628" cy="75723"/>
                <a:chOff x="4510277" y="2958369"/>
                <a:chExt cx="75628" cy="75723"/>
              </a:xfrm>
            </p:grpSpPr>
            <p:sp>
              <p:nvSpPr>
                <p:cNvPr id="14242" name="Freeform: Shape 14241">
                  <a:extLst>
                    <a:ext uri="{FF2B5EF4-FFF2-40B4-BE49-F238E27FC236}">
                      <a16:creationId xmlns:a16="http://schemas.microsoft.com/office/drawing/2014/main" id="{D7D68869-9162-B4FE-EBBD-0133E8725F5C}"/>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3" name="Freeform: Shape 14242">
                  <a:extLst>
                    <a:ext uri="{FF2B5EF4-FFF2-40B4-BE49-F238E27FC236}">
                      <a16:creationId xmlns:a16="http://schemas.microsoft.com/office/drawing/2014/main" id="{4BF5EBA6-386B-F99C-B710-5A7745596752}"/>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1" name="Graphic 1583">
                <a:extLst>
                  <a:ext uri="{FF2B5EF4-FFF2-40B4-BE49-F238E27FC236}">
                    <a16:creationId xmlns:a16="http://schemas.microsoft.com/office/drawing/2014/main" id="{5A3B9657-72DC-95D5-85A6-2C634DB53459}"/>
                  </a:ext>
                </a:extLst>
              </p:cNvPr>
              <p:cNvGrpSpPr/>
              <p:nvPr/>
            </p:nvGrpSpPr>
            <p:grpSpPr>
              <a:xfrm>
                <a:off x="4517992" y="2970561"/>
                <a:ext cx="75723" cy="75628"/>
                <a:chOff x="4517992" y="2970561"/>
                <a:chExt cx="75723" cy="75628"/>
              </a:xfrm>
            </p:grpSpPr>
            <p:sp>
              <p:nvSpPr>
                <p:cNvPr id="14240" name="Freeform: Shape 14239">
                  <a:extLst>
                    <a:ext uri="{FF2B5EF4-FFF2-40B4-BE49-F238E27FC236}">
                      <a16:creationId xmlns:a16="http://schemas.microsoft.com/office/drawing/2014/main" id="{C78F1606-A152-E866-E9EE-1CC0897418FD}"/>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1" name="Freeform: Shape 14240">
                  <a:extLst>
                    <a:ext uri="{FF2B5EF4-FFF2-40B4-BE49-F238E27FC236}">
                      <a16:creationId xmlns:a16="http://schemas.microsoft.com/office/drawing/2014/main" id="{7F054459-FD3E-34BB-07CF-82DFA964BE78}"/>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2" name="Graphic 1583">
                <a:extLst>
                  <a:ext uri="{FF2B5EF4-FFF2-40B4-BE49-F238E27FC236}">
                    <a16:creationId xmlns:a16="http://schemas.microsoft.com/office/drawing/2014/main" id="{CD9938A5-4F0D-1066-CF02-CE63F8F67B34}"/>
                  </a:ext>
                </a:extLst>
              </p:cNvPr>
              <p:cNvGrpSpPr/>
              <p:nvPr/>
            </p:nvGrpSpPr>
            <p:grpSpPr>
              <a:xfrm>
                <a:off x="4525708" y="2982277"/>
                <a:ext cx="75723" cy="75628"/>
                <a:chOff x="4525708" y="2982277"/>
                <a:chExt cx="75723" cy="75628"/>
              </a:xfrm>
            </p:grpSpPr>
            <p:sp>
              <p:nvSpPr>
                <p:cNvPr id="14238" name="Freeform: Shape 14237">
                  <a:extLst>
                    <a:ext uri="{FF2B5EF4-FFF2-40B4-BE49-F238E27FC236}">
                      <a16:creationId xmlns:a16="http://schemas.microsoft.com/office/drawing/2014/main" id="{D65D50A6-6889-43F0-EF76-0D525943F508}"/>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9" name="Freeform: Shape 14238">
                  <a:extLst>
                    <a:ext uri="{FF2B5EF4-FFF2-40B4-BE49-F238E27FC236}">
                      <a16:creationId xmlns:a16="http://schemas.microsoft.com/office/drawing/2014/main" id="{9475FBF2-31DB-DFEC-2271-31F6F9661669}"/>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3" name="Graphic 1583">
                <a:extLst>
                  <a:ext uri="{FF2B5EF4-FFF2-40B4-BE49-F238E27FC236}">
                    <a16:creationId xmlns:a16="http://schemas.microsoft.com/office/drawing/2014/main" id="{BB315974-1D59-7D37-F3F3-FF90E3D4DE32}"/>
                  </a:ext>
                </a:extLst>
              </p:cNvPr>
              <p:cNvGrpSpPr/>
              <p:nvPr/>
            </p:nvGrpSpPr>
            <p:grpSpPr>
              <a:xfrm>
                <a:off x="4534280" y="2993516"/>
                <a:ext cx="75628" cy="75628"/>
                <a:chOff x="4534280" y="2993516"/>
                <a:chExt cx="75628" cy="75628"/>
              </a:xfrm>
            </p:grpSpPr>
            <p:sp>
              <p:nvSpPr>
                <p:cNvPr id="14236" name="Freeform: Shape 14235">
                  <a:extLst>
                    <a:ext uri="{FF2B5EF4-FFF2-40B4-BE49-F238E27FC236}">
                      <a16:creationId xmlns:a16="http://schemas.microsoft.com/office/drawing/2014/main" id="{E2D9D922-540E-223D-E273-4888782B479A}"/>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7" name="Freeform: Shape 14236">
                  <a:extLst>
                    <a:ext uri="{FF2B5EF4-FFF2-40B4-BE49-F238E27FC236}">
                      <a16:creationId xmlns:a16="http://schemas.microsoft.com/office/drawing/2014/main" id="{586F78DF-899A-6720-546C-2D00C89D04D6}"/>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4" name="Graphic 1583">
                <a:extLst>
                  <a:ext uri="{FF2B5EF4-FFF2-40B4-BE49-F238E27FC236}">
                    <a16:creationId xmlns:a16="http://schemas.microsoft.com/office/drawing/2014/main" id="{347875F4-A3D2-157A-D43F-EC911CE7038C}"/>
                  </a:ext>
                </a:extLst>
              </p:cNvPr>
              <p:cNvGrpSpPr/>
              <p:nvPr/>
            </p:nvGrpSpPr>
            <p:grpSpPr>
              <a:xfrm>
                <a:off x="4544281" y="3005327"/>
                <a:ext cx="75723" cy="75723"/>
                <a:chOff x="4544281" y="3005327"/>
                <a:chExt cx="75723" cy="75723"/>
              </a:xfrm>
            </p:grpSpPr>
            <p:sp>
              <p:nvSpPr>
                <p:cNvPr id="14234" name="Freeform: Shape 14233">
                  <a:extLst>
                    <a:ext uri="{FF2B5EF4-FFF2-40B4-BE49-F238E27FC236}">
                      <a16:creationId xmlns:a16="http://schemas.microsoft.com/office/drawing/2014/main" id="{70C73128-D6EA-AEB0-311E-0F17117F483D}"/>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5" name="Freeform: Shape 14234">
                  <a:extLst>
                    <a:ext uri="{FF2B5EF4-FFF2-40B4-BE49-F238E27FC236}">
                      <a16:creationId xmlns:a16="http://schemas.microsoft.com/office/drawing/2014/main" id="{2F18EB0A-7D73-9530-2429-DE9D43D9AADA}"/>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5" name="Graphic 1583">
                <a:extLst>
                  <a:ext uri="{FF2B5EF4-FFF2-40B4-BE49-F238E27FC236}">
                    <a16:creationId xmlns:a16="http://schemas.microsoft.com/office/drawing/2014/main" id="{412DDEB4-0968-4A46-BD13-9319DF668E60}"/>
                  </a:ext>
                </a:extLst>
              </p:cNvPr>
              <p:cNvGrpSpPr/>
              <p:nvPr/>
            </p:nvGrpSpPr>
            <p:grpSpPr>
              <a:xfrm>
                <a:off x="4555807" y="3035712"/>
                <a:ext cx="75723" cy="75723"/>
                <a:chOff x="4555807" y="3035712"/>
                <a:chExt cx="75723" cy="75723"/>
              </a:xfrm>
            </p:grpSpPr>
            <p:sp>
              <p:nvSpPr>
                <p:cNvPr id="14232" name="Freeform: Shape 14231">
                  <a:extLst>
                    <a:ext uri="{FF2B5EF4-FFF2-40B4-BE49-F238E27FC236}">
                      <a16:creationId xmlns:a16="http://schemas.microsoft.com/office/drawing/2014/main" id="{6F8A4E4E-AF97-1697-5C1F-17BF9C4E957A}"/>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3" name="Freeform: Shape 14232">
                  <a:extLst>
                    <a:ext uri="{FF2B5EF4-FFF2-40B4-BE49-F238E27FC236}">
                      <a16:creationId xmlns:a16="http://schemas.microsoft.com/office/drawing/2014/main" id="{2AB36824-2E7A-013A-3133-DBC287677B73}"/>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6" name="Graphic 1583">
                <a:extLst>
                  <a:ext uri="{FF2B5EF4-FFF2-40B4-BE49-F238E27FC236}">
                    <a16:creationId xmlns:a16="http://schemas.microsoft.com/office/drawing/2014/main" id="{895BABE3-A929-031E-D268-C4B365A13F4A}"/>
                  </a:ext>
                </a:extLst>
              </p:cNvPr>
              <p:cNvGrpSpPr/>
              <p:nvPr/>
            </p:nvGrpSpPr>
            <p:grpSpPr>
              <a:xfrm>
                <a:off x="4542567" y="3024663"/>
                <a:ext cx="75723" cy="75628"/>
                <a:chOff x="4542567" y="3024663"/>
                <a:chExt cx="75723" cy="75628"/>
              </a:xfrm>
            </p:grpSpPr>
            <p:sp>
              <p:nvSpPr>
                <p:cNvPr id="14230" name="Freeform: Shape 14229">
                  <a:extLst>
                    <a:ext uri="{FF2B5EF4-FFF2-40B4-BE49-F238E27FC236}">
                      <a16:creationId xmlns:a16="http://schemas.microsoft.com/office/drawing/2014/main" id="{4FB5ACAF-63F7-5E6A-339C-72F13305CEDC}"/>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1" name="Freeform: Shape 14230">
                  <a:extLst>
                    <a:ext uri="{FF2B5EF4-FFF2-40B4-BE49-F238E27FC236}">
                      <a16:creationId xmlns:a16="http://schemas.microsoft.com/office/drawing/2014/main" id="{918D04EA-7103-977A-AEE5-E26A0B823DCF}"/>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7" name="Graphic 1583">
                <a:extLst>
                  <a:ext uri="{FF2B5EF4-FFF2-40B4-BE49-F238E27FC236}">
                    <a16:creationId xmlns:a16="http://schemas.microsoft.com/office/drawing/2014/main" id="{A8ED9231-A003-D59E-393A-101C87658969}"/>
                  </a:ext>
                </a:extLst>
              </p:cNvPr>
              <p:cNvGrpSpPr/>
              <p:nvPr/>
            </p:nvGrpSpPr>
            <p:grpSpPr>
              <a:xfrm>
                <a:off x="4369879" y="2860166"/>
                <a:ext cx="75723" cy="75723"/>
                <a:chOff x="4369879" y="2860166"/>
                <a:chExt cx="75723" cy="75723"/>
              </a:xfrm>
            </p:grpSpPr>
            <p:sp>
              <p:nvSpPr>
                <p:cNvPr id="14228" name="Freeform: Shape 14227">
                  <a:extLst>
                    <a:ext uri="{FF2B5EF4-FFF2-40B4-BE49-F238E27FC236}">
                      <a16:creationId xmlns:a16="http://schemas.microsoft.com/office/drawing/2014/main" id="{F95D28C9-B366-DAD2-8B32-867883A236AA}"/>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9" name="Freeform: Shape 14228">
                  <a:extLst>
                    <a:ext uri="{FF2B5EF4-FFF2-40B4-BE49-F238E27FC236}">
                      <a16:creationId xmlns:a16="http://schemas.microsoft.com/office/drawing/2014/main" id="{0CF0116A-99E1-FD86-64D9-1F5F7E8A3059}"/>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8" name="Graphic 1583">
                <a:extLst>
                  <a:ext uri="{FF2B5EF4-FFF2-40B4-BE49-F238E27FC236}">
                    <a16:creationId xmlns:a16="http://schemas.microsoft.com/office/drawing/2014/main" id="{C577B863-776A-7B68-D3F7-B2738D208BE6}"/>
                  </a:ext>
                </a:extLst>
              </p:cNvPr>
              <p:cNvGrpSpPr/>
              <p:nvPr/>
            </p:nvGrpSpPr>
            <p:grpSpPr>
              <a:xfrm>
                <a:off x="4156804" y="2823971"/>
                <a:ext cx="75723" cy="75723"/>
                <a:chOff x="4156804" y="2823971"/>
                <a:chExt cx="75723" cy="75723"/>
              </a:xfrm>
            </p:grpSpPr>
            <p:sp>
              <p:nvSpPr>
                <p:cNvPr id="14226" name="Freeform: Shape 14225">
                  <a:extLst>
                    <a:ext uri="{FF2B5EF4-FFF2-40B4-BE49-F238E27FC236}">
                      <a16:creationId xmlns:a16="http://schemas.microsoft.com/office/drawing/2014/main" id="{BA9090FD-A780-099A-FE04-1CDBD137AD92}"/>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7" name="Freeform: Shape 14226">
                  <a:extLst>
                    <a:ext uri="{FF2B5EF4-FFF2-40B4-BE49-F238E27FC236}">
                      <a16:creationId xmlns:a16="http://schemas.microsoft.com/office/drawing/2014/main" id="{48DB8B78-2CD5-8440-52A4-1E99645A8950}"/>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9" name="Graphic 1583">
                <a:extLst>
                  <a:ext uri="{FF2B5EF4-FFF2-40B4-BE49-F238E27FC236}">
                    <a16:creationId xmlns:a16="http://schemas.microsoft.com/office/drawing/2014/main" id="{EFC5C435-733F-98F5-474F-B32E90404F49}"/>
                  </a:ext>
                </a:extLst>
              </p:cNvPr>
              <p:cNvGrpSpPr/>
              <p:nvPr/>
            </p:nvGrpSpPr>
            <p:grpSpPr>
              <a:xfrm>
                <a:off x="4136421" y="2810065"/>
                <a:ext cx="75723" cy="75628"/>
                <a:chOff x="4136421" y="2810065"/>
                <a:chExt cx="75723" cy="75628"/>
              </a:xfrm>
            </p:grpSpPr>
            <p:sp>
              <p:nvSpPr>
                <p:cNvPr id="14224" name="Freeform: Shape 14223">
                  <a:extLst>
                    <a:ext uri="{FF2B5EF4-FFF2-40B4-BE49-F238E27FC236}">
                      <a16:creationId xmlns:a16="http://schemas.microsoft.com/office/drawing/2014/main" id="{57E9176D-E4AE-208C-857A-03FA84E33407}"/>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5" name="Freeform: Shape 14224">
                  <a:extLst>
                    <a:ext uri="{FF2B5EF4-FFF2-40B4-BE49-F238E27FC236}">
                      <a16:creationId xmlns:a16="http://schemas.microsoft.com/office/drawing/2014/main" id="{B65928F0-7856-E197-8DD0-87FA5C1BE545}"/>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0" name="Graphic 1583">
                <a:extLst>
                  <a:ext uri="{FF2B5EF4-FFF2-40B4-BE49-F238E27FC236}">
                    <a16:creationId xmlns:a16="http://schemas.microsoft.com/office/drawing/2014/main" id="{0BFAE63B-1F5F-5745-4785-2E4C375550D3}"/>
                  </a:ext>
                </a:extLst>
              </p:cNvPr>
              <p:cNvGrpSpPr/>
              <p:nvPr/>
            </p:nvGrpSpPr>
            <p:grpSpPr>
              <a:xfrm>
                <a:off x="5287517" y="3375278"/>
                <a:ext cx="75723" cy="75723"/>
                <a:chOff x="5287517" y="3375278"/>
                <a:chExt cx="75723" cy="75723"/>
              </a:xfrm>
            </p:grpSpPr>
            <p:sp>
              <p:nvSpPr>
                <p:cNvPr id="14222" name="Freeform: Shape 14221">
                  <a:extLst>
                    <a:ext uri="{FF2B5EF4-FFF2-40B4-BE49-F238E27FC236}">
                      <a16:creationId xmlns:a16="http://schemas.microsoft.com/office/drawing/2014/main" id="{FDF6F75D-A33F-26D7-6E74-7EBFA7A69552}"/>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3" name="Freeform: Shape 14222">
                  <a:extLst>
                    <a:ext uri="{FF2B5EF4-FFF2-40B4-BE49-F238E27FC236}">
                      <a16:creationId xmlns:a16="http://schemas.microsoft.com/office/drawing/2014/main" id="{2D101C83-51A6-5728-4ED6-89624804CDBC}"/>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1" name="Graphic 1583">
                <a:extLst>
                  <a:ext uri="{FF2B5EF4-FFF2-40B4-BE49-F238E27FC236}">
                    <a16:creationId xmlns:a16="http://schemas.microsoft.com/office/drawing/2014/main" id="{0E33B976-85E3-9627-3D73-7DAB8C9799AA}"/>
                  </a:ext>
                </a:extLst>
              </p:cNvPr>
              <p:cNvGrpSpPr/>
              <p:nvPr/>
            </p:nvGrpSpPr>
            <p:grpSpPr>
              <a:xfrm>
                <a:off x="5299709" y="3375278"/>
                <a:ext cx="75723" cy="75723"/>
                <a:chOff x="5299709" y="3375278"/>
                <a:chExt cx="75723" cy="75723"/>
              </a:xfrm>
            </p:grpSpPr>
            <p:sp>
              <p:nvSpPr>
                <p:cNvPr id="14220" name="Freeform: Shape 14219">
                  <a:extLst>
                    <a:ext uri="{FF2B5EF4-FFF2-40B4-BE49-F238E27FC236}">
                      <a16:creationId xmlns:a16="http://schemas.microsoft.com/office/drawing/2014/main" id="{B9F8C59B-B289-46CF-97D7-EA57669BB5AC}"/>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1" name="Freeform: Shape 14220">
                  <a:extLst>
                    <a:ext uri="{FF2B5EF4-FFF2-40B4-BE49-F238E27FC236}">
                      <a16:creationId xmlns:a16="http://schemas.microsoft.com/office/drawing/2014/main" id="{FF292708-BF73-975F-0859-F10CCB0EC402}"/>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2" name="Graphic 1583">
                <a:extLst>
                  <a:ext uri="{FF2B5EF4-FFF2-40B4-BE49-F238E27FC236}">
                    <a16:creationId xmlns:a16="http://schemas.microsoft.com/office/drawing/2014/main" id="{111991F8-6D1B-66B7-44CE-BFA9EB05E4D6}"/>
                  </a:ext>
                </a:extLst>
              </p:cNvPr>
              <p:cNvGrpSpPr/>
              <p:nvPr/>
            </p:nvGrpSpPr>
            <p:grpSpPr>
              <a:xfrm>
                <a:off x="5656611" y="3553300"/>
                <a:ext cx="75628" cy="75628"/>
                <a:chOff x="5656611" y="3553300"/>
                <a:chExt cx="75628" cy="75628"/>
              </a:xfrm>
            </p:grpSpPr>
            <p:sp>
              <p:nvSpPr>
                <p:cNvPr id="18238" name="Freeform: Shape 18237">
                  <a:extLst>
                    <a:ext uri="{FF2B5EF4-FFF2-40B4-BE49-F238E27FC236}">
                      <a16:creationId xmlns:a16="http://schemas.microsoft.com/office/drawing/2014/main" id="{9B782434-517A-52DB-2F42-D663BD89E539}"/>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9" name="Freeform: Shape 18238">
                  <a:extLst>
                    <a:ext uri="{FF2B5EF4-FFF2-40B4-BE49-F238E27FC236}">
                      <a16:creationId xmlns:a16="http://schemas.microsoft.com/office/drawing/2014/main" id="{F6634797-FCD2-D346-62D9-61A6720B2763}"/>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3" name="Graphic 1583">
                <a:extLst>
                  <a:ext uri="{FF2B5EF4-FFF2-40B4-BE49-F238E27FC236}">
                    <a16:creationId xmlns:a16="http://schemas.microsoft.com/office/drawing/2014/main" id="{013F5C70-1373-942C-05A7-E6AF0460FCAF}"/>
                  </a:ext>
                </a:extLst>
              </p:cNvPr>
              <p:cNvGrpSpPr/>
              <p:nvPr/>
            </p:nvGrpSpPr>
            <p:grpSpPr>
              <a:xfrm>
                <a:off x="5668612" y="3553300"/>
                <a:ext cx="75723" cy="75628"/>
                <a:chOff x="5668612" y="3553300"/>
                <a:chExt cx="75723" cy="75628"/>
              </a:xfrm>
            </p:grpSpPr>
            <p:sp>
              <p:nvSpPr>
                <p:cNvPr id="18236" name="Freeform: Shape 18235">
                  <a:extLst>
                    <a:ext uri="{FF2B5EF4-FFF2-40B4-BE49-F238E27FC236}">
                      <a16:creationId xmlns:a16="http://schemas.microsoft.com/office/drawing/2014/main" id="{4E68099F-DF1C-4AE6-8269-9B6BB7A15308}"/>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7" name="Freeform: Shape 18236">
                  <a:extLst>
                    <a:ext uri="{FF2B5EF4-FFF2-40B4-BE49-F238E27FC236}">
                      <a16:creationId xmlns:a16="http://schemas.microsoft.com/office/drawing/2014/main" id="{EDFB538A-B29E-BE90-1070-1ADC891BD776}"/>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4" name="Graphic 1583">
                <a:extLst>
                  <a:ext uri="{FF2B5EF4-FFF2-40B4-BE49-F238E27FC236}">
                    <a16:creationId xmlns:a16="http://schemas.microsoft.com/office/drawing/2014/main" id="{09B721B4-0C99-EA5C-AAC3-C697DCEECD38}"/>
                  </a:ext>
                </a:extLst>
              </p:cNvPr>
              <p:cNvGrpSpPr/>
              <p:nvPr/>
            </p:nvGrpSpPr>
            <p:grpSpPr>
              <a:xfrm>
                <a:off x="5680709" y="3553300"/>
                <a:ext cx="75723" cy="75628"/>
                <a:chOff x="5680709" y="3553300"/>
                <a:chExt cx="75723" cy="75628"/>
              </a:xfrm>
            </p:grpSpPr>
            <p:sp>
              <p:nvSpPr>
                <p:cNvPr id="18234" name="Freeform: Shape 18233">
                  <a:extLst>
                    <a:ext uri="{FF2B5EF4-FFF2-40B4-BE49-F238E27FC236}">
                      <a16:creationId xmlns:a16="http://schemas.microsoft.com/office/drawing/2014/main" id="{C47F74C0-8758-75FE-F80A-C6526A3DC9D6}"/>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5" name="Freeform: Shape 18234">
                  <a:extLst>
                    <a:ext uri="{FF2B5EF4-FFF2-40B4-BE49-F238E27FC236}">
                      <a16:creationId xmlns:a16="http://schemas.microsoft.com/office/drawing/2014/main" id="{BDC185E3-39D1-5A5D-8564-98C56C138247}"/>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5" name="Graphic 1583">
                <a:extLst>
                  <a:ext uri="{FF2B5EF4-FFF2-40B4-BE49-F238E27FC236}">
                    <a16:creationId xmlns:a16="http://schemas.microsoft.com/office/drawing/2014/main" id="{23532118-1367-766F-A2C6-D6DE0D7B618C}"/>
                  </a:ext>
                </a:extLst>
              </p:cNvPr>
              <p:cNvGrpSpPr/>
              <p:nvPr/>
            </p:nvGrpSpPr>
            <p:grpSpPr>
              <a:xfrm>
                <a:off x="6040659" y="3606450"/>
                <a:ext cx="75628" cy="75723"/>
                <a:chOff x="6040659" y="3606450"/>
                <a:chExt cx="75628" cy="75723"/>
              </a:xfrm>
            </p:grpSpPr>
            <p:sp>
              <p:nvSpPr>
                <p:cNvPr id="18232" name="Freeform: Shape 18231">
                  <a:extLst>
                    <a:ext uri="{FF2B5EF4-FFF2-40B4-BE49-F238E27FC236}">
                      <a16:creationId xmlns:a16="http://schemas.microsoft.com/office/drawing/2014/main" id="{256F322F-6B91-592D-F2EF-96E81435E417}"/>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3" name="Freeform: Shape 18232">
                  <a:extLst>
                    <a:ext uri="{FF2B5EF4-FFF2-40B4-BE49-F238E27FC236}">
                      <a16:creationId xmlns:a16="http://schemas.microsoft.com/office/drawing/2014/main" id="{E5B836F3-5A16-F542-8CE4-53E57063146F}"/>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6" name="Graphic 1583">
                <a:extLst>
                  <a:ext uri="{FF2B5EF4-FFF2-40B4-BE49-F238E27FC236}">
                    <a16:creationId xmlns:a16="http://schemas.microsoft.com/office/drawing/2014/main" id="{A7381C73-6CFB-DA67-12C9-F6D5DF225B0B}"/>
                  </a:ext>
                </a:extLst>
              </p:cNvPr>
              <p:cNvGrpSpPr/>
              <p:nvPr/>
            </p:nvGrpSpPr>
            <p:grpSpPr>
              <a:xfrm>
                <a:off x="6040659" y="3657218"/>
                <a:ext cx="75628" cy="75723"/>
                <a:chOff x="6040659" y="3657218"/>
                <a:chExt cx="75628" cy="75723"/>
              </a:xfrm>
            </p:grpSpPr>
            <p:sp>
              <p:nvSpPr>
                <p:cNvPr id="18230" name="Freeform: Shape 18229">
                  <a:extLst>
                    <a:ext uri="{FF2B5EF4-FFF2-40B4-BE49-F238E27FC236}">
                      <a16:creationId xmlns:a16="http://schemas.microsoft.com/office/drawing/2014/main" id="{C184529B-B884-AC86-76C4-7A50289FD86A}"/>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1" name="Freeform: Shape 18230">
                  <a:extLst>
                    <a:ext uri="{FF2B5EF4-FFF2-40B4-BE49-F238E27FC236}">
                      <a16:creationId xmlns:a16="http://schemas.microsoft.com/office/drawing/2014/main" id="{2926AF3D-28C8-AFAF-CECF-EDB1CBD7B57D}"/>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7" name="Graphic 1583">
                <a:extLst>
                  <a:ext uri="{FF2B5EF4-FFF2-40B4-BE49-F238E27FC236}">
                    <a16:creationId xmlns:a16="http://schemas.microsoft.com/office/drawing/2014/main" id="{AB793989-A8C8-8B13-3574-BD1153FDB2BF}"/>
                  </a:ext>
                </a:extLst>
              </p:cNvPr>
              <p:cNvGrpSpPr/>
              <p:nvPr/>
            </p:nvGrpSpPr>
            <p:grpSpPr>
              <a:xfrm>
                <a:off x="7192517" y="3850290"/>
                <a:ext cx="75723" cy="75723"/>
                <a:chOff x="7192517" y="3850290"/>
                <a:chExt cx="75723" cy="75723"/>
              </a:xfrm>
            </p:grpSpPr>
            <p:sp>
              <p:nvSpPr>
                <p:cNvPr id="18228" name="Freeform: Shape 18227">
                  <a:extLst>
                    <a:ext uri="{FF2B5EF4-FFF2-40B4-BE49-F238E27FC236}">
                      <a16:creationId xmlns:a16="http://schemas.microsoft.com/office/drawing/2014/main" id="{6A9AC0C5-2998-B800-98BC-74B9DA114447}"/>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29" name="Freeform: Shape 18228">
                  <a:extLst>
                    <a:ext uri="{FF2B5EF4-FFF2-40B4-BE49-F238E27FC236}">
                      <a16:creationId xmlns:a16="http://schemas.microsoft.com/office/drawing/2014/main" id="{15EF3038-BF44-4702-1A35-B65E2980285A}"/>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 name="Freeform: Shape 14">
              <a:extLst>
                <a:ext uri="{FF2B5EF4-FFF2-40B4-BE49-F238E27FC236}">
                  <a16:creationId xmlns:a16="http://schemas.microsoft.com/office/drawing/2014/main" id="{C55DB67E-6AC5-48EB-C035-E2CF43909632}"/>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46" name="Group 14645">
            <a:extLst>
              <a:ext uri="{FF2B5EF4-FFF2-40B4-BE49-F238E27FC236}">
                <a16:creationId xmlns:a16="http://schemas.microsoft.com/office/drawing/2014/main" id="{3205914E-2BA4-F331-0DB4-84C93CB045EB}"/>
              </a:ext>
            </a:extLst>
          </p:cNvPr>
          <p:cNvGrpSpPr/>
          <p:nvPr/>
        </p:nvGrpSpPr>
        <p:grpSpPr>
          <a:xfrm>
            <a:off x="712999" y="1488358"/>
            <a:ext cx="6801804" cy="2364808"/>
            <a:chOff x="3500437" y="2424112"/>
            <a:chExt cx="5189696" cy="2012441"/>
          </a:xfrm>
        </p:grpSpPr>
        <p:grpSp>
          <p:nvGrpSpPr>
            <p:cNvPr id="14647" name="Graphic 1393">
              <a:extLst>
                <a:ext uri="{FF2B5EF4-FFF2-40B4-BE49-F238E27FC236}">
                  <a16:creationId xmlns:a16="http://schemas.microsoft.com/office/drawing/2014/main" id="{1C2087F6-EC93-A6B4-0F4F-405F640E8673}"/>
                </a:ext>
              </a:extLst>
            </p:cNvPr>
            <p:cNvGrpSpPr/>
            <p:nvPr/>
          </p:nvGrpSpPr>
          <p:grpSpPr>
            <a:xfrm>
              <a:off x="3868102" y="2496216"/>
              <a:ext cx="4822031" cy="1940337"/>
              <a:chOff x="3868102" y="2496216"/>
              <a:chExt cx="4822031" cy="1940337"/>
            </a:xfrm>
          </p:grpSpPr>
          <p:grpSp>
            <p:nvGrpSpPr>
              <p:cNvPr id="14649" name="Graphic 1393">
                <a:extLst>
                  <a:ext uri="{FF2B5EF4-FFF2-40B4-BE49-F238E27FC236}">
                    <a16:creationId xmlns:a16="http://schemas.microsoft.com/office/drawing/2014/main" id="{CAA1E0A5-7580-BBFE-F54F-2C146AE565C4}"/>
                  </a:ext>
                </a:extLst>
              </p:cNvPr>
              <p:cNvGrpSpPr/>
              <p:nvPr/>
            </p:nvGrpSpPr>
            <p:grpSpPr>
              <a:xfrm>
                <a:off x="8614409" y="4360830"/>
                <a:ext cx="75723" cy="75723"/>
                <a:chOff x="8614409" y="4360830"/>
                <a:chExt cx="75723" cy="75723"/>
              </a:xfrm>
            </p:grpSpPr>
            <p:sp>
              <p:nvSpPr>
                <p:cNvPr id="16671" name="Freeform: Shape 16670">
                  <a:extLst>
                    <a:ext uri="{FF2B5EF4-FFF2-40B4-BE49-F238E27FC236}">
                      <a16:creationId xmlns:a16="http://schemas.microsoft.com/office/drawing/2014/main" id="{A6B1117F-A9E1-4ED4-08BB-69D3E2EB0C87}"/>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2" name="Freeform: Shape 16671">
                  <a:extLst>
                    <a:ext uri="{FF2B5EF4-FFF2-40B4-BE49-F238E27FC236}">
                      <a16:creationId xmlns:a16="http://schemas.microsoft.com/office/drawing/2014/main" id="{FCAD2F4A-8272-EC70-EF42-1DFDECE17BD6}"/>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0" name="Graphic 1393">
                <a:extLst>
                  <a:ext uri="{FF2B5EF4-FFF2-40B4-BE49-F238E27FC236}">
                    <a16:creationId xmlns:a16="http://schemas.microsoft.com/office/drawing/2014/main" id="{CDE6A94C-C8FB-15CF-6392-CC200FFE95A0}"/>
                  </a:ext>
                </a:extLst>
              </p:cNvPr>
              <p:cNvGrpSpPr/>
              <p:nvPr/>
            </p:nvGrpSpPr>
            <p:grpSpPr>
              <a:xfrm>
                <a:off x="8599264" y="4360830"/>
                <a:ext cx="75723" cy="75723"/>
                <a:chOff x="8599264" y="4360830"/>
                <a:chExt cx="75723" cy="75723"/>
              </a:xfrm>
            </p:grpSpPr>
            <p:sp>
              <p:nvSpPr>
                <p:cNvPr id="16669" name="Freeform: Shape 16668">
                  <a:extLst>
                    <a:ext uri="{FF2B5EF4-FFF2-40B4-BE49-F238E27FC236}">
                      <a16:creationId xmlns:a16="http://schemas.microsoft.com/office/drawing/2014/main" id="{BBF809E5-A77D-3FB6-AC23-E2F9BB1BF1EE}"/>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0" name="Freeform: Shape 16669">
                  <a:extLst>
                    <a:ext uri="{FF2B5EF4-FFF2-40B4-BE49-F238E27FC236}">
                      <a16:creationId xmlns:a16="http://schemas.microsoft.com/office/drawing/2014/main" id="{C5CE5F08-82A8-3EF8-00D6-8C0526C280E5}"/>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1" name="Graphic 1393">
                <a:extLst>
                  <a:ext uri="{FF2B5EF4-FFF2-40B4-BE49-F238E27FC236}">
                    <a16:creationId xmlns:a16="http://schemas.microsoft.com/office/drawing/2014/main" id="{A34C4515-3481-08C2-5011-AC507019C517}"/>
                  </a:ext>
                </a:extLst>
              </p:cNvPr>
              <p:cNvGrpSpPr/>
              <p:nvPr/>
            </p:nvGrpSpPr>
            <p:grpSpPr>
              <a:xfrm>
                <a:off x="8461819" y="3949446"/>
                <a:ext cx="75723" cy="75723"/>
                <a:chOff x="8461819" y="3949446"/>
                <a:chExt cx="75723" cy="75723"/>
              </a:xfrm>
            </p:grpSpPr>
            <p:sp>
              <p:nvSpPr>
                <p:cNvPr id="16479" name="Freeform: Shape 16478">
                  <a:extLst>
                    <a:ext uri="{FF2B5EF4-FFF2-40B4-BE49-F238E27FC236}">
                      <a16:creationId xmlns:a16="http://schemas.microsoft.com/office/drawing/2014/main" id="{EE9865DE-A61F-A647-0C30-C99C105C8E10}"/>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80" name="Freeform: Shape 16479">
                  <a:extLst>
                    <a:ext uri="{FF2B5EF4-FFF2-40B4-BE49-F238E27FC236}">
                      <a16:creationId xmlns:a16="http://schemas.microsoft.com/office/drawing/2014/main" id="{A6EF8EC4-2590-BEBC-CD77-0A8D64855E84}"/>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2" name="Graphic 1393">
                <a:extLst>
                  <a:ext uri="{FF2B5EF4-FFF2-40B4-BE49-F238E27FC236}">
                    <a16:creationId xmlns:a16="http://schemas.microsoft.com/office/drawing/2014/main" id="{A96BF158-8CEE-DB1C-2BCE-9F0C06B9A2A2}"/>
                  </a:ext>
                </a:extLst>
              </p:cNvPr>
              <p:cNvGrpSpPr/>
              <p:nvPr/>
            </p:nvGrpSpPr>
            <p:grpSpPr>
              <a:xfrm>
                <a:off x="8232933" y="3949446"/>
                <a:ext cx="75723" cy="75723"/>
                <a:chOff x="8232933" y="3949446"/>
                <a:chExt cx="75723" cy="75723"/>
              </a:xfrm>
            </p:grpSpPr>
            <p:sp>
              <p:nvSpPr>
                <p:cNvPr id="16477" name="Freeform: Shape 16476">
                  <a:extLst>
                    <a:ext uri="{FF2B5EF4-FFF2-40B4-BE49-F238E27FC236}">
                      <a16:creationId xmlns:a16="http://schemas.microsoft.com/office/drawing/2014/main" id="{2CE4A3BC-8071-0386-AD52-45F0AF69D452}"/>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8" name="Freeform: Shape 16477">
                  <a:extLst>
                    <a:ext uri="{FF2B5EF4-FFF2-40B4-BE49-F238E27FC236}">
                      <a16:creationId xmlns:a16="http://schemas.microsoft.com/office/drawing/2014/main" id="{7B39D6B5-D35A-7C03-3F5D-76A0EE4ECD10}"/>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3" name="Graphic 1393">
                <a:extLst>
                  <a:ext uri="{FF2B5EF4-FFF2-40B4-BE49-F238E27FC236}">
                    <a16:creationId xmlns:a16="http://schemas.microsoft.com/office/drawing/2014/main" id="{BB9D9689-29CC-B038-A8DF-4320704EECF2}"/>
                  </a:ext>
                </a:extLst>
              </p:cNvPr>
              <p:cNvGrpSpPr/>
              <p:nvPr/>
            </p:nvGrpSpPr>
            <p:grpSpPr>
              <a:xfrm>
                <a:off x="8210454" y="3949446"/>
                <a:ext cx="75723" cy="75723"/>
                <a:chOff x="8210454" y="3949446"/>
                <a:chExt cx="75723" cy="75723"/>
              </a:xfrm>
            </p:grpSpPr>
            <p:sp>
              <p:nvSpPr>
                <p:cNvPr id="16475" name="Freeform: Shape 16474">
                  <a:extLst>
                    <a:ext uri="{FF2B5EF4-FFF2-40B4-BE49-F238E27FC236}">
                      <a16:creationId xmlns:a16="http://schemas.microsoft.com/office/drawing/2014/main" id="{154862C5-4266-4E72-4840-06D0425620B9}"/>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6" name="Freeform: Shape 16475">
                  <a:extLst>
                    <a:ext uri="{FF2B5EF4-FFF2-40B4-BE49-F238E27FC236}">
                      <a16:creationId xmlns:a16="http://schemas.microsoft.com/office/drawing/2014/main" id="{2802557E-FC7F-BBE8-4CE8-990DF28A25F9}"/>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4" name="Graphic 1393">
                <a:extLst>
                  <a:ext uri="{FF2B5EF4-FFF2-40B4-BE49-F238E27FC236}">
                    <a16:creationId xmlns:a16="http://schemas.microsoft.com/office/drawing/2014/main" id="{90FB77F4-70CE-931B-4A6E-FF9F86770F33}"/>
                  </a:ext>
                </a:extLst>
              </p:cNvPr>
              <p:cNvGrpSpPr/>
              <p:nvPr/>
            </p:nvGrpSpPr>
            <p:grpSpPr>
              <a:xfrm>
                <a:off x="8183689" y="3949446"/>
                <a:ext cx="75723" cy="75723"/>
                <a:chOff x="8183689" y="3949446"/>
                <a:chExt cx="75723" cy="75723"/>
              </a:xfrm>
            </p:grpSpPr>
            <p:sp>
              <p:nvSpPr>
                <p:cNvPr id="16473" name="Freeform: Shape 16472">
                  <a:extLst>
                    <a:ext uri="{FF2B5EF4-FFF2-40B4-BE49-F238E27FC236}">
                      <a16:creationId xmlns:a16="http://schemas.microsoft.com/office/drawing/2014/main" id="{47730B45-9452-5F6E-C5B3-632E9AAE74D5}"/>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4" name="Freeform: Shape 16473">
                  <a:extLst>
                    <a:ext uri="{FF2B5EF4-FFF2-40B4-BE49-F238E27FC236}">
                      <a16:creationId xmlns:a16="http://schemas.microsoft.com/office/drawing/2014/main" id="{AF95DB1F-00D9-805B-7B6D-31AE771A4973}"/>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5" name="Graphic 1393">
                <a:extLst>
                  <a:ext uri="{FF2B5EF4-FFF2-40B4-BE49-F238E27FC236}">
                    <a16:creationId xmlns:a16="http://schemas.microsoft.com/office/drawing/2014/main" id="{C5537582-E4F7-57A8-5C7E-6C6BE49CD99A}"/>
                  </a:ext>
                </a:extLst>
              </p:cNvPr>
              <p:cNvGrpSpPr/>
              <p:nvPr/>
            </p:nvGrpSpPr>
            <p:grpSpPr>
              <a:xfrm>
                <a:off x="8161495" y="3949446"/>
                <a:ext cx="75723" cy="75723"/>
                <a:chOff x="8161495" y="3949446"/>
                <a:chExt cx="75723" cy="75723"/>
              </a:xfrm>
            </p:grpSpPr>
            <p:sp>
              <p:nvSpPr>
                <p:cNvPr id="16471" name="Freeform: Shape 16470">
                  <a:extLst>
                    <a:ext uri="{FF2B5EF4-FFF2-40B4-BE49-F238E27FC236}">
                      <a16:creationId xmlns:a16="http://schemas.microsoft.com/office/drawing/2014/main" id="{1C75CE51-8933-24C3-3D5D-7EBD73A8202A}"/>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2" name="Freeform: Shape 16471">
                  <a:extLst>
                    <a:ext uri="{FF2B5EF4-FFF2-40B4-BE49-F238E27FC236}">
                      <a16:creationId xmlns:a16="http://schemas.microsoft.com/office/drawing/2014/main" id="{243B2D09-A5AF-4DA8-C241-32E5159E48A8}"/>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6" name="Graphic 1393">
                <a:extLst>
                  <a:ext uri="{FF2B5EF4-FFF2-40B4-BE49-F238E27FC236}">
                    <a16:creationId xmlns:a16="http://schemas.microsoft.com/office/drawing/2014/main" id="{F13162F5-7019-444D-A560-81E30A416A9A}"/>
                  </a:ext>
                </a:extLst>
              </p:cNvPr>
              <p:cNvGrpSpPr/>
              <p:nvPr/>
            </p:nvGrpSpPr>
            <p:grpSpPr>
              <a:xfrm>
                <a:off x="8065769" y="3949446"/>
                <a:ext cx="75628" cy="75723"/>
                <a:chOff x="8065769" y="3949446"/>
                <a:chExt cx="75628" cy="75723"/>
              </a:xfrm>
            </p:grpSpPr>
            <p:sp>
              <p:nvSpPr>
                <p:cNvPr id="16469" name="Freeform: Shape 16468">
                  <a:extLst>
                    <a:ext uri="{FF2B5EF4-FFF2-40B4-BE49-F238E27FC236}">
                      <a16:creationId xmlns:a16="http://schemas.microsoft.com/office/drawing/2014/main" id="{03C578C6-8537-DE1C-AF3A-7BF5738916E6}"/>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0" name="Freeform: Shape 16469">
                  <a:extLst>
                    <a:ext uri="{FF2B5EF4-FFF2-40B4-BE49-F238E27FC236}">
                      <a16:creationId xmlns:a16="http://schemas.microsoft.com/office/drawing/2014/main" id="{B404FC06-306C-BA05-F5CA-83D6C58441EE}"/>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7" name="Graphic 1393">
                <a:extLst>
                  <a:ext uri="{FF2B5EF4-FFF2-40B4-BE49-F238E27FC236}">
                    <a16:creationId xmlns:a16="http://schemas.microsoft.com/office/drawing/2014/main" id="{B7B80FE5-72BC-4DDC-9A97-31C1F738782E}"/>
                  </a:ext>
                </a:extLst>
              </p:cNvPr>
              <p:cNvGrpSpPr/>
              <p:nvPr/>
            </p:nvGrpSpPr>
            <p:grpSpPr>
              <a:xfrm>
                <a:off x="7829263" y="3949446"/>
                <a:ext cx="75628" cy="75723"/>
                <a:chOff x="7829263" y="3949446"/>
                <a:chExt cx="75628" cy="75723"/>
              </a:xfrm>
            </p:grpSpPr>
            <p:sp>
              <p:nvSpPr>
                <p:cNvPr id="16467" name="Freeform: Shape 16466">
                  <a:extLst>
                    <a:ext uri="{FF2B5EF4-FFF2-40B4-BE49-F238E27FC236}">
                      <a16:creationId xmlns:a16="http://schemas.microsoft.com/office/drawing/2014/main" id="{3E841D26-C7B8-1097-427E-BE32D3018E35}"/>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8" name="Freeform: Shape 16467">
                  <a:extLst>
                    <a:ext uri="{FF2B5EF4-FFF2-40B4-BE49-F238E27FC236}">
                      <a16:creationId xmlns:a16="http://schemas.microsoft.com/office/drawing/2014/main" id="{2EDB13DD-0416-F6D9-ACA6-4586BE739C2C}"/>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8" name="Graphic 1393">
                <a:extLst>
                  <a:ext uri="{FF2B5EF4-FFF2-40B4-BE49-F238E27FC236}">
                    <a16:creationId xmlns:a16="http://schemas.microsoft.com/office/drawing/2014/main" id="{6193CD78-D7E4-C48D-DE39-D7657C69DB8B}"/>
                  </a:ext>
                </a:extLst>
              </p:cNvPr>
              <p:cNvGrpSpPr/>
              <p:nvPr/>
            </p:nvGrpSpPr>
            <p:grpSpPr>
              <a:xfrm>
                <a:off x="7784115" y="3949446"/>
                <a:ext cx="75723" cy="75723"/>
                <a:chOff x="7784115" y="3949446"/>
                <a:chExt cx="75723" cy="75723"/>
              </a:xfrm>
            </p:grpSpPr>
            <p:sp>
              <p:nvSpPr>
                <p:cNvPr id="16465" name="Freeform: Shape 16464">
                  <a:extLst>
                    <a:ext uri="{FF2B5EF4-FFF2-40B4-BE49-F238E27FC236}">
                      <a16:creationId xmlns:a16="http://schemas.microsoft.com/office/drawing/2014/main" id="{E527014B-99C8-C238-CDAB-431D7134F358}"/>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6" name="Freeform: Shape 16465">
                  <a:extLst>
                    <a:ext uri="{FF2B5EF4-FFF2-40B4-BE49-F238E27FC236}">
                      <a16:creationId xmlns:a16="http://schemas.microsoft.com/office/drawing/2014/main" id="{3561A634-1D83-46E1-7CE5-779E159105F7}"/>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9" name="Graphic 1393">
                <a:extLst>
                  <a:ext uri="{FF2B5EF4-FFF2-40B4-BE49-F238E27FC236}">
                    <a16:creationId xmlns:a16="http://schemas.microsoft.com/office/drawing/2014/main" id="{B962DE41-8442-EEDF-CE96-556105046575}"/>
                  </a:ext>
                </a:extLst>
              </p:cNvPr>
              <p:cNvGrpSpPr/>
              <p:nvPr/>
            </p:nvGrpSpPr>
            <p:grpSpPr>
              <a:xfrm>
                <a:off x="7746301" y="3949446"/>
                <a:ext cx="75723" cy="75723"/>
                <a:chOff x="7746301" y="3949446"/>
                <a:chExt cx="75723" cy="75723"/>
              </a:xfrm>
            </p:grpSpPr>
            <p:sp>
              <p:nvSpPr>
                <p:cNvPr id="16463" name="Freeform: Shape 16462">
                  <a:extLst>
                    <a:ext uri="{FF2B5EF4-FFF2-40B4-BE49-F238E27FC236}">
                      <a16:creationId xmlns:a16="http://schemas.microsoft.com/office/drawing/2014/main" id="{88420AC1-C8A3-1E70-6EAE-12DFAC0BA7FB}"/>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4" name="Freeform: Shape 16463">
                  <a:extLst>
                    <a:ext uri="{FF2B5EF4-FFF2-40B4-BE49-F238E27FC236}">
                      <a16:creationId xmlns:a16="http://schemas.microsoft.com/office/drawing/2014/main" id="{2365EED2-C568-8324-062A-920FDDC97F0D}"/>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0" name="Graphic 1393">
                <a:extLst>
                  <a:ext uri="{FF2B5EF4-FFF2-40B4-BE49-F238E27FC236}">
                    <a16:creationId xmlns:a16="http://schemas.microsoft.com/office/drawing/2014/main" id="{97D52A51-53F3-8797-9338-C1536D95CF31}"/>
                  </a:ext>
                </a:extLst>
              </p:cNvPr>
              <p:cNvGrpSpPr/>
              <p:nvPr/>
            </p:nvGrpSpPr>
            <p:grpSpPr>
              <a:xfrm>
                <a:off x="7757159" y="3949446"/>
                <a:ext cx="75723" cy="75723"/>
                <a:chOff x="7757159" y="3949446"/>
                <a:chExt cx="75723" cy="75723"/>
              </a:xfrm>
            </p:grpSpPr>
            <p:sp>
              <p:nvSpPr>
                <p:cNvPr id="16461" name="Freeform: Shape 16460">
                  <a:extLst>
                    <a:ext uri="{FF2B5EF4-FFF2-40B4-BE49-F238E27FC236}">
                      <a16:creationId xmlns:a16="http://schemas.microsoft.com/office/drawing/2014/main" id="{3F8A1F7C-CF25-E780-19EF-A140A6A754D1}"/>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2" name="Freeform: Shape 16461">
                  <a:extLst>
                    <a:ext uri="{FF2B5EF4-FFF2-40B4-BE49-F238E27FC236}">
                      <a16:creationId xmlns:a16="http://schemas.microsoft.com/office/drawing/2014/main" id="{9D3EAA3F-B008-EEF5-F1A1-D1EA13BDBBFB}"/>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1" name="Graphic 1393">
                <a:extLst>
                  <a:ext uri="{FF2B5EF4-FFF2-40B4-BE49-F238E27FC236}">
                    <a16:creationId xmlns:a16="http://schemas.microsoft.com/office/drawing/2014/main" id="{6C6313E7-FBC6-CA56-87F1-DC9E460CF416}"/>
                  </a:ext>
                </a:extLst>
              </p:cNvPr>
              <p:cNvGrpSpPr/>
              <p:nvPr/>
            </p:nvGrpSpPr>
            <p:grpSpPr>
              <a:xfrm>
                <a:off x="7769923" y="3949446"/>
                <a:ext cx="75723" cy="75723"/>
                <a:chOff x="7769923" y="3949446"/>
                <a:chExt cx="75723" cy="75723"/>
              </a:xfrm>
            </p:grpSpPr>
            <p:sp>
              <p:nvSpPr>
                <p:cNvPr id="16459" name="Freeform: Shape 16458">
                  <a:extLst>
                    <a:ext uri="{FF2B5EF4-FFF2-40B4-BE49-F238E27FC236}">
                      <a16:creationId xmlns:a16="http://schemas.microsoft.com/office/drawing/2014/main" id="{6E2FA9D1-66CF-541B-4842-59C796BFF766}"/>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0" name="Freeform: Shape 16459">
                  <a:extLst>
                    <a:ext uri="{FF2B5EF4-FFF2-40B4-BE49-F238E27FC236}">
                      <a16:creationId xmlns:a16="http://schemas.microsoft.com/office/drawing/2014/main" id="{48B3BBA6-E5B4-9334-3679-604604F8A639}"/>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2" name="Graphic 1393">
                <a:extLst>
                  <a:ext uri="{FF2B5EF4-FFF2-40B4-BE49-F238E27FC236}">
                    <a16:creationId xmlns:a16="http://schemas.microsoft.com/office/drawing/2014/main" id="{85EBC487-7191-0B72-5A32-7E5A4A574374}"/>
                  </a:ext>
                </a:extLst>
              </p:cNvPr>
              <p:cNvGrpSpPr/>
              <p:nvPr/>
            </p:nvGrpSpPr>
            <p:grpSpPr>
              <a:xfrm>
                <a:off x="7732108" y="3897153"/>
                <a:ext cx="75723" cy="75723"/>
                <a:chOff x="7732108" y="3897153"/>
                <a:chExt cx="75723" cy="75723"/>
              </a:xfrm>
            </p:grpSpPr>
            <p:sp>
              <p:nvSpPr>
                <p:cNvPr id="16457" name="Freeform: Shape 16456">
                  <a:extLst>
                    <a:ext uri="{FF2B5EF4-FFF2-40B4-BE49-F238E27FC236}">
                      <a16:creationId xmlns:a16="http://schemas.microsoft.com/office/drawing/2014/main" id="{E980C212-C6DB-E178-3EAC-2015D38DEDC5}"/>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8" name="Freeform: Shape 16457">
                  <a:extLst>
                    <a:ext uri="{FF2B5EF4-FFF2-40B4-BE49-F238E27FC236}">
                      <a16:creationId xmlns:a16="http://schemas.microsoft.com/office/drawing/2014/main" id="{4EAB0F66-A76F-7616-D387-8800358A05F4}"/>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3" name="Graphic 1393">
                <a:extLst>
                  <a:ext uri="{FF2B5EF4-FFF2-40B4-BE49-F238E27FC236}">
                    <a16:creationId xmlns:a16="http://schemas.microsoft.com/office/drawing/2014/main" id="{869B0FA8-3185-E173-D2AA-73D821DFA6EA}"/>
                  </a:ext>
                </a:extLst>
              </p:cNvPr>
              <p:cNvGrpSpPr/>
              <p:nvPr/>
            </p:nvGrpSpPr>
            <p:grpSpPr>
              <a:xfrm>
                <a:off x="7708486" y="3897153"/>
                <a:ext cx="75628" cy="75723"/>
                <a:chOff x="7708486" y="3897153"/>
                <a:chExt cx="75628" cy="75723"/>
              </a:xfrm>
            </p:grpSpPr>
            <p:sp>
              <p:nvSpPr>
                <p:cNvPr id="16455" name="Freeform: Shape 16454">
                  <a:extLst>
                    <a:ext uri="{FF2B5EF4-FFF2-40B4-BE49-F238E27FC236}">
                      <a16:creationId xmlns:a16="http://schemas.microsoft.com/office/drawing/2014/main" id="{42726E57-B8AD-7DA2-2143-C05B9777062A}"/>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6" name="Freeform: Shape 16455">
                  <a:extLst>
                    <a:ext uri="{FF2B5EF4-FFF2-40B4-BE49-F238E27FC236}">
                      <a16:creationId xmlns:a16="http://schemas.microsoft.com/office/drawing/2014/main" id="{4E415547-32A6-F16A-F6E7-22DD8E5BB20C}"/>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4" name="Graphic 1393">
                <a:extLst>
                  <a:ext uri="{FF2B5EF4-FFF2-40B4-BE49-F238E27FC236}">
                    <a16:creationId xmlns:a16="http://schemas.microsoft.com/office/drawing/2014/main" id="{974FB310-7368-258E-16BA-3358603FDB70}"/>
                  </a:ext>
                </a:extLst>
              </p:cNvPr>
              <p:cNvGrpSpPr/>
              <p:nvPr/>
            </p:nvGrpSpPr>
            <p:grpSpPr>
              <a:xfrm>
                <a:off x="7427213" y="3851719"/>
                <a:ext cx="75628" cy="75723"/>
                <a:chOff x="7427213" y="3851719"/>
                <a:chExt cx="75628" cy="75723"/>
              </a:xfrm>
            </p:grpSpPr>
            <p:sp>
              <p:nvSpPr>
                <p:cNvPr id="16453" name="Freeform: Shape 16452">
                  <a:extLst>
                    <a:ext uri="{FF2B5EF4-FFF2-40B4-BE49-F238E27FC236}">
                      <a16:creationId xmlns:a16="http://schemas.microsoft.com/office/drawing/2014/main" id="{BE777EBB-8E07-1A66-5DDE-431D95055809}"/>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4" name="Freeform: Shape 16453">
                  <a:extLst>
                    <a:ext uri="{FF2B5EF4-FFF2-40B4-BE49-F238E27FC236}">
                      <a16:creationId xmlns:a16="http://schemas.microsoft.com/office/drawing/2014/main" id="{F312E95E-A063-1678-8C7F-197016677A89}"/>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5" name="Graphic 1393">
                <a:extLst>
                  <a:ext uri="{FF2B5EF4-FFF2-40B4-BE49-F238E27FC236}">
                    <a16:creationId xmlns:a16="http://schemas.microsoft.com/office/drawing/2014/main" id="{EF615D17-F2DF-A479-D54B-E2B29D6C4A03}"/>
                  </a:ext>
                </a:extLst>
              </p:cNvPr>
              <p:cNvGrpSpPr/>
              <p:nvPr/>
            </p:nvGrpSpPr>
            <p:grpSpPr>
              <a:xfrm>
                <a:off x="7367968" y="3813905"/>
                <a:ext cx="75723" cy="75723"/>
                <a:chOff x="7367968" y="3813905"/>
                <a:chExt cx="75723" cy="75723"/>
              </a:xfrm>
            </p:grpSpPr>
            <p:sp>
              <p:nvSpPr>
                <p:cNvPr id="16451" name="Freeform: Shape 16450">
                  <a:extLst>
                    <a:ext uri="{FF2B5EF4-FFF2-40B4-BE49-F238E27FC236}">
                      <a16:creationId xmlns:a16="http://schemas.microsoft.com/office/drawing/2014/main" id="{541CF4C8-A371-C073-18B1-323FA053A1E1}"/>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2" name="Freeform: Shape 16451">
                  <a:extLst>
                    <a:ext uri="{FF2B5EF4-FFF2-40B4-BE49-F238E27FC236}">
                      <a16:creationId xmlns:a16="http://schemas.microsoft.com/office/drawing/2014/main" id="{056D85D0-CC8F-E00A-7B79-C962F5D221FC}"/>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6" name="Graphic 1393">
                <a:extLst>
                  <a:ext uri="{FF2B5EF4-FFF2-40B4-BE49-F238E27FC236}">
                    <a16:creationId xmlns:a16="http://schemas.microsoft.com/office/drawing/2014/main" id="{2EB7C793-2EE7-109A-165D-6800979C9E7A}"/>
                  </a:ext>
                </a:extLst>
              </p:cNvPr>
              <p:cNvGrpSpPr/>
              <p:nvPr/>
            </p:nvGrpSpPr>
            <p:grpSpPr>
              <a:xfrm>
                <a:off x="7235475" y="3748659"/>
                <a:ext cx="75628" cy="75723"/>
                <a:chOff x="7235475" y="3748659"/>
                <a:chExt cx="75628" cy="75723"/>
              </a:xfrm>
            </p:grpSpPr>
            <p:sp>
              <p:nvSpPr>
                <p:cNvPr id="16449" name="Freeform: Shape 16448">
                  <a:extLst>
                    <a:ext uri="{FF2B5EF4-FFF2-40B4-BE49-F238E27FC236}">
                      <a16:creationId xmlns:a16="http://schemas.microsoft.com/office/drawing/2014/main" id="{3DD6504B-728C-5769-6655-1F77EEE51601}"/>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0" name="Freeform: Shape 16449">
                  <a:extLst>
                    <a:ext uri="{FF2B5EF4-FFF2-40B4-BE49-F238E27FC236}">
                      <a16:creationId xmlns:a16="http://schemas.microsoft.com/office/drawing/2014/main" id="{D279BB66-F028-37A6-9778-199369917F44}"/>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7" name="Graphic 1393">
                <a:extLst>
                  <a:ext uri="{FF2B5EF4-FFF2-40B4-BE49-F238E27FC236}">
                    <a16:creationId xmlns:a16="http://schemas.microsoft.com/office/drawing/2014/main" id="{79A080A6-57BA-7903-D487-3DDB994E55D3}"/>
                  </a:ext>
                </a:extLst>
              </p:cNvPr>
              <p:cNvGrpSpPr/>
              <p:nvPr/>
            </p:nvGrpSpPr>
            <p:grpSpPr>
              <a:xfrm>
                <a:off x="7284624" y="3748659"/>
                <a:ext cx="75628" cy="75723"/>
                <a:chOff x="7284624" y="3748659"/>
                <a:chExt cx="75628" cy="75723"/>
              </a:xfrm>
            </p:grpSpPr>
            <p:sp>
              <p:nvSpPr>
                <p:cNvPr id="16319" name="Freeform: Shape 16318">
                  <a:extLst>
                    <a:ext uri="{FF2B5EF4-FFF2-40B4-BE49-F238E27FC236}">
                      <a16:creationId xmlns:a16="http://schemas.microsoft.com/office/drawing/2014/main" id="{7E253142-03C6-F26E-8A00-E15176A67DCF}"/>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8" name="Freeform: Shape 16447">
                  <a:extLst>
                    <a:ext uri="{FF2B5EF4-FFF2-40B4-BE49-F238E27FC236}">
                      <a16:creationId xmlns:a16="http://schemas.microsoft.com/office/drawing/2014/main" id="{03979E82-6B2D-9217-03DA-15DE158819F1}"/>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8" name="Graphic 1393">
                <a:extLst>
                  <a:ext uri="{FF2B5EF4-FFF2-40B4-BE49-F238E27FC236}">
                    <a16:creationId xmlns:a16="http://schemas.microsoft.com/office/drawing/2014/main" id="{484D7307-AE74-50D7-D894-EEAD8597900A}"/>
                  </a:ext>
                </a:extLst>
              </p:cNvPr>
              <p:cNvGrpSpPr/>
              <p:nvPr/>
            </p:nvGrpSpPr>
            <p:grpSpPr>
              <a:xfrm>
                <a:off x="7023163" y="3695128"/>
                <a:ext cx="75723" cy="75723"/>
                <a:chOff x="7023163" y="3695128"/>
                <a:chExt cx="75723" cy="75723"/>
              </a:xfrm>
            </p:grpSpPr>
            <p:sp>
              <p:nvSpPr>
                <p:cNvPr id="16317" name="Freeform: Shape 16316">
                  <a:extLst>
                    <a:ext uri="{FF2B5EF4-FFF2-40B4-BE49-F238E27FC236}">
                      <a16:creationId xmlns:a16="http://schemas.microsoft.com/office/drawing/2014/main" id="{A940B0CE-1F95-BE92-2F72-01605FDF235F}"/>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8" name="Freeform: Shape 16317">
                  <a:extLst>
                    <a:ext uri="{FF2B5EF4-FFF2-40B4-BE49-F238E27FC236}">
                      <a16:creationId xmlns:a16="http://schemas.microsoft.com/office/drawing/2014/main" id="{1E00838A-ED90-E492-1219-CEEDD23E8D2A}"/>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9" name="Graphic 1393">
                <a:extLst>
                  <a:ext uri="{FF2B5EF4-FFF2-40B4-BE49-F238E27FC236}">
                    <a16:creationId xmlns:a16="http://schemas.microsoft.com/office/drawing/2014/main" id="{22938EC4-DA10-8073-BD8B-11D994C12DDB}"/>
                  </a:ext>
                </a:extLst>
              </p:cNvPr>
              <p:cNvGrpSpPr/>
              <p:nvPr/>
            </p:nvGrpSpPr>
            <p:grpSpPr>
              <a:xfrm>
                <a:off x="6927532" y="3695128"/>
                <a:ext cx="75628" cy="75723"/>
                <a:chOff x="6927532" y="3695128"/>
                <a:chExt cx="75628" cy="75723"/>
              </a:xfrm>
            </p:grpSpPr>
            <p:sp>
              <p:nvSpPr>
                <p:cNvPr id="16315" name="Freeform: Shape 16314">
                  <a:extLst>
                    <a:ext uri="{FF2B5EF4-FFF2-40B4-BE49-F238E27FC236}">
                      <a16:creationId xmlns:a16="http://schemas.microsoft.com/office/drawing/2014/main" id="{376388A8-129B-752E-C006-EF3B6D4117D0}"/>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6" name="Freeform: Shape 16315">
                  <a:extLst>
                    <a:ext uri="{FF2B5EF4-FFF2-40B4-BE49-F238E27FC236}">
                      <a16:creationId xmlns:a16="http://schemas.microsoft.com/office/drawing/2014/main" id="{0CCD343C-F19D-8B0A-0324-31F5A8AD6ED7}"/>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0" name="Graphic 1393">
                <a:extLst>
                  <a:ext uri="{FF2B5EF4-FFF2-40B4-BE49-F238E27FC236}">
                    <a16:creationId xmlns:a16="http://schemas.microsoft.com/office/drawing/2014/main" id="{29F94754-46D7-DE14-3E47-F03E8B613D3D}"/>
                  </a:ext>
                </a:extLst>
              </p:cNvPr>
              <p:cNvGrpSpPr/>
              <p:nvPr/>
            </p:nvGrpSpPr>
            <p:grpSpPr>
              <a:xfrm>
                <a:off x="6911720" y="3695128"/>
                <a:ext cx="75723" cy="75723"/>
                <a:chOff x="6911720" y="3695128"/>
                <a:chExt cx="75723" cy="75723"/>
              </a:xfrm>
            </p:grpSpPr>
            <p:sp>
              <p:nvSpPr>
                <p:cNvPr id="16313" name="Freeform: Shape 16312">
                  <a:extLst>
                    <a:ext uri="{FF2B5EF4-FFF2-40B4-BE49-F238E27FC236}">
                      <a16:creationId xmlns:a16="http://schemas.microsoft.com/office/drawing/2014/main" id="{A81ADE84-4603-1AFD-6087-EECB9CD1E88A}"/>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4" name="Freeform: Shape 16313">
                  <a:extLst>
                    <a:ext uri="{FF2B5EF4-FFF2-40B4-BE49-F238E27FC236}">
                      <a16:creationId xmlns:a16="http://schemas.microsoft.com/office/drawing/2014/main" id="{C4715E83-4B13-CA53-A0FB-A01D5043406A}"/>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1" name="Graphic 1393">
                <a:extLst>
                  <a:ext uri="{FF2B5EF4-FFF2-40B4-BE49-F238E27FC236}">
                    <a16:creationId xmlns:a16="http://schemas.microsoft.com/office/drawing/2014/main" id="{62A223A7-17EE-FCA2-FB5B-A75F4A7B934C}"/>
                  </a:ext>
                </a:extLst>
              </p:cNvPr>
              <p:cNvGrpSpPr/>
              <p:nvPr/>
            </p:nvGrpSpPr>
            <p:grpSpPr>
              <a:xfrm>
                <a:off x="6839330" y="3669220"/>
                <a:ext cx="75723" cy="75723"/>
                <a:chOff x="6839330" y="3669220"/>
                <a:chExt cx="75723" cy="75723"/>
              </a:xfrm>
            </p:grpSpPr>
            <p:sp>
              <p:nvSpPr>
                <p:cNvPr id="16311" name="Freeform: Shape 16310">
                  <a:extLst>
                    <a:ext uri="{FF2B5EF4-FFF2-40B4-BE49-F238E27FC236}">
                      <a16:creationId xmlns:a16="http://schemas.microsoft.com/office/drawing/2014/main" id="{4D835757-9E3D-2BF1-FC8A-091B0BC761E2}"/>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2" name="Freeform: Shape 16311">
                  <a:extLst>
                    <a:ext uri="{FF2B5EF4-FFF2-40B4-BE49-F238E27FC236}">
                      <a16:creationId xmlns:a16="http://schemas.microsoft.com/office/drawing/2014/main" id="{E9BF514A-D9D3-DC5A-D4C3-4DB0A55158E1}"/>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2" name="Graphic 1393">
                <a:extLst>
                  <a:ext uri="{FF2B5EF4-FFF2-40B4-BE49-F238E27FC236}">
                    <a16:creationId xmlns:a16="http://schemas.microsoft.com/office/drawing/2014/main" id="{F28A1661-75A5-E541-4309-71F5954E2F51}"/>
                  </a:ext>
                </a:extLst>
              </p:cNvPr>
              <p:cNvGrpSpPr/>
              <p:nvPr/>
            </p:nvGrpSpPr>
            <p:grpSpPr>
              <a:xfrm>
                <a:off x="6510337" y="3646170"/>
                <a:ext cx="75723" cy="75628"/>
                <a:chOff x="6510337" y="3646170"/>
                <a:chExt cx="75723" cy="75628"/>
              </a:xfrm>
            </p:grpSpPr>
            <p:sp>
              <p:nvSpPr>
                <p:cNvPr id="16309" name="Freeform: Shape 16308">
                  <a:extLst>
                    <a:ext uri="{FF2B5EF4-FFF2-40B4-BE49-F238E27FC236}">
                      <a16:creationId xmlns:a16="http://schemas.microsoft.com/office/drawing/2014/main" id="{7F5D6D05-767D-EC81-EA7E-5B1204544DE9}"/>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0" name="Freeform: Shape 16309">
                  <a:extLst>
                    <a:ext uri="{FF2B5EF4-FFF2-40B4-BE49-F238E27FC236}">
                      <a16:creationId xmlns:a16="http://schemas.microsoft.com/office/drawing/2014/main" id="{429F3A0C-17F7-C9C8-61BC-7101B55B39DE}"/>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3" name="Graphic 1393">
                <a:extLst>
                  <a:ext uri="{FF2B5EF4-FFF2-40B4-BE49-F238E27FC236}">
                    <a16:creationId xmlns:a16="http://schemas.microsoft.com/office/drawing/2014/main" id="{561CB606-298C-257E-80BC-757AD2DFA896}"/>
                  </a:ext>
                </a:extLst>
              </p:cNvPr>
              <p:cNvGrpSpPr/>
              <p:nvPr/>
            </p:nvGrpSpPr>
            <p:grpSpPr>
              <a:xfrm>
                <a:off x="6460902" y="3646170"/>
                <a:ext cx="75723" cy="75628"/>
                <a:chOff x="6460902" y="3646170"/>
                <a:chExt cx="75723" cy="75628"/>
              </a:xfrm>
            </p:grpSpPr>
            <p:sp>
              <p:nvSpPr>
                <p:cNvPr id="16307" name="Freeform: Shape 16306">
                  <a:extLst>
                    <a:ext uri="{FF2B5EF4-FFF2-40B4-BE49-F238E27FC236}">
                      <a16:creationId xmlns:a16="http://schemas.microsoft.com/office/drawing/2014/main" id="{C4F859DA-6020-A7D4-6B46-4F730B4D5EBB}"/>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8" name="Freeform: Shape 16307">
                  <a:extLst>
                    <a:ext uri="{FF2B5EF4-FFF2-40B4-BE49-F238E27FC236}">
                      <a16:creationId xmlns:a16="http://schemas.microsoft.com/office/drawing/2014/main" id="{CAC3A3E4-D545-1FE6-3656-1E01A6F6DDF7}"/>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4" name="Graphic 1393">
                <a:extLst>
                  <a:ext uri="{FF2B5EF4-FFF2-40B4-BE49-F238E27FC236}">
                    <a16:creationId xmlns:a16="http://schemas.microsoft.com/office/drawing/2014/main" id="{74F46A2C-5ACF-48DD-5094-710D9AE0C180}"/>
                  </a:ext>
                </a:extLst>
              </p:cNvPr>
              <p:cNvGrpSpPr/>
              <p:nvPr/>
            </p:nvGrpSpPr>
            <p:grpSpPr>
              <a:xfrm>
                <a:off x="6470808" y="3646170"/>
                <a:ext cx="75723" cy="75628"/>
                <a:chOff x="6470808" y="3646170"/>
                <a:chExt cx="75723" cy="75628"/>
              </a:xfrm>
            </p:grpSpPr>
            <p:sp>
              <p:nvSpPr>
                <p:cNvPr id="16305" name="Freeform: Shape 16304">
                  <a:extLst>
                    <a:ext uri="{FF2B5EF4-FFF2-40B4-BE49-F238E27FC236}">
                      <a16:creationId xmlns:a16="http://schemas.microsoft.com/office/drawing/2014/main" id="{0E153B8F-499D-E846-C3EF-27AFB3A41961}"/>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6" name="Freeform: Shape 16305">
                  <a:extLst>
                    <a:ext uri="{FF2B5EF4-FFF2-40B4-BE49-F238E27FC236}">
                      <a16:creationId xmlns:a16="http://schemas.microsoft.com/office/drawing/2014/main" id="{C750C976-911F-E99A-72E3-5E7BAFCA0C03}"/>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5" name="Graphic 1393">
                <a:extLst>
                  <a:ext uri="{FF2B5EF4-FFF2-40B4-BE49-F238E27FC236}">
                    <a16:creationId xmlns:a16="http://schemas.microsoft.com/office/drawing/2014/main" id="{26385058-33C6-0AA7-BB70-DB0FC094C76F}"/>
                  </a:ext>
                </a:extLst>
              </p:cNvPr>
              <p:cNvGrpSpPr/>
              <p:nvPr/>
            </p:nvGrpSpPr>
            <p:grpSpPr>
              <a:xfrm>
                <a:off x="6480714" y="3646170"/>
                <a:ext cx="75723" cy="75628"/>
                <a:chOff x="6480714" y="3646170"/>
                <a:chExt cx="75723" cy="75628"/>
              </a:xfrm>
            </p:grpSpPr>
            <p:sp>
              <p:nvSpPr>
                <p:cNvPr id="16303" name="Freeform: Shape 16302">
                  <a:extLst>
                    <a:ext uri="{FF2B5EF4-FFF2-40B4-BE49-F238E27FC236}">
                      <a16:creationId xmlns:a16="http://schemas.microsoft.com/office/drawing/2014/main" id="{B467C9DA-69BF-7D2A-2021-C6FB1C9B200F}"/>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4" name="Freeform: Shape 16303">
                  <a:extLst>
                    <a:ext uri="{FF2B5EF4-FFF2-40B4-BE49-F238E27FC236}">
                      <a16:creationId xmlns:a16="http://schemas.microsoft.com/office/drawing/2014/main" id="{C193A807-463C-946B-8ED4-D49935AB1A61}"/>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6" name="Graphic 1393">
                <a:extLst>
                  <a:ext uri="{FF2B5EF4-FFF2-40B4-BE49-F238E27FC236}">
                    <a16:creationId xmlns:a16="http://schemas.microsoft.com/office/drawing/2014/main" id="{E68D67BC-01D3-DB41-4D7B-7BEB914A4C3D}"/>
                  </a:ext>
                </a:extLst>
              </p:cNvPr>
              <p:cNvGrpSpPr/>
              <p:nvPr/>
            </p:nvGrpSpPr>
            <p:grpSpPr>
              <a:xfrm>
                <a:off x="6490620" y="3646170"/>
                <a:ext cx="75628" cy="75628"/>
                <a:chOff x="6490620" y="3646170"/>
                <a:chExt cx="75628" cy="75628"/>
              </a:xfrm>
            </p:grpSpPr>
            <p:sp>
              <p:nvSpPr>
                <p:cNvPr id="16301" name="Freeform: Shape 16300">
                  <a:extLst>
                    <a:ext uri="{FF2B5EF4-FFF2-40B4-BE49-F238E27FC236}">
                      <a16:creationId xmlns:a16="http://schemas.microsoft.com/office/drawing/2014/main" id="{C6DEB70C-423E-A7C6-E6DE-0B86D0447306}"/>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2" name="Freeform: Shape 16301">
                  <a:extLst>
                    <a:ext uri="{FF2B5EF4-FFF2-40B4-BE49-F238E27FC236}">
                      <a16:creationId xmlns:a16="http://schemas.microsoft.com/office/drawing/2014/main" id="{D289BF7F-E28C-DF0E-8041-DCF3BAD307D5}"/>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7" name="Graphic 1393">
                <a:extLst>
                  <a:ext uri="{FF2B5EF4-FFF2-40B4-BE49-F238E27FC236}">
                    <a16:creationId xmlns:a16="http://schemas.microsoft.com/office/drawing/2014/main" id="{40368706-C45F-1765-9C40-8DFB774A15D3}"/>
                  </a:ext>
                </a:extLst>
              </p:cNvPr>
              <p:cNvGrpSpPr/>
              <p:nvPr/>
            </p:nvGrpSpPr>
            <p:grpSpPr>
              <a:xfrm>
                <a:off x="6500431" y="3646170"/>
                <a:ext cx="75723" cy="75628"/>
                <a:chOff x="6500431" y="3646170"/>
                <a:chExt cx="75723" cy="75628"/>
              </a:xfrm>
            </p:grpSpPr>
            <p:sp>
              <p:nvSpPr>
                <p:cNvPr id="16299" name="Freeform: Shape 16298">
                  <a:extLst>
                    <a:ext uri="{FF2B5EF4-FFF2-40B4-BE49-F238E27FC236}">
                      <a16:creationId xmlns:a16="http://schemas.microsoft.com/office/drawing/2014/main" id="{9F9E04EC-8266-0387-FC55-418605DF79C0}"/>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0" name="Freeform: Shape 16299">
                  <a:extLst>
                    <a:ext uri="{FF2B5EF4-FFF2-40B4-BE49-F238E27FC236}">
                      <a16:creationId xmlns:a16="http://schemas.microsoft.com/office/drawing/2014/main" id="{8220B839-C696-0B05-9A59-0334A5E0DD95}"/>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8" name="Graphic 1393">
                <a:extLst>
                  <a:ext uri="{FF2B5EF4-FFF2-40B4-BE49-F238E27FC236}">
                    <a16:creationId xmlns:a16="http://schemas.microsoft.com/office/drawing/2014/main" id="{E2FB34A3-8576-B094-F1C9-563557FCEE21}"/>
                  </a:ext>
                </a:extLst>
              </p:cNvPr>
              <p:cNvGrpSpPr/>
              <p:nvPr/>
            </p:nvGrpSpPr>
            <p:grpSpPr>
              <a:xfrm>
                <a:off x="6452139" y="3598449"/>
                <a:ext cx="75723" cy="75628"/>
                <a:chOff x="6452139" y="3598449"/>
                <a:chExt cx="75723" cy="75628"/>
              </a:xfrm>
            </p:grpSpPr>
            <p:sp>
              <p:nvSpPr>
                <p:cNvPr id="16297" name="Freeform: Shape 16296">
                  <a:extLst>
                    <a:ext uri="{FF2B5EF4-FFF2-40B4-BE49-F238E27FC236}">
                      <a16:creationId xmlns:a16="http://schemas.microsoft.com/office/drawing/2014/main" id="{44790FC4-8921-FF78-5561-A11428A29E60}"/>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8" name="Freeform: Shape 16297">
                  <a:extLst>
                    <a:ext uri="{FF2B5EF4-FFF2-40B4-BE49-F238E27FC236}">
                      <a16:creationId xmlns:a16="http://schemas.microsoft.com/office/drawing/2014/main" id="{883F3A66-C710-E8DC-BD21-4DD7D5D5B90F}"/>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9" name="Graphic 1393">
                <a:extLst>
                  <a:ext uri="{FF2B5EF4-FFF2-40B4-BE49-F238E27FC236}">
                    <a16:creationId xmlns:a16="http://schemas.microsoft.com/office/drawing/2014/main" id="{7FEB2C60-0466-E176-C9BD-0F0B5E81CB9A}"/>
                  </a:ext>
                </a:extLst>
              </p:cNvPr>
              <p:cNvGrpSpPr/>
              <p:nvPr/>
            </p:nvGrpSpPr>
            <p:grpSpPr>
              <a:xfrm>
                <a:off x="6402704" y="3598449"/>
                <a:ext cx="75723" cy="75628"/>
                <a:chOff x="6402704" y="3598449"/>
                <a:chExt cx="75723" cy="75628"/>
              </a:xfrm>
            </p:grpSpPr>
            <p:sp>
              <p:nvSpPr>
                <p:cNvPr id="16295" name="Freeform: Shape 16294">
                  <a:extLst>
                    <a:ext uri="{FF2B5EF4-FFF2-40B4-BE49-F238E27FC236}">
                      <a16:creationId xmlns:a16="http://schemas.microsoft.com/office/drawing/2014/main" id="{B02993E2-07DA-D0A7-4951-CBEBB0D0B6BC}"/>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6" name="Freeform: Shape 16295">
                  <a:extLst>
                    <a:ext uri="{FF2B5EF4-FFF2-40B4-BE49-F238E27FC236}">
                      <a16:creationId xmlns:a16="http://schemas.microsoft.com/office/drawing/2014/main" id="{1A97BD95-38A5-3615-D4F9-5BBBB3E1DD7B}"/>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0" name="Graphic 1393">
                <a:extLst>
                  <a:ext uri="{FF2B5EF4-FFF2-40B4-BE49-F238E27FC236}">
                    <a16:creationId xmlns:a16="http://schemas.microsoft.com/office/drawing/2014/main" id="{7407D21A-C9DE-2F1A-246C-5CF9EA423DDF}"/>
                  </a:ext>
                </a:extLst>
              </p:cNvPr>
              <p:cNvGrpSpPr/>
              <p:nvPr/>
            </p:nvGrpSpPr>
            <p:grpSpPr>
              <a:xfrm>
                <a:off x="6256876" y="3598449"/>
                <a:ext cx="75723" cy="75628"/>
                <a:chOff x="6256876" y="3598449"/>
                <a:chExt cx="75723" cy="75628"/>
              </a:xfrm>
            </p:grpSpPr>
            <p:sp>
              <p:nvSpPr>
                <p:cNvPr id="16293" name="Freeform: Shape 16292">
                  <a:extLst>
                    <a:ext uri="{FF2B5EF4-FFF2-40B4-BE49-F238E27FC236}">
                      <a16:creationId xmlns:a16="http://schemas.microsoft.com/office/drawing/2014/main" id="{9A931A51-32AA-D212-6F57-4433C325CC5D}"/>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4" name="Freeform: Shape 16293">
                  <a:extLst>
                    <a:ext uri="{FF2B5EF4-FFF2-40B4-BE49-F238E27FC236}">
                      <a16:creationId xmlns:a16="http://schemas.microsoft.com/office/drawing/2014/main" id="{FAC51492-1F8B-E927-1140-9A8FBA84CE99}"/>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1" name="Graphic 1393">
                <a:extLst>
                  <a:ext uri="{FF2B5EF4-FFF2-40B4-BE49-F238E27FC236}">
                    <a16:creationId xmlns:a16="http://schemas.microsoft.com/office/drawing/2014/main" id="{B6A23025-D8FF-E8AC-B912-AA0213E18A68}"/>
                  </a:ext>
                </a:extLst>
              </p:cNvPr>
              <p:cNvGrpSpPr/>
              <p:nvPr/>
            </p:nvGrpSpPr>
            <p:grpSpPr>
              <a:xfrm>
                <a:off x="6239827" y="3598449"/>
                <a:ext cx="75723" cy="75628"/>
                <a:chOff x="6239827" y="3598449"/>
                <a:chExt cx="75723" cy="75628"/>
              </a:xfrm>
            </p:grpSpPr>
            <p:sp>
              <p:nvSpPr>
                <p:cNvPr id="16291" name="Freeform: Shape 16290">
                  <a:extLst>
                    <a:ext uri="{FF2B5EF4-FFF2-40B4-BE49-F238E27FC236}">
                      <a16:creationId xmlns:a16="http://schemas.microsoft.com/office/drawing/2014/main" id="{B12794CC-4806-B030-CEA9-CAE6C1B2F1CC}"/>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2" name="Freeform: Shape 16291">
                  <a:extLst>
                    <a:ext uri="{FF2B5EF4-FFF2-40B4-BE49-F238E27FC236}">
                      <a16:creationId xmlns:a16="http://schemas.microsoft.com/office/drawing/2014/main" id="{E980615C-03DC-21D3-788A-0135ED594CFC}"/>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2" name="Graphic 1393">
                <a:extLst>
                  <a:ext uri="{FF2B5EF4-FFF2-40B4-BE49-F238E27FC236}">
                    <a16:creationId xmlns:a16="http://schemas.microsoft.com/office/drawing/2014/main" id="{D0AF5623-A173-A981-A902-1EECB8995693}"/>
                  </a:ext>
                </a:extLst>
              </p:cNvPr>
              <p:cNvGrpSpPr/>
              <p:nvPr/>
            </p:nvGrpSpPr>
            <p:grpSpPr>
              <a:xfrm>
                <a:off x="6193059" y="3598449"/>
                <a:ext cx="75628" cy="75628"/>
                <a:chOff x="6193059" y="3598449"/>
                <a:chExt cx="75628" cy="75628"/>
              </a:xfrm>
            </p:grpSpPr>
            <p:sp>
              <p:nvSpPr>
                <p:cNvPr id="16289" name="Freeform: Shape 16288">
                  <a:extLst>
                    <a:ext uri="{FF2B5EF4-FFF2-40B4-BE49-F238E27FC236}">
                      <a16:creationId xmlns:a16="http://schemas.microsoft.com/office/drawing/2014/main" id="{9B7ACF49-6A1D-AF64-2B07-99A31837FBD9}"/>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0" name="Freeform: Shape 16289">
                  <a:extLst>
                    <a:ext uri="{FF2B5EF4-FFF2-40B4-BE49-F238E27FC236}">
                      <a16:creationId xmlns:a16="http://schemas.microsoft.com/office/drawing/2014/main" id="{A741E54C-9339-38EE-2636-E46C4445C98C}"/>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3" name="Graphic 1393">
                <a:extLst>
                  <a:ext uri="{FF2B5EF4-FFF2-40B4-BE49-F238E27FC236}">
                    <a16:creationId xmlns:a16="http://schemas.microsoft.com/office/drawing/2014/main" id="{BCCEF125-5AB1-3CEC-A500-9782CBDE2AA7}"/>
                  </a:ext>
                </a:extLst>
              </p:cNvPr>
              <p:cNvGrpSpPr/>
              <p:nvPr/>
            </p:nvGrpSpPr>
            <p:grpSpPr>
              <a:xfrm>
                <a:off x="6090284" y="3598449"/>
                <a:ext cx="75723" cy="75628"/>
                <a:chOff x="6090284" y="3598449"/>
                <a:chExt cx="75723" cy="75628"/>
              </a:xfrm>
            </p:grpSpPr>
            <p:sp>
              <p:nvSpPr>
                <p:cNvPr id="16287" name="Freeform: Shape 16286">
                  <a:extLst>
                    <a:ext uri="{FF2B5EF4-FFF2-40B4-BE49-F238E27FC236}">
                      <a16:creationId xmlns:a16="http://schemas.microsoft.com/office/drawing/2014/main" id="{CA19DFA5-F3D8-D63F-21F6-7A643BAA582B}"/>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8" name="Freeform: Shape 16287">
                  <a:extLst>
                    <a:ext uri="{FF2B5EF4-FFF2-40B4-BE49-F238E27FC236}">
                      <a16:creationId xmlns:a16="http://schemas.microsoft.com/office/drawing/2014/main" id="{1896BB6B-ECB4-564E-5092-99669148F3F8}"/>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4" name="Graphic 1393">
                <a:extLst>
                  <a:ext uri="{FF2B5EF4-FFF2-40B4-BE49-F238E27FC236}">
                    <a16:creationId xmlns:a16="http://schemas.microsoft.com/office/drawing/2014/main" id="{6E78CF3B-86F1-2452-BD91-CA25E1C94DF1}"/>
                  </a:ext>
                </a:extLst>
              </p:cNvPr>
              <p:cNvGrpSpPr/>
              <p:nvPr/>
            </p:nvGrpSpPr>
            <p:grpSpPr>
              <a:xfrm>
                <a:off x="6076949" y="3598449"/>
                <a:ext cx="75723" cy="75628"/>
                <a:chOff x="6076949" y="3598449"/>
                <a:chExt cx="75723" cy="75628"/>
              </a:xfrm>
            </p:grpSpPr>
            <p:sp>
              <p:nvSpPr>
                <p:cNvPr id="16285" name="Freeform: Shape 16284">
                  <a:extLst>
                    <a:ext uri="{FF2B5EF4-FFF2-40B4-BE49-F238E27FC236}">
                      <a16:creationId xmlns:a16="http://schemas.microsoft.com/office/drawing/2014/main" id="{94DEA315-5C5F-4059-22B2-7DF4542F136E}"/>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6" name="Freeform: Shape 16285">
                  <a:extLst>
                    <a:ext uri="{FF2B5EF4-FFF2-40B4-BE49-F238E27FC236}">
                      <a16:creationId xmlns:a16="http://schemas.microsoft.com/office/drawing/2014/main" id="{BC4E2FE8-C768-08F6-9042-42874580ED9D}"/>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5" name="Graphic 1393">
                <a:extLst>
                  <a:ext uri="{FF2B5EF4-FFF2-40B4-BE49-F238E27FC236}">
                    <a16:creationId xmlns:a16="http://schemas.microsoft.com/office/drawing/2014/main" id="{25970EA0-EDF1-4DDE-A1F0-644C7C108473}"/>
                  </a:ext>
                </a:extLst>
              </p:cNvPr>
              <p:cNvGrpSpPr/>
              <p:nvPr/>
            </p:nvGrpSpPr>
            <p:grpSpPr>
              <a:xfrm>
                <a:off x="5979032" y="3475291"/>
                <a:ext cx="75628" cy="75723"/>
                <a:chOff x="5979032" y="3475291"/>
                <a:chExt cx="75628" cy="75723"/>
              </a:xfrm>
            </p:grpSpPr>
            <p:sp>
              <p:nvSpPr>
                <p:cNvPr id="16283" name="Freeform: Shape 16282">
                  <a:extLst>
                    <a:ext uri="{FF2B5EF4-FFF2-40B4-BE49-F238E27FC236}">
                      <a16:creationId xmlns:a16="http://schemas.microsoft.com/office/drawing/2014/main" id="{1AA56A22-719E-619D-A104-780C15588C30}"/>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4" name="Freeform: Shape 16283">
                  <a:extLst>
                    <a:ext uri="{FF2B5EF4-FFF2-40B4-BE49-F238E27FC236}">
                      <a16:creationId xmlns:a16="http://schemas.microsoft.com/office/drawing/2014/main" id="{24BF76D6-75CD-0354-F91F-625EFECBB559}"/>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6" name="Graphic 1393">
                <a:extLst>
                  <a:ext uri="{FF2B5EF4-FFF2-40B4-BE49-F238E27FC236}">
                    <a16:creationId xmlns:a16="http://schemas.microsoft.com/office/drawing/2014/main" id="{BD423C0A-98E2-953B-46E2-B9785C152E8C}"/>
                  </a:ext>
                </a:extLst>
              </p:cNvPr>
              <p:cNvGrpSpPr/>
              <p:nvPr/>
            </p:nvGrpSpPr>
            <p:grpSpPr>
              <a:xfrm>
                <a:off x="5727953" y="3446907"/>
                <a:ext cx="75628" cy="75628"/>
                <a:chOff x="5727953" y="3446907"/>
                <a:chExt cx="75628" cy="75628"/>
              </a:xfrm>
            </p:grpSpPr>
            <p:sp>
              <p:nvSpPr>
                <p:cNvPr id="16281" name="Freeform: Shape 16280">
                  <a:extLst>
                    <a:ext uri="{FF2B5EF4-FFF2-40B4-BE49-F238E27FC236}">
                      <a16:creationId xmlns:a16="http://schemas.microsoft.com/office/drawing/2014/main" id="{BEA4E052-1FD1-505F-FA8E-38529BFA5579}"/>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2" name="Freeform: Shape 16281">
                  <a:extLst>
                    <a:ext uri="{FF2B5EF4-FFF2-40B4-BE49-F238E27FC236}">
                      <a16:creationId xmlns:a16="http://schemas.microsoft.com/office/drawing/2014/main" id="{8B9C8569-EC96-D2F2-C48E-FCF713F6FEE7}"/>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7" name="Graphic 1393">
                <a:extLst>
                  <a:ext uri="{FF2B5EF4-FFF2-40B4-BE49-F238E27FC236}">
                    <a16:creationId xmlns:a16="http://schemas.microsoft.com/office/drawing/2014/main" id="{FE45D589-B093-EFC6-940C-1009ECF343F3}"/>
                  </a:ext>
                </a:extLst>
              </p:cNvPr>
              <p:cNvGrpSpPr/>
              <p:nvPr/>
            </p:nvGrpSpPr>
            <p:grpSpPr>
              <a:xfrm>
                <a:off x="5503544" y="3315557"/>
                <a:ext cx="75723" cy="75723"/>
                <a:chOff x="5503544" y="3315557"/>
                <a:chExt cx="75723" cy="75723"/>
              </a:xfrm>
            </p:grpSpPr>
            <p:sp>
              <p:nvSpPr>
                <p:cNvPr id="16278" name="Freeform: Shape 16277">
                  <a:extLst>
                    <a:ext uri="{FF2B5EF4-FFF2-40B4-BE49-F238E27FC236}">
                      <a16:creationId xmlns:a16="http://schemas.microsoft.com/office/drawing/2014/main" id="{C86E84EF-5F89-F138-729B-1648C29C11F8}"/>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0" name="Freeform: Shape 16279">
                  <a:extLst>
                    <a:ext uri="{FF2B5EF4-FFF2-40B4-BE49-F238E27FC236}">
                      <a16:creationId xmlns:a16="http://schemas.microsoft.com/office/drawing/2014/main" id="{085A487D-44C2-2EC9-28BB-3E61B2CF2CC6}"/>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8" name="Graphic 1393">
                <a:extLst>
                  <a:ext uri="{FF2B5EF4-FFF2-40B4-BE49-F238E27FC236}">
                    <a16:creationId xmlns:a16="http://schemas.microsoft.com/office/drawing/2014/main" id="{73CDEC8D-003B-CC6E-7F64-1614DD87D031}"/>
                  </a:ext>
                </a:extLst>
              </p:cNvPr>
              <p:cNvGrpSpPr/>
              <p:nvPr/>
            </p:nvGrpSpPr>
            <p:grpSpPr>
              <a:xfrm>
                <a:off x="5335428" y="3264884"/>
                <a:ext cx="75723" cy="75628"/>
                <a:chOff x="5335428" y="3264884"/>
                <a:chExt cx="75723" cy="75628"/>
              </a:xfrm>
            </p:grpSpPr>
            <p:sp>
              <p:nvSpPr>
                <p:cNvPr id="15965" name="Freeform: Shape 15964">
                  <a:extLst>
                    <a:ext uri="{FF2B5EF4-FFF2-40B4-BE49-F238E27FC236}">
                      <a16:creationId xmlns:a16="http://schemas.microsoft.com/office/drawing/2014/main" id="{BFB2525D-7FD4-4DD9-065B-5DCD0D0520AE}"/>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6" name="Freeform: Shape 15965">
                  <a:extLst>
                    <a:ext uri="{FF2B5EF4-FFF2-40B4-BE49-F238E27FC236}">
                      <a16:creationId xmlns:a16="http://schemas.microsoft.com/office/drawing/2014/main" id="{0D692DAF-7BF6-17C4-6A33-881A85B3D13A}"/>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9" name="Graphic 1393">
                <a:extLst>
                  <a:ext uri="{FF2B5EF4-FFF2-40B4-BE49-F238E27FC236}">
                    <a16:creationId xmlns:a16="http://schemas.microsoft.com/office/drawing/2014/main" id="{A9F4F49B-7988-4D20-E9E1-89E22F466174}"/>
                  </a:ext>
                </a:extLst>
              </p:cNvPr>
              <p:cNvGrpSpPr/>
              <p:nvPr/>
            </p:nvGrpSpPr>
            <p:grpSpPr>
              <a:xfrm>
                <a:off x="5266181" y="3264884"/>
                <a:ext cx="75628" cy="75628"/>
                <a:chOff x="5266181" y="3264884"/>
                <a:chExt cx="75628" cy="75628"/>
              </a:xfrm>
            </p:grpSpPr>
            <p:sp>
              <p:nvSpPr>
                <p:cNvPr id="15963" name="Freeform: Shape 15962">
                  <a:extLst>
                    <a:ext uri="{FF2B5EF4-FFF2-40B4-BE49-F238E27FC236}">
                      <a16:creationId xmlns:a16="http://schemas.microsoft.com/office/drawing/2014/main" id="{B910D04F-71FB-BE9E-6603-9B657200AE19}"/>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4" name="Freeform: Shape 15963">
                  <a:extLst>
                    <a:ext uri="{FF2B5EF4-FFF2-40B4-BE49-F238E27FC236}">
                      <a16:creationId xmlns:a16="http://schemas.microsoft.com/office/drawing/2014/main" id="{FB67FEE8-AE4C-1438-1C5A-108B24DCC08E}"/>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0" name="Graphic 1393">
                <a:extLst>
                  <a:ext uri="{FF2B5EF4-FFF2-40B4-BE49-F238E27FC236}">
                    <a16:creationId xmlns:a16="http://schemas.microsoft.com/office/drawing/2014/main" id="{3698EBFE-DE59-1A0B-EAAA-02B84C0A4C19}"/>
                  </a:ext>
                </a:extLst>
              </p:cNvPr>
              <p:cNvGrpSpPr/>
              <p:nvPr/>
            </p:nvGrpSpPr>
            <p:grpSpPr>
              <a:xfrm>
                <a:off x="5051678" y="3139916"/>
                <a:ext cx="75723" cy="75723"/>
                <a:chOff x="5051678" y="3139916"/>
                <a:chExt cx="75723" cy="75723"/>
              </a:xfrm>
            </p:grpSpPr>
            <p:sp>
              <p:nvSpPr>
                <p:cNvPr id="15961" name="Freeform: Shape 15960">
                  <a:extLst>
                    <a:ext uri="{FF2B5EF4-FFF2-40B4-BE49-F238E27FC236}">
                      <a16:creationId xmlns:a16="http://schemas.microsoft.com/office/drawing/2014/main" id="{265EEF4A-A234-669D-B515-62E9EF197E5A}"/>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2" name="Freeform: Shape 15961">
                  <a:extLst>
                    <a:ext uri="{FF2B5EF4-FFF2-40B4-BE49-F238E27FC236}">
                      <a16:creationId xmlns:a16="http://schemas.microsoft.com/office/drawing/2014/main" id="{D0397D88-02C0-759A-2720-2ADD4880F060}"/>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1" name="Graphic 1393">
                <a:extLst>
                  <a:ext uri="{FF2B5EF4-FFF2-40B4-BE49-F238E27FC236}">
                    <a16:creationId xmlns:a16="http://schemas.microsoft.com/office/drawing/2014/main" id="{1EC069D4-3308-C2F5-E629-34C76E25337A}"/>
                  </a:ext>
                </a:extLst>
              </p:cNvPr>
              <p:cNvGrpSpPr/>
              <p:nvPr/>
            </p:nvGrpSpPr>
            <p:grpSpPr>
              <a:xfrm>
                <a:off x="4771834" y="3080289"/>
                <a:ext cx="75723" cy="75723"/>
                <a:chOff x="4771834" y="3080289"/>
                <a:chExt cx="75723" cy="75723"/>
              </a:xfrm>
            </p:grpSpPr>
            <p:sp>
              <p:nvSpPr>
                <p:cNvPr id="15959" name="Freeform: Shape 15958">
                  <a:extLst>
                    <a:ext uri="{FF2B5EF4-FFF2-40B4-BE49-F238E27FC236}">
                      <a16:creationId xmlns:a16="http://schemas.microsoft.com/office/drawing/2014/main" id="{C732084C-2B52-FF98-CCC7-3E522B22A39E}"/>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0" name="Freeform: Shape 15959">
                  <a:extLst>
                    <a:ext uri="{FF2B5EF4-FFF2-40B4-BE49-F238E27FC236}">
                      <a16:creationId xmlns:a16="http://schemas.microsoft.com/office/drawing/2014/main" id="{7D8FBD06-2B2B-1FE1-A9B1-4ED9630F02E1}"/>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2" name="Graphic 1393">
                <a:extLst>
                  <a:ext uri="{FF2B5EF4-FFF2-40B4-BE49-F238E27FC236}">
                    <a16:creationId xmlns:a16="http://schemas.microsoft.com/office/drawing/2014/main" id="{17417BEA-0502-EAD9-B433-F259E721DE3D}"/>
                  </a:ext>
                </a:extLst>
              </p:cNvPr>
              <p:cNvGrpSpPr/>
              <p:nvPr/>
            </p:nvGrpSpPr>
            <p:grpSpPr>
              <a:xfrm>
                <a:off x="4719256" y="2926461"/>
                <a:ext cx="75723" cy="75723"/>
                <a:chOff x="4719256" y="2926461"/>
                <a:chExt cx="75723" cy="75723"/>
              </a:xfrm>
            </p:grpSpPr>
            <p:sp>
              <p:nvSpPr>
                <p:cNvPr id="15957" name="Freeform: Shape 15956">
                  <a:extLst>
                    <a:ext uri="{FF2B5EF4-FFF2-40B4-BE49-F238E27FC236}">
                      <a16:creationId xmlns:a16="http://schemas.microsoft.com/office/drawing/2014/main" id="{8E888B87-5CC0-01E7-8534-55A27FA08206}"/>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8" name="Freeform: Shape 15957">
                  <a:extLst>
                    <a:ext uri="{FF2B5EF4-FFF2-40B4-BE49-F238E27FC236}">
                      <a16:creationId xmlns:a16="http://schemas.microsoft.com/office/drawing/2014/main" id="{DA9BE7A7-9E28-8542-8BAE-89EDEEDA349C}"/>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3" name="Graphic 1393">
                <a:extLst>
                  <a:ext uri="{FF2B5EF4-FFF2-40B4-BE49-F238E27FC236}">
                    <a16:creationId xmlns:a16="http://schemas.microsoft.com/office/drawing/2014/main" id="{0C707826-624D-C2B2-0B7C-A70CDA0A09F3}"/>
                  </a:ext>
                </a:extLst>
              </p:cNvPr>
              <p:cNvGrpSpPr/>
              <p:nvPr/>
            </p:nvGrpSpPr>
            <p:grpSpPr>
              <a:xfrm>
                <a:off x="4684299" y="2858357"/>
                <a:ext cx="75723" cy="75628"/>
                <a:chOff x="4684299" y="2858357"/>
                <a:chExt cx="75723" cy="75628"/>
              </a:xfrm>
            </p:grpSpPr>
            <p:sp>
              <p:nvSpPr>
                <p:cNvPr id="15955" name="Freeform: Shape 15954">
                  <a:extLst>
                    <a:ext uri="{FF2B5EF4-FFF2-40B4-BE49-F238E27FC236}">
                      <a16:creationId xmlns:a16="http://schemas.microsoft.com/office/drawing/2014/main" id="{7965F93D-0D8B-435E-F679-E110482143FD}"/>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6" name="Freeform: Shape 15955">
                  <a:extLst>
                    <a:ext uri="{FF2B5EF4-FFF2-40B4-BE49-F238E27FC236}">
                      <a16:creationId xmlns:a16="http://schemas.microsoft.com/office/drawing/2014/main" id="{A598E2AE-F6A1-1716-87C2-E97360A5366B}"/>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4" name="Graphic 1393">
                <a:extLst>
                  <a:ext uri="{FF2B5EF4-FFF2-40B4-BE49-F238E27FC236}">
                    <a16:creationId xmlns:a16="http://schemas.microsoft.com/office/drawing/2014/main" id="{FDFF2446-22E0-7C27-53CE-8C87D9A0D3F9}"/>
                  </a:ext>
                </a:extLst>
              </p:cNvPr>
              <p:cNvGrpSpPr/>
              <p:nvPr/>
            </p:nvGrpSpPr>
            <p:grpSpPr>
              <a:xfrm>
                <a:off x="4659439" y="2844641"/>
                <a:ext cx="75628" cy="75723"/>
                <a:chOff x="4659439" y="2844641"/>
                <a:chExt cx="75628" cy="75723"/>
              </a:xfrm>
            </p:grpSpPr>
            <p:sp>
              <p:nvSpPr>
                <p:cNvPr id="15953" name="Freeform: Shape 15952">
                  <a:extLst>
                    <a:ext uri="{FF2B5EF4-FFF2-40B4-BE49-F238E27FC236}">
                      <a16:creationId xmlns:a16="http://schemas.microsoft.com/office/drawing/2014/main" id="{125D8A23-FBF8-E1FF-F11F-E5E90856B285}"/>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4" name="Freeform: Shape 15953">
                  <a:extLst>
                    <a:ext uri="{FF2B5EF4-FFF2-40B4-BE49-F238E27FC236}">
                      <a16:creationId xmlns:a16="http://schemas.microsoft.com/office/drawing/2014/main" id="{4A3B47A5-48DA-969B-E0BD-471C15FB6067}"/>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5" name="Graphic 1393">
                <a:extLst>
                  <a:ext uri="{FF2B5EF4-FFF2-40B4-BE49-F238E27FC236}">
                    <a16:creationId xmlns:a16="http://schemas.microsoft.com/office/drawing/2014/main" id="{8885ED55-8F65-8A9C-557C-BBD205D519CB}"/>
                  </a:ext>
                </a:extLst>
              </p:cNvPr>
              <p:cNvGrpSpPr/>
              <p:nvPr/>
            </p:nvGrpSpPr>
            <p:grpSpPr>
              <a:xfrm>
                <a:off x="4633531" y="2834925"/>
                <a:ext cx="75723" cy="75628"/>
                <a:chOff x="4633531" y="2834925"/>
                <a:chExt cx="75723" cy="75628"/>
              </a:xfrm>
            </p:grpSpPr>
            <p:sp>
              <p:nvSpPr>
                <p:cNvPr id="15951" name="Freeform: Shape 15950">
                  <a:extLst>
                    <a:ext uri="{FF2B5EF4-FFF2-40B4-BE49-F238E27FC236}">
                      <a16:creationId xmlns:a16="http://schemas.microsoft.com/office/drawing/2014/main" id="{7D735700-49A3-BEAF-9BBB-02CF65E7A735}"/>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2" name="Freeform: Shape 15951">
                  <a:extLst>
                    <a:ext uri="{FF2B5EF4-FFF2-40B4-BE49-F238E27FC236}">
                      <a16:creationId xmlns:a16="http://schemas.microsoft.com/office/drawing/2014/main" id="{D04BF8F5-EC18-8CE3-C2FB-443F5951D785}"/>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6" name="Graphic 1393">
                <a:extLst>
                  <a:ext uri="{FF2B5EF4-FFF2-40B4-BE49-F238E27FC236}">
                    <a16:creationId xmlns:a16="http://schemas.microsoft.com/office/drawing/2014/main" id="{E85A8A18-EBEA-3A1C-95B2-F65321DD9EA8}"/>
                  </a:ext>
                </a:extLst>
              </p:cNvPr>
              <p:cNvGrpSpPr/>
              <p:nvPr/>
            </p:nvGrpSpPr>
            <p:grpSpPr>
              <a:xfrm>
                <a:off x="4496180" y="2802350"/>
                <a:ext cx="75628" cy="75723"/>
                <a:chOff x="4496180" y="2802350"/>
                <a:chExt cx="75628" cy="75723"/>
              </a:xfrm>
            </p:grpSpPr>
            <p:sp>
              <p:nvSpPr>
                <p:cNvPr id="15949" name="Freeform: Shape 15948">
                  <a:extLst>
                    <a:ext uri="{FF2B5EF4-FFF2-40B4-BE49-F238E27FC236}">
                      <a16:creationId xmlns:a16="http://schemas.microsoft.com/office/drawing/2014/main" id="{0C87A7EC-ECBF-2EE1-BCE0-6E2508E081E9}"/>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0" name="Freeform: Shape 15949">
                  <a:extLst>
                    <a:ext uri="{FF2B5EF4-FFF2-40B4-BE49-F238E27FC236}">
                      <a16:creationId xmlns:a16="http://schemas.microsoft.com/office/drawing/2014/main" id="{D1CB48E9-14E8-1A41-212F-3AC2C85632B0}"/>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7" name="Graphic 1393">
                <a:extLst>
                  <a:ext uri="{FF2B5EF4-FFF2-40B4-BE49-F238E27FC236}">
                    <a16:creationId xmlns:a16="http://schemas.microsoft.com/office/drawing/2014/main" id="{FE362A8D-9E73-D4A9-D91D-A630C86AC1EF}"/>
                  </a:ext>
                </a:extLst>
              </p:cNvPr>
              <p:cNvGrpSpPr/>
              <p:nvPr/>
            </p:nvGrpSpPr>
            <p:grpSpPr>
              <a:xfrm>
                <a:off x="4423504" y="2802350"/>
                <a:ext cx="75723" cy="75723"/>
                <a:chOff x="4423504" y="2802350"/>
                <a:chExt cx="75723" cy="75723"/>
              </a:xfrm>
            </p:grpSpPr>
            <p:sp>
              <p:nvSpPr>
                <p:cNvPr id="15947" name="Freeform: Shape 15946">
                  <a:extLst>
                    <a:ext uri="{FF2B5EF4-FFF2-40B4-BE49-F238E27FC236}">
                      <a16:creationId xmlns:a16="http://schemas.microsoft.com/office/drawing/2014/main" id="{0DC7318A-989E-D64C-E128-0A773E8E0BB8}"/>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8" name="Freeform: Shape 15947">
                  <a:extLst>
                    <a:ext uri="{FF2B5EF4-FFF2-40B4-BE49-F238E27FC236}">
                      <a16:creationId xmlns:a16="http://schemas.microsoft.com/office/drawing/2014/main" id="{8F2CD363-20CF-F314-70D5-B0864E921D4F}"/>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8" name="Graphic 1393">
                <a:extLst>
                  <a:ext uri="{FF2B5EF4-FFF2-40B4-BE49-F238E27FC236}">
                    <a16:creationId xmlns:a16="http://schemas.microsoft.com/office/drawing/2014/main" id="{FB1573A1-191D-6E24-50EA-718F01740C72}"/>
                  </a:ext>
                </a:extLst>
              </p:cNvPr>
              <p:cNvGrpSpPr/>
              <p:nvPr/>
            </p:nvGrpSpPr>
            <p:grpSpPr>
              <a:xfrm>
                <a:off x="4200048" y="2591085"/>
                <a:ext cx="75723" cy="75723"/>
                <a:chOff x="4200048" y="2591085"/>
                <a:chExt cx="75723" cy="75723"/>
              </a:xfrm>
            </p:grpSpPr>
            <p:sp>
              <p:nvSpPr>
                <p:cNvPr id="15945" name="Freeform: Shape 15944">
                  <a:extLst>
                    <a:ext uri="{FF2B5EF4-FFF2-40B4-BE49-F238E27FC236}">
                      <a16:creationId xmlns:a16="http://schemas.microsoft.com/office/drawing/2014/main" id="{96AD5C88-9226-FB48-526E-C524BB487C4C}"/>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6" name="Freeform: Shape 15945">
                  <a:extLst>
                    <a:ext uri="{FF2B5EF4-FFF2-40B4-BE49-F238E27FC236}">
                      <a16:creationId xmlns:a16="http://schemas.microsoft.com/office/drawing/2014/main" id="{68AA9F5D-41A6-BC57-22A4-06BDB3340149}"/>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9" name="Graphic 1393">
                <a:extLst>
                  <a:ext uri="{FF2B5EF4-FFF2-40B4-BE49-F238E27FC236}">
                    <a16:creationId xmlns:a16="http://schemas.microsoft.com/office/drawing/2014/main" id="{A274EDDE-FD38-8F76-ECE8-FC6FC11ADC2D}"/>
                  </a:ext>
                </a:extLst>
              </p:cNvPr>
              <p:cNvGrpSpPr/>
              <p:nvPr/>
            </p:nvGrpSpPr>
            <p:grpSpPr>
              <a:xfrm>
                <a:off x="4130801" y="2566130"/>
                <a:ext cx="75628" cy="75723"/>
                <a:chOff x="4130801" y="2566130"/>
                <a:chExt cx="75628" cy="75723"/>
              </a:xfrm>
            </p:grpSpPr>
            <p:sp>
              <p:nvSpPr>
                <p:cNvPr id="15943" name="Freeform: Shape 15942">
                  <a:extLst>
                    <a:ext uri="{FF2B5EF4-FFF2-40B4-BE49-F238E27FC236}">
                      <a16:creationId xmlns:a16="http://schemas.microsoft.com/office/drawing/2014/main" id="{959723CD-7FE0-D4FE-6115-11D8ACED553C}"/>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4" name="Freeform: Shape 15943">
                  <a:extLst>
                    <a:ext uri="{FF2B5EF4-FFF2-40B4-BE49-F238E27FC236}">
                      <a16:creationId xmlns:a16="http://schemas.microsoft.com/office/drawing/2014/main" id="{EC02F0C6-1ACD-A899-0D55-8B84BD03CB0C}"/>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0" name="Graphic 1393">
                <a:extLst>
                  <a:ext uri="{FF2B5EF4-FFF2-40B4-BE49-F238E27FC236}">
                    <a16:creationId xmlns:a16="http://schemas.microsoft.com/office/drawing/2014/main" id="{FB2E4EF4-1A1C-76B8-3FC1-1426CB5456F7}"/>
                  </a:ext>
                </a:extLst>
              </p:cNvPr>
              <p:cNvGrpSpPr/>
              <p:nvPr/>
            </p:nvGrpSpPr>
            <p:grpSpPr>
              <a:xfrm>
                <a:off x="3892676" y="2527268"/>
                <a:ext cx="75628" cy="75723"/>
                <a:chOff x="3892676" y="2527268"/>
                <a:chExt cx="75628" cy="75723"/>
              </a:xfrm>
            </p:grpSpPr>
            <p:sp>
              <p:nvSpPr>
                <p:cNvPr id="15941" name="Freeform: Shape 15940">
                  <a:extLst>
                    <a:ext uri="{FF2B5EF4-FFF2-40B4-BE49-F238E27FC236}">
                      <a16:creationId xmlns:a16="http://schemas.microsoft.com/office/drawing/2014/main" id="{3897DBC2-A7A2-4ED9-8EA4-B00278C28EA5}"/>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2" name="Freeform: Shape 15941">
                  <a:extLst>
                    <a:ext uri="{FF2B5EF4-FFF2-40B4-BE49-F238E27FC236}">
                      <a16:creationId xmlns:a16="http://schemas.microsoft.com/office/drawing/2014/main" id="{C19D8974-8C21-2203-2755-9BFE1776E5A6}"/>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1" name="Graphic 1393">
                <a:extLst>
                  <a:ext uri="{FF2B5EF4-FFF2-40B4-BE49-F238E27FC236}">
                    <a16:creationId xmlns:a16="http://schemas.microsoft.com/office/drawing/2014/main" id="{92BFB153-BAB5-A319-ABC8-7A442AB99427}"/>
                  </a:ext>
                </a:extLst>
              </p:cNvPr>
              <p:cNvGrpSpPr/>
              <p:nvPr/>
            </p:nvGrpSpPr>
            <p:grpSpPr>
              <a:xfrm>
                <a:off x="3868102" y="2496216"/>
                <a:ext cx="75723" cy="75723"/>
                <a:chOff x="3868102" y="2496216"/>
                <a:chExt cx="75723" cy="75723"/>
              </a:xfrm>
            </p:grpSpPr>
            <p:sp>
              <p:nvSpPr>
                <p:cNvPr id="15939" name="Freeform: Shape 15938">
                  <a:extLst>
                    <a:ext uri="{FF2B5EF4-FFF2-40B4-BE49-F238E27FC236}">
                      <a16:creationId xmlns:a16="http://schemas.microsoft.com/office/drawing/2014/main" id="{C1F98251-4C45-4225-2D21-FBCDF668D848}"/>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40" name="Freeform: Shape 15939">
                  <a:extLst>
                    <a:ext uri="{FF2B5EF4-FFF2-40B4-BE49-F238E27FC236}">
                      <a16:creationId xmlns:a16="http://schemas.microsoft.com/office/drawing/2014/main" id="{3866F73E-DE9E-8CA8-A265-A9E77EB6FF3D}"/>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2" name="Graphic 1393">
                <a:extLst>
                  <a:ext uri="{FF2B5EF4-FFF2-40B4-BE49-F238E27FC236}">
                    <a16:creationId xmlns:a16="http://schemas.microsoft.com/office/drawing/2014/main" id="{DE407FD3-ED9C-1ADB-F962-39284F9C4E5F}"/>
                  </a:ext>
                </a:extLst>
              </p:cNvPr>
              <p:cNvGrpSpPr/>
              <p:nvPr/>
            </p:nvGrpSpPr>
            <p:grpSpPr>
              <a:xfrm>
                <a:off x="4228623" y="2608135"/>
                <a:ext cx="75723" cy="75723"/>
                <a:chOff x="4228623" y="2608135"/>
                <a:chExt cx="75723" cy="75723"/>
              </a:xfrm>
            </p:grpSpPr>
            <p:sp>
              <p:nvSpPr>
                <p:cNvPr id="15937" name="Freeform: Shape 15936">
                  <a:extLst>
                    <a:ext uri="{FF2B5EF4-FFF2-40B4-BE49-F238E27FC236}">
                      <a16:creationId xmlns:a16="http://schemas.microsoft.com/office/drawing/2014/main" id="{AD5C0589-8A0F-AFC0-EB61-4B17FA34EC16}"/>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8" name="Freeform: Shape 15937">
                  <a:extLst>
                    <a:ext uri="{FF2B5EF4-FFF2-40B4-BE49-F238E27FC236}">
                      <a16:creationId xmlns:a16="http://schemas.microsoft.com/office/drawing/2014/main" id="{5853BEC6-74E9-F7A8-FB90-BE390934DA3E}"/>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3" name="Graphic 1393">
                <a:extLst>
                  <a:ext uri="{FF2B5EF4-FFF2-40B4-BE49-F238E27FC236}">
                    <a16:creationId xmlns:a16="http://schemas.microsoft.com/office/drawing/2014/main" id="{2EDCBB40-E2F0-E628-AC13-D9B0CDF07C5E}"/>
                  </a:ext>
                </a:extLst>
              </p:cNvPr>
              <p:cNvGrpSpPr/>
              <p:nvPr/>
            </p:nvGrpSpPr>
            <p:grpSpPr>
              <a:xfrm>
                <a:off x="4281868" y="2633948"/>
                <a:ext cx="75628" cy="75723"/>
                <a:chOff x="4281868" y="2633948"/>
                <a:chExt cx="75628" cy="75723"/>
              </a:xfrm>
            </p:grpSpPr>
            <p:sp>
              <p:nvSpPr>
                <p:cNvPr id="15743" name="Freeform: Shape 15742">
                  <a:extLst>
                    <a:ext uri="{FF2B5EF4-FFF2-40B4-BE49-F238E27FC236}">
                      <a16:creationId xmlns:a16="http://schemas.microsoft.com/office/drawing/2014/main" id="{6859436A-12A4-61F1-1848-2162D8CCAB38}"/>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36" name="Freeform: Shape 15935">
                  <a:extLst>
                    <a:ext uri="{FF2B5EF4-FFF2-40B4-BE49-F238E27FC236}">
                      <a16:creationId xmlns:a16="http://schemas.microsoft.com/office/drawing/2014/main" id="{5579D0AE-4E79-6B65-1746-1821CEB9A0D7}"/>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4" name="Graphic 1393">
                <a:extLst>
                  <a:ext uri="{FF2B5EF4-FFF2-40B4-BE49-F238E27FC236}">
                    <a16:creationId xmlns:a16="http://schemas.microsoft.com/office/drawing/2014/main" id="{D3D7D4C2-7260-0FB2-C04E-852B7C3DA6E8}"/>
                  </a:ext>
                </a:extLst>
              </p:cNvPr>
              <p:cNvGrpSpPr/>
              <p:nvPr/>
            </p:nvGrpSpPr>
            <p:grpSpPr>
              <a:xfrm>
                <a:off x="4289011" y="2656427"/>
                <a:ext cx="75723" cy="75723"/>
                <a:chOff x="4289011" y="2656427"/>
                <a:chExt cx="75723" cy="75723"/>
              </a:xfrm>
            </p:grpSpPr>
            <p:sp>
              <p:nvSpPr>
                <p:cNvPr id="15741" name="Freeform: Shape 15740">
                  <a:extLst>
                    <a:ext uri="{FF2B5EF4-FFF2-40B4-BE49-F238E27FC236}">
                      <a16:creationId xmlns:a16="http://schemas.microsoft.com/office/drawing/2014/main" id="{0082404E-866B-9D76-1324-7C080D0B8DA6}"/>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42" name="Freeform: Shape 15741">
                  <a:extLst>
                    <a:ext uri="{FF2B5EF4-FFF2-40B4-BE49-F238E27FC236}">
                      <a16:creationId xmlns:a16="http://schemas.microsoft.com/office/drawing/2014/main" id="{650C345C-D92D-1671-B4F4-97B41622B8FA}"/>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5" name="Graphic 1393">
                <a:extLst>
                  <a:ext uri="{FF2B5EF4-FFF2-40B4-BE49-F238E27FC236}">
                    <a16:creationId xmlns:a16="http://schemas.microsoft.com/office/drawing/2014/main" id="{A1319091-6C7C-FAF0-0BFC-49880CC1FB3B}"/>
                  </a:ext>
                </a:extLst>
              </p:cNvPr>
              <p:cNvGrpSpPr/>
              <p:nvPr/>
            </p:nvGrpSpPr>
            <p:grpSpPr>
              <a:xfrm>
                <a:off x="4297584" y="2656427"/>
                <a:ext cx="75628" cy="75723"/>
                <a:chOff x="4297584" y="2656427"/>
                <a:chExt cx="75628" cy="75723"/>
              </a:xfrm>
            </p:grpSpPr>
            <p:sp>
              <p:nvSpPr>
                <p:cNvPr id="15739" name="Freeform: Shape 15738">
                  <a:extLst>
                    <a:ext uri="{FF2B5EF4-FFF2-40B4-BE49-F238E27FC236}">
                      <a16:creationId xmlns:a16="http://schemas.microsoft.com/office/drawing/2014/main" id="{639A6A75-EE6C-1DEA-1498-BA1FC741A959}"/>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40" name="Freeform: Shape 15739">
                  <a:extLst>
                    <a:ext uri="{FF2B5EF4-FFF2-40B4-BE49-F238E27FC236}">
                      <a16:creationId xmlns:a16="http://schemas.microsoft.com/office/drawing/2014/main" id="{13D0663A-BA5E-D684-F830-2D8AC227CAF2}"/>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6" name="Graphic 1393">
                <a:extLst>
                  <a:ext uri="{FF2B5EF4-FFF2-40B4-BE49-F238E27FC236}">
                    <a16:creationId xmlns:a16="http://schemas.microsoft.com/office/drawing/2014/main" id="{1C30085F-0E65-1CB9-C70C-07C400526258}"/>
                  </a:ext>
                </a:extLst>
              </p:cNvPr>
              <p:cNvGrpSpPr/>
              <p:nvPr/>
            </p:nvGrpSpPr>
            <p:grpSpPr>
              <a:xfrm>
                <a:off x="4301584" y="2676810"/>
                <a:ext cx="75628" cy="75723"/>
                <a:chOff x="4301584" y="2676810"/>
                <a:chExt cx="75628" cy="75723"/>
              </a:xfrm>
            </p:grpSpPr>
            <p:sp>
              <p:nvSpPr>
                <p:cNvPr id="15737" name="Freeform: Shape 15736">
                  <a:extLst>
                    <a:ext uri="{FF2B5EF4-FFF2-40B4-BE49-F238E27FC236}">
                      <a16:creationId xmlns:a16="http://schemas.microsoft.com/office/drawing/2014/main" id="{E242EFC7-9149-B485-2BB0-AB934AC5D1DD}"/>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38" name="Freeform: Shape 15737">
                  <a:extLst>
                    <a:ext uri="{FF2B5EF4-FFF2-40B4-BE49-F238E27FC236}">
                      <a16:creationId xmlns:a16="http://schemas.microsoft.com/office/drawing/2014/main" id="{0AC211D2-1569-27C5-87E9-C21267EA6D67}"/>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8" name="Graphic 1393">
                <a:extLst>
                  <a:ext uri="{FF2B5EF4-FFF2-40B4-BE49-F238E27FC236}">
                    <a16:creationId xmlns:a16="http://schemas.microsoft.com/office/drawing/2014/main" id="{19132217-599D-0D24-83E4-1A23EC5CED26}"/>
                  </a:ext>
                </a:extLst>
              </p:cNvPr>
              <p:cNvGrpSpPr/>
              <p:nvPr/>
            </p:nvGrpSpPr>
            <p:grpSpPr>
              <a:xfrm>
                <a:off x="4307299" y="2683859"/>
                <a:ext cx="75723" cy="75628"/>
                <a:chOff x="4307299" y="2683859"/>
                <a:chExt cx="75723" cy="75628"/>
              </a:xfrm>
            </p:grpSpPr>
            <p:sp>
              <p:nvSpPr>
                <p:cNvPr id="15735" name="Freeform: Shape 15734">
                  <a:extLst>
                    <a:ext uri="{FF2B5EF4-FFF2-40B4-BE49-F238E27FC236}">
                      <a16:creationId xmlns:a16="http://schemas.microsoft.com/office/drawing/2014/main" id="{4E24AE7D-3CC6-C813-F98B-FB3D65AB84E6}"/>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36" name="Freeform: Shape 15735">
                  <a:extLst>
                    <a:ext uri="{FF2B5EF4-FFF2-40B4-BE49-F238E27FC236}">
                      <a16:creationId xmlns:a16="http://schemas.microsoft.com/office/drawing/2014/main" id="{43CA163F-D441-2A3C-98CA-7A2D7FEE87A0}"/>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9" name="Graphic 1393">
                <a:extLst>
                  <a:ext uri="{FF2B5EF4-FFF2-40B4-BE49-F238E27FC236}">
                    <a16:creationId xmlns:a16="http://schemas.microsoft.com/office/drawing/2014/main" id="{02E37979-3EBA-31F7-FE2B-F63374131E10}"/>
                  </a:ext>
                </a:extLst>
              </p:cNvPr>
              <p:cNvGrpSpPr/>
              <p:nvPr/>
            </p:nvGrpSpPr>
            <p:grpSpPr>
              <a:xfrm>
                <a:off x="4313681" y="2694336"/>
                <a:ext cx="75723" cy="75628"/>
                <a:chOff x="4313681" y="2694336"/>
                <a:chExt cx="75723" cy="75628"/>
              </a:xfrm>
            </p:grpSpPr>
            <p:sp>
              <p:nvSpPr>
                <p:cNvPr id="15733" name="Freeform: Shape 15732">
                  <a:extLst>
                    <a:ext uri="{FF2B5EF4-FFF2-40B4-BE49-F238E27FC236}">
                      <a16:creationId xmlns:a16="http://schemas.microsoft.com/office/drawing/2014/main" id="{217D9253-5029-6CE4-317B-94AF2B9E3956}"/>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34" name="Freeform: Shape 15733">
                  <a:extLst>
                    <a:ext uri="{FF2B5EF4-FFF2-40B4-BE49-F238E27FC236}">
                      <a16:creationId xmlns:a16="http://schemas.microsoft.com/office/drawing/2014/main" id="{B810F4B5-E82C-710C-C286-2B288152475A}"/>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0" name="Graphic 1393">
                <a:extLst>
                  <a:ext uri="{FF2B5EF4-FFF2-40B4-BE49-F238E27FC236}">
                    <a16:creationId xmlns:a16="http://schemas.microsoft.com/office/drawing/2014/main" id="{CA81B762-499B-139C-F9E1-100A6E786135}"/>
                  </a:ext>
                </a:extLst>
              </p:cNvPr>
              <p:cNvGrpSpPr/>
              <p:nvPr/>
            </p:nvGrpSpPr>
            <p:grpSpPr>
              <a:xfrm>
                <a:off x="4322539" y="2703766"/>
                <a:ext cx="75723" cy="75628"/>
                <a:chOff x="4322539" y="2703766"/>
                <a:chExt cx="75723" cy="75628"/>
              </a:xfrm>
            </p:grpSpPr>
            <p:sp>
              <p:nvSpPr>
                <p:cNvPr id="15731" name="Freeform: Shape 15730">
                  <a:extLst>
                    <a:ext uri="{FF2B5EF4-FFF2-40B4-BE49-F238E27FC236}">
                      <a16:creationId xmlns:a16="http://schemas.microsoft.com/office/drawing/2014/main" id="{8332F948-F0F6-6484-7594-4D886C79764A}"/>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32" name="Freeform: Shape 15731">
                  <a:extLst>
                    <a:ext uri="{FF2B5EF4-FFF2-40B4-BE49-F238E27FC236}">
                      <a16:creationId xmlns:a16="http://schemas.microsoft.com/office/drawing/2014/main" id="{31CDB199-61D3-EC94-1139-EDD80E347BA1}"/>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1" name="Graphic 1393">
                <a:extLst>
                  <a:ext uri="{FF2B5EF4-FFF2-40B4-BE49-F238E27FC236}">
                    <a16:creationId xmlns:a16="http://schemas.microsoft.com/office/drawing/2014/main" id="{A42812D9-3699-E074-DB1D-1DE0984FAB34}"/>
                  </a:ext>
                </a:extLst>
              </p:cNvPr>
              <p:cNvGrpSpPr/>
              <p:nvPr/>
            </p:nvGrpSpPr>
            <p:grpSpPr>
              <a:xfrm>
                <a:off x="4331302" y="2718054"/>
                <a:ext cx="75723" cy="75723"/>
                <a:chOff x="4331302" y="2718054"/>
                <a:chExt cx="75723" cy="75723"/>
              </a:xfrm>
            </p:grpSpPr>
            <p:sp>
              <p:nvSpPr>
                <p:cNvPr id="15729" name="Freeform: Shape 15728">
                  <a:extLst>
                    <a:ext uri="{FF2B5EF4-FFF2-40B4-BE49-F238E27FC236}">
                      <a16:creationId xmlns:a16="http://schemas.microsoft.com/office/drawing/2014/main" id="{BF793C3F-09AA-2926-DB1E-C2F14F838BB3}"/>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30" name="Freeform: Shape 15729">
                  <a:extLst>
                    <a:ext uri="{FF2B5EF4-FFF2-40B4-BE49-F238E27FC236}">
                      <a16:creationId xmlns:a16="http://schemas.microsoft.com/office/drawing/2014/main" id="{B00064DE-11D7-797F-139B-A2CDD08EA44D}"/>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2" name="Graphic 1393">
                <a:extLst>
                  <a:ext uri="{FF2B5EF4-FFF2-40B4-BE49-F238E27FC236}">
                    <a16:creationId xmlns:a16="http://schemas.microsoft.com/office/drawing/2014/main" id="{D1CCC79D-D3BD-9DA4-A2AC-8F3C36A8EDEB}"/>
                  </a:ext>
                </a:extLst>
              </p:cNvPr>
              <p:cNvGrpSpPr/>
              <p:nvPr/>
            </p:nvGrpSpPr>
            <p:grpSpPr>
              <a:xfrm>
                <a:off x="4340732" y="2734246"/>
                <a:ext cx="75723" cy="75723"/>
                <a:chOff x="4340732" y="2734246"/>
                <a:chExt cx="75723" cy="75723"/>
              </a:xfrm>
            </p:grpSpPr>
            <p:sp>
              <p:nvSpPr>
                <p:cNvPr id="15727" name="Freeform: Shape 15726">
                  <a:extLst>
                    <a:ext uri="{FF2B5EF4-FFF2-40B4-BE49-F238E27FC236}">
                      <a16:creationId xmlns:a16="http://schemas.microsoft.com/office/drawing/2014/main" id="{95CF5CCD-9276-6FE0-625C-51C0B1C04641}"/>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8" name="Freeform: Shape 15727">
                  <a:extLst>
                    <a:ext uri="{FF2B5EF4-FFF2-40B4-BE49-F238E27FC236}">
                      <a16:creationId xmlns:a16="http://schemas.microsoft.com/office/drawing/2014/main" id="{934E9117-0D0F-ECE0-73E4-95C6E8707221}"/>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3" name="Graphic 1393">
                <a:extLst>
                  <a:ext uri="{FF2B5EF4-FFF2-40B4-BE49-F238E27FC236}">
                    <a16:creationId xmlns:a16="http://schemas.microsoft.com/office/drawing/2014/main" id="{BD0138D4-CE0B-618D-4EE3-E27DF5F5B0DD}"/>
                  </a:ext>
                </a:extLst>
              </p:cNvPr>
              <p:cNvGrpSpPr/>
              <p:nvPr/>
            </p:nvGrpSpPr>
            <p:grpSpPr>
              <a:xfrm>
                <a:off x="4348543" y="2742819"/>
                <a:ext cx="75628" cy="75628"/>
                <a:chOff x="4348543" y="2742819"/>
                <a:chExt cx="75628" cy="75628"/>
              </a:xfrm>
            </p:grpSpPr>
            <p:sp>
              <p:nvSpPr>
                <p:cNvPr id="15725" name="Freeform: Shape 15724">
                  <a:extLst>
                    <a:ext uri="{FF2B5EF4-FFF2-40B4-BE49-F238E27FC236}">
                      <a16:creationId xmlns:a16="http://schemas.microsoft.com/office/drawing/2014/main" id="{29AABE34-CD11-700D-64BA-46AEA784933C}"/>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6" name="Freeform: Shape 15725">
                  <a:extLst>
                    <a:ext uri="{FF2B5EF4-FFF2-40B4-BE49-F238E27FC236}">
                      <a16:creationId xmlns:a16="http://schemas.microsoft.com/office/drawing/2014/main" id="{BBDA2892-7156-4D40-D0E1-4DEBB7126115}"/>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4" name="Graphic 1393">
                <a:extLst>
                  <a:ext uri="{FF2B5EF4-FFF2-40B4-BE49-F238E27FC236}">
                    <a16:creationId xmlns:a16="http://schemas.microsoft.com/office/drawing/2014/main" id="{F13718F7-1553-3336-BE29-91C832D0C817}"/>
                  </a:ext>
                </a:extLst>
              </p:cNvPr>
              <p:cNvGrpSpPr/>
              <p:nvPr/>
            </p:nvGrpSpPr>
            <p:grpSpPr>
              <a:xfrm>
                <a:off x="4360354" y="2759487"/>
                <a:ext cx="75723" cy="75723"/>
                <a:chOff x="4360354" y="2759487"/>
                <a:chExt cx="75723" cy="75723"/>
              </a:xfrm>
            </p:grpSpPr>
            <p:sp>
              <p:nvSpPr>
                <p:cNvPr id="15723" name="Freeform: Shape 15722">
                  <a:extLst>
                    <a:ext uri="{FF2B5EF4-FFF2-40B4-BE49-F238E27FC236}">
                      <a16:creationId xmlns:a16="http://schemas.microsoft.com/office/drawing/2014/main" id="{24C2C162-C61C-EF5F-FC95-7AC0450B7913}"/>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4" name="Freeform: Shape 15723">
                  <a:extLst>
                    <a:ext uri="{FF2B5EF4-FFF2-40B4-BE49-F238E27FC236}">
                      <a16:creationId xmlns:a16="http://schemas.microsoft.com/office/drawing/2014/main" id="{06EA9E71-F155-2A09-DCC0-687C3D1E887C}"/>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6" name="Graphic 1393">
                <a:extLst>
                  <a:ext uri="{FF2B5EF4-FFF2-40B4-BE49-F238E27FC236}">
                    <a16:creationId xmlns:a16="http://schemas.microsoft.com/office/drawing/2014/main" id="{3FBF16DE-9E10-57B7-1A29-60AC9FEA9B06}"/>
                  </a:ext>
                </a:extLst>
              </p:cNvPr>
              <p:cNvGrpSpPr/>
              <p:nvPr/>
            </p:nvGrpSpPr>
            <p:grpSpPr>
              <a:xfrm>
                <a:off x="4725542" y="2957988"/>
                <a:ext cx="75723" cy="75723"/>
                <a:chOff x="4725542" y="2957988"/>
                <a:chExt cx="75723" cy="75723"/>
              </a:xfrm>
            </p:grpSpPr>
            <p:sp>
              <p:nvSpPr>
                <p:cNvPr id="15721" name="Freeform: Shape 15720">
                  <a:extLst>
                    <a:ext uri="{FF2B5EF4-FFF2-40B4-BE49-F238E27FC236}">
                      <a16:creationId xmlns:a16="http://schemas.microsoft.com/office/drawing/2014/main" id="{61B315C3-9A99-3166-4D16-5F5BD61318AB}"/>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2" name="Freeform: Shape 15721">
                  <a:extLst>
                    <a:ext uri="{FF2B5EF4-FFF2-40B4-BE49-F238E27FC236}">
                      <a16:creationId xmlns:a16="http://schemas.microsoft.com/office/drawing/2014/main" id="{E5DF7FA8-A932-BA44-4FF6-0FA33F085C7B}"/>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7" name="Graphic 1393">
                <a:extLst>
                  <a:ext uri="{FF2B5EF4-FFF2-40B4-BE49-F238E27FC236}">
                    <a16:creationId xmlns:a16="http://schemas.microsoft.com/office/drawing/2014/main" id="{0B77C038-5815-05E6-C317-4082AE478113}"/>
                  </a:ext>
                </a:extLst>
              </p:cNvPr>
              <p:cNvGrpSpPr/>
              <p:nvPr/>
            </p:nvGrpSpPr>
            <p:grpSpPr>
              <a:xfrm>
                <a:off x="4737734" y="2997803"/>
                <a:ext cx="75723" cy="75723"/>
                <a:chOff x="4737734" y="2997803"/>
                <a:chExt cx="75723" cy="75723"/>
              </a:xfrm>
            </p:grpSpPr>
            <p:sp>
              <p:nvSpPr>
                <p:cNvPr id="15719" name="Freeform: Shape 15718">
                  <a:extLst>
                    <a:ext uri="{FF2B5EF4-FFF2-40B4-BE49-F238E27FC236}">
                      <a16:creationId xmlns:a16="http://schemas.microsoft.com/office/drawing/2014/main" id="{A69E0821-3CC4-CD32-E9A7-B0016A17D681}"/>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0" name="Freeform: Shape 15719">
                  <a:extLst>
                    <a:ext uri="{FF2B5EF4-FFF2-40B4-BE49-F238E27FC236}">
                      <a16:creationId xmlns:a16="http://schemas.microsoft.com/office/drawing/2014/main" id="{8047693F-4D6A-0AD7-7B1D-E51AABBC6A9C}"/>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9" name="Graphic 1393">
                <a:extLst>
                  <a:ext uri="{FF2B5EF4-FFF2-40B4-BE49-F238E27FC236}">
                    <a16:creationId xmlns:a16="http://schemas.microsoft.com/office/drawing/2014/main" id="{77944907-11E7-4A4C-BA61-2E740B3C2A52}"/>
                  </a:ext>
                </a:extLst>
              </p:cNvPr>
              <p:cNvGrpSpPr/>
              <p:nvPr/>
            </p:nvGrpSpPr>
            <p:grpSpPr>
              <a:xfrm>
                <a:off x="4748116" y="3035712"/>
                <a:ext cx="75723" cy="75628"/>
                <a:chOff x="4748116" y="3035712"/>
                <a:chExt cx="75723" cy="75628"/>
              </a:xfrm>
            </p:grpSpPr>
            <p:sp>
              <p:nvSpPr>
                <p:cNvPr id="15717" name="Freeform: Shape 15716">
                  <a:extLst>
                    <a:ext uri="{FF2B5EF4-FFF2-40B4-BE49-F238E27FC236}">
                      <a16:creationId xmlns:a16="http://schemas.microsoft.com/office/drawing/2014/main" id="{585D6F12-CCE8-EF4E-D2B1-1209CE40C13D}"/>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8" name="Freeform: Shape 15717">
                  <a:extLst>
                    <a:ext uri="{FF2B5EF4-FFF2-40B4-BE49-F238E27FC236}">
                      <a16:creationId xmlns:a16="http://schemas.microsoft.com/office/drawing/2014/main" id="{ADFC4509-9354-BE89-4A9D-A1D5D8B89BB5}"/>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2" name="Graphic 1393">
                <a:extLst>
                  <a:ext uri="{FF2B5EF4-FFF2-40B4-BE49-F238E27FC236}">
                    <a16:creationId xmlns:a16="http://schemas.microsoft.com/office/drawing/2014/main" id="{415856A7-8D3C-32B9-D54E-2A00BB0C5DC9}"/>
                  </a:ext>
                </a:extLst>
              </p:cNvPr>
              <p:cNvGrpSpPr/>
              <p:nvPr/>
            </p:nvGrpSpPr>
            <p:grpSpPr>
              <a:xfrm>
                <a:off x="4760023" y="3035712"/>
                <a:ext cx="75723" cy="75628"/>
                <a:chOff x="4760023" y="3035712"/>
                <a:chExt cx="75723" cy="75628"/>
              </a:xfrm>
            </p:grpSpPr>
            <p:sp>
              <p:nvSpPr>
                <p:cNvPr id="15715" name="Freeform: Shape 15714">
                  <a:extLst>
                    <a:ext uri="{FF2B5EF4-FFF2-40B4-BE49-F238E27FC236}">
                      <a16:creationId xmlns:a16="http://schemas.microsoft.com/office/drawing/2014/main" id="{DF32E0AF-7496-EA87-9B37-FB34CCD2582A}"/>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6" name="Freeform: Shape 15715">
                  <a:extLst>
                    <a:ext uri="{FF2B5EF4-FFF2-40B4-BE49-F238E27FC236}">
                      <a16:creationId xmlns:a16="http://schemas.microsoft.com/office/drawing/2014/main" id="{7ACC63D9-FA30-C9E8-154B-78FF75811415}"/>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6" name="Graphic 1393">
                <a:extLst>
                  <a:ext uri="{FF2B5EF4-FFF2-40B4-BE49-F238E27FC236}">
                    <a16:creationId xmlns:a16="http://schemas.microsoft.com/office/drawing/2014/main" id="{296DC03E-0F14-7A80-E98D-3A4D1AD4D512}"/>
                  </a:ext>
                </a:extLst>
              </p:cNvPr>
              <p:cNvGrpSpPr/>
              <p:nvPr/>
            </p:nvGrpSpPr>
            <p:grpSpPr>
              <a:xfrm>
                <a:off x="5101113" y="3149536"/>
                <a:ext cx="75628" cy="75723"/>
                <a:chOff x="5101113" y="3149536"/>
                <a:chExt cx="75628" cy="75723"/>
              </a:xfrm>
            </p:grpSpPr>
            <p:sp>
              <p:nvSpPr>
                <p:cNvPr id="15713" name="Freeform: Shape 15712">
                  <a:extLst>
                    <a:ext uri="{FF2B5EF4-FFF2-40B4-BE49-F238E27FC236}">
                      <a16:creationId xmlns:a16="http://schemas.microsoft.com/office/drawing/2014/main" id="{C2F8EE0F-F596-40E3-D740-5B79E644BFD0}"/>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4" name="Freeform: Shape 15713">
                  <a:extLst>
                    <a:ext uri="{FF2B5EF4-FFF2-40B4-BE49-F238E27FC236}">
                      <a16:creationId xmlns:a16="http://schemas.microsoft.com/office/drawing/2014/main" id="{838A8FA6-1EDC-92A7-B657-EF9F72FFDFBA}"/>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7" name="Graphic 1393">
                <a:extLst>
                  <a:ext uri="{FF2B5EF4-FFF2-40B4-BE49-F238E27FC236}">
                    <a16:creationId xmlns:a16="http://schemas.microsoft.com/office/drawing/2014/main" id="{CEA9AAE7-FE3C-FEC8-ADA5-F6592A5B8D5C}"/>
                  </a:ext>
                </a:extLst>
              </p:cNvPr>
              <p:cNvGrpSpPr/>
              <p:nvPr/>
            </p:nvGrpSpPr>
            <p:grpSpPr>
              <a:xfrm>
                <a:off x="5127402" y="3149536"/>
                <a:ext cx="75723" cy="75723"/>
                <a:chOff x="5127402" y="3149536"/>
                <a:chExt cx="75723" cy="75723"/>
              </a:xfrm>
            </p:grpSpPr>
            <p:sp>
              <p:nvSpPr>
                <p:cNvPr id="15711" name="Freeform: Shape 15710">
                  <a:extLst>
                    <a:ext uri="{FF2B5EF4-FFF2-40B4-BE49-F238E27FC236}">
                      <a16:creationId xmlns:a16="http://schemas.microsoft.com/office/drawing/2014/main" id="{23B74027-88EF-9D97-67E8-FA637888B12F}"/>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2" name="Freeform: Shape 15711">
                  <a:extLst>
                    <a:ext uri="{FF2B5EF4-FFF2-40B4-BE49-F238E27FC236}">
                      <a16:creationId xmlns:a16="http://schemas.microsoft.com/office/drawing/2014/main" id="{1C73C127-5819-CCEF-1F3C-765FE2D9E7C6}"/>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8" name="Graphic 1393">
                <a:extLst>
                  <a:ext uri="{FF2B5EF4-FFF2-40B4-BE49-F238E27FC236}">
                    <a16:creationId xmlns:a16="http://schemas.microsoft.com/office/drawing/2014/main" id="{D4628B50-FC8B-0C24-B55A-B7078D07FEAE}"/>
                  </a:ext>
                </a:extLst>
              </p:cNvPr>
              <p:cNvGrpSpPr/>
              <p:nvPr/>
            </p:nvGrpSpPr>
            <p:grpSpPr>
              <a:xfrm>
                <a:off x="5144833" y="3157061"/>
                <a:ext cx="75723" cy="75723"/>
                <a:chOff x="5144833" y="3157061"/>
                <a:chExt cx="75723" cy="75723"/>
              </a:xfrm>
            </p:grpSpPr>
            <p:sp>
              <p:nvSpPr>
                <p:cNvPr id="15709" name="Freeform: Shape 15708">
                  <a:extLst>
                    <a:ext uri="{FF2B5EF4-FFF2-40B4-BE49-F238E27FC236}">
                      <a16:creationId xmlns:a16="http://schemas.microsoft.com/office/drawing/2014/main" id="{CE1762E5-2689-0478-5CCC-9F9F8309D0A1}"/>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0" name="Freeform: Shape 15709">
                  <a:extLst>
                    <a:ext uri="{FF2B5EF4-FFF2-40B4-BE49-F238E27FC236}">
                      <a16:creationId xmlns:a16="http://schemas.microsoft.com/office/drawing/2014/main" id="{CE9D4D04-E275-2738-4556-058B40A2DFD4}"/>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9" name="Graphic 1393">
                <a:extLst>
                  <a:ext uri="{FF2B5EF4-FFF2-40B4-BE49-F238E27FC236}">
                    <a16:creationId xmlns:a16="http://schemas.microsoft.com/office/drawing/2014/main" id="{786CD7ED-79C9-AE84-76C7-1A696A8C4834}"/>
                  </a:ext>
                </a:extLst>
              </p:cNvPr>
              <p:cNvGrpSpPr/>
              <p:nvPr/>
            </p:nvGrpSpPr>
            <p:grpSpPr>
              <a:xfrm>
                <a:off x="5158263" y="3164776"/>
                <a:ext cx="75628" cy="75723"/>
                <a:chOff x="5158263" y="3164776"/>
                <a:chExt cx="75628" cy="75723"/>
              </a:xfrm>
            </p:grpSpPr>
            <p:sp>
              <p:nvSpPr>
                <p:cNvPr id="15707" name="Freeform: Shape 15706">
                  <a:extLst>
                    <a:ext uri="{FF2B5EF4-FFF2-40B4-BE49-F238E27FC236}">
                      <a16:creationId xmlns:a16="http://schemas.microsoft.com/office/drawing/2014/main" id="{9AACB939-24FD-E011-2EC0-92D59F7C0949}"/>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8" name="Freeform: Shape 15707">
                  <a:extLst>
                    <a:ext uri="{FF2B5EF4-FFF2-40B4-BE49-F238E27FC236}">
                      <a16:creationId xmlns:a16="http://schemas.microsoft.com/office/drawing/2014/main" id="{ABC88AD9-19B2-CDC6-7CB3-FC7216E7C200}"/>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0" name="Graphic 1393">
                <a:extLst>
                  <a:ext uri="{FF2B5EF4-FFF2-40B4-BE49-F238E27FC236}">
                    <a16:creationId xmlns:a16="http://schemas.microsoft.com/office/drawing/2014/main" id="{20AF430F-9287-3B4D-7134-2D867AB2E307}"/>
                  </a:ext>
                </a:extLst>
              </p:cNvPr>
              <p:cNvGrpSpPr/>
              <p:nvPr/>
            </p:nvGrpSpPr>
            <p:grpSpPr>
              <a:xfrm>
                <a:off x="5163216" y="3173158"/>
                <a:ext cx="75723" cy="75723"/>
                <a:chOff x="5163216" y="3173158"/>
                <a:chExt cx="75723" cy="75723"/>
              </a:xfrm>
            </p:grpSpPr>
            <p:sp>
              <p:nvSpPr>
                <p:cNvPr id="15705" name="Freeform: Shape 15704">
                  <a:extLst>
                    <a:ext uri="{FF2B5EF4-FFF2-40B4-BE49-F238E27FC236}">
                      <a16:creationId xmlns:a16="http://schemas.microsoft.com/office/drawing/2014/main" id="{DAE65E5D-893C-5FA7-2A27-1F3E48A36E15}"/>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6" name="Freeform: Shape 15705">
                  <a:extLst>
                    <a:ext uri="{FF2B5EF4-FFF2-40B4-BE49-F238E27FC236}">
                      <a16:creationId xmlns:a16="http://schemas.microsoft.com/office/drawing/2014/main" id="{ACE2C6FB-5E18-6A56-4808-EF4AF858D4A2}"/>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1" name="Graphic 1393">
                <a:extLst>
                  <a:ext uri="{FF2B5EF4-FFF2-40B4-BE49-F238E27FC236}">
                    <a16:creationId xmlns:a16="http://schemas.microsoft.com/office/drawing/2014/main" id="{1D2BBE21-50E7-7824-AB3B-4D7FD62DC2E9}"/>
                  </a:ext>
                </a:extLst>
              </p:cNvPr>
              <p:cNvGrpSpPr/>
              <p:nvPr/>
            </p:nvGrpSpPr>
            <p:grpSpPr>
              <a:xfrm>
                <a:off x="5169312" y="3185636"/>
                <a:ext cx="75723" cy="75723"/>
                <a:chOff x="5169312" y="3185636"/>
                <a:chExt cx="75723" cy="75723"/>
              </a:xfrm>
            </p:grpSpPr>
            <p:sp>
              <p:nvSpPr>
                <p:cNvPr id="15703" name="Freeform: Shape 15702">
                  <a:extLst>
                    <a:ext uri="{FF2B5EF4-FFF2-40B4-BE49-F238E27FC236}">
                      <a16:creationId xmlns:a16="http://schemas.microsoft.com/office/drawing/2014/main" id="{DA6A0F74-EC7D-9C70-370F-D46F32743FE1}"/>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4" name="Freeform: Shape 15703">
                  <a:extLst>
                    <a:ext uri="{FF2B5EF4-FFF2-40B4-BE49-F238E27FC236}">
                      <a16:creationId xmlns:a16="http://schemas.microsoft.com/office/drawing/2014/main" id="{0CF5080A-8917-C449-3B2E-5232F37018F2}"/>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2" name="Graphic 1393">
                <a:extLst>
                  <a:ext uri="{FF2B5EF4-FFF2-40B4-BE49-F238E27FC236}">
                    <a16:creationId xmlns:a16="http://schemas.microsoft.com/office/drawing/2014/main" id="{53FCBEC1-3EC6-C707-DE6E-0CCF2EC8DC91}"/>
                  </a:ext>
                </a:extLst>
              </p:cNvPr>
              <p:cNvGrpSpPr/>
              <p:nvPr/>
            </p:nvGrpSpPr>
            <p:grpSpPr>
              <a:xfrm>
                <a:off x="5176741" y="3223545"/>
                <a:ext cx="75723" cy="75628"/>
                <a:chOff x="5176741" y="3223545"/>
                <a:chExt cx="75723" cy="75628"/>
              </a:xfrm>
            </p:grpSpPr>
            <p:sp>
              <p:nvSpPr>
                <p:cNvPr id="15701" name="Freeform: Shape 15700">
                  <a:extLst>
                    <a:ext uri="{FF2B5EF4-FFF2-40B4-BE49-F238E27FC236}">
                      <a16:creationId xmlns:a16="http://schemas.microsoft.com/office/drawing/2014/main" id="{FB43CB4D-6E0C-E2EC-8B0A-7409F480BE79}"/>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2" name="Freeform: Shape 15701">
                  <a:extLst>
                    <a:ext uri="{FF2B5EF4-FFF2-40B4-BE49-F238E27FC236}">
                      <a16:creationId xmlns:a16="http://schemas.microsoft.com/office/drawing/2014/main" id="{375698A6-DCB0-858A-9F7A-09A6A5CEAB0E}"/>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3" name="Graphic 1393">
                <a:extLst>
                  <a:ext uri="{FF2B5EF4-FFF2-40B4-BE49-F238E27FC236}">
                    <a16:creationId xmlns:a16="http://schemas.microsoft.com/office/drawing/2014/main" id="{5253A00C-BBE1-50BD-803B-492D0093DA6F}"/>
                  </a:ext>
                </a:extLst>
              </p:cNvPr>
              <p:cNvGrpSpPr/>
              <p:nvPr/>
            </p:nvGrpSpPr>
            <p:grpSpPr>
              <a:xfrm>
                <a:off x="5182742" y="3234785"/>
                <a:ext cx="75628" cy="75628"/>
                <a:chOff x="5182742" y="3234785"/>
                <a:chExt cx="75628" cy="75628"/>
              </a:xfrm>
            </p:grpSpPr>
            <p:sp>
              <p:nvSpPr>
                <p:cNvPr id="15699" name="Freeform: Shape 15698">
                  <a:extLst>
                    <a:ext uri="{FF2B5EF4-FFF2-40B4-BE49-F238E27FC236}">
                      <a16:creationId xmlns:a16="http://schemas.microsoft.com/office/drawing/2014/main" id="{4A7B1CE2-1C37-B3DC-7789-579D57EE36EC}"/>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0" name="Freeform: Shape 15699">
                  <a:extLst>
                    <a:ext uri="{FF2B5EF4-FFF2-40B4-BE49-F238E27FC236}">
                      <a16:creationId xmlns:a16="http://schemas.microsoft.com/office/drawing/2014/main" id="{9E738031-B1A9-1B20-8A65-E679E1353DC2}"/>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4" name="Graphic 1393">
                <a:extLst>
                  <a:ext uri="{FF2B5EF4-FFF2-40B4-BE49-F238E27FC236}">
                    <a16:creationId xmlns:a16="http://schemas.microsoft.com/office/drawing/2014/main" id="{F90200EC-A525-5D37-723A-9ABCA3C46FC1}"/>
                  </a:ext>
                </a:extLst>
              </p:cNvPr>
              <p:cNvGrpSpPr/>
              <p:nvPr/>
            </p:nvGrpSpPr>
            <p:grpSpPr>
              <a:xfrm>
                <a:off x="5193220" y="3242595"/>
                <a:ext cx="75628" cy="75723"/>
                <a:chOff x="5193220" y="3242595"/>
                <a:chExt cx="75628" cy="75723"/>
              </a:xfrm>
            </p:grpSpPr>
            <p:sp>
              <p:nvSpPr>
                <p:cNvPr id="15696" name="Freeform: Shape 15695">
                  <a:extLst>
                    <a:ext uri="{FF2B5EF4-FFF2-40B4-BE49-F238E27FC236}">
                      <a16:creationId xmlns:a16="http://schemas.microsoft.com/office/drawing/2014/main" id="{59C1A574-1E53-D813-B575-164657235C98}"/>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8" name="Freeform: Shape 15697">
                  <a:extLst>
                    <a:ext uri="{FF2B5EF4-FFF2-40B4-BE49-F238E27FC236}">
                      <a16:creationId xmlns:a16="http://schemas.microsoft.com/office/drawing/2014/main" id="{43D557E6-7751-5AD1-41D1-5703DF963307}"/>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5" name="Graphic 1393">
                <a:extLst>
                  <a:ext uri="{FF2B5EF4-FFF2-40B4-BE49-F238E27FC236}">
                    <a16:creationId xmlns:a16="http://schemas.microsoft.com/office/drawing/2014/main" id="{0F249CE6-F5A4-5A50-66E6-788AD0BE0329}"/>
                  </a:ext>
                </a:extLst>
              </p:cNvPr>
              <p:cNvGrpSpPr/>
              <p:nvPr/>
            </p:nvGrpSpPr>
            <p:grpSpPr>
              <a:xfrm>
                <a:off x="5203126" y="3252597"/>
                <a:ext cx="75628" cy="75723"/>
                <a:chOff x="5203126" y="3252597"/>
                <a:chExt cx="75628" cy="75723"/>
              </a:xfrm>
            </p:grpSpPr>
            <p:sp>
              <p:nvSpPr>
                <p:cNvPr id="15694" name="Freeform: Shape 15693">
                  <a:extLst>
                    <a:ext uri="{FF2B5EF4-FFF2-40B4-BE49-F238E27FC236}">
                      <a16:creationId xmlns:a16="http://schemas.microsoft.com/office/drawing/2014/main" id="{CF92B1B4-8CD6-AC07-C148-4E920005364E}"/>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5" name="Freeform: Shape 15694">
                  <a:extLst>
                    <a:ext uri="{FF2B5EF4-FFF2-40B4-BE49-F238E27FC236}">
                      <a16:creationId xmlns:a16="http://schemas.microsoft.com/office/drawing/2014/main" id="{79046AD3-89FB-C8CF-F792-1175EACB3A9A}"/>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6" name="Graphic 1393">
                <a:extLst>
                  <a:ext uri="{FF2B5EF4-FFF2-40B4-BE49-F238E27FC236}">
                    <a16:creationId xmlns:a16="http://schemas.microsoft.com/office/drawing/2014/main" id="{ACD30307-F6F3-0EFB-DCA2-5C499B81E9B2}"/>
                  </a:ext>
                </a:extLst>
              </p:cNvPr>
              <p:cNvGrpSpPr/>
              <p:nvPr/>
            </p:nvGrpSpPr>
            <p:grpSpPr>
              <a:xfrm>
                <a:off x="5209317" y="3256883"/>
                <a:ext cx="75723" cy="75723"/>
                <a:chOff x="5209317" y="3256883"/>
                <a:chExt cx="75723" cy="75723"/>
              </a:xfrm>
            </p:grpSpPr>
            <p:sp>
              <p:nvSpPr>
                <p:cNvPr id="15692" name="Freeform: Shape 15691">
                  <a:extLst>
                    <a:ext uri="{FF2B5EF4-FFF2-40B4-BE49-F238E27FC236}">
                      <a16:creationId xmlns:a16="http://schemas.microsoft.com/office/drawing/2014/main" id="{32AE3AF6-E6F2-77E4-9D4E-F40038B28CBE}"/>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3" name="Freeform: Shape 15692">
                  <a:extLst>
                    <a:ext uri="{FF2B5EF4-FFF2-40B4-BE49-F238E27FC236}">
                      <a16:creationId xmlns:a16="http://schemas.microsoft.com/office/drawing/2014/main" id="{6612CDFF-5539-7F88-5206-CB327CCA641C}"/>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7" name="Graphic 1393">
                <a:extLst>
                  <a:ext uri="{FF2B5EF4-FFF2-40B4-BE49-F238E27FC236}">
                    <a16:creationId xmlns:a16="http://schemas.microsoft.com/office/drawing/2014/main" id="{19C5363C-203B-81AD-AD39-FC265472034D}"/>
                  </a:ext>
                </a:extLst>
              </p:cNvPr>
              <p:cNvGrpSpPr/>
              <p:nvPr/>
            </p:nvGrpSpPr>
            <p:grpSpPr>
              <a:xfrm>
                <a:off x="5565552" y="3315557"/>
                <a:ext cx="75723" cy="75723"/>
                <a:chOff x="5565552" y="3315557"/>
                <a:chExt cx="75723" cy="75723"/>
              </a:xfrm>
            </p:grpSpPr>
            <p:sp>
              <p:nvSpPr>
                <p:cNvPr id="15690" name="Freeform: Shape 15689">
                  <a:extLst>
                    <a:ext uri="{FF2B5EF4-FFF2-40B4-BE49-F238E27FC236}">
                      <a16:creationId xmlns:a16="http://schemas.microsoft.com/office/drawing/2014/main" id="{1B566CE1-E0E6-EE23-F9E4-D6CAA64FEC08}"/>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1" name="Freeform: Shape 15690">
                  <a:extLst>
                    <a:ext uri="{FF2B5EF4-FFF2-40B4-BE49-F238E27FC236}">
                      <a16:creationId xmlns:a16="http://schemas.microsoft.com/office/drawing/2014/main" id="{CE366C3A-C4A6-A267-6122-1FCDDCC73BD8}"/>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8" name="Graphic 1393">
                <a:extLst>
                  <a:ext uri="{FF2B5EF4-FFF2-40B4-BE49-F238E27FC236}">
                    <a16:creationId xmlns:a16="http://schemas.microsoft.com/office/drawing/2014/main" id="{6E2EFD68-4A8D-2542-B187-80EF166B4790}"/>
                  </a:ext>
                </a:extLst>
              </p:cNvPr>
              <p:cNvGrpSpPr/>
              <p:nvPr/>
            </p:nvGrpSpPr>
            <p:grpSpPr>
              <a:xfrm>
                <a:off x="5579268" y="3321653"/>
                <a:ext cx="75723" cy="75723"/>
                <a:chOff x="5579268" y="3321653"/>
                <a:chExt cx="75723" cy="75723"/>
              </a:xfrm>
            </p:grpSpPr>
            <p:sp>
              <p:nvSpPr>
                <p:cNvPr id="15688" name="Freeform: Shape 15687">
                  <a:extLst>
                    <a:ext uri="{FF2B5EF4-FFF2-40B4-BE49-F238E27FC236}">
                      <a16:creationId xmlns:a16="http://schemas.microsoft.com/office/drawing/2014/main" id="{F67A30BA-0E74-2F7A-695C-331C26945BCC}"/>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9" name="Freeform: Shape 15688">
                  <a:extLst>
                    <a:ext uri="{FF2B5EF4-FFF2-40B4-BE49-F238E27FC236}">
                      <a16:creationId xmlns:a16="http://schemas.microsoft.com/office/drawing/2014/main" id="{4EF48803-EB07-E5DF-6CAD-B6CE1B409615}"/>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9" name="Graphic 1393">
                <a:extLst>
                  <a:ext uri="{FF2B5EF4-FFF2-40B4-BE49-F238E27FC236}">
                    <a16:creationId xmlns:a16="http://schemas.microsoft.com/office/drawing/2014/main" id="{FD1B83C9-5E7B-CF8F-6DA1-6758860276E8}"/>
                  </a:ext>
                </a:extLst>
              </p:cNvPr>
              <p:cNvGrpSpPr/>
              <p:nvPr/>
            </p:nvGrpSpPr>
            <p:grpSpPr>
              <a:xfrm>
                <a:off x="5583554" y="3338703"/>
                <a:ext cx="75628" cy="75628"/>
                <a:chOff x="5583554" y="3338703"/>
                <a:chExt cx="75628" cy="75628"/>
              </a:xfrm>
            </p:grpSpPr>
            <p:sp>
              <p:nvSpPr>
                <p:cNvPr id="15686" name="Freeform: Shape 15685">
                  <a:extLst>
                    <a:ext uri="{FF2B5EF4-FFF2-40B4-BE49-F238E27FC236}">
                      <a16:creationId xmlns:a16="http://schemas.microsoft.com/office/drawing/2014/main" id="{1C4B6AD2-6C79-6854-A7EB-DB87A3CBDF6B}"/>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7" name="Freeform: Shape 15686">
                  <a:extLst>
                    <a:ext uri="{FF2B5EF4-FFF2-40B4-BE49-F238E27FC236}">
                      <a16:creationId xmlns:a16="http://schemas.microsoft.com/office/drawing/2014/main" id="{D6CBA0BD-34FC-FD2F-87B9-9272D615A2AE}"/>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0" name="Graphic 1393">
                <a:extLst>
                  <a:ext uri="{FF2B5EF4-FFF2-40B4-BE49-F238E27FC236}">
                    <a16:creationId xmlns:a16="http://schemas.microsoft.com/office/drawing/2014/main" id="{BE02AF55-8D4D-32FD-C7DD-C07985CDE23A}"/>
                  </a:ext>
                </a:extLst>
              </p:cNvPr>
              <p:cNvGrpSpPr/>
              <p:nvPr/>
            </p:nvGrpSpPr>
            <p:grpSpPr>
              <a:xfrm>
                <a:off x="5593270" y="3338703"/>
                <a:ext cx="75628" cy="75628"/>
                <a:chOff x="5593270" y="3338703"/>
                <a:chExt cx="75628" cy="75628"/>
              </a:xfrm>
            </p:grpSpPr>
            <p:sp>
              <p:nvSpPr>
                <p:cNvPr id="15684" name="Freeform: Shape 15683">
                  <a:extLst>
                    <a:ext uri="{FF2B5EF4-FFF2-40B4-BE49-F238E27FC236}">
                      <a16:creationId xmlns:a16="http://schemas.microsoft.com/office/drawing/2014/main" id="{E5FD572E-8099-E504-E1B8-0700A4042264}"/>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5" name="Freeform: Shape 15684">
                  <a:extLst>
                    <a:ext uri="{FF2B5EF4-FFF2-40B4-BE49-F238E27FC236}">
                      <a16:creationId xmlns:a16="http://schemas.microsoft.com/office/drawing/2014/main" id="{68CD9D44-3681-5547-8482-0F7C100AF02A}"/>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1" name="Graphic 1393">
                <a:extLst>
                  <a:ext uri="{FF2B5EF4-FFF2-40B4-BE49-F238E27FC236}">
                    <a16:creationId xmlns:a16="http://schemas.microsoft.com/office/drawing/2014/main" id="{88E22FC8-46FD-58D2-6CD3-7826075DA350}"/>
                  </a:ext>
                </a:extLst>
              </p:cNvPr>
              <p:cNvGrpSpPr/>
              <p:nvPr/>
            </p:nvGrpSpPr>
            <p:grpSpPr>
              <a:xfrm>
                <a:off x="5603461" y="3338703"/>
                <a:ext cx="75628" cy="75628"/>
                <a:chOff x="5603461" y="3338703"/>
                <a:chExt cx="75628" cy="75628"/>
              </a:xfrm>
            </p:grpSpPr>
            <p:sp>
              <p:nvSpPr>
                <p:cNvPr id="15682" name="Freeform: Shape 15681">
                  <a:extLst>
                    <a:ext uri="{FF2B5EF4-FFF2-40B4-BE49-F238E27FC236}">
                      <a16:creationId xmlns:a16="http://schemas.microsoft.com/office/drawing/2014/main" id="{0DC3B656-B97D-3749-434E-C7E6F4AAB930}"/>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3" name="Freeform: Shape 15682">
                  <a:extLst>
                    <a:ext uri="{FF2B5EF4-FFF2-40B4-BE49-F238E27FC236}">
                      <a16:creationId xmlns:a16="http://schemas.microsoft.com/office/drawing/2014/main" id="{BD47311A-E636-2FB4-554F-7A32B7F29592}"/>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2" name="Graphic 1393">
                <a:extLst>
                  <a:ext uri="{FF2B5EF4-FFF2-40B4-BE49-F238E27FC236}">
                    <a16:creationId xmlns:a16="http://schemas.microsoft.com/office/drawing/2014/main" id="{4BF9C081-F602-3727-1A0B-4322A6650DD2}"/>
                  </a:ext>
                </a:extLst>
              </p:cNvPr>
              <p:cNvGrpSpPr/>
              <p:nvPr/>
            </p:nvGrpSpPr>
            <p:grpSpPr>
              <a:xfrm>
                <a:off x="5600985" y="3383946"/>
                <a:ext cx="75723" cy="75628"/>
                <a:chOff x="5600985" y="3383946"/>
                <a:chExt cx="75723" cy="75628"/>
              </a:xfrm>
            </p:grpSpPr>
            <p:sp>
              <p:nvSpPr>
                <p:cNvPr id="15680" name="Freeform: Shape 15679">
                  <a:extLst>
                    <a:ext uri="{FF2B5EF4-FFF2-40B4-BE49-F238E27FC236}">
                      <a16:creationId xmlns:a16="http://schemas.microsoft.com/office/drawing/2014/main" id="{994FA4A6-C384-0A7F-6120-E322492E6DB0}"/>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1" name="Freeform: Shape 15680">
                  <a:extLst>
                    <a:ext uri="{FF2B5EF4-FFF2-40B4-BE49-F238E27FC236}">
                      <a16:creationId xmlns:a16="http://schemas.microsoft.com/office/drawing/2014/main" id="{9AA760F6-53BD-2A96-9DB6-C721B376CF26}"/>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8" name="Graphic 1393">
                <a:extLst>
                  <a:ext uri="{FF2B5EF4-FFF2-40B4-BE49-F238E27FC236}">
                    <a16:creationId xmlns:a16="http://schemas.microsoft.com/office/drawing/2014/main" id="{112FA3CC-C6CA-29D9-5E11-DD4EF63A67F2}"/>
                  </a:ext>
                </a:extLst>
              </p:cNvPr>
              <p:cNvGrpSpPr/>
              <p:nvPr/>
            </p:nvGrpSpPr>
            <p:grpSpPr>
              <a:xfrm>
                <a:off x="5611367" y="3391281"/>
                <a:ext cx="75628" cy="75628"/>
                <a:chOff x="5611367" y="3391281"/>
                <a:chExt cx="75628" cy="75628"/>
              </a:xfrm>
            </p:grpSpPr>
            <p:sp>
              <p:nvSpPr>
                <p:cNvPr id="15358" name="Freeform: Shape 15357">
                  <a:extLst>
                    <a:ext uri="{FF2B5EF4-FFF2-40B4-BE49-F238E27FC236}">
                      <a16:creationId xmlns:a16="http://schemas.microsoft.com/office/drawing/2014/main" id="{BEFD0623-96FE-7067-1994-1F7AA1167CCA}"/>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9" name="Freeform: Shape 15358">
                  <a:extLst>
                    <a:ext uri="{FF2B5EF4-FFF2-40B4-BE49-F238E27FC236}">
                      <a16:creationId xmlns:a16="http://schemas.microsoft.com/office/drawing/2014/main" id="{5B3A4F10-DC84-31DA-0CA3-3BFA4BE71CA9}"/>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9" name="Graphic 1393">
                <a:extLst>
                  <a:ext uri="{FF2B5EF4-FFF2-40B4-BE49-F238E27FC236}">
                    <a16:creationId xmlns:a16="http://schemas.microsoft.com/office/drawing/2014/main" id="{050931A8-7D8A-8582-B906-A53DA4CF7CF6}"/>
                  </a:ext>
                </a:extLst>
              </p:cNvPr>
              <p:cNvGrpSpPr/>
              <p:nvPr/>
            </p:nvGrpSpPr>
            <p:grpSpPr>
              <a:xfrm>
                <a:off x="5621368" y="3398805"/>
                <a:ext cx="75723" cy="75723"/>
                <a:chOff x="5621368" y="3398805"/>
                <a:chExt cx="75723" cy="75723"/>
              </a:xfrm>
            </p:grpSpPr>
            <p:sp>
              <p:nvSpPr>
                <p:cNvPr id="15356" name="Freeform: Shape 15355">
                  <a:extLst>
                    <a:ext uri="{FF2B5EF4-FFF2-40B4-BE49-F238E27FC236}">
                      <a16:creationId xmlns:a16="http://schemas.microsoft.com/office/drawing/2014/main" id="{4BEA1A5A-D43F-A972-7625-5C27C5D93CAB}"/>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7" name="Freeform: Shape 15356">
                  <a:extLst>
                    <a:ext uri="{FF2B5EF4-FFF2-40B4-BE49-F238E27FC236}">
                      <a16:creationId xmlns:a16="http://schemas.microsoft.com/office/drawing/2014/main" id="{0D2D870C-6E58-D572-FF1A-72A4E76FE9E0}"/>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0" name="Graphic 1393">
                <a:extLst>
                  <a:ext uri="{FF2B5EF4-FFF2-40B4-BE49-F238E27FC236}">
                    <a16:creationId xmlns:a16="http://schemas.microsoft.com/office/drawing/2014/main" id="{7903713E-5B22-5167-7D7E-8FDE85FA0819}"/>
                  </a:ext>
                </a:extLst>
              </p:cNvPr>
              <p:cNvGrpSpPr/>
              <p:nvPr/>
            </p:nvGrpSpPr>
            <p:grpSpPr>
              <a:xfrm>
                <a:off x="5633179" y="3404235"/>
                <a:ext cx="75723" cy="75723"/>
                <a:chOff x="5633179" y="3404235"/>
                <a:chExt cx="75723" cy="75723"/>
              </a:xfrm>
            </p:grpSpPr>
            <p:sp>
              <p:nvSpPr>
                <p:cNvPr id="15354" name="Freeform: Shape 15353">
                  <a:extLst>
                    <a:ext uri="{FF2B5EF4-FFF2-40B4-BE49-F238E27FC236}">
                      <a16:creationId xmlns:a16="http://schemas.microsoft.com/office/drawing/2014/main" id="{1AA70BBD-C3DF-BB2C-C712-59D78A289AFD}"/>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5" name="Freeform: Shape 15354">
                  <a:extLst>
                    <a:ext uri="{FF2B5EF4-FFF2-40B4-BE49-F238E27FC236}">
                      <a16:creationId xmlns:a16="http://schemas.microsoft.com/office/drawing/2014/main" id="{295FB903-557A-2281-1A86-8932A01F0E15}"/>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1" name="Graphic 1393">
                <a:extLst>
                  <a:ext uri="{FF2B5EF4-FFF2-40B4-BE49-F238E27FC236}">
                    <a16:creationId xmlns:a16="http://schemas.microsoft.com/office/drawing/2014/main" id="{6F946EAB-BC89-EC65-C5C7-B4B063BBC3C7}"/>
                  </a:ext>
                </a:extLst>
              </p:cNvPr>
              <p:cNvGrpSpPr/>
              <p:nvPr/>
            </p:nvGrpSpPr>
            <p:grpSpPr>
              <a:xfrm>
                <a:off x="5642990" y="3418046"/>
                <a:ext cx="75628" cy="75723"/>
                <a:chOff x="5642990" y="3418046"/>
                <a:chExt cx="75628" cy="75723"/>
              </a:xfrm>
            </p:grpSpPr>
            <p:sp>
              <p:nvSpPr>
                <p:cNvPr id="15352" name="Freeform: Shape 15351">
                  <a:extLst>
                    <a:ext uri="{FF2B5EF4-FFF2-40B4-BE49-F238E27FC236}">
                      <a16:creationId xmlns:a16="http://schemas.microsoft.com/office/drawing/2014/main" id="{E8C044FE-957A-0AE1-6C48-4303A1F08E03}"/>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3" name="Freeform: Shape 15352">
                  <a:extLst>
                    <a:ext uri="{FF2B5EF4-FFF2-40B4-BE49-F238E27FC236}">
                      <a16:creationId xmlns:a16="http://schemas.microsoft.com/office/drawing/2014/main" id="{4A237904-2B7D-B6FD-CE55-E17626E2BDE0}"/>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2" name="Graphic 1393">
                <a:extLst>
                  <a:ext uri="{FF2B5EF4-FFF2-40B4-BE49-F238E27FC236}">
                    <a16:creationId xmlns:a16="http://schemas.microsoft.com/office/drawing/2014/main" id="{BBEF6283-DDFC-71D4-63DF-91D69A3CF9C5}"/>
                  </a:ext>
                </a:extLst>
              </p:cNvPr>
              <p:cNvGrpSpPr/>
              <p:nvPr/>
            </p:nvGrpSpPr>
            <p:grpSpPr>
              <a:xfrm>
                <a:off x="6005131" y="3484721"/>
                <a:ext cx="75723" cy="75723"/>
                <a:chOff x="6005131" y="3484721"/>
                <a:chExt cx="75723" cy="75723"/>
              </a:xfrm>
            </p:grpSpPr>
            <p:sp>
              <p:nvSpPr>
                <p:cNvPr id="15350" name="Freeform: Shape 15349">
                  <a:extLst>
                    <a:ext uri="{FF2B5EF4-FFF2-40B4-BE49-F238E27FC236}">
                      <a16:creationId xmlns:a16="http://schemas.microsoft.com/office/drawing/2014/main" id="{DAF107E8-4688-8292-BA2D-957AF669E2AE}"/>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1" name="Freeform: Shape 15350">
                  <a:extLst>
                    <a:ext uri="{FF2B5EF4-FFF2-40B4-BE49-F238E27FC236}">
                      <a16:creationId xmlns:a16="http://schemas.microsoft.com/office/drawing/2014/main" id="{41263FF1-55CF-050D-EF4D-D72C2CF5E1FA}"/>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3" name="Graphic 1393">
                <a:extLst>
                  <a:ext uri="{FF2B5EF4-FFF2-40B4-BE49-F238E27FC236}">
                    <a16:creationId xmlns:a16="http://schemas.microsoft.com/office/drawing/2014/main" id="{1DEA9217-799B-D5B4-CEAF-DB471656A6F1}"/>
                  </a:ext>
                </a:extLst>
              </p:cNvPr>
              <p:cNvGrpSpPr/>
              <p:nvPr/>
            </p:nvGrpSpPr>
            <p:grpSpPr>
              <a:xfrm>
                <a:off x="6021609" y="3484721"/>
                <a:ext cx="75628" cy="75723"/>
                <a:chOff x="6021609" y="3484721"/>
                <a:chExt cx="75628" cy="75723"/>
              </a:xfrm>
            </p:grpSpPr>
            <p:sp>
              <p:nvSpPr>
                <p:cNvPr id="15348" name="Freeform: Shape 15347">
                  <a:extLst>
                    <a:ext uri="{FF2B5EF4-FFF2-40B4-BE49-F238E27FC236}">
                      <a16:creationId xmlns:a16="http://schemas.microsoft.com/office/drawing/2014/main" id="{C4EC8905-1FA0-790B-218E-C4B59B6590CB}"/>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9" name="Freeform: Shape 15348">
                  <a:extLst>
                    <a:ext uri="{FF2B5EF4-FFF2-40B4-BE49-F238E27FC236}">
                      <a16:creationId xmlns:a16="http://schemas.microsoft.com/office/drawing/2014/main" id="{7596ABAC-A28E-DB0C-3AA1-F924D9BADBDD}"/>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4" name="Graphic 1393">
                <a:extLst>
                  <a:ext uri="{FF2B5EF4-FFF2-40B4-BE49-F238E27FC236}">
                    <a16:creationId xmlns:a16="http://schemas.microsoft.com/office/drawing/2014/main" id="{005D1CA0-27C4-CF41-832C-1D2ED22D914C}"/>
                  </a:ext>
                </a:extLst>
              </p:cNvPr>
              <p:cNvGrpSpPr/>
              <p:nvPr/>
            </p:nvGrpSpPr>
            <p:grpSpPr>
              <a:xfrm>
                <a:off x="6029229" y="3535299"/>
                <a:ext cx="75723" cy="75723"/>
                <a:chOff x="6029229" y="3535299"/>
                <a:chExt cx="75723" cy="75723"/>
              </a:xfrm>
            </p:grpSpPr>
            <p:sp>
              <p:nvSpPr>
                <p:cNvPr id="15346" name="Freeform: Shape 15345">
                  <a:extLst>
                    <a:ext uri="{FF2B5EF4-FFF2-40B4-BE49-F238E27FC236}">
                      <a16:creationId xmlns:a16="http://schemas.microsoft.com/office/drawing/2014/main" id="{705F8164-05B9-7F77-C6C2-9D0E6178F3CE}"/>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7" name="Freeform: Shape 15346">
                  <a:extLst>
                    <a:ext uri="{FF2B5EF4-FFF2-40B4-BE49-F238E27FC236}">
                      <a16:creationId xmlns:a16="http://schemas.microsoft.com/office/drawing/2014/main" id="{3FEF73EE-03BE-8725-5629-A3AB8ABAE4CA}"/>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5" name="Graphic 1393">
                <a:extLst>
                  <a:ext uri="{FF2B5EF4-FFF2-40B4-BE49-F238E27FC236}">
                    <a16:creationId xmlns:a16="http://schemas.microsoft.com/office/drawing/2014/main" id="{65E3B22B-FBE4-3485-DF79-091C8C6B30E5}"/>
                  </a:ext>
                </a:extLst>
              </p:cNvPr>
              <p:cNvGrpSpPr/>
              <p:nvPr/>
            </p:nvGrpSpPr>
            <p:grpSpPr>
              <a:xfrm>
                <a:off x="6034658" y="3551015"/>
                <a:ext cx="75723" cy="75723"/>
                <a:chOff x="6034658" y="3551015"/>
                <a:chExt cx="75723" cy="75723"/>
              </a:xfrm>
            </p:grpSpPr>
            <p:sp>
              <p:nvSpPr>
                <p:cNvPr id="15344" name="Freeform: Shape 15343">
                  <a:extLst>
                    <a:ext uri="{FF2B5EF4-FFF2-40B4-BE49-F238E27FC236}">
                      <a16:creationId xmlns:a16="http://schemas.microsoft.com/office/drawing/2014/main" id="{43970915-F403-EAF1-FEAE-FA6226218A35}"/>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5" name="Freeform: Shape 15344">
                  <a:extLst>
                    <a:ext uri="{FF2B5EF4-FFF2-40B4-BE49-F238E27FC236}">
                      <a16:creationId xmlns:a16="http://schemas.microsoft.com/office/drawing/2014/main" id="{5808CAA4-E781-69E5-0C4C-F0C01F262445}"/>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6" name="Graphic 1393">
                <a:extLst>
                  <a:ext uri="{FF2B5EF4-FFF2-40B4-BE49-F238E27FC236}">
                    <a16:creationId xmlns:a16="http://schemas.microsoft.com/office/drawing/2014/main" id="{9EE44B15-5764-7030-56A5-F8CFC7E6771C}"/>
                  </a:ext>
                </a:extLst>
              </p:cNvPr>
              <p:cNvGrpSpPr/>
              <p:nvPr/>
            </p:nvGrpSpPr>
            <p:grpSpPr>
              <a:xfrm>
                <a:off x="6041040" y="3551015"/>
                <a:ext cx="75723" cy="75723"/>
                <a:chOff x="6041040" y="3551015"/>
                <a:chExt cx="75723" cy="75723"/>
              </a:xfrm>
            </p:grpSpPr>
            <p:sp>
              <p:nvSpPr>
                <p:cNvPr id="15342" name="Freeform: Shape 15341">
                  <a:extLst>
                    <a:ext uri="{FF2B5EF4-FFF2-40B4-BE49-F238E27FC236}">
                      <a16:creationId xmlns:a16="http://schemas.microsoft.com/office/drawing/2014/main" id="{34DC5ECD-47DE-DAC6-909D-367D6977E069}"/>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3" name="Freeform: Shape 15342">
                  <a:extLst>
                    <a:ext uri="{FF2B5EF4-FFF2-40B4-BE49-F238E27FC236}">
                      <a16:creationId xmlns:a16="http://schemas.microsoft.com/office/drawing/2014/main" id="{382F48F8-7D46-596A-C0FE-E82432091306}"/>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7" name="Graphic 1393">
                <a:extLst>
                  <a:ext uri="{FF2B5EF4-FFF2-40B4-BE49-F238E27FC236}">
                    <a16:creationId xmlns:a16="http://schemas.microsoft.com/office/drawing/2014/main" id="{38E8D4D6-0EFC-E975-C89B-4DE9DDAF2377}"/>
                  </a:ext>
                </a:extLst>
              </p:cNvPr>
              <p:cNvGrpSpPr/>
              <p:nvPr/>
            </p:nvGrpSpPr>
            <p:grpSpPr>
              <a:xfrm>
                <a:off x="6060757" y="3598449"/>
                <a:ext cx="75628" cy="75628"/>
                <a:chOff x="6060757" y="3598449"/>
                <a:chExt cx="75628" cy="75628"/>
              </a:xfrm>
            </p:grpSpPr>
            <p:sp>
              <p:nvSpPr>
                <p:cNvPr id="15340" name="Freeform: Shape 15339">
                  <a:extLst>
                    <a:ext uri="{FF2B5EF4-FFF2-40B4-BE49-F238E27FC236}">
                      <a16:creationId xmlns:a16="http://schemas.microsoft.com/office/drawing/2014/main" id="{707CF0EC-88A8-4089-ED82-2D4280CD577A}"/>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1" name="Freeform: Shape 15340">
                  <a:extLst>
                    <a:ext uri="{FF2B5EF4-FFF2-40B4-BE49-F238E27FC236}">
                      <a16:creationId xmlns:a16="http://schemas.microsoft.com/office/drawing/2014/main" id="{FF1FF6C0-B37F-F1C8-4804-4919CCED8C2C}"/>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3" name="Graphic 1393">
                <a:extLst>
                  <a:ext uri="{FF2B5EF4-FFF2-40B4-BE49-F238E27FC236}">
                    <a16:creationId xmlns:a16="http://schemas.microsoft.com/office/drawing/2014/main" id="{B4AD3A5F-E604-D58A-06FA-D0638DF966C7}"/>
                  </a:ext>
                </a:extLst>
              </p:cNvPr>
              <p:cNvGrpSpPr/>
              <p:nvPr/>
            </p:nvGrpSpPr>
            <p:grpSpPr>
              <a:xfrm>
                <a:off x="6415087" y="3598449"/>
                <a:ext cx="75723" cy="75628"/>
                <a:chOff x="6415087" y="3598449"/>
                <a:chExt cx="75723" cy="75628"/>
              </a:xfrm>
            </p:grpSpPr>
            <p:sp>
              <p:nvSpPr>
                <p:cNvPr id="15338" name="Freeform: Shape 15337">
                  <a:extLst>
                    <a:ext uri="{FF2B5EF4-FFF2-40B4-BE49-F238E27FC236}">
                      <a16:creationId xmlns:a16="http://schemas.microsoft.com/office/drawing/2014/main" id="{36E42FB2-475E-93AB-7B57-70BC5423109C}"/>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9" name="Freeform: Shape 15338">
                  <a:extLst>
                    <a:ext uri="{FF2B5EF4-FFF2-40B4-BE49-F238E27FC236}">
                      <a16:creationId xmlns:a16="http://schemas.microsoft.com/office/drawing/2014/main" id="{FF967DDC-B4C4-CB41-0089-14C51E5F18C3}"/>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4" name="Graphic 1393">
                <a:extLst>
                  <a:ext uri="{FF2B5EF4-FFF2-40B4-BE49-F238E27FC236}">
                    <a16:creationId xmlns:a16="http://schemas.microsoft.com/office/drawing/2014/main" id="{9D98263A-BA76-4E38-BC45-9BFF5AE79791}"/>
                  </a:ext>
                </a:extLst>
              </p:cNvPr>
              <p:cNvGrpSpPr/>
              <p:nvPr/>
            </p:nvGrpSpPr>
            <p:grpSpPr>
              <a:xfrm>
                <a:off x="6427469" y="3598449"/>
                <a:ext cx="75628" cy="75628"/>
                <a:chOff x="6427469" y="3598449"/>
                <a:chExt cx="75628" cy="75628"/>
              </a:xfrm>
            </p:grpSpPr>
            <p:sp>
              <p:nvSpPr>
                <p:cNvPr id="15336" name="Freeform: Shape 15335">
                  <a:extLst>
                    <a:ext uri="{FF2B5EF4-FFF2-40B4-BE49-F238E27FC236}">
                      <a16:creationId xmlns:a16="http://schemas.microsoft.com/office/drawing/2014/main" id="{E1582A18-6719-E1E0-796A-FC1870541FDF}"/>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7" name="Freeform: Shape 15336">
                  <a:extLst>
                    <a:ext uri="{FF2B5EF4-FFF2-40B4-BE49-F238E27FC236}">
                      <a16:creationId xmlns:a16="http://schemas.microsoft.com/office/drawing/2014/main" id="{5E8D0322-EA3C-4E53-F2A4-F5AE4DE0F036}"/>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5" name="Graphic 1393">
                <a:extLst>
                  <a:ext uri="{FF2B5EF4-FFF2-40B4-BE49-F238E27FC236}">
                    <a16:creationId xmlns:a16="http://schemas.microsoft.com/office/drawing/2014/main" id="{08B57712-6D57-EE89-F982-8C8FD744BFBF}"/>
                  </a:ext>
                </a:extLst>
              </p:cNvPr>
              <p:cNvGrpSpPr/>
              <p:nvPr/>
            </p:nvGrpSpPr>
            <p:grpSpPr>
              <a:xfrm>
                <a:off x="6439756" y="3598449"/>
                <a:ext cx="75723" cy="75628"/>
                <a:chOff x="6439756" y="3598449"/>
                <a:chExt cx="75723" cy="75628"/>
              </a:xfrm>
            </p:grpSpPr>
            <p:sp>
              <p:nvSpPr>
                <p:cNvPr id="15334" name="Freeform: Shape 15333">
                  <a:extLst>
                    <a:ext uri="{FF2B5EF4-FFF2-40B4-BE49-F238E27FC236}">
                      <a16:creationId xmlns:a16="http://schemas.microsoft.com/office/drawing/2014/main" id="{7FDFDE79-283E-635C-152A-C1F857FF282C}"/>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5" name="Freeform: Shape 15334">
                  <a:extLst>
                    <a:ext uri="{FF2B5EF4-FFF2-40B4-BE49-F238E27FC236}">
                      <a16:creationId xmlns:a16="http://schemas.microsoft.com/office/drawing/2014/main" id="{62D504C4-A809-5079-F83E-9E93BFD64596}"/>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6" name="Graphic 1393">
                <a:extLst>
                  <a:ext uri="{FF2B5EF4-FFF2-40B4-BE49-F238E27FC236}">
                    <a16:creationId xmlns:a16="http://schemas.microsoft.com/office/drawing/2014/main" id="{150F2607-D485-9109-4A51-B3458430A0FB}"/>
                  </a:ext>
                </a:extLst>
              </p:cNvPr>
              <p:cNvGrpSpPr/>
              <p:nvPr/>
            </p:nvGrpSpPr>
            <p:grpSpPr>
              <a:xfrm>
                <a:off x="6899528" y="3669220"/>
                <a:ext cx="75723" cy="75723"/>
                <a:chOff x="6899528" y="3669220"/>
                <a:chExt cx="75723" cy="75723"/>
              </a:xfrm>
            </p:grpSpPr>
            <p:sp>
              <p:nvSpPr>
                <p:cNvPr id="15332" name="Freeform: Shape 15331">
                  <a:extLst>
                    <a:ext uri="{FF2B5EF4-FFF2-40B4-BE49-F238E27FC236}">
                      <a16:creationId xmlns:a16="http://schemas.microsoft.com/office/drawing/2014/main" id="{9C99B160-E994-4584-F8BC-32B09D165DF3}"/>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3" name="Freeform: Shape 15332">
                  <a:extLst>
                    <a:ext uri="{FF2B5EF4-FFF2-40B4-BE49-F238E27FC236}">
                      <a16:creationId xmlns:a16="http://schemas.microsoft.com/office/drawing/2014/main" id="{74581835-ACF9-B52B-1F8B-E6B185F3DC7F}"/>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7" name="Graphic 1393">
                <a:extLst>
                  <a:ext uri="{FF2B5EF4-FFF2-40B4-BE49-F238E27FC236}">
                    <a16:creationId xmlns:a16="http://schemas.microsoft.com/office/drawing/2014/main" id="{C8405D6F-D5BF-54A3-C8CA-6D2FC307228F}"/>
                  </a:ext>
                </a:extLst>
              </p:cNvPr>
              <p:cNvGrpSpPr/>
              <p:nvPr/>
            </p:nvGrpSpPr>
            <p:grpSpPr>
              <a:xfrm>
                <a:off x="6884479" y="3669220"/>
                <a:ext cx="75723" cy="75723"/>
                <a:chOff x="6884479" y="3669220"/>
                <a:chExt cx="75723" cy="75723"/>
              </a:xfrm>
            </p:grpSpPr>
            <p:sp>
              <p:nvSpPr>
                <p:cNvPr id="15330" name="Freeform: Shape 15329">
                  <a:extLst>
                    <a:ext uri="{FF2B5EF4-FFF2-40B4-BE49-F238E27FC236}">
                      <a16:creationId xmlns:a16="http://schemas.microsoft.com/office/drawing/2014/main" id="{A82F1D8E-0800-4F27-1532-DC3DDEF57223}"/>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1" name="Freeform: Shape 15330">
                  <a:extLst>
                    <a:ext uri="{FF2B5EF4-FFF2-40B4-BE49-F238E27FC236}">
                      <a16:creationId xmlns:a16="http://schemas.microsoft.com/office/drawing/2014/main" id="{76C30038-2D5E-22CA-F9A6-4770D8F19FAD}"/>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8" name="Graphic 1393">
                <a:extLst>
                  <a:ext uri="{FF2B5EF4-FFF2-40B4-BE49-F238E27FC236}">
                    <a16:creationId xmlns:a16="http://schemas.microsoft.com/office/drawing/2014/main" id="{8AFF5565-47E3-2307-09E1-580055B56BFC}"/>
                  </a:ext>
                </a:extLst>
              </p:cNvPr>
              <p:cNvGrpSpPr/>
              <p:nvPr/>
            </p:nvGrpSpPr>
            <p:grpSpPr>
              <a:xfrm>
                <a:off x="6869429" y="3669220"/>
                <a:ext cx="75723" cy="75723"/>
                <a:chOff x="6869429" y="3669220"/>
                <a:chExt cx="75723" cy="75723"/>
              </a:xfrm>
            </p:grpSpPr>
            <p:sp>
              <p:nvSpPr>
                <p:cNvPr id="15328" name="Freeform: Shape 15327">
                  <a:extLst>
                    <a:ext uri="{FF2B5EF4-FFF2-40B4-BE49-F238E27FC236}">
                      <a16:creationId xmlns:a16="http://schemas.microsoft.com/office/drawing/2014/main" id="{42059C4F-1C48-4BE2-6BA8-DBA7EF7714D3}"/>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9" name="Freeform: Shape 15328">
                  <a:extLst>
                    <a:ext uri="{FF2B5EF4-FFF2-40B4-BE49-F238E27FC236}">
                      <a16:creationId xmlns:a16="http://schemas.microsoft.com/office/drawing/2014/main" id="{5DC04775-3EF3-5243-F910-04B9B65A2611}"/>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9" name="Graphic 1393">
                <a:extLst>
                  <a:ext uri="{FF2B5EF4-FFF2-40B4-BE49-F238E27FC236}">
                    <a16:creationId xmlns:a16="http://schemas.microsoft.com/office/drawing/2014/main" id="{BB0E3E53-A44B-A9CD-234E-0B6C3BB8F7C1}"/>
                  </a:ext>
                </a:extLst>
              </p:cNvPr>
              <p:cNvGrpSpPr/>
              <p:nvPr/>
            </p:nvGrpSpPr>
            <p:grpSpPr>
              <a:xfrm>
                <a:off x="6854380" y="3669220"/>
                <a:ext cx="75723" cy="75723"/>
                <a:chOff x="6854380" y="3669220"/>
                <a:chExt cx="75723" cy="75723"/>
              </a:xfrm>
            </p:grpSpPr>
            <p:sp>
              <p:nvSpPr>
                <p:cNvPr id="15326" name="Freeform: Shape 15325">
                  <a:extLst>
                    <a:ext uri="{FF2B5EF4-FFF2-40B4-BE49-F238E27FC236}">
                      <a16:creationId xmlns:a16="http://schemas.microsoft.com/office/drawing/2014/main" id="{DD7BF895-7AA6-47B3-82AA-27736B3D7F76}"/>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7" name="Freeform: Shape 15326">
                  <a:extLst>
                    <a:ext uri="{FF2B5EF4-FFF2-40B4-BE49-F238E27FC236}">
                      <a16:creationId xmlns:a16="http://schemas.microsoft.com/office/drawing/2014/main" id="{CA10A84D-18C3-2DEF-A53D-88C05C60C9C3}"/>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0" name="Graphic 1393">
                <a:extLst>
                  <a:ext uri="{FF2B5EF4-FFF2-40B4-BE49-F238E27FC236}">
                    <a16:creationId xmlns:a16="http://schemas.microsoft.com/office/drawing/2014/main" id="{DF0F6551-3956-F4F0-6E48-B31AEEC76E20}"/>
                  </a:ext>
                </a:extLst>
              </p:cNvPr>
              <p:cNvGrpSpPr/>
              <p:nvPr/>
            </p:nvGrpSpPr>
            <p:grpSpPr>
              <a:xfrm>
                <a:off x="7311103" y="3748659"/>
                <a:ext cx="75723" cy="75723"/>
                <a:chOff x="7311103" y="3748659"/>
                <a:chExt cx="75723" cy="75723"/>
              </a:xfrm>
            </p:grpSpPr>
            <p:sp>
              <p:nvSpPr>
                <p:cNvPr id="15324" name="Freeform: Shape 15323">
                  <a:extLst>
                    <a:ext uri="{FF2B5EF4-FFF2-40B4-BE49-F238E27FC236}">
                      <a16:creationId xmlns:a16="http://schemas.microsoft.com/office/drawing/2014/main" id="{9B8D8457-E483-62DC-6A0B-431EFFEE7AC3}"/>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5" name="Freeform: Shape 15324">
                  <a:extLst>
                    <a:ext uri="{FF2B5EF4-FFF2-40B4-BE49-F238E27FC236}">
                      <a16:creationId xmlns:a16="http://schemas.microsoft.com/office/drawing/2014/main" id="{443464E7-5355-6BAE-9580-DF882F5DC0AC}"/>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1" name="Graphic 1393">
                <a:extLst>
                  <a:ext uri="{FF2B5EF4-FFF2-40B4-BE49-F238E27FC236}">
                    <a16:creationId xmlns:a16="http://schemas.microsoft.com/office/drawing/2014/main" id="{744B6167-A507-331A-AFFE-A4B02A3D065F}"/>
                  </a:ext>
                </a:extLst>
              </p:cNvPr>
              <p:cNvGrpSpPr/>
              <p:nvPr/>
            </p:nvGrpSpPr>
            <p:grpSpPr>
              <a:xfrm>
                <a:off x="7318057" y="3782568"/>
                <a:ext cx="75723" cy="75628"/>
                <a:chOff x="7318057" y="3782568"/>
                <a:chExt cx="75723" cy="75628"/>
              </a:xfrm>
            </p:grpSpPr>
            <p:sp>
              <p:nvSpPr>
                <p:cNvPr id="15320" name="Freeform: Shape 15319">
                  <a:extLst>
                    <a:ext uri="{FF2B5EF4-FFF2-40B4-BE49-F238E27FC236}">
                      <a16:creationId xmlns:a16="http://schemas.microsoft.com/office/drawing/2014/main" id="{8B7060ED-7E44-CEF2-1795-66F3E6010244}"/>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3" name="Freeform: Shape 15322">
                  <a:extLst>
                    <a:ext uri="{FF2B5EF4-FFF2-40B4-BE49-F238E27FC236}">
                      <a16:creationId xmlns:a16="http://schemas.microsoft.com/office/drawing/2014/main" id="{CDA4A3F2-9FB5-62F6-72D8-75E1152B424A}"/>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2" name="Graphic 1393">
                <a:extLst>
                  <a:ext uri="{FF2B5EF4-FFF2-40B4-BE49-F238E27FC236}">
                    <a16:creationId xmlns:a16="http://schemas.microsoft.com/office/drawing/2014/main" id="{C9700133-B926-A33B-C263-F0A678B581E1}"/>
                  </a:ext>
                </a:extLst>
              </p:cNvPr>
              <p:cNvGrpSpPr/>
              <p:nvPr/>
            </p:nvGrpSpPr>
            <p:grpSpPr>
              <a:xfrm>
                <a:off x="7338821" y="3813905"/>
                <a:ext cx="75723" cy="75723"/>
                <a:chOff x="7338821" y="3813905"/>
                <a:chExt cx="75723" cy="75723"/>
              </a:xfrm>
            </p:grpSpPr>
            <p:sp>
              <p:nvSpPr>
                <p:cNvPr id="15318" name="Freeform: Shape 15317">
                  <a:extLst>
                    <a:ext uri="{FF2B5EF4-FFF2-40B4-BE49-F238E27FC236}">
                      <a16:creationId xmlns:a16="http://schemas.microsoft.com/office/drawing/2014/main" id="{C12676C4-0654-5841-47E9-82051D304A20}"/>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9" name="Freeform: Shape 15318">
                  <a:extLst>
                    <a:ext uri="{FF2B5EF4-FFF2-40B4-BE49-F238E27FC236}">
                      <a16:creationId xmlns:a16="http://schemas.microsoft.com/office/drawing/2014/main" id="{3D4061DB-C5F6-CA17-C0F6-0DF7D247BE9B}"/>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3" name="Graphic 1393">
                <a:extLst>
                  <a:ext uri="{FF2B5EF4-FFF2-40B4-BE49-F238E27FC236}">
                    <a16:creationId xmlns:a16="http://schemas.microsoft.com/office/drawing/2014/main" id="{18441BC1-288B-9735-DE41-10F1D20D2BBC}"/>
                  </a:ext>
                </a:extLst>
              </p:cNvPr>
              <p:cNvGrpSpPr/>
              <p:nvPr/>
            </p:nvGrpSpPr>
            <p:grpSpPr>
              <a:xfrm>
                <a:off x="7322438" y="3813905"/>
                <a:ext cx="75723" cy="75723"/>
                <a:chOff x="7322438" y="3813905"/>
                <a:chExt cx="75723" cy="75723"/>
              </a:xfrm>
            </p:grpSpPr>
            <p:sp>
              <p:nvSpPr>
                <p:cNvPr id="15316" name="Freeform: Shape 15315">
                  <a:extLst>
                    <a:ext uri="{FF2B5EF4-FFF2-40B4-BE49-F238E27FC236}">
                      <a16:creationId xmlns:a16="http://schemas.microsoft.com/office/drawing/2014/main" id="{F8AB0EEE-FAEE-47F4-B0A9-A974D451E221}"/>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7" name="Freeform: Shape 15316">
                  <a:extLst>
                    <a:ext uri="{FF2B5EF4-FFF2-40B4-BE49-F238E27FC236}">
                      <a16:creationId xmlns:a16="http://schemas.microsoft.com/office/drawing/2014/main" id="{DDFE344A-E7E7-7211-260E-2C947946206E}"/>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4" name="Graphic 1393">
                <a:extLst>
                  <a:ext uri="{FF2B5EF4-FFF2-40B4-BE49-F238E27FC236}">
                    <a16:creationId xmlns:a16="http://schemas.microsoft.com/office/drawing/2014/main" id="{B3509B75-89E4-89C3-6D45-1869FB8E352C}"/>
                  </a:ext>
                </a:extLst>
              </p:cNvPr>
              <p:cNvGrpSpPr/>
              <p:nvPr/>
            </p:nvGrpSpPr>
            <p:grpSpPr>
              <a:xfrm>
                <a:off x="7719345" y="3897153"/>
                <a:ext cx="75628" cy="75723"/>
                <a:chOff x="7719345" y="3897153"/>
                <a:chExt cx="75628" cy="75723"/>
              </a:xfrm>
            </p:grpSpPr>
            <p:sp>
              <p:nvSpPr>
                <p:cNvPr id="15308" name="Freeform: Shape 15307">
                  <a:extLst>
                    <a:ext uri="{FF2B5EF4-FFF2-40B4-BE49-F238E27FC236}">
                      <a16:creationId xmlns:a16="http://schemas.microsoft.com/office/drawing/2014/main" id="{C158C8D7-F69E-EEB8-479F-7ABFB86A7201}"/>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9" name="Freeform: Shape 15308">
                  <a:extLst>
                    <a:ext uri="{FF2B5EF4-FFF2-40B4-BE49-F238E27FC236}">
                      <a16:creationId xmlns:a16="http://schemas.microsoft.com/office/drawing/2014/main" id="{2E592EFD-9B3E-92A4-8360-43AC399FEDCD}"/>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5" name="Graphic 1393">
                <a:extLst>
                  <a:ext uri="{FF2B5EF4-FFF2-40B4-BE49-F238E27FC236}">
                    <a16:creationId xmlns:a16="http://schemas.microsoft.com/office/drawing/2014/main" id="{82DD6D1E-60C5-E2DF-1207-0832883FF027}"/>
                  </a:ext>
                </a:extLst>
              </p:cNvPr>
              <p:cNvGrpSpPr/>
              <p:nvPr/>
            </p:nvGrpSpPr>
            <p:grpSpPr>
              <a:xfrm>
                <a:off x="8172640" y="3949446"/>
                <a:ext cx="75628" cy="75723"/>
                <a:chOff x="8172640" y="3949446"/>
                <a:chExt cx="75628" cy="75723"/>
              </a:xfrm>
            </p:grpSpPr>
            <p:sp>
              <p:nvSpPr>
                <p:cNvPr id="15306" name="Freeform: Shape 15305">
                  <a:extLst>
                    <a:ext uri="{FF2B5EF4-FFF2-40B4-BE49-F238E27FC236}">
                      <a16:creationId xmlns:a16="http://schemas.microsoft.com/office/drawing/2014/main" id="{3B87A029-3522-70A7-9228-052BC751D5AD}"/>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7" name="Freeform: Shape 15306">
                  <a:extLst>
                    <a:ext uri="{FF2B5EF4-FFF2-40B4-BE49-F238E27FC236}">
                      <a16:creationId xmlns:a16="http://schemas.microsoft.com/office/drawing/2014/main" id="{87FE846A-C4B4-957F-049D-26B67BAF008A}"/>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648" name="Freeform: Shape 14647">
              <a:extLst>
                <a:ext uri="{FF2B5EF4-FFF2-40B4-BE49-F238E27FC236}">
                  <a16:creationId xmlns:a16="http://schemas.microsoft.com/office/drawing/2014/main" id="{221DA042-95D2-516C-B3F2-2E61CB3050CC}"/>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3" name="Group 16672">
            <a:extLst>
              <a:ext uri="{FF2B5EF4-FFF2-40B4-BE49-F238E27FC236}">
                <a16:creationId xmlns:a16="http://schemas.microsoft.com/office/drawing/2014/main" id="{07AA1C4E-77C2-DC7A-6A44-F88F3922AC5E}"/>
              </a:ext>
            </a:extLst>
          </p:cNvPr>
          <p:cNvGrpSpPr/>
          <p:nvPr/>
        </p:nvGrpSpPr>
        <p:grpSpPr>
          <a:xfrm>
            <a:off x="696239" y="1479868"/>
            <a:ext cx="6806199" cy="2148615"/>
            <a:chOff x="3509962" y="2519361"/>
            <a:chExt cx="5175122" cy="1828324"/>
          </a:xfrm>
        </p:grpSpPr>
        <p:grpSp>
          <p:nvGrpSpPr>
            <p:cNvPr id="16674" name="Graphic 2151">
              <a:extLst>
                <a:ext uri="{FF2B5EF4-FFF2-40B4-BE49-F238E27FC236}">
                  <a16:creationId xmlns:a16="http://schemas.microsoft.com/office/drawing/2014/main" id="{BCD3606D-0649-83BE-DFA5-6AF83564E24F}"/>
                </a:ext>
              </a:extLst>
            </p:cNvPr>
            <p:cNvGrpSpPr/>
            <p:nvPr/>
          </p:nvGrpSpPr>
          <p:grpSpPr>
            <a:xfrm>
              <a:off x="3876674" y="2674810"/>
              <a:ext cx="4808410" cy="1672875"/>
              <a:chOff x="3876674" y="2674810"/>
              <a:chExt cx="4808410" cy="1672875"/>
            </a:xfrm>
          </p:grpSpPr>
          <p:grpSp>
            <p:nvGrpSpPr>
              <p:cNvPr id="16676" name="Graphic 2151">
                <a:extLst>
                  <a:ext uri="{FF2B5EF4-FFF2-40B4-BE49-F238E27FC236}">
                    <a16:creationId xmlns:a16="http://schemas.microsoft.com/office/drawing/2014/main" id="{B8FA80A7-B985-6639-131D-828B00EBAFD0}"/>
                  </a:ext>
                </a:extLst>
              </p:cNvPr>
              <p:cNvGrpSpPr/>
              <p:nvPr/>
            </p:nvGrpSpPr>
            <p:grpSpPr>
              <a:xfrm>
                <a:off x="8609361" y="4272057"/>
                <a:ext cx="75723" cy="75628"/>
                <a:chOff x="8609361" y="4272057"/>
                <a:chExt cx="75723" cy="75628"/>
              </a:xfrm>
            </p:grpSpPr>
            <p:sp>
              <p:nvSpPr>
                <p:cNvPr id="13142" name="Freeform: Shape 13141">
                  <a:extLst>
                    <a:ext uri="{FF2B5EF4-FFF2-40B4-BE49-F238E27FC236}">
                      <a16:creationId xmlns:a16="http://schemas.microsoft.com/office/drawing/2014/main" id="{F9881647-ADC7-CDEE-B8FE-D66944A5463F}"/>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3" name="Freeform: Shape 13142">
                  <a:extLst>
                    <a:ext uri="{FF2B5EF4-FFF2-40B4-BE49-F238E27FC236}">
                      <a16:creationId xmlns:a16="http://schemas.microsoft.com/office/drawing/2014/main" id="{742A63A7-5155-8723-1645-D49608F3C199}"/>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7" name="Graphic 2151">
                <a:extLst>
                  <a:ext uri="{FF2B5EF4-FFF2-40B4-BE49-F238E27FC236}">
                    <a16:creationId xmlns:a16="http://schemas.microsoft.com/office/drawing/2014/main" id="{6EAC7EE4-613F-9FCA-BBBF-F2DBF0F7B958}"/>
                  </a:ext>
                </a:extLst>
              </p:cNvPr>
              <p:cNvGrpSpPr/>
              <p:nvPr/>
            </p:nvGrpSpPr>
            <p:grpSpPr>
              <a:xfrm>
                <a:off x="8189975" y="4272057"/>
                <a:ext cx="75628" cy="75628"/>
                <a:chOff x="8189975" y="4272057"/>
                <a:chExt cx="75628" cy="75628"/>
              </a:xfrm>
            </p:grpSpPr>
            <p:sp>
              <p:nvSpPr>
                <p:cNvPr id="13140" name="Freeform: Shape 13139">
                  <a:extLst>
                    <a:ext uri="{FF2B5EF4-FFF2-40B4-BE49-F238E27FC236}">
                      <a16:creationId xmlns:a16="http://schemas.microsoft.com/office/drawing/2014/main" id="{0B57F899-3C2C-CD6C-8497-DE3853255140}"/>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41" name="Freeform: Shape 13140">
                  <a:extLst>
                    <a:ext uri="{FF2B5EF4-FFF2-40B4-BE49-F238E27FC236}">
                      <a16:creationId xmlns:a16="http://schemas.microsoft.com/office/drawing/2014/main" id="{2289BB39-8056-6933-71C3-F2CC222E3605}"/>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8" name="Graphic 2151">
                <a:extLst>
                  <a:ext uri="{FF2B5EF4-FFF2-40B4-BE49-F238E27FC236}">
                    <a16:creationId xmlns:a16="http://schemas.microsoft.com/office/drawing/2014/main" id="{ABE2C727-154A-22FB-A51F-CD3EC230AB42}"/>
                  </a:ext>
                </a:extLst>
              </p:cNvPr>
              <p:cNvGrpSpPr/>
              <p:nvPr/>
            </p:nvGrpSpPr>
            <p:grpSpPr>
              <a:xfrm>
                <a:off x="7798402" y="4272057"/>
                <a:ext cx="75723" cy="75628"/>
                <a:chOff x="7798402" y="4272057"/>
                <a:chExt cx="75723" cy="75628"/>
              </a:xfrm>
            </p:grpSpPr>
            <p:sp>
              <p:nvSpPr>
                <p:cNvPr id="13138" name="Freeform: Shape 13137">
                  <a:extLst>
                    <a:ext uri="{FF2B5EF4-FFF2-40B4-BE49-F238E27FC236}">
                      <a16:creationId xmlns:a16="http://schemas.microsoft.com/office/drawing/2014/main" id="{B4B36C8C-0E5E-E620-683A-62EFECB750E0}"/>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9" name="Freeform: Shape 13138">
                  <a:extLst>
                    <a:ext uri="{FF2B5EF4-FFF2-40B4-BE49-F238E27FC236}">
                      <a16:creationId xmlns:a16="http://schemas.microsoft.com/office/drawing/2014/main" id="{ECEF9D02-D078-0726-ACCD-EDB157FD3D25}"/>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9" name="Graphic 2151">
                <a:extLst>
                  <a:ext uri="{FF2B5EF4-FFF2-40B4-BE49-F238E27FC236}">
                    <a16:creationId xmlns:a16="http://schemas.microsoft.com/office/drawing/2014/main" id="{600A975F-16FD-DE6E-52A9-2AB7705AC247}"/>
                  </a:ext>
                </a:extLst>
              </p:cNvPr>
              <p:cNvGrpSpPr/>
              <p:nvPr/>
            </p:nvGrpSpPr>
            <p:grpSpPr>
              <a:xfrm>
                <a:off x="7744491" y="4023169"/>
                <a:ext cx="75723" cy="75628"/>
                <a:chOff x="7744491" y="4023169"/>
                <a:chExt cx="75723" cy="75628"/>
              </a:xfrm>
            </p:grpSpPr>
            <p:sp>
              <p:nvSpPr>
                <p:cNvPr id="13136" name="Freeform: Shape 13135">
                  <a:extLst>
                    <a:ext uri="{FF2B5EF4-FFF2-40B4-BE49-F238E27FC236}">
                      <a16:creationId xmlns:a16="http://schemas.microsoft.com/office/drawing/2014/main" id="{03AC1E63-384B-D4DC-288D-092ECF4A010F}"/>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7" name="Freeform: Shape 13136">
                  <a:extLst>
                    <a:ext uri="{FF2B5EF4-FFF2-40B4-BE49-F238E27FC236}">
                      <a16:creationId xmlns:a16="http://schemas.microsoft.com/office/drawing/2014/main" id="{D9F98FCB-C497-4961-4818-882399D342C9}"/>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0" name="Graphic 2151">
                <a:extLst>
                  <a:ext uri="{FF2B5EF4-FFF2-40B4-BE49-F238E27FC236}">
                    <a16:creationId xmlns:a16="http://schemas.microsoft.com/office/drawing/2014/main" id="{B1CF9C19-CA38-5E41-DC67-1B77408D8F49}"/>
                  </a:ext>
                </a:extLst>
              </p:cNvPr>
              <p:cNvGrpSpPr/>
              <p:nvPr/>
            </p:nvGrpSpPr>
            <p:grpSpPr>
              <a:xfrm>
                <a:off x="7378445" y="3841337"/>
                <a:ext cx="75723" cy="75723"/>
                <a:chOff x="7378445" y="3841337"/>
                <a:chExt cx="75723" cy="75723"/>
              </a:xfrm>
            </p:grpSpPr>
            <p:sp>
              <p:nvSpPr>
                <p:cNvPr id="13134" name="Freeform: Shape 13133">
                  <a:extLst>
                    <a:ext uri="{FF2B5EF4-FFF2-40B4-BE49-F238E27FC236}">
                      <a16:creationId xmlns:a16="http://schemas.microsoft.com/office/drawing/2014/main" id="{7F65EFDE-3E3F-4939-1F41-BC6BDDB17426}"/>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5" name="Freeform: Shape 13134">
                  <a:extLst>
                    <a:ext uri="{FF2B5EF4-FFF2-40B4-BE49-F238E27FC236}">
                      <a16:creationId xmlns:a16="http://schemas.microsoft.com/office/drawing/2014/main" id="{C7CA0DEA-BF0C-D205-C279-7FBA2B8C8A1C}"/>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1" name="Graphic 2151">
                <a:extLst>
                  <a:ext uri="{FF2B5EF4-FFF2-40B4-BE49-F238E27FC236}">
                    <a16:creationId xmlns:a16="http://schemas.microsoft.com/office/drawing/2014/main" id="{FDFEF545-4A34-D031-1C50-934FAE3F5DDF}"/>
                  </a:ext>
                </a:extLst>
              </p:cNvPr>
              <p:cNvGrpSpPr/>
              <p:nvPr/>
            </p:nvGrpSpPr>
            <p:grpSpPr>
              <a:xfrm>
                <a:off x="7326724" y="3841337"/>
                <a:ext cx="75628" cy="75723"/>
                <a:chOff x="7326724" y="3841337"/>
                <a:chExt cx="75628" cy="75723"/>
              </a:xfrm>
            </p:grpSpPr>
            <p:sp>
              <p:nvSpPr>
                <p:cNvPr id="13132" name="Freeform: Shape 13131">
                  <a:extLst>
                    <a:ext uri="{FF2B5EF4-FFF2-40B4-BE49-F238E27FC236}">
                      <a16:creationId xmlns:a16="http://schemas.microsoft.com/office/drawing/2014/main" id="{0FE78953-13DA-0D0B-0FC3-546728FF8C37}"/>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3" name="Freeform: Shape 13132">
                  <a:extLst>
                    <a:ext uri="{FF2B5EF4-FFF2-40B4-BE49-F238E27FC236}">
                      <a16:creationId xmlns:a16="http://schemas.microsoft.com/office/drawing/2014/main" id="{321E19F4-CC43-EAFA-6FEE-9DCF14AE011F}"/>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2" name="Graphic 2151">
                <a:extLst>
                  <a:ext uri="{FF2B5EF4-FFF2-40B4-BE49-F238E27FC236}">
                    <a16:creationId xmlns:a16="http://schemas.microsoft.com/office/drawing/2014/main" id="{6A3A5649-586B-3378-74C3-224C3D052228}"/>
                  </a:ext>
                </a:extLst>
              </p:cNvPr>
              <p:cNvGrpSpPr/>
              <p:nvPr/>
            </p:nvGrpSpPr>
            <p:grpSpPr>
              <a:xfrm>
                <a:off x="6939438" y="3743515"/>
                <a:ext cx="75628" cy="75628"/>
                <a:chOff x="6939438" y="3743515"/>
                <a:chExt cx="75628" cy="75628"/>
              </a:xfrm>
            </p:grpSpPr>
            <p:sp>
              <p:nvSpPr>
                <p:cNvPr id="13130" name="Freeform: Shape 13129">
                  <a:extLst>
                    <a:ext uri="{FF2B5EF4-FFF2-40B4-BE49-F238E27FC236}">
                      <a16:creationId xmlns:a16="http://schemas.microsoft.com/office/drawing/2014/main" id="{91608390-8DD1-8271-171C-C39B98D65748}"/>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31" name="Freeform: Shape 13130">
                  <a:extLst>
                    <a:ext uri="{FF2B5EF4-FFF2-40B4-BE49-F238E27FC236}">
                      <a16:creationId xmlns:a16="http://schemas.microsoft.com/office/drawing/2014/main" id="{6A73CC3E-9868-9AF9-6134-40B1AD61B327}"/>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3" name="Graphic 2151">
                <a:extLst>
                  <a:ext uri="{FF2B5EF4-FFF2-40B4-BE49-F238E27FC236}">
                    <a16:creationId xmlns:a16="http://schemas.microsoft.com/office/drawing/2014/main" id="{B8F656AA-E6FD-8C63-EE74-5C198F8A44EB}"/>
                  </a:ext>
                </a:extLst>
              </p:cNvPr>
              <p:cNvGrpSpPr/>
              <p:nvPr/>
            </p:nvGrpSpPr>
            <p:grpSpPr>
              <a:xfrm>
                <a:off x="6926008" y="3743515"/>
                <a:ext cx="75723" cy="75628"/>
                <a:chOff x="6926008" y="3743515"/>
                <a:chExt cx="75723" cy="75628"/>
              </a:xfrm>
            </p:grpSpPr>
            <p:sp>
              <p:nvSpPr>
                <p:cNvPr id="13128" name="Freeform: Shape 13127">
                  <a:extLst>
                    <a:ext uri="{FF2B5EF4-FFF2-40B4-BE49-F238E27FC236}">
                      <a16:creationId xmlns:a16="http://schemas.microsoft.com/office/drawing/2014/main" id="{58B54E20-6799-48C7-8A8E-DEF6E6FDD891}"/>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9" name="Freeform: Shape 13128">
                  <a:extLst>
                    <a:ext uri="{FF2B5EF4-FFF2-40B4-BE49-F238E27FC236}">
                      <a16:creationId xmlns:a16="http://schemas.microsoft.com/office/drawing/2014/main" id="{A3725383-669E-1C8D-9BE3-4EC8AED6CC9A}"/>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4" name="Graphic 2151">
                <a:extLst>
                  <a:ext uri="{FF2B5EF4-FFF2-40B4-BE49-F238E27FC236}">
                    <a16:creationId xmlns:a16="http://schemas.microsoft.com/office/drawing/2014/main" id="{6AFC8DCF-B212-6D54-4AE5-D324E764634C}"/>
                  </a:ext>
                </a:extLst>
              </p:cNvPr>
              <p:cNvGrpSpPr/>
              <p:nvPr/>
            </p:nvGrpSpPr>
            <p:grpSpPr>
              <a:xfrm>
                <a:off x="6898671" y="3743515"/>
                <a:ext cx="75723" cy="75628"/>
                <a:chOff x="6898671" y="3743515"/>
                <a:chExt cx="75723" cy="75628"/>
              </a:xfrm>
            </p:grpSpPr>
            <p:sp>
              <p:nvSpPr>
                <p:cNvPr id="13126" name="Freeform: Shape 13125">
                  <a:extLst>
                    <a:ext uri="{FF2B5EF4-FFF2-40B4-BE49-F238E27FC236}">
                      <a16:creationId xmlns:a16="http://schemas.microsoft.com/office/drawing/2014/main" id="{A748DA64-FCEF-552E-BB91-BC351A902FA6}"/>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7" name="Freeform: Shape 13126">
                  <a:extLst>
                    <a:ext uri="{FF2B5EF4-FFF2-40B4-BE49-F238E27FC236}">
                      <a16:creationId xmlns:a16="http://schemas.microsoft.com/office/drawing/2014/main" id="{B199B54C-B767-BDC0-4309-E998B029CC32}"/>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5" name="Graphic 2151">
                <a:extLst>
                  <a:ext uri="{FF2B5EF4-FFF2-40B4-BE49-F238E27FC236}">
                    <a16:creationId xmlns:a16="http://schemas.microsoft.com/office/drawing/2014/main" id="{3A4D9975-8A7B-A689-1858-6391EB61170B}"/>
                  </a:ext>
                </a:extLst>
              </p:cNvPr>
              <p:cNvGrpSpPr/>
              <p:nvPr/>
            </p:nvGrpSpPr>
            <p:grpSpPr>
              <a:xfrm>
                <a:off x="6882288" y="3743515"/>
                <a:ext cx="75628" cy="75628"/>
                <a:chOff x="6882288" y="3743515"/>
                <a:chExt cx="75628" cy="75628"/>
              </a:xfrm>
            </p:grpSpPr>
            <p:sp>
              <p:nvSpPr>
                <p:cNvPr id="13124" name="Freeform: Shape 13123">
                  <a:extLst>
                    <a:ext uri="{FF2B5EF4-FFF2-40B4-BE49-F238E27FC236}">
                      <a16:creationId xmlns:a16="http://schemas.microsoft.com/office/drawing/2014/main" id="{48E1A41D-02F7-EAC7-88FC-53E92C8F38C0}"/>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5" name="Freeform: Shape 13124">
                  <a:extLst>
                    <a:ext uri="{FF2B5EF4-FFF2-40B4-BE49-F238E27FC236}">
                      <a16:creationId xmlns:a16="http://schemas.microsoft.com/office/drawing/2014/main" id="{77B86EE6-1B73-9C86-A1C9-53AFD9144D7D}"/>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6" name="Graphic 2151">
                <a:extLst>
                  <a:ext uri="{FF2B5EF4-FFF2-40B4-BE49-F238E27FC236}">
                    <a16:creationId xmlns:a16="http://schemas.microsoft.com/office/drawing/2014/main" id="{A9F59922-8127-3FAB-2FDD-9D5E8A1AD383}"/>
                  </a:ext>
                </a:extLst>
              </p:cNvPr>
              <p:cNvGrpSpPr/>
              <p:nvPr/>
            </p:nvGrpSpPr>
            <p:grpSpPr>
              <a:xfrm>
                <a:off x="6867715" y="3743515"/>
                <a:ext cx="75628" cy="75628"/>
                <a:chOff x="6867715" y="3743515"/>
                <a:chExt cx="75628" cy="75628"/>
              </a:xfrm>
            </p:grpSpPr>
            <p:sp>
              <p:nvSpPr>
                <p:cNvPr id="13122" name="Freeform: Shape 13121">
                  <a:extLst>
                    <a:ext uri="{FF2B5EF4-FFF2-40B4-BE49-F238E27FC236}">
                      <a16:creationId xmlns:a16="http://schemas.microsoft.com/office/drawing/2014/main" id="{853B3F7A-7C5F-0AA2-83A1-6F456D3BEC76}"/>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3" name="Freeform: Shape 13122">
                  <a:extLst>
                    <a:ext uri="{FF2B5EF4-FFF2-40B4-BE49-F238E27FC236}">
                      <a16:creationId xmlns:a16="http://schemas.microsoft.com/office/drawing/2014/main" id="{3BA78F30-2358-C19D-8918-4AF99E9CD6FD}"/>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7" name="Graphic 2151">
                <a:extLst>
                  <a:ext uri="{FF2B5EF4-FFF2-40B4-BE49-F238E27FC236}">
                    <a16:creationId xmlns:a16="http://schemas.microsoft.com/office/drawing/2014/main" id="{4401FDB3-F2FA-52C1-256C-65650943A201}"/>
                  </a:ext>
                </a:extLst>
              </p:cNvPr>
              <p:cNvGrpSpPr/>
              <p:nvPr/>
            </p:nvGrpSpPr>
            <p:grpSpPr>
              <a:xfrm>
                <a:off x="6496240" y="3743515"/>
                <a:ext cx="75628" cy="75628"/>
                <a:chOff x="6496240" y="3743515"/>
                <a:chExt cx="75628" cy="75628"/>
              </a:xfrm>
            </p:grpSpPr>
            <p:sp>
              <p:nvSpPr>
                <p:cNvPr id="13120" name="Freeform: Shape 13119">
                  <a:extLst>
                    <a:ext uri="{FF2B5EF4-FFF2-40B4-BE49-F238E27FC236}">
                      <a16:creationId xmlns:a16="http://schemas.microsoft.com/office/drawing/2014/main" id="{B59A40B2-FA85-73C7-3232-91B9C890C7F6}"/>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121" name="Freeform: Shape 13120">
                  <a:extLst>
                    <a:ext uri="{FF2B5EF4-FFF2-40B4-BE49-F238E27FC236}">
                      <a16:creationId xmlns:a16="http://schemas.microsoft.com/office/drawing/2014/main" id="{56849599-F50F-24F8-9265-6EE8EE0269ED}"/>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8" name="Graphic 2151">
                <a:extLst>
                  <a:ext uri="{FF2B5EF4-FFF2-40B4-BE49-F238E27FC236}">
                    <a16:creationId xmlns:a16="http://schemas.microsoft.com/office/drawing/2014/main" id="{CE13CD20-B48D-7E38-22C5-08B04EB19B4F}"/>
                  </a:ext>
                </a:extLst>
              </p:cNvPr>
              <p:cNvGrpSpPr/>
              <p:nvPr/>
            </p:nvGrpSpPr>
            <p:grpSpPr>
              <a:xfrm>
                <a:off x="6447853" y="3692747"/>
                <a:ext cx="75628" cy="75628"/>
                <a:chOff x="6447853" y="3692747"/>
                <a:chExt cx="75628" cy="75628"/>
              </a:xfrm>
            </p:grpSpPr>
            <p:sp>
              <p:nvSpPr>
                <p:cNvPr id="12542" name="Freeform: Shape 12541">
                  <a:extLst>
                    <a:ext uri="{FF2B5EF4-FFF2-40B4-BE49-F238E27FC236}">
                      <a16:creationId xmlns:a16="http://schemas.microsoft.com/office/drawing/2014/main" id="{09CE5B9E-5619-0C4C-3A13-4832BB50C1D9}"/>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43" name="Freeform: Shape 12542">
                  <a:extLst>
                    <a:ext uri="{FF2B5EF4-FFF2-40B4-BE49-F238E27FC236}">
                      <a16:creationId xmlns:a16="http://schemas.microsoft.com/office/drawing/2014/main" id="{E5350B82-A927-9C91-1EE1-74CB3D60C8E5}"/>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9" name="Graphic 2151">
                <a:extLst>
                  <a:ext uri="{FF2B5EF4-FFF2-40B4-BE49-F238E27FC236}">
                    <a16:creationId xmlns:a16="http://schemas.microsoft.com/office/drawing/2014/main" id="{43501ACA-D96F-896B-960E-385F0CC93321}"/>
                  </a:ext>
                </a:extLst>
              </p:cNvPr>
              <p:cNvGrpSpPr/>
              <p:nvPr/>
            </p:nvGrpSpPr>
            <p:grpSpPr>
              <a:xfrm>
                <a:off x="6418039" y="3692747"/>
                <a:ext cx="75723" cy="75628"/>
                <a:chOff x="6418039" y="3692747"/>
                <a:chExt cx="75723" cy="75628"/>
              </a:xfrm>
            </p:grpSpPr>
            <p:sp>
              <p:nvSpPr>
                <p:cNvPr id="12540" name="Freeform: Shape 12539">
                  <a:extLst>
                    <a:ext uri="{FF2B5EF4-FFF2-40B4-BE49-F238E27FC236}">
                      <a16:creationId xmlns:a16="http://schemas.microsoft.com/office/drawing/2014/main" id="{E6687E8E-2364-A93F-B9D6-A1702E181DF0}"/>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41" name="Freeform: Shape 12540">
                  <a:extLst>
                    <a:ext uri="{FF2B5EF4-FFF2-40B4-BE49-F238E27FC236}">
                      <a16:creationId xmlns:a16="http://schemas.microsoft.com/office/drawing/2014/main" id="{1901A092-56A0-BF8F-99F9-933949B4A618}"/>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0" name="Graphic 2151">
                <a:extLst>
                  <a:ext uri="{FF2B5EF4-FFF2-40B4-BE49-F238E27FC236}">
                    <a16:creationId xmlns:a16="http://schemas.microsoft.com/office/drawing/2014/main" id="{2A64EF1E-AD33-1628-0010-C55066B07BDF}"/>
                  </a:ext>
                </a:extLst>
              </p:cNvPr>
              <p:cNvGrpSpPr/>
              <p:nvPr/>
            </p:nvGrpSpPr>
            <p:grpSpPr>
              <a:xfrm>
                <a:off x="6092475" y="3692747"/>
                <a:ext cx="75723" cy="75628"/>
                <a:chOff x="6092475" y="3692747"/>
                <a:chExt cx="75723" cy="75628"/>
              </a:xfrm>
            </p:grpSpPr>
            <p:sp>
              <p:nvSpPr>
                <p:cNvPr id="12538" name="Freeform: Shape 12537">
                  <a:extLst>
                    <a:ext uri="{FF2B5EF4-FFF2-40B4-BE49-F238E27FC236}">
                      <a16:creationId xmlns:a16="http://schemas.microsoft.com/office/drawing/2014/main" id="{95D2F3A1-90A8-4D67-BEE9-8D2C5F6955BF}"/>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39" name="Freeform: Shape 12538">
                  <a:extLst>
                    <a:ext uri="{FF2B5EF4-FFF2-40B4-BE49-F238E27FC236}">
                      <a16:creationId xmlns:a16="http://schemas.microsoft.com/office/drawing/2014/main" id="{13D0A02A-AB3C-EEAD-C677-7B9C86630638}"/>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1" name="Graphic 2151">
                <a:extLst>
                  <a:ext uri="{FF2B5EF4-FFF2-40B4-BE49-F238E27FC236}">
                    <a16:creationId xmlns:a16="http://schemas.microsoft.com/office/drawing/2014/main" id="{9F4E4AE8-8F96-CF15-5E61-A258D6B3CFE6}"/>
                  </a:ext>
                </a:extLst>
              </p:cNvPr>
              <p:cNvGrpSpPr/>
              <p:nvPr/>
            </p:nvGrpSpPr>
            <p:grpSpPr>
              <a:xfrm>
                <a:off x="6103714" y="3692747"/>
                <a:ext cx="75723" cy="75628"/>
                <a:chOff x="6103714" y="3692747"/>
                <a:chExt cx="75723" cy="75628"/>
              </a:xfrm>
            </p:grpSpPr>
            <p:sp>
              <p:nvSpPr>
                <p:cNvPr id="12536" name="Freeform: Shape 12535">
                  <a:extLst>
                    <a:ext uri="{FF2B5EF4-FFF2-40B4-BE49-F238E27FC236}">
                      <a16:creationId xmlns:a16="http://schemas.microsoft.com/office/drawing/2014/main" id="{2DC80132-A2B8-2C53-8319-5E20604AE083}"/>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37" name="Freeform: Shape 12536">
                  <a:extLst>
                    <a:ext uri="{FF2B5EF4-FFF2-40B4-BE49-F238E27FC236}">
                      <a16:creationId xmlns:a16="http://schemas.microsoft.com/office/drawing/2014/main" id="{042C61B3-7B96-88C9-8D70-6B71F5162209}"/>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2" name="Graphic 2151">
                <a:extLst>
                  <a:ext uri="{FF2B5EF4-FFF2-40B4-BE49-F238E27FC236}">
                    <a16:creationId xmlns:a16="http://schemas.microsoft.com/office/drawing/2014/main" id="{5F182535-9506-A31A-F653-7C8A0CA4C7B3}"/>
                  </a:ext>
                </a:extLst>
              </p:cNvPr>
              <p:cNvGrpSpPr/>
              <p:nvPr/>
            </p:nvGrpSpPr>
            <p:grpSpPr>
              <a:xfrm>
                <a:off x="6202870" y="3692747"/>
                <a:ext cx="75628" cy="75628"/>
                <a:chOff x="6202870" y="3692747"/>
                <a:chExt cx="75628" cy="75628"/>
              </a:xfrm>
            </p:grpSpPr>
            <p:sp>
              <p:nvSpPr>
                <p:cNvPr id="12534" name="Freeform: Shape 12533">
                  <a:extLst>
                    <a:ext uri="{FF2B5EF4-FFF2-40B4-BE49-F238E27FC236}">
                      <a16:creationId xmlns:a16="http://schemas.microsoft.com/office/drawing/2014/main" id="{659C0763-DC9D-A2F3-04A6-1FF5C36DAB08}"/>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35" name="Freeform: Shape 12534">
                  <a:extLst>
                    <a:ext uri="{FF2B5EF4-FFF2-40B4-BE49-F238E27FC236}">
                      <a16:creationId xmlns:a16="http://schemas.microsoft.com/office/drawing/2014/main" id="{AE5C7849-8D49-5182-B2D1-B27A706DC446}"/>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3" name="Graphic 2151">
                <a:extLst>
                  <a:ext uri="{FF2B5EF4-FFF2-40B4-BE49-F238E27FC236}">
                    <a16:creationId xmlns:a16="http://schemas.microsoft.com/office/drawing/2014/main" id="{2E865A2B-BAD2-196C-79AD-F63486E04F73}"/>
                  </a:ext>
                </a:extLst>
              </p:cNvPr>
              <p:cNvGrpSpPr/>
              <p:nvPr/>
            </p:nvGrpSpPr>
            <p:grpSpPr>
              <a:xfrm>
                <a:off x="6046279" y="3606736"/>
                <a:ext cx="75723" cy="75628"/>
                <a:chOff x="6046279" y="3606736"/>
                <a:chExt cx="75723" cy="75628"/>
              </a:xfrm>
            </p:grpSpPr>
            <p:sp>
              <p:nvSpPr>
                <p:cNvPr id="12532" name="Freeform: Shape 12531">
                  <a:extLst>
                    <a:ext uri="{FF2B5EF4-FFF2-40B4-BE49-F238E27FC236}">
                      <a16:creationId xmlns:a16="http://schemas.microsoft.com/office/drawing/2014/main" id="{B44B2ACB-4190-EDEF-0EB2-67A26941A6CB}"/>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33" name="Freeform: Shape 12532">
                  <a:extLst>
                    <a:ext uri="{FF2B5EF4-FFF2-40B4-BE49-F238E27FC236}">
                      <a16:creationId xmlns:a16="http://schemas.microsoft.com/office/drawing/2014/main" id="{0650E226-E1C9-D19A-BCC0-44968A325B73}"/>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4" name="Graphic 2151">
                <a:extLst>
                  <a:ext uri="{FF2B5EF4-FFF2-40B4-BE49-F238E27FC236}">
                    <a16:creationId xmlns:a16="http://schemas.microsoft.com/office/drawing/2014/main" id="{97601A57-48AA-07F0-58FE-B60FE0B01957}"/>
                  </a:ext>
                </a:extLst>
              </p:cNvPr>
              <p:cNvGrpSpPr/>
              <p:nvPr/>
            </p:nvGrpSpPr>
            <p:grpSpPr>
              <a:xfrm>
                <a:off x="6038659" y="3570541"/>
                <a:ext cx="75723" cy="75723"/>
                <a:chOff x="6038659" y="3570541"/>
                <a:chExt cx="75723" cy="75723"/>
              </a:xfrm>
            </p:grpSpPr>
            <p:sp>
              <p:nvSpPr>
                <p:cNvPr id="12530" name="Freeform: Shape 12529">
                  <a:extLst>
                    <a:ext uri="{FF2B5EF4-FFF2-40B4-BE49-F238E27FC236}">
                      <a16:creationId xmlns:a16="http://schemas.microsoft.com/office/drawing/2014/main" id="{9DB49FEE-F041-6DB3-0DB0-74AD42B18C8B}"/>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31" name="Freeform: Shape 12530">
                  <a:extLst>
                    <a:ext uri="{FF2B5EF4-FFF2-40B4-BE49-F238E27FC236}">
                      <a16:creationId xmlns:a16="http://schemas.microsoft.com/office/drawing/2014/main" id="{9FCB6075-125E-FD0A-3A97-3F91197C6B3C}"/>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5" name="Graphic 2151">
                <a:extLst>
                  <a:ext uri="{FF2B5EF4-FFF2-40B4-BE49-F238E27FC236}">
                    <a16:creationId xmlns:a16="http://schemas.microsoft.com/office/drawing/2014/main" id="{976DFB2A-7C45-4D79-C680-BD97B78C8A45}"/>
                  </a:ext>
                </a:extLst>
              </p:cNvPr>
              <p:cNvGrpSpPr/>
              <p:nvPr/>
            </p:nvGrpSpPr>
            <p:grpSpPr>
              <a:xfrm>
                <a:off x="6038659" y="3527012"/>
                <a:ext cx="75723" cy="75723"/>
                <a:chOff x="6038659" y="3527012"/>
                <a:chExt cx="75723" cy="75723"/>
              </a:xfrm>
            </p:grpSpPr>
            <p:sp>
              <p:nvSpPr>
                <p:cNvPr id="12528" name="Freeform: Shape 12527">
                  <a:extLst>
                    <a:ext uri="{FF2B5EF4-FFF2-40B4-BE49-F238E27FC236}">
                      <a16:creationId xmlns:a16="http://schemas.microsoft.com/office/drawing/2014/main" id="{16026B25-28FA-8D80-62C1-412DD8FF9FAB}"/>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29" name="Freeform: Shape 12528">
                  <a:extLst>
                    <a:ext uri="{FF2B5EF4-FFF2-40B4-BE49-F238E27FC236}">
                      <a16:creationId xmlns:a16="http://schemas.microsoft.com/office/drawing/2014/main" id="{C9A14B81-3593-130A-1E96-024718BB0D99}"/>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6" name="Graphic 2151">
                <a:extLst>
                  <a:ext uri="{FF2B5EF4-FFF2-40B4-BE49-F238E27FC236}">
                    <a16:creationId xmlns:a16="http://schemas.microsoft.com/office/drawing/2014/main" id="{89426BC1-8A9D-47F2-E310-83BDAEA8F006}"/>
                  </a:ext>
                </a:extLst>
              </p:cNvPr>
              <p:cNvGrpSpPr/>
              <p:nvPr/>
            </p:nvGrpSpPr>
            <p:grpSpPr>
              <a:xfrm>
                <a:off x="6031991" y="3491769"/>
                <a:ext cx="75723" cy="75723"/>
                <a:chOff x="6031991" y="3491769"/>
                <a:chExt cx="75723" cy="75723"/>
              </a:xfrm>
            </p:grpSpPr>
            <p:sp>
              <p:nvSpPr>
                <p:cNvPr id="12526" name="Freeform: Shape 12525">
                  <a:extLst>
                    <a:ext uri="{FF2B5EF4-FFF2-40B4-BE49-F238E27FC236}">
                      <a16:creationId xmlns:a16="http://schemas.microsoft.com/office/drawing/2014/main" id="{53A0F071-DD05-3DBD-8BB8-F7A78F9203BC}"/>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27" name="Freeform: Shape 12526">
                  <a:extLst>
                    <a:ext uri="{FF2B5EF4-FFF2-40B4-BE49-F238E27FC236}">
                      <a16:creationId xmlns:a16="http://schemas.microsoft.com/office/drawing/2014/main" id="{F59ED026-0BE7-5E05-28B0-234EA08BD5BE}"/>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7" name="Graphic 2151">
                <a:extLst>
                  <a:ext uri="{FF2B5EF4-FFF2-40B4-BE49-F238E27FC236}">
                    <a16:creationId xmlns:a16="http://schemas.microsoft.com/office/drawing/2014/main" id="{4E1AAEA8-0778-6022-5F30-9397C9E7F4F3}"/>
                  </a:ext>
                </a:extLst>
              </p:cNvPr>
              <p:cNvGrpSpPr/>
              <p:nvPr/>
            </p:nvGrpSpPr>
            <p:grpSpPr>
              <a:xfrm>
                <a:off x="6018942" y="3491769"/>
                <a:ext cx="75628" cy="75723"/>
                <a:chOff x="6018942" y="3491769"/>
                <a:chExt cx="75628" cy="75723"/>
              </a:xfrm>
            </p:grpSpPr>
            <p:sp>
              <p:nvSpPr>
                <p:cNvPr id="12524" name="Freeform: Shape 12523">
                  <a:extLst>
                    <a:ext uri="{FF2B5EF4-FFF2-40B4-BE49-F238E27FC236}">
                      <a16:creationId xmlns:a16="http://schemas.microsoft.com/office/drawing/2014/main" id="{199C1FB5-71B4-B1B3-917B-8341A53C8692}"/>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25" name="Freeform: Shape 12524">
                  <a:extLst>
                    <a:ext uri="{FF2B5EF4-FFF2-40B4-BE49-F238E27FC236}">
                      <a16:creationId xmlns:a16="http://schemas.microsoft.com/office/drawing/2014/main" id="{73B19BD9-C0BF-089B-202B-AB2D0FEE3251}"/>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8" name="Graphic 2151">
                <a:extLst>
                  <a:ext uri="{FF2B5EF4-FFF2-40B4-BE49-F238E27FC236}">
                    <a16:creationId xmlns:a16="http://schemas.microsoft.com/office/drawing/2014/main" id="{866AF903-623E-AE0C-152D-1F167D494F23}"/>
                  </a:ext>
                </a:extLst>
              </p:cNvPr>
              <p:cNvGrpSpPr/>
              <p:nvPr/>
            </p:nvGrpSpPr>
            <p:grpSpPr>
              <a:xfrm>
                <a:off x="5642895" y="3463194"/>
                <a:ext cx="75723" cy="75723"/>
                <a:chOff x="5642895" y="3463194"/>
                <a:chExt cx="75723" cy="75723"/>
              </a:xfrm>
            </p:grpSpPr>
            <p:sp>
              <p:nvSpPr>
                <p:cNvPr id="12522" name="Freeform: Shape 12521">
                  <a:extLst>
                    <a:ext uri="{FF2B5EF4-FFF2-40B4-BE49-F238E27FC236}">
                      <a16:creationId xmlns:a16="http://schemas.microsoft.com/office/drawing/2014/main" id="{6CE8259C-D6F3-8790-B1C8-826A62A3D9AA}"/>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23" name="Freeform: Shape 12522">
                  <a:extLst>
                    <a:ext uri="{FF2B5EF4-FFF2-40B4-BE49-F238E27FC236}">
                      <a16:creationId xmlns:a16="http://schemas.microsoft.com/office/drawing/2014/main" id="{111DA608-9EF5-CA71-26C5-F2C763C5DAFB}"/>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99" name="Graphic 2151">
                <a:extLst>
                  <a:ext uri="{FF2B5EF4-FFF2-40B4-BE49-F238E27FC236}">
                    <a16:creationId xmlns:a16="http://schemas.microsoft.com/office/drawing/2014/main" id="{95A623EC-E5BD-DEF9-D76B-23AD77D6BEDF}"/>
                  </a:ext>
                </a:extLst>
              </p:cNvPr>
              <p:cNvGrpSpPr/>
              <p:nvPr/>
            </p:nvGrpSpPr>
            <p:grpSpPr>
              <a:xfrm>
                <a:off x="5591174" y="3463194"/>
                <a:ext cx="75723" cy="75723"/>
                <a:chOff x="5591174" y="3463194"/>
                <a:chExt cx="75723" cy="75723"/>
              </a:xfrm>
            </p:grpSpPr>
            <p:sp>
              <p:nvSpPr>
                <p:cNvPr id="12520" name="Freeform: Shape 12519">
                  <a:extLst>
                    <a:ext uri="{FF2B5EF4-FFF2-40B4-BE49-F238E27FC236}">
                      <a16:creationId xmlns:a16="http://schemas.microsoft.com/office/drawing/2014/main" id="{552F6A29-8339-FF0F-A605-BC8317944420}"/>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21" name="Freeform: Shape 12520">
                  <a:extLst>
                    <a:ext uri="{FF2B5EF4-FFF2-40B4-BE49-F238E27FC236}">
                      <a16:creationId xmlns:a16="http://schemas.microsoft.com/office/drawing/2014/main" id="{D3A1AE4E-22CB-6921-A0D3-B1DDE7B5D844}"/>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00" name="Graphic 2151">
                <a:extLst>
                  <a:ext uri="{FF2B5EF4-FFF2-40B4-BE49-F238E27FC236}">
                    <a16:creationId xmlns:a16="http://schemas.microsoft.com/office/drawing/2014/main" id="{D8D92135-DFAD-3593-71D1-B556E41CBFE1}"/>
                  </a:ext>
                </a:extLst>
              </p:cNvPr>
              <p:cNvGrpSpPr/>
              <p:nvPr/>
            </p:nvGrpSpPr>
            <p:grpSpPr>
              <a:xfrm>
                <a:off x="5601556" y="3463194"/>
                <a:ext cx="75723" cy="75723"/>
                <a:chOff x="5601556" y="3463194"/>
                <a:chExt cx="75723" cy="75723"/>
              </a:xfrm>
            </p:grpSpPr>
            <p:sp>
              <p:nvSpPr>
                <p:cNvPr id="12518" name="Freeform: Shape 12517">
                  <a:extLst>
                    <a:ext uri="{FF2B5EF4-FFF2-40B4-BE49-F238E27FC236}">
                      <a16:creationId xmlns:a16="http://schemas.microsoft.com/office/drawing/2014/main" id="{87B8D3EF-FC95-B6BA-B228-FDAA1661BBB8}"/>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19" name="Freeform: Shape 12518">
                  <a:extLst>
                    <a:ext uri="{FF2B5EF4-FFF2-40B4-BE49-F238E27FC236}">
                      <a16:creationId xmlns:a16="http://schemas.microsoft.com/office/drawing/2014/main" id="{5C3A67EB-8088-0402-9289-6238E6046BF8}"/>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01" name="Graphic 2151">
                <a:extLst>
                  <a:ext uri="{FF2B5EF4-FFF2-40B4-BE49-F238E27FC236}">
                    <a16:creationId xmlns:a16="http://schemas.microsoft.com/office/drawing/2014/main" id="{B7AD8786-BE3E-EBA0-36F5-9AA7698D0520}"/>
                  </a:ext>
                </a:extLst>
              </p:cNvPr>
              <p:cNvGrpSpPr/>
              <p:nvPr/>
            </p:nvGrpSpPr>
            <p:grpSpPr>
              <a:xfrm>
                <a:off x="5346191" y="3324129"/>
                <a:ext cx="75723" cy="75723"/>
                <a:chOff x="5346191" y="3324129"/>
                <a:chExt cx="75723" cy="75723"/>
              </a:xfrm>
            </p:grpSpPr>
            <p:sp>
              <p:nvSpPr>
                <p:cNvPr id="12516" name="Freeform: Shape 12515">
                  <a:extLst>
                    <a:ext uri="{FF2B5EF4-FFF2-40B4-BE49-F238E27FC236}">
                      <a16:creationId xmlns:a16="http://schemas.microsoft.com/office/drawing/2014/main" id="{44208A8B-2823-0E2E-11CD-E21D6393C94D}"/>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17" name="Freeform: Shape 12516">
                  <a:extLst>
                    <a:ext uri="{FF2B5EF4-FFF2-40B4-BE49-F238E27FC236}">
                      <a16:creationId xmlns:a16="http://schemas.microsoft.com/office/drawing/2014/main" id="{F4C88422-E944-CE2F-4A8D-F109DB3592E2}"/>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02" name="Graphic 2151">
                <a:extLst>
                  <a:ext uri="{FF2B5EF4-FFF2-40B4-BE49-F238E27FC236}">
                    <a16:creationId xmlns:a16="http://schemas.microsoft.com/office/drawing/2014/main" id="{D078C3A2-1320-1EAC-86C4-61A74F1E4540}"/>
                  </a:ext>
                </a:extLst>
              </p:cNvPr>
              <p:cNvGrpSpPr/>
              <p:nvPr/>
            </p:nvGrpSpPr>
            <p:grpSpPr>
              <a:xfrm>
                <a:off x="5213889" y="3295078"/>
                <a:ext cx="75628" cy="75723"/>
                <a:chOff x="5213889" y="3295078"/>
                <a:chExt cx="75628" cy="75723"/>
              </a:xfrm>
            </p:grpSpPr>
            <p:sp>
              <p:nvSpPr>
                <p:cNvPr id="12514" name="Freeform: Shape 12513">
                  <a:extLst>
                    <a:ext uri="{FF2B5EF4-FFF2-40B4-BE49-F238E27FC236}">
                      <a16:creationId xmlns:a16="http://schemas.microsoft.com/office/drawing/2014/main" id="{0D0A2089-1309-E696-21B9-6BFFA68B61D0}"/>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15" name="Freeform: Shape 12514">
                  <a:extLst>
                    <a:ext uri="{FF2B5EF4-FFF2-40B4-BE49-F238E27FC236}">
                      <a16:creationId xmlns:a16="http://schemas.microsoft.com/office/drawing/2014/main" id="{DF013D79-C2DE-E44C-114D-A2EFFEEBA617}"/>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03" name="Graphic 2151">
                <a:extLst>
                  <a:ext uri="{FF2B5EF4-FFF2-40B4-BE49-F238E27FC236}">
                    <a16:creationId xmlns:a16="http://schemas.microsoft.com/office/drawing/2014/main" id="{040E57E7-D8EE-ECED-B6F0-BB2FEF4A8788}"/>
                  </a:ext>
                </a:extLst>
              </p:cNvPr>
              <p:cNvGrpSpPr/>
              <p:nvPr/>
            </p:nvGrpSpPr>
            <p:grpSpPr>
              <a:xfrm>
                <a:off x="5184361" y="3295078"/>
                <a:ext cx="75723" cy="75723"/>
                <a:chOff x="5184361" y="3295078"/>
                <a:chExt cx="75723" cy="75723"/>
              </a:xfrm>
            </p:grpSpPr>
            <p:sp>
              <p:nvSpPr>
                <p:cNvPr id="12512" name="Freeform: Shape 12511">
                  <a:extLst>
                    <a:ext uri="{FF2B5EF4-FFF2-40B4-BE49-F238E27FC236}">
                      <a16:creationId xmlns:a16="http://schemas.microsoft.com/office/drawing/2014/main" id="{EAA9183B-34C2-F7D2-A6FE-0E23B68A8799}"/>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13" name="Freeform: Shape 12512">
                  <a:extLst>
                    <a:ext uri="{FF2B5EF4-FFF2-40B4-BE49-F238E27FC236}">
                      <a16:creationId xmlns:a16="http://schemas.microsoft.com/office/drawing/2014/main" id="{82114619-11CE-8C34-56CC-152A6F309739}"/>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68" name="Graphic 2151">
                <a:extLst>
                  <a:ext uri="{FF2B5EF4-FFF2-40B4-BE49-F238E27FC236}">
                    <a16:creationId xmlns:a16="http://schemas.microsoft.com/office/drawing/2014/main" id="{17441627-BDCA-09A0-7CAF-8E54CF30D8FC}"/>
                  </a:ext>
                </a:extLst>
              </p:cNvPr>
              <p:cNvGrpSpPr/>
              <p:nvPr/>
            </p:nvGrpSpPr>
            <p:grpSpPr>
              <a:xfrm>
                <a:off x="5136736" y="3247072"/>
                <a:ext cx="75723" cy="75628"/>
                <a:chOff x="5136736" y="3247072"/>
                <a:chExt cx="75723" cy="75628"/>
              </a:xfrm>
            </p:grpSpPr>
            <p:sp>
              <p:nvSpPr>
                <p:cNvPr id="12509" name="Freeform: Shape 12508">
                  <a:extLst>
                    <a:ext uri="{FF2B5EF4-FFF2-40B4-BE49-F238E27FC236}">
                      <a16:creationId xmlns:a16="http://schemas.microsoft.com/office/drawing/2014/main" id="{515B2BAB-CC2E-C3E4-0C9D-D3B678BBDA05}"/>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11" name="Freeform: Shape 12510">
                  <a:extLst>
                    <a:ext uri="{FF2B5EF4-FFF2-40B4-BE49-F238E27FC236}">
                      <a16:creationId xmlns:a16="http://schemas.microsoft.com/office/drawing/2014/main" id="{0E372DB5-B07D-420B-D4B1-5727672C50D4}"/>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69" name="Graphic 2151">
                <a:extLst>
                  <a:ext uri="{FF2B5EF4-FFF2-40B4-BE49-F238E27FC236}">
                    <a16:creationId xmlns:a16="http://schemas.microsoft.com/office/drawing/2014/main" id="{B4B1A942-B7C0-6561-170D-A4321B65F9C4}"/>
                  </a:ext>
                </a:extLst>
              </p:cNvPr>
              <p:cNvGrpSpPr/>
              <p:nvPr/>
            </p:nvGrpSpPr>
            <p:grpSpPr>
              <a:xfrm>
                <a:off x="5062537" y="3222688"/>
                <a:ext cx="75723" cy="75723"/>
                <a:chOff x="5062537" y="3222688"/>
                <a:chExt cx="75723" cy="75723"/>
              </a:xfrm>
            </p:grpSpPr>
            <p:sp>
              <p:nvSpPr>
                <p:cNvPr id="12507" name="Freeform: Shape 12506">
                  <a:extLst>
                    <a:ext uri="{FF2B5EF4-FFF2-40B4-BE49-F238E27FC236}">
                      <a16:creationId xmlns:a16="http://schemas.microsoft.com/office/drawing/2014/main" id="{3550DFF6-DA1A-66ED-44D9-CBFF38B6CB01}"/>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08" name="Freeform: Shape 12507">
                  <a:extLst>
                    <a:ext uri="{FF2B5EF4-FFF2-40B4-BE49-F238E27FC236}">
                      <a16:creationId xmlns:a16="http://schemas.microsoft.com/office/drawing/2014/main" id="{E776DD05-F1DC-230C-3D58-FA56B7F2B967}"/>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0" name="Graphic 2151">
                <a:extLst>
                  <a:ext uri="{FF2B5EF4-FFF2-40B4-BE49-F238E27FC236}">
                    <a16:creationId xmlns:a16="http://schemas.microsoft.com/office/drawing/2014/main" id="{2775024B-9C01-1E7C-EB78-EE0F739CEE97}"/>
                  </a:ext>
                </a:extLst>
              </p:cNvPr>
              <p:cNvGrpSpPr/>
              <p:nvPr/>
            </p:nvGrpSpPr>
            <p:grpSpPr>
              <a:xfrm>
                <a:off x="4760975" y="3149346"/>
                <a:ext cx="75723" cy="75723"/>
                <a:chOff x="4760975" y="3149346"/>
                <a:chExt cx="75723" cy="75723"/>
              </a:xfrm>
            </p:grpSpPr>
            <p:sp>
              <p:nvSpPr>
                <p:cNvPr id="12505" name="Freeform: Shape 12504">
                  <a:extLst>
                    <a:ext uri="{FF2B5EF4-FFF2-40B4-BE49-F238E27FC236}">
                      <a16:creationId xmlns:a16="http://schemas.microsoft.com/office/drawing/2014/main" id="{80024B27-6BBD-B125-8E5D-FA2BC32C5A2F}"/>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06" name="Freeform: Shape 12505">
                  <a:extLst>
                    <a:ext uri="{FF2B5EF4-FFF2-40B4-BE49-F238E27FC236}">
                      <a16:creationId xmlns:a16="http://schemas.microsoft.com/office/drawing/2014/main" id="{BA39D2C8-6043-1C50-D005-F7ABEB646F28}"/>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1" name="Graphic 2151">
                <a:extLst>
                  <a:ext uri="{FF2B5EF4-FFF2-40B4-BE49-F238E27FC236}">
                    <a16:creationId xmlns:a16="http://schemas.microsoft.com/office/drawing/2014/main" id="{6BF35342-9D89-7CAC-9AE8-8E9080E41ADA}"/>
                  </a:ext>
                </a:extLst>
              </p:cNvPr>
              <p:cNvGrpSpPr/>
              <p:nvPr/>
            </p:nvGrpSpPr>
            <p:grpSpPr>
              <a:xfrm>
                <a:off x="4757927" y="3127438"/>
                <a:ext cx="75723" cy="75628"/>
                <a:chOff x="4757927" y="3127438"/>
                <a:chExt cx="75723" cy="75628"/>
              </a:xfrm>
            </p:grpSpPr>
            <p:sp>
              <p:nvSpPr>
                <p:cNvPr id="12503" name="Freeform: Shape 12502">
                  <a:extLst>
                    <a:ext uri="{FF2B5EF4-FFF2-40B4-BE49-F238E27FC236}">
                      <a16:creationId xmlns:a16="http://schemas.microsoft.com/office/drawing/2014/main" id="{6A0A047C-85C3-1E78-EE80-41DEAAA27C6E}"/>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04" name="Freeform: Shape 12503">
                  <a:extLst>
                    <a:ext uri="{FF2B5EF4-FFF2-40B4-BE49-F238E27FC236}">
                      <a16:creationId xmlns:a16="http://schemas.microsoft.com/office/drawing/2014/main" id="{A677E1EF-24D4-EDE0-BA85-2181CD4AAC67}"/>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2" name="Graphic 2151">
                <a:extLst>
                  <a:ext uri="{FF2B5EF4-FFF2-40B4-BE49-F238E27FC236}">
                    <a16:creationId xmlns:a16="http://schemas.microsoft.com/office/drawing/2014/main" id="{9985C859-9365-7BA2-04B7-077B3586A69C}"/>
                  </a:ext>
                </a:extLst>
              </p:cNvPr>
              <p:cNvGrpSpPr/>
              <p:nvPr/>
            </p:nvGrpSpPr>
            <p:grpSpPr>
              <a:xfrm>
                <a:off x="4746116" y="3127438"/>
                <a:ext cx="75723" cy="75628"/>
                <a:chOff x="4746116" y="3127438"/>
                <a:chExt cx="75723" cy="75628"/>
              </a:xfrm>
            </p:grpSpPr>
            <p:sp>
              <p:nvSpPr>
                <p:cNvPr id="12501" name="Freeform: Shape 12500">
                  <a:extLst>
                    <a:ext uri="{FF2B5EF4-FFF2-40B4-BE49-F238E27FC236}">
                      <a16:creationId xmlns:a16="http://schemas.microsoft.com/office/drawing/2014/main" id="{711675CA-6593-033B-8BA1-EC1F4431BC9F}"/>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02" name="Freeform: Shape 12501">
                  <a:extLst>
                    <a:ext uri="{FF2B5EF4-FFF2-40B4-BE49-F238E27FC236}">
                      <a16:creationId xmlns:a16="http://schemas.microsoft.com/office/drawing/2014/main" id="{F95B6D73-487F-644A-B327-B837F32DAD01}"/>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3" name="Graphic 2151">
                <a:extLst>
                  <a:ext uri="{FF2B5EF4-FFF2-40B4-BE49-F238E27FC236}">
                    <a16:creationId xmlns:a16="http://schemas.microsoft.com/office/drawing/2014/main" id="{54631719-C23D-312A-1DD2-2574A7CD3C16}"/>
                  </a:ext>
                </a:extLst>
              </p:cNvPr>
              <p:cNvGrpSpPr/>
              <p:nvPr/>
            </p:nvGrpSpPr>
            <p:grpSpPr>
              <a:xfrm>
                <a:off x="4693538" y="3060192"/>
                <a:ext cx="75723" cy="75723"/>
                <a:chOff x="4693538" y="3060192"/>
                <a:chExt cx="75723" cy="75723"/>
              </a:xfrm>
            </p:grpSpPr>
            <p:sp>
              <p:nvSpPr>
                <p:cNvPr id="12499" name="Freeform: Shape 12498">
                  <a:extLst>
                    <a:ext uri="{FF2B5EF4-FFF2-40B4-BE49-F238E27FC236}">
                      <a16:creationId xmlns:a16="http://schemas.microsoft.com/office/drawing/2014/main" id="{2C7F8C0F-6E35-A742-1CEF-2F324E83CAC5}"/>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500" name="Freeform: Shape 12499">
                  <a:extLst>
                    <a:ext uri="{FF2B5EF4-FFF2-40B4-BE49-F238E27FC236}">
                      <a16:creationId xmlns:a16="http://schemas.microsoft.com/office/drawing/2014/main" id="{CB751237-1DD3-93B1-7CD1-30657793665F}"/>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4" name="Graphic 2151">
                <a:extLst>
                  <a:ext uri="{FF2B5EF4-FFF2-40B4-BE49-F238E27FC236}">
                    <a16:creationId xmlns:a16="http://schemas.microsoft.com/office/drawing/2014/main" id="{43395C94-F0FE-CBA6-38A2-2591219CD89E}"/>
                  </a:ext>
                </a:extLst>
              </p:cNvPr>
              <p:cNvGrpSpPr/>
              <p:nvPr/>
            </p:nvGrpSpPr>
            <p:grpSpPr>
              <a:xfrm>
                <a:off x="4670392" y="3019806"/>
                <a:ext cx="75723" cy="75628"/>
                <a:chOff x="4670392" y="3019806"/>
                <a:chExt cx="75723" cy="75628"/>
              </a:xfrm>
            </p:grpSpPr>
            <p:sp>
              <p:nvSpPr>
                <p:cNvPr id="12497" name="Freeform: Shape 12496">
                  <a:extLst>
                    <a:ext uri="{FF2B5EF4-FFF2-40B4-BE49-F238E27FC236}">
                      <a16:creationId xmlns:a16="http://schemas.microsoft.com/office/drawing/2014/main" id="{82FB0357-DD21-2737-04E4-4672A2F4EF9B}"/>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98" name="Freeform: Shape 12497">
                  <a:extLst>
                    <a:ext uri="{FF2B5EF4-FFF2-40B4-BE49-F238E27FC236}">
                      <a16:creationId xmlns:a16="http://schemas.microsoft.com/office/drawing/2014/main" id="{44DC70A7-758E-68B2-6ABF-E76A35582837}"/>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5" name="Graphic 2151">
                <a:extLst>
                  <a:ext uri="{FF2B5EF4-FFF2-40B4-BE49-F238E27FC236}">
                    <a16:creationId xmlns:a16="http://schemas.microsoft.com/office/drawing/2014/main" id="{3449D944-74E8-2BA3-E690-8C2EDC1D639F}"/>
                  </a:ext>
                </a:extLst>
              </p:cNvPr>
              <p:cNvGrpSpPr/>
              <p:nvPr/>
            </p:nvGrpSpPr>
            <p:grpSpPr>
              <a:xfrm>
                <a:off x="4433029" y="3019806"/>
                <a:ext cx="75628" cy="75628"/>
                <a:chOff x="4433029" y="3019806"/>
                <a:chExt cx="75628" cy="75628"/>
              </a:xfrm>
            </p:grpSpPr>
            <p:sp>
              <p:nvSpPr>
                <p:cNvPr id="12495" name="Freeform: Shape 12494">
                  <a:extLst>
                    <a:ext uri="{FF2B5EF4-FFF2-40B4-BE49-F238E27FC236}">
                      <a16:creationId xmlns:a16="http://schemas.microsoft.com/office/drawing/2014/main" id="{2D56856B-58B9-F9DF-748B-9ED23600312F}"/>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96" name="Freeform: Shape 12495">
                  <a:extLst>
                    <a:ext uri="{FF2B5EF4-FFF2-40B4-BE49-F238E27FC236}">
                      <a16:creationId xmlns:a16="http://schemas.microsoft.com/office/drawing/2014/main" id="{BA6EDA8B-6C67-1028-F3DC-4DA7B85A4F38}"/>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6" name="Graphic 2151">
                <a:extLst>
                  <a:ext uri="{FF2B5EF4-FFF2-40B4-BE49-F238E27FC236}">
                    <a16:creationId xmlns:a16="http://schemas.microsoft.com/office/drawing/2014/main" id="{C266B155-33A9-32FF-82DC-EBF6A876B3BA}"/>
                  </a:ext>
                </a:extLst>
              </p:cNvPr>
              <p:cNvGrpSpPr/>
              <p:nvPr/>
            </p:nvGrpSpPr>
            <p:grpSpPr>
              <a:xfrm>
                <a:off x="4353019" y="2954083"/>
                <a:ext cx="75723" cy="75723"/>
                <a:chOff x="4353019" y="2954083"/>
                <a:chExt cx="75723" cy="75723"/>
              </a:xfrm>
            </p:grpSpPr>
            <p:sp>
              <p:nvSpPr>
                <p:cNvPr id="12493" name="Freeform: Shape 12492">
                  <a:extLst>
                    <a:ext uri="{FF2B5EF4-FFF2-40B4-BE49-F238E27FC236}">
                      <a16:creationId xmlns:a16="http://schemas.microsoft.com/office/drawing/2014/main" id="{61E7C9BB-3842-2A95-E90B-B70A934AD6D1}"/>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94" name="Freeform: Shape 12493">
                  <a:extLst>
                    <a:ext uri="{FF2B5EF4-FFF2-40B4-BE49-F238E27FC236}">
                      <a16:creationId xmlns:a16="http://schemas.microsoft.com/office/drawing/2014/main" id="{0308F50A-12A4-2997-E0DF-0FBEB44FEC51}"/>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7" name="Graphic 2151">
                <a:extLst>
                  <a:ext uri="{FF2B5EF4-FFF2-40B4-BE49-F238E27FC236}">
                    <a16:creationId xmlns:a16="http://schemas.microsoft.com/office/drawing/2014/main" id="{1FAE8850-7D0C-2DCC-6E6E-AD08252CF1FB}"/>
                  </a:ext>
                </a:extLst>
              </p:cNvPr>
              <p:cNvGrpSpPr/>
              <p:nvPr/>
            </p:nvGrpSpPr>
            <p:grpSpPr>
              <a:xfrm>
                <a:off x="4349686" y="2911983"/>
                <a:ext cx="75723" cy="75628"/>
                <a:chOff x="4349686" y="2911983"/>
                <a:chExt cx="75723" cy="75628"/>
              </a:xfrm>
            </p:grpSpPr>
            <p:sp>
              <p:nvSpPr>
                <p:cNvPr id="12491" name="Freeform: Shape 12490">
                  <a:extLst>
                    <a:ext uri="{FF2B5EF4-FFF2-40B4-BE49-F238E27FC236}">
                      <a16:creationId xmlns:a16="http://schemas.microsoft.com/office/drawing/2014/main" id="{9AD1554C-68B8-06B2-3439-F142F2EBE921}"/>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92" name="Freeform: Shape 12491">
                  <a:extLst>
                    <a:ext uri="{FF2B5EF4-FFF2-40B4-BE49-F238E27FC236}">
                      <a16:creationId xmlns:a16="http://schemas.microsoft.com/office/drawing/2014/main" id="{06C10B5C-67DD-BA21-6E81-31DE504077A0}"/>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8" name="Graphic 2151">
                <a:extLst>
                  <a:ext uri="{FF2B5EF4-FFF2-40B4-BE49-F238E27FC236}">
                    <a16:creationId xmlns:a16="http://schemas.microsoft.com/office/drawing/2014/main" id="{E7FD52B5-ED8A-FCE5-112A-F614E1AF13CF}"/>
                  </a:ext>
                </a:extLst>
              </p:cNvPr>
              <p:cNvGrpSpPr/>
              <p:nvPr/>
            </p:nvGrpSpPr>
            <p:grpSpPr>
              <a:xfrm>
                <a:off x="4341208" y="2892742"/>
                <a:ext cx="75723" cy="75723"/>
                <a:chOff x="4341208" y="2892742"/>
                <a:chExt cx="75723" cy="75723"/>
              </a:xfrm>
            </p:grpSpPr>
            <p:sp>
              <p:nvSpPr>
                <p:cNvPr id="12489" name="Freeform: Shape 12488">
                  <a:extLst>
                    <a:ext uri="{FF2B5EF4-FFF2-40B4-BE49-F238E27FC236}">
                      <a16:creationId xmlns:a16="http://schemas.microsoft.com/office/drawing/2014/main" id="{AF11ACB7-93A9-0B01-10DC-51A85FA9F35B}"/>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90" name="Freeform: Shape 12489">
                  <a:extLst>
                    <a:ext uri="{FF2B5EF4-FFF2-40B4-BE49-F238E27FC236}">
                      <a16:creationId xmlns:a16="http://schemas.microsoft.com/office/drawing/2014/main" id="{FBD5174D-DD28-ACD8-9098-626593876C56}"/>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79" name="Graphic 2151">
                <a:extLst>
                  <a:ext uri="{FF2B5EF4-FFF2-40B4-BE49-F238E27FC236}">
                    <a16:creationId xmlns:a16="http://schemas.microsoft.com/office/drawing/2014/main" id="{0F8DDAD4-F04E-DB2C-833F-AF91D9DF7F68}"/>
                  </a:ext>
                </a:extLst>
              </p:cNvPr>
              <p:cNvGrpSpPr/>
              <p:nvPr/>
            </p:nvGrpSpPr>
            <p:grpSpPr>
              <a:xfrm>
                <a:off x="4326635" y="2882169"/>
                <a:ext cx="75628" cy="75628"/>
                <a:chOff x="4326635" y="2882169"/>
                <a:chExt cx="75628" cy="75628"/>
              </a:xfrm>
            </p:grpSpPr>
            <p:sp>
              <p:nvSpPr>
                <p:cNvPr id="12487" name="Freeform: Shape 12486">
                  <a:extLst>
                    <a:ext uri="{FF2B5EF4-FFF2-40B4-BE49-F238E27FC236}">
                      <a16:creationId xmlns:a16="http://schemas.microsoft.com/office/drawing/2014/main" id="{0A015874-B191-EC0E-0AE9-071F4BF1C7D8}"/>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8" name="Freeform: Shape 12487">
                  <a:extLst>
                    <a:ext uri="{FF2B5EF4-FFF2-40B4-BE49-F238E27FC236}">
                      <a16:creationId xmlns:a16="http://schemas.microsoft.com/office/drawing/2014/main" id="{4139BE75-E591-30A1-69CE-5F9175798684}"/>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0" name="Graphic 2151">
                <a:extLst>
                  <a:ext uri="{FF2B5EF4-FFF2-40B4-BE49-F238E27FC236}">
                    <a16:creationId xmlns:a16="http://schemas.microsoft.com/office/drawing/2014/main" id="{C5DF3999-6492-693B-A9CF-E1EEAA18238D}"/>
                  </a:ext>
                </a:extLst>
              </p:cNvPr>
              <p:cNvGrpSpPr/>
              <p:nvPr/>
            </p:nvGrpSpPr>
            <p:grpSpPr>
              <a:xfrm>
                <a:off x="4317682" y="2869692"/>
                <a:ext cx="75628" cy="75723"/>
                <a:chOff x="4317682" y="2869692"/>
                <a:chExt cx="75628" cy="75723"/>
              </a:xfrm>
            </p:grpSpPr>
            <p:sp>
              <p:nvSpPr>
                <p:cNvPr id="12485" name="Freeform: Shape 12484">
                  <a:extLst>
                    <a:ext uri="{FF2B5EF4-FFF2-40B4-BE49-F238E27FC236}">
                      <a16:creationId xmlns:a16="http://schemas.microsoft.com/office/drawing/2014/main" id="{05919F3C-4689-78E7-E1D7-061DEABB128B}"/>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6" name="Freeform: Shape 12485">
                  <a:extLst>
                    <a:ext uri="{FF2B5EF4-FFF2-40B4-BE49-F238E27FC236}">
                      <a16:creationId xmlns:a16="http://schemas.microsoft.com/office/drawing/2014/main" id="{3623221B-8BB3-F500-2001-9CA869F564AD}"/>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1" name="Graphic 2151">
                <a:extLst>
                  <a:ext uri="{FF2B5EF4-FFF2-40B4-BE49-F238E27FC236}">
                    <a16:creationId xmlns:a16="http://schemas.microsoft.com/office/drawing/2014/main" id="{3C91BE8A-17EE-D9D4-6CB4-E2DA96C4CB3C}"/>
                  </a:ext>
                </a:extLst>
              </p:cNvPr>
              <p:cNvGrpSpPr/>
              <p:nvPr/>
            </p:nvGrpSpPr>
            <p:grpSpPr>
              <a:xfrm>
                <a:off x="4310633" y="2854928"/>
                <a:ext cx="75723" cy="75723"/>
                <a:chOff x="4310633" y="2854928"/>
                <a:chExt cx="75723" cy="75723"/>
              </a:xfrm>
            </p:grpSpPr>
            <p:sp>
              <p:nvSpPr>
                <p:cNvPr id="12483" name="Freeform: Shape 12482">
                  <a:extLst>
                    <a:ext uri="{FF2B5EF4-FFF2-40B4-BE49-F238E27FC236}">
                      <a16:creationId xmlns:a16="http://schemas.microsoft.com/office/drawing/2014/main" id="{F92AC13B-90D9-CF8F-3B13-F27D7E51E7AF}"/>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4" name="Freeform: Shape 12483">
                  <a:extLst>
                    <a:ext uri="{FF2B5EF4-FFF2-40B4-BE49-F238E27FC236}">
                      <a16:creationId xmlns:a16="http://schemas.microsoft.com/office/drawing/2014/main" id="{4149AE95-5654-0769-FB43-AD4CBEBD9C80}"/>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2" name="Graphic 2151">
                <a:extLst>
                  <a:ext uri="{FF2B5EF4-FFF2-40B4-BE49-F238E27FC236}">
                    <a16:creationId xmlns:a16="http://schemas.microsoft.com/office/drawing/2014/main" id="{5C329559-3646-5F23-D687-A209FADED7F5}"/>
                  </a:ext>
                </a:extLst>
              </p:cNvPr>
              <p:cNvGrpSpPr/>
              <p:nvPr/>
            </p:nvGrpSpPr>
            <p:grpSpPr>
              <a:xfrm>
                <a:off x="4295488" y="2838069"/>
                <a:ext cx="75628" cy="75723"/>
                <a:chOff x="4295488" y="2838069"/>
                <a:chExt cx="75628" cy="75723"/>
              </a:xfrm>
            </p:grpSpPr>
            <p:sp>
              <p:nvSpPr>
                <p:cNvPr id="12481" name="Freeform: Shape 12480">
                  <a:extLst>
                    <a:ext uri="{FF2B5EF4-FFF2-40B4-BE49-F238E27FC236}">
                      <a16:creationId xmlns:a16="http://schemas.microsoft.com/office/drawing/2014/main" id="{4B032D50-67E1-4971-B07A-E816EA9ECC99}"/>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2" name="Freeform: Shape 12481">
                  <a:extLst>
                    <a:ext uri="{FF2B5EF4-FFF2-40B4-BE49-F238E27FC236}">
                      <a16:creationId xmlns:a16="http://schemas.microsoft.com/office/drawing/2014/main" id="{F3D9B277-9920-5119-832B-8967E0A069E9}"/>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3" name="Graphic 2151">
                <a:extLst>
                  <a:ext uri="{FF2B5EF4-FFF2-40B4-BE49-F238E27FC236}">
                    <a16:creationId xmlns:a16="http://schemas.microsoft.com/office/drawing/2014/main" id="{D1B47F65-293C-CBC6-DDAE-46644958DBED}"/>
                  </a:ext>
                </a:extLst>
              </p:cNvPr>
              <p:cNvGrpSpPr/>
              <p:nvPr/>
            </p:nvGrpSpPr>
            <p:grpSpPr>
              <a:xfrm>
                <a:off x="4141374" y="2725959"/>
                <a:ext cx="75628" cy="75628"/>
                <a:chOff x="4141374" y="2725959"/>
                <a:chExt cx="75628" cy="75628"/>
              </a:xfrm>
            </p:grpSpPr>
            <p:sp>
              <p:nvSpPr>
                <p:cNvPr id="16826" name="Freeform: Shape 16825">
                  <a:extLst>
                    <a:ext uri="{FF2B5EF4-FFF2-40B4-BE49-F238E27FC236}">
                      <a16:creationId xmlns:a16="http://schemas.microsoft.com/office/drawing/2014/main" id="{73B799CD-B2C3-EE59-735E-33D91302562F}"/>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480" name="Freeform: Shape 12479">
                  <a:extLst>
                    <a:ext uri="{FF2B5EF4-FFF2-40B4-BE49-F238E27FC236}">
                      <a16:creationId xmlns:a16="http://schemas.microsoft.com/office/drawing/2014/main" id="{EEF32AED-912D-B929-1B6B-443271754BFD}"/>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4" name="Graphic 2151">
                <a:extLst>
                  <a:ext uri="{FF2B5EF4-FFF2-40B4-BE49-F238E27FC236}">
                    <a16:creationId xmlns:a16="http://schemas.microsoft.com/office/drawing/2014/main" id="{4F70C0CE-7503-3070-7C5F-D48B2CDD6318}"/>
                  </a:ext>
                </a:extLst>
              </p:cNvPr>
              <p:cNvGrpSpPr/>
              <p:nvPr/>
            </p:nvGrpSpPr>
            <p:grpSpPr>
              <a:xfrm>
                <a:off x="3900677" y="2674810"/>
                <a:ext cx="75723" cy="75723"/>
                <a:chOff x="3900677" y="2674810"/>
                <a:chExt cx="75723" cy="75723"/>
              </a:xfrm>
            </p:grpSpPr>
            <p:sp>
              <p:nvSpPr>
                <p:cNvPr id="16824" name="Freeform: Shape 16823">
                  <a:extLst>
                    <a:ext uri="{FF2B5EF4-FFF2-40B4-BE49-F238E27FC236}">
                      <a16:creationId xmlns:a16="http://schemas.microsoft.com/office/drawing/2014/main" id="{54BB77A9-E73C-D05D-ECCA-3F9415ED94EF}"/>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25" name="Freeform: Shape 16824">
                  <a:extLst>
                    <a:ext uri="{FF2B5EF4-FFF2-40B4-BE49-F238E27FC236}">
                      <a16:creationId xmlns:a16="http://schemas.microsoft.com/office/drawing/2014/main" id="{2A9422E3-662D-F16C-A00A-ECD4CC460715}"/>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5" name="Graphic 2151">
                <a:extLst>
                  <a:ext uri="{FF2B5EF4-FFF2-40B4-BE49-F238E27FC236}">
                    <a16:creationId xmlns:a16="http://schemas.microsoft.com/office/drawing/2014/main" id="{1EBF0A98-15F4-C607-B0E7-6488F24AA9F6}"/>
                  </a:ext>
                </a:extLst>
              </p:cNvPr>
              <p:cNvGrpSpPr/>
              <p:nvPr/>
            </p:nvGrpSpPr>
            <p:grpSpPr>
              <a:xfrm>
                <a:off x="3876674" y="2674810"/>
                <a:ext cx="75723" cy="75723"/>
                <a:chOff x="3876674" y="2674810"/>
                <a:chExt cx="75723" cy="75723"/>
              </a:xfrm>
            </p:grpSpPr>
            <p:sp>
              <p:nvSpPr>
                <p:cNvPr id="16822" name="Freeform: Shape 16821">
                  <a:extLst>
                    <a:ext uri="{FF2B5EF4-FFF2-40B4-BE49-F238E27FC236}">
                      <a16:creationId xmlns:a16="http://schemas.microsoft.com/office/drawing/2014/main" id="{9DC5B796-128A-1C07-102E-A12E3A7DE450}"/>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23" name="Freeform: Shape 16822">
                  <a:extLst>
                    <a:ext uri="{FF2B5EF4-FFF2-40B4-BE49-F238E27FC236}">
                      <a16:creationId xmlns:a16="http://schemas.microsoft.com/office/drawing/2014/main" id="{F7D944B0-92EB-9AD8-C862-657F21D9757B}"/>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6" name="Graphic 2151">
                <a:extLst>
                  <a:ext uri="{FF2B5EF4-FFF2-40B4-BE49-F238E27FC236}">
                    <a16:creationId xmlns:a16="http://schemas.microsoft.com/office/drawing/2014/main" id="{DFF033BF-F5AC-C15E-9C43-4F462B5B3070}"/>
                  </a:ext>
                </a:extLst>
              </p:cNvPr>
              <p:cNvGrpSpPr/>
              <p:nvPr/>
            </p:nvGrpSpPr>
            <p:grpSpPr>
              <a:xfrm>
                <a:off x="4353019" y="2937129"/>
                <a:ext cx="75723" cy="75628"/>
                <a:chOff x="4353019" y="2937129"/>
                <a:chExt cx="75723" cy="75628"/>
              </a:xfrm>
            </p:grpSpPr>
            <p:sp>
              <p:nvSpPr>
                <p:cNvPr id="16820" name="Freeform: Shape 16819">
                  <a:extLst>
                    <a:ext uri="{FF2B5EF4-FFF2-40B4-BE49-F238E27FC236}">
                      <a16:creationId xmlns:a16="http://schemas.microsoft.com/office/drawing/2014/main" id="{59466DF6-B2CF-5A40-32AB-66FEA51F60E8}"/>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21" name="Freeform: Shape 16820">
                  <a:extLst>
                    <a:ext uri="{FF2B5EF4-FFF2-40B4-BE49-F238E27FC236}">
                      <a16:creationId xmlns:a16="http://schemas.microsoft.com/office/drawing/2014/main" id="{57573A8E-4D6C-3EAF-7F13-1B8C626E016D}"/>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7" name="Graphic 2151">
                <a:extLst>
                  <a:ext uri="{FF2B5EF4-FFF2-40B4-BE49-F238E27FC236}">
                    <a16:creationId xmlns:a16="http://schemas.microsoft.com/office/drawing/2014/main" id="{D432BD6B-BA23-CCA9-11AD-83CD370DBCD7}"/>
                  </a:ext>
                </a:extLst>
              </p:cNvPr>
              <p:cNvGrpSpPr/>
              <p:nvPr/>
            </p:nvGrpSpPr>
            <p:grpSpPr>
              <a:xfrm>
                <a:off x="5159501" y="3247072"/>
                <a:ext cx="75723" cy="75628"/>
                <a:chOff x="5159501" y="3247072"/>
                <a:chExt cx="75723" cy="75628"/>
              </a:xfrm>
            </p:grpSpPr>
            <p:sp>
              <p:nvSpPr>
                <p:cNvPr id="16818" name="Freeform: Shape 16817">
                  <a:extLst>
                    <a:ext uri="{FF2B5EF4-FFF2-40B4-BE49-F238E27FC236}">
                      <a16:creationId xmlns:a16="http://schemas.microsoft.com/office/drawing/2014/main" id="{C5B585A2-9F05-C8DC-7AF9-D6DF8DCE3895}"/>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19" name="Freeform: Shape 16818">
                  <a:extLst>
                    <a:ext uri="{FF2B5EF4-FFF2-40B4-BE49-F238E27FC236}">
                      <a16:creationId xmlns:a16="http://schemas.microsoft.com/office/drawing/2014/main" id="{AF451A16-668E-2CFA-30C4-1EFE3D6884B0}"/>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8" name="Graphic 2151">
                <a:extLst>
                  <a:ext uri="{FF2B5EF4-FFF2-40B4-BE49-F238E27FC236}">
                    <a16:creationId xmlns:a16="http://schemas.microsoft.com/office/drawing/2014/main" id="{5CE1C8BC-51E2-3D07-3F9F-9C2631ED63AC}"/>
                  </a:ext>
                </a:extLst>
              </p:cNvPr>
              <p:cNvGrpSpPr/>
              <p:nvPr/>
            </p:nvGrpSpPr>
            <p:grpSpPr>
              <a:xfrm>
                <a:off x="5179123" y="3264027"/>
                <a:ext cx="75723" cy="75723"/>
                <a:chOff x="5179123" y="3264027"/>
                <a:chExt cx="75723" cy="75723"/>
              </a:xfrm>
            </p:grpSpPr>
            <p:sp>
              <p:nvSpPr>
                <p:cNvPr id="16816" name="Freeform: Shape 16815">
                  <a:extLst>
                    <a:ext uri="{FF2B5EF4-FFF2-40B4-BE49-F238E27FC236}">
                      <a16:creationId xmlns:a16="http://schemas.microsoft.com/office/drawing/2014/main" id="{9CF30F18-BE91-16DB-4565-1478529F5E5E}"/>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17" name="Freeform: Shape 16816">
                  <a:extLst>
                    <a:ext uri="{FF2B5EF4-FFF2-40B4-BE49-F238E27FC236}">
                      <a16:creationId xmlns:a16="http://schemas.microsoft.com/office/drawing/2014/main" id="{83CE6445-A509-FF37-E6F6-B7C477E987F7}"/>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89" name="Graphic 2151">
                <a:extLst>
                  <a:ext uri="{FF2B5EF4-FFF2-40B4-BE49-F238E27FC236}">
                    <a16:creationId xmlns:a16="http://schemas.microsoft.com/office/drawing/2014/main" id="{5A190C19-DB2C-E09C-4B5F-857C5F2D2E04}"/>
                  </a:ext>
                </a:extLst>
              </p:cNvPr>
              <p:cNvGrpSpPr/>
              <p:nvPr/>
            </p:nvGrpSpPr>
            <p:grpSpPr>
              <a:xfrm>
                <a:off x="5611843" y="3463194"/>
                <a:ext cx="75723" cy="75723"/>
                <a:chOff x="5611843" y="3463194"/>
                <a:chExt cx="75723" cy="75723"/>
              </a:xfrm>
            </p:grpSpPr>
            <p:sp>
              <p:nvSpPr>
                <p:cNvPr id="16814" name="Freeform: Shape 16813">
                  <a:extLst>
                    <a:ext uri="{FF2B5EF4-FFF2-40B4-BE49-F238E27FC236}">
                      <a16:creationId xmlns:a16="http://schemas.microsoft.com/office/drawing/2014/main" id="{1BB863FE-3F59-9C8C-695C-61DB33E07646}"/>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15" name="Freeform: Shape 16814">
                  <a:extLst>
                    <a:ext uri="{FF2B5EF4-FFF2-40B4-BE49-F238E27FC236}">
                      <a16:creationId xmlns:a16="http://schemas.microsoft.com/office/drawing/2014/main" id="{F2DAEC0B-820C-F1DD-DC8A-2CA3C6F4AAB7}"/>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0" name="Graphic 2151">
                <a:extLst>
                  <a:ext uri="{FF2B5EF4-FFF2-40B4-BE49-F238E27FC236}">
                    <a16:creationId xmlns:a16="http://schemas.microsoft.com/office/drawing/2014/main" id="{55FD428C-5890-A8D2-6132-CB9FEC0AC654}"/>
                  </a:ext>
                </a:extLst>
              </p:cNvPr>
              <p:cNvGrpSpPr/>
              <p:nvPr/>
            </p:nvGrpSpPr>
            <p:grpSpPr>
              <a:xfrm>
                <a:off x="5622226" y="3463194"/>
                <a:ext cx="75723" cy="75723"/>
                <a:chOff x="5622226" y="3463194"/>
                <a:chExt cx="75723" cy="75723"/>
              </a:xfrm>
            </p:grpSpPr>
            <p:sp>
              <p:nvSpPr>
                <p:cNvPr id="16812" name="Freeform: Shape 16811">
                  <a:extLst>
                    <a:ext uri="{FF2B5EF4-FFF2-40B4-BE49-F238E27FC236}">
                      <a16:creationId xmlns:a16="http://schemas.microsoft.com/office/drawing/2014/main" id="{03B9440E-DC31-81DE-D402-F5A693FE118D}"/>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13" name="Freeform: Shape 16812">
                  <a:extLst>
                    <a:ext uri="{FF2B5EF4-FFF2-40B4-BE49-F238E27FC236}">
                      <a16:creationId xmlns:a16="http://schemas.microsoft.com/office/drawing/2014/main" id="{FC971501-5DCD-6DB6-4D31-9CC9B6E583F6}"/>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1" name="Graphic 2151">
                <a:extLst>
                  <a:ext uri="{FF2B5EF4-FFF2-40B4-BE49-F238E27FC236}">
                    <a16:creationId xmlns:a16="http://schemas.microsoft.com/office/drawing/2014/main" id="{A7A0F756-1302-6188-3123-39027C692732}"/>
                  </a:ext>
                </a:extLst>
              </p:cNvPr>
              <p:cNvGrpSpPr/>
              <p:nvPr/>
            </p:nvGrpSpPr>
            <p:grpSpPr>
              <a:xfrm>
                <a:off x="5632513" y="3463194"/>
                <a:ext cx="75723" cy="75723"/>
                <a:chOff x="5632513" y="3463194"/>
                <a:chExt cx="75723" cy="75723"/>
              </a:xfrm>
            </p:grpSpPr>
            <p:sp>
              <p:nvSpPr>
                <p:cNvPr id="16810" name="Freeform: Shape 16809">
                  <a:extLst>
                    <a:ext uri="{FF2B5EF4-FFF2-40B4-BE49-F238E27FC236}">
                      <a16:creationId xmlns:a16="http://schemas.microsoft.com/office/drawing/2014/main" id="{FF06108A-4C1E-6248-80F3-FFBB56812670}"/>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11" name="Freeform: Shape 16810">
                  <a:extLst>
                    <a:ext uri="{FF2B5EF4-FFF2-40B4-BE49-F238E27FC236}">
                      <a16:creationId xmlns:a16="http://schemas.microsoft.com/office/drawing/2014/main" id="{925EBFD6-8E4E-A9EF-D311-3BEF25B60620}"/>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2" name="Graphic 2151">
                <a:extLst>
                  <a:ext uri="{FF2B5EF4-FFF2-40B4-BE49-F238E27FC236}">
                    <a16:creationId xmlns:a16="http://schemas.microsoft.com/office/drawing/2014/main" id="{65FEEB6A-4CB9-8C9E-AC52-24B61975C223}"/>
                  </a:ext>
                </a:extLst>
              </p:cNvPr>
              <p:cNvGrpSpPr/>
              <p:nvPr/>
            </p:nvGrpSpPr>
            <p:grpSpPr>
              <a:xfrm>
                <a:off x="6254781" y="3692747"/>
                <a:ext cx="75723" cy="75628"/>
                <a:chOff x="6254781" y="3692747"/>
                <a:chExt cx="75723" cy="75628"/>
              </a:xfrm>
            </p:grpSpPr>
            <p:sp>
              <p:nvSpPr>
                <p:cNvPr id="16808" name="Freeform: Shape 16807">
                  <a:extLst>
                    <a:ext uri="{FF2B5EF4-FFF2-40B4-BE49-F238E27FC236}">
                      <a16:creationId xmlns:a16="http://schemas.microsoft.com/office/drawing/2014/main" id="{B3054C5F-D22F-5F34-87A9-CF2788EE2D2B}"/>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09" name="Freeform: Shape 16808">
                  <a:extLst>
                    <a:ext uri="{FF2B5EF4-FFF2-40B4-BE49-F238E27FC236}">
                      <a16:creationId xmlns:a16="http://schemas.microsoft.com/office/drawing/2014/main" id="{8017BFF6-1A72-9F75-A793-770147D42394}"/>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3" name="Graphic 2151">
                <a:extLst>
                  <a:ext uri="{FF2B5EF4-FFF2-40B4-BE49-F238E27FC236}">
                    <a16:creationId xmlns:a16="http://schemas.microsoft.com/office/drawing/2014/main" id="{E10A85D9-97DF-9044-8C5C-8E7E7AEF7A64}"/>
                  </a:ext>
                </a:extLst>
              </p:cNvPr>
              <p:cNvGrpSpPr/>
              <p:nvPr/>
            </p:nvGrpSpPr>
            <p:grpSpPr>
              <a:xfrm>
                <a:off x="6272116" y="3692747"/>
                <a:ext cx="75723" cy="75628"/>
                <a:chOff x="6272116" y="3692747"/>
                <a:chExt cx="75723" cy="75628"/>
              </a:xfrm>
            </p:grpSpPr>
            <p:sp>
              <p:nvSpPr>
                <p:cNvPr id="16806" name="Freeform: Shape 16805">
                  <a:extLst>
                    <a:ext uri="{FF2B5EF4-FFF2-40B4-BE49-F238E27FC236}">
                      <a16:creationId xmlns:a16="http://schemas.microsoft.com/office/drawing/2014/main" id="{B11D9F9C-9590-F38B-9275-56285767FD21}"/>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07" name="Freeform: Shape 16806">
                  <a:extLst>
                    <a:ext uri="{FF2B5EF4-FFF2-40B4-BE49-F238E27FC236}">
                      <a16:creationId xmlns:a16="http://schemas.microsoft.com/office/drawing/2014/main" id="{A0513367-6BB0-9B64-B6A3-64C1BBD52214}"/>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4" name="Graphic 2151">
                <a:extLst>
                  <a:ext uri="{FF2B5EF4-FFF2-40B4-BE49-F238E27FC236}">
                    <a16:creationId xmlns:a16="http://schemas.microsoft.com/office/drawing/2014/main" id="{DA3CB6C7-F6F6-9604-D2FC-BA91B9D0EABA}"/>
                  </a:ext>
                </a:extLst>
              </p:cNvPr>
              <p:cNvGrpSpPr/>
              <p:nvPr/>
            </p:nvGrpSpPr>
            <p:grpSpPr>
              <a:xfrm>
                <a:off x="6479761" y="3743515"/>
                <a:ext cx="75723" cy="75628"/>
                <a:chOff x="6479761" y="3743515"/>
                <a:chExt cx="75723" cy="75628"/>
              </a:xfrm>
            </p:grpSpPr>
            <p:sp>
              <p:nvSpPr>
                <p:cNvPr id="16804" name="Freeform: Shape 16803">
                  <a:extLst>
                    <a:ext uri="{FF2B5EF4-FFF2-40B4-BE49-F238E27FC236}">
                      <a16:creationId xmlns:a16="http://schemas.microsoft.com/office/drawing/2014/main" id="{9E870A61-8F13-0B95-B4A4-8B756D81110D}"/>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05" name="Freeform: Shape 16804">
                  <a:extLst>
                    <a:ext uri="{FF2B5EF4-FFF2-40B4-BE49-F238E27FC236}">
                      <a16:creationId xmlns:a16="http://schemas.microsoft.com/office/drawing/2014/main" id="{91067A82-DDCA-DBB3-06EB-A1745642CD22}"/>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5" name="Graphic 2151">
                <a:extLst>
                  <a:ext uri="{FF2B5EF4-FFF2-40B4-BE49-F238E27FC236}">
                    <a16:creationId xmlns:a16="http://schemas.microsoft.com/office/drawing/2014/main" id="{DB6DD4C5-D5CD-AA67-2784-DFE517C272D5}"/>
                  </a:ext>
                </a:extLst>
              </p:cNvPr>
              <p:cNvGrpSpPr/>
              <p:nvPr/>
            </p:nvGrpSpPr>
            <p:grpSpPr>
              <a:xfrm>
                <a:off x="6465188" y="3743515"/>
                <a:ext cx="75723" cy="75628"/>
                <a:chOff x="6465188" y="3743515"/>
                <a:chExt cx="75723" cy="75628"/>
              </a:xfrm>
            </p:grpSpPr>
            <p:sp>
              <p:nvSpPr>
                <p:cNvPr id="16802" name="Freeform: Shape 16801">
                  <a:extLst>
                    <a:ext uri="{FF2B5EF4-FFF2-40B4-BE49-F238E27FC236}">
                      <a16:creationId xmlns:a16="http://schemas.microsoft.com/office/drawing/2014/main" id="{38D30237-7191-604F-2D62-952F4FE403DD}"/>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03" name="Freeform: Shape 16802">
                  <a:extLst>
                    <a:ext uri="{FF2B5EF4-FFF2-40B4-BE49-F238E27FC236}">
                      <a16:creationId xmlns:a16="http://schemas.microsoft.com/office/drawing/2014/main" id="{A8F871FA-2DA3-B67F-9C94-C36067713084}"/>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6" name="Graphic 2151">
                <a:extLst>
                  <a:ext uri="{FF2B5EF4-FFF2-40B4-BE49-F238E27FC236}">
                    <a16:creationId xmlns:a16="http://schemas.microsoft.com/office/drawing/2014/main" id="{0AAFE2DC-6EDA-4ACE-76FF-92509C33300C}"/>
                  </a:ext>
                </a:extLst>
              </p:cNvPr>
              <p:cNvGrpSpPr/>
              <p:nvPr/>
            </p:nvGrpSpPr>
            <p:grpSpPr>
              <a:xfrm>
                <a:off x="7340059" y="3841337"/>
                <a:ext cx="75723" cy="75723"/>
                <a:chOff x="7340059" y="3841337"/>
                <a:chExt cx="75723" cy="75723"/>
              </a:xfrm>
            </p:grpSpPr>
            <p:sp>
              <p:nvSpPr>
                <p:cNvPr id="16800" name="Freeform: Shape 16799">
                  <a:extLst>
                    <a:ext uri="{FF2B5EF4-FFF2-40B4-BE49-F238E27FC236}">
                      <a16:creationId xmlns:a16="http://schemas.microsoft.com/office/drawing/2014/main" id="{B411D8E3-7BC3-A84C-3158-0DF394B422A1}"/>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801" name="Freeform: Shape 16800">
                  <a:extLst>
                    <a:ext uri="{FF2B5EF4-FFF2-40B4-BE49-F238E27FC236}">
                      <a16:creationId xmlns:a16="http://schemas.microsoft.com/office/drawing/2014/main" id="{26A1053C-214E-0D56-F486-87C4EEBC70E2}"/>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797" name="Graphic 2151">
                <a:extLst>
                  <a:ext uri="{FF2B5EF4-FFF2-40B4-BE49-F238E27FC236}">
                    <a16:creationId xmlns:a16="http://schemas.microsoft.com/office/drawing/2014/main" id="{AAD310CB-5D4A-88E4-2462-875FA9293495}"/>
                  </a:ext>
                </a:extLst>
              </p:cNvPr>
              <p:cNvGrpSpPr/>
              <p:nvPr/>
            </p:nvGrpSpPr>
            <p:grpSpPr>
              <a:xfrm>
                <a:off x="7353490" y="3841337"/>
                <a:ext cx="75628" cy="75723"/>
                <a:chOff x="7353490" y="3841337"/>
                <a:chExt cx="75628" cy="75723"/>
              </a:xfrm>
            </p:grpSpPr>
            <p:sp>
              <p:nvSpPr>
                <p:cNvPr id="16798" name="Freeform: Shape 16797">
                  <a:extLst>
                    <a:ext uri="{FF2B5EF4-FFF2-40B4-BE49-F238E27FC236}">
                      <a16:creationId xmlns:a16="http://schemas.microsoft.com/office/drawing/2014/main" id="{59EC19DC-B10F-1793-405D-F78356A86EAD}"/>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799" name="Freeform: Shape 16798">
                  <a:extLst>
                    <a:ext uri="{FF2B5EF4-FFF2-40B4-BE49-F238E27FC236}">
                      <a16:creationId xmlns:a16="http://schemas.microsoft.com/office/drawing/2014/main" id="{8BF5DB7A-646F-3C8F-01D5-BC3B80BB3699}"/>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6675" name="Freeform: Shape 16674">
              <a:extLst>
                <a:ext uri="{FF2B5EF4-FFF2-40B4-BE49-F238E27FC236}">
                  <a16:creationId xmlns:a16="http://schemas.microsoft.com/office/drawing/2014/main" id="{02D6DC75-D930-20E9-78F1-FAEB73FAC72B}"/>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27" name="Group 16826">
            <a:extLst>
              <a:ext uri="{FF2B5EF4-FFF2-40B4-BE49-F238E27FC236}">
                <a16:creationId xmlns:a16="http://schemas.microsoft.com/office/drawing/2014/main" id="{6DE31661-7259-257E-7F65-1CF156D3A1B6}"/>
              </a:ext>
            </a:extLst>
          </p:cNvPr>
          <p:cNvGrpSpPr/>
          <p:nvPr/>
        </p:nvGrpSpPr>
        <p:grpSpPr>
          <a:xfrm>
            <a:off x="644389" y="1431150"/>
            <a:ext cx="6925055" cy="2062527"/>
            <a:chOff x="3467100" y="2552700"/>
            <a:chExt cx="5257513" cy="1752409"/>
          </a:xfrm>
        </p:grpSpPr>
        <p:sp>
          <p:nvSpPr>
            <p:cNvPr id="16828" name="Freeform: Shape 16827">
              <a:extLst>
                <a:ext uri="{FF2B5EF4-FFF2-40B4-BE49-F238E27FC236}">
                  <a16:creationId xmlns:a16="http://schemas.microsoft.com/office/drawing/2014/main" id="{AA86902F-BD77-7220-AE0C-759C93D4BD3B}"/>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6829" name="Graphic 112">
              <a:extLst>
                <a:ext uri="{FF2B5EF4-FFF2-40B4-BE49-F238E27FC236}">
                  <a16:creationId xmlns:a16="http://schemas.microsoft.com/office/drawing/2014/main" id="{D6B30597-EE22-C86A-6AA8-919FC4E0C3B0}"/>
                </a:ext>
              </a:extLst>
            </p:cNvPr>
            <p:cNvGrpSpPr/>
            <p:nvPr/>
          </p:nvGrpSpPr>
          <p:grpSpPr>
            <a:xfrm>
              <a:off x="3467100" y="2552700"/>
              <a:ext cx="75723" cy="75723"/>
              <a:chOff x="3467100" y="2552700"/>
              <a:chExt cx="75723" cy="75723"/>
            </a:xfrm>
          </p:grpSpPr>
          <p:sp>
            <p:nvSpPr>
              <p:cNvPr id="17151" name="Freeform: Shape 17150">
                <a:extLst>
                  <a:ext uri="{FF2B5EF4-FFF2-40B4-BE49-F238E27FC236}">
                    <a16:creationId xmlns:a16="http://schemas.microsoft.com/office/drawing/2014/main" id="{B51C898F-44D8-7D5D-3872-F3583503B6B1}"/>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2" name="Freeform: Shape 17151">
                <a:extLst>
                  <a:ext uri="{FF2B5EF4-FFF2-40B4-BE49-F238E27FC236}">
                    <a16:creationId xmlns:a16="http://schemas.microsoft.com/office/drawing/2014/main" id="{2CE4C5DD-FC68-1527-4D37-6DE85E0AC96C}"/>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0" name="Graphic 112">
              <a:extLst>
                <a:ext uri="{FF2B5EF4-FFF2-40B4-BE49-F238E27FC236}">
                  <a16:creationId xmlns:a16="http://schemas.microsoft.com/office/drawing/2014/main" id="{771A454E-7023-5A2C-4463-CF8AA649F480}"/>
                </a:ext>
              </a:extLst>
            </p:cNvPr>
            <p:cNvGrpSpPr/>
            <p:nvPr/>
          </p:nvGrpSpPr>
          <p:grpSpPr>
            <a:xfrm>
              <a:off x="3935920" y="2766726"/>
              <a:ext cx="75723" cy="75628"/>
              <a:chOff x="3935920" y="2766726"/>
              <a:chExt cx="75723" cy="75628"/>
            </a:xfrm>
          </p:grpSpPr>
          <p:sp>
            <p:nvSpPr>
              <p:cNvPr id="17149" name="Freeform: Shape 17148">
                <a:extLst>
                  <a:ext uri="{FF2B5EF4-FFF2-40B4-BE49-F238E27FC236}">
                    <a16:creationId xmlns:a16="http://schemas.microsoft.com/office/drawing/2014/main" id="{CC87D58D-D0DD-BAF0-0819-1117C5F35AE6}"/>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0" name="Freeform: Shape 17149">
                <a:extLst>
                  <a:ext uri="{FF2B5EF4-FFF2-40B4-BE49-F238E27FC236}">
                    <a16:creationId xmlns:a16="http://schemas.microsoft.com/office/drawing/2014/main" id="{9E755BCB-4673-2A02-393C-AA3F81535F3E}"/>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1" name="Graphic 112">
              <a:extLst>
                <a:ext uri="{FF2B5EF4-FFF2-40B4-BE49-F238E27FC236}">
                  <a16:creationId xmlns:a16="http://schemas.microsoft.com/office/drawing/2014/main" id="{8B6801AD-291D-F8F1-2B6B-715B411C3792}"/>
                </a:ext>
              </a:extLst>
            </p:cNvPr>
            <p:cNvGrpSpPr/>
            <p:nvPr/>
          </p:nvGrpSpPr>
          <p:grpSpPr>
            <a:xfrm>
              <a:off x="3901440" y="2766726"/>
              <a:ext cx="75723" cy="75628"/>
              <a:chOff x="3901440" y="2766726"/>
              <a:chExt cx="75723" cy="75628"/>
            </a:xfrm>
          </p:grpSpPr>
          <p:sp>
            <p:nvSpPr>
              <p:cNvPr id="17147" name="Freeform: Shape 17146">
                <a:extLst>
                  <a:ext uri="{FF2B5EF4-FFF2-40B4-BE49-F238E27FC236}">
                    <a16:creationId xmlns:a16="http://schemas.microsoft.com/office/drawing/2014/main" id="{AD24BFC5-58A7-C329-F464-F5295907F51D}"/>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8" name="Freeform: Shape 17147">
                <a:extLst>
                  <a:ext uri="{FF2B5EF4-FFF2-40B4-BE49-F238E27FC236}">
                    <a16:creationId xmlns:a16="http://schemas.microsoft.com/office/drawing/2014/main" id="{1595180A-BC11-9866-CCBB-015E22D19CA9}"/>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2" name="Graphic 112">
              <a:extLst>
                <a:ext uri="{FF2B5EF4-FFF2-40B4-BE49-F238E27FC236}">
                  <a16:creationId xmlns:a16="http://schemas.microsoft.com/office/drawing/2014/main" id="{DF36B0F8-8761-5BC7-90FB-3DF3C1A89F67}"/>
                </a:ext>
              </a:extLst>
            </p:cNvPr>
            <p:cNvGrpSpPr/>
            <p:nvPr/>
          </p:nvGrpSpPr>
          <p:grpSpPr>
            <a:xfrm>
              <a:off x="4510373" y="3098673"/>
              <a:ext cx="75628" cy="75723"/>
              <a:chOff x="4510373" y="3098673"/>
              <a:chExt cx="75628" cy="75723"/>
            </a:xfrm>
          </p:grpSpPr>
          <p:sp>
            <p:nvSpPr>
              <p:cNvPr id="17145" name="Freeform: Shape 17144">
                <a:extLst>
                  <a:ext uri="{FF2B5EF4-FFF2-40B4-BE49-F238E27FC236}">
                    <a16:creationId xmlns:a16="http://schemas.microsoft.com/office/drawing/2014/main" id="{E065E66E-D439-31C9-3352-04CE86361B17}"/>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6" name="Freeform: Shape 17145">
                <a:extLst>
                  <a:ext uri="{FF2B5EF4-FFF2-40B4-BE49-F238E27FC236}">
                    <a16:creationId xmlns:a16="http://schemas.microsoft.com/office/drawing/2014/main" id="{583ABFB7-CF7B-572F-DCB4-A5B13E8F42EE}"/>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3" name="Graphic 112">
              <a:extLst>
                <a:ext uri="{FF2B5EF4-FFF2-40B4-BE49-F238E27FC236}">
                  <a16:creationId xmlns:a16="http://schemas.microsoft.com/office/drawing/2014/main" id="{819F18BB-F58B-F52E-754E-22E17EC5D36E}"/>
                </a:ext>
              </a:extLst>
            </p:cNvPr>
            <p:cNvGrpSpPr/>
            <p:nvPr/>
          </p:nvGrpSpPr>
          <p:grpSpPr>
            <a:xfrm>
              <a:off x="4693920" y="3164776"/>
              <a:ext cx="75723" cy="75628"/>
              <a:chOff x="4693920" y="3164776"/>
              <a:chExt cx="75723" cy="75628"/>
            </a:xfrm>
          </p:grpSpPr>
          <p:sp>
            <p:nvSpPr>
              <p:cNvPr id="17143" name="Freeform: Shape 17142">
                <a:extLst>
                  <a:ext uri="{FF2B5EF4-FFF2-40B4-BE49-F238E27FC236}">
                    <a16:creationId xmlns:a16="http://schemas.microsoft.com/office/drawing/2014/main" id="{30A7DC0D-BAD8-8169-2B5B-5D4B81792530}"/>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4" name="Freeform: Shape 17143">
                <a:extLst>
                  <a:ext uri="{FF2B5EF4-FFF2-40B4-BE49-F238E27FC236}">
                    <a16:creationId xmlns:a16="http://schemas.microsoft.com/office/drawing/2014/main" id="{A4079F7B-A18E-89B6-D2F7-ADD47F46CF5B}"/>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4" name="Graphic 112">
              <a:extLst>
                <a:ext uri="{FF2B5EF4-FFF2-40B4-BE49-F238E27FC236}">
                  <a16:creationId xmlns:a16="http://schemas.microsoft.com/office/drawing/2014/main" id="{9F6547DF-DB32-914A-7B83-2FB1B5A0896B}"/>
                </a:ext>
              </a:extLst>
            </p:cNvPr>
            <p:cNvGrpSpPr/>
            <p:nvPr/>
          </p:nvGrpSpPr>
          <p:grpSpPr>
            <a:xfrm>
              <a:off x="4786407" y="3343465"/>
              <a:ext cx="75628" cy="75723"/>
              <a:chOff x="4786407" y="3343465"/>
              <a:chExt cx="75628" cy="75723"/>
            </a:xfrm>
          </p:grpSpPr>
          <p:sp>
            <p:nvSpPr>
              <p:cNvPr id="17141" name="Freeform: Shape 17140">
                <a:extLst>
                  <a:ext uri="{FF2B5EF4-FFF2-40B4-BE49-F238E27FC236}">
                    <a16:creationId xmlns:a16="http://schemas.microsoft.com/office/drawing/2014/main" id="{49D5CCE3-5D36-7116-A848-78847070E5E1}"/>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2" name="Freeform: Shape 17141">
                <a:extLst>
                  <a:ext uri="{FF2B5EF4-FFF2-40B4-BE49-F238E27FC236}">
                    <a16:creationId xmlns:a16="http://schemas.microsoft.com/office/drawing/2014/main" id="{7AFD8F3F-CFD5-C55E-9317-A460421F741B}"/>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5" name="Graphic 112">
              <a:extLst>
                <a:ext uri="{FF2B5EF4-FFF2-40B4-BE49-F238E27FC236}">
                  <a16:creationId xmlns:a16="http://schemas.microsoft.com/office/drawing/2014/main" id="{B5809EE1-BABE-78D9-60B5-ADEB699EE351}"/>
                </a:ext>
              </a:extLst>
            </p:cNvPr>
            <p:cNvGrpSpPr/>
            <p:nvPr/>
          </p:nvGrpSpPr>
          <p:grpSpPr>
            <a:xfrm>
              <a:off x="5238654" y="3598830"/>
              <a:ext cx="75628" cy="75723"/>
              <a:chOff x="5238654" y="3598830"/>
              <a:chExt cx="75628" cy="75723"/>
            </a:xfrm>
          </p:grpSpPr>
          <p:sp>
            <p:nvSpPr>
              <p:cNvPr id="17139" name="Freeform: Shape 17138">
                <a:extLst>
                  <a:ext uri="{FF2B5EF4-FFF2-40B4-BE49-F238E27FC236}">
                    <a16:creationId xmlns:a16="http://schemas.microsoft.com/office/drawing/2014/main" id="{48ACA03B-E33A-5C5C-311A-AFE69649D0DB}"/>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0" name="Freeform: Shape 17139">
                <a:extLst>
                  <a:ext uri="{FF2B5EF4-FFF2-40B4-BE49-F238E27FC236}">
                    <a16:creationId xmlns:a16="http://schemas.microsoft.com/office/drawing/2014/main" id="{46A7B239-4E5D-624D-43DA-FB14C6F9F7B9}"/>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6" name="Graphic 112">
              <a:extLst>
                <a:ext uri="{FF2B5EF4-FFF2-40B4-BE49-F238E27FC236}">
                  <a16:creationId xmlns:a16="http://schemas.microsoft.com/office/drawing/2014/main" id="{0AB8222E-CCB6-A612-43D9-2613CA9D9BFD}"/>
                </a:ext>
              </a:extLst>
            </p:cNvPr>
            <p:cNvGrpSpPr/>
            <p:nvPr/>
          </p:nvGrpSpPr>
          <p:grpSpPr>
            <a:xfrm>
              <a:off x="5690330" y="3775138"/>
              <a:ext cx="75723" cy="75723"/>
              <a:chOff x="5690330" y="3775138"/>
              <a:chExt cx="75723" cy="75723"/>
            </a:xfrm>
          </p:grpSpPr>
          <p:sp>
            <p:nvSpPr>
              <p:cNvPr id="17137" name="Freeform: Shape 17136">
                <a:extLst>
                  <a:ext uri="{FF2B5EF4-FFF2-40B4-BE49-F238E27FC236}">
                    <a16:creationId xmlns:a16="http://schemas.microsoft.com/office/drawing/2014/main" id="{0459F3E2-68F4-F9A5-5989-1F3BCFC27FA6}"/>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8" name="Freeform: Shape 17137">
                <a:extLst>
                  <a:ext uri="{FF2B5EF4-FFF2-40B4-BE49-F238E27FC236}">
                    <a16:creationId xmlns:a16="http://schemas.microsoft.com/office/drawing/2014/main" id="{82EBFDFA-A2FE-4878-673C-13CA94556BC3}"/>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7" name="Graphic 112">
              <a:extLst>
                <a:ext uri="{FF2B5EF4-FFF2-40B4-BE49-F238E27FC236}">
                  <a16:creationId xmlns:a16="http://schemas.microsoft.com/office/drawing/2014/main" id="{8E40FD82-0861-7EAF-CC4C-96167CB7C8E8}"/>
                </a:ext>
              </a:extLst>
            </p:cNvPr>
            <p:cNvGrpSpPr/>
            <p:nvPr/>
          </p:nvGrpSpPr>
          <p:grpSpPr>
            <a:xfrm>
              <a:off x="5902547" y="3795522"/>
              <a:ext cx="75628" cy="75723"/>
              <a:chOff x="5902547" y="3795522"/>
              <a:chExt cx="75628" cy="75723"/>
            </a:xfrm>
          </p:grpSpPr>
          <p:sp>
            <p:nvSpPr>
              <p:cNvPr id="17135" name="Freeform: Shape 17134">
                <a:extLst>
                  <a:ext uri="{FF2B5EF4-FFF2-40B4-BE49-F238E27FC236}">
                    <a16:creationId xmlns:a16="http://schemas.microsoft.com/office/drawing/2014/main" id="{F74A5BE3-D481-2A9E-0FFE-2E759854658D}"/>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6" name="Freeform: Shape 17135">
                <a:extLst>
                  <a:ext uri="{FF2B5EF4-FFF2-40B4-BE49-F238E27FC236}">
                    <a16:creationId xmlns:a16="http://schemas.microsoft.com/office/drawing/2014/main" id="{F55EEF99-5A82-5167-2480-C8849B7425E0}"/>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8" name="Graphic 112">
              <a:extLst>
                <a:ext uri="{FF2B5EF4-FFF2-40B4-BE49-F238E27FC236}">
                  <a16:creationId xmlns:a16="http://schemas.microsoft.com/office/drawing/2014/main" id="{790F53FB-8BDE-9494-6B26-F82CDE2D38D0}"/>
                </a:ext>
              </a:extLst>
            </p:cNvPr>
            <p:cNvGrpSpPr/>
            <p:nvPr/>
          </p:nvGrpSpPr>
          <p:grpSpPr>
            <a:xfrm>
              <a:off x="6217443" y="3898296"/>
              <a:ext cx="75723" cy="75628"/>
              <a:chOff x="6217443" y="3898296"/>
              <a:chExt cx="75723" cy="75628"/>
            </a:xfrm>
          </p:grpSpPr>
          <p:sp>
            <p:nvSpPr>
              <p:cNvPr id="17133" name="Freeform: Shape 17132">
                <a:extLst>
                  <a:ext uri="{FF2B5EF4-FFF2-40B4-BE49-F238E27FC236}">
                    <a16:creationId xmlns:a16="http://schemas.microsoft.com/office/drawing/2014/main" id="{D422EE08-2544-6129-DA34-F18F30DDAA40}"/>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4" name="Freeform: Shape 17133">
                <a:extLst>
                  <a:ext uri="{FF2B5EF4-FFF2-40B4-BE49-F238E27FC236}">
                    <a16:creationId xmlns:a16="http://schemas.microsoft.com/office/drawing/2014/main" id="{4C81643C-CF7F-DEEF-D035-EB9CA0D5B543}"/>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9" name="Graphic 112">
              <a:extLst>
                <a:ext uri="{FF2B5EF4-FFF2-40B4-BE49-F238E27FC236}">
                  <a16:creationId xmlns:a16="http://schemas.microsoft.com/office/drawing/2014/main" id="{A51A1455-3100-B4AA-0216-70E16C4326D4}"/>
                </a:ext>
              </a:extLst>
            </p:cNvPr>
            <p:cNvGrpSpPr/>
            <p:nvPr/>
          </p:nvGrpSpPr>
          <p:grpSpPr>
            <a:xfrm>
              <a:off x="6334791" y="3909822"/>
              <a:ext cx="75723" cy="75723"/>
              <a:chOff x="6334791" y="3909822"/>
              <a:chExt cx="75723" cy="75723"/>
            </a:xfrm>
          </p:grpSpPr>
          <p:sp>
            <p:nvSpPr>
              <p:cNvPr id="17131" name="Freeform: Shape 17130">
                <a:extLst>
                  <a:ext uri="{FF2B5EF4-FFF2-40B4-BE49-F238E27FC236}">
                    <a16:creationId xmlns:a16="http://schemas.microsoft.com/office/drawing/2014/main" id="{6501EC56-6FB1-DF54-7726-41CFE432D115}"/>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2" name="Freeform: Shape 17131">
                <a:extLst>
                  <a:ext uri="{FF2B5EF4-FFF2-40B4-BE49-F238E27FC236}">
                    <a16:creationId xmlns:a16="http://schemas.microsoft.com/office/drawing/2014/main" id="{66E3588B-601C-6852-8934-E67D806B992A}"/>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0" name="Graphic 112">
              <a:extLst>
                <a:ext uri="{FF2B5EF4-FFF2-40B4-BE49-F238E27FC236}">
                  <a16:creationId xmlns:a16="http://schemas.microsoft.com/office/drawing/2014/main" id="{ACFF9E89-1854-468D-4425-1DFF2A7249CE}"/>
                </a:ext>
              </a:extLst>
            </p:cNvPr>
            <p:cNvGrpSpPr/>
            <p:nvPr/>
          </p:nvGrpSpPr>
          <p:grpSpPr>
            <a:xfrm>
              <a:off x="6379749" y="3909822"/>
              <a:ext cx="75723" cy="75723"/>
              <a:chOff x="6379749" y="3909822"/>
              <a:chExt cx="75723" cy="75723"/>
            </a:xfrm>
          </p:grpSpPr>
          <p:sp>
            <p:nvSpPr>
              <p:cNvPr id="17129" name="Freeform: Shape 17128">
                <a:extLst>
                  <a:ext uri="{FF2B5EF4-FFF2-40B4-BE49-F238E27FC236}">
                    <a16:creationId xmlns:a16="http://schemas.microsoft.com/office/drawing/2014/main" id="{C6D1564D-758F-5360-0832-4D2216DC1274}"/>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0" name="Freeform: Shape 17129">
                <a:extLst>
                  <a:ext uri="{FF2B5EF4-FFF2-40B4-BE49-F238E27FC236}">
                    <a16:creationId xmlns:a16="http://schemas.microsoft.com/office/drawing/2014/main" id="{04C025E5-C44F-05D7-E8A2-D9563A756057}"/>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1" name="Graphic 112">
              <a:extLst>
                <a:ext uri="{FF2B5EF4-FFF2-40B4-BE49-F238E27FC236}">
                  <a16:creationId xmlns:a16="http://schemas.microsoft.com/office/drawing/2014/main" id="{45091608-4B42-4B14-946A-788F09025927}"/>
                </a:ext>
              </a:extLst>
            </p:cNvPr>
            <p:cNvGrpSpPr/>
            <p:nvPr/>
          </p:nvGrpSpPr>
          <p:grpSpPr>
            <a:xfrm>
              <a:off x="6410515" y="3922585"/>
              <a:ext cx="75628" cy="75723"/>
              <a:chOff x="6410515" y="3922585"/>
              <a:chExt cx="75628" cy="75723"/>
            </a:xfrm>
          </p:grpSpPr>
          <p:sp>
            <p:nvSpPr>
              <p:cNvPr id="17127" name="Freeform: Shape 17126">
                <a:extLst>
                  <a:ext uri="{FF2B5EF4-FFF2-40B4-BE49-F238E27FC236}">
                    <a16:creationId xmlns:a16="http://schemas.microsoft.com/office/drawing/2014/main" id="{2B9A6E01-2D09-5BA6-17F2-0F6EDE06E44B}"/>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8" name="Freeform: Shape 17127">
                <a:extLst>
                  <a:ext uri="{FF2B5EF4-FFF2-40B4-BE49-F238E27FC236}">
                    <a16:creationId xmlns:a16="http://schemas.microsoft.com/office/drawing/2014/main" id="{47CE5BA5-26E2-2F56-7D62-D640BE247832}"/>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2" name="Graphic 112">
              <a:extLst>
                <a:ext uri="{FF2B5EF4-FFF2-40B4-BE49-F238E27FC236}">
                  <a16:creationId xmlns:a16="http://schemas.microsoft.com/office/drawing/2014/main" id="{80595A3D-F9FD-CAD3-C1EA-FC8FDC13796B}"/>
                </a:ext>
              </a:extLst>
            </p:cNvPr>
            <p:cNvGrpSpPr/>
            <p:nvPr/>
          </p:nvGrpSpPr>
          <p:grpSpPr>
            <a:xfrm>
              <a:off x="6430232" y="3933539"/>
              <a:ext cx="75723" cy="75628"/>
              <a:chOff x="6430232" y="3933539"/>
              <a:chExt cx="75723" cy="75628"/>
            </a:xfrm>
          </p:grpSpPr>
          <p:sp>
            <p:nvSpPr>
              <p:cNvPr id="17125" name="Freeform: Shape 17124">
                <a:extLst>
                  <a:ext uri="{FF2B5EF4-FFF2-40B4-BE49-F238E27FC236}">
                    <a16:creationId xmlns:a16="http://schemas.microsoft.com/office/drawing/2014/main" id="{66487A36-E8FD-8A60-2D34-CAD4F6E356AA}"/>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6" name="Freeform: Shape 17125">
                <a:extLst>
                  <a:ext uri="{FF2B5EF4-FFF2-40B4-BE49-F238E27FC236}">
                    <a16:creationId xmlns:a16="http://schemas.microsoft.com/office/drawing/2014/main" id="{C12F4B53-3EFD-FA60-D003-52B695A8CBC2}"/>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3" name="Graphic 112">
              <a:extLst>
                <a:ext uri="{FF2B5EF4-FFF2-40B4-BE49-F238E27FC236}">
                  <a16:creationId xmlns:a16="http://schemas.microsoft.com/office/drawing/2014/main" id="{9932E782-2B4E-747F-9F7E-86CE288D59A9}"/>
                </a:ext>
              </a:extLst>
            </p:cNvPr>
            <p:cNvGrpSpPr/>
            <p:nvPr/>
          </p:nvGrpSpPr>
          <p:grpSpPr>
            <a:xfrm>
              <a:off x="6450330" y="3947636"/>
              <a:ext cx="75628" cy="75723"/>
              <a:chOff x="6450330" y="3947636"/>
              <a:chExt cx="75628" cy="75723"/>
            </a:xfrm>
          </p:grpSpPr>
          <p:sp>
            <p:nvSpPr>
              <p:cNvPr id="17123" name="Freeform: Shape 17122">
                <a:extLst>
                  <a:ext uri="{FF2B5EF4-FFF2-40B4-BE49-F238E27FC236}">
                    <a16:creationId xmlns:a16="http://schemas.microsoft.com/office/drawing/2014/main" id="{DE24361C-C70E-1C96-ABDF-23552FF3D5DC}"/>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4" name="Freeform: Shape 17123">
                <a:extLst>
                  <a:ext uri="{FF2B5EF4-FFF2-40B4-BE49-F238E27FC236}">
                    <a16:creationId xmlns:a16="http://schemas.microsoft.com/office/drawing/2014/main" id="{698C6E61-5B22-8D40-C30F-8C8D04E9096F}"/>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4" name="Graphic 112">
              <a:extLst>
                <a:ext uri="{FF2B5EF4-FFF2-40B4-BE49-F238E27FC236}">
                  <a16:creationId xmlns:a16="http://schemas.microsoft.com/office/drawing/2014/main" id="{0E3C8654-DA7B-55C5-B728-584B80F60F53}"/>
                </a:ext>
              </a:extLst>
            </p:cNvPr>
            <p:cNvGrpSpPr/>
            <p:nvPr/>
          </p:nvGrpSpPr>
          <p:grpSpPr>
            <a:xfrm>
              <a:off x="6463665" y="3960399"/>
              <a:ext cx="75723" cy="75723"/>
              <a:chOff x="6463665" y="3960399"/>
              <a:chExt cx="75723" cy="75723"/>
            </a:xfrm>
          </p:grpSpPr>
          <p:sp>
            <p:nvSpPr>
              <p:cNvPr id="17121" name="Freeform: Shape 17120">
                <a:extLst>
                  <a:ext uri="{FF2B5EF4-FFF2-40B4-BE49-F238E27FC236}">
                    <a16:creationId xmlns:a16="http://schemas.microsoft.com/office/drawing/2014/main" id="{66BEBEFE-2335-9393-C2C4-A22755A8398E}"/>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2" name="Freeform: Shape 17121">
                <a:extLst>
                  <a:ext uri="{FF2B5EF4-FFF2-40B4-BE49-F238E27FC236}">
                    <a16:creationId xmlns:a16="http://schemas.microsoft.com/office/drawing/2014/main" id="{E895A586-7FAE-7634-81E3-BBBCD83F2C92}"/>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5" name="Graphic 112">
              <a:extLst>
                <a:ext uri="{FF2B5EF4-FFF2-40B4-BE49-F238E27FC236}">
                  <a16:creationId xmlns:a16="http://schemas.microsoft.com/office/drawing/2014/main" id="{D68191D7-1A1C-A2DC-77CC-6E86F3598D4E}"/>
                </a:ext>
              </a:extLst>
            </p:cNvPr>
            <p:cNvGrpSpPr/>
            <p:nvPr/>
          </p:nvGrpSpPr>
          <p:grpSpPr>
            <a:xfrm>
              <a:off x="6520815" y="4015263"/>
              <a:ext cx="75723" cy="75723"/>
              <a:chOff x="6520815" y="4015263"/>
              <a:chExt cx="75723" cy="75723"/>
            </a:xfrm>
          </p:grpSpPr>
          <p:sp>
            <p:nvSpPr>
              <p:cNvPr id="17119" name="Freeform: Shape 17118">
                <a:extLst>
                  <a:ext uri="{FF2B5EF4-FFF2-40B4-BE49-F238E27FC236}">
                    <a16:creationId xmlns:a16="http://schemas.microsoft.com/office/drawing/2014/main" id="{89E3BEE0-FC5C-B1B6-22CD-6707D06416B7}"/>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0" name="Freeform: Shape 17119">
                <a:extLst>
                  <a:ext uri="{FF2B5EF4-FFF2-40B4-BE49-F238E27FC236}">
                    <a16:creationId xmlns:a16="http://schemas.microsoft.com/office/drawing/2014/main" id="{F20142E3-B51E-DFF8-4BDB-EFFDBDA9E968}"/>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6" name="Graphic 112">
              <a:extLst>
                <a:ext uri="{FF2B5EF4-FFF2-40B4-BE49-F238E27FC236}">
                  <a16:creationId xmlns:a16="http://schemas.microsoft.com/office/drawing/2014/main" id="{1488DB29-1213-2545-91FC-560744F27AAB}"/>
                </a:ext>
              </a:extLst>
            </p:cNvPr>
            <p:cNvGrpSpPr/>
            <p:nvPr/>
          </p:nvGrpSpPr>
          <p:grpSpPr>
            <a:xfrm>
              <a:off x="6771322" y="4036123"/>
              <a:ext cx="75723" cy="75723"/>
              <a:chOff x="6771322" y="4036123"/>
              <a:chExt cx="75723" cy="75723"/>
            </a:xfrm>
          </p:grpSpPr>
          <p:sp>
            <p:nvSpPr>
              <p:cNvPr id="17117" name="Freeform: Shape 17116">
                <a:extLst>
                  <a:ext uri="{FF2B5EF4-FFF2-40B4-BE49-F238E27FC236}">
                    <a16:creationId xmlns:a16="http://schemas.microsoft.com/office/drawing/2014/main" id="{CD63E9D3-0CC4-A0C5-062C-6656D1F99170}"/>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8" name="Freeform: Shape 17117">
                <a:extLst>
                  <a:ext uri="{FF2B5EF4-FFF2-40B4-BE49-F238E27FC236}">
                    <a16:creationId xmlns:a16="http://schemas.microsoft.com/office/drawing/2014/main" id="{307E891E-94EE-9246-FA83-034394BE3BE6}"/>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7" name="Graphic 112">
              <a:extLst>
                <a:ext uri="{FF2B5EF4-FFF2-40B4-BE49-F238E27FC236}">
                  <a16:creationId xmlns:a16="http://schemas.microsoft.com/office/drawing/2014/main" id="{CDE39102-4290-E7F2-22FD-22B853921D25}"/>
                </a:ext>
              </a:extLst>
            </p:cNvPr>
            <p:cNvGrpSpPr/>
            <p:nvPr/>
          </p:nvGrpSpPr>
          <p:grpSpPr>
            <a:xfrm>
              <a:off x="6871620" y="4036123"/>
              <a:ext cx="75723" cy="75723"/>
              <a:chOff x="6871620" y="4036123"/>
              <a:chExt cx="75723" cy="75723"/>
            </a:xfrm>
          </p:grpSpPr>
          <p:sp>
            <p:nvSpPr>
              <p:cNvPr id="17115" name="Freeform: Shape 17114">
                <a:extLst>
                  <a:ext uri="{FF2B5EF4-FFF2-40B4-BE49-F238E27FC236}">
                    <a16:creationId xmlns:a16="http://schemas.microsoft.com/office/drawing/2014/main" id="{78096803-E3A0-7929-2900-82D72AAC6753}"/>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6" name="Freeform: Shape 17115">
                <a:extLst>
                  <a:ext uri="{FF2B5EF4-FFF2-40B4-BE49-F238E27FC236}">
                    <a16:creationId xmlns:a16="http://schemas.microsoft.com/office/drawing/2014/main" id="{9CB2D019-8266-AF3F-77B6-086346EFD893}"/>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8" name="Graphic 112">
              <a:extLst>
                <a:ext uri="{FF2B5EF4-FFF2-40B4-BE49-F238E27FC236}">
                  <a16:creationId xmlns:a16="http://schemas.microsoft.com/office/drawing/2014/main" id="{A9FA58BC-3204-BCC0-3D3F-8B937D74F029}"/>
                </a:ext>
              </a:extLst>
            </p:cNvPr>
            <p:cNvGrpSpPr/>
            <p:nvPr/>
          </p:nvGrpSpPr>
          <p:grpSpPr>
            <a:xfrm>
              <a:off x="6885051" y="4036123"/>
              <a:ext cx="75628" cy="75723"/>
              <a:chOff x="6885051" y="4036123"/>
              <a:chExt cx="75628" cy="75723"/>
            </a:xfrm>
          </p:grpSpPr>
          <p:sp>
            <p:nvSpPr>
              <p:cNvPr id="17113" name="Freeform: Shape 17112">
                <a:extLst>
                  <a:ext uri="{FF2B5EF4-FFF2-40B4-BE49-F238E27FC236}">
                    <a16:creationId xmlns:a16="http://schemas.microsoft.com/office/drawing/2014/main" id="{269F5179-1DBF-2031-3676-EAA79F284244}"/>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4" name="Freeform: Shape 17113">
                <a:extLst>
                  <a:ext uri="{FF2B5EF4-FFF2-40B4-BE49-F238E27FC236}">
                    <a16:creationId xmlns:a16="http://schemas.microsoft.com/office/drawing/2014/main" id="{81883E13-15E2-E898-B9B7-2A464E336536}"/>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9" name="Graphic 112">
              <a:extLst>
                <a:ext uri="{FF2B5EF4-FFF2-40B4-BE49-F238E27FC236}">
                  <a16:creationId xmlns:a16="http://schemas.microsoft.com/office/drawing/2014/main" id="{BAF94CDA-9D5A-86A4-18E0-3C9354BF50A8}"/>
                </a:ext>
              </a:extLst>
            </p:cNvPr>
            <p:cNvGrpSpPr/>
            <p:nvPr/>
          </p:nvGrpSpPr>
          <p:grpSpPr>
            <a:xfrm>
              <a:off x="7015353" y="4135183"/>
              <a:ext cx="75628" cy="75723"/>
              <a:chOff x="7015353" y="4135183"/>
              <a:chExt cx="75628" cy="75723"/>
            </a:xfrm>
          </p:grpSpPr>
          <p:sp>
            <p:nvSpPr>
              <p:cNvPr id="17111" name="Freeform: Shape 17110">
                <a:extLst>
                  <a:ext uri="{FF2B5EF4-FFF2-40B4-BE49-F238E27FC236}">
                    <a16:creationId xmlns:a16="http://schemas.microsoft.com/office/drawing/2014/main" id="{B8FBF041-BACA-5C0E-13A5-B665073D9AC1}"/>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2" name="Freeform: Shape 17111">
                <a:extLst>
                  <a:ext uri="{FF2B5EF4-FFF2-40B4-BE49-F238E27FC236}">
                    <a16:creationId xmlns:a16="http://schemas.microsoft.com/office/drawing/2014/main" id="{FE1DE4E3-6B15-7A03-1413-B75FC01B7ABB}"/>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0" name="Graphic 112">
              <a:extLst>
                <a:ext uri="{FF2B5EF4-FFF2-40B4-BE49-F238E27FC236}">
                  <a16:creationId xmlns:a16="http://schemas.microsoft.com/office/drawing/2014/main" id="{76CC640E-A76B-A657-CAF5-B563E89DCBF3}"/>
                </a:ext>
              </a:extLst>
            </p:cNvPr>
            <p:cNvGrpSpPr/>
            <p:nvPr/>
          </p:nvGrpSpPr>
          <p:grpSpPr>
            <a:xfrm>
              <a:off x="7368349" y="4229481"/>
              <a:ext cx="75723" cy="75628"/>
              <a:chOff x="7368349" y="4229481"/>
              <a:chExt cx="75723" cy="75628"/>
            </a:xfrm>
          </p:grpSpPr>
          <p:sp>
            <p:nvSpPr>
              <p:cNvPr id="17109" name="Freeform: Shape 17108">
                <a:extLst>
                  <a:ext uri="{FF2B5EF4-FFF2-40B4-BE49-F238E27FC236}">
                    <a16:creationId xmlns:a16="http://schemas.microsoft.com/office/drawing/2014/main" id="{6596B581-0B62-98EE-50D9-5510786D5851}"/>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0" name="Freeform: Shape 17109">
                <a:extLst>
                  <a:ext uri="{FF2B5EF4-FFF2-40B4-BE49-F238E27FC236}">
                    <a16:creationId xmlns:a16="http://schemas.microsoft.com/office/drawing/2014/main" id="{1C59850E-E1A1-AF9E-98FE-A9E5B24D3E60}"/>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1" name="Graphic 112">
              <a:extLst>
                <a:ext uri="{FF2B5EF4-FFF2-40B4-BE49-F238E27FC236}">
                  <a16:creationId xmlns:a16="http://schemas.microsoft.com/office/drawing/2014/main" id="{3A9D9D8D-E7EF-745E-50FD-80B26EE7AD6D}"/>
                </a:ext>
              </a:extLst>
            </p:cNvPr>
            <p:cNvGrpSpPr/>
            <p:nvPr/>
          </p:nvGrpSpPr>
          <p:grpSpPr>
            <a:xfrm>
              <a:off x="7638288" y="4229481"/>
              <a:ext cx="75723" cy="75628"/>
              <a:chOff x="7638288" y="4229481"/>
              <a:chExt cx="75723" cy="75628"/>
            </a:xfrm>
          </p:grpSpPr>
          <p:sp>
            <p:nvSpPr>
              <p:cNvPr id="17107" name="Freeform: Shape 17106">
                <a:extLst>
                  <a:ext uri="{FF2B5EF4-FFF2-40B4-BE49-F238E27FC236}">
                    <a16:creationId xmlns:a16="http://schemas.microsoft.com/office/drawing/2014/main" id="{8F17C5BD-6B68-1515-E632-6C71EA4FFCA8}"/>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8" name="Freeform: Shape 17107">
                <a:extLst>
                  <a:ext uri="{FF2B5EF4-FFF2-40B4-BE49-F238E27FC236}">
                    <a16:creationId xmlns:a16="http://schemas.microsoft.com/office/drawing/2014/main" id="{F5CC3E67-4807-5A25-9F38-7404924F341E}"/>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2" name="Graphic 112">
              <a:extLst>
                <a:ext uri="{FF2B5EF4-FFF2-40B4-BE49-F238E27FC236}">
                  <a16:creationId xmlns:a16="http://schemas.microsoft.com/office/drawing/2014/main" id="{295AB039-3891-3B92-4D4B-854DEF7F5FB9}"/>
                </a:ext>
              </a:extLst>
            </p:cNvPr>
            <p:cNvGrpSpPr/>
            <p:nvPr/>
          </p:nvGrpSpPr>
          <p:grpSpPr>
            <a:xfrm>
              <a:off x="7722203" y="4229481"/>
              <a:ext cx="75723" cy="75628"/>
              <a:chOff x="7722203" y="4229481"/>
              <a:chExt cx="75723" cy="75628"/>
            </a:xfrm>
          </p:grpSpPr>
          <p:sp>
            <p:nvSpPr>
              <p:cNvPr id="17105" name="Freeform: Shape 17104">
                <a:extLst>
                  <a:ext uri="{FF2B5EF4-FFF2-40B4-BE49-F238E27FC236}">
                    <a16:creationId xmlns:a16="http://schemas.microsoft.com/office/drawing/2014/main" id="{9BA94936-528B-4AA0-1CAA-EF382AD80EC0}"/>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6" name="Freeform: Shape 17105">
                <a:extLst>
                  <a:ext uri="{FF2B5EF4-FFF2-40B4-BE49-F238E27FC236}">
                    <a16:creationId xmlns:a16="http://schemas.microsoft.com/office/drawing/2014/main" id="{44989431-E3BD-BB5B-2533-C9F2FA442798}"/>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3" name="Graphic 112">
              <a:extLst>
                <a:ext uri="{FF2B5EF4-FFF2-40B4-BE49-F238E27FC236}">
                  <a16:creationId xmlns:a16="http://schemas.microsoft.com/office/drawing/2014/main" id="{0112A46F-75C5-8125-C467-9C7C2E8287A2}"/>
                </a:ext>
              </a:extLst>
            </p:cNvPr>
            <p:cNvGrpSpPr/>
            <p:nvPr/>
          </p:nvGrpSpPr>
          <p:grpSpPr>
            <a:xfrm>
              <a:off x="7755064" y="4229481"/>
              <a:ext cx="75628" cy="75628"/>
              <a:chOff x="7755064" y="4229481"/>
              <a:chExt cx="75628" cy="75628"/>
            </a:xfrm>
          </p:grpSpPr>
          <p:sp>
            <p:nvSpPr>
              <p:cNvPr id="17103" name="Freeform: Shape 17102">
                <a:extLst>
                  <a:ext uri="{FF2B5EF4-FFF2-40B4-BE49-F238E27FC236}">
                    <a16:creationId xmlns:a16="http://schemas.microsoft.com/office/drawing/2014/main" id="{A165A742-33AA-331B-F349-D889983DCEE9}"/>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4" name="Freeform: Shape 17103">
                <a:extLst>
                  <a:ext uri="{FF2B5EF4-FFF2-40B4-BE49-F238E27FC236}">
                    <a16:creationId xmlns:a16="http://schemas.microsoft.com/office/drawing/2014/main" id="{A99A92D6-EDB9-EA36-0A22-9454B7802C0E}"/>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4" name="Graphic 112">
              <a:extLst>
                <a:ext uri="{FF2B5EF4-FFF2-40B4-BE49-F238E27FC236}">
                  <a16:creationId xmlns:a16="http://schemas.microsoft.com/office/drawing/2014/main" id="{9B970D36-FC9E-222B-9AE1-07DD0F05BA3A}"/>
                </a:ext>
              </a:extLst>
            </p:cNvPr>
            <p:cNvGrpSpPr/>
            <p:nvPr/>
          </p:nvGrpSpPr>
          <p:grpSpPr>
            <a:xfrm>
              <a:off x="7760017" y="4229481"/>
              <a:ext cx="75723" cy="75628"/>
              <a:chOff x="7760017" y="4229481"/>
              <a:chExt cx="75723" cy="75628"/>
            </a:xfrm>
          </p:grpSpPr>
          <p:sp>
            <p:nvSpPr>
              <p:cNvPr id="17101" name="Freeform: Shape 17100">
                <a:extLst>
                  <a:ext uri="{FF2B5EF4-FFF2-40B4-BE49-F238E27FC236}">
                    <a16:creationId xmlns:a16="http://schemas.microsoft.com/office/drawing/2014/main" id="{51565D4E-2D09-EA79-CCA1-74BBE7891366}"/>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2" name="Freeform: Shape 17101">
                <a:extLst>
                  <a:ext uri="{FF2B5EF4-FFF2-40B4-BE49-F238E27FC236}">
                    <a16:creationId xmlns:a16="http://schemas.microsoft.com/office/drawing/2014/main" id="{2482EBD6-55DD-60C7-7393-1A961A132E7D}"/>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5" name="Graphic 112">
              <a:extLst>
                <a:ext uri="{FF2B5EF4-FFF2-40B4-BE49-F238E27FC236}">
                  <a16:creationId xmlns:a16="http://schemas.microsoft.com/office/drawing/2014/main" id="{FE9AE188-C249-F4FE-6852-0C9261AE1AF8}"/>
                </a:ext>
              </a:extLst>
            </p:cNvPr>
            <p:cNvGrpSpPr/>
            <p:nvPr/>
          </p:nvGrpSpPr>
          <p:grpSpPr>
            <a:xfrm>
              <a:off x="7800594" y="4229481"/>
              <a:ext cx="75723" cy="75628"/>
              <a:chOff x="7800594" y="4229481"/>
              <a:chExt cx="75723" cy="75628"/>
            </a:xfrm>
          </p:grpSpPr>
          <p:sp>
            <p:nvSpPr>
              <p:cNvPr id="17099" name="Freeform: Shape 17098">
                <a:extLst>
                  <a:ext uri="{FF2B5EF4-FFF2-40B4-BE49-F238E27FC236}">
                    <a16:creationId xmlns:a16="http://schemas.microsoft.com/office/drawing/2014/main" id="{E1BA87DA-CB72-3C69-372B-C8721561DD21}"/>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0" name="Freeform: Shape 17099">
                <a:extLst>
                  <a:ext uri="{FF2B5EF4-FFF2-40B4-BE49-F238E27FC236}">
                    <a16:creationId xmlns:a16="http://schemas.microsoft.com/office/drawing/2014/main" id="{2C2FCACE-613C-55AB-F38B-1E6734AAD585}"/>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6" name="Graphic 112">
              <a:extLst>
                <a:ext uri="{FF2B5EF4-FFF2-40B4-BE49-F238E27FC236}">
                  <a16:creationId xmlns:a16="http://schemas.microsoft.com/office/drawing/2014/main" id="{571A6355-ECF5-806C-D34B-3FFBEC8B3A39}"/>
                </a:ext>
              </a:extLst>
            </p:cNvPr>
            <p:cNvGrpSpPr/>
            <p:nvPr/>
          </p:nvGrpSpPr>
          <p:grpSpPr>
            <a:xfrm>
              <a:off x="7805451" y="4229481"/>
              <a:ext cx="75723" cy="75628"/>
              <a:chOff x="7805451" y="4229481"/>
              <a:chExt cx="75723" cy="75628"/>
            </a:xfrm>
          </p:grpSpPr>
          <p:sp>
            <p:nvSpPr>
              <p:cNvPr id="17097" name="Freeform: Shape 17096">
                <a:extLst>
                  <a:ext uri="{FF2B5EF4-FFF2-40B4-BE49-F238E27FC236}">
                    <a16:creationId xmlns:a16="http://schemas.microsoft.com/office/drawing/2014/main" id="{A79E5C0B-7440-C9B3-2670-51CF1066E9D0}"/>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8" name="Freeform: Shape 17097">
                <a:extLst>
                  <a:ext uri="{FF2B5EF4-FFF2-40B4-BE49-F238E27FC236}">
                    <a16:creationId xmlns:a16="http://schemas.microsoft.com/office/drawing/2014/main" id="{7902F9DF-7265-400F-711C-D73A7A20769A}"/>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7" name="Graphic 112">
              <a:extLst>
                <a:ext uri="{FF2B5EF4-FFF2-40B4-BE49-F238E27FC236}">
                  <a16:creationId xmlns:a16="http://schemas.microsoft.com/office/drawing/2014/main" id="{05F62EA8-2B46-6664-3A4D-7C92B6FBB173}"/>
                </a:ext>
              </a:extLst>
            </p:cNvPr>
            <p:cNvGrpSpPr/>
            <p:nvPr/>
          </p:nvGrpSpPr>
          <p:grpSpPr>
            <a:xfrm>
              <a:off x="8124729" y="4229481"/>
              <a:ext cx="75628" cy="75628"/>
              <a:chOff x="8124729" y="4229481"/>
              <a:chExt cx="75628" cy="75628"/>
            </a:xfrm>
          </p:grpSpPr>
          <p:sp>
            <p:nvSpPr>
              <p:cNvPr id="17095" name="Freeform: Shape 17094">
                <a:extLst>
                  <a:ext uri="{FF2B5EF4-FFF2-40B4-BE49-F238E27FC236}">
                    <a16:creationId xmlns:a16="http://schemas.microsoft.com/office/drawing/2014/main" id="{9F69A61E-F665-AF38-57C5-2BDB5F86853F}"/>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6" name="Freeform: Shape 17095">
                <a:extLst>
                  <a:ext uri="{FF2B5EF4-FFF2-40B4-BE49-F238E27FC236}">
                    <a16:creationId xmlns:a16="http://schemas.microsoft.com/office/drawing/2014/main" id="{6C9A28C7-CB8C-2755-3D7A-5EFB9A66E33E}"/>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8" name="Graphic 112">
              <a:extLst>
                <a:ext uri="{FF2B5EF4-FFF2-40B4-BE49-F238E27FC236}">
                  <a16:creationId xmlns:a16="http://schemas.microsoft.com/office/drawing/2014/main" id="{B610E972-0047-999A-B1C5-E2151356867A}"/>
                </a:ext>
              </a:extLst>
            </p:cNvPr>
            <p:cNvGrpSpPr/>
            <p:nvPr/>
          </p:nvGrpSpPr>
          <p:grpSpPr>
            <a:xfrm>
              <a:off x="8143875" y="4229481"/>
              <a:ext cx="75628" cy="75628"/>
              <a:chOff x="8143875" y="4229481"/>
              <a:chExt cx="75628" cy="75628"/>
            </a:xfrm>
          </p:grpSpPr>
          <p:sp>
            <p:nvSpPr>
              <p:cNvPr id="17093" name="Freeform: Shape 17092">
                <a:extLst>
                  <a:ext uri="{FF2B5EF4-FFF2-40B4-BE49-F238E27FC236}">
                    <a16:creationId xmlns:a16="http://schemas.microsoft.com/office/drawing/2014/main" id="{C7332393-6A44-6175-0A2F-C6EBC8A4384E}"/>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4" name="Freeform: Shape 17093">
                <a:extLst>
                  <a:ext uri="{FF2B5EF4-FFF2-40B4-BE49-F238E27FC236}">
                    <a16:creationId xmlns:a16="http://schemas.microsoft.com/office/drawing/2014/main" id="{45CB204C-DF99-09E4-A592-621C196D4BD5}"/>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9" name="Graphic 112">
              <a:extLst>
                <a:ext uri="{FF2B5EF4-FFF2-40B4-BE49-F238E27FC236}">
                  <a16:creationId xmlns:a16="http://schemas.microsoft.com/office/drawing/2014/main" id="{3E8B399E-108E-8ECF-3CC4-1B2E645E72CE}"/>
                </a:ext>
              </a:extLst>
            </p:cNvPr>
            <p:cNvGrpSpPr/>
            <p:nvPr/>
          </p:nvGrpSpPr>
          <p:grpSpPr>
            <a:xfrm>
              <a:off x="8163020" y="4229481"/>
              <a:ext cx="75628" cy="75628"/>
              <a:chOff x="8163020" y="4229481"/>
              <a:chExt cx="75628" cy="75628"/>
            </a:xfrm>
          </p:grpSpPr>
          <p:sp>
            <p:nvSpPr>
              <p:cNvPr id="17091" name="Freeform: Shape 17090">
                <a:extLst>
                  <a:ext uri="{FF2B5EF4-FFF2-40B4-BE49-F238E27FC236}">
                    <a16:creationId xmlns:a16="http://schemas.microsoft.com/office/drawing/2014/main" id="{FDAE1DAC-0B2A-23C5-C277-49E3CE3F2E16}"/>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2" name="Freeform: Shape 17091">
                <a:extLst>
                  <a:ext uri="{FF2B5EF4-FFF2-40B4-BE49-F238E27FC236}">
                    <a16:creationId xmlns:a16="http://schemas.microsoft.com/office/drawing/2014/main" id="{0430B2C4-752D-A743-D896-C641C91D74E6}"/>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0" name="Graphic 112">
              <a:extLst>
                <a:ext uri="{FF2B5EF4-FFF2-40B4-BE49-F238E27FC236}">
                  <a16:creationId xmlns:a16="http://schemas.microsoft.com/office/drawing/2014/main" id="{489EE62B-77F7-E7C7-7B4C-0D4CC19DE55B}"/>
                </a:ext>
              </a:extLst>
            </p:cNvPr>
            <p:cNvGrpSpPr/>
            <p:nvPr/>
          </p:nvGrpSpPr>
          <p:grpSpPr>
            <a:xfrm>
              <a:off x="8182165" y="4229481"/>
              <a:ext cx="75628" cy="75628"/>
              <a:chOff x="8182165" y="4229481"/>
              <a:chExt cx="75628" cy="75628"/>
            </a:xfrm>
          </p:grpSpPr>
          <p:sp>
            <p:nvSpPr>
              <p:cNvPr id="17089" name="Freeform: Shape 17088">
                <a:extLst>
                  <a:ext uri="{FF2B5EF4-FFF2-40B4-BE49-F238E27FC236}">
                    <a16:creationId xmlns:a16="http://schemas.microsoft.com/office/drawing/2014/main" id="{173A9CBF-E6F0-F22E-DF66-BE5D86B2FC9E}"/>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0" name="Freeform: Shape 17089">
                <a:extLst>
                  <a:ext uri="{FF2B5EF4-FFF2-40B4-BE49-F238E27FC236}">
                    <a16:creationId xmlns:a16="http://schemas.microsoft.com/office/drawing/2014/main" id="{DE366981-EFBD-E7C2-DB9B-264C6A811E46}"/>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1" name="Graphic 112">
              <a:extLst>
                <a:ext uri="{FF2B5EF4-FFF2-40B4-BE49-F238E27FC236}">
                  <a16:creationId xmlns:a16="http://schemas.microsoft.com/office/drawing/2014/main" id="{60A63CDF-ED07-D9DC-D66B-CE094C998860}"/>
                </a:ext>
              </a:extLst>
            </p:cNvPr>
            <p:cNvGrpSpPr/>
            <p:nvPr/>
          </p:nvGrpSpPr>
          <p:grpSpPr>
            <a:xfrm>
              <a:off x="8201310" y="4229481"/>
              <a:ext cx="75628" cy="75628"/>
              <a:chOff x="8201310" y="4229481"/>
              <a:chExt cx="75628" cy="75628"/>
            </a:xfrm>
          </p:grpSpPr>
          <p:sp>
            <p:nvSpPr>
              <p:cNvPr id="17087" name="Freeform: Shape 17086">
                <a:extLst>
                  <a:ext uri="{FF2B5EF4-FFF2-40B4-BE49-F238E27FC236}">
                    <a16:creationId xmlns:a16="http://schemas.microsoft.com/office/drawing/2014/main" id="{C58D27DC-9C90-3F1A-54E6-0F3E7883877D}"/>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8" name="Freeform: Shape 17087">
                <a:extLst>
                  <a:ext uri="{FF2B5EF4-FFF2-40B4-BE49-F238E27FC236}">
                    <a16:creationId xmlns:a16="http://schemas.microsoft.com/office/drawing/2014/main" id="{082332A8-AEA2-33A9-6E27-38544BBC87A2}"/>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2" name="Graphic 112">
              <a:extLst>
                <a:ext uri="{FF2B5EF4-FFF2-40B4-BE49-F238E27FC236}">
                  <a16:creationId xmlns:a16="http://schemas.microsoft.com/office/drawing/2014/main" id="{735CDD78-3BFC-1B8B-F476-36C9909A16D4}"/>
                </a:ext>
              </a:extLst>
            </p:cNvPr>
            <p:cNvGrpSpPr/>
            <p:nvPr/>
          </p:nvGrpSpPr>
          <p:grpSpPr>
            <a:xfrm>
              <a:off x="8239601" y="4229481"/>
              <a:ext cx="75723" cy="75628"/>
              <a:chOff x="8239601" y="4229481"/>
              <a:chExt cx="75723" cy="75628"/>
            </a:xfrm>
          </p:grpSpPr>
          <p:sp>
            <p:nvSpPr>
              <p:cNvPr id="17085" name="Freeform: Shape 17084">
                <a:extLst>
                  <a:ext uri="{FF2B5EF4-FFF2-40B4-BE49-F238E27FC236}">
                    <a16:creationId xmlns:a16="http://schemas.microsoft.com/office/drawing/2014/main" id="{9C13D728-34AF-48E8-9EA8-B546C6590435}"/>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6" name="Freeform: Shape 17085">
                <a:extLst>
                  <a:ext uri="{FF2B5EF4-FFF2-40B4-BE49-F238E27FC236}">
                    <a16:creationId xmlns:a16="http://schemas.microsoft.com/office/drawing/2014/main" id="{6DADC4DA-5347-2261-EDE2-7E817E5B4D54}"/>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3" name="Graphic 112">
              <a:extLst>
                <a:ext uri="{FF2B5EF4-FFF2-40B4-BE49-F238E27FC236}">
                  <a16:creationId xmlns:a16="http://schemas.microsoft.com/office/drawing/2014/main" id="{5BA32E4F-4AB8-B0BB-9AF2-9B27084D9326}"/>
                </a:ext>
              </a:extLst>
            </p:cNvPr>
            <p:cNvGrpSpPr/>
            <p:nvPr/>
          </p:nvGrpSpPr>
          <p:grpSpPr>
            <a:xfrm>
              <a:off x="8463915" y="4229481"/>
              <a:ext cx="75723" cy="75628"/>
              <a:chOff x="8463915" y="4229481"/>
              <a:chExt cx="75723" cy="75628"/>
            </a:xfrm>
          </p:grpSpPr>
          <p:sp>
            <p:nvSpPr>
              <p:cNvPr id="17083" name="Freeform: Shape 17082">
                <a:extLst>
                  <a:ext uri="{FF2B5EF4-FFF2-40B4-BE49-F238E27FC236}">
                    <a16:creationId xmlns:a16="http://schemas.microsoft.com/office/drawing/2014/main" id="{A3533363-6880-11C9-08C2-0405CB1F00F8}"/>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4" name="Freeform: Shape 17083">
                <a:extLst>
                  <a:ext uri="{FF2B5EF4-FFF2-40B4-BE49-F238E27FC236}">
                    <a16:creationId xmlns:a16="http://schemas.microsoft.com/office/drawing/2014/main" id="{942F73B1-7320-0C11-EA03-46F982E137C4}"/>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4" name="Graphic 112">
              <a:extLst>
                <a:ext uri="{FF2B5EF4-FFF2-40B4-BE49-F238E27FC236}">
                  <a16:creationId xmlns:a16="http://schemas.microsoft.com/office/drawing/2014/main" id="{CA589741-E75A-8A69-7CFF-F7C94C782996}"/>
                </a:ext>
              </a:extLst>
            </p:cNvPr>
            <p:cNvGrpSpPr/>
            <p:nvPr/>
          </p:nvGrpSpPr>
          <p:grpSpPr>
            <a:xfrm>
              <a:off x="8598884" y="4229481"/>
              <a:ext cx="75723" cy="75628"/>
              <a:chOff x="8598884" y="4229481"/>
              <a:chExt cx="75723" cy="75628"/>
            </a:xfrm>
          </p:grpSpPr>
          <p:sp>
            <p:nvSpPr>
              <p:cNvPr id="17081" name="Freeform: Shape 17080">
                <a:extLst>
                  <a:ext uri="{FF2B5EF4-FFF2-40B4-BE49-F238E27FC236}">
                    <a16:creationId xmlns:a16="http://schemas.microsoft.com/office/drawing/2014/main" id="{D7609D74-A9B9-8DC7-92A5-026A9B41F8A0}"/>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2" name="Freeform: Shape 17081">
                <a:extLst>
                  <a:ext uri="{FF2B5EF4-FFF2-40B4-BE49-F238E27FC236}">
                    <a16:creationId xmlns:a16="http://schemas.microsoft.com/office/drawing/2014/main" id="{F7A5DCED-5E23-7511-5E61-FBEB321864AF}"/>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5" name="Graphic 112">
              <a:extLst>
                <a:ext uri="{FF2B5EF4-FFF2-40B4-BE49-F238E27FC236}">
                  <a16:creationId xmlns:a16="http://schemas.microsoft.com/office/drawing/2014/main" id="{0956D93A-542E-54DC-7665-725D09DE56FF}"/>
                </a:ext>
              </a:extLst>
            </p:cNvPr>
            <p:cNvGrpSpPr/>
            <p:nvPr/>
          </p:nvGrpSpPr>
          <p:grpSpPr>
            <a:xfrm>
              <a:off x="8611457" y="4229481"/>
              <a:ext cx="75628" cy="75628"/>
              <a:chOff x="8611457" y="4229481"/>
              <a:chExt cx="75628" cy="75628"/>
            </a:xfrm>
          </p:grpSpPr>
          <p:sp>
            <p:nvSpPr>
              <p:cNvPr id="17079" name="Freeform: Shape 17078">
                <a:extLst>
                  <a:ext uri="{FF2B5EF4-FFF2-40B4-BE49-F238E27FC236}">
                    <a16:creationId xmlns:a16="http://schemas.microsoft.com/office/drawing/2014/main" id="{EE7BC64C-E464-306B-3DE6-9BE9E7D850B0}"/>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0" name="Freeform: Shape 17079">
                <a:extLst>
                  <a:ext uri="{FF2B5EF4-FFF2-40B4-BE49-F238E27FC236}">
                    <a16:creationId xmlns:a16="http://schemas.microsoft.com/office/drawing/2014/main" id="{44450FF3-1801-3469-6389-F312B8605BE2}"/>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6" name="Graphic 112">
              <a:extLst>
                <a:ext uri="{FF2B5EF4-FFF2-40B4-BE49-F238E27FC236}">
                  <a16:creationId xmlns:a16="http://schemas.microsoft.com/office/drawing/2014/main" id="{3344595F-E6CB-820B-FC18-017789A043D9}"/>
                </a:ext>
              </a:extLst>
            </p:cNvPr>
            <p:cNvGrpSpPr/>
            <p:nvPr/>
          </p:nvGrpSpPr>
          <p:grpSpPr>
            <a:xfrm>
              <a:off x="8623935" y="4229481"/>
              <a:ext cx="75628" cy="75628"/>
              <a:chOff x="8623935" y="4229481"/>
              <a:chExt cx="75628" cy="75628"/>
            </a:xfrm>
          </p:grpSpPr>
          <p:sp>
            <p:nvSpPr>
              <p:cNvPr id="17077" name="Freeform: Shape 17076">
                <a:extLst>
                  <a:ext uri="{FF2B5EF4-FFF2-40B4-BE49-F238E27FC236}">
                    <a16:creationId xmlns:a16="http://schemas.microsoft.com/office/drawing/2014/main" id="{FE44FC8B-998C-A930-23CA-923648A66804}"/>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8" name="Freeform: Shape 17077">
                <a:extLst>
                  <a:ext uri="{FF2B5EF4-FFF2-40B4-BE49-F238E27FC236}">
                    <a16:creationId xmlns:a16="http://schemas.microsoft.com/office/drawing/2014/main" id="{CBC111FF-17A1-B85C-1A80-277EF614BB75}"/>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7" name="Graphic 112">
              <a:extLst>
                <a:ext uri="{FF2B5EF4-FFF2-40B4-BE49-F238E27FC236}">
                  <a16:creationId xmlns:a16="http://schemas.microsoft.com/office/drawing/2014/main" id="{4900D41D-FE2F-652C-40BB-6668B77695F2}"/>
                </a:ext>
              </a:extLst>
            </p:cNvPr>
            <p:cNvGrpSpPr/>
            <p:nvPr/>
          </p:nvGrpSpPr>
          <p:grpSpPr>
            <a:xfrm>
              <a:off x="8648890" y="4229481"/>
              <a:ext cx="75723" cy="75628"/>
              <a:chOff x="8648890" y="4229481"/>
              <a:chExt cx="75723" cy="75628"/>
            </a:xfrm>
          </p:grpSpPr>
          <p:sp>
            <p:nvSpPr>
              <p:cNvPr id="17075" name="Freeform: Shape 17074">
                <a:extLst>
                  <a:ext uri="{FF2B5EF4-FFF2-40B4-BE49-F238E27FC236}">
                    <a16:creationId xmlns:a16="http://schemas.microsoft.com/office/drawing/2014/main" id="{2632B89E-4A12-01C0-EE6A-4D37DA470352}"/>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6" name="Freeform: Shape 17075">
                <a:extLst>
                  <a:ext uri="{FF2B5EF4-FFF2-40B4-BE49-F238E27FC236}">
                    <a16:creationId xmlns:a16="http://schemas.microsoft.com/office/drawing/2014/main" id="{0F33712C-27ED-8DE9-FA02-4D4BC9FD2070}"/>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8" name="Graphic 112">
              <a:extLst>
                <a:ext uri="{FF2B5EF4-FFF2-40B4-BE49-F238E27FC236}">
                  <a16:creationId xmlns:a16="http://schemas.microsoft.com/office/drawing/2014/main" id="{E9A069B6-76C1-8619-50A4-A28A21FD5CFC}"/>
                </a:ext>
              </a:extLst>
            </p:cNvPr>
            <p:cNvGrpSpPr/>
            <p:nvPr/>
          </p:nvGrpSpPr>
          <p:grpSpPr>
            <a:xfrm>
              <a:off x="8636412" y="4229481"/>
              <a:ext cx="75723" cy="75628"/>
              <a:chOff x="8636412" y="4229481"/>
              <a:chExt cx="75723" cy="75628"/>
            </a:xfrm>
          </p:grpSpPr>
          <p:sp>
            <p:nvSpPr>
              <p:cNvPr id="17073" name="Freeform: Shape 17072">
                <a:extLst>
                  <a:ext uri="{FF2B5EF4-FFF2-40B4-BE49-F238E27FC236}">
                    <a16:creationId xmlns:a16="http://schemas.microsoft.com/office/drawing/2014/main" id="{35F048EC-8D27-A45D-783E-007C2D395979}"/>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4" name="Freeform: Shape 17073">
                <a:extLst>
                  <a:ext uri="{FF2B5EF4-FFF2-40B4-BE49-F238E27FC236}">
                    <a16:creationId xmlns:a16="http://schemas.microsoft.com/office/drawing/2014/main" id="{6DC0208F-7666-A7EC-62FB-5850846CB0A8}"/>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9" name="Graphic 112">
              <a:extLst>
                <a:ext uri="{FF2B5EF4-FFF2-40B4-BE49-F238E27FC236}">
                  <a16:creationId xmlns:a16="http://schemas.microsoft.com/office/drawing/2014/main" id="{2497A169-0214-5B26-4E31-C7AF8BA08C1A}"/>
                </a:ext>
              </a:extLst>
            </p:cNvPr>
            <p:cNvGrpSpPr/>
            <p:nvPr/>
          </p:nvGrpSpPr>
          <p:grpSpPr>
            <a:xfrm>
              <a:off x="8220456" y="4229481"/>
              <a:ext cx="75723" cy="75628"/>
              <a:chOff x="8220456" y="4229481"/>
              <a:chExt cx="75723" cy="75628"/>
            </a:xfrm>
          </p:grpSpPr>
          <p:sp>
            <p:nvSpPr>
              <p:cNvPr id="17071" name="Freeform: Shape 17070">
                <a:extLst>
                  <a:ext uri="{FF2B5EF4-FFF2-40B4-BE49-F238E27FC236}">
                    <a16:creationId xmlns:a16="http://schemas.microsoft.com/office/drawing/2014/main" id="{1EA0499B-F130-E549-8103-BC4EC49483A8}"/>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2" name="Freeform: Shape 17071">
                <a:extLst>
                  <a:ext uri="{FF2B5EF4-FFF2-40B4-BE49-F238E27FC236}">
                    <a16:creationId xmlns:a16="http://schemas.microsoft.com/office/drawing/2014/main" id="{8304F3CE-253E-A51E-747A-FA1CA43871AA}"/>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0" name="Graphic 112">
              <a:extLst>
                <a:ext uri="{FF2B5EF4-FFF2-40B4-BE49-F238E27FC236}">
                  <a16:creationId xmlns:a16="http://schemas.microsoft.com/office/drawing/2014/main" id="{18B1FF19-CFAA-78A2-EC2E-1ECBB6716078}"/>
                </a:ext>
              </a:extLst>
            </p:cNvPr>
            <p:cNvGrpSpPr/>
            <p:nvPr/>
          </p:nvGrpSpPr>
          <p:grpSpPr>
            <a:xfrm>
              <a:off x="7790307" y="4229481"/>
              <a:ext cx="75723" cy="75628"/>
              <a:chOff x="7790307" y="4229481"/>
              <a:chExt cx="75723" cy="75628"/>
            </a:xfrm>
          </p:grpSpPr>
          <p:sp>
            <p:nvSpPr>
              <p:cNvPr id="17069" name="Freeform: Shape 17068">
                <a:extLst>
                  <a:ext uri="{FF2B5EF4-FFF2-40B4-BE49-F238E27FC236}">
                    <a16:creationId xmlns:a16="http://schemas.microsoft.com/office/drawing/2014/main" id="{64A66C2A-9947-123E-DA2E-39A6C8406A6A}"/>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0" name="Freeform: Shape 17069">
                <a:extLst>
                  <a:ext uri="{FF2B5EF4-FFF2-40B4-BE49-F238E27FC236}">
                    <a16:creationId xmlns:a16="http://schemas.microsoft.com/office/drawing/2014/main" id="{2B6784E4-4391-209E-F413-7B463F0AAFAA}"/>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1" name="Graphic 112">
              <a:extLst>
                <a:ext uri="{FF2B5EF4-FFF2-40B4-BE49-F238E27FC236}">
                  <a16:creationId xmlns:a16="http://schemas.microsoft.com/office/drawing/2014/main" id="{74983986-F4DD-795D-C592-05EE7B0CC7AC}"/>
                </a:ext>
              </a:extLst>
            </p:cNvPr>
            <p:cNvGrpSpPr/>
            <p:nvPr/>
          </p:nvGrpSpPr>
          <p:grpSpPr>
            <a:xfrm>
              <a:off x="7330535" y="4205763"/>
              <a:ext cx="75628" cy="75628"/>
              <a:chOff x="7330535" y="4205763"/>
              <a:chExt cx="75628" cy="75628"/>
            </a:xfrm>
          </p:grpSpPr>
          <p:sp>
            <p:nvSpPr>
              <p:cNvPr id="17067" name="Freeform: Shape 17066">
                <a:extLst>
                  <a:ext uri="{FF2B5EF4-FFF2-40B4-BE49-F238E27FC236}">
                    <a16:creationId xmlns:a16="http://schemas.microsoft.com/office/drawing/2014/main" id="{2EA1D85E-4C73-7FFE-DCCB-4CE1EA00DC38}"/>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8" name="Freeform: Shape 17067">
                <a:extLst>
                  <a:ext uri="{FF2B5EF4-FFF2-40B4-BE49-F238E27FC236}">
                    <a16:creationId xmlns:a16="http://schemas.microsoft.com/office/drawing/2014/main" id="{4C5D260E-883E-ED3D-F77B-B88C0A0386C5}"/>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2" name="Graphic 112">
              <a:extLst>
                <a:ext uri="{FF2B5EF4-FFF2-40B4-BE49-F238E27FC236}">
                  <a16:creationId xmlns:a16="http://schemas.microsoft.com/office/drawing/2014/main" id="{FFC071E7-F728-355A-CD2D-38B28943E434}"/>
                </a:ext>
              </a:extLst>
            </p:cNvPr>
            <p:cNvGrpSpPr/>
            <p:nvPr/>
          </p:nvGrpSpPr>
          <p:grpSpPr>
            <a:xfrm>
              <a:off x="7299007" y="4153757"/>
              <a:ext cx="75723" cy="75723"/>
              <a:chOff x="7299007" y="4153757"/>
              <a:chExt cx="75723" cy="75723"/>
            </a:xfrm>
          </p:grpSpPr>
          <p:sp>
            <p:nvSpPr>
              <p:cNvPr id="17065" name="Freeform: Shape 17064">
                <a:extLst>
                  <a:ext uri="{FF2B5EF4-FFF2-40B4-BE49-F238E27FC236}">
                    <a16:creationId xmlns:a16="http://schemas.microsoft.com/office/drawing/2014/main" id="{55660C9C-FAAC-7952-9725-6983190A2B13}"/>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6" name="Freeform: Shape 17065">
                <a:extLst>
                  <a:ext uri="{FF2B5EF4-FFF2-40B4-BE49-F238E27FC236}">
                    <a16:creationId xmlns:a16="http://schemas.microsoft.com/office/drawing/2014/main" id="{A9CCC885-355C-5A7C-89D6-7C93E968351D}"/>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3" name="Graphic 112">
              <a:extLst>
                <a:ext uri="{FF2B5EF4-FFF2-40B4-BE49-F238E27FC236}">
                  <a16:creationId xmlns:a16="http://schemas.microsoft.com/office/drawing/2014/main" id="{F0A83FC4-B83B-7349-E206-373E7B80FAD0}"/>
                </a:ext>
              </a:extLst>
            </p:cNvPr>
            <p:cNvGrpSpPr/>
            <p:nvPr/>
          </p:nvGrpSpPr>
          <p:grpSpPr>
            <a:xfrm>
              <a:off x="7287482" y="4153757"/>
              <a:ext cx="75723" cy="75723"/>
              <a:chOff x="7287482" y="4153757"/>
              <a:chExt cx="75723" cy="75723"/>
            </a:xfrm>
          </p:grpSpPr>
          <p:sp>
            <p:nvSpPr>
              <p:cNvPr id="17063" name="Freeform: Shape 17062">
                <a:extLst>
                  <a:ext uri="{FF2B5EF4-FFF2-40B4-BE49-F238E27FC236}">
                    <a16:creationId xmlns:a16="http://schemas.microsoft.com/office/drawing/2014/main" id="{C2DB0BDF-23F7-11E8-AF3C-03757B40DE1C}"/>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4" name="Freeform: Shape 17063">
                <a:extLst>
                  <a:ext uri="{FF2B5EF4-FFF2-40B4-BE49-F238E27FC236}">
                    <a16:creationId xmlns:a16="http://schemas.microsoft.com/office/drawing/2014/main" id="{C6ADF283-0B0D-9033-AF06-C8269E2B7740}"/>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4" name="Graphic 112">
              <a:extLst>
                <a:ext uri="{FF2B5EF4-FFF2-40B4-BE49-F238E27FC236}">
                  <a16:creationId xmlns:a16="http://schemas.microsoft.com/office/drawing/2014/main" id="{F85D5CD5-5E3E-49AF-6E1A-157AB4E1B6A8}"/>
                </a:ext>
              </a:extLst>
            </p:cNvPr>
            <p:cNvGrpSpPr/>
            <p:nvPr/>
          </p:nvGrpSpPr>
          <p:grpSpPr>
            <a:xfrm>
              <a:off x="7312437" y="4153757"/>
              <a:ext cx="75723" cy="75723"/>
              <a:chOff x="7312437" y="4153757"/>
              <a:chExt cx="75723" cy="75723"/>
            </a:xfrm>
          </p:grpSpPr>
          <p:sp>
            <p:nvSpPr>
              <p:cNvPr id="17061" name="Freeform: Shape 17060">
                <a:extLst>
                  <a:ext uri="{FF2B5EF4-FFF2-40B4-BE49-F238E27FC236}">
                    <a16:creationId xmlns:a16="http://schemas.microsoft.com/office/drawing/2014/main" id="{51CAF5C9-F3D3-8406-8E78-CC6538826BBB}"/>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2" name="Freeform: Shape 17061">
                <a:extLst>
                  <a:ext uri="{FF2B5EF4-FFF2-40B4-BE49-F238E27FC236}">
                    <a16:creationId xmlns:a16="http://schemas.microsoft.com/office/drawing/2014/main" id="{4144F536-EB78-8C80-8A02-C7799BE7AB6A}"/>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5" name="Graphic 112">
              <a:extLst>
                <a:ext uri="{FF2B5EF4-FFF2-40B4-BE49-F238E27FC236}">
                  <a16:creationId xmlns:a16="http://schemas.microsoft.com/office/drawing/2014/main" id="{D365281B-69E4-99E1-1CCE-2626C5968D2F}"/>
                </a:ext>
              </a:extLst>
            </p:cNvPr>
            <p:cNvGrpSpPr/>
            <p:nvPr/>
          </p:nvGrpSpPr>
          <p:grpSpPr>
            <a:xfrm>
              <a:off x="7002399" y="4135183"/>
              <a:ext cx="75628" cy="75723"/>
              <a:chOff x="7002399" y="4135183"/>
              <a:chExt cx="75628" cy="75723"/>
            </a:xfrm>
          </p:grpSpPr>
          <p:sp>
            <p:nvSpPr>
              <p:cNvPr id="17059" name="Freeform: Shape 17058">
                <a:extLst>
                  <a:ext uri="{FF2B5EF4-FFF2-40B4-BE49-F238E27FC236}">
                    <a16:creationId xmlns:a16="http://schemas.microsoft.com/office/drawing/2014/main" id="{A6B128CF-C66D-17D4-68CC-E093AD30B164}"/>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0" name="Freeform: Shape 17059">
                <a:extLst>
                  <a:ext uri="{FF2B5EF4-FFF2-40B4-BE49-F238E27FC236}">
                    <a16:creationId xmlns:a16="http://schemas.microsoft.com/office/drawing/2014/main" id="{E5AE9044-DA99-A93B-CBBF-517C6DFA1C91}"/>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6" name="Graphic 112">
              <a:extLst>
                <a:ext uri="{FF2B5EF4-FFF2-40B4-BE49-F238E27FC236}">
                  <a16:creationId xmlns:a16="http://schemas.microsoft.com/office/drawing/2014/main" id="{282A3EBA-9A11-CA4B-195E-94B3C6F48012}"/>
                </a:ext>
              </a:extLst>
            </p:cNvPr>
            <p:cNvGrpSpPr/>
            <p:nvPr/>
          </p:nvGrpSpPr>
          <p:grpSpPr>
            <a:xfrm>
              <a:off x="6947344" y="4111847"/>
              <a:ext cx="75723" cy="75628"/>
              <a:chOff x="6947344" y="4111847"/>
              <a:chExt cx="75723" cy="75628"/>
            </a:xfrm>
          </p:grpSpPr>
          <p:sp>
            <p:nvSpPr>
              <p:cNvPr id="17057" name="Freeform: Shape 17056">
                <a:extLst>
                  <a:ext uri="{FF2B5EF4-FFF2-40B4-BE49-F238E27FC236}">
                    <a16:creationId xmlns:a16="http://schemas.microsoft.com/office/drawing/2014/main" id="{2199C8ED-8E2F-9611-C64E-B3ABF4DFA7F3}"/>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8" name="Freeform: Shape 17057">
                <a:extLst>
                  <a:ext uri="{FF2B5EF4-FFF2-40B4-BE49-F238E27FC236}">
                    <a16:creationId xmlns:a16="http://schemas.microsoft.com/office/drawing/2014/main" id="{D3CA81E5-3574-87A8-7715-18E5C10CA606}"/>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7" name="Graphic 112">
              <a:extLst>
                <a:ext uri="{FF2B5EF4-FFF2-40B4-BE49-F238E27FC236}">
                  <a16:creationId xmlns:a16="http://schemas.microsoft.com/office/drawing/2014/main" id="{2C83D604-22EB-F993-52DF-2AD1E58C2B7A}"/>
                </a:ext>
              </a:extLst>
            </p:cNvPr>
            <p:cNvGrpSpPr/>
            <p:nvPr/>
          </p:nvGrpSpPr>
          <p:grpSpPr>
            <a:xfrm>
              <a:off x="6928199" y="4090987"/>
              <a:ext cx="75723" cy="75723"/>
              <a:chOff x="6928199" y="4090987"/>
              <a:chExt cx="75723" cy="75723"/>
            </a:xfrm>
          </p:grpSpPr>
          <p:sp>
            <p:nvSpPr>
              <p:cNvPr id="17055" name="Freeform: Shape 17054">
                <a:extLst>
                  <a:ext uri="{FF2B5EF4-FFF2-40B4-BE49-F238E27FC236}">
                    <a16:creationId xmlns:a16="http://schemas.microsoft.com/office/drawing/2014/main" id="{D4D9FA9D-1465-08DB-9B92-BD33151851BF}"/>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6" name="Freeform: Shape 17055">
                <a:extLst>
                  <a:ext uri="{FF2B5EF4-FFF2-40B4-BE49-F238E27FC236}">
                    <a16:creationId xmlns:a16="http://schemas.microsoft.com/office/drawing/2014/main" id="{0748481D-885D-94D5-EB21-C3857912CB8D}"/>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8" name="Graphic 112">
              <a:extLst>
                <a:ext uri="{FF2B5EF4-FFF2-40B4-BE49-F238E27FC236}">
                  <a16:creationId xmlns:a16="http://schemas.microsoft.com/office/drawing/2014/main" id="{D7CB961D-8A88-4305-75E9-5749E2F4900F}"/>
                </a:ext>
              </a:extLst>
            </p:cNvPr>
            <p:cNvGrpSpPr/>
            <p:nvPr/>
          </p:nvGrpSpPr>
          <p:grpSpPr>
            <a:xfrm>
              <a:off x="6912959" y="4073937"/>
              <a:ext cx="75723" cy="75723"/>
              <a:chOff x="6912959" y="4073937"/>
              <a:chExt cx="75723" cy="75723"/>
            </a:xfrm>
          </p:grpSpPr>
          <p:sp>
            <p:nvSpPr>
              <p:cNvPr id="17053" name="Freeform: Shape 17052">
                <a:extLst>
                  <a:ext uri="{FF2B5EF4-FFF2-40B4-BE49-F238E27FC236}">
                    <a16:creationId xmlns:a16="http://schemas.microsoft.com/office/drawing/2014/main" id="{375B2047-1190-1AB3-067C-68070603D5F4}"/>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4" name="Freeform: Shape 17053">
                <a:extLst>
                  <a:ext uri="{FF2B5EF4-FFF2-40B4-BE49-F238E27FC236}">
                    <a16:creationId xmlns:a16="http://schemas.microsoft.com/office/drawing/2014/main" id="{A6832605-D8AA-7622-4F97-105EA2C38519}"/>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9" name="Graphic 112">
              <a:extLst>
                <a:ext uri="{FF2B5EF4-FFF2-40B4-BE49-F238E27FC236}">
                  <a16:creationId xmlns:a16="http://schemas.microsoft.com/office/drawing/2014/main" id="{44F57C48-16BA-4BC7-01AA-7B76962BE5DC}"/>
                </a:ext>
              </a:extLst>
            </p:cNvPr>
            <p:cNvGrpSpPr/>
            <p:nvPr/>
          </p:nvGrpSpPr>
          <p:grpSpPr>
            <a:xfrm>
              <a:off x="6895338" y="4053173"/>
              <a:ext cx="75723" cy="75628"/>
              <a:chOff x="6895338" y="4053173"/>
              <a:chExt cx="75723" cy="75628"/>
            </a:xfrm>
          </p:grpSpPr>
          <p:sp>
            <p:nvSpPr>
              <p:cNvPr id="17051" name="Freeform: Shape 17050">
                <a:extLst>
                  <a:ext uri="{FF2B5EF4-FFF2-40B4-BE49-F238E27FC236}">
                    <a16:creationId xmlns:a16="http://schemas.microsoft.com/office/drawing/2014/main" id="{3ED5517B-1661-683B-2405-B60EC5B1F87B}"/>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2" name="Freeform: Shape 17051">
                <a:extLst>
                  <a:ext uri="{FF2B5EF4-FFF2-40B4-BE49-F238E27FC236}">
                    <a16:creationId xmlns:a16="http://schemas.microsoft.com/office/drawing/2014/main" id="{2556474C-2403-F421-3AB1-FB30F7C87BAE}"/>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0" name="Graphic 112">
              <a:extLst>
                <a:ext uri="{FF2B5EF4-FFF2-40B4-BE49-F238E27FC236}">
                  <a16:creationId xmlns:a16="http://schemas.microsoft.com/office/drawing/2014/main" id="{9C1943BE-3058-5BE1-8616-9631DFBDD399}"/>
                </a:ext>
              </a:extLst>
            </p:cNvPr>
            <p:cNvGrpSpPr/>
            <p:nvPr/>
          </p:nvGrpSpPr>
          <p:grpSpPr>
            <a:xfrm>
              <a:off x="6501574" y="4015263"/>
              <a:ext cx="75628" cy="75723"/>
              <a:chOff x="6501574" y="4015263"/>
              <a:chExt cx="75628" cy="75723"/>
            </a:xfrm>
          </p:grpSpPr>
          <p:sp>
            <p:nvSpPr>
              <p:cNvPr id="17049" name="Freeform: Shape 17048">
                <a:extLst>
                  <a:ext uri="{FF2B5EF4-FFF2-40B4-BE49-F238E27FC236}">
                    <a16:creationId xmlns:a16="http://schemas.microsoft.com/office/drawing/2014/main" id="{D8284339-0B77-4830-ADE5-9A594BEA14E6}"/>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0" name="Freeform: Shape 17049">
                <a:extLst>
                  <a:ext uri="{FF2B5EF4-FFF2-40B4-BE49-F238E27FC236}">
                    <a16:creationId xmlns:a16="http://schemas.microsoft.com/office/drawing/2014/main" id="{47C7E466-699D-C003-1A1C-9AA83E2799D6}"/>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1" name="Graphic 112">
              <a:extLst>
                <a:ext uri="{FF2B5EF4-FFF2-40B4-BE49-F238E27FC236}">
                  <a16:creationId xmlns:a16="http://schemas.microsoft.com/office/drawing/2014/main" id="{FE7095C2-37FD-A614-7F4B-D4434A944524}"/>
                </a:ext>
              </a:extLst>
            </p:cNvPr>
            <p:cNvGrpSpPr/>
            <p:nvPr/>
          </p:nvGrpSpPr>
          <p:grpSpPr>
            <a:xfrm>
              <a:off x="6483000" y="3998309"/>
              <a:ext cx="75723" cy="75628"/>
              <a:chOff x="6483000" y="3998309"/>
              <a:chExt cx="75723" cy="75628"/>
            </a:xfrm>
          </p:grpSpPr>
          <p:sp>
            <p:nvSpPr>
              <p:cNvPr id="17047" name="Freeform: Shape 17046">
                <a:extLst>
                  <a:ext uri="{FF2B5EF4-FFF2-40B4-BE49-F238E27FC236}">
                    <a16:creationId xmlns:a16="http://schemas.microsoft.com/office/drawing/2014/main" id="{F6DCD173-4306-15E1-2152-D8561DB10FFC}"/>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8" name="Freeform: Shape 17047">
                <a:extLst>
                  <a:ext uri="{FF2B5EF4-FFF2-40B4-BE49-F238E27FC236}">
                    <a16:creationId xmlns:a16="http://schemas.microsoft.com/office/drawing/2014/main" id="{0395BA8C-E44E-8802-B8FA-20B93B16B466}"/>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2" name="Graphic 112">
              <a:extLst>
                <a:ext uri="{FF2B5EF4-FFF2-40B4-BE49-F238E27FC236}">
                  <a16:creationId xmlns:a16="http://schemas.microsoft.com/office/drawing/2014/main" id="{ABABABB6-9EF7-FB14-4F64-A3057451B3C9}"/>
                </a:ext>
              </a:extLst>
            </p:cNvPr>
            <p:cNvGrpSpPr/>
            <p:nvPr/>
          </p:nvGrpSpPr>
          <p:grpSpPr>
            <a:xfrm>
              <a:off x="6468141" y="3980021"/>
              <a:ext cx="75628" cy="75723"/>
              <a:chOff x="6468141" y="3980021"/>
              <a:chExt cx="75628" cy="75723"/>
            </a:xfrm>
          </p:grpSpPr>
          <p:sp>
            <p:nvSpPr>
              <p:cNvPr id="17045" name="Freeform: Shape 17044">
                <a:extLst>
                  <a:ext uri="{FF2B5EF4-FFF2-40B4-BE49-F238E27FC236}">
                    <a16:creationId xmlns:a16="http://schemas.microsoft.com/office/drawing/2014/main" id="{3036E032-EC87-C69D-DC8B-1093156953BE}"/>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6" name="Freeform: Shape 17045">
                <a:extLst>
                  <a:ext uri="{FF2B5EF4-FFF2-40B4-BE49-F238E27FC236}">
                    <a16:creationId xmlns:a16="http://schemas.microsoft.com/office/drawing/2014/main" id="{CFB0C2F9-570F-4790-C7CA-C01E82DB6110}"/>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3" name="Graphic 112">
              <a:extLst>
                <a:ext uri="{FF2B5EF4-FFF2-40B4-BE49-F238E27FC236}">
                  <a16:creationId xmlns:a16="http://schemas.microsoft.com/office/drawing/2014/main" id="{3805DAFC-A988-2E8E-E432-C753A16F566C}"/>
                </a:ext>
              </a:extLst>
            </p:cNvPr>
            <p:cNvGrpSpPr/>
            <p:nvPr/>
          </p:nvGrpSpPr>
          <p:grpSpPr>
            <a:xfrm>
              <a:off x="6095714" y="3871245"/>
              <a:ext cx="75723" cy="75628"/>
              <a:chOff x="6095714" y="3871245"/>
              <a:chExt cx="75723" cy="75628"/>
            </a:xfrm>
          </p:grpSpPr>
          <p:sp>
            <p:nvSpPr>
              <p:cNvPr id="17043" name="Freeform: Shape 17042">
                <a:extLst>
                  <a:ext uri="{FF2B5EF4-FFF2-40B4-BE49-F238E27FC236}">
                    <a16:creationId xmlns:a16="http://schemas.microsoft.com/office/drawing/2014/main" id="{C0190B39-5009-5FB8-1B29-436A227038E9}"/>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4" name="Freeform: Shape 17043">
                <a:extLst>
                  <a:ext uri="{FF2B5EF4-FFF2-40B4-BE49-F238E27FC236}">
                    <a16:creationId xmlns:a16="http://schemas.microsoft.com/office/drawing/2014/main" id="{96D22F92-3B92-A055-8934-412A3954DDA4}"/>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4" name="Graphic 112">
              <a:extLst>
                <a:ext uri="{FF2B5EF4-FFF2-40B4-BE49-F238E27FC236}">
                  <a16:creationId xmlns:a16="http://schemas.microsoft.com/office/drawing/2014/main" id="{4B948046-BD3A-F8F6-75AC-110DC0BAAF09}"/>
                </a:ext>
              </a:extLst>
            </p:cNvPr>
            <p:cNvGrpSpPr/>
            <p:nvPr/>
          </p:nvGrpSpPr>
          <p:grpSpPr>
            <a:xfrm>
              <a:off x="6059995" y="3862673"/>
              <a:ext cx="75723" cy="75723"/>
              <a:chOff x="6059995" y="3862673"/>
              <a:chExt cx="75723" cy="75723"/>
            </a:xfrm>
          </p:grpSpPr>
          <p:sp>
            <p:nvSpPr>
              <p:cNvPr id="17041" name="Freeform: Shape 17040">
                <a:extLst>
                  <a:ext uri="{FF2B5EF4-FFF2-40B4-BE49-F238E27FC236}">
                    <a16:creationId xmlns:a16="http://schemas.microsoft.com/office/drawing/2014/main" id="{AC8B8407-52F4-5BCB-5491-AE871AF89F04}"/>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2" name="Freeform: Shape 17041">
                <a:extLst>
                  <a:ext uri="{FF2B5EF4-FFF2-40B4-BE49-F238E27FC236}">
                    <a16:creationId xmlns:a16="http://schemas.microsoft.com/office/drawing/2014/main" id="{A3DA6BBB-B4CC-7590-5BD8-683E1971CA4F}"/>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5" name="Graphic 112">
              <a:extLst>
                <a:ext uri="{FF2B5EF4-FFF2-40B4-BE49-F238E27FC236}">
                  <a16:creationId xmlns:a16="http://schemas.microsoft.com/office/drawing/2014/main" id="{70C4F1FC-BE21-D25B-C17B-06F7C43D5109}"/>
                </a:ext>
              </a:extLst>
            </p:cNvPr>
            <p:cNvGrpSpPr/>
            <p:nvPr/>
          </p:nvGrpSpPr>
          <p:grpSpPr>
            <a:xfrm>
              <a:off x="6072282" y="3867531"/>
              <a:ext cx="75723" cy="75723"/>
              <a:chOff x="6072282" y="3867531"/>
              <a:chExt cx="75723" cy="75723"/>
            </a:xfrm>
          </p:grpSpPr>
          <p:sp>
            <p:nvSpPr>
              <p:cNvPr id="17039" name="Freeform: Shape 17038">
                <a:extLst>
                  <a:ext uri="{FF2B5EF4-FFF2-40B4-BE49-F238E27FC236}">
                    <a16:creationId xmlns:a16="http://schemas.microsoft.com/office/drawing/2014/main" id="{F155E59F-2445-B2CF-83BC-B19B991B24E9}"/>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0" name="Freeform: Shape 17039">
                <a:extLst>
                  <a:ext uri="{FF2B5EF4-FFF2-40B4-BE49-F238E27FC236}">
                    <a16:creationId xmlns:a16="http://schemas.microsoft.com/office/drawing/2014/main" id="{75900003-7CBA-D6DC-4C2A-792A78AD7347}"/>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6" name="Graphic 112">
              <a:extLst>
                <a:ext uri="{FF2B5EF4-FFF2-40B4-BE49-F238E27FC236}">
                  <a16:creationId xmlns:a16="http://schemas.microsoft.com/office/drawing/2014/main" id="{8991B852-69B1-DA61-1DC0-B92E9193BDE5}"/>
                </a:ext>
              </a:extLst>
            </p:cNvPr>
            <p:cNvGrpSpPr/>
            <p:nvPr/>
          </p:nvGrpSpPr>
          <p:grpSpPr>
            <a:xfrm>
              <a:off x="6045422" y="3850862"/>
              <a:ext cx="75628" cy="75628"/>
              <a:chOff x="6045422" y="3850862"/>
              <a:chExt cx="75628" cy="75628"/>
            </a:xfrm>
          </p:grpSpPr>
          <p:sp>
            <p:nvSpPr>
              <p:cNvPr id="17037" name="Freeform: Shape 17036">
                <a:extLst>
                  <a:ext uri="{FF2B5EF4-FFF2-40B4-BE49-F238E27FC236}">
                    <a16:creationId xmlns:a16="http://schemas.microsoft.com/office/drawing/2014/main" id="{B69F7A4A-9256-610B-BAAF-BBB6120F0071}"/>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8" name="Freeform: Shape 17037">
                <a:extLst>
                  <a:ext uri="{FF2B5EF4-FFF2-40B4-BE49-F238E27FC236}">
                    <a16:creationId xmlns:a16="http://schemas.microsoft.com/office/drawing/2014/main" id="{DF6E3406-0AD5-4995-63BB-5EDE4C420047}"/>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7" name="Graphic 112">
              <a:extLst>
                <a:ext uri="{FF2B5EF4-FFF2-40B4-BE49-F238E27FC236}">
                  <a16:creationId xmlns:a16="http://schemas.microsoft.com/office/drawing/2014/main" id="{CB57C6DC-45E5-7B21-BA11-78E0ACE8FCB6}"/>
                </a:ext>
              </a:extLst>
            </p:cNvPr>
            <p:cNvGrpSpPr/>
            <p:nvPr/>
          </p:nvGrpSpPr>
          <p:grpSpPr>
            <a:xfrm>
              <a:off x="6034468" y="3840670"/>
              <a:ext cx="75723" cy="75723"/>
              <a:chOff x="6034468" y="3840670"/>
              <a:chExt cx="75723" cy="75723"/>
            </a:xfrm>
          </p:grpSpPr>
          <p:sp>
            <p:nvSpPr>
              <p:cNvPr id="17035" name="Freeform: Shape 17034">
                <a:extLst>
                  <a:ext uri="{FF2B5EF4-FFF2-40B4-BE49-F238E27FC236}">
                    <a16:creationId xmlns:a16="http://schemas.microsoft.com/office/drawing/2014/main" id="{F0E1F96A-FD1C-8147-787D-8BC388C5B3D1}"/>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6" name="Freeform: Shape 17035">
                <a:extLst>
                  <a:ext uri="{FF2B5EF4-FFF2-40B4-BE49-F238E27FC236}">
                    <a16:creationId xmlns:a16="http://schemas.microsoft.com/office/drawing/2014/main" id="{E25251C3-528F-A2FE-3EAE-09B522F4DAC1}"/>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8" name="Graphic 112">
              <a:extLst>
                <a:ext uri="{FF2B5EF4-FFF2-40B4-BE49-F238E27FC236}">
                  <a16:creationId xmlns:a16="http://schemas.microsoft.com/office/drawing/2014/main" id="{7E362ED0-1890-4472-CBBF-A140135AD148}"/>
                </a:ext>
              </a:extLst>
            </p:cNvPr>
            <p:cNvGrpSpPr/>
            <p:nvPr/>
          </p:nvGrpSpPr>
          <p:grpSpPr>
            <a:xfrm>
              <a:off x="6025324" y="3833336"/>
              <a:ext cx="75723" cy="75723"/>
              <a:chOff x="6025324" y="3833336"/>
              <a:chExt cx="75723" cy="75723"/>
            </a:xfrm>
          </p:grpSpPr>
          <p:sp>
            <p:nvSpPr>
              <p:cNvPr id="17033" name="Freeform: Shape 17032">
                <a:extLst>
                  <a:ext uri="{FF2B5EF4-FFF2-40B4-BE49-F238E27FC236}">
                    <a16:creationId xmlns:a16="http://schemas.microsoft.com/office/drawing/2014/main" id="{5752D1EA-A02C-8FFD-E175-A93C5746A1B1}"/>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4" name="Freeform: Shape 17033">
                <a:extLst>
                  <a:ext uri="{FF2B5EF4-FFF2-40B4-BE49-F238E27FC236}">
                    <a16:creationId xmlns:a16="http://schemas.microsoft.com/office/drawing/2014/main" id="{2E542075-7EFF-CDB8-E106-58FE0E6AE2B8}"/>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9" name="Graphic 112">
              <a:extLst>
                <a:ext uri="{FF2B5EF4-FFF2-40B4-BE49-F238E27FC236}">
                  <a16:creationId xmlns:a16="http://schemas.microsoft.com/office/drawing/2014/main" id="{3B29B17D-526B-1BE3-14DC-52999784612F}"/>
                </a:ext>
              </a:extLst>
            </p:cNvPr>
            <p:cNvGrpSpPr/>
            <p:nvPr/>
          </p:nvGrpSpPr>
          <p:grpSpPr>
            <a:xfrm>
              <a:off x="6015037" y="3806571"/>
              <a:ext cx="75628" cy="75723"/>
              <a:chOff x="6015037" y="3806571"/>
              <a:chExt cx="75628" cy="75723"/>
            </a:xfrm>
          </p:grpSpPr>
          <p:sp>
            <p:nvSpPr>
              <p:cNvPr id="17031" name="Freeform: Shape 17030">
                <a:extLst>
                  <a:ext uri="{FF2B5EF4-FFF2-40B4-BE49-F238E27FC236}">
                    <a16:creationId xmlns:a16="http://schemas.microsoft.com/office/drawing/2014/main" id="{445ED215-F7BC-53C7-B3EF-C179C38CA7BF}"/>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2" name="Freeform: Shape 17031">
                <a:extLst>
                  <a:ext uri="{FF2B5EF4-FFF2-40B4-BE49-F238E27FC236}">
                    <a16:creationId xmlns:a16="http://schemas.microsoft.com/office/drawing/2014/main" id="{628216A1-AB89-4F78-6477-CF70F580DF74}"/>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0" name="Graphic 112">
              <a:extLst>
                <a:ext uri="{FF2B5EF4-FFF2-40B4-BE49-F238E27FC236}">
                  <a16:creationId xmlns:a16="http://schemas.microsoft.com/office/drawing/2014/main" id="{5C424DE1-B31C-C720-5ACF-6192F4DD1309}"/>
                </a:ext>
              </a:extLst>
            </p:cNvPr>
            <p:cNvGrpSpPr/>
            <p:nvPr/>
          </p:nvGrpSpPr>
          <p:grpSpPr>
            <a:xfrm>
              <a:off x="5953029" y="3802856"/>
              <a:ext cx="75628" cy="75628"/>
              <a:chOff x="5953029" y="3802856"/>
              <a:chExt cx="75628" cy="75628"/>
            </a:xfrm>
          </p:grpSpPr>
          <p:sp>
            <p:nvSpPr>
              <p:cNvPr id="17029" name="Freeform: Shape 17028">
                <a:extLst>
                  <a:ext uri="{FF2B5EF4-FFF2-40B4-BE49-F238E27FC236}">
                    <a16:creationId xmlns:a16="http://schemas.microsoft.com/office/drawing/2014/main" id="{588D6B5B-1D34-78F1-90F5-7463C3A1CBDC}"/>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0" name="Freeform: Shape 17029">
                <a:extLst>
                  <a:ext uri="{FF2B5EF4-FFF2-40B4-BE49-F238E27FC236}">
                    <a16:creationId xmlns:a16="http://schemas.microsoft.com/office/drawing/2014/main" id="{FE14364E-852B-A8A5-2BD1-F857426DBCED}"/>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1" name="Graphic 112">
              <a:extLst>
                <a:ext uri="{FF2B5EF4-FFF2-40B4-BE49-F238E27FC236}">
                  <a16:creationId xmlns:a16="http://schemas.microsoft.com/office/drawing/2014/main" id="{B24689D8-EB0A-8010-C04C-FA5BABE19822}"/>
                </a:ext>
              </a:extLst>
            </p:cNvPr>
            <p:cNvGrpSpPr/>
            <p:nvPr/>
          </p:nvGrpSpPr>
          <p:grpSpPr>
            <a:xfrm>
              <a:off x="5999130" y="3806571"/>
              <a:ext cx="75723" cy="75723"/>
              <a:chOff x="5999130" y="3806571"/>
              <a:chExt cx="75723" cy="75723"/>
            </a:xfrm>
          </p:grpSpPr>
          <p:sp>
            <p:nvSpPr>
              <p:cNvPr id="17027" name="Freeform: Shape 17026">
                <a:extLst>
                  <a:ext uri="{FF2B5EF4-FFF2-40B4-BE49-F238E27FC236}">
                    <a16:creationId xmlns:a16="http://schemas.microsoft.com/office/drawing/2014/main" id="{AA512143-56B2-5CC8-0F61-543EC31D6374}"/>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8" name="Freeform: Shape 17027">
                <a:extLst>
                  <a:ext uri="{FF2B5EF4-FFF2-40B4-BE49-F238E27FC236}">
                    <a16:creationId xmlns:a16="http://schemas.microsoft.com/office/drawing/2014/main" id="{6E1610BC-0040-4DDC-7B12-4229F45644CD}"/>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2" name="Graphic 112">
              <a:extLst>
                <a:ext uri="{FF2B5EF4-FFF2-40B4-BE49-F238E27FC236}">
                  <a16:creationId xmlns:a16="http://schemas.microsoft.com/office/drawing/2014/main" id="{4427227A-A5E0-3317-13CC-79DF1106F5EC}"/>
                </a:ext>
              </a:extLst>
            </p:cNvPr>
            <p:cNvGrpSpPr/>
            <p:nvPr/>
          </p:nvGrpSpPr>
          <p:grpSpPr>
            <a:xfrm>
              <a:off x="5553551" y="3678459"/>
              <a:ext cx="75723" cy="75723"/>
              <a:chOff x="5553551" y="3678459"/>
              <a:chExt cx="75723" cy="75723"/>
            </a:xfrm>
          </p:grpSpPr>
          <p:sp>
            <p:nvSpPr>
              <p:cNvPr id="17025" name="Freeform: Shape 17024">
                <a:extLst>
                  <a:ext uri="{FF2B5EF4-FFF2-40B4-BE49-F238E27FC236}">
                    <a16:creationId xmlns:a16="http://schemas.microsoft.com/office/drawing/2014/main" id="{3513D5BF-6755-1417-3AAF-CFCFF84457C6}"/>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6" name="Freeform: Shape 17025">
                <a:extLst>
                  <a:ext uri="{FF2B5EF4-FFF2-40B4-BE49-F238E27FC236}">
                    <a16:creationId xmlns:a16="http://schemas.microsoft.com/office/drawing/2014/main" id="{223BE521-974F-4159-53D6-C86CA59ABB28}"/>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3" name="Graphic 112">
              <a:extLst>
                <a:ext uri="{FF2B5EF4-FFF2-40B4-BE49-F238E27FC236}">
                  <a16:creationId xmlns:a16="http://schemas.microsoft.com/office/drawing/2014/main" id="{BC89F07F-3671-58D2-2474-12D252BD17FC}"/>
                </a:ext>
              </a:extLst>
            </p:cNvPr>
            <p:cNvGrpSpPr/>
            <p:nvPr/>
          </p:nvGrpSpPr>
          <p:grpSpPr>
            <a:xfrm>
              <a:off x="5569362" y="3685794"/>
              <a:ext cx="75723" cy="75628"/>
              <a:chOff x="5569362" y="3685794"/>
              <a:chExt cx="75723" cy="75628"/>
            </a:xfrm>
          </p:grpSpPr>
          <p:sp>
            <p:nvSpPr>
              <p:cNvPr id="17023" name="Freeform: Shape 17022">
                <a:extLst>
                  <a:ext uri="{FF2B5EF4-FFF2-40B4-BE49-F238E27FC236}">
                    <a16:creationId xmlns:a16="http://schemas.microsoft.com/office/drawing/2014/main" id="{217E266E-0855-B0BE-3626-9D9C7F3DE125}"/>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4" name="Freeform: Shape 17023">
                <a:extLst>
                  <a:ext uri="{FF2B5EF4-FFF2-40B4-BE49-F238E27FC236}">
                    <a16:creationId xmlns:a16="http://schemas.microsoft.com/office/drawing/2014/main" id="{D06CCD33-29E2-950C-F0F5-7F1B3A130B67}"/>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4" name="Graphic 112">
              <a:extLst>
                <a:ext uri="{FF2B5EF4-FFF2-40B4-BE49-F238E27FC236}">
                  <a16:creationId xmlns:a16="http://schemas.microsoft.com/office/drawing/2014/main" id="{A8685429-0C6C-C923-61DA-9F91C86896B5}"/>
                </a:ext>
              </a:extLst>
            </p:cNvPr>
            <p:cNvGrpSpPr/>
            <p:nvPr/>
          </p:nvGrpSpPr>
          <p:grpSpPr>
            <a:xfrm>
              <a:off x="5586412" y="3694271"/>
              <a:ext cx="75628" cy="75723"/>
              <a:chOff x="5586412" y="3694271"/>
              <a:chExt cx="75628" cy="75723"/>
            </a:xfrm>
          </p:grpSpPr>
          <p:sp>
            <p:nvSpPr>
              <p:cNvPr id="17021" name="Freeform: Shape 17020">
                <a:extLst>
                  <a:ext uri="{FF2B5EF4-FFF2-40B4-BE49-F238E27FC236}">
                    <a16:creationId xmlns:a16="http://schemas.microsoft.com/office/drawing/2014/main" id="{936AF4FA-7BB6-CBD6-DA0A-84AE28053081}"/>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2" name="Freeform: Shape 17021">
                <a:extLst>
                  <a:ext uri="{FF2B5EF4-FFF2-40B4-BE49-F238E27FC236}">
                    <a16:creationId xmlns:a16="http://schemas.microsoft.com/office/drawing/2014/main" id="{4FD569FD-105E-F78F-ABBD-5A8E4A09142F}"/>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5" name="Graphic 112">
              <a:extLst>
                <a:ext uri="{FF2B5EF4-FFF2-40B4-BE49-F238E27FC236}">
                  <a16:creationId xmlns:a16="http://schemas.microsoft.com/office/drawing/2014/main" id="{68D3FAAF-1706-8CC6-2ABB-FF8396352F9F}"/>
                </a:ext>
              </a:extLst>
            </p:cNvPr>
            <p:cNvGrpSpPr/>
            <p:nvPr/>
          </p:nvGrpSpPr>
          <p:grpSpPr>
            <a:xfrm>
              <a:off x="5599176" y="3699414"/>
              <a:ext cx="75628" cy="75723"/>
              <a:chOff x="5599176" y="3699414"/>
              <a:chExt cx="75628" cy="75723"/>
            </a:xfrm>
          </p:grpSpPr>
          <p:sp>
            <p:nvSpPr>
              <p:cNvPr id="17019" name="Freeform: Shape 17018">
                <a:extLst>
                  <a:ext uri="{FF2B5EF4-FFF2-40B4-BE49-F238E27FC236}">
                    <a16:creationId xmlns:a16="http://schemas.microsoft.com/office/drawing/2014/main" id="{32C0B460-77BE-94F8-0B6F-C8BEBB967474}"/>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0" name="Freeform: Shape 17019">
                <a:extLst>
                  <a:ext uri="{FF2B5EF4-FFF2-40B4-BE49-F238E27FC236}">
                    <a16:creationId xmlns:a16="http://schemas.microsoft.com/office/drawing/2014/main" id="{162C380C-F779-C1C7-C94A-5504937CCF6D}"/>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6" name="Graphic 112">
              <a:extLst>
                <a:ext uri="{FF2B5EF4-FFF2-40B4-BE49-F238E27FC236}">
                  <a16:creationId xmlns:a16="http://schemas.microsoft.com/office/drawing/2014/main" id="{173705E2-901C-0F4B-68E1-8890ADE2D67A}"/>
                </a:ext>
              </a:extLst>
            </p:cNvPr>
            <p:cNvGrpSpPr/>
            <p:nvPr/>
          </p:nvGrpSpPr>
          <p:grpSpPr>
            <a:xfrm>
              <a:off x="5610701" y="3709130"/>
              <a:ext cx="75723" cy="75723"/>
              <a:chOff x="5610701" y="3709130"/>
              <a:chExt cx="75723" cy="75723"/>
            </a:xfrm>
          </p:grpSpPr>
          <p:sp>
            <p:nvSpPr>
              <p:cNvPr id="17017" name="Freeform: Shape 17016">
                <a:extLst>
                  <a:ext uri="{FF2B5EF4-FFF2-40B4-BE49-F238E27FC236}">
                    <a16:creationId xmlns:a16="http://schemas.microsoft.com/office/drawing/2014/main" id="{07D57095-B754-89AC-CE05-870BEC0F2F0A}"/>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8" name="Freeform: Shape 17017">
                <a:extLst>
                  <a:ext uri="{FF2B5EF4-FFF2-40B4-BE49-F238E27FC236}">
                    <a16:creationId xmlns:a16="http://schemas.microsoft.com/office/drawing/2014/main" id="{D1480EA5-290A-8F5C-A1ED-803AB948E76B}"/>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7" name="Graphic 112">
              <a:extLst>
                <a:ext uri="{FF2B5EF4-FFF2-40B4-BE49-F238E27FC236}">
                  <a16:creationId xmlns:a16="http://schemas.microsoft.com/office/drawing/2014/main" id="{3F9E11EB-C1F1-3237-CA51-DFBA7358F581}"/>
                </a:ext>
              </a:extLst>
            </p:cNvPr>
            <p:cNvGrpSpPr/>
            <p:nvPr/>
          </p:nvGrpSpPr>
          <p:grpSpPr>
            <a:xfrm>
              <a:off x="5619845" y="3716274"/>
              <a:ext cx="75628" cy="75723"/>
              <a:chOff x="5619845" y="3716274"/>
              <a:chExt cx="75628" cy="75723"/>
            </a:xfrm>
          </p:grpSpPr>
          <p:sp>
            <p:nvSpPr>
              <p:cNvPr id="17015" name="Freeform: Shape 17014">
                <a:extLst>
                  <a:ext uri="{FF2B5EF4-FFF2-40B4-BE49-F238E27FC236}">
                    <a16:creationId xmlns:a16="http://schemas.microsoft.com/office/drawing/2014/main" id="{BC466017-FC24-2443-6D2D-3D7FE160942F}"/>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6" name="Freeform: Shape 17015">
                <a:extLst>
                  <a:ext uri="{FF2B5EF4-FFF2-40B4-BE49-F238E27FC236}">
                    <a16:creationId xmlns:a16="http://schemas.microsoft.com/office/drawing/2014/main" id="{634DCB13-2ABD-490D-7D52-AB2090EE1109}"/>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8" name="Graphic 112">
              <a:extLst>
                <a:ext uri="{FF2B5EF4-FFF2-40B4-BE49-F238E27FC236}">
                  <a16:creationId xmlns:a16="http://schemas.microsoft.com/office/drawing/2014/main" id="{8872C622-8BE8-EEFF-EDE6-D91A1272FC26}"/>
                </a:ext>
              </a:extLst>
            </p:cNvPr>
            <p:cNvGrpSpPr/>
            <p:nvPr/>
          </p:nvGrpSpPr>
          <p:grpSpPr>
            <a:xfrm>
              <a:off x="5619845" y="3737324"/>
              <a:ext cx="75628" cy="75628"/>
              <a:chOff x="5619845" y="3737324"/>
              <a:chExt cx="75628" cy="75628"/>
            </a:xfrm>
          </p:grpSpPr>
          <p:sp>
            <p:nvSpPr>
              <p:cNvPr id="17013" name="Freeform: Shape 17012">
                <a:extLst>
                  <a:ext uri="{FF2B5EF4-FFF2-40B4-BE49-F238E27FC236}">
                    <a16:creationId xmlns:a16="http://schemas.microsoft.com/office/drawing/2014/main" id="{A8C0A769-E6F5-A0C1-5AAB-89A5E31C920B}"/>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4" name="Freeform: Shape 17013">
                <a:extLst>
                  <a:ext uri="{FF2B5EF4-FFF2-40B4-BE49-F238E27FC236}">
                    <a16:creationId xmlns:a16="http://schemas.microsoft.com/office/drawing/2014/main" id="{ED4E8F0F-2822-79E3-3B36-D31129239E54}"/>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9" name="Graphic 112">
              <a:extLst>
                <a:ext uri="{FF2B5EF4-FFF2-40B4-BE49-F238E27FC236}">
                  <a16:creationId xmlns:a16="http://schemas.microsoft.com/office/drawing/2014/main" id="{EAEDACF9-ED15-1E3F-92E3-ECFCC6E31BBD}"/>
                </a:ext>
              </a:extLst>
            </p:cNvPr>
            <p:cNvGrpSpPr/>
            <p:nvPr/>
          </p:nvGrpSpPr>
          <p:grpSpPr>
            <a:xfrm>
              <a:off x="5619845" y="3757707"/>
              <a:ext cx="75628" cy="75628"/>
              <a:chOff x="5619845" y="3757707"/>
              <a:chExt cx="75628" cy="75628"/>
            </a:xfrm>
          </p:grpSpPr>
          <p:sp>
            <p:nvSpPr>
              <p:cNvPr id="17011" name="Freeform: Shape 17010">
                <a:extLst>
                  <a:ext uri="{FF2B5EF4-FFF2-40B4-BE49-F238E27FC236}">
                    <a16:creationId xmlns:a16="http://schemas.microsoft.com/office/drawing/2014/main" id="{8B762D4F-C9E9-535E-6FD2-11FB068B351C}"/>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2" name="Freeform: Shape 17011">
                <a:extLst>
                  <a:ext uri="{FF2B5EF4-FFF2-40B4-BE49-F238E27FC236}">
                    <a16:creationId xmlns:a16="http://schemas.microsoft.com/office/drawing/2014/main" id="{5AAC0D8D-8435-7988-CDC6-3B6E90847840}"/>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0" name="Graphic 112">
              <a:extLst>
                <a:ext uri="{FF2B5EF4-FFF2-40B4-BE49-F238E27FC236}">
                  <a16:creationId xmlns:a16="http://schemas.microsoft.com/office/drawing/2014/main" id="{7456998E-3299-6B90-A93C-ED73792006A1}"/>
                </a:ext>
              </a:extLst>
            </p:cNvPr>
            <p:cNvGrpSpPr/>
            <p:nvPr/>
          </p:nvGrpSpPr>
          <p:grpSpPr>
            <a:xfrm>
              <a:off x="5631942" y="3764946"/>
              <a:ext cx="75723" cy="75723"/>
              <a:chOff x="5631942" y="3764946"/>
              <a:chExt cx="75723" cy="75723"/>
            </a:xfrm>
          </p:grpSpPr>
          <p:sp>
            <p:nvSpPr>
              <p:cNvPr id="17009" name="Freeform: Shape 17008">
                <a:extLst>
                  <a:ext uri="{FF2B5EF4-FFF2-40B4-BE49-F238E27FC236}">
                    <a16:creationId xmlns:a16="http://schemas.microsoft.com/office/drawing/2014/main" id="{EBCB8B7B-B18C-6F44-C1EA-B62818D742AA}"/>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0" name="Freeform: Shape 17009">
                <a:extLst>
                  <a:ext uri="{FF2B5EF4-FFF2-40B4-BE49-F238E27FC236}">
                    <a16:creationId xmlns:a16="http://schemas.microsoft.com/office/drawing/2014/main" id="{54324DA2-D807-55B8-2F71-35AA93E18EB5}"/>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1" name="Graphic 112">
              <a:extLst>
                <a:ext uri="{FF2B5EF4-FFF2-40B4-BE49-F238E27FC236}">
                  <a16:creationId xmlns:a16="http://schemas.microsoft.com/office/drawing/2014/main" id="{231FF104-E957-1F10-9A45-A99910C9EB85}"/>
                </a:ext>
              </a:extLst>
            </p:cNvPr>
            <p:cNvGrpSpPr/>
            <p:nvPr/>
          </p:nvGrpSpPr>
          <p:grpSpPr>
            <a:xfrm>
              <a:off x="5648515" y="3764946"/>
              <a:ext cx="75723" cy="75723"/>
              <a:chOff x="5648515" y="3764946"/>
              <a:chExt cx="75723" cy="75723"/>
            </a:xfrm>
          </p:grpSpPr>
          <p:sp>
            <p:nvSpPr>
              <p:cNvPr id="17007" name="Freeform: Shape 17006">
                <a:extLst>
                  <a:ext uri="{FF2B5EF4-FFF2-40B4-BE49-F238E27FC236}">
                    <a16:creationId xmlns:a16="http://schemas.microsoft.com/office/drawing/2014/main" id="{ACB9E34D-DC66-6E4A-8DC9-25040F96BE2C}"/>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8" name="Freeform: Shape 17007">
                <a:extLst>
                  <a:ext uri="{FF2B5EF4-FFF2-40B4-BE49-F238E27FC236}">
                    <a16:creationId xmlns:a16="http://schemas.microsoft.com/office/drawing/2014/main" id="{134DE41C-2886-07A1-E45D-1989BA7ADB9A}"/>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2" name="Graphic 112">
              <a:extLst>
                <a:ext uri="{FF2B5EF4-FFF2-40B4-BE49-F238E27FC236}">
                  <a16:creationId xmlns:a16="http://schemas.microsoft.com/office/drawing/2014/main" id="{874791A4-495F-E877-C874-855FBEA3DCB6}"/>
                </a:ext>
              </a:extLst>
            </p:cNvPr>
            <p:cNvGrpSpPr/>
            <p:nvPr/>
          </p:nvGrpSpPr>
          <p:grpSpPr>
            <a:xfrm>
              <a:off x="5662041" y="3764946"/>
              <a:ext cx="75723" cy="75723"/>
              <a:chOff x="5662041" y="3764946"/>
              <a:chExt cx="75723" cy="75723"/>
            </a:xfrm>
          </p:grpSpPr>
          <p:sp>
            <p:nvSpPr>
              <p:cNvPr id="17005" name="Freeform: Shape 17004">
                <a:extLst>
                  <a:ext uri="{FF2B5EF4-FFF2-40B4-BE49-F238E27FC236}">
                    <a16:creationId xmlns:a16="http://schemas.microsoft.com/office/drawing/2014/main" id="{51A6EE79-BA4C-4E13-8A2A-9C90875E229D}"/>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6" name="Freeform: Shape 17005">
                <a:extLst>
                  <a:ext uri="{FF2B5EF4-FFF2-40B4-BE49-F238E27FC236}">
                    <a16:creationId xmlns:a16="http://schemas.microsoft.com/office/drawing/2014/main" id="{6955B99B-0A81-B195-8686-548EA54E31A3}"/>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3" name="Graphic 112">
              <a:extLst>
                <a:ext uri="{FF2B5EF4-FFF2-40B4-BE49-F238E27FC236}">
                  <a16:creationId xmlns:a16="http://schemas.microsoft.com/office/drawing/2014/main" id="{170902E6-0136-123E-CE5B-16E978022438}"/>
                </a:ext>
              </a:extLst>
            </p:cNvPr>
            <p:cNvGrpSpPr/>
            <p:nvPr/>
          </p:nvGrpSpPr>
          <p:grpSpPr>
            <a:xfrm>
              <a:off x="5075110" y="3425571"/>
              <a:ext cx="75628" cy="75723"/>
              <a:chOff x="5075110" y="3425571"/>
              <a:chExt cx="75628" cy="75723"/>
            </a:xfrm>
          </p:grpSpPr>
          <p:sp>
            <p:nvSpPr>
              <p:cNvPr id="17003" name="Freeform: Shape 17002">
                <a:extLst>
                  <a:ext uri="{FF2B5EF4-FFF2-40B4-BE49-F238E27FC236}">
                    <a16:creationId xmlns:a16="http://schemas.microsoft.com/office/drawing/2014/main" id="{875FA1FC-C945-D076-FECF-EB8C57A2B623}"/>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4" name="Freeform: Shape 17003">
                <a:extLst>
                  <a:ext uri="{FF2B5EF4-FFF2-40B4-BE49-F238E27FC236}">
                    <a16:creationId xmlns:a16="http://schemas.microsoft.com/office/drawing/2014/main" id="{B5649CA2-9AA3-F0FF-BB6E-195450607752}"/>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4" name="Graphic 112">
              <a:extLst>
                <a:ext uri="{FF2B5EF4-FFF2-40B4-BE49-F238E27FC236}">
                  <a16:creationId xmlns:a16="http://schemas.microsoft.com/office/drawing/2014/main" id="{269E2039-6795-0108-4EF6-3C9A1EFED5BD}"/>
                </a:ext>
              </a:extLst>
            </p:cNvPr>
            <p:cNvGrpSpPr/>
            <p:nvPr/>
          </p:nvGrpSpPr>
          <p:grpSpPr>
            <a:xfrm>
              <a:off x="5099970" y="3425571"/>
              <a:ext cx="75723" cy="75723"/>
              <a:chOff x="5099970" y="3425571"/>
              <a:chExt cx="75723" cy="75723"/>
            </a:xfrm>
          </p:grpSpPr>
          <p:sp>
            <p:nvSpPr>
              <p:cNvPr id="17001" name="Freeform: Shape 17000">
                <a:extLst>
                  <a:ext uri="{FF2B5EF4-FFF2-40B4-BE49-F238E27FC236}">
                    <a16:creationId xmlns:a16="http://schemas.microsoft.com/office/drawing/2014/main" id="{395D4CCA-FA5D-A7C7-F93F-618467B7E5B7}"/>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2" name="Freeform: Shape 17001">
                <a:extLst>
                  <a:ext uri="{FF2B5EF4-FFF2-40B4-BE49-F238E27FC236}">
                    <a16:creationId xmlns:a16="http://schemas.microsoft.com/office/drawing/2014/main" id="{EE956D1B-167D-53C5-747C-331DE31BF3A7}"/>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5" name="Graphic 112">
              <a:extLst>
                <a:ext uri="{FF2B5EF4-FFF2-40B4-BE49-F238E27FC236}">
                  <a16:creationId xmlns:a16="http://schemas.microsoft.com/office/drawing/2014/main" id="{EC74AC38-7C81-A691-2D35-7D30EDF5C654}"/>
                </a:ext>
              </a:extLst>
            </p:cNvPr>
            <p:cNvGrpSpPr/>
            <p:nvPr/>
          </p:nvGrpSpPr>
          <p:grpSpPr>
            <a:xfrm>
              <a:off x="5137880" y="3463385"/>
              <a:ext cx="75628" cy="75723"/>
              <a:chOff x="5137880" y="3463385"/>
              <a:chExt cx="75628" cy="75723"/>
            </a:xfrm>
          </p:grpSpPr>
          <p:sp>
            <p:nvSpPr>
              <p:cNvPr id="16999" name="Freeform: Shape 16998">
                <a:extLst>
                  <a:ext uri="{FF2B5EF4-FFF2-40B4-BE49-F238E27FC236}">
                    <a16:creationId xmlns:a16="http://schemas.microsoft.com/office/drawing/2014/main" id="{1387C819-CB3C-F855-CE33-C72357FD87A7}"/>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0" name="Freeform: Shape 16999">
                <a:extLst>
                  <a:ext uri="{FF2B5EF4-FFF2-40B4-BE49-F238E27FC236}">
                    <a16:creationId xmlns:a16="http://schemas.microsoft.com/office/drawing/2014/main" id="{3355B15B-B776-57B1-4B5D-518000A03AE3}"/>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6" name="Graphic 112">
              <a:extLst>
                <a:ext uri="{FF2B5EF4-FFF2-40B4-BE49-F238E27FC236}">
                  <a16:creationId xmlns:a16="http://schemas.microsoft.com/office/drawing/2014/main" id="{8D5310E9-4FEE-49C7-46FA-EBD4D61FC9EB}"/>
                </a:ext>
              </a:extLst>
            </p:cNvPr>
            <p:cNvGrpSpPr/>
            <p:nvPr/>
          </p:nvGrpSpPr>
          <p:grpSpPr>
            <a:xfrm>
              <a:off x="5152167" y="3463385"/>
              <a:ext cx="75723" cy="75723"/>
              <a:chOff x="5152167" y="3463385"/>
              <a:chExt cx="75723" cy="75723"/>
            </a:xfrm>
          </p:grpSpPr>
          <p:sp>
            <p:nvSpPr>
              <p:cNvPr id="16997" name="Freeform: Shape 16996">
                <a:extLst>
                  <a:ext uri="{FF2B5EF4-FFF2-40B4-BE49-F238E27FC236}">
                    <a16:creationId xmlns:a16="http://schemas.microsoft.com/office/drawing/2014/main" id="{C0266141-8ABE-AFC4-8C04-78C8319357A6}"/>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8" name="Freeform: Shape 16997">
                <a:extLst>
                  <a:ext uri="{FF2B5EF4-FFF2-40B4-BE49-F238E27FC236}">
                    <a16:creationId xmlns:a16="http://schemas.microsoft.com/office/drawing/2014/main" id="{65F87FA2-2ADE-BDA3-6C40-2C78F394546C}"/>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7" name="Graphic 112">
              <a:extLst>
                <a:ext uri="{FF2B5EF4-FFF2-40B4-BE49-F238E27FC236}">
                  <a16:creationId xmlns:a16="http://schemas.microsoft.com/office/drawing/2014/main" id="{5514B3D9-944A-9F8A-4399-7906A6C33931}"/>
                </a:ext>
              </a:extLst>
            </p:cNvPr>
            <p:cNvGrpSpPr/>
            <p:nvPr/>
          </p:nvGrpSpPr>
          <p:grpSpPr>
            <a:xfrm>
              <a:off x="5166550" y="3463385"/>
              <a:ext cx="75628" cy="75723"/>
              <a:chOff x="5166550" y="3463385"/>
              <a:chExt cx="75628" cy="75723"/>
            </a:xfrm>
          </p:grpSpPr>
          <p:sp>
            <p:nvSpPr>
              <p:cNvPr id="16995" name="Freeform: Shape 16994">
                <a:extLst>
                  <a:ext uri="{FF2B5EF4-FFF2-40B4-BE49-F238E27FC236}">
                    <a16:creationId xmlns:a16="http://schemas.microsoft.com/office/drawing/2014/main" id="{25B16986-B468-7207-E39B-58884A6C75C5}"/>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6" name="Freeform: Shape 16995">
                <a:extLst>
                  <a:ext uri="{FF2B5EF4-FFF2-40B4-BE49-F238E27FC236}">
                    <a16:creationId xmlns:a16="http://schemas.microsoft.com/office/drawing/2014/main" id="{4A45B5DE-4512-C354-4EFA-BB3A16732670}"/>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8" name="Graphic 112">
              <a:extLst>
                <a:ext uri="{FF2B5EF4-FFF2-40B4-BE49-F238E27FC236}">
                  <a16:creationId xmlns:a16="http://schemas.microsoft.com/office/drawing/2014/main" id="{2B358307-96C4-3A09-B71D-60FBB6BE2192}"/>
                </a:ext>
              </a:extLst>
            </p:cNvPr>
            <p:cNvGrpSpPr/>
            <p:nvPr/>
          </p:nvGrpSpPr>
          <p:grpSpPr>
            <a:xfrm>
              <a:off x="5180838" y="3523107"/>
              <a:ext cx="75723" cy="75723"/>
              <a:chOff x="5180838" y="3523107"/>
              <a:chExt cx="75723" cy="75723"/>
            </a:xfrm>
          </p:grpSpPr>
          <p:sp>
            <p:nvSpPr>
              <p:cNvPr id="16993" name="Freeform: Shape 16992">
                <a:extLst>
                  <a:ext uri="{FF2B5EF4-FFF2-40B4-BE49-F238E27FC236}">
                    <a16:creationId xmlns:a16="http://schemas.microsoft.com/office/drawing/2014/main" id="{BAE78742-039C-6B8B-0E13-CC1C6FB5C8A1}"/>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4" name="Freeform: Shape 16993">
                <a:extLst>
                  <a:ext uri="{FF2B5EF4-FFF2-40B4-BE49-F238E27FC236}">
                    <a16:creationId xmlns:a16="http://schemas.microsoft.com/office/drawing/2014/main" id="{960F0896-28F5-C1D0-31A5-B63B4C94B846}"/>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9" name="Graphic 112">
              <a:extLst>
                <a:ext uri="{FF2B5EF4-FFF2-40B4-BE49-F238E27FC236}">
                  <a16:creationId xmlns:a16="http://schemas.microsoft.com/office/drawing/2014/main" id="{EB66EF90-8152-F029-7282-E28BCEFE1EAD}"/>
                </a:ext>
              </a:extLst>
            </p:cNvPr>
            <p:cNvGrpSpPr/>
            <p:nvPr/>
          </p:nvGrpSpPr>
          <p:grpSpPr>
            <a:xfrm>
              <a:off x="5227701" y="3598830"/>
              <a:ext cx="75628" cy="75723"/>
              <a:chOff x="5227701" y="3598830"/>
              <a:chExt cx="75628" cy="75723"/>
            </a:xfrm>
          </p:grpSpPr>
          <p:sp>
            <p:nvSpPr>
              <p:cNvPr id="16991" name="Freeform: Shape 16990">
                <a:extLst>
                  <a:ext uri="{FF2B5EF4-FFF2-40B4-BE49-F238E27FC236}">
                    <a16:creationId xmlns:a16="http://schemas.microsoft.com/office/drawing/2014/main" id="{D25B5071-D824-E042-4362-E3288C6C330C}"/>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2" name="Freeform: Shape 16991">
                <a:extLst>
                  <a:ext uri="{FF2B5EF4-FFF2-40B4-BE49-F238E27FC236}">
                    <a16:creationId xmlns:a16="http://schemas.microsoft.com/office/drawing/2014/main" id="{FD51590E-9626-9CAD-0F3B-CA3495A3FF9F}"/>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0" name="Graphic 112">
              <a:extLst>
                <a:ext uri="{FF2B5EF4-FFF2-40B4-BE49-F238E27FC236}">
                  <a16:creationId xmlns:a16="http://schemas.microsoft.com/office/drawing/2014/main" id="{8D8D014B-D399-A117-1308-F22AE8976904}"/>
                </a:ext>
              </a:extLst>
            </p:cNvPr>
            <p:cNvGrpSpPr/>
            <p:nvPr/>
          </p:nvGrpSpPr>
          <p:grpSpPr>
            <a:xfrm>
              <a:off x="5195316" y="3549015"/>
              <a:ext cx="75628" cy="75628"/>
              <a:chOff x="5195316" y="3549015"/>
              <a:chExt cx="75628" cy="75628"/>
            </a:xfrm>
          </p:grpSpPr>
          <p:sp>
            <p:nvSpPr>
              <p:cNvPr id="16989" name="Freeform: Shape 16988">
                <a:extLst>
                  <a:ext uri="{FF2B5EF4-FFF2-40B4-BE49-F238E27FC236}">
                    <a16:creationId xmlns:a16="http://schemas.microsoft.com/office/drawing/2014/main" id="{8B30D446-9BA8-38C9-5F56-FC523C1B06A7}"/>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0" name="Freeform: Shape 16989">
                <a:extLst>
                  <a:ext uri="{FF2B5EF4-FFF2-40B4-BE49-F238E27FC236}">
                    <a16:creationId xmlns:a16="http://schemas.microsoft.com/office/drawing/2014/main" id="{69AC7A86-5367-C927-6CE6-D37BAE09AFB5}"/>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1" name="Graphic 112">
              <a:extLst>
                <a:ext uri="{FF2B5EF4-FFF2-40B4-BE49-F238E27FC236}">
                  <a16:creationId xmlns:a16="http://schemas.microsoft.com/office/drawing/2014/main" id="{BC5A550D-6A25-D7BB-3543-ABE580C47FEF}"/>
                </a:ext>
              </a:extLst>
            </p:cNvPr>
            <p:cNvGrpSpPr/>
            <p:nvPr/>
          </p:nvGrpSpPr>
          <p:grpSpPr>
            <a:xfrm>
              <a:off x="5184362" y="3549015"/>
              <a:ext cx="75723" cy="75628"/>
              <a:chOff x="5184362" y="3549015"/>
              <a:chExt cx="75723" cy="75628"/>
            </a:xfrm>
          </p:grpSpPr>
          <p:sp>
            <p:nvSpPr>
              <p:cNvPr id="16987" name="Freeform: Shape 16986">
                <a:extLst>
                  <a:ext uri="{FF2B5EF4-FFF2-40B4-BE49-F238E27FC236}">
                    <a16:creationId xmlns:a16="http://schemas.microsoft.com/office/drawing/2014/main" id="{AAC08347-2EDA-7C9E-1B91-A3C69E205191}"/>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8" name="Freeform: Shape 16987">
                <a:extLst>
                  <a:ext uri="{FF2B5EF4-FFF2-40B4-BE49-F238E27FC236}">
                    <a16:creationId xmlns:a16="http://schemas.microsoft.com/office/drawing/2014/main" id="{520D30C4-BE46-DC64-9428-85D41A54F414}"/>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2" name="Graphic 112">
              <a:extLst>
                <a:ext uri="{FF2B5EF4-FFF2-40B4-BE49-F238E27FC236}">
                  <a16:creationId xmlns:a16="http://schemas.microsoft.com/office/drawing/2014/main" id="{1191D3DE-4EF4-24B9-F816-DD3974145E7B}"/>
                </a:ext>
              </a:extLst>
            </p:cNvPr>
            <p:cNvGrpSpPr/>
            <p:nvPr/>
          </p:nvGrpSpPr>
          <p:grpSpPr>
            <a:xfrm>
              <a:off x="4769643" y="3323272"/>
              <a:ext cx="75723" cy="75628"/>
              <a:chOff x="4769643" y="3323272"/>
              <a:chExt cx="75723" cy="75628"/>
            </a:xfrm>
          </p:grpSpPr>
          <p:sp>
            <p:nvSpPr>
              <p:cNvPr id="16985" name="Freeform: Shape 16984">
                <a:extLst>
                  <a:ext uri="{FF2B5EF4-FFF2-40B4-BE49-F238E27FC236}">
                    <a16:creationId xmlns:a16="http://schemas.microsoft.com/office/drawing/2014/main" id="{A0FEB176-14C6-F319-E86E-8B4FECB308E2}"/>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6" name="Freeform: Shape 16985">
                <a:extLst>
                  <a:ext uri="{FF2B5EF4-FFF2-40B4-BE49-F238E27FC236}">
                    <a16:creationId xmlns:a16="http://schemas.microsoft.com/office/drawing/2014/main" id="{4A243C40-5303-BA5B-1BB0-98ACDE81D0F9}"/>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3" name="Graphic 112">
              <a:extLst>
                <a:ext uri="{FF2B5EF4-FFF2-40B4-BE49-F238E27FC236}">
                  <a16:creationId xmlns:a16="http://schemas.microsoft.com/office/drawing/2014/main" id="{4ABF7EBE-50E9-4E87-4D6B-54CFDB93AF52}"/>
                </a:ext>
              </a:extLst>
            </p:cNvPr>
            <p:cNvGrpSpPr/>
            <p:nvPr/>
          </p:nvGrpSpPr>
          <p:grpSpPr>
            <a:xfrm>
              <a:off x="4755165" y="3323272"/>
              <a:ext cx="75723" cy="75628"/>
              <a:chOff x="4755165" y="3323272"/>
              <a:chExt cx="75723" cy="75628"/>
            </a:xfrm>
          </p:grpSpPr>
          <p:sp>
            <p:nvSpPr>
              <p:cNvPr id="16983" name="Freeform: Shape 16982">
                <a:extLst>
                  <a:ext uri="{FF2B5EF4-FFF2-40B4-BE49-F238E27FC236}">
                    <a16:creationId xmlns:a16="http://schemas.microsoft.com/office/drawing/2014/main" id="{1C9C2AEE-A820-6869-BB81-9D8DA69503B2}"/>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4" name="Freeform: Shape 16983">
                <a:extLst>
                  <a:ext uri="{FF2B5EF4-FFF2-40B4-BE49-F238E27FC236}">
                    <a16:creationId xmlns:a16="http://schemas.microsoft.com/office/drawing/2014/main" id="{97761818-6A76-43AD-971E-5BF83D9AEC3B}"/>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4" name="Graphic 112">
              <a:extLst>
                <a:ext uri="{FF2B5EF4-FFF2-40B4-BE49-F238E27FC236}">
                  <a16:creationId xmlns:a16="http://schemas.microsoft.com/office/drawing/2014/main" id="{BD50A0D1-F51A-1577-4966-FE29F8DB9285}"/>
                </a:ext>
              </a:extLst>
            </p:cNvPr>
            <p:cNvGrpSpPr/>
            <p:nvPr/>
          </p:nvGrpSpPr>
          <p:grpSpPr>
            <a:xfrm>
              <a:off x="4762404" y="3323272"/>
              <a:ext cx="75723" cy="75628"/>
              <a:chOff x="4762404" y="3323272"/>
              <a:chExt cx="75723" cy="75628"/>
            </a:xfrm>
          </p:grpSpPr>
          <p:sp>
            <p:nvSpPr>
              <p:cNvPr id="16981" name="Freeform: Shape 16980">
                <a:extLst>
                  <a:ext uri="{FF2B5EF4-FFF2-40B4-BE49-F238E27FC236}">
                    <a16:creationId xmlns:a16="http://schemas.microsoft.com/office/drawing/2014/main" id="{C93352EE-0199-F0B9-4BC0-6358CBF55978}"/>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2" name="Freeform: Shape 16981">
                <a:extLst>
                  <a:ext uri="{FF2B5EF4-FFF2-40B4-BE49-F238E27FC236}">
                    <a16:creationId xmlns:a16="http://schemas.microsoft.com/office/drawing/2014/main" id="{81540881-A609-9AD8-09AF-83351A1F01F5}"/>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5" name="Graphic 112">
              <a:extLst>
                <a:ext uri="{FF2B5EF4-FFF2-40B4-BE49-F238E27FC236}">
                  <a16:creationId xmlns:a16="http://schemas.microsoft.com/office/drawing/2014/main" id="{D0F710C7-1994-A4BC-7266-891991A9BAFF}"/>
                </a:ext>
              </a:extLst>
            </p:cNvPr>
            <p:cNvGrpSpPr/>
            <p:nvPr/>
          </p:nvGrpSpPr>
          <p:grpSpPr>
            <a:xfrm>
              <a:off x="4724590" y="3199257"/>
              <a:ext cx="75628" cy="75628"/>
              <a:chOff x="4724590" y="3199257"/>
              <a:chExt cx="75628" cy="75628"/>
            </a:xfrm>
          </p:grpSpPr>
          <p:sp>
            <p:nvSpPr>
              <p:cNvPr id="16979" name="Freeform: Shape 16978">
                <a:extLst>
                  <a:ext uri="{FF2B5EF4-FFF2-40B4-BE49-F238E27FC236}">
                    <a16:creationId xmlns:a16="http://schemas.microsoft.com/office/drawing/2014/main" id="{4BEC4B5B-E466-8694-63DC-4D38D9AAC13C}"/>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0" name="Freeform: Shape 16979">
                <a:extLst>
                  <a:ext uri="{FF2B5EF4-FFF2-40B4-BE49-F238E27FC236}">
                    <a16:creationId xmlns:a16="http://schemas.microsoft.com/office/drawing/2014/main" id="{6A046668-78F6-C5D7-5EEB-1140C32BA5F7}"/>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6" name="Graphic 112">
              <a:extLst>
                <a:ext uri="{FF2B5EF4-FFF2-40B4-BE49-F238E27FC236}">
                  <a16:creationId xmlns:a16="http://schemas.microsoft.com/office/drawing/2014/main" id="{D2482FA7-E154-058A-FBF2-1D2F0692FD1C}"/>
                </a:ext>
              </a:extLst>
            </p:cNvPr>
            <p:cNvGrpSpPr/>
            <p:nvPr/>
          </p:nvGrpSpPr>
          <p:grpSpPr>
            <a:xfrm>
              <a:off x="4710112" y="3199257"/>
              <a:ext cx="75628" cy="75628"/>
              <a:chOff x="4710112" y="3199257"/>
              <a:chExt cx="75628" cy="75628"/>
            </a:xfrm>
          </p:grpSpPr>
          <p:sp>
            <p:nvSpPr>
              <p:cNvPr id="16977" name="Freeform: Shape 16976">
                <a:extLst>
                  <a:ext uri="{FF2B5EF4-FFF2-40B4-BE49-F238E27FC236}">
                    <a16:creationId xmlns:a16="http://schemas.microsoft.com/office/drawing/2014/main" id="{520F4C01-5DCB-E853-8E30-91A1DF904356}"/>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8" name="Freeform: Shape 16977">
                <a:extLst>
                  <a:ext uri="{FF2B5EF4-FFF2-40B4-BE49-F238E27FC236}">
                    <a16:creationId xmlns:a16="http://schemas.microsoft.com/office/drawing/2014/main" id="{1D20CCD4-DC11-487B-6AF3-853218C5C45B}"/>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7" name="Graphic 112">
              <a:extLst>
                <a:ext uri="{FF2B5EF4-FFF2-40B4-BE49-F238E27FC236}">
                  <a16:creationId xmlns:a16="http://schemas.microsoft.com/office/drawing/2014/main" id="{98A82872-69FA-2C6F-1F69-8DCC6FB127CE}"/>
                </a:ext>
              </a:extLst>
            </p:cNvPr>
            <p:cNvGrpSpPr/>
            <p:nvPr/>
          </p:nvGrpSpPr>
          <p:grpSpPr>
            <a:xfrm>
              <a:off x="4717351" y="3199257"/>
              <a:ext cx="75628" cy="75628"/>
              <a:chOff x="4717351" y="3199257"/>
              <a:chExt cx="75628" cy="75628"/>
            </a:xfrm>
          </p:grpSpPr>
          <p:sp>
            <p:nvSpPr>
              <p:cNvPr id="16975" name="Freeform: Shape 16974">
                <a:extLst>
                  <a:ext uri="{FF2B5EF4-FFF2-40B4-BE49-F238E27FC236}">
                    <a16:creationId xmlns:a16="http://schemas.microsoft.com/office/drawing/2014/main" id="{4D847650-6AAE-8AE2-B209-AE3651B494D5}"/>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6" name="Freeform: Shape 16975">
                <a:extLst>
                  <a:ext uri="{FF2B5EF4-FFF2-40B4-BE49-F238E27FC236}">
                    <a16:creationId xmlns:a16="http://schemas.microsoft.com/office/drawing/2014/main" id="{486B1071-4FD1-908D-AF5E-FE823D6CA8B2}"/>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8" name="Graphic 112">
              <a:extLst>
                <a:ext uri="{FF2B5EF4-FFF2-40B4-BE49-F238E27FC236}">
                  <a16:creationId xmlns:a16="http://schemas.microsoft.com/office/drawing/2014/main" id="{C761CFD9-9BD8-CE30-2D8D-2F95CB091C72}"/>
                </a:ext>
              </a:extLst>
            </p:cNvPr>
            <p:cNvGrpSpPr/>
            <p:nvPr/>
          </p:nvGrpSpPr>
          <p:grpSpPr>
            <a:xfrm>
              <a:off x="4731829" y="3199257"/>
              <a:ext cx="75628" cy="75628"/>
              <a:chOff x="4731829" y="3199257"/>
              <a:chExt cx="75628" cy="75628"/>
            </a:xfrm>
          </p:grpSpPr>
          <p:sp>
            <p:nvSpPr>
              <p:cNvPr id="16973" name="Freeform: Shape 16972">
                <a:extLst>
                  <a:ext uri="{FF2B5EF4-FFF2-40B4-BE49-F238E27FC236}">
                    <a16:creationId xmlns:a16="http://schemas.microsoft.com/office/drawing/2014/main" id="{D269980B-8E1B-11D5-BF2D-D75A324E458D}"/>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4" name="Freeform: Shape 16973">
                <a:extLst>
                  <a:ext uri="{FF2B5EF4-FFF2-40B4-BE49-F238E27FC236}">
                    <a16:creationId xmlns:a16="http://schemas.microsoft.com/office/drawing/2014/main" id="{DA700839-6A56-6199-B5D4-37BC17A0A790}"/>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9" name="Graphic 112">
              <a:extLst>
                <a:ext uri="{FF2B5EF4-FFF2-40B4-BE49-F238E27FC236}">
                  <a16:creationId xmlns:a16="http://schemas.microsoft.com/office/drawing/2014/main" id="{D6CAE67E-46C3-EBF9-F14D-A33A70234759}"/>
                </a:ext>
              </a:extLst>
            </p:cNvPr>
            <p:cNvGrpSpPr/>
            <p:nvPr/>
          </p:nvGrpSpPr>
          <p:grpSpPr>
            <a:xfrm>
              <a:off x="4751546" y="3244024"/>
              <a:ext cx="75723" cy="75628"/>
              <a:chOff x="4751546" y="3244024"/>
              <a:chExt cx="75723" cy="75628"/>
            </a:xfrm>
          </p:grpSpPr>
          <p:sp>
            <p:nvSpPr>
              <p:cNvPr id="16971" name="Freeform: Shape 16970">
                <a:extLst>
                  <a:ext uri="{FF2B5EF4-FFF2-40B4-BE49-F238E27FC236}">
                    <a16:creationId xmlns:a16="http://schemas.microsoft.com/office/drawing/2014/main" id="{52D192B4-7EBD-AEDC-BB09-D6C6A59BF2AF}"/>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2" name="Freeform: Shape 16971">
                <a:extLst>
                  <a:ext uri="{FF2B5EF4-FFF2-40B4-BE49-F238E27FC236}">
                    <a16:creationId xmlns:a16="http://schemas.microsoft.com/office/drawing/2014/main" id="{B530D899-2802-A56C-98B8-7248908020F3}"/>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0" name="Graphic 112">
              <a:extLst>
                <a:ext uri="{FF2B5EF4-FFF2-40B4-BE49-F238E27FC236}">
                  <a16:creationId xmlns:a16="http://schemas.microsoft.com/office/drawing/2014/main" id="{D634D7EA-42A2-5362-D8F7-7B5D3F436FFB}"/>
                </a:ext>
              </a:extLst>
            </p:cNvPr>
            <p:cNvGrpSpPr/>
            <p:nvPr/>
          </p:nvGrpSpPr>
          <p:grpSpPr>
            <a:xfrm>
              <a:off x="4737068" y="3244024"/>
              <a:ext cx="75723" cy="75628"/>
              <a:chOff x="4737068" y="3244024"/>
              <a:chExt cx="75723" cy="75628"/>
            </a:xfrm>
          </p:grpSpPr>
          <p:sp>
            <p:nvSpPr>
              <p:cNvPr id="16969" name="Freeform: Shape 16968">
                <a:extLst>
                  <a:ext uri="{FF2B5EF4-FFF2-40B4-BE49-F238E27FC236}">
                    <a16:creationId xmlns:a16="http://schemas.microsoft.com/office/drawing/2014/main" id="{E8A138DB-3369-53D1-0DBD-CF4198980257}"/>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0" name="Freeform: Shape 16969">
                <a:extLst>
                  <a:ext uri="{FF2B5EF4-FFF2-40B4-BE49-F238E27FC236}">
                    <a16:creationId xmlns:a16="http://schemas.microsoft.com/office/drawing/2014/main" id="{602C7593-2C39-A8CA-35FE-33BF6365FB95}"/>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1" name="Graphic 112">
              <a:extLst>
                <a:ext uri="{FF2B5EF4-FFF2-40B4-BE49-F238E27FC236}">
                  <a16:creationId xmlns:a16="http://schemas.microsoft.com/office/drawing/2014/main" id="{92B693C7-A9DF-A3BE-5995-4537FEF7CE46}"/>
                </a:ext>
              </a:extLst>
            </p:cNvPr>
            <p:cNvGrpSpPr/>
            <p:nvPr/>
          </p:nvGrpSpPr>
          <p:grpSpPr>
            <a:xfrm>
              <a:off x="4744307" y="3244024"/>
              <a:ext cx="75723" cy="75628"/>
              <a:chOff x="4744307" y="3244024"/>
              <a:chExt cx="75723" cy="75628"/>
            </a:xfrm>
          </p:grpSpPr>
          <p:sp>
            <p:nvSpPr>
              <p:cNvPr id="16967" name="Freeform: Shape 16966">
                <a:extLst>
                  <a:ext uri="{FF2B5EF4-FFF2-40B4-BE49-F238E27FC236}">
                    <a16:creationId xmlns:a16="http://schemas.microsoft.com/office/drawing/2014/main" id="{DFCA0B1D-5A03-9345-8041-10AB2B39646C}"/>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8" name="Freeform: Shape 16967">
                <a:extLst>
                  <a:ext uri="{FF2B5EF4-FFF2-40B4-BE49-F238E27FC236}">
                    <a16:creationId xmlns:a16="http://schemas.microsoft.com/office/drawing/2014/main" id="{DB9A8C81-3E59-2BC6-0DA4-9A22995CA0E3}"/>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2" name="Graphic 112">
              <a:extLst>
                <a:ext uri="{FF2B5EF4-FFF2-40B4-BE49-F238E27FC236}">
                  <a16:creationId xmlns:a16="http://schemas.microsoft.com/office/drawing/2014/main" id="{67BEBDB1-19E0-9D12-A302-BA7D2350819A}"/>
                </a:ext>
              </a:extLst>
            </p:cNvPr>
            <p:cNvGrpSpPr/>
            <p:nvPr/>
          </p:nvGrpSpPr>
          <p:grpSpPr>
            <a:xfrm>
              <a:off x="4758785" y="3244024"/>
              <a:ext cx="75723" cy="75628"/>
              <a:chOff x="4758785" y="3244024"/>
              <a:chExt cx="75723" cy="75628"/>
            </a:xfrm>
          </p:grpSpPr>
          <p:sp>
            <p:nvSpPr>
              <p:cNvPr id="16965" name="Freeform: Shape 16964">
                <a:extLst>
                  <a:ext uri="{FF2B5EF4-FFF2-40B4-BE49-F238E27FC236}">
                    <a16:creationId xmlns:a16="http://schemas.microsoft.com/office/drawing/2014/main" id="{A012478A-F3B4-6E71-E970-C5763F785BCA}"/>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6" name="Freeform: Shape 16965">
                <a:extLst>
                  <a:ext uri="{FF2B5EF4-FFF2-40B4-BE49-F238E27FC236}">
                    <a16:creationId xmlns:a16="http://schemas.microsoft.com/office/drawing/2014/main" id="{D4654D3A-B199-EF7A-C070-56F7DD286F8F}"/>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3" name="Graphic 112">
              <a:extLst>
                <a:ext uri="{FF2B5EF4-FFF2-40B4-BE49-F238E27FC236}">
                  <a16:creationId xmlns:a16="http://schemas.microsoft.com/office/drawing/2014/main" id="{BB9A44FC-8049-80E9-55BC-B3EDDFEF2E6E}"/>
                </a:ext>
              </a:extLst>
            </p:cNvPr>
            <p:cNvGrpSpPr/>
            <p:nvPr/>
          </p:nvGrpSpPr>
          <p:grpSpPr>
            <a:xfrm>
              <a:off x="4747926" y="3261264"/>
              <a:ext cx="75723" cy="75628"/>
              <a:chOff x="4747926" y="3261264"/>
              <a:chExt cx="75723" cy="75628"/>
            </a:xfrm>
          </p:grpSpPr>
          <p:sp>
            <p:nvSpPr>
              <p:cNvPr id="16963" name="Freeform: Shape 16962">
                <a:extLst>
                  <a:ext uri="{FF2B5EF4-FFF2-40B4-BE49-F238E27FC236}">
                    <a16:creationId xmlns:a16="http://schemas.microsoft.com/office/drawing/2014/main" id="{A02C09AC-C722-18B7-B61E-D6FBF13EA50B}"/>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4" name="Freeform: Shape 16963">
                <a:extLst>
                  <a:ext uri="{FF2B5EF4-FFF2-40B4-BE49-F238E27FC236}">
                    <a16:creationId xmlns:a16="http://schemas.microsoft.com/office/drawing/2014/main" id="{8964AEDD-8D1C-6341-7D5F-C8294D06CA61}"/>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4" name="Graphic 112">
              <a:extLst>
                <a:ext uri="{FF2B5EF4-FFF2-40B4-BE49-F238E27FC236}">
                  <a16:creationId xmlns:a16="http://schemas.microsoft.com/office/drawing/2014/main" id="{FCD00A53-F6FF-E13F-0F78-71E50DC374EB}"/>
                </a:ext>
              </a:extLst>
            </p:cNvPr>
            <p:cNvGrpSpPr/>
            <p:nvPr/>
          </p:nvGrpSpPr>
          <p:grpSpPr>
            <a:xfrm>
              <a:off x="4755165" y="3261264"/>
              <a:ext cx="75723" cy="75628"/>
              <a:chOff x="4755165" y="3261264"/>
              <a:chExt cx="75723" cy="75628"/>
            </a:xfrm>
          </p:grpSpPr>
          <p:sp>
            <p:nvSpPr>
              <p:cNvPr id="16961" name="Freeform: Shape 16960">
                <a:extLst>
                  <a:ext uri="{FF2B5EF4-FFF2-40B4-BE49-F238E27FC236}">
                    <a16:creationId xmlns:a16="http://schemas.microsoft.com/office/drawing/2014/main" id="{E4F9E182-0223-50D5-E993-1449DDA2F3A5}"/>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2" name="Freeform: Shape 16961">
                <a:extLst>
                  <a:ext uri="{FF2B5EF4-FFF2-40B4-BE49-F238E27FC236}">
                    <a16:creationId xmlns:a16="http://schemas.microsoft.com/office/drawing/2014/main" id="{E8889B42-F68F-155D-4E63-15A6933E4EE3}"/>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5" name="Graphic 112">
              <a:extLst>
                <a:ext uri="{FF2B5EF4-FFF2-40B4-BE49-F238E27FC236}">
                  <a16:creationId xmlns:a16="http://schemas.microsoft.com/office/drawing/2014/main" id="{30905849-DCCF-C338-EB40-E41E3A3D21E4}"/>
                </a:ext>
              </a:extLst>
            </p:cNvPr>
            <p:cNvGrpSpPr/>
            <p:nvPr/>
          </p:nvGrpSpPr>
          <p:grpSpPr>
            <a:xfrm>
              <a:off x="4436078" y="3075527"/>
              <a:ext cx="75723" cy="75628"/>
              <a:chOff x="4436078" y="3075527"/>
              <a:chExt cx="75723" cy="75628"/>
            </a:xfrm>
          </p:grpSpPr>
          <p:sp>
            <p:nvSpPr>
              <p:cNvPr id="16959" name="Freeform: Shape 16958">
                <a:extLst>
                  <a:ext uri="{FF2B5EF4-FFF2-40B4-BE49-F238E27FC236}">
                    <a16:creationId xmlns:a16="http://schemas.microsoft.com/office/drawing/2014/main" id="{6066EEC7-313A-2727-D169-22483706E4C0}"/>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0" name="Freeform: Shape 16959">
                <a:extLst>
                  <a:ext uri="{FF2B5EF4-FFF2-40B4-BE49-F238E27FC236}">
                    <a16:creationId xmlns:a16="http://schemas.microsoft.com/office/drawing/2014/main" id="{07B674C0-0447-C3FF-621E-159B7A461549}"/>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6" name="Graphic 112">
              <a:extLst>
                <a:ext uri="{FF2B5EF4-FFF2-40B4-BE49-F238E27FC236}">
                  <a16:creationId xmlns:a16="http://schemas.microsoft.com/office/drawing/2014/main" id="{FEFC4148-5795-1196-BC92-16B3F8953214}"/>
                </a:ext>
              </a:extLst>
            </p:cNvPr>
            <p:cNvGrpSpPr/>
            <p:nvPr/>
          </p:nvGrpSpPr>
          <p:grpSpPr>
            <a:xfrm>
              <a:off x="4372927" y="3062954"/>
              <a:ext cx="75628" cy="75628"/>
              <a:chOff x="4372927" y="3062954"/>
              <a:chExt cx="75628" cy="75628"/>
            </a:xfrm>
          </p:grpSpPr>
          <p:sp>
            <p:nvSpPr>
              <p:cNvPr id="16957" name="Freeform: Shape 16956">
                <a:extLst>
                  <a:ext uri="{FF2B5EF4-FFF2-40B4-BE49-F238E27FC236}">
                    <a16:creationId xmlns:a16="http://schemas.microsoft.com/office/drawing/2014/main" id="{1FE9DF93-E69D-46E9-4E8D-44B6E82987B0}"/>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8" name="Freeform: Shape 16957">
                <a:extLst>
                  <a:ext uri="{FF2B5EF4-FFF2-40B4-BE49-F238E27FC236}">
                    <a16:creationId xmlns:a16="http://schemas.microsoft.com/office/drawing/2014/main" id="{C74A9414-B72B-F447-6052-26C6A9D425D1}"/>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7" name="Graphic 112">
              <a:extLst>
                <a:ext uri="{FF2B5EF4-FFF2-40B4-BE49-F238E27FC236}">
                  <a16:creationId xmlns:a16="http://schemas.microsoft.com/office/drawing/2014/main" id="{FED8A543-96CE-8A27-826B-11354CB238E8}"/>
                </a:ext>
              </a:extLst>
            </p:cNvPr>
            <p:cNvGrpSpPr/>
            <p:nvPr/>
          </p:nvGrpSpPr>
          <p:grpSpPr>
            <a:xfrm>
              <a:off x="4337589" y="3037617"/>
              <a:ext cx="75723" cy="75723"/>
              <a:chOff x="4337589" y="3037617"/>
              <a:chExt cx="75723" cy="75723"/>
            </a:xfrm>
          </p:grpSpPr>
          <p:sp>
            <p:nvSpPr>
              <p:cNvPr id="16955" name="Freeform: Shape 16954">
                <a:extLst>
                  <a:ext uri="{FF2B5EF4-FFF2-40B4-BE49-F238E27FC236}">
                    <a16:creationId xmlns:a16="http://schemas.microsoft.com/office/drawing/2014/main" id="{268F975E-4CAF-4A9E-EAB7-D313E788EFA7}"/>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6" name="Freeform: Shape 16955">
                <a:extLst>
                  <a:ext uri="{FF2B5EF4-FFF2-40B4-BE49-F238E27FC236}">
                    <a16:creationId xmlns:a16="http://schemas.microsoft.com/office/drawing/2014/main" id="{9D377347-E939-CB6D-2988-82C1D8C72D58}"/>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8" name="Graphic 112">
              <a:extLst>
                <a:ext uri="{FF2B5EF4-FFF2-40B4-BE49-F238E27FC236}">
                  <a16:creationId xmlns:a16="http://schemas.microsoft.com/office/drawing/2014/main" id="{ACE65486-0A4F-B731-BCC1-C7997901D03E}"/>
                </a:ext>
              </a:extLst>
            </p:cNvPr>
            <p:cNvGrpSpPr/>
            <p:nvPr/>
          </p:nvGrpSpPr>
          <p:grpSpPr>
            <a:xfrm>
              <a:off x="4343876" y="3037617"/>
              <a:ext cx="75723" cy="75723"/>
              <a:chOff x="4343876" y="3037617"/>
              <a:chExt cx="75723" cy="75723"/>
            </a:xfrm>
          </p:grpSpPr>
          <p:sp>
            <p:nvSpPr>
              <p:cNvPr id="16953" name="Freeform: Shape 16952">
                <a:extLst>
                  <a:ext uri="{FF2B5EF4-FFF2-40B4-BE49-F238E27FC236}">
                    <a16:creationId xmlns:a16="http://schemas.microsoft.com/office/drawing/2014/main" id="{A31E6974-041B-2980-F07E-185E02337AC8}"/>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4" name="Freeform: Shape 16953">
                <a:extLst>
                  <a:ext uri="{FF2B5EF4-FFF2-40B4-BE49-F238E27FC236}">
                    <a16:creationId xmlns:a16="http://schemas.microsoft.com/office/drawing/2014/main" id="{890F28DD-E691-3C63-1419-062F01E462EF}"/>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9" name="Graphic 112">
              <a:extLst>
                <a:ext uri="{FF2B5EF4-FFF2-40B4-BE49-F238E27FC236}">
                  <a16:creationId xmlns:a16="http://schemas.microsoft.com/office/drawing/2014/main" id="{DD0A32D3-A977-F0E5-EA3E-46403B87DA88}"/>
                </a:ext>
              </a:extLst>
            </p:cNvPr>
            <p:cNvGrpSpPr/>
            <p:nvPr/>
          </p:nvGrpSpPr>
          <p:grpSpPr>
            <a:xfrm>
              <a:off x="4350162" y="3037617"/>
              <a:ext cx="75723" cy="75723"/>
              <a:chOff x="4350162" y="3037617"/>
              <a:chExt cx="75723" cy="75723"/>
            </a:xfrm>
          </p:grpSpPr>
          <p:sp>
            <p:nvSpPr>
              <p:cNvPr id="16951" name="Freeform: Shape 16950">
                <a:extLst>
                  <a:ext uri="{FF2B5EF4-FFF2-40B4-BE49-F238E27FC236}">
                    <a16:creationId xmlns:a16="http://schemas.microsoft.com/office/drawing/2014/main" id="{69897F17-48FC-3574-D3B2-560284731CB8}"/>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2" name="Freeform: Shape 16951">
                <a:extLst>
                  <a:ext uri="{FF2B5EF4-FFF2-40B4-BE49-F238E27FC236}">
                    <a16:creationId xmlns:a16="http://schemas.microsoft.com/office/drawing/2014/main" id="{D249EACB-0643-E68B-7B4B-38CD9396BDC1}"/>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0" name="Graphic 112">
              <a:extLst>
                <a:ext uri="{FF2B5EF4-FFF2-40B4-BE49-F238E27FC236}">
                  <a16:creationId xmlns:a16="http://schemas.microsoft.com/office/drawing/2014/main" id="{5DFA0A70-C6F4-99E9-BA2F-19365C29BF43}"/>
                </a:ext>
              </a:extLst>
            </p:cNvPr>
            <p:cNvGrpSpPr/>
            <p:nvPr/>
          </p:nvGrpSpPr>
          <p:grpSpPr>
            <a:xfrm>
              <a:off x="4329112" y="2975895"/>
              <a:ext cx="75723" cy="75628"/>
              <a:chOff x="4329112" y="2975895"/>
              <a:chExt cx="75723" cy="75628"/>
            </a:xfrm>
          </p:grpSpPr>
          <p:sp>
            <p:nvSpPr>
              <p:cNvPr id="16949" name="Freeform: Shape 16948">
                <a:extLst>
                  <a:ext uri="{FF2B5EF4-FFF2-40B4-BE49-F238E27FC236}">
                    <a16:creationId xmlns:a16="http://schemas.microsoft.com/office/drawing/2014/main" id="{6C983683-51A2-C559-0833-CEFEA1DB9AD4}"/>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0" name="Freeform: Shape 16949">
                <a:extLst>
                  <a:ext uri="{FF2B5EF4-FFF2-40B4-BE49-F238E27FC236}">
                    <a16:creationId xmlns:a16="http://schemas.microsoft.com/office/drawing/2014/main" id="{ADCE7BD8-54A6-4CB9-9D6A-E29CC854E5B3}"/>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1" name="Graphic 112">
              <a:extLst>
                <a:ext uri="{FF2B5EF4-FFF2-40B4-BE49-F238E27FC236}">
                  <a16:creationId xmlns:a16="http://schemas.microsoft.com/office/drawing/2014/main" id="{B1D51778-B13B-FF98-635E-E12C7D05028B}"/>
                </a:ext>
              </a:extLst>
            </p:cNvPr>
            <p:cNvGrpSpPr/>
            <p:nvPr/>
          </p:nvGrpSpPr>
          <p:grpSpPr>
            <a:xfrm>
              <a:off x="4283487" y="2903696"/>
              <a:ext cx="75723" cy="75723"/>
              <a:chOff x="4283487" y="2903696"/>
              <a:chExt cx="75723" cy="75723"/>
            </a:xfrm>
          </p:grpSpPr>
          <p:sp>
            <p:nvSpPr>
              <p:cNvPr id="16947" name="Freeform: Shape 16946">
                <a:extLst>
                  <a:ext uri="{FF2B5EF4-FFF2-40B4-BE49-F238E27FC236}">
                    <a16:creationId xmlns:a16="http://schemas.microsoft.com/office/drawing/2014/main" id="{99406E2F-B1E3-1B31-6F84-BC4C4FE3013A}"/>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8" name="Freeform: Shape 16947">
                <a:extLst>
                  <a:ext uri="{FF2B5EF4-FFF2-40B4-BE49-F238E27FC236}">
                    <a16:creationId xmlns:a16="http://schemas.microsoft.com/office/drawing/2014/main" id="{9D252610-0F26-1E2B-B59B-B7CD75097D6D}"/>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2" name="Graphic 112">
              <a:extLst>
                <a:ext uri="{FF2B5EF4-FFF2-40B4-BE49-F238E27FC236}">
                  <a16:creationId xmlns:a16="http://schemas.microsoft.com/office/drawing/2014/main" id="{89BE4721-F4C5-3335-2FE5-26686F6D3A0C}"/>
                </a:ext>
              </a:extLst>
            </p:cNvPr>
            <p:cNvGrpSpPr/>
            <p:nvPr/>
          </p:nvGrpSpPr>
          <p:grpSpPr>
            <a:xfrm>
              <a:off x="4288345" y="2903696"/>
              <a:ext cx="75723" cy="75723"/>
              <a:chOff x="4288345" y="2903696"/>
              <a:chExt cx="75723" cy="75723"/>
            </a:xfrm>
          </p:grpSpPr>
          <p:sp>
            <p:nvSpPr>
              <p:cNvPr id="16945" name="Freeform: Shape 16944">
                <a:extLst>
                  <a:ext uri="{FF2B5EF4-FFF2-40B4-BE49-F238E27FC236}">
                    <a16:creationId xmlns:a16="http://schemas.microsoft.com/office/drawing/2014/main" id="{62818153-C4AF-8057-0C5E-CF0F12D4287F}"/>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6" name="Freeform: Shape 16945">
                <a:extLst>
                  <a:ext uri="{FF2B5EF4-FFF2-40B4-BE49-F238E27FC236}">
                    <a16:creationId xmlns:a16="http://schemas.microsoft.com/office/drawing/2014/main" id="{50CC6986-BCEF-1D8A-ADE6-1D98FBA7E2E3}"/>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3" name="Graphic 112">
              <a:extLst>
                <a:ext uri="{FF2B5EF4-FFF2-40B4-BE49-F238E27FC236}">
                  <a16:creationId xmlns:a16="http://schemas.microsoft.com/office/drawing/2014/main" id="{71C73EC8-C075-E51C-A1AA-60A97F109FCE}"/>
                </a:ext>
              </a:extLst>
            </p:cNvPr>
            <p:cNvGrpSpPr/>
            <p:nvPr/>
          </p:nvGrpSpPr>
          <p:grpSpPr>
            <a:xfrm>
              <a:off x="4297394" y="2949892"/>
              <a:ext cx="75628" cy="75723"/>
              <a:chOff x="4297394" y="2949892"/>
              <a:chExt cx="75628" cy="75723"/>
            </a:xfrm>
          </p:grpSpPr>
          <p:sp>
            <p:nvSpPr>
              <p:cNvPr id="16943" name="Freeform: Shape 16942">
                <a:extLst>
                  <a:ext uri="{FF2B5EF4-FFF2-40B4-BE49-F238E27FC236}">
                    <a16:creationId xmlns:a16="http://schemas.microsoft.com/office/drawing/2014/main" id="{DE5E4D20-BC53-8E69-C525-96467E71DFDD}"/>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4" name="Freeform: Shape 16943">
                <a:extLst>
                  <a:ext uri="{FF2B5EF4-FFF2-40B4-BE49-F238E27FC236}">
                    <a16:creationId xmlns:a16="http://schemas.microsoft.com/office/drawing/2014/main" id="{4748996C-9DF3-FA68-134C-FE864599BD26}"/>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4" name="Graphic 112">
              <a:extLst>
                <a:ext uri="{FF2B5EF4-FFF2-40B4-BE49-F238E27FC236}">
                  <a16:creationId xmlns:a16="http://schemas.microsoft.com/office/drawing/2014/main" id="{8A85B9D3-F4C8-A8C3-80E2-EB510ED4BF06}"/>
                </a:ext>
              </a:extLst>
            </p:cNvPr>
            <p:cNvGrpSpPr/>
            <p:nvPr/>
          </p:nvGrpSpPr>
          <p:grpSpPr>
            <a:xfrm>
              <a:off x="4304823" y="2949892"/>
              <a:ext cx="75723" cy="75723"/>
              <a:chOff x="4304823" y="2949892"/>
              <a:chExt cx="75723" cy="75723"/>
            </a:xfrm>
          </p:grpSpPr>
          <p:sp>
            <p:nvSpPr>
              <p:cNvPr id="16941" name="Freeform: Shape 16940">
                <a:extLst>
                  <a:ext uri="{FF2B5EF4-FFF2-40B4-BE49-F238E27FC236}">
                    <a16:creationId xmlns:a16="http://schemas.microsoft.com/office/drawing/2014/main" id="{658A5FDA-4A46-8D80-5E9E-07DB92898D04}"/>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2" name="Freeform: Shape 16941">
                <a:extLst>
                  <a:ext uri="{FF2B5EF4-FFF2-40B4-BE49-F238E27FC236}">
                    <a16:creationId xmlns:a16="http://schemas.microsoft.com/office/drawing/2014/main" id="{6218CDCE-60F1-9664-E467-611A67566548}"/>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5" name="Graphic 112">
              <a:extLst>
                <a:ext uri="{FF2B5EF4-FFF2-40B4-BE49-F238E27FC236}">
                  <a16:creationId xmlns:a16="http://schemas.microsoft.com/office/drawing/2014/main" id="{3B0A2BBF-1579-D2DF-2881-60893845B515}"/>
                </a:ext>
              </a:extLst>
            </p:cNvPr>
            <p:cNvGrpSpPr/>
            <p:nvPr/>
          </p:nvGrpSpPr>
          <p:grpSpPr>
            <a:xfrm>
              <a:off x="4312348" y="2949892"/>
              <a:ext cx="75723" cy="75723"/>
              <a:chOff x="4312348" y="2949892"/>
              <a:chExt cx="75723" cy="75723"/>
            </a:xfrm>
          </p:grpSpPr>
          <p:sp>
            <p:nvSpPr>
              <p:cNvPr id="16939" name="Freeform: Shape 16938">
                <a:extLst>
                  <a:ext uri="{FF2B5EF4-FFF2-40B4-BE49-F238E27FC236}">
                    <a16:creationId xmlns:a16="http://schemas.microsoft.com/office/drawing/2014/main" id="{CA642BE4-15F1-F231-CA0C-B8EDF7203763}"/>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0" name="Freeform: Shape 16939">
                <a:extLst>
                  <a:ext uri="{FF2B5EF4-FFF2-40B4-BE49-F238E27FC236}">
                    <a16:creationId xmlns:a16="http://schemas.microsoft.com/office/drawing/2014/main" id="{AB95B894-7D0C-64FA-5197-9BB211F9AD83}"/>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6" name="Graphic 112">
              <a:extLst>
                <a:ext uri="{FF2B5EF4-FFF2-40B4-BE49-F238E27FC236}">
                  <a16:creationId xmlns:a16="http://schemas.microsoft.com/office/drawing/2014/main" id="{24503BDD-E6CC-1B86-E344-F8587BCA1D01}"/>
                </a:ext>
              </a:extLst>
            </p:cNvPr>
            <p:cNvGrpSpPr/>
            <p:nvPr/>
          </p:nvGrpSpPr>
          <p:grpSpPr>
            <a:xfrm>
              <a:off x="3888962" y="2740056"/>
              <a:ext cx="75628" cy="75723"/>
              <a:chOff x="3888962" y="2740056"/>
              <a:chExt cx="75628" cy="75723"/>
            </a:xfrm>
          </p:grpSpPr>
          <p:sp>
            <p:nvSpPr>
              <p:cNvPr id="16937" name="Freeform: Shape 16936">
                <a:extLst>
                  <a:ext uri="{FF2B5EF4-FFF2-40B4-BE49-F238E27FC236}">
                    <a16:creationId xmlns:a16="http://schemas.microsoft.com/office/drawing/2014/main" id="{80B1423D-D30D-DC6C-64FE-8D0E553A54E6}"/>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38" name="Freeform: Shape 16937">
                <a:extLst>
                  <a:ext uri="{FF2B5EF4-FFF2-40B4-BE49-F238E27FC236}">
                    <a16:creationId xmlns:a16="http://schemas.microsoft.com/office/drawing/2014/main" id="{FEDA80CD-7151-1277-FF0D-C990309B2133}"/>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3144" name="Group 13143">
            <a:extLst>
              <a:ext uri="{FF2B5EF4-FFF2-40B4-BE49-F238E27FC236}">
                <a16:creationId xmlns:a16="http://schemas.microsoft.com/office/drawing/2014/main" id="{0743B3F9-3B8A-AA67-EE49-2FFE28307F0A}"/>
              </a:ext>
            </a:extLst>
          </p:cNvPr>
          <p:cNvGrpSpPr/>
          <p:nvPr/>
        </p:nvGrpSpPr>
        <p:grpSpPr>
          <a:xfrm>
            <a:off x="677822" y="1468806"/>
            <a:ext cx="6832931" cy="2404800"/>
            <a:chOff x="3500437" y="2409824"/>
            <a:chExt cx="5186648" cy="2042255"/>
          </a:xfrm>
        </p:grpSpPr>
        <p:grpSp>
          <p:nvGrpSpPr>
            <p:cNvPr id="13145" name="Graphic 790">
              <a:extLst>
                <a:ext uri="{FF2B5EF4-FFF2-40B4-BE49-F238E27FC236}">
                  <a16:creationId xmlns:a16="http://schemas.microsoft.com/office/drawing/2014/main" id="{6D708F54-CD27-9043-AB5A-3B9FE1C21CF6}"/>
                </a:ext>
              </a:extLst>
            </p:cNvPr>
            <p:cNvGrpSpPr/>
            <p:nvPr/>
          </p:nvGrpSpPr>
          <p:grpSpPr>
            <a:xfrm>
              <a:off x="3865530" y="2479547"/>
              <a:ext cx="4821555" cy="1972532"/>
              <a:chOff x="3865530" y="2479547"/>
              <a:chExt cx="4821555" cy="1972532"/>
            </a:xfrm>
          </p:grpSpPr>
          <p:grpSp>
            <p:nvGrpSpPr>
              <p:cNvPr id="13147" name="Graphic 790">
                <a:extLst>
                  <a:ext uri="{FF2B5EF4-FFF2-40B4-BE49-F238E27FC236}">
                    <a16:creationId xmlns:a16="http://schemas.microsoft.com/office/drawing/2014/main" id="{293286CF-0B39-1770-7975-0EC7E08E2C04}"/>
                  </a:ext>
                </a:extLst>
              </p:cNvPr>
              <p:cNvGrpSpPr/>
              <p:nvPr/>
            </p:nvGrpSpPr>
            <p:grpSpPr>
              <a:xfrm>
                <a:off x="8601169" y="4376356"/>
                <a:ext cx="75723" cy="75723"/>
                <a:chOff x="8601169" y="4376356"/>
                <a:chExt cx="75723" cy="75723"/>
              </a:xfrm>
            </p:grpSpPr>
            <p:sp>
              <p:nvSpPr>
                <p:cNvPr id="18544" name="Freeform: Shape 18543">
                  <a:extLst>
                    <a:ext uri="{FF2B5EF4-FFF2-40B4-BE49-F238E27FC236}">
                      <a16:creationId xmlns:a16="http://schemas.microsoft.com/office/drawing/2014/main" id="{D8D64869-4CD7-8C4E-4FFF-BE2D10FAD2AA}"/>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5" name="Freeform: Shape 18544">
                  <a:extLst>
                    <a:ext uri="{FF2B5EF4-FFF2-40B4-BE49-F238E27FC236}">
                      <a16:creationId xmlns:a16="http://schemas.microsoft.com/office/drawing/2014/main" id="{36A946B7-6B6F-BC3B-E81C-2FF24B5FA448}"/>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48" name="Graphic 790">
                <a:extLst>
                  <a:ext uri="{FF2B5EF4-FFF2-40B4-BE49-F238E27FC236}">
                    <a16:creationId xmlns:a16="http://schemas.microsoft.com/office/drawing/2014/main" id="{6454FBB1-E8B6-279F-9E78-F01BD5E9E4F9}"/>
                  </a:ext>
                </a:extLst>
              </p:cNvPr>
              <p:cNvGrpSpPr/>
              <p:nvPr/>
            </p:nvGrpSpPr>
            <p:grpSpPr>
              <a:xfrm>
                <a:off x="8611456" y="4376356"/>
                <a:ext cx="75628" cy="75723"/>
                <a:chOff x="8611456" y="4376356"/>
                <a:chExt cx="75628" cy="75723"/>
              </a:xfrm>
            </p:grpSpPr>
            <p:sp>
              <p:nvSpPr>
                <p:cNvPr id="18542" name="Freeform: Shape 18541">
                  <a:extLst>
                    <a:ext uri="{FF2B5EF4-FFF2-40B4-BE49-F238E27FC236}">
                      <a16:creationId xmlns:a16="http://schemas.microsoft.com/office/drawing/2014/main" id="{0E19BD57-F146-8214-DFB4-F855719880A5}"/>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3" name="Freeform: Shape 18542">
                  <a:extLst>
                    <a:ext uri="{FF2B5EF4-FFF2-40B4-BE49-F238E27FC236}">
                      <a16:creationId xmlns:a16="http://schemas.microsoft.com/office/drawing/2014/main" id="{FAF55997-CA13-006B-0F05-2C3245DE8C05}"/>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49" name="Graphic 790">
                <a:extLst>
                  <a:ext uri="{FF2B5EF4-FFF2-40B4-BE49-F238E27FC236}">
                    <a16:creationId xmlns:a16="http://schemas.microsoft.com/office/drawing/2014/main" id="{62BF1173-BD7A-1730-72F2-0E706D763781}"/>
                  </a:ext>
                </a:extLst>
              </p:cNvPr>
              <p:cNvGrpSpPr/>
              <p:nvPr/>
            </p:nvGrpSpPr>
            <p:grpSpPr>
              <a:xfrm>
                <a:off x="8583453" y="4106989"/>
                <a:ext cx="75723" cy="75723"/>
                <a:chOff x="8583453" y="4106989"/>
                <a:chExt cx="75723" cy="75723"/>
              </a:xfrm>
            </p:grpSpPr>
            <p:sp>
              <p:nvSpPr>
                <p:cNvPr id="18540" name="Freeform: Shape 18539">
                  <a:extLst>
                    <a:ext uri="{FF2B5EF4-FFF2-40B4-BE49-F238E27FC236}">
                      <a16:creationId xmlns:a16="http://schemas.microsoft.com/office/drawing/2014/main" id="{C84B51EC-A580-C142-2D4C-89525FA1D2BD}"/>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1" name="Freeform: Shape 18540">
                  <a:extLst>
                    <a:ext uri="{FF2B5EF4-FFF2-40B4-BE49-F238E27FC236}">
                      <a16:creationId xmlns:a16="http://schemas.microsoft.com/office/drawing/2014/main" id="{C3813481-CEBF-F93C-CE89-D496DF395A9A}"/>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0" name="Graphic 790">
                <a:extLst>
                  <a:ext uri="{FF2B5EF4-FFF2-40B4-BE49-F238E27FC236}">
                    <a16:creationId xmlns:a16="http://schemas.microsoft.com/office/drawing/2014/main" id="{3C2410DA-381C-4964-884F-A55841A3F945}"/>
                  </a:ext>
                </a:extLst>
              </p:cNvPr>
              <p:cNvGrpSpPr/>
              <p:nvPr/>
            </p:nvGrpSpPr>
            <p:grpSpPr>
              <a:xfrm>
                <a:off x="8465057" y="4106989"/>
                <a:ext cx="75723" cy="75723"/>
                <a:chOff x="8465057" y="4106989"/>
                <a:chExt cx="75723" cy="75723"/>
              </a:xfrm>
            </p:grpSpPr>
            <p:sp>
              <p:nvSpPr>
                <p:cNvPr id="18538" name="Freeform: Shape 18537">
                  <a:extLst>
                    <a:ext uri="{FF2B5EF4-FFF2-40B4-BE49-F238E27FC236}">
                      <a16:creationId xmlns:a16="http://schemas.microsoft.com/office/drawing/2014/main" id="{C276583C-D0CD-CAF3-B11A-EF8B111B13F7}"/>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9" name="Freeform: Shape 18538">
                  <a:extLst>
                    <a:ext uri="{FF2B5EF4-FFF2-40B4-BE49-F238E27FC236}">
                      <a16:creationId xmlns:a16="http://schemas.microsoft.com/office/drawing/2014/main" id="{9698907D-AB3A-C576-C7AB-F0D072805591}"/>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1" name="Graphic 790">
                <a:extLst>
                  <a:ext uri="{FF2B5EF4-FFF2-40B4-BE49-F238E27FC236}">
                    <a16:creationId xmlns:a16="http://schemas.microsoft.com/office/drawing/2014/main" id="{658E0351-4D81-CCFB-3044-9EA0703AAB69}"/>
                  </a:ext>
                </a:extLst>
              </p:cNvPr>
              <p:cNvGrpSpPr/>
              <p:nvPr/>
            </p:nvGrpSpPr>
            <p:grpSpPr>
              <a:xfrm>
                <a:off x="8070817" y="3932491"/>
                <a:ext cx="75723" cy="75628"/>
                <a:chOff x="8070817" y="3932491"/>
                <a:chExt cx="75723" cy="75628"/>
              </a:xfrm>
            </p:grpSpPr>
            <p:sp>
              <p:nvSpPr>
                <p:cNvPr id="18536" name="Freeform: Shape 18535">
                  <a:extLst>
                    <a:ext uri="{FF2B5EF4-FFF2-40B4-BE49-F238E27FC236}">
                      <a16:creationId xmlns:a16="http://schemas.microsoft.com/office/drawing/2014/main" id="{1474AA72-881B-4AD9-F4EC-D25D8806E5F8}"/>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7" name="Freeform: Shape 18536">
                  <a:extLst>
                    <a:ext uri="{FF2B5EF4-FFF2-40B4-BE49-F238E27FC236}">
                      <a16:creationId xmlns:a16="http://schemas.microsoft.com/office/drawing/2014/main" id="{89B04E33-27AF-FB5B-7FCE-FA42789BFDAC}"/>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2" name="Graphic 790">
                <a:extLst>
                  <a:ext uri="{FF2B5EF4-FFF2-40B4-BE49-F238E27FC236}">
                    <a16:creationId xmlns:a16="http://schemas.microsoft.com/office/drawing/2014/main" id="{400D9835-D5B8-0785-09E5-D4874FA14B22}"/>
                  </a:ext>
                </a:extLst>
              </p:cNvPr>
              <p:cNvGrpSpPr/>
              <p:nvPr/>
            </p:nvGrpSpPr>
            <p:grpSpPr>
              <a:xfrm>
                <a:off x="7717726" y="3838193"/>
                <a:ext cx="75628" cy="75628"/>
                <a:chOff x="7717726" y="3838193"/>
                <a:chExt cx="75628" cy="75628"/>
              </a:xfrm>
            </p:grpSpPr>
            <p:sp>
              <p:nvSpPr>
                <p:cNvPr id="18534" name="Freeform: Shape 18533">
                  <a:extLst>
                    <a:ext uri="{FF2B5EF4-FFF2-40B4-BE49-F238E27FC236}">
                      <a16:creationId xmlns:a16="http://schemas.microsoft.com/office/drawing/2014/main" id="{4651B4AA-2812-A9FF-F0C7-00819184E8A3}"/>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5" name="Freeform: Shape 18534">
                  <a:extLst>
                    <a:ext uri="{FF2B5EF4-FFF2-40B4-BE49-F238E27FC236}">
                      <a16:creationId xmlns:a16="http://schemas.microsoft.com/office/drawing/2014/main" id="{F9327BA4-4D03-7659-FF6D-5BE17CEF1E30}"/>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3" name="Graphic 790">
                <a:extLst>
                  <a:ext uri="{FF2B5EF4-FFF2-40B4-BE49-F238E27FC236}">
                    <a16:creationId xmlns:a16="http://schemas.microsoft.com/office/drawing/2014/main" id="{324BD625-43F7-A8AB-8B0B-03F27797A9FA}"/>
                  </a:ext>
                </a:extLst>
              </p:cNvPr>
              <p:cNvGrpSpPr/>
              <p:nvPr/>
            </p:nvGrpSpPr>
            <p:grpSpPr>
              <a:xfrm>
                <a:off x="7431499" y="3801712"/>
                <a:ext cx="75723" cy="75723"/>
                <a:chOff x="7431499" y="3801712"/>
                <a:chExt cx="75723" cy="75723"/>
              </a:xfrm>
            </p:grpSpPr>
            <p:sp>
              <p:nvSpPr>
                <p:cNvPr id="18532" name="Freeform: Shape 18531">
                  <a:extLst>
                    <a:ext uri="{FF2B5EF4-FFF2-40B4-BE49-F238E27FC236}">
                      <a16:creationId xmlns:a16="http://schemas.microsoft.com/office/drawing/2014/main" id="{10E618E9-D4E7-542C-F896-17E8B11E3472}"/>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3" name="Freeform: Shape 18532">
                  <a:extLst>
                    <a:ext uri="{FF2B5EF4-FFF2-40B4-BE49-F238E27FC236}">
                      <a16:creationId xmlns:a16="http://schemas.microsoft.com/office/drawing/2014/main" id="{7D985D6D-A2FF-03B1-37B5-12EE24749176}"/>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4" name="Graphic 790">
                <a:extLst>
                  <a:ext uri="{FF2B5EF4-FFF2-40B4-BE49-F238E27FC236}">
                    <a16:creationId xmlns:a16="http://schemas.microsoft.com/office/drawing/2014/main" id="{1AD475D8-A7E0-6E76-4DA1-8D2BF5A0515B}"/>
                  </a:ext>
                </a:extLst>
              </p:cNvPr>
              <p:cNvGrpSpPr/>
              <p:nvPr/>
            </p:nvGrpSpPr>
            <p:grpSpPr>
              <a:xfrm>
                <a:off x="7239380" y="3719226"/>
                <a:ext cx="75723" cy="75723"/>
                <a:chOff x="7239380" y="3719226"/>
                <a:chExt cx="75723" cy="75723"/>
              </a:xfrm>
            </p:grpSpPr>
            <p:sp>
              <p:nvSpPr>
                <p:cNvPr id="18530" name="Freeform: Shape 18529">
                  <a:extLst>
                    <a:ext uri="{FF2B5EF4-FFF2-40B4-BE49-F238E27FC236}">
                      <a16:creationId xmlns:a16="http://schemas.microsoft.com/office/drawing/2014/main" id="{2C2A7245-A42A-5BEA-1551-932667AFE482}"/>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1" name="Freeform: Shape 18530">
                  <a:extLst>
                    <a:ext uri="{FF2B5EF4-FFF2-40B4-BE49-F238E27FC236}">
                      <a16:creationId xmlns:a16="http://schemas.microsoft.com/office/drawing/2014/main" id="{DAFCE83D-A4E4-8B07-09DA-72BB54AFD48D}"/>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5" name="Graphic 790">
                <a:extLst>
                  <a:ext uri="{FF2B5EF4-FFF2-40B4-BE49-F238E27FC236}">
                    <a16:creationId xmlns:a16="http://schemas.microsoft.com/office/drawing/2014/main" id="{D65645E9-E61B-8524-5748-8CB27A2F357F}"/>
                  </a:ext>
                </a:extLst>
              </p:cNvPr>
              <p:cNvGrpSpPr/>
              <p:nvPr/>
            </p:nvGrpSpPr>
            <p:grpSpPr>
              <a:xfrm>
                <a:off x="7024401" y="3677030"/>
                <a:ext cx="75723" cy="75628"/>
                <a:chOff x="7024401" y="3677030"/>
                <a:chExt cx="75723" cy="75628"/>
              </a:xfrm>
            </p:grpSpPr>
            <p:sp>
              <p:nvSpPr>
                <p:cNvPr id="18528" name="Freeform: Shape 18527">
                  <a:extLst>
                    <a:ext uri="{FF2B5EF4-FFF2-40B4-BE49-F238E27FC236}">
                      <a16:creationId xmlns:a16="http://schemas.microsoft.com/office/drawing/2014/main" id="{FEFF6D33-ECAD-E1DF-7A78-110A619A7415}"/>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9" name="Freeform: Shape 18528">
                  <a:extLst>
                    <a:ext uri="{FF2B5EF4-FFF2-40B4-BE49-F238E27FC236}">
                      <a16:creationId xmlns:a16="http://schemas.microsoft.com/office/drawing/2014/main" id="{E55A2123-5343-1714-4D07-0F243993F400}"/>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6" name="Graphic 790">
                <a:extLst>
                  <a:ext uri="{FF2B5EF4-FFF2-40B4-BE49-F238E27FC236}">
                    <a16:creationId xmlns:a16="http://schemas.microsoft.com/office/drawing/2014/main" id="{7BC6AA6F-69FA-2F51-F74A-76A597975B4F}"/>
                  </a:ext>
                </a:extLst>
              </p:cNvPr>
              <p:cNvGrpSpPr/>
              <p:nvPr/>
            </p:nvGrpSpPr>
            <p:grpSpPr>
              <a:xfrm>
                <a:off x="6938104" y="3677030"/>
                <a:ext cx="75723" cy="75628"/>
                <a:chOff x="6938104" y="3677030"/>
                <a:chExt cx="75723" cy="75628"/>
              </a:xfrm>
            </p:grpSpPr>
            <p:sp>
              <p:nvSpPr>
                <p:cNvPr id="18526" name="Freeform: Shape 18525">
                  <a:extLst>
                    <a:ext uri="{FF2B5EF4-FFF2-40B4-BE49-F238E27FC236}">
                      <a16:creationId xmlns:a16="http://schemas.microsoft.com/office/drawing/2014/main" id="{393622E7-3AD1-28E7-3A3A-430CF223945A}"/>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7" name="Freeform: Shape 18526">
                  <a:extLst>
                    <a:ext uri="{FF2B5EF4-FFF2-40B4-BE49-F238E27FC236}">
                      <a16:creationId xmlns:a16="http://schemas.microsoft.com/office/drawing/2014/main" id="{45945CFE-5DE0-47D2-44F3-A5DC5632087F}"/>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7" name="Graphic 790">
                <a:extLst>
                  <a:ext uri="{FF2B5EF4-FFF2-40B4-BE49-F238E27FC236}">
                    <a16:creationId xmlns:a16="http://schemas.microsoft.com/office/drawing/2014/main" id="{2983B8C7-A95A-B310-0437-FBB199F7984E}"/>
                  </a:ext>
                </a:extLst>
              </p:cNvPr>
              <p:cNvGrpSpPr/>
              <p:nvPr/>
            </p:nvGrpSpPr>
            <p:grpSpPr>
              <a:xfrm>
                <a:off x="6838092" y="3652646"/>
                <a:ext cx="75723" cy="75723"/>
                <a:chOff x="6838092" y="3652646"/>
                <a:chExt cx="75723" cy="75723"/>
              </a:xfrm>
            </p:grpSpPr>
            <p:sp>
              <p:nvSpPr>
                <p:cNvPr id="18524" name="Freeform: Shape 18523">
                  <a:extLst>
                    <a:ext uri="{FF2B5EF4-FFF2-40B4-BE49-F238E27FC236}">
                      <a16:creationId xmlns:a16="http://schemas.microsoft.com/office/drawing/2014/main" id="{61B36EA9-80DB-0FDB-9022-B3F2313C7524}"/>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5" name="Freeform: Shape 18524">
                  <a:extLst>
                    <a:ext uri="{FF2B5EF4-FFF2-40B4-BE49-F238E27FC236}">
                      <a16:creationId xmlns:a16="http://schemas.microsoft.com/office/drawing/2014/main" id="{797BFF5B-1E55-B4C9-AB6D-4AAFDB7B0485}"/>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8" name="Graphic 790">
                <a:extLst>
                  <a:ext uri="{FF2B5EF4-FFF2-40B4-BE49-F238E27FC236}">
                    <a16:creationId xmlns:a16="http://schemas.microsoft.com/office/drawing/2014/main" id="{0E99E9AC-18B0-2931-3D75-F669F02E120E}"/>
                  </a:ext>
                </a:extLst>
              </p:cNvPr>
              <p:cNvGrpSpPr/>
              <p:nvPr/>
            </p:nvGrpSpPr>
            <p:grpSpPr>
              <a:xfrm>
                <a:off x="6516337" y="3639883"/>
                <a:ext cx="75723" cy="75723"/>
                <a:chOff x="6516337" y="3639883"/>
                <a:chExt cx="75723" cy="75723"/>
              </a:xfrm>
            </p:grpSpPr>
            <p:sp>
              <p:nvSpPr>
                <p:cNvPr id="18522" name="Freeform: Shape 18521">
                  <a:extLst>
                    <a:ext uri="{FF2B5EF4-FFF2-40B4-BE49-F238E27FC236}">
                      <a16:creationId xmlns:a16="http://schemas.microsoft.com/office/drawing/2014/main" id="{11154955-4F5C-EC96-EDDA-F5A7AA5A7B64}"/>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3" name="Freeform: Shape 18522">
                  <a:extLst>
                    <a:ext uri="{FF2B5EF4-FFF2-40B4-BE49-F238E27FC236}">
                      <a16:creationId xmlns:a16="http://schemas.microsoft.com/office/drawing/2014/main" id="{226A9D28-7E46-B0B1-9B32-F13BE5D4C197}"/>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59" name="Graphic 790">
                <a:extLst>
                  <a:ext uri="{FF2B5EF4-FFF2-40B4-BE49-F238E27FC236}">
                    <a16:creationId xmlns:a16="http://schemas.microsoft.com/office/drawing/2014/main" id="{DA9065A7-484A-D8C9-F03D-CDB1EF925167}"/>
                  </a:ext>
                </a:extLst>
              </p:cNvPr>
              <p:cNvGrpSpPr/>
              <p:nvPr/>
            </p:nvGrpSpPr>
            <p:grpSpPr>
              <a:xfrm>
                <a:off x="6461950" y="3639883"/>
                <a:ext cx="75628" cy="75723"/>
                <a:chOff x="6461950" y="3639883"/>
                <a:chExt cx="75628" cy="75723"/>
              </a:xfrm>
            </p:grpSpPr>
            <p:sp>
              <p:nvSpPr>
                <p:cNvPr id="18520" name="Freeform: Shape 18519">
                  <a:extLst>
                    <a:ext uri="{FF2B5EF4-FFF2-40B4-BE49-F238E27FC236}">
                      <a16:creationId xmlns:a16="http://schemas.microsoft.com/office/drawing/2014/main" id="{EFCABD9F-5FE6-90F9-EE2C-5198A6125605}"/>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1" name="Freeform: Shape 18520">
                  <a:extLst>
                    <a:ext uri="{FF2B5EF4-FFF2-40B4-BE49-F238E27FC236}">
                      <a16:creationId xmlns:a16="http://schemas.microsoft.com/office/drawing/2014/main" id="{4251F14D-262B-0583-4E1E-B9947EC889D7}"/>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0" name="Graphic 790">
                <a:extLst>
                  <a:ext uri="{FF2B5EF4-FFF2-40B4-BE49-F238E27FC236}">
                    <a16:creationId xmlns:a16="http://schemas.microsoft.com/office/drawing/2014/main" id="{AB3A7F85-3AE7-3299-3114-98FED32A439C}"/>
                  </a:ext>
                </a:extLst>
              </p:cNvPr>
              <p:cNvGrpSpPr/>
              <p:nvPr/>
            </p:nvGrpSpPr>
            <p:grpSpPr>
              <a:xfrm>
                <a:off x="6475475" y="3639883"/>
                <a:ext cx="75723" cy="75723"/>
                <a:chOff x="6475475" y="3639883"/>
                <a:chExt cx="75723" cy="75723"/>
              </a:xfrm>
            </p:grpSpPr>
            <p:sp>
              <p:nvSpPr>
                <p:cNvPr id="18518" name="Freeform: Shape 18517">
                  <a:extLst>
                    <a:ext uri="{FF2B5EF4-FFF2-40B4-BE49-F238E27FC236}">
                      <a16:creationId xmlns:a16="http://schemas.microsoft.com/office/drawing/2014/main" id="{FB3184CE-8A1C-3B4B-6810-EA2D9C2E39C7}"/>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19" name="Freeform: Shape 18518">
                  <a:extLst>
                    <a:ext uri="{FF2B5EF4-FFF2-40B4-BE49-F238E27FC236}">
                      <a16:creationId xmlns:a16="http://schemas.microsoft.com/office/drawing/2014/main" id="{5A4254F9-1893-2892-A8EC-E0CD338F9B70}"/>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1" name="Graphic 790">
                <a:extLst>
                  <a:ext uri="{FF2B5EF4-FFF2-40B4-BE49-F238E27FC236}">
                    <a16:creationId xmlns:a16="http://schemas.microsoft.com/office/drawing/2014/main" id="{3E7E096D-9ADC-FECD-7C0C-01958AD5DBB5}"/>
                  </a:ext>
                </a:extLst>
              </p:cNvPr>
              <p:cNvGrpSpPr/>
              <p:nvPr/>
            </p:nvGrpSpPr>
            <p:grpSpPr>
              <a:xfrm>
                <a:off x="6489096" y="3639883"/>
                <a:ext cx="75723" cy="75723"/>
                <a:chOff x="6489096" y="3639883"/>
                <a:chExt cx="75723" cy="75723"/>
              </a:xfrm>
            </p:grpSpPr>
            <p:sp>
              <p:nvSpPr>
                <p:cNvPr id="18516" name="Freeform: Shape 18515">
                  <a:extLst>
                    <a:ext uri="{FF2B5EF4-FFF2-40B4-BE49-F238E27FC236}">
                      <a16:creationId xmlns:a16="http://schemas.microsoft.com/office/drawing/2014/main" id="{F24883B5-1597-2A02-FC66-F587CD9A1E60}"/>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17" name="Freeform: Shape 18516">
                  <a:extLst>
                    <a:ext uri="{FF2B5EF4-FFF2-40B4-BE49-F238E27FC236}">
                      <a16:creationId xmlns:a16="http://schemas.microsoft.com/office/drawing/2014/main" id="{5636AB7C-F76F-3D93-AF00-5CE3BADAB60B}"/>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2" name="Graphic 790">
                <a:extLst>
                  <a:ext uri="{FF2B5EF4-FFF2-40B4-BE49-F238E27FC236}">
                    <a16:creationId xmlns:a16="http://schemas.microsoft.com/office/drawing/2014/main" id="{4B897BE7-B4D4-37B5-00C0-A889B101A5A6}"/>
                  </a:ext>
                </a:extLst>
              </p:cNvPr>
              <p:cNvGrpSpPr/>
              <p:nvPr/>
            </p:nvGrpSpPr>
            <p:grpSpPr>
              <a:xfrm>
                <a:off x="6399847" y="3598449"/>
                <a:ext cx="75628" cy="75723"/>
                <a:chOff x="6399847" y="3598449"/>
                <a:chExt cx="75628" cy="75723"/>
              </a:xfrm>
            </p:grpSpPr>
            <p:sp>
              <p:nvSpPr>
                <p:cNvPr id="18514" name="Freeform: Shape 18513">
                  <a:extLst>
                    <a:ext uri="{FF2B5EF4-FFF2-40B4-BE49-F238E27FC236}">
                      <a16:creationId xmlns:a16="http://schemas.microsoft.com/office/drawing/2014/main" id="{B61FBFBA-31BA-B3DF-D7D3-C2DD670D6EB1}"/>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15" name="Freeform: Shape 18514">
                  <a:extLst>
                    <a:ext uri="{FF2B5EF4-FFF2-40B4-BE49-F238E27FC236}">
                      <a16:creationId xmlns:a16="http://schemas.microsoft.com/office/drawing/2014/main" id="{6CFE4C84-D323-5FE6-0954-DC60C998BB85}"/>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3" name="Graphic 790">
                <a:extLst>
                  <a:ext uri="{FF2B5EF4-FFF2-40B4-BE49-F238E27FC236}">
                    <a16:creationId xmlns:a16="http://schemas.microsoft.com/office/drawing/2014/main" id="{A244118B-722F-4A8E-D932-CB0E581F8E11}"/>
                  </a:ext>
                </a:extLst>
              </p:cNvPr>
              <p:cNvGrpSpPr/>
              <p:nvPr/>
            </p:nvGrpSpPr>
            <p:grpSpPr>
              <a:xfrm>
                <a:off x="6254590" y="3598449"/>
                <a:ext cx="75723" cy="75723"/>
                <a:chOff x="6254590" y="3598449"/>
                <a:chExt cx="75723" cy="75723"/>
              </a:xfrm>
            </p:grpSpPr>
            <p:sp>
              <p:nvSpPr>
                <p:cNvPr id="18512" name="Freeform: Shape 18511">
                  <a:extLst>
                    <a:ext uri="{FF2B5EF4-FFF2-40B4-BE49-F238E27FC236}">
                      <a16:creationId xmlns:a16="http://schemas.microsoft.com/office/drawing/2014/main" id="{658F14C4-3829-D35F-07AD-C6154365895C}"/>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13" name="Freeform: Shape 18512">
                  <a:extLst>
                    <a:ext uri="{FF2B5EF4-FFF2-40B4-BE49-F238E27FC236}">
                      <a16:creationId xmlns:a16="http://schemas.microsoft.com/office/drawing/2014/main" id="{4E6025B4-7582-2F46-0401-57935517A4A6}"/>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4" name="Graphic 790">
                <a:extLst>
                  <a:ext uri="{FF2B5EF4-FFF2-40B4-BE49-F238E27FC236}">
                    <a16:creationId xmlns:a16="http://schemas.microsoft.com/office/drawing/2014/main" id="{E13953F2-5F50-9E0C-4CFC-FCF316D69DE5}"/>
                  </a:ext>
                </a:extLst>
              </p:cNvPr>
              <p:cNvGrpSpPr/>
              <p:nvPr/>
            </p:nvGrpSpPr>
            <p:grpSpPr>
              <a:xfrm>
                <a:off x="6192773" y="3598449"/>
                <a:ext cx="75723" cy="75723"/>
                <a:chOff x="6192773" y="3598449"/>
                <a:chExt cx="75723" cy="75723"/>
              </a:xfrm>
            </p:grpSpPr>
            <p:sp>
              <p:nvSpPr>
                <p:cNvPr id="18510" name="Freeform: Shape 18509">
                  <a:extLst>
                    <a:ext uri="{FF2B5EF4-FFF2-40B4-BE49-F238E27FC236}">
                      <a16:creationId xmlns:a16="http://schemas.microsoft.com/office/drawing/2014/main" id="{E3C71598-E379-BF46-5A00-D6E61954B318}"/>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11" name="Freeform: Shape 18510">
                  <a:extLst>
                    <a:ext uri="{FF2B5EF4-FFF2-40B4-BE49-F238E27FC236}">
                      <a16:creationId xmlns:a16="http://schemas.microsoft.com/office/drawing/2014/main" id="{DD82D7D4-5D1D-4EC2-B775-640E76C2AD21}"/>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5" name="Graphic 790">
                <a:extLst>
                  <a:ext uri="{FF2B5EF4-FFF2-40B4-BE49-F238E27FC236}">
                    <a16:creationId xmlns:a16="http://schemas.microsoft.com/office/drawing/2014/main" id="{72B64F54-DB6E-FDFA-6D63-217D18012EA5}"/>
                  </a:ext>
                </a:extLst>
              </p:cNvPr>
              <p:cNvGrpSpPr/>
              <p:nvPr/>
            </p:nvGrpSpPr>
            <p:grpSpPr>
              <a:xfrm>
                <a:off x="6174104" y="3598449"/>
                <a:ext cx="75723" cy="75723"/>
                <a:chOff x="6174104" y="3598449"/>
                <a:chExt cx="75723" cy="75723"/>
              </a:xfrm>
            </p:grpSpPr>
            <p:sp>
              <p:nvSpPr>
                <p:cNvPr id="18508" name="Freeform: Shape 18507">
                  <a:extLst>
                    <a:ext uri="{FF2B5EF4-FFF2-40B4-BE49-F238E27FC236}">
                      <a16:creationId xmlns:a16="http://schemas.microsoft.com/office/drawing/2014/main" id="{CE25827A-9EDC-7FF6-E10B-B5E86F475411}"/>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09" name="Freeform: Shape 18508">
                  <a:extLst>
                    <a:ext uri="{FF2B5EF4-FFF2-40B4-BE49-F238E27FC236}">
                      <a16:creationId xmlns:a16="http://schemas.microsoft.com/office/drawing/2014/main" id="{F6BFE7C3-038A-7070-5CB3-9DC62E27216D}"/>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6" name="Graphic 790">
                <a:extLst>
                  <a:ext uri="{FF2B5EF4-FFF2-40B4-BE49-F238E27FC236}">
                    <a16:creationId xmlns:a16="http://schemas.microsoft.com/office/drawing/2014/main" id="{8D318F5B-33F1-786B-88DB-BEB4525E615D}"/>
                  </a:ext>
                </a:extLst>
              </p:cNvPr>
              <p:cNvGrpSpPr/>
              <p:nvPr/>
            </p:nvGrpSpPr>
            <p:grpSpPr>
              <a:xfrm>
                <a:off x="6096475" y="3598449"/>
                <a:ext cx="75723" cy="75723"/>
                <a:chOff x="6096475" y="3598449"/>
                <a:chExt cx="75723" cy="75723"/>
              </a:xfrm>
            </p:grpSpPr>
            <p:sp>
              <p:nvSpPr>
                <p:cNvPr id="18506" name="Freeform: Shape 18505">
                  <a:extLst>
                    <a:ext uri="{FF2B5EF4-FFF2-40B4-BE49-F238E27FC236}">
                      <a16:creationId xmlns:a16="http://schemas.microsoft.com/office/drawing/2014/main" id="{9254B112-D6F8-817D-9C5A-4F5A2B668A9C}"/>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07" name="Freeform: Shape 18506">
                  <a:extLst>
                    <a:ext uri="{FF2B5EF4-FFF2-40B4-BE49-F238E27FC236}">
                      <a16:creationId xmlns:a16="http://schemas.microsoft.com/office/drawing/2014/main" id="{116F2833-0794-D276-F70D-8ABF1AD76386}"/>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7" name="Graphic 790">
                <a:extLst>
                  <a:ext uri="{FF2B5EF4-FFF2-40B4-BE49-F238E27FC236}">
                    <a16:creationId xmlns:a16="http://schemas.microsoft.com/office/drawing/2014/main" id="{A7180EAD-CD25-FB98-8C64-5E804205BCDB}"/>
                  </a:ext>
                </a:extLst>
              </p:cNvPr>
              <p:cNvGrpSpPr/>
              <p:nvPr/>
            </p:nvGrpSpPr>
            <p:grpSpPr>
              <a:xfrm>
                <a:off x="6078759" y="3598449"/>
                <a:ext cx="75628" cy="75723"/>
                <a:chOff x="6078759" y="3598449"/>
                <a:chExt cx="75628" cy="75723"/>
              </a:xfrm>
            </p:grpSpPr>
            <p:sp>
              <p:nvSpPr>
                <p:cNvPr id="18504" name="Freeform: Shape 18503">
                  <a:extLst>
                    <a:ext uri="{FF2B5EF4-FFF2-40B4-BE49-F238E27FC236}">
                      <a16:creationId xmlns:a16="http://schemas.microsoft.com/office/drawing/2014/main" id="{31DEEA6D-9B92-4149-3131-7465E642242E}"/>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05" name="Freeform: Shape 18504">
                  <a:extLst>
                    <a:ext uri="{FF2B5EF4-FFF2-40B4-BE49-F238E27FC236}">
                      <a16:creationId xmlns:a16="http://schemas.microsoft.com/office/drawing/2014/main" id="{8209C94E-EBBA-24FD-1823-B1606E85EBFA}"/>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8" name="Graphic 790">
                <a:extLst>
                  <a:ext uri="{FF2B5EF4-FFF2-40B4-BE49-F238E27FC236}">
                    <a16:creationId xmlns:a16="http://schemas.microsoft.com/office/drawing/2014/main" id="{7D0B925D-F664-F301-D590-BB4BFABA3CC1}"/>
                  </a:ext>
                </a:extLst>
              </p:cNvPr>
              <p:cNvGrpSpPr/>
              <p:nvPr/>
            </p:nvGrpSpPr>
            <p:grpSpPr>
              <a:xfrm>
                <a:off x="6039135" y="3546442"/>
                <a:ext cx="75723" cy="75628"/>
                <a:chOff x="6039135" y="3546442"/>
                <a:chExt cx="75723" cy="75628"/>
              </a:xfrm>
            </p:grpSpPr>
            <p:sp>
              <p:nvSpPr>
                <p:cNvPr id="18502" name="Freeform: Shape 18501">
                  <a:extLst>
                    <a:ext uri="{FF2B5EF4-FFF2-40B4-BE49-F238E27FC236}">
                      <a16:creationId xmlns:a16="http://schemas.microsoft.com/office/drawing/2014/main" id="{2434387D-05A7-2A94-BA98-26E0033E876F}"/>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03" name="Freeform: Shape 18502">
                  <a:extLst>
                    <a:ext uri="{FF2B5EF4-FFF2-40B4-BE49-F238E27FC236}">
                      <a16:creationId xmlns:a16="http://schemas.microsoft.com/office/drawing/2014/main" id="{4A053F42-C820-DE32-B486-73D213DB0F82}"/>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69" name="Graphic 790">
                <a:extLst>
                  <a:ext uri="{FF2B5EF4-FFF2-40B4-BE49-F238E27FC236}">
                    <a16:creationId xmlns:a16="http://schemas.microsoft.com/office/drawing/2014/main" id="{CA4B0F01-800E-CC07-4676-54029438B854}"/>
                  </a:ext>
                </a:extLst>
              </p:cNvPr>
              <p:cNvGrpSpPr/>
              <p:nvPr/>
            </p:nvGrpSpPr>
            <p:grpSpPr>
              <a:xfrm>
                <a:off x="5977984" y="3472814"/>
                <a:ext cx="75628" cy="75723"/>
                <a:chOff x="5977984" y="3472814"/>
                <a:chExt cx="75628" cy="75723"/>
              </a:xfrm>
            </p:grpSpPr>
            <p:sp>
              <p:nvSpPr>
                <p:cNvPr id="18500" name="Freeform: Shape 18499">
                  <a:extLst>
                    <a:ext uri="{FF2B5EF4-FFF2-40B4-BE49-F238E27FC236}">
                      <a16:creationId xmlns:a16="http://schemas.microsoft.com/office/drawing/2014/main" id="{1693732F-FE20-FFD1-ACB5-123F2DD60377}"/>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01" name="Freeform: Shape 18500">
                  <a:extLst>
                    <a:ext uri="{FF2B5EF4-FFF2-40B4-BE49-F238E27FC236}">
                      <a16:creationId xmlns:a16="http://schemas.microsoft.com/office/drawing/2014/main" id="{5EB53E97-FC98-4A16-F307-353D6D26DC03}"/>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0" name="Graphic 790">
                <a:extLst>
                  <a:ext uri="{FF2B5EF4-FFF2-40B4-BE49-F238E27FC236}">
                    <a16:creationId xmlns:a16="http://schemas.microsoft.com/office/drawing/2014/main" id="{6E24D90E-D0F5-FDB5-4CD1-8FCDF8E17103}"/>
                  </a:ext>
                </a:extLst>
              </p:cNvPr>
              <p:cNvGrpSpPr/>
              <p:nvPr/>
            </p:nvGrpSpPr>
            <p:grpSpPr>
              <a:xfrm>
                <a:off x="5730715" y="3443096"/>
                <a:ext cx="75723" cy="75723"/>
                <a:chOff x="5730715" y="3443096"/>
                <a:chExt cx="75723" cy="75723"/>
              </a:xfrm>
            </p:grpSpPr>
            <p:sp>
              <p:nvSpPr>
                <p:cNvPr id="18498" name="Freeform: Shape 18497">
                  <a:extLst>
                    <a:ext uri="{FF2B5EF4-FFF2-40B4-BE49-F238E27FC236}">
                      <a16:creationId xmlns:a16="http://schemas.microsoft.com/office/drawing/2014/main" id="{00B2A7E1-359E-5486-C414-0895BB0DE3B0}"/>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99" name="Freeform: Shape 18498">
                  <a:extLst>
                    <a:ext uri="{FF2B5EF4-FFF2-40B4-BE49-F238E27FC236}">
                      <a16:creationId xmlns:a16="http://schemas.microsoft.com/office/drawing/2014/main" id="{8BAF8417-8D8B-CAF5-FCAA-8F3F041B53B7}"/>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1" name="Graphic 790">
                <a:extLst>
                  <a:ext uri="{FF2B5EF4-FFF2-40B4-BE49-F238E27FC236}">
                    <a16:creationId xmlns:a16="http://schemas.microsoft.com/office/drawing/2014/main" id="{89F488DE-5BAD-CD24-3095-58E3E9615432}"/>
                  </a:ext>
                </a:extLst>
              </p:cNvPr>
              <p:cNvGrpSpPr/>
              <p:nvPr/>
            </p:nvGrpSpPr>
            <p:grpSpPr>
              <a:xfrm>
                <a:off x="5503449" y="3300793"/>
                <a:ext cx="75723" cy="75723"/>
                <a:chOff x="5503449" y="3300793"/>
                <a:chExt cx="75723" cy="75723"/>
              </a:xfrm>
            </p:grpSpPr>
            <p:sp>
              <p:nvSpPr>
                <p:cNvPr id="18496" name="Freeform: Shape 18495">
                  <a:extLst>
                    <a:ext uri="{FF2B5EF4-FFF2-40B4-BE49-F238E27FC236}">
                      <a16:creationId xmlns:a16="http://schemas.microsoft.com/office/drawing/2014/main" id="{E8E800EE-A9EA-2A42-4FCD-CC5468AFFD13}"/>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97" name="Freeform: Shape 18496">
                  <a:extLst>
                    <a:ext uri="{FF2B5EF4-FFF2-40B4-BE49-F238E27FC236}">
                      <a16:creationId xmlns:a16="http://schemas.microsoft.com/office/drawing/2014/main" id="{A41E0A1E-094C-04DB-473B-70B363312DD5}"/>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2" name="Graphic 790">
                <a:extLst>
                  <a:ext uri="{FF2B5EF4-FFF2-40B4-BE49-F238E27FC236}">
                    <a16:creationId xmlns:a16="http://schemas.microsoft.com/office/drawing/2014/main" id="{C8EABAF0-B67B-2FDA-2E7B-469EB07903F0}"/>
                  </a:ext>
                </a:extLst>
              </p:cNvPr>
              <p:cNvGrpSpPr/>
              <p:nvPr/>
            </p:nvGrpSpPr>
            <p:grpSpPr>
              <a:xfrm>
                <a:off x="5338095" y="3244786"/>
                <a:ext cx="75628" cy="75723"/>
                <a:chOff x="5338095" y="3244786"/>
                <a:chExt cx="75628" cy="75723"/>
              </a:xfrm>
            </p:grpSpPr>
            <p:sp>
              <p:nvSpPr>
                <p:cNvPr id="18494" name="Freeform: Shape 18493">
                  <a:extLst>
                    <a:ext uri="{FF2B5EF4-FFF2-40B4-BE49-F238E27FC236}">
                      <a16:creationId xmlns:a16="http://schemas.microsoft.com/office/drawing/2014/main" id="{A668E59F-D27A-5EBD-40F5-AD808F55188E}"/>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95" name="Freeform: Shape 18494">
                  <a:extLst>
                    <a:ext uri="{FF2B5EF4-FFF2-40B4-BE49-F238E27FC236}">
                      <a16:creationId xmlns:a16="http://schemas.microsoft.com/office/drawing/2014/main" id="{33208E92-3BDE-A1CC-BC60-38998ADC9BA6}"/>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3" name="Graphic 790">
                <a:extLst>
                  <a:ext uri="{FF2B5EF4-FFF2-40B4-BE49-F238E27FC236}">
                    <a16:creationId xmlns:a16="http://schemas.microsoft.com/office/drawing/2014/main" id="{13570931-732A-9492-D512-7DA24C238554}"/>
                  </a:ext>
                </a:extLst>
              </p:cNvPr>
              <p:cNvGrpSpPr/>
              <p:nvPr/>
            </p:nvGrpSpPr>
            <p:grpSpPr>
              <a:xfrm>
                <a:off x="5268753" y="3244786"/>
                <a:ext cx="75723" cy="75723"/>
                <a:chOff x="5268753" y="3244786"/>
                <a:chExt cx="75723" cy="75723"/>
              </a:xfrm>
            </p:grpSpPr>
            <p:sp>
              <p:nvSpPr>
                <p:cNvPr id="18492" name="Freeform: Shape 18491">
                  <a:extLst>
                    <a:ext uri="{FF2B5EF4-FFF2-40B4-BE49-F238E27FC236}">
                      <a16:creationId xmlns:a16="http://schemas.microsoft.com/office/drawing/2014/main" id="{1C740A7F-4ADD-C722-F03B-572002EFD613}"/>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93" name="Freeform: Shape 18492">
                  <a:extLst>
                    <a:ext uri="{FF2B5EF4-FFF2-40B4-BE49-F238E27FC236}">
                      <a16:creationId xmlns:a16="http://schemas.microsoft.com/office/drawing/2014/main" id="{E79ECBA6-BDCC-2E65-D066-05432AFB54A8}"/>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4" name="Graphic 790">
                <a:extLst>
                  <a:ext uri="{FF2B5EF4-FFF2-40B4-BE49-F238E27FC236}">
                    <a16:creationId xmlns:a16="http://schemas.microsoft.com/office/drawing/2014/main" id="{5EBA88EA-BC5B-7685-6816-DA0F6A8EB686}"/>
                  </a:ext>
                </a:extLst>
              </p:cNvPr>
              <p:cNvGrpSpPr/>
              <p:nvPr/>
            </p:nvGrpSpPr>
            <p:grpSpPr>
              <a:xfrm>
                <a:off x="5234082" y="3244786"/>
                <a:ext cx="75723" cy="75723"/>
                <a:chOff x="5234082" y="3244786"/>
                <a:chExt cx="75723" cy="75723"/>
              </a:xfrm>
            </p:grpSpPr>
            <p:sp>
              <p:nvSpPr>
                <p:cNvPr id="18490" name="Freeform: Shape 18489">
                  <a:extLst>
                    <a:ext uri="{FF2B5EF4-FFF2-40B4-BE49-F238E27FC236}">
                      <a16:creationId xmlns:a16="http://schemas.microsoft.com/office/drawing/2014/main" id="{21AED9BE-26D2-D690-0471-165103F6C812}"/>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91" name="Freeform: Shape 18490">
                  <a:extLst>
                    <a:ext uri="{FF2B5EF4-FFF2-40B4-BE49-F238E27FC236}">
                      <a16:creationId xmlns:a16="http://schemas.microsoft.com/office/drawing/2014/main" id="{2B24210A-3FCD-8B50-5E26-DF2D31B9C007}"/>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5" name="Graphic 790">
                <a:extLst>
                  <a:ext uri="{FF2B5EF4-FFF2-40B4-BE49-F238E27FC236}">
                    <a16:creationId xmlns:a16="http://schemas.microsoft.com/office/drawing/2014/main" id="{D0B461E5-D8BF-A53F-571B-0B79FF8AE30B}"/>
                  </a:ext>
                </a:extLst>
              </p:cNvPr>
              <p:cNvGrpSpPr/>
              <p:nvPr/>
            </p:nvGrpSpPr>
            <p:grpSpPr>
              <a:xfrm>
                <a:off x="5211603" y="3234689"/>
                <a:ext cx="75723" cy="75723"/>
                <a:chOff x="5211603" y="3234689"/>
                <a:chExt cx="75723" cy="75723"/>
              </a:xfrm>
            </p:grpSpPr>
            <p:sp>
              <p:nvSpPr>
                <p:cNvPr id="18488" name="Freeform: Shape 18487">
                  <a:extLst>
                    <a:ext uri="{FF2B5EF4-FFF2-40B4-BE49-F238E27FC236}">
                      <a16:creationId xmlns:a16="http://schemas.microsoft.com/office/drawing/2014/main" id="{23930284-09CD-9EC1-68D8-B82A8F2B510C}"/>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89" name="Freeform: Shape 18488">
                  <a:extLst>
                    <a:ext uri="{FF2B5EF4-FFF2-40B4-BE49-F238E27FC236}">
                      <a16:creationId xmlns:a16="http://schemas.microsoft.com/office/drawing/2014/main" id="{4FCEEFDF-57D4-9F85-2B9C-9FC7AB167052}"/>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6" name="Graphic 790">
                <a:extLst>
                  <a:ext uri="{FF2B5EF4-FFF2-40B4-BE49-F238E27FC236}">
                    <a16:creationId xmlns:a16="http://schemas.microsoft.com/office/drawing/2014/main" id="{09FDE39A-72DA-1C94-029B-FBB4535FCE92}"/>
                  </a:ext>
                </a:extLst>
              </p:cNvPr>
              <p:cNvGrpSpPr/>
              <p:nvPr/>
            </p:nvGrpSpPr>
            <p:grpSpPr>
              <a:xfrm>
                <a:off x="5196268" y="3222116"/>
                <a:ext cx="75723" cy="75723"/>
                <a:chOff x="5196268" y="3222116"/>
                <a:chExt cx="75723" cy="75723"/>
              </a:xfrm>
            </p:grpSpPr>
            <p:sp>
              <p:nvSpPr>
                <p:cNvPr id="18486" name="Freeform: Shape 18485">
                  <a:extLst>
                    <a:ext uri="{FF2B5EF4-FFF2-40B4-BE49-F238E27FC236}">
                      <a16:creationId xmlns:a16="http://schemas.microsoft.com/office/drawing/2014/main" id="{806EB41A-695F-3DF1-02AF-F84D5C4D1DA8}"/>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87" name="Freeform: Shape 18486">
                  <a:extLst>
                    <a:ext uri="{FF2B5EF4-FFF2-40B4-BE49-F238E27FC236}">
                      <a16:creationId xmlns:a16="http://schemas.microsoft.com/office/drawing/2014/main" id="{5D08B5BB-3BDB-B56E-A1D2-3A0ECAFB5612}"/>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7" name="Graphic 790">
                <a:extLst>
                  <a:ext uri="{FF2B5EF4-FFF2-40B4-BE49-F238E27FC236}">
                    <a16:creationId xmlns:a16="http://schemas.microsoft.com/office/drawing/2014/main" id="{04BC0DD8-1962-03AA-FF79-E1C70041FA67}"/>
                  </a:ext>
                </a:extLst>
              </p:cNvPr>
              <p:cNvGrpSpPr/>
              <p:nvPr/>
            </p:nvGrpSpPr>
            <p:grpSpPr>
              <a:xfrm>
                <a:off x="5183599" y="3206971"/>
                <a:ext cx="75723" cy="75723"/>
                <a:chOff x="5183599" y="3206971"/>
                <a:chExt cx="75723" cy="75723"/>
              </a:xfrm>
            </p:grpSpPr>
            <p:sp>
              <p:nvSpPr>
                <p:cNvPr id="18484" name="Freeform: Shape 18483">
                  <a:extLst>
                    <a:ext uri="{FF2B5EF4-FFF2-40B4-BE49-F238E27FC236}">
                      <a16:creationId xmlns:a16="http://schemas.microsoft.com/office/drawing/2014/main" id="{06A746DC-BA87-DFB4-4EC6-E39A26200D20}"/>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85" name="Freeform: Shape 18484">
                  <a:extLst>
                    <a:ext uri="{FF2B5EF4-FFF2-40B4-BE49-F238E27FC236}">
                      <a16:creationId xmlns:a16="http://schemas.microsoft.com/office/drawing/2014/main" id="{E3E4CFA6-8BAB-E9A8-BC10-CD4C0C02E6A3}"/>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8" name="Graphic 790">
                <a:extLst>
                  <a:ext uri="{FF2B5EF4-FFF2-40B4-BE49-F238E27FC236}">
                    <a16:creationId xmlns:a16="http://schemas.microsoft.com/office/drawing/2014/main" id="{46C1C77D-9F8E-3C47-BAC1-3923C9BED3EA}"/>
                  </a:ext>
                </a:extLst>
              </p:cNvPr>
              <p:cNvGrpSpPr/>
              <p:nvPr/>
            </p:nvGrpSpPr>
            <p:grpSpPr>
              <a:xfrm>
                <a:off x="5171217" y="3173729"/>
                <a:ext cx="75628" cy="75723"/>
                <a:chOff x="5171217" y="3173729"/>
                <a:chExt cx="75628" cy="75723"/>
              </a:xfrm>
            </p:grpSpPr>
            <p:sp>
              <p:nvSpPr>
                <p:cNvPr id="18482" name="Freeform: Shape 18481">
                  <a:extLst>
                    <a:ext uri="{FF2B5EF4-FFF2-40B4-BE49-F238E27FC236}">
                      <a16:creationId xmlns:a16="http://schemas.microsoft.com/office/drawing/2014/main" id="{F8F73E61-5B99-5A60-FEE5-1C14137EED10}"/>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83" name="Freeform: Shape 18482">
                  <a:extLst>
                    <a:ext uri="{FF2B5EF4-FFF2-40B4-BE49-F238E27FC236}">
                      <a16:creationId xmlns:a16="http://schemas.microsoft.com/office/drawing/2014/main" id="{63A31375-4FE3-550E-CCEE-7A46E0CA245B}"/>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79" name="Graphic 790">
                <a:extLst>
                  <a:ext uri="{FF2B5EF4-FFF2-40B4-BE49-F238E27FC236}">
                    <a16:creationId xmlns:a16="http://schemas.microsoft.com/office/drawing/2014/main" id="{CD8A50F7-7CAC-5E96-277F-E0FF7B2879D8}"/>
                  </a:ext>
                </a:extLst>
              </p:cNvPr>
              <p:cNvGrpSpPr/>
              <p:nvPr/>
            </p:nvGrpSpPr>
            <p:grpSpPr>
              <a:xfrm>
                <a:off x="5158453" y="3158965"/>
                <a:ext cx="75628" cy="75723"/>
                <a:chOff x="5158453" y="3158965"/>
                <a:chExt cx="75628" cy="75723"/>
              </a:xfrm>
            </p:grpSpPr>
            <p:sp>
              <p:nvSpPr>
                <p:cNvPr id="18480" name="Freeform: Shape 18479">
                  <a:extLst>
                    <a:ext uri="{FF2B5EF4-FFF2-40B4-BE49-F238E27FC236}">
                      <a16:creationId xmlns:a16="http://schemas.microsoft.com/office/drawing/2014/main" id="{CEA0AA58-03CF-73AA-D8DD-7F4972DA81B1}"/>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81" name="Freeform: Shape 18480">
                  <a:extLst>
                    <a:ext uri="{FF2B5EF4-FFF2-40B4-BE49-F238E27FC236}">
                      <a16:creationId xmlns:a16="http://schemas.microsoft.com/office/drawing/2014/main" id="{9F8B37F9-888E-2F98-1832-44685BD2A4FE}"/>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80" name="Graphic 790">
                <a:extLst>
                  <a:ext uri="{FF2B5EF4-FFF2-40B4-BE49-F238E27FC236}">
                    <a16:creationId xmlns:a16="http://schemas.microsoft.com/office/drawing/2014/main" id="{395F802B-1650-D62E-84B5-9B931E8B4CDD}"/>
                  </a:ext>
                </a:extLst>
              </p:cNvPr>
              <p:cNvGrpSpPr/>
              <p:nvPr/>
            </p:nvGrpSpPr>
            <p:grpSpPr>
              <a:xfrm>
                <a:off x="5145880" y="3158965"/>
                <a:ext cx="75723" cy="75723"/>
                <a:chOff x="5145880" y="3158965"/>
                <a:chExt cx="75723" cy="75723"/>
              </a:xfrm>
            </p:grpSpPr>
            <p:sp>
              <p:nvSpPr>
                <p:cNvPr id="18478" name="Freeform: Shape 18477">
                  <a:extLst>
                    <a:ext uri="{FF2B5EF4-FFF2-40B4-BE49-F238E27FC236}">
                      <a16:creationId xmlns:a16="http://schemas.microsoft.com/office/drawing/2014/main" id="{6B89C531-FDA2-E647-E30A-546D026F3B6E}"/>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79" name="Freeform: Shape 18478">
                  <a:extLst>
                    <a:ext uri="{FF2B5EF4-FFF2-40B4-BE49-F238E27FC236}">
                      <a16:creationId xmlns:a16="http://schemas.microsoft.com/office/drawing/2014/main" id="{F503034E-A436-FEF7-CE67-16A40C59B4CD}"/>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3181" name="Graphic 790">
                <a:extLst>
                  <a:ext uri="{FF2B5EF4-FFF2-40B4-BE49-F238E27FC236}">
                    <a16:creationId xmlns:a16="http://schemas.microsoft.com/office/drawing/2014/main" id="{240C6887-B3FD-2AA8-FADF-103FF4F6998F}"/>
                  </a:ext>
                </a:extLst>
              </p:cNvPr>
              <p:cNvGrpSpPr/>
              <p:nvPr/>
            </p:nvGrpSpPr>
            <p:grpSpPr>
              <a:xfrm>
                <a:off x="5133307" y="3158965"/>
                <a:ext cx="75723" cy="75723"/>
                <a:chOff x="5133307" y="3158965"/>
                <a:chExt cx="75723" cy="75723"/>
              </a:xfrm>
            </p:grpSpPr>
            <p:sp>
              <p:nvSpPr>
                <p:cNvPr id="18476" name="Freeform: Shape 18475">
                  <a:extLst>
                    <a:ext uri="{FF2B5EF4-FFF2-40B4-BE49-F238E27FC236}">
                      <a16:creationId xmlns:a16="http://schemas.microsoft.com/office/drawing/2014/main" id="{125C3814-75AD-4632-F840-D796A593AC9D}"/>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77" name="Freeform: Shape 18476">
                  <a:extLst>
                    <a:ext uri="{FF2B5EF4-FFF2-40B4-BE49-F238E27FC236}">
                      <a16:creationId xmlns:a16="http://schemas.microsoft.com/office/drawing/2014/main" id="{25E65B3F-959A-103B-E015-7191DFC3812B}"/>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0" name="Graphic 790">
                <a:extLst>
                  <a:ext uri="{FF2B5EF4-FFF2-40B4-BE49-F238E27FC236}">
                    <a16:creationId xmlns:a16="http://schemas.microsoft.com/office/drawing/2014/main" id="{35071E07-2799-18A3-C11E-0DE3D0F1F648}"/>
                  </a:ext>
                </a:extLst>
              </p:cNvPr>
              <p:cNvGrpSpPr/>
              <p:nvPr/>
            </p:nvGrpSpPr>
            <p:grpSpPr>
              <a:xfrm>
                <a:off x="4973287" y="3133057"/>
                <a:ext cx="75723" cy="75723"/>
                <a:chOff x="4973287" y="3133057"/>
                <a:chExt cx="75723" cy="75723"/>
              </a:xfrm>
            </p:grpSpPr>
            <p:sp>
              <p:nvSpPr>
                <p:cNvPr id="18474" name="Freeform: Shape 18473">
                  <a:extLst>
                    <a:ext uri="{FF2B5EF4-FFF2-40B4-BE49-F238E27FC236}">
                      <a16:creationId xmlns:a16="http://schemas.microsoft.com/office/drawing/2014/main" id="{F77050C3-D245-A665-6AA7-B6BABC765FC8}"/>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75" name="Freeform: Shape 18474">
                  <a:extLst>
                    <a:ext uri="{FF2B5EF4-FFF2-40B4-BE49-F238E27FC236}">
                      <a16:creationId xmlns:a16="http://schemas.microsoft.com/office/drawing/2014/main" id="{8020A222-D0A5-B089-DF98-F05A0FB6D20C}"/>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1" name="Graphic 790">
                <a:extLst>
                  <a:ext uri="{FF2B5EF4-FFF2-40B4-BE49-F238E27FC236}">
                    <a16:creationId xmlns:a16="http://schemas.microsoft.com/office/drawing/2014/main" id="{DB388119-0FF4-CE8F-F47A-E91234C8E483}"/>
                  </a:ext>
                </a:extLst>
              </p:cNvPr>
              <p:cNvGrpSpPr/>
              <p:nvPr/>
            </p:nvGrpSpPr>
            <p:grpSpPr>
              <a:xfrm>
                <a:off x="4802980" y="3087052"/>
                <a:ext cx="75723" cy="75723"/>
                <a:chOff x="4802980" y="3087052"/>
                <a:chExt cx="75723" cy="75723"/>
              </a:xfrm>
            </p:grpSpPr>
            <p:sp>
              <p:nvSpPr>
                <p:cNvPr id="18472" name="Freeform: Shape 18471">
                  <a:extLst>
                    <a:ext uri="{FF2B5EF4-FFF2-40B4-BE49-F238E27FC236}">
                      <a16:creationId xmlns:a16="http://schemas.microsoft.com/office/drawing/2014/main" id="{3E255655-5309-958B-2E7E-129599A16276}"/>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73" name="Freeform: Shape 18472">
                  <a:extLst>
                    <a:ext uri="{FF2B5EF4-FFF2-40B4-BE49-F238E27FC236}">
                      <a16:creationId xmlns:a16="http://schemas.microsoft.com/office/drawing/2014/main" id="{0C3486E1-84BA-5EA3-2A22-0690F6BACF01}"/>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2" name="Graphic 790">
                <a:extLst>
                  <a:ext uri="{FF2B5EF4-FFF2-40B4-BE49-F238E27FC236}">
                    <a16:creationId xmlns:a16="http://schemas.microsoft.com/office/drawing/2014/main" id="{32FD9FB0-0B65-D96A-F6C9-64DA55224B56}"/>
                  </a:ext>
                </a:extLst>
              </p:cNvPr>
              <p:cNvGrpSpPr/>
              <p:nvPr/>
            </p:nvGrpSpPr>
            <p:grpSpPr>
              <a:xfrm>
                <a:off x="4788502" y="3073240"/>
                <a:ext cx="75723" cy="75723"/>
                <a:chOff x="4788502" y="3073240"/>
                <a:chExt cx="75723" cy="75723"/>
              </a:xfrm>
            </p:grpSpPr>
            <p:sp>
              <p:nvSpPr>
                <p:cNvPr id="18470" name="Freeform: Shape 18469">
                  <a:extLst>
                    <a:ext uri="{FF2B5EF4-FFF2-40B4-BE49-F238E27FC236}">
                      <a16:creationId xmlns:a16="http://schemas.microsoft.com/office/drawing/2014/main" id="{E7BDB22E-E673-7216-DAC1-74CFDD85C453}"/>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71" name="Freeform: Shape 18470">
                  <a:extLst>
                    <a:ext uri="{FF2B5EF4-FFF2-40B4-BE49-F238E27FC236}">
                      <a16:creationId xmlns:a16="http://schemas.microsoft.com/office/drawing/2014/main" id="{664B6E6E-A052-C108-4999-146F69CE32CB}"/>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3" name="Graphic 790">
                <a:extLst>
                  <a:ext uri="{FF2B5EF4-FFF2-40B4-BE49-F238E27FC236}">
                    <a16:creationId xmlns:a16="http://schemas.microsoft.com/office/drawing/2014/main" id="{3C22FB9A-7C8C-E3F8-699C-F4641D4FC41F}"/>
                  </a:ext>
                </a:extLst>
              </p:cNvPr>
              <p:cNvGrpSpPr/>
              <p:nvPr/>
            </p:nvGrpSpPr>
            <p:grpSpPr>
              <a:xfrm>
                <a:off x="4634864" y="2850260"/>
                <a:ext cx="75723" cy="75723"/>
                <a:chOff x="4634864" y="2850260"/>
                <a:chExt cx="75723" cy="75723"/>
              </a:xfrm>
            </p:grpSpPr>
            <p:sp>
              <p:nvSpPr>
                <p:cNvPr id="18468" name="Freeform: Shape 18467">
                  <a:extLst>
                    <a:ext uri="{FF2B5EF4-FFF2-40B4-BE49-F238E27FC236}">
                      <a16:creationId xmlns:a16="http://schemas.microsoft.com/office/drawing/2014/main" id="{631436F7-40EF-16D0-5BCD-1444086F6EE7}"/>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9" name="Freeform: Shape 18468">
                  <a:extLst>
                    <a:ext uri="{FF2B5EF4-FFF2-40B4-BE49-F238E27FC236}">
                      <a16:creationId xmlns:a16="http://schemas.microsoft.com/office/drawing/2014/main" id="{37C7BAB0-3C6E-CC3E-1A2E-11A0F1623213}"/>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4" name="Graphic 790">
                <a:extLst>
                  <a:ext uri="{FF2B5EF4-FFF2-40B4-BE49-F238E27FC236}">
                    <a16:creationId xmlns:a16="http://schemas.microsoft.com/office/drawing/2014/main" id="{C03253A6-58F6-FD62-938E-091A53ED1D4D}"/>
                  </a:ext>
                </a:extLst>
              </p:cNvPr>
              <p:cNvGrpSpPr/>
              <p:nvPr/>
            </p:nvGrpSpPr>
            <p:grpSpPr>
              <a:xfrm>
                <a:off x="4664106" y="2856928"/>
                <a:ext cx="98964" cy="89630"/>
                <a:chOff x="4664106" y="2856928"/>
                <a:chExt cx="98964" cy="89630"/>
              </a:xfrm>
            </p:grpSpPr>
            <p:sp>
              <p:nvSpPr>
                <p:cNvPr id="18464" name="Freeform: Shape 18463">
                  <a:extLst>
                    <a:ext uri="{FF2B5EF4-FFF2-40B4-BE49-F238E27FC236}">
                      <a16:creationId xmlns:a16="http://schemas.microsoft.com/office/drawing/2014/main" id="{00B931FF-DC38-4443-70E9-77C54C716D9F}"/>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5" name="Freeform: Shape 18464">
                  <a:extLst>
                    <a:ext uri="{FF2B5EF4-FFF2-40B4-BE49-F238E27FC236}">
                      <a16:creationId xmlns:a16="http://schemas.microsoft.com/office/drawing/2014/main" id="{D388927D-0494-6FAA-99D2-B2FA3234CE17}"/>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6" name="Freeform: Shape 18465">
                  <a:extLst>
                    <a:ext uri="{FF2B5EF4-FFF2-40B4-BE49-F238E27FC236}">
                      <a16:creationId xmlns:a16="http://schemas.microsoft.com/office/drawing/2014/main" id="{0A662DF4-C112-CD95-D423-77C440A068DA}"/>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7" name="Freeform: Shape 18466">
                  <a:extLst>
                    <a:ext uri="{FF2B5EF4-FFF2-40B4-BE49-F238E27FC236}">
                      <a16:creationId xmlns:a16="http://schemas.microsoft.com/office/drawing/2014/main" id="{952B78F4-0DF3-AAF1-CEB2-698C3A2ADC54}"/>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5" name="Graphic 790">
                <a:extLst>
                  <a:ext uri="{FF2B5EF4-FFF2-40B4-BE49-F238E27FC236}">
                    <a16:creationId xmlns:a16="http://schemas.microsoft.com/office/drawing/2014/main" id="{8DB2EED9-F9B0-0C8E-29A0-FDD018DA5578}"/>
                  </a:ext>
                </a:extLst>
              </p:cNvPr>
              <p:cNvGrpSpPr/>
              <p:nvPr/>
            </p:nvGrpSpPr>
            <p:grpSpPr>
              <a:xfrm>
                <a:off x="4725256" y="2932651"/>
                <a:ext cx="75628" cy="75628"/>
                <a:chOff x="4725256" y="2932651"/>
                <a:chExt cx="75628" cy="75628"/>
              </a:xfrm>
            </p:grpSpPr>
            <p:sp>
              <p:nvSpPr>
                <p:cNvPr id="18462" name="Freeform: Shape 18461">
                  <a:extLst>
                    <a:ext uri="{FF2B5EF4-FFF2-40B4-BE49-F238E27FC236}">
                      <a16:creationId xmlns:a16="http://schemas.microsoft.com/office/drawing/2014/main" id="{F1A481B1-009E-55B6-D7EA-AB67AAB9AD9A}"/>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3" name="Freeform: Shape 18462">
                  <a:extLst>
                    <a:ext uri="{FF2B5EF4-FFF2-40B4-BE49-F238E27FC236}">
                      <a16:creationId xmlns:a16="http://schemas.microsoft.com/office/drawing/2014/main" id="{F7B51150-1970-79C0-B018-95B25BA5C6CF}"/>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6" name="Graphic 790">
                <a:extLst>
                  <a:ext uri="{FF2B5EF4-FFF2-40B4-BE49-F238E27FC236}">
                    <a16:creationId xmlns:a16="http://schemas.microsoft.com/office/drawing/2014/main" id="{B70FD4E0-5F1D-95D8-D1C7-66E7EF0EC3F8}"/>
                  </a:ext>
                </a:extLst>
              </p:cNvPr>
              <p:cNvGrpSpPr/>
              <p:nvPr/>
            </p:nvGrpSpPr>
            <p:grpSpPr>
              <a:xfrm>
                <a:off x="4734972" y="2977038"/>
                <a:ext cx="75628" cy="75723"/>
                <a:chOff x="4734972" y="2977038"/>
                <a:chExt cx="75628" cy="75723"/>
              </a:xfrm>
            </p:grpSpPr>
            <p:sp>
              <p:nvSpPr>
                <p:cNvPr id="18460" name="Freeform: Shape 18459">
                  <a:extLst>
                    <a:ext uri="{FF2B5EF4-FFF2-40B4-BE49-F238E27FC236}">
                      <a16:creationId xmlns:a16="http://schemas.microsoft.com/office/drawing/2014/main" id="{6D508021-AC35-4B0C-0C56-4A27D48C653A}"/>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61" name="Freeform: Shape 18460">
                  <a:extLst>
                    <a:ext uri="{FF2B5EF4-FFF2-40B4-BE49-F238E27FC236}">
                      <a16:creationId xmlns:a16="http://schemas.microsoft.com/office/drawing/2014/main" id="{C7651927-D758-4B99-BCA5-BA62273C714A}"/>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7" name="Graphic 790">
                <a:extLst>
                  <a:ext uri="{FF2B5EF4-FFF2-40B4-BE49-F238E27FC236}">
                    <a16:creationId xmlns:a16="http://schemas.microsoft.com/office/drawing/2014/main" id="{0CEB4D76-6277-AC6D-B09E-A4E1D1E3EDA9}"/>
                  </a:ext>
                </a:extLst>
              </p:cNvPr>
              <p:cNvGrpSpPr/>
              <p:nvPr/>
            </p:nvGrpSpPr>
            <p:grpSpPr>
              <a:xfrm>
                <a:off x="4744021" y="3008280"/>
                <a:ext cx="75723" cy="75723"/>
                <a:chOff x="4744021" y="3008280"/>
                <a:chExt cx="75723" cy="75723"/>
              </a:xfrm>
            </p:grpSpPr>
            <p:sp>
              <p:nvSpPr>
                <p:cNvPr id="18458" name="Freeform: Shape 18457">
                  <a:extLst>
                    <a:ext uri="{FF2B5EF4-FFF2-40B4-BE49-F238E27FC236}">
                      <a16:creationId xmlns:a16="http://schemas.microsoft.com/office/drawing/2014/main" id="{4F742D1B-EAA6-5FBC-9654-A122A5DCB583}"/>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59" name="Freeform: Shape 18458">
                  <a:extLst>
                    <a:ext uri="{FF2B5EF4-FFF2-40B4-BE49-F238E27FC236}">
                      <a16:creationId xmlns:a16="http://schemas.microsoft.com/office/drawing/2014/main" id="{D71048C0-4A24-D45A-4824-0EE940BD8262}"/>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8" name="Graphic 790">
                <a:extLst>
                  <a:ext uri="{FF2B5EF4-FFF2-40B4-BE49-F238E27FC236}">
                    <a16:creationId xmlns:a16="http://schemas.microsoft.com/office/drawing/2014/main" id="{ED3A4A5D-629F-90D5-51FB-9D9AEE33578F}"/>
                  </a:ext>
                </a:extLst>
              </p:cNvPr>
              <p:cNvGrpSpPr/>
              <p:nvPr/>
            </p:nvGrpSpPr>
            <p:grpSpPr>
              <a:xfrm>
                <a:off x="4765166" y="3033045"/>
                <a:ext cx="75628" cy="75723"/>
                <a:chOff x="4765166" y="3033045"/>
                <a:chExt cx="75628" cy="75723"/>
              </a:xfrm>
            </p:grpSpPr>
            <p:sp>
              <p:nvSpPr>
                <p:cNvPr id="18456" name="Freeform: Shape 18455">
                  <a:extLst>
                    <a:ext uri="{FF2B5EF4-FFF2-40B4-BE49-F238E27FC236}">
                      <a16:creationId xmlns:a16="http://schemas.microsoft.com/office/drawing/2014/main" id="{B341FF41-1439-ACF3-D4E0-D6FFFDBD8B85}"/>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57" name="Freeform: Shape 18456">
                  <a:extLst>
                    <a:ext uri="{FF2B5EF4-FFF2-40B4-BE49-F238E27FC236}">
                      <a16:creationId xmlns:a16="http://schemas.microsoft.com/office/drawing/2014/main" id="{90ACC096-2A68-0C71-1709-A07A46E4EAA5}"/>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49" name="Graphic 790">
                <a:extLst>
                  <a:ext uri="{FF2B5EF4-FFF2-40B4-BE49-F238E27FC236}">
                    <a16:creationId xmlns:a16="http://schemas.microsoft.com/office/drawing/2014/main" id="{FC5CD87D-2633-377E-9193-5B91D5F36755}"/>
                  </a:ext>
                </a:extLst>
              </p:cNvPr>
              <p:cNvGrpSpPr/>
              <p:nvPr/>
            </p:nvGrpSpPr>
            <p:grpSpPr>
              <a:xfrm>
                <a:off x="4499895" y="2814732"/>
                <a:ext cx="75628" cy="75723"/>
                <a:chOff x="4499895" y="2814732"/>
                <a:chExt cx="75628" cy="75723"/>
              </a:xfrm>
            </p:grpSpPr>
            <p:sp>
              <p:nvSpPr>
                <p:cNvPr id="18454" name="Freeform: Shape 18453">
                  <a:extLst>
                    <a:ext uri="{FF2B5EF4-FFF2-40B4-BE49-F238E27FC236}">
                      <a16:creationId xmlns:a16="http://schemas.microsoft.com/office/drawing/2014/main" id="{E393CE8C-E20B-778C-6651-8D2E5448875D}"/>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55" name="Freeform: Shape 18454">
                  <a:extLst>
                    <a:ext uri="{FF2B5EF4-FFF2-40B4-BE49-F238E27FC236}">
                      <a16:creationId xmlns:a16="http://schemas.microsoft.com/office/drawing/2014/main" id="{E0B18570-CB8A-C6A0-EC4B-1F5BCA39CA85}"/>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0" name="Graphic 790">
                <a:extLst>
                  <a:ext uri="{FF2B5EF4-FFF2-40B4-BE49-F238E27FC236}">
                    <a16:creationId xmlns:a16="http://schemas.microsoft.com/office/drawing/2014/main" id="{F47B57C1-69F4-C0B0-6C80-883C96B7C5AD}"/>
                  </a:ext>
                </a:extLst>
              </p:cNvPr>
              <p:cNvGrpSpPr/>
              <p:nvPr/>
            </p:nvGrpSpPr>
            <p:grpSpPr>
              <a:xfrm>
                <a:off x="4424171" y="2808731"/>
                <a:ext cx="75723" cy="75628"/>
                <a:chOff x="4424171" y="2808731"/>
                <a:chExt cx="75723" cy="75628"/>
              </a:xfrm>
            </p:grpSpPr>
            <p:sp>
              <p:nvSpPr>
                <p:cNvPr id="18452" name="Freeform: Shape 18451">
                  <a:extLst>
                    <a:ext uri="{FF2B5EF4-FFF2-40B4-BE49-F238E27FC236}">
                      <a16:creationId xmlns:a16="http://schemas.microsoft.com/office/drawing/2014/main" id="{F252332A-B9FD-F7F1-1497-F03B1B03BD60}"/>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53" name="Freeform: Shape 18452">
                  <a:extLst>
                    <a:ext uri="{FF2B5EF4-FFF2-40B4-BE49-F238E27FC236}">
                      <a16:creationId xmlns:a16="http://schemas.microsoft.com/office/drawing/2014/main" id="{8F7F0DE1-84FD-85C6-39AC-65B6B0E3F0E9}"/>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1" name="Graphic 790">
                <a:extLst>
                  <a:ext uri="{FF2B5EF4-FFF2-40B4-BE49-F238E27FC236}">
                    <a16:creationId xmlns:a16="http://schemas.microsoft.com/office/drawing/2014/main" id="{0E48433E-EA2E-3D3C-D2EF-6B31B97B3501}"/>
                  </a:ext>
                </a:extLst>
              </p:cNvPr>
              <p:cNvGrpSpPr/>
              <p:nvPr/>
            </p:nvGrpSpPr>
            <p:grpSpPr>
              <a:xfrm>
                <a:off x="4203286" y="2576416"/>
                <a:ext cx="75723" cy="75723"/>
                <a:chOff x="4203286" y="2576416"/>
                <a:chExt cx="75723" cy="75723"/>
              </a:xfrm>
            </p:grpSpPr>
            <p:sp>
              <p:nvSpPr>
                <p:cNvPr id="18450" name="Freeform: Shape 18449">
                  <a:extLst>
                    <a:ext uri="{FF2B5EF4-FFF2-40B4-BE49-F238E27FC236}">
                      <a16:creationId xmlns:a16="http://schemas.microsoft.com/office/drawing/2014/main" id="{9257037F-A227-B766-B59B-590763CFD49F}"/>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51" name="Freeform: Shape 18450">
                  <a:extLst>
                    <a:ext uri="{FF2B5EF4-FFF2-40B4-BE49-F238E27FC236}">
                      <a16:creationId xmlns:a16="http://schemas.microsoft.com/office/drawing/2014/main" id="{DE6E8A18-5154-99A1-95A7-44E2C957128A}"/>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2" name="Graphic 790">
                <a:extLst>
                  <a:ext uri="{FF2B5EF4-FFF2-40B4-BE49-F238E27FC236}">
                    <a16:creationId xmlns:a16="http://schemas.microsoft.com/office/drawing/2014/main" id="{56C848D2-9129-8983-7CD8-A9B77A059FF9}"/>
                  </a:ext>
                </a:extLst>
              </p:cNvPr>
              <p:cNvGrpSpPr/>
              <p:nvPr/>
            </p:nvGrpSpPr>
            <p:grpSpPr>
              <a:xfrm>
                <a:off x="4135849" y="2555176"/>
                <a:ext cx="75723" cy="75723"/>
                <a:chOff x="4135849" y="2555176"/>
                <a:chExt cx="75723" cy="75723"/>
              </a:xfrm>
            </p:grpSpPr>
            <p:sp>
              <p:nvSpPr>
                <p:cNvPr id="18448" name="Freeform: Shape 18447">
                  <a:extLst>
                    <a:ext uri="{FF2B5EF4-FFF2-40B4-BE49-F238E27FC236}">
                      <a16:creationId xmlns:a16="http://schemas.microsoft.com/office/drawing/2014/main" id="{AAC3513E-5089-CD40-4622-2D77B13B95FB}"/>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9" name="Freeform: Shape 18448">
                  <a:extLst>
                    <a:ext uri="{FF2B5EF4-FFF2-40B4-BE49-F238E27FC236}">
                      <a16:creationId xmlns:a16="http://schemas.microsoft.com/office/drawing/2014/main" id="{A2BE7C17-E931-23CB-25D6-479DE4530524}"/>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3" name="Graphic 790">
                <a:extLst>
                  <a:ext uri="{FF2B5EF4-FFF2-40B4-BE49-F238E27FC236}">
                    <a16:creationId xmlns:a16="http://schemas.microsoft.com/office/drawing/2014/main" id="{ABECC9DE-2F5B-F700-9C64-BC9FDC7337DA}"/>
                  </a:ext>
                </a:extLst>
              </p:cNvPr>
              <p:cNvGrpSpPr/>
              <p:nvPr/>
            </p:nvGrpSpPr>
            <p:grpSpPr>
              <a:xfrm>
                <a:off x="3865530" y="2479547"/>
                <a:ext cx="75723" cy="75628"/>
                <a:chOff x="3865530" y="2479547"/>
                <a:chExt cx="75723" cy="75628"/>
              </a:xfrm>
            </p:grpSpPr>
            <p:sp>
              <p:nvSpPr>
                <p:cNvPr id="18446" name="Freeform: Shape 18445">
                  <a:extLst>
                    <a:ext uri="{FF2B5EF4-FFF2-40B4-BE49-F238E27FC236}">
                      <a16:creationId xmlns:a16="http://schemas.microsoft.com/office/drawing/2014/main" id="{ECD44CC5-35BF-EFDC-D569-C52561A912C9}"/>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7" name="Freeform: Shape 18446">
                  <a:extLst>
                    <a:ext uri="{FF2B5EF4-FFF2-40B4-BE49-F238E27FC236}">
                      <a16:creationId xmlns:a16="http://schemas.microsoft.com/office/drawing/2014/main" id="{532F8612-507D-AC74-ACFD-66D6E829EBEB}"/>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4" name="Graphic 790">
                <a:extLst>
                  <a:ext uri="{FF2B5EF4-FFF2-40B4-BE49-F238E27FC236}">
                    <a16:creationId xmlns:a16="http://schemas.microsoft.com/office/drawing/2014/main" id="{EBDC8EC2-BCC7-4EC2-31C7-A24F25ABE0C9}"/>
                  </a:ext>
                </a:extLst>
              </p:cNvPr>
              <p:cNvGrpSpPr/>
              <p:nvPr/>
            </p:nvGrpSpPr>
            <p:grpSpPr>
              <a:xfrm>
                <a:off x="3922299" y="2514790"/>
                <a:ext cx="75628" cy="75723"/>
                <a:chOff x="3922299" y="2514790"/>
                <a:chExt cx="75628" cy="75723"/>
              </a:xfrm>
            </p:grpSpPr>
            <p:sp>
              <p:nvSpPr>
                <p:cNvPr id="18444" name="Freeform: Shape 18443">
                  <a:extLst>
                    <a:ext uri="{FF2B5EF4-FFF2-40B4-BE49-F238E27FC236}">
                      <a16:creationId xmlns:a16="http://schemas.microsoft.com/office/drawing/2014/main" id="{5A64A414-91E9-C687-09AE-CE9CAD383358}"/>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5" name="Freeform: Shape 18444">
                  <a:extLst>
                    <a:ext uri="{FF2B5EF4-FFF2-40B4-BE49-F238E27FC236}">
                      <a16:creationId xmlns:a16="http://schemas.microsoft.com/office/drawing/2014/main" id="{CD42A074-21A8-5C85-12C6-9F0ECBD8E97E}"/>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5" name="Graphic 790">
                <a:extLst>
                  <a:ext uri="{FF2B5EF4-FFF2-40B4-BE49-F238E27FC236}">
                    <a16:creationId xmlns:a16="http://schemas.microsoft.com/office/drawing/2014/main" id="{D95FD74F-31FE-E814-8475-5ACEF4285E04}"/>
                  </a:ext>
                </a:extLst>
              </p:cNvPr>
              <p:cNvGrpSpPr/>
              <p:nvPr/>
            </p:nvGrpSpPr>
            <p:grpSpPr>
              <a:xfrm>
                <a:off x="3893629" y="2514790"/>
                <a:ext cx="75628" cy="75723"/>
                <a:chOff x="3893629" y="2514790"/>
                <a:chExt cx="75628" cy="75723"/>
              </a:xfrm>
            </p:grpSpPr>
            <p:sp>
              <p:nvSpPr>
                <p:cNvPr id="18442" name="Freeform: Shape 18441">
                  <a:extLst>
                    <a:ext uri="{FF2B5EF4-FFF2-40B4-BE49-F238E27FC236}">
                      <a16:creationId xmlns:a16="http://schemas.microsoft.com/office/drawing/2014/main" id="{E3121C16-4375-8CA1-1239-ED6E2185883C}"/>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3" name="Freeform: Shape 18442">
                  <a:extLst>
                    <a:ext uri="{FF2B5EF4-FFF2-40B4-BE49-F238E27FC236}">
                      <a16:creationId xmlns:a16="http://schemas.microsoft.com/office/drawing/2014/main" id="{45C5C67E-3D49-0549-FAD6-9FA14CAD437C}"/>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6" name="Graphic 790">
                <a:extLst>
                  <a:ext uri="{FF2B5EF4-FFF2-40B4-BE49-F238E27FC236}">
                    <a16:creationId xmlns:a16="http://schemas.microsoft.com/office/drawing/2014/main" id="{E0989EF3-1798-763B-9E27-CE2B526931BC}"/>
                  </a:ext>
                </a:extLst>
              </p:cNvPr>
              <p:cNvGrpSpPr/>
              <p:nvPr/>
            </p:nvGrpSpPr>
            <p:grpSpPr>
              <a:xfrm>
                <a:off x="3909345" y="2514790"/>
                <a:ext cx="75628" cy="75723"/>
                <a:chOff x="3909345" y="2514790"/>
                <a:chExt cx="75628" cy="75723"/>
              </a:xfrm>
            </p:grpSpPr>
            <p:sp>
              <p:nvSpPr>
                <p:cNvPr id="18440" name="Freeform: Shape 18439">
                  <a:extLst>
                    <a:ext uri="{FF2B5EF4-FFF2-40B4-BE49-F238E27FC236}">
                      <a16:creationId xmlns:a16="http://schemas.microsoft.com/office/drawing/2014/main" id="{A21B7560-7945-5D27-EA8D-B27D907E9993}"/>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1" name="Freeform: Shape 18440">
                  <a:extLst>
                    <a:ext uri="{FF2B5EF4-FFF2-40B4-BE49-F238E27FC236}">
                      <a16:creationId xmlns:a16="http://schemas.microsoft.com/office/drawing/2014/main" id="{819A11F2-D237-1C53-6171-B05F03DA4004}"/>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7" name="Graphic 790">
                <a:extLst>
                  <a:ext uri="{FF2B5EF4-FFF2-40B4-BE49-F238E27FC236}">
                    <a16:creationId xmlns:a16="http://schemas.microsoft.com/office/drawing/2014/main" id="{D8C03318-7B65-17C8-7037-32196DB07F33}"/>
                  </a:ext>
                </a:extLst>
              </p:cNvPr>
              <p:cNvGrpSpPr/>
              <p:nvPr/>
            </p:nvGrpSpPr>
            <p:grpSpPr>
              <a:xfrm>
                <a:off x="4241101" y="2593085"/>
                <a:ext cx="75723" cy="75628"/>
                <a:chOff x="4241101" y="2593085"/>
                <a:chExt cx="75723" cy="75628"/>
              </a:xfrm>
            </p:grpSpPr>
            <p:sp>
              <p:nvSpPr>
                <p:cNvPr id="18438" name="Freeform: Shape 18437">
                  <a:extLst>
                    <a:ext uri="{FF2B5EF4-FFF2-40B4-BE49-F238E27FC236}">
                      <a16:creationId xmlns:a16="http://schemas.microsoft.com/office/drawing/2014/main" id="{F759674A-5910-D4BD-83EC-0DFE9BB2F7C1}"/>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9" name="Freeform: Shape 18438">
                  <a:extLst>
                    <a:ext uri="{FF2B5EF4-FFF2-40B4-BE49-F238E27FC236}">
                      <a16:creationId xmlns:a16="http://schemas.microsoft.com/office/drawing/2014/main" id="{EF502256-8DF3-6A5D-3361-C16DD4AECEF1}"/>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8" name="Graphic 790">
                <a:extLst>
                  <a:ext uri="{FF2B5EF4-FFF2-40B4-BE49-F238E27FC236}">
                    <a16:creationId xmlns:a16="http://schemas.microsoft.com/office/drawing/2014/main" id="{2BFB4E78-B185-FCED-2EE5-73BAD60A96C3}"/>
                  </a:ext>
                </a:extLst>
              </p:cNvPr>
              <p:cNvGrpSpPr/>
              <p:nvPr/>
            </p:nvGrpSpPr>
            <p:grpSpPr>
              <a:xfrm>
                <a:off x="4276534" y="2621851"/>
                <a:ext cx="75723" cy="75628"/>
                <a:chOff x="4276534" y="2621851"/>
                <a:chExt cx="75723" cy="75628"/>
              </a:xfrm>
            </p:grpSpPr>
            <p:sp>
              <p:nvSpPr>
                <p:cNvPr id="18436" name="Freeform: Shape 18435">
                  <a:extLst>
                    <a:ext uri="{FF2B5EF4-FFF2-40B4-BE49-F238E27FC236}">
                      <a16:creationId xmlns:a16="http://schemas.microsoft.com/office/drawing/2014/main" id="{B3431E23-4DC9-31CC-FE0E-554491F7CF38}"/>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7" name="Freeform: Shape 18436">
                  <a:extLst>
                    <a:ext uri="{FF2B5EF4-FFF2-40B4-BE49-F238E27FC236}">
                      <a16:creationId xmlns:a16="http://schemas.microsoft.com/office/drawing/2014/main" id="{2FEC3ADE-E0DC-1E88-D3A6-BA98D1A0C4E6}"/>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59" name="Graphic 790">
                <a:extLst>
                  <a:ext uri="{FF2B5EF4-FFF2-40B4-BE49-F238E27FC236}">
                    <a16:creationId xmlns:a16="http://schemas.microsoft.com/office/drawing/2014/main" id="{78549E4C-BCAD-B014-5121-7808A59D1AE3}"/>
                  </a:ext>
                </a:extLst>
              </p:cNvPr>
              <p:cNvGrpSpPr/>
              <p:nvPr/>
            </p:nvGrpSpPr>
            <p:grpSpPr>
              <a:xfrm>
                <a:off x="4283868" y="2621851"/>
                <a:ext cx="75628" cy="75628"/>
                <a:chOff x="4283868" y="2621851"/>
                <a:chExt cx="75628" cy="75628"/>
              </a:xfrm>
            </p:grpSpPr>
            <p:sp>
              <p:nvSpPr>
                <p:cNvPr id="18434" name="Freeform: Shape 18433">
                  <a:extLst>
                    <a:ext uri="{FF2B5EF4-FFF2-40B4-BE49-F238E27FC236}">
                      <a16:creationId xmlns:a16="http://schemas.microsoft.com/office/drawing/2014/main" id="{5A07E353-A846-895E-BDAD-9CF1D4734F49}"/>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5" name="Freeform: Shape 18434">
                  <a:extLst>
                    <a:ext uri="{FF2B5EF4-FFF2-40B4-BE49-F238E27FC236}">
                      <a16:creationId xmlns:a16="http://schemas.microsoft.com/office/drawing/2014/main" id="{281253D8-071F-7891-3114-47595DD9D092}"/>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0" name="Graphic 790">
                <a:extLst>
                  <a:ext uri="{FF2B5EF4-FFF2-40B4-BE49-F238E27FC236}">
                    <a16:creationId xmlns:a16="http://schemas.microsoft.com/office/drawing/2014/main" id="{F5B5D44E-81D2-8638-E424-C65AA0DAEB51}"/>
                  </a:ext>
                </a:extLst>
              </p:cNvPr>
              <p:cNvGrpSpPr/>
              <p:nvPr/>
            </p:nvGrpSpPr>
            <p:grpSpPr>
              <a:xfrm>
                <a:off x="4295298" y="2656236"/>
                <a:ext cx="75628" cy="75628"/>
                <a:chOff x="4295298" y="2656236"/>
                <a:chExt cx="75628" cy="75628"/>
              </a:xfrm>
            </p:grpSpPr>
            <p:sp>
              <p:nvSpPr>
                <p:cNvPr id="18432" name="Freeform: Shape 18431">
                  <a:extLst>
                    <a:ext uri="{FF2B5EF4-FFF2-40B4-BE49-F238E27FC236}">
                      <a16:creationId xmlns:a16="http://schemas.microsoft.com/office/drawing/2014/main" id="{69291FEC-1C80-1597-2B9E-F76121B74467}"/>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3" name="Freeform: Shape 18432">
                  <a:extLst>
                    <a:ext uri="{FF2B5EF4-FFF2-40B4-BE49-F238E27FC236}">
                      <a16:creationId xmlns:a16="http://schemas.microsoft.com/office/drawing/2014/main" id="{FB635BA5-30D2-A1E9-4175-86B85A43C211}"/>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1" name="Graphic 790">
                <a:extLst>
                  <a:ext uri="{FF2B5EF4-FFF2-40B4-BE49-F238E27FC236}">
                    <a16:creationId xmlns:a16="http://schemas.microsoft.com/office/drawing/2014/main" id="{368F9FF2-AD15-F01F-B57B-07E5AA39F670}"/>
                  </a:ext>
                </a:extLst>
              </p:cNvPr>
              <p:cNvGrpSpPr/>
              <p:nvPr/>
            </p:nvGrpSpPr>
            <p:grpSpPr>
              <a:xfrm>
                <a:off x="4301584" y="2656236"/>
                <a:ext cx="75628" cy="75628"/>
                <a:chOff x="4301584" y="2656236"/>
                <a:chExt cx="75628" cy="75628"/>
              </a:xfrm>
            </p:grpSpPr>
            <p:sp>
              <p:nvSpPr>
                <p:cNvPr id="18430" name="Freeform: Shape 18429">
                  <a:extLst>
                    <a:ext uri="{FF2B5EF4-FFF2-40B4-BE49-F238E27FC236}">
                      <a16:creationId xmlns:a16="http://schemas.microsoft.com/office/drawing/2014/main" id="{24565A5E-D3BB-BDE8-2E6F-9867C1496AB9}"/>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1" name="Freeform: Shape 18430">
                  <a:extLst>
                    <a:ext uri="{FF2B5EF4-FFF2-40B4-BE49-F238E27FC236}">
                      <a16:creationId xmlns:a16="http://schemas.microsoft.com/office/drawing/2014/main" id="{EAB0F847-FD3B-4893-1C9F-3C350761E350}"/>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2" name="Graphic 790">
                <a:extLst>
                  <a:ext uri="{FF2B5EF4-FFF2-40B4-BE49-F238E27FC236}">
                    <a16:creationId xmlns:a16="http://schemas.microsoft.com/office/drawing/2014/main" id="{E8CC6560-6B9F-7495-5F2B-D5BFF85B193A}"/>
                  </a:ext>
                </a:extLst>
              </p:cNvPr>
              <p:cNvGrpSpPr/>
              <p:nvPr/>
            </p:nvGrpSpPr>
            <p:grpSpPr>
              <a:xfrm>
                <a:off x="4307871" y="2685097"/>
                <a:ext cx="75628" cy="75723"/>
                <a:chOff x="4307871" y="2685097"/>
                <a:chExt cx="75628" cy="75723"/>
              </a:xfrm>
            </p:grpSpPr>
            <p:sp>
              <p:nvSpPr>
                <p:cNvPr id="18428" name="Freeform: Shape 18427">
                  <a:extLst>
                    <a:ext uri="{FF2B5EF4-FFF2-40B4-BE49-F238E27FC236}">
                      <a16:creationId xmlns:a16="http://schemas.microsoft.com/office/drawing/2014/main" id="{4E98CAAB-35E2-6F01-DDFA-A125118F4077}"/>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9" name="Freeform: Shape 18428">
                  <a:extLst>
                    <a:ext uri="{FF2B5EF4-FFF2-40B4-BE49-F238E27FC236}">
                      <a16:creationId xmlns:a16="http://schemas.microsoft.com/office/drawing/2014/main" id="{DA77EAD5-D8B6-0A69-E351-E9D21867B198}"/>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3" name="Graphic 790">
                <a:extLst>
                  <a:ext uri="{FF2B5EF4-FFF2-40B4-BE49-F238E27FC236}">
                    <a16:creationId xmlns:a16="http://schemas.microsoft.com/office/drawing/2014/main" id="{9074421E-7AAC-C6A9-CD7D-A25CB16C73EA}"/>
                  </a:ext>
                </a:extLst>
              </p:cNvPr>
              <p:cNvGrpSpPr/>
              <p:nvPr/>
            </p:nvGrpSpPr>
            <p:grpSpPr>
              <a:xfrm>
                <a:off x="4314348" y="2685097"/>
                <a:ext cx="75723" cy="75723"/>
                <a:chOff x="4314348" y="2685097"/>
                <a:chExt cx="75723" cy="75723"/>
              </a:xfrm>
            </p:grpSpPr>
            <p:sp>
              <p:nvSpPr>
                <p:cNvPr id="18426" name="Freeform: Shape 18425">
                  <a:extLst>
                    <a:ext uri="{FF2B5EF4-FFF2-40B4-BE49-F238E27FC236}">
                      <a16:creationId xmlns:a16="http://schemas.microsoft.com/office/drawing/2014/main" id="{E9E592E7-1ACA-7C96-1976-841B46E53D26}"/>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7" name="Freeform: Shape 18426">
                  <a:extLst>
                    <a:ext uri="{FF2B5EF4-FFF2-40B4-BE49-F238E27FC236}">
                      <a16:creationId xmlns:a16="http://schemas.microsoft.com/office/drawing/2014/main" id="{7EA97CDF-A679-927D-DC10-D591E9F9F218}"/>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4" name="Graphic 790">
                <a:extLst>
                  <a:ext uri="{FF2B5EF4-FFF2-40B4-BE49-F238E27FC236}">
                    <a16:creationId xmlns:a16="http://schemas.microsoft.com/office/drawing/2014/main" id="{6A289539-09E8-14F4-68FE-D1475E88FBC1}"/>
                  </a:ext>
                </a:extLst>
              </p:cNvPr>
              <p:cNvGrpSpPr/>
              <p:nvPr/>
            </p:nvGrpSpPr>
            <p:grpSpPr>
              <a:xfrm>
                <a:off x="4330540" y="2716910"/>
                <a:ext cx="75723" cy="75723"/>
                <a:chOff x="4330540" y="2716910"/>
                <a:chExt cx="75723" cy="75723"/>
              </a:xfrm>
            </p:grpSpPr>
            <p:sp>
              <p:nvSpPr>
                <p:cNvPr id="18424" name="Freeform: Shape 18423">
                  <a:extLst>
                    <a:ext uri="{FF2B5EF4-FFF2-40B4-BE49-F238E27FC236}">
                      <a16:creationId xmlns:a16="http://schemas.microsoft.com/office/drawing/2014/main" id="{088F4D02-D1C5-56E8-B63A-5866F56B30CE}"/>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5" name="Freeform: Shape 18424">
                  <a:extLst>
                    <a:ext uri="{FF2B5EF4-FFF2-40B4-BE49-F238E27FC236}">
                      <a16:creationId xmlns:a16="http://schemas.microsoft.com/office/drawing/2014/main" id="{26425C48-91A5-91D5-F380-87273F298EBD}"/>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5" name="Graphic 790">
                <a:extLst>
                  <a:ext uri="{FF2B5EF4-FFF2-40B4-BE49-F238E27FC236}">
                    <a16:creationId xmlns:a16="http://schemas.microsoft.com/office/drawing/2014/main" id="{7019DC08-5FB1-E5C1-017A-664302CEF9F9}"/>
                  </a:ext>
                </a:extLst>
              </p:cNvPr>
              <p:cNvGrpSpPr/>
              <p:nvPr/>
            </p:nvGrpSpPr>
            <p:grpSpPr>
              <a:xfrm>
                <a:off x="4340827" y="2716910"/>
                <a:ext cx="75723" cy="75723"/>
                <a:chOff x="4340827" y="2716910"/>
                <a:chExt cx="75723" cy="75723"/>
              </a:xfrm>
            </p:grpSpPr>
            <p:sp>
              <p:nvSpPr>
                <p:cNvPr id="18422" name="Freeform: Shape 18421">
                  <a:extLst>
                    <a:ext uri="{FF2B5EF4-FFF2-40B4-BE49-F238E27FC236}">
                      <a16:creationId xmlns:a16="http://schemas.microsoft.com/office/drawing/2014/main" id="{E151F37C-3D44-CDA5-EA5E-BF7D8D2AEB67}"/>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3" name="Freeform: Shape 18422">
                  <a:extLst>
                    <a:ext uri="{FF2B5EF4-FFF2-40B4-BE49-F238E27FC236}">
                      <a16:creationId xmlns:a16="http://schemas.microsoft.com/office/drawing/2014/main" id="{C00D6268-E3E1-4A3C-A117-5B5F5E11BD27}"/>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6" name="Graphic 790">
                <a:extLst>
                  <a:ext uri="{FF2B5EF4-FFF2-40B4-BE49-F238E27FC236}">
                    <a16:creationId xmlns:a16="http://schemas.microsoft.com/office/drawing/2014/main" id="{C82F2B18-93D5-384E-09F8-FEA29535BCFE}"/>
                  </a:ext>
                </a:extLst>
              </p:cNvPr>
              <p:cNvGrpSpPr/>
              <p:nvPr/>
            </p:nvGrpSpPr>
            <p:grpSpPr>
              <a:xfrm>
                <a:off x="4340827" y="2754724"/>
                <a:ext cx="75723" cy="75723"/>
                <a:chOff x="4340827" y="2754724"/>
                <a:chExt cx="75723" cy="75723"/>
              </a:xfrm>
            </p:grpSpPr>
            <p:sp>
              <p:nvSpPr>
                <p:cNvPr id="18420" name="Freeform: Shape 18419">
                  <a:extLst>
                    <a:ext uri="{FF2B5EF4-FFF2-40B4-BE49-F238E27FC236}">
                      <a16:creationId xmlns:a16="http://schemas.microsoft.com/office/drawing/2014/main" id="{A0AD4DD7-A824-D941-0020-63A5667F895D}"/>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1" name="Freeform: Shape 18420">
                  <a:extLst>
                    <a:ext uri="{FF2B5EF4-FFF2-40B4-BE49-F238E27FC236}">
                      <a16:creationId xmlns:a16="http://schemas.microsoft.com/office/drawing/2014/main" id="{7AAFD772-FA70-4878-FC25-B985E942566B}"/>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7" name="Graphic 790">
                <a:extLst>
                  <a:ext uri="{FF2B5EF4-FFF2-40B4-BE49-F238E27FC236}">
                    <a16:creationId xmlns:a16="http://schemas.microsoft.com/office/drawing/2014/main" id="{A46AD5C2-6E8A-90DC-C2E1-7D4D5912B8BE}"/>
                  </a:ext>
                </a:extLst>
              </p:cNvPr>
              <p:cNvGrpSpPr/>
              <p:nvPr/>
            </p:nvGrpSpPr>
            <p:grpSpPr>
              <a:xfrm>
                <a:off x="4352257" y="2754724"/>
                <a:ext cx="75628" cy="75723"/>
                <a:chOff x="4352257" y="2754724"/>
                <a:chExt cx="75628" cy="75723"/>
              </a:xfrm>
            </p:grpSpPr>
            <p:sp>
              <p:nvSpPr>
                <p:cNvPr id="18418" name="Freeform: Shape 18417">
                  <a:extLst>
                    <a:ext uri="{FF2B5EF4-FFF2-40B4-BE49-F238E27FC236}">
                      <a16:creationId xmlns:a16="http://schemas.microsoft.com/office/drawing/2014/main" id="{37F7A2BC-3637-4B2D-4947-C4839B9E3AE4}"/>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9" name="Freeform: Shape 18418">
                  <a:extLst>
                    <a:ext uri="{FF2B5EF4-FFF2-40B4-BE49-F238E27FC236}">
                      <a16:creationId xmlns:a16="http://schemas.microsoft.com/office/drawing/2014/main" id="{5C6370B5-2979-F5CE-4129-D16B64C01420}"/>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8" name="Graphic 790">
                <a:extLst>
                  <a:ext uri="{FF2B5EF4-FFF2-40B4-BE49-F238E27FC236}">
                    <a16:creationId xmlns:a16="http://schemas.microsoft.com/office/drawing/2014/main" id="{8466C82C-9A0D-532A-F86B-4825B62571A1}"/>
                  </a:ext>
                </a:extLst>
              </p:cNvPr>
              <p:cNvGrpSpPr/>
              <p:nvPr/>
            </p:nvGrpSpPr>
            <p:grpSpPr>
              <a:xfrm>
                <a:off x="4368355" y="2754724"/>
                <a:ext cx="75723" cy="75723"/>
                <a:chOff x="4368355" y="2754724"/>
                <a:chExt cx="75723" cy="75723"/>
              </a:xfrm>
            </p:grpSpPr>
            <p:sp>
              <p:nvSpPr>
                <p:cNvPr id="18416" name="Freeform: Shape 18415">
                  <a:extLst>
                    <a:ext uri="{FF2B5EF4-FFF2-40B4-BE49-F238E27FC236}">
                      <a16:creationId xmlns:a16="http://schemas.microsoft.com/office/drawing/2014/main" id="{781F7AD2-2CAF-9617-34DB-DE8693B54E4A}"/>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7" name="Freeform: Shape 18416">
                  <a:extLst>
                    <a:ext uri="{FF2B5EF4-FFF2-40B4-BE49-F238E27FC236}">
                      <a16:creationId xmlns:a16="http://schemas.microsoft.com/office/drawing/2014/main" id="{A131F25D-3C9E-DBD5-19E2-446166B8AF8F}"/>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69" name="Graphic 790">
                <a:extLst>
                  <a:ext uri="{FF2B5EF4-FFF2-40B4-BE49-F238E27FC236}">
                    <a16:creationId xmlns:a16="http://schemas.microsoft.com/office/drawing/2014/main" id="{29FC745C-3EE0-F539-2FD7-DC652917AA2B}"/>
                  </a:ext>
                </a:extLst>
              </p:cNvPr>
              <p:cNvGrpSpPr/>
              <p:nvPr/>
            </p:nvGrpSpPr>
            <p:grpSpPr>
              <a:xfrm>
                <a:off x="4370926" y="2769202"/>
                <a:ext cx="75723" cy="75723"/>
                <a:chOff x="4370926" y="2769202"/>
                <a:chExt cx="75723" cy="75723"/>
              </a:xfrm>
            </p:grpSpPr>
            <p:sp>
              <p:nvSpPr>
                <p:cNvPr id="18414" name="Freeform: Shape 18413">
                  <a:extLst>
                    <a:ext uri="{FF2B5EF4-FFF2-40B4-BE49-F238E27FC236}">
                      <a16:creationId xmlns:a16="http://schemas.microsoft.com/office/drawing/2014/main" id="{1BD451DB-DE1E-B634-A150-EDBDB42DFB2F}"/>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5" name="Freeform: Shape 18414">
                  <a:extLst>
                    <a:ext uri="{FF2B5EF4-FFF2-40B4-BE49-F238E27FC236}">
                      <a16:creationId xmlns:a16="http://schemas.microsoft.com/office/drawing/2014/main" id="{79605C06-C68D-1C6C-AFD7-D27AF558341F}"/>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0" name="Graphic 790">
                <a:extLst>
                  <a:ext uri="{FF2B5EF4-FFF2-40B4-BE49-F238E27FC236}">
                    <a16:creationId xmlns:a16="http://schemas.microsoft.com/office/drawing/2014/main" id="{18E86901-6254-2582-DC18-62E785320FA8}"/>
                  </a:ext>
                </a:extLst>
              </p:cNvPr>
              <p:cNvGrpSpPr/>
              <p:nvPr/>
            </p:nvGrpSpPr>
            <p:grpSpPr>
              <a:xfrm>
                <a:off x="5061679" y="3133057"/>
                <a:ext cx="75628" cy="75723"/>
                <a:chOff x="5061679" y="3133057"/>
                <a:chExt cx="75628" cy="75723"/>
              </a:xfrm>
            </p:grpSpPr>
            <p:sp>
              <p:nvSpPr>
                <p:cNvPr id="18412" name="Freeform: Shape 18411">
                  <a:extLst>
                    <a:ext uri="{FF2B5EF4-FFF2-40B4-BE49-F238E27FC236}">
                      <a16:creationId xmlns:a16="http://schemas.microsoft.com/office/drawing/2014/main" id="{5143B1B8-DBD2-A417-A71A-1DBFC1316514}"/>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3" name="Freeform: Shape 18412">
                  <a:extLst>
                    <a:ext uri="{FF2B5EF4-FFF2-40B4-BE49-F238E27FC236}">
                      <a16:creationId xmlns:a16="http://schemas.microsoft.com/office/drawing/2014/main" id="{AE4A84E9-10E5-E854-3D79-DD914AC801F9}"/>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1" name="Graphic 790">
                <a:extLst>
                  <a:ext uri="{FF2B5EF4-FFF2-40B4-BE49-F238E27FC236}">
                    <a16:creationId xmlns:a16="http://schemas.microsoft.com/office/drawing/2014/main" id="{36C0E5FE-2977-8B72-8323-42F2F76DD8F6}"/>
                  </a:ext>
                </a:extLst>
              </p:cNvPr>
              <p:cNvGrpSpPr/>
              <p:nvPr/>
            </p:nvGrpSpPr>
            <p:grpSpPr>
              <a:xfrm>
                <a:off x="5108066" y="3144392"/>
                <a:ext cx="75628" cy="75723"/>
                <a:chOff x="5108066" y="3144392"/>
                <a:chExt cx="75628" cy="75723"/>
              </a:xfrm>
            </p:grpSpPr>
            <p:sp>
              <p:nvSpPr>
                <p:cNvPr id="18410" name="Freeform: Shape 18409">
                  <a:extLst>
                    <a:ext uri="{FF2B5EF4-FFF2-40B4-BE49-F238E27FC236}">
                      <a16:creationId xmlns:a16="http://schemas.microsoft.com/office/drawing/2014/main" id="{D11D493D-301B-8B45-D313-79C364679599}"/>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1" name="Freeform: Shape 18410">
                  <a:extLst>
                    <a:ext uri="{FF2B5EF4-FFF2-40B4-BE49-F238E27FC236}">
                      <a16:creationId xmlns:a16="http://schemas.microsoft.com/office/drawing/2014/main" id="{2222080A-5C14-E195-E8AC-0764662A23AE}"/>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2" name="Graphic 790">
                <a:extLst>
                  <a:ext uri="{FF2B5EF4-FFF2-40B4-BE49-F238E27FC236}">
                    <a16:creationId xmlns:a16="http://schemas.microsoft.com/office/drawing/2014/main" id="{1EC0660C-5024-C0AC-CF32-897931147592}"/>
                  </a:ext>
                </a:extLst>
              </p:cNvPr>
              <p:cNvGrpSpPr/>
              <p:nvPr/>
            </p:nvGrpSpPr>
            <p:grpSpPr>
              <a:xfrm>
                <a:off x="5124163" y="3151726"/>
                <a:ext cx="75723" cy="75723"/>
                <a:chOff x="5124163" y="3151726"/>
                <a:chExt cx="75723" cy="75723"/>
              </a:xfrm>
            </p:grpSpPr>
            <p:sp>
              <p:nvSpPr>
                <p:cNvPr id="18408" name="Freeform: Shape 18407">
                  <a:extLst>
                    <a:ext uri="{FF2B5EF4-FFF2-40B4-BE49-F238E27FC236}">
                      <a16:creationId xmlns:a16="http://schemas.microsoft.com/office/drawing/2014/main" id="{0FF51EAC-9ABA-76CC-EB6F-659D7CB6C0C7}"/>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9" name="Freeform: Shape 18408">
                  <a:extLst>
                    <a:ext uri="{FF2B5EF4-FFF2-40B4-BE49-F238E27FC236}">
                      <a16:creationId xmlns:a16="http://schemas.microsoft.com/office/drawing/2014/main" id="{82312A9D-95F6-5C04-F2D0-BFF91C034205}"/>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3" name="Graphic 790">
                <a:extLst>
                  <a:ext uri="{FF2B5EF4-FFF2-40B4-BE49-F238E27FC236}">
                    <a16:creationId xmlns:a16="http://schemas.microsoft.com/office/drawing/2014/main" id="{7028F9D6-50DA-9E6D-6687-AB8E7C12A134}"/>
                  </a:ext>
                </a:extLst>
              </p:cNvPr>
              <p:cNvGrpSpPr/>
              <p:nvPr/>
            </p:nvGrpSpPr>
            <p:grpSpPr>
              <a:xfrm>
                <a:off x="5568314" y="3300793"/>
                <a:ext cx="75723" cy="75723"/>
                <a:chOff x="5568314" y="3300793"/>
                <a:chExt cx="75723" cy="75723"/>
              </a:xfrm>
            </p:grpSpPr>
            <p:sp>
              <p:nvSpPr>
                <p:cNvPr id="18406" name="Freeform: Shape 18405">
                  <a:extLst>
                    <a:ext uri="{FF2B5EF4-FFF2-40B4-BE49-F238E27FC236}">
                      <a16:creationId xmlns:a16="http://schemas.microsoft.com/office/drawing/2014/main" id="{7AC9C949-B2AE-D7FA-AFF7-945D7EED9197}"/>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7" name="Freeform: Shape 18406">
                  <a:extLst>
                    <a:ext uri="{FF2B5EF4-FFF2-40B4-BE49-F238E27FC236}">
                      <a16:creationId xmlns:a16="http://schemas.microsoft.com/office/drawing/2014/main" id="{BDAEC519-C695-9D3A-0052-27712B0403E3}"/>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4" name="Graphic 790">
                <a:extLst>
                  <a:ext uri="{FF2B5EF4-FFF2-40B4-BE49-F238E27FC236}">
                    <a16:creationId xmlns:a16="http://schemas.microsoft.com/office/drawing/2014/main" id="{58042F7A-6096-6C35-4C18-DA11C1FF7340}"/>
                  </a:ext>
                </a:extLst>
              </p:cNvPr>
              <p:cNvGrpSpPr/>
              <p:nvPr/>
            </p:nvGrpSpPr>
            <p:grpSpPr>
              <a:xfrm>
                <a:off x="5594603" y="3322319"/>
                <a:ext cx="75723" cy="75723"/>
                <a:chOff x="5594603" y="3322319"/>
                <a:chExt cx="75723" cy="75723"/>
              </a:xfrm>
            </p:grpSpPr>
            <p:sp>
              <p:nvSpPr>
                <p:cNvPr id="18404" name="Freeform: Shape 18403">
                  <a:extLst>
                    <a:ext uri="{FF2B5EF4-FFF2-40B4-BE49-F238E27FC236}">
                      <a16:creationId xmlns:a16="http://schemas.microsoft.com/office/drawing/2014/main" id="{CE419A78-FC35-21EA-6DC2-9CF5330F7693}"/>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5" name="Freeform: Shape 18404">
                  <a:extLst>
                    <a:ext uri="{FF2B5EF4-FFF2-40B4-BE49-F238E27FC236}">
                      <a16:creationId xmlns:a16="http://schemas.microsoft.com/office/drawing/2014/main" id="{B7557BFA-3E79-04CD-6783-EA4220200757}"/>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5" name="Graphic 790">
                <a:extLst>
                  <a:ext uri="{FF2B5EF4-FFF2-40B4-BE49-F238E27FC236}">
                    <a16:creationId xmlns:a16="http://schemas.microsoft.com/office/drawing/2014/main" id="{93002B17-BCDB-A5FC-00B0-E28D2F2E14CD}"/>
                  </a:ext>
                </a:extLst>
              </p:cNvPr>
              <p:cNvGrpSpPr/>
              <p:nvPr/>
            </p:nvGrpSpPr>
            <p:grpSpPr>
              <a:xfrm>
                <a:off x="5606224" y="3360133"/>
                <a:ext cx="75628" cy="75723"/>
                <a:chOff x="5606224" y="3360133"/>
                <a:chExt cx="75628" cy="75723"/>
              </a:xfrm>
            </p:grpSpPr>
            <p:sp>
              <p:nvSpPr>
                <p:cNvPr id="18402" name="Freeform: Shape 18401">
                  <a:extLst>
                    <a:ext uri="{FF2B5EF4-FFF2-40B4-BE49-F238E27FC236}">
                      <a16:creationId xmlns:a16="http://schemas.microsoft.com/office/drawing/2014/main" id="{2A4AC696-BB17-F240-9BA1-CF211FF4B3D4}"/>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3" name="Freeform: Shape 18402">
                  <a:extLst>
                    <a:ext uri="{FF2B5EF4-FFF2-40B4-BE49-F238E27FC236}">
                      <a16:creationId xmlns:a16="http://schemas.microsoft.com/office/drawing/2014/main" id="{13544D5F-7C8E-74D8-A960-C6E5AB5909C5}"/>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6" name="Graphic 790">
                <a:extLst>
                  <a:ext uri="{FF2B5EF4-FFF2-40B4-BE49-F238E27FC236}">
                    <a16:creationId xmlns:a16="http://schemas.microsoft.com/office/drawing/2014/main" id="{FAE6E850-9393-75CE-3260-5D4AC90BF97C}"/>
                  </a:ext>
                </a:extLst>
              </p:cNvPr>
              <p:cNvGrpSpPr/>
              <p:nvPr/>
            </p:nvGrpSpPr>
            <p:grpSpPr>
              <a:xfrm>
                <a:off x="5612224" y="3385660"/>
                <a:ext cx="75723" cy="75723"/>
                <a:chOff x="5612224" y="3385660"/>
                <a:chExt cx="75723" cy="75723"/>
              </a:xfrm>
            </p:grpSpPr>
            <p:sp>
              <p:nvSpPr>
                <p:cNvPr id="18400" name="Freeform: Shape 18399">
                  <a:extLst>
                    <a:ext uri="{FF2B5EF4-FFF2-40B4-BE49-F238E27FC236}">
                      <a16:creationId xmlns:a16="http://schemas.microsoft.com/office/drawing/2014/main" id="{EC2A1BE0-487A-4088-6AC4-2997A1BBF6A3}"/>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1" name="Freeform: Shape 18400">
                  <a:extLst>
                    <a:ext uri="{FF2B5EF4-FFF2-40B4-BE49-F238E27FC236}">
                      <a16:creationId xmlns:a16="http://schemas.microsoft.com/office/drawing/2014/main" id="{4C36D092-93AF-0341-A655-DFC6C1954B23}"/>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7" name="Graphic 790">
                <a:extLst>
                  <a:ext uri="{FF2B5EF4-FFF2-40B4-BE49-F238E27FC236}">
                    <a16:creationId xmlns:a16="http://schemas.microsoft.com/office/drawing/2014/main" id="{5AC32F21-CDB4-5D98-025F-56555A4BEDB9}"/>
                  </a:ext>
                </a:extLst>
              </p:cNvPr>
              <p:cNvGrpSpPr/>
              <p:nvPr/>
            </p:nvGrpSpPr>
            <p:grpSpPr>
              <a:xfrm>
                <a:off x="5619749" y="3398043"/>
                <a:ext cx="75628" cy="75628"/>
                <a:chOff x="5619749" y="3398043"/>
                <a:chExt cx="75628" cy="75628"/>
              </a:xfrm>
            </p:grpSpPr>
            <p:sp>
              <p:nvSpPr>
                <p:cNvPr id="18398" name="Freeform: Shape 18397">
                  <a:extLst>
                    <a:ext uri="{FF2B5EF4-FFF2-40B4-BE49-F238E27FC236}">
                      <a16:creationId xmlns:a16="http://schemas.microsoft.com/office/drawing/2014/main" id="{133122D1-534B-D521-C72D-8377ADB6E044}"/>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9" name="Freeform: Shape 18398">
                  <a:extLst>
                    <a:ext uri="{FF2B5EF4-FFF2-40B4-BE49-F238E27FC236}">
                      <a16:creationId xmlns:a16="http://schemas.microsoft.com/office/drawing/2014/main" id="{E4742A9B-381B-7E0C-9494-B11B63B8CD7C}"/>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8" name="Graphic 790">
                <a:extLst>
                  <a:ext uri="{FF2B5EF4-FFF2-40B4-BE49-F238E27FC236}">
                    <a16:creationId xmlns:a16="http://schemas.microsoft.com/office/drawing/2014/main" id="{9253D7AA-1DCA-B1D8-0EC6-043B9A89C1E4}"/>
                  </a:ext>
                </a:extLst>
              </p:cNvPr>
              <p:cNvGrpSpPr/>
              <p:nvPr/>
            </p:nvGrpSpPr>
            <p:grpSpPr>
              <a:xfrm>
                <a:off x="5640514" y="3405282"/>
                <a:ext cx="75723" cy="75628"/>
                <a:chOff x="5640514" y="3405282"/>
                <a:chExt cx="75723" cy="75628"/>
              </a:xfrm>
            </p:grpSpPr>
            <p:sp>
              <p:nvSpPr>
                <p:cNvPr id="18396" name="Freeform: Shape 18395">
                  <a:extLst>
                    <a:ext uri="{FF2B5EF4-FFF2-40B4-BE49-F238E27FC236}">
                      <a16:creationId xmlns:a16="http://schemas.microsoft.com/office/drawing/2014/main" id="{EEB7B5B3-DC65-8BFF-C589-1B23CDD8B92C}"/>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7" name="Freeform: Shape 18396">
                  <a:extLst>
                    <a:ext uri="{FF2B5EF4-FFF2-40B4-BE49-F238E27FC236}">
                      <a16:creationId xmlns:a16="http://schemas.microsoft.com/office/drawing/2014/main" id="{F81A48C0-D110-9F2A-B487-2EBC504A6A00}"/>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9" name="Graphic 790">
                <a:extLst>
                  <a:ext uri="{FF2B5EF4-FFF2-40B4-BE49-F238E27FC236}">
                    <a16:creationId xmlns:a16="http://schemas.microsoft.com/office/drawing/2014/main" id="{151CF3FC-4C86-D23F-67A3-E8D21069702C}"/>
                  </a:ext>
                </a:extLst>
              </p:cNvPr>
              <p:cNvGrpSpPr/>
              <p:nvPr/>
            </p:nvGrpSpPr>
            <p:grpSpPr>
              <a:xfrm>
                <a:off x="5579173" y="3322319"/>
                <a:ext cx="75628" cy="75723"/>
                <a:chOff x="5579173" y="3322319"/>
                <a:chExt cx="75628" cy="75723"/>
              </a:xfrm>
            </p:grpSpPr>
            <p:sp>
              <p:nvSpPr>
                <p:cNvPr id="18394" name="Freeform: Shape 18393">
                  <a:extLst>
                    <a:ext uri="{FF2B5EF4-FFF2-40B4-BE49-F238E27FC236}">
                      <a16:creationId xmlns:a16="http://schemas.microsoft.com/office/drawing/2014/main" id="{7774CBEE-04C9-5135-FF69-93D26356082E}"/>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5" name="Freeform: Shape 18394">
                  <a:extLst>
                    <a:ext uri="{FF2B5EF4-FFF2-40B4-BE49-F238E27FC236}">
                      <a16:creationId xmlns:a16="http://schemas.microsoft.com/office/drawing/2014/main" id="{8DB5BA5B-7C24-9F6A-251A-8CD03C5FB7B3}"/>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0" name="Graphic 790">
                <a:extLst>
                  <a:ext uri="{FF2B5EF4-FFF2-40B4-BE49-F238E27FC236}">
                    <a16:creationId xmlns:a16="http://schemas.microsoft.com/office/drawing/2014/main" id="{BB3C8FEF-0806-E294-9B46-568359ABA5D8}"/>
                  </a:ext>
                </a:extLst>
              </p:cNvPr>
              <p:cNvGrpSpPr/>
              <p:nvPr/>
            </p:nvGrpSpPr>
            <p:grpSpPr>
              <a:xfrm>
                <a:off x="6010465" y="3480910"/>
                <a:ext cx="75723" cy="75723"/>
                <a:chOff x="6010465" y="3480910"/>
                <a:chExt cx="75723" cy="75723"/>
              </a:xfrm>
            </p:grpSpPr>
            <p:sp>
              <p:nvSpPr>
                <p:cNvPr id="18392" name="Freeform: Shape 18391">
                  <a:extLst>
                    <a:ext uri="{FF2B5EF4-FFF2-40B4-BE49-F238E27FC236}">
                      <a16:creationId xmlns:a16="http://schemas.microsoft.com/office/drawing/2014/main" id="{399BDA6A-7B23-1CD7-D851-39A4D7C1F53E}"/>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3" name="Freeform: Shape 18392">
                  <a:extLst>
                    <a:ext uri="{FF2B5EF4-FFF2-40B4-BE49-F238E27FC236}">
                      <a16:creationId xmlns:a16="http://schemas.microsoft.com/office/drawing/2014/main" id="{241E14D2-9F83-0DF4-28DF-E44BC44E0DBE}"/>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1" name="Graphic 790">
                <a:extLst>
                  <a:ext uri="{FF2B5EF4-FFF2-40B4-BE49-F238E27FC236}">
                    <a16:creationId xmlns:a16="http://schemas.microsoft.com/office/drawing/2014/main" id="{A6E6FDBD-C8F7-91DF-A919-AE8BBC2E116A}"/>
                  </a:ext>
                </a:extLst>
              </p:cNvPr>
              <p:cNvGrpSpPr/>
              <p:nvPr/>
            </p:nvGrpSpPr>
            <p:grpSpPr>
              <a:xfrm>
                <a:off x="6029991" y="3480910"/>
                <a:ext cx="75628" cy="75723"/>
                <a:chOff x="6029991" y="3480910"/>
                <a:chExt cx="75628" cy="75723"/>
              </a:xfrm>
            </p:grpSpPr>
            <p:sp>
              <p:nvSpPr>
                <p:cNvPr id="18390" name="Freeform: Shape 18389">
                  <a:extLst>
                    <a:ext uri="{FF2B5EF4-FFF2-40B4-BE49-F238E27FC236}">
                      <a16:creationId xmlns:a16="http://schemas.microsoft.com/office/drawing/2014/main" id="{831F2C58-71B6-1F3B-93D1-7C05FE5720A2}"/>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1" name="Freeform: Shape 18390">
                  <a:extLst>
                    <a:ext uri="{FF2B5EF4-FFF2-40B4-BE49-F238E27FC236}">
                      <a16:creationId xmlns:a16="http://schemas.microsoft.com/office/drawing/2014/main" id="{9B858BBA-E0A2-FBAB-250C-6DE277AED971}"/>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2" name="Graphic 790">
                <a:extLst>
                  <a:ext uri="{FF2B5EF4-FFF2-40B4-BE49-F238E27FC236}">
                    <a16:creationId xmlns:a16="http://schemas.microsoft.com/office/drawing/2014/main" id="{185E314D-A195-E298-BBE7-4726D4A3D305}"/>
                  </a:ext>
                </a:extLst>
              </p:cNvPr>
              <p:cNvGrpSpPr/>
              <p:nvPr/>
            </p:nvGrpSpPr>
            <p:grpSpPr>
              <a:xfrm>
                <a:off x="6457092" y="3598449"/>
                <a:ext cx="75628" cy="75723"/>
                <a:chOff x="6457092" y="3598449"/>
                <a:chExt cx="75628" cy="75723"/>
              </a:xfrm>
            </p:grpSpPr>
            <p:sp>
              <p:nvSpPr>
                <p:cNvPr id="18388" name="Freeform: Shape 18387">
                  <a:extLst>
                    <a:ext uri="{FF2B5EF4-FFF2-40B4-BE49-F238E27FC236}">
                      <a16:creationId xmlns:a16="http://schemas.microsoft.com/office/drawing/2014/main" id="{DBF7DD54-E3F3-65DE-8772-BF0B009C785B}"/>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9" name="Freeform: Shape 18388">
                  <a:extLst>
                    <a:ext uri="{FF2B5EF4-FFF2-40B4-BE49-F238E27FC236}">
                      <a16:creationId xmlns:a16="http://schemas.microsoft.com/office/drawing/2014/main" id="{EDF24B98-CEFA-4BE0-3EE2-DBBAD55BB99A}"/>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3" name="Graphic 790">
                <a:extLst>
                  <a:ext uri="{FF2B5EF4-FFF2-40B4-BE49-F238E27FC236}">
                    <a16:creationId xmlns:a16="http://schemas.microsoft.com/office/drawing/2014/main" id="{760ED8DB-B21C-1889-491F-5084C15F61B4}"/>
                  </a:ext>
                </a:extLst>
              </p:cNvPr>
              <p:cNvGrpSpPr/>
              <p:nvPr/>
            </p:nvGrpSpPr>
            <p:grpSpPr>
              <a:xfrm>
                <a:off x="6445567" y="3598449"/>
                <a:ext cx="75723" cy="75723"/>
                <a:chOff x="6445567" y="3598449"/>
                <a:chExt cx="75723" cy="75723"/>
              </a:xfrm>
            </p:grpSpPr>
            <p:sp>
              <p:nvSpPr>
                <p:cNvPr id="18386" name="Freeform: Shape 18385">
                  <a:extLst>
                    <a:ext uri="{FF2B5EF4-FFF2-40B4-BE49-F238E27FC236}">
                      <a16:creationId xmlns:a16="http://schemas.microsoft.com/office/drawing/2014/main" id="{FA07964D-5148-443B-D2A0-3C5FDAC98BDF}"/>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7" name="Freeform: Shape 18386">
                  <a:extLst>
                    <a:ext uri="{FF2B5EF4-FFF2-40B4-BE49-F238E27FC236}">
                      <a16:creationId xmlns:a16="http://schemas.microsoft.com/office/drawing/2014/main" id="{0CB65A47-DDEC-137B-9187-347027C5B19D}"/>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4" name="Graphic 790">
                <a:extLst>
                  <a:ext uri="{FF2B5EF4-FFF2-40B4-BE49-F238E27FC236}">
                    <a16:creationId xmlns:a16="http://schemas.microsoft.com/office/drawing/2014/main" id="{5B3A1CA1-96BD-EF8A-1546-8383CF29E4B4}"/>
                  </a:ext>
                </a:extLst>
              </p:cNvPr>
              <p:cNvGrpSpPr/>
              <p:nvPr/>
            </p:nvGrpSpPr>
            <p:grpSpPr>
              <a:xfrm>
                <a:off x="6434137" y="3598449"/>
                <a:ext cx="75723" cy="75723"/>
                <a:chOff x="6434137" y="3598449"/>
                <a:chExt cx="75723" cy="75723"/>
              </a:xfrm>
            </p:grpSpPr>
            <p:sp>
              <p:nvSpPr>
                <p:cNvPr id="18384" name="Freeform: Shape 18383">
                  <a:extLst>
                    <a:ext uri="{FF2B5EF4-FFF2-40B4-BE49-F238E27FC236}">
                      <a16:creationId xmlns:a16="http://schemas.microsoft.com/office/drawing/2014/main" id="{50EE43F7-4622-6260-1272-0BF29D83769C}"/>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5" name="Freeform: Shape 18384">
                  <a:extLst>
                    <a:ext uri="{FF2B5EF4-FFF2-40B4-BE49-F238E27FC236}">
                      <a16:creationId xmlns:a16="http://schemas.microsoft.com/office/drawing/2014/main" id="{403C6EDD-4A17-2FFD-DEAD-A2A7CC2A9CC9}"/>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5" name="Graphic 790">
                <a:extLst>
                  <a:ext uri="{FF2B5EF4-FFF2-40B4-BE49-F238E27FC236}">
                    <a16:creationId xmlns:a16="http://schemas.microsoft.com/office/drawing/2014/main" id="{2A498CFA-65F8-055F-2110-6F01359BA0C1}"/>
                  </a:ext>
                </a:extLst>
              </p:cNvPr>
              <p:cNvGrpSpPr/>
              <p:nvPr/>
            </p:nvGrpSpPr>
            <p:grpSpPr>
              <a:xfrm>
                <a:off x="6422707" y="3598449"/>
                <a:ext cx="75723" cy="75723"/>
                <a:chOff x="6422707" y="3598449"/>
                <a:chExt cx="75723" cy="75723"/>
              </a:xfrm>
            </p:grpSpPr>
            <p:sp>
              <p:nvSpPr>
                <p:cNvPr id="18382" name="Freeform: Shape 18381">
                  <a:extLst>
                    <a:ext uri="{FF2B5EF4-FFF2-40B4-BE49-F238E27FC236}">
                      <a16:creationId xmlns:a16="http://schemas.microsoft.com/office/drawing/2014/main" id="{F553D8FA-DB99-BB41-7D4C-532F4E77DC5E}"/>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3" name="Freeform: Shape 18382">
                  <a:extLst>
                    <a:ext uri="{FF2B5EF4-FFF2-40B4-BE49-F238E27FC236}">
                      <a16:creationId xmlns:a16="http://schemas.microsoft.com/office/drawing/2014/main" id="{DEB4462D-C988-710D-BE94-D320C4F319C1}"/>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6" name="Graphic 790">
                <a:extLst>
                  <a:ext uri="{FF2B5EF4-FFF2-40B4-BE49-F238E27FC236}">
                    <a16:creationId xmlns:a16="http://schemas.microsoft.com/office/drawing/2014/main" id="{2B3AACA8-8F2B-1714-71B6-145C0D3C9088}"/>
                  </a:ext>
                </a:extLst>
              </p:cNvPr>
              <p:cNvGrpSpPr/>
              <p:nvPr/>
            </p:nvGrpSpPr>
            <p:grpSpPr>
              <a:xfrm>
                <a:off x="6411277" y="3598449"/>
                <a:ext cx="75723" cy="75723"/>
                <a:chOff x="6411277" y="3598449"/>
                <a:chExt cx="75723" cy="75723"/>
              </a:xfrm>
            </p:grpSpPr>
            <p:sp>
              <p:nvSpPr>
                <p:cNvPr id="18380" name="Freeform: Shape 18379">
                  <a:extLst>
                    <a:ext uri="{FF2B5EF4-FFF2-40B4-BE49-F238E27FC236}">
                      <a16:creationId xmlns:a16="http://schemas.microsoft.com/office/drawing/2014/main" id="{55155323-51EA-D2CA-910A-C2B47557E98F}"/>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1" name="Freeform: Shape 18380">
                  <a:extLst>
                    <a:ext uri="{FF2B5EF4-FFF2-40B4-BE49-F238E27FC236}">
                      <a16:creationId xmlns:a16="http://schemas.microsoft.com/office/drawing/2014/main" id="{08CC8A45-3553-AF70-060B-FD72D068C95A}"/>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7" name="Graphic 790">
                <a:extLst>
                  <a:ext uri="{FF2B5EF4-FFF2-40B4-BE49-F238E27FC236}">
                    <a16:creationId xmlns:a16="http://schemas.microsoft.com/office/drawing/2014/main" id="{3B4E69AD-113E-2B96-986D-81DA1C0D0E79}"/>
                  </a:ext>
                </a:extLst>
              </p:cNvPr>
              <p:cNvGrpSpPr/>
              <p:nvPr/>
            </p:nvGrpSpPr>
            <p:grpSpPr>
              <a:xfrm>
                <a:off x="6502717" y="3639883"/>
                <a:ext cx="75723" cy="75723"/>
                <a:chOff x="6502717" y="3639883"/>
                <a:chExt cx="75723" cy="75723"/>
              </a:xfrm>
            </p:grpSpPr>
            <p:sp>
              <p:nvSpPr>
                <p:cNvPr id="18378" name="Freeform: Shape 18377">
                  <a:extLst>
                    <a:ext uri="{FF2B5EF4-FFF2-40B4-BE49-F238E27FC236}">
                      <a16:creationId xmlns:a16="http://schemas.microsoft.com/office/drawing/2014/main" id="{EF205580-C5F7-3768-588A-46F2CCFDFF44}"/>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9" name="Freeform: Shape 18378">
                  <a:extLst>
                    <a:ext uri="{FF2B5EF4-FFF2-40B4-BE49-F238E27FC236}">
                      <a16:creationId xmlns:a16="http://schemas.microsoft.com/office/drawing/2014/main" id="{7CDC381B-373F-8DC4-5ADB-B66D5D71EBBA}"/>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8" name="Graphic 790">
                <a:extLst>
                  <a:ext uri="{FF2B5EF4-FFF2-40B4-BE49-F238E27FC236}">
                    <a16:creationId xmlns:a16="http://schemas.microsoft.com/office/drawing/2014/main" id="{BE395A1E-5FD5-37DC-9B9B-1DE7E60BB94B}"/>
                  </a:ext>
                </a:extLst>
              </p:cNvPr>
              <p:cNvGrpSpPr/>
              <p:nvPr/>
            </p:nvGrpSpPr>
            <p:grpSpPr>
              <a:xfrm>
                <a:off x="6916483" y="3652646"/>
                <a:ext cx="75723" cy="75723"/>
                <a:chOff x="6916483" y="3652646"/>
                <a:chExt cx="75723" cy="75723"/>
              </a:xfrm>
            </p:grpSpPr>
            <p:sp>
              <p:nvSpPr>
                <p:cNvPr id="18376" name="Freeform: Shape 18375">
                  <a:extLst>
                    <a:ext uri="{FF2B5EF4-FFF2-40B4-BE49-F238E27FC236}">
                      <a16:creationId xmlns:a16="http://schemas.microsoft.com/office/drawing/2014/main" id="{99BFDA75-DBDA-0C50-6010-46E7C37FF095}"/>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7" name="Freeform: Shape 18376">
                  <a:extLst>
                    <a:ext uri="{FF2B5EF4-FFF2-40B4-BE49-F238E27FC236}">
                      <a16:creationId xmlns:a16="http://schemas.microsoft.com/office/drawing/2014/main" id="{A1A73800-BFFB-254F-EAA3-CFC989B2BB31}"/>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9" name="Graphic 790">
                <a:extLst>
                  <a:ext uri="{FF2B5EF4-FFF2-40B4-BE49-F238E27FC236}">
                    <a16:creationId xmlns:a16="http://schemas.microsoft.com/office/drawing/2014/main" id="{14C160B1-E998-564E-45A0-896D388687C5}"/>
                  </a:ext>
                </a:extLst>
              </p:cNvPr>
              <p:cNvGrpSpPr/>
              <p:nvPr/>
            </p:nvGrpSpPr>
            <p:grpSpPr>
              <a:xfrm>
                <a:off x="6900862" y="3652646"/>
                <a:ext cx="75628" cy="75723"/>
                <a:chOff x="6900862" y="3652646"/>
                <a:chExt cx="75628" cy="75723"/>
              </a:xfrm>
            </p:grpSpPr>
            <p:sp>
              <p:nvSpPr>
                <p:cNvPr id="18374" name="Freeform: Shape 18373">
                  <a:extLst>
                    <a:ext uri="{FF2B5EF4-FFF2-40B4-BE49-F238E27FC236}">
                      <a16:creationId xmlns:a16="http://schemas.microsoft.com/office/drawing/2014/main" id="{0C031F2A-D48D-A30C-A0FF-AE585BE5F232}"/>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5" name="Freeform: Shape 18374">
                  <a:extLst>
                    <a:ext uri="{FF2B5EF4-FFF2-40B4-BE49-F238E27FC236}">
                      <a16:creationId xmlns:a16="http://schemas.microsoft.com/office/drawing/2014/main" id="{74EC947B-5B3C-1010-2485-76102426AAEB}"/>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0" name="Graphic 790">
                <a:extLst>
                  <a:ext uri="{FF2B5EF4-FFF2-40B4-BE49-F238E27FC236}">
                    <a16:creationId xmlns:a16="http://schemas.microsoft.com/office/drawing/2014/main" id="{E51F1658-5B05-FE86-A918-10363EF2FFA7}"/>
                  </a:ext>
                </a:extLst>
              </p:cNvPr>
              <p:cNvGrpSpPr/>
              <p:nvPr/>
            </p:nvGrpSpPr>
            <p:grpSpPr>
              <a:xfrm>
                <a:off x="6885145" y="3652646"/>
                <a:ext cx="75723" cy="75723"/>
                <a:chOff x="6885145" y="3652646"/>
                <a:chExt cx="75723" cy="75723"/>
              </a:xfrm>
            </p:grpSpPr>
            <p:sp>
              <p:nvSpPr>
                <p:cNvPr id="18372" name="Freeform: Shape 18371">
                  <a:extLst>
                    <a:ext uri="{FF2B5EF4-FFF2-40B4-BE49-F238E27FC236}">
                      <a16:creationId xmlns:a16="http://schemas.microsoft.com/office/drawing/2014/main" id="{E1A968DB-ADC7-38D9-6B1A-7B65FDC39DA8}"/>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3" name="Freeform: Shape 18372">
                  <a:extLst>
                    <a:ext uri="{FF2B5EF4-FFF2-40B4-BE49-F238E27FC236}">
                      <a16:creationId xmlns:a16="http://schemas.microsoft.com/office/drawing/2014/main" id="{89E8C7EE-5BC9-57A5-07ED-2AE2F811A051}"/>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1" name="Graphic 790">
                <a:extLst>
                  <a:ext uri="{FF2B5EF4-FFF2-40B4-BE49-F238E27FC236}">
                    <a16:creationId xmlns:a16="http://schemas.microsoft.com/office/drawing/2014/main" id="{9CBE7874-6DDA-B261-4142-438E2F50A989}"/>
                  </a:ext>
                </a:extLst>
              </p:cNvPr>
              <p:cNvGrpSpPr/>
              <p:nvPr/>
            </p:nvGrpSpPr>
            <p:grpSpPr>
              <a:xfrm>
                <a:off x="6869429" y="3652646"/>
                <a:ext cx="75723" cy="75723"/>
                <a:chOff x="6869429" y="3652646"/>
                <a:chExt cx="75723" cy="75723"/>
              </a:xfrm>
            </p:grpSpPr>
            <p:sp>
              <p:nvSpPr>
                <p:cNvPr id="18370" name="Freeform: Shape 18369">
                  <a:extLst>
                    <a:ext uri="{FF2B5EF4-FFF2-40B4-BE49-F238E27FC236}">
                      <a16:creationId xmlns:a16="http://schemas.microsoft.com/office/drawing/2014/main" id="{5B343E25-F446-A4C6-3793-DF66FAAE88E5}"/>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1" name="Freeform: Shape 18370">
                  <a:extLst>
                    <a:ext uri="{FF2B5EF4-FFF2-40B4-BE49-F238E27FC236}">
                      <a16:creationId xmlns:a16="http://schemas.microsoft.com/office/drawing/2014/main" id="{BF963C54-5702-BF35-5683-6AE090CBA04D}"/>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2" name="Graphic 790">
                <a:extLst>
                  <a:ext uri="{FF2B5EF4-FFF2-40B4-BE49-F238E27FC236}">
                    <a16:creationId xmlns:a16="http://schemas.microsoft.com/office/drawing/2014/main" id="{D4526B19-DD34-E413-A482-38D8D8D86DF4}"/>
                  </a:ext>
                </a:extLst>
              </p:cNvPr>
              <p:cNvGrpSpPr/>
              <p:nvPr/>
            </p:nvGrpSpPr>
            <p:grpSpPr>
              <a:xfrm>
                <a:off x="6853808" y="3652646"/>
                <a:ext cx="75628" cy="75723"/>
                <a:chOff x="6853808" y="3652646"/>
                <a:chExt cx="75628" cy="75723"/>
              </a:xfrm>
            </p:grpSpPr>
            <p:sp>
              <p:nvSpPr>
                <p:cNvPr id="18368" name="Freeform: Shape 18367">
                  <a:extLst>
                    <a:ext uri="{FF2B5EF4-FFF2-40B4-BE49-F238E27FC236}">
                      <a16:creationId xmlns:a16="http://schemas.microsoft.com/office/drawing/2014/main" id="{3EF6A1C6-2E84-3310-DE67-109F4A44A2E3}"/>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9" name="Freeform: Shape 18368">
                  <a:extLst>
                    <a:ext uri="{FF2B5EF4-FFF2-40B4-BE49-F238E27FC236}">
                      <a16:creationId xmlns:a16="http://schemas.microsoft.com/office/drawing/2014/main" id="{D2DC2235-63B4-9C71-D4D1-46A0E9103E7F}"/>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3" name="Graphic 790">
                <a:extLst>
                  <a:ext uri="{FF2B5EF4-FFF2-40B4-BE49-F238E27FC236}">
                    <a16:creationId xmlns:a16="http://schemas.microsoft.com/office/drawing/2014/main" id="{53A96B4C-423B-CD3B-FAD1-92F2069F05D6}"/>
                  </a:ext>
                </a:extLst>
              </p:cNvPr>
              <p:cNvGrpSpPr/>
              <p:nvPr/>
            </p:nvGrpSpPr>
            <p:grpSpPr>
              <a:xfrm>
                <a:off x="6923626" y="3677030"/>
                <a:ext cx="75723" cy="75628"/>
                <a:chOff x="6923626" y="3677030"/>
                <a:chExt cx="75723" cy="75628"/>
              </a:xfrm>
            </p:grpSpPr>
            <p:sp>
              <p:nvSpPr>
                <p:cNvPr id="18366" name="Freeform: Shape 18365">
                  <a:extLst>
                    <a:ext uri="{FF2B5EF4-FFF2-40B4-BE49-F238E27FC236}">
                      <a16:creationId xmlns:a16="http://schemas.microsoft.com/office/drawing/2014/main" id="{FF0C0D43-0900-2530-DCB8-542476E89699}"/>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7" name="Freeform: Shape 18366">
                  <a:extLst>
                    <a:ext uri="{FF2B5EF4-FFF2-40B4-BE49-F238E27FC236}">
                      <a16:creationId xmlns:a16="http://schemas.microsoft.com/office/drawing/2014/main" id="{BDD662AF-A8C0-63E1-90FA-87D03803B4FB}"/>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4" name="Graphic 790">
                <a:extLst>
                  <a:ext uri="{FF2B5EF4-FFF2-40B4-BE49-F238E27FC236}">
                    <a16:creationId xmlns:a16="http://schemas.microsoft.com/office/drawing/2014/main" id="{119252CE-697D-4EE4-B113-AD2560B8E42D}"/>
                  </a:ext>
                </a:extLst>
              </p:cNvPr>
              <p:cNvGrpSpPr/>
              <p:nvPr/>
            </p:nvGrpSpPr>
            <p:grpSpPr>
              <a:xfrm>
                <a:off x="6908482" y="3677030"/>
                <a:ext cx="75723" cy="75628"/>
                <a:chOff x="6908482" y="3677030"/>
                <a:chExt cx="75723" cy="75628"/>
              </a:xfrm>
            </p:grpSpPr>
            <p:sp>
              <p:nvSpPr>
                <p:cNvPr id="18364" name="Freeform: Shape 18363">
                  <a:extLst>
                    <a:ext uri="{FF2B5EF4-FFF2-40B4-BE49-F238E27FC236}">
                      <a16:creationId xmlns:a16="http://schemas.microsoft.com/office/drawing/2014/main" id="{A9AA8849-169E-D50A-3DD4-0BFB1BF77D8E}"/>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5" name="Freeform: Shape 18364">
                  <a:extLst>
                    <a:ext uri="{FF2B5EF4-FFF2-40B4-BE49-F238E27FC236}">
                      <a16:creationId xmlns:a16="http://schemas.microsoft.com/office/drawing/2014/main" id="{FE126A9D-3FC7-8F13-44AF-7798CE37DF25}"/>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5" name="Graphic 790">
                <a:extLst>
                  <a:ext uri="{FF2B5EF4-FFF2-40B4-BE49-F238E27FC236}">
                    <a16:creationId xmlns:a16="http://schemas.microsoft.com/office/drawing/2014/main" id="{7A9AF7B8-8563-7DEA-ACBF-F79F8F5BBF78}"/>
                  </a:ext>
                </a:extLst>
              </p:cNvPr>
              <p:cNvGrpSpPr/>
              <p:nvPr/>
            </p:nvGrpSpPr>
            <p:grpSpPr>
              <a:xfrm>
                <a:off x="7307960" y="3719226"/>
                <a:ext cx="75628" cy="75723"/>
                <a:chOff x="7307960" y="3719226"/>
                <a:chExt cx="75628" cy="75723"/>
              </a:xfrm>
            </p:grpSpPr>
            <p:sp>
              <p:nvSpPr>
                <p:cNvPr id="18362" name="Freeform: Shape 18361">
                  <a:extLst>
                    <a:ext uri="{FF2B5EF4-FFF2-40B4-BE49-F238E27FC236}">
                      <a16:creationId xmlns:a16="http://schemas.microsoft.com/office/drawing/2014/main" id="{E3814B1E-C29A-29E3-EB5D-59CFAF2C8104}"/>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3" name="Freeform: Shape 18362">
                  <a:extLst>
                    <a:ext uri="{FF2B5EF4-FFF2-40B4-BE49-F238E27FC236}">
                      <a16:creationId xmlns:a16="http://schemas.microsoft.com/office/drawing/2014/main" id="{1B328977-7387-FDAF-C154-0864B679F0FE}"/>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6" name="Graphic 790">
                <a:extLst>
                  <a:ext uri="{FF2B5EF4-FFF2-40B4-BE49-F238E27FC236}">
                    <a16:creationId xmlns:a16="http://schemas.microsoft.com/office/drawing/2014/main" id="{67006342-67E3-446D-5BA6-D702B2EC40C5}"/>
                  </a:ext>
                </a:extLst>
              </p:cNvPr>
              <p:cNvGrpSpPr/>
              <p:nvPr/>
            </p:nvGrpSpPr>
            <p:grpSpPr>
              <a:xfrm>
                <a:off x="7302150" y="3719226"/>
                <a:ext cx="75723" cy="75723"/>
                <a:chOff x="7302150" y="3719226"/>
                <a:chExt cx="75723" cy="75723"/>
              </a:xfrm>
            </p:grpSpPr>
            <p:sp>
              <p:nvSpPr>
                <p:cNvPr id="18360" name="Freeform: Shape 18359">
                  <a:extLst>
                    <a:ext uri="{FF2B5EF4-FFF2-40B4-BE49-F238E27FC236}">
                      <a16:creationId xmlns:a16="http://schemas.microsoft.com/office/drawing/2014/main" id="{17AE98F0-B67E-91D0-2A07-2747206D22B5}"/>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1" name="Freeform: Shape 18360">
                  <a:extLst>
                    <a:ext uri="{FF2B5EF4-FFF2-40B4-BE49-F238E27FC236}">
                      <a16:creationId xmlns:a16="http://schemas.microsoft.com/office/drawing/2014/main" id="{E846EE4A-F94E-71E5-F7F0-F9C231CD91A2}"/>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7" name="Graphic 790">
                <a:extLst>
                  <a:ext uri="{FF2B5EF4-FFF2-40B4-BE49-F238E27FC236}">
                    <a16:creationId xmlns:a16="http://schemas.microsoft.com/office/drawing/2014/main" id="{5CCFE24E-61BE-939D-5D0B-197DEA85084C}"/>
                  </a:ext>
                </a:extLst>
              </p:cNvPr>
              <p:cNvGrpSpPr/>
              <p:nvPr/>
            </p:nvGrpSpPr>
            <p:grpSpPr>
              <a:xfrm>
                <a:off x="7318819" y="3763898"/>
                <a:ext cx="75723" cy="75723"/>
                <a:chOff x="7318819" y="3763898"/>
                <a:chExt cx="75723" cy="75723"/>
              </a:xfrm>
            </p:grpSpPr>
            <p:sp>
              <p:nvSpPr>
                <p:cNvPr id="18358" name="Freeform: Shape 18357">
                  <a:extLst>
                    <a:ext uri="{FF2B5EF4-FFF2-40B4-BE49-F238E27FC236}">
                      <a16:creationId xmlns:a16="http://schemas.microsoft.com/office/drawing/2014/main" id="{CE6C9841-D6E5-3B71-37C5-233E26F15347}"/>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9" name="Freeform: Shape 18358">
                  <a:extLst>
                    <a:ext uri="{FF2B5EF4-FFF2-40B4-BE49-F238E27FC236}">
                      <a16:creationId xmlns:a16="http://schemas.microsoft.com/office/drawing/2014/main" id="{14028F99-2691-90A8-66E7-E6CA0BF6654C}"/>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8" name="Graphic 790">
                <a:extLst>
                  <a:ext uri="{FF2B5EF4-FFF2-40B4-BE49-F238E27FC236}">
                    <a16:creationId xmlns:a16="http://schemas.microsoft.com/office/drawing/2014/main" id="{77B40BE9-EE2B-B23B-B930-0567E499B87F}"/>
                  </a:ext>
                </a:extLst>
              </p:cNvPr>
              <p:cNvGrpSpPr/>
              <p:nvPr/>
            </p:nvGrpSpPr>
            <p:grpSpPr>
              <a:xfrm>
                <a:off x="7329391" y="3772661"/>
                <a:ext cx="75723" cy="75628"/>
                <a:chOff x="7329391" y="3772661"/>
                <a:chExt cx="75723" cy="75628"/>
              </a:xfrm>
            </p:grpSpPr>
            <p:sp>
              <p:nvSpPr>
                <p:cNvPr id="18356" name="Freeform: Shape 18355">
                  <a:extLst>
                    <a:ext uri="{FF2B5EF4-FFF2-40B4-BE49-F238E27FC236}">
                      <a16:creationId xmlns:a16="http://schemas.microsoft.com/office/drawing/2014/main" id="{696E6B1F-DB9C-AE5E-6B76-7789203D97FF}"/>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7" name="Freeform: Shape 18356">
                  <a:extLst>
                    <a:ext uri="{FF2B5EF4-FFF2-40B4-BE49-F238E27FC236}">
                      <a16:creationId xmlns:a16="http://schemas.microsoft.com/office/drawing/2014/main" id="{17837F06-0D8E-33B6-ACCF-943A8D8C2054}"/>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9" name="Graphic 790">
                <a:extLst>
                  <a:ext uri="{FF2B5EF4-FFF2-40B4-BE49-F238E27FC236}">
                    <a16:creationId xmlns:a16="http://schemas.microsoft.com/office/drawing/2014/main" id="{63AE990D-2EC4-A3BB-5539-37C4CCDF7C29}"/>
                  </a:ext>
                </a:extLst>
              </p:cNvPr>
              <p:cNvGrpSpPr/>
              <p:nvPr/>
            </p:nvGrpSpPr>
            <p:grpSpPr>
              <a:xfrm>
                <a:off x="7377874" y="3772661"/>
                <a:ext cx="75723" cy="75628"/>
                <a:chOff x="7377874" y="3772661"/>
                <a:chExt cx="75723" cy="75628"/>
              </a:xfrm>
            </p:grpSpPr>
            <p:sp>
              <p:nvSpPr>
                <p:cNvPr id="18354" name="Freeform: Shape 18353">
                  <a:extLst>
                    <a:ext uri="{FF2B5EF4-FFF2-40B4-BE49-F238E27FC236}">
                      <a16:creationId xmlns:a16="http://schemas.microsoft.com/office/drawing/2014/main" id="{69AF0DB5-FB66-DDCB-3E7C-24B94C9363B7}"/>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5" name="Freeform: Shape 18354">
                  <a:extLst>
                    <a:ext uri="{FF2B5EF4-FFF2-40B4-BE49-F238E27FC236}">
                      <a16:creationId xmlns:a16="http://schemas.microsoft.com/office/drawing/2014/main" id="{83227831-7E2A-C99D-FA77-09E653FECEB0}"/>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0" name="Graphic 790">
                <a:extLst>
                  <a:ext uri="{FF2B5EF4-FFF2-40B4-BE49-F238E27FC236}">
                    <a16:creationId xmlns:a16="http://schemas.microsoft.com/office/drawing/2014/main" id="{43498EEA-9B02-93EA-00B6-018E869B5D8F}"/>
                  </a:ext>
                </a:extLst>
              </p:cNvPr>
              <p:cNvGrpSpPr/>
              <p:nvPr/>
            </p:nvGrpSpPr>
            <p:grpSpPr>
              <a:xfrm>
                <a:off x="7350061" y="3772661"/>
                <a:ext cx="75628" cy="75628"/>
                <a:chOff x="7350061" y="3772661"/>
                <a:chExt cx="75628" cy="75628"/>
              </a:xfrm>
            </p:grpSpPr>
            <p:sp>
              <p:nvSpPr>
                <p:cNvPr id="18352" name="Freeform: Shape 18351">
                  <a:extLst>
                    <a:ext uri="{FF2B5EF4-FFF2-40B4-BE49-F238E27FC236}">
                      <a16:creationId xmlns:a16="http://schemas.microsoft.com/office/drawing/2014/main" id="{02F2ED75-5CFE-468F-03E4-FCA8CA90C17F}"/>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3" name="Freeform: Shape 18352">
                  <a:extLst>
                    <a:ext uri="{FF2B5EF4-FFF2-40B4-BE49-F238E27FC236}">
                      <a16:creationId xmlns:a16="http://schemas.microsoft.com/office/drawing/2014/main" id="{2C78E01B-83F0-FDCB-AB7D-DC5A6CD52783}"/>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1" name="Graphic 790">
                <a:extLst>
                  <a:ext uri="{FF2B5EF4-FFF2-40B4-BE49-F238E27FC236}">
                    <a16:creationId xmlns:a16="http://schemas.microsoft.com/office/drawing/2014/main" id="{FBF434F7-9713-C37D-B2E2-3657AE7183AB}"/>
                  </a:ext>
                </a:extLst>
              </p:cNvPr>
              <p:cNvGrpSpPr/>
              <p:nvPr/>
            </p:nvGrpSpPr>
            <p:grpSpPr>
              <a:xfrm>
                <a:off x="7285481" y="3719226"/>
                <a:ext cx="75723" cy="75723"/>
                <a:chOff x="7285481" y="3719226"/>
                <a:chExt cx="75723" cy="75723"/>
              </a:xfrm>
            </p:grpSpPr>
            <p:sp>
              <p:nvSpPr>
                <p:cNvPr id="18350" name="Freeform: Shape 18349">
                  <a:extLst>
                    <a:ext uri="{FF2B5EF4-FFF2-40B4-BE49-F238E27FC236}">
                      <a16:creationId xmlns:a16="http://schemas.microsoft.com/office/drawing/2014/main" id="{B53669C9-64A7-819B-A085-BB4BCC156E71}"/>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1" name="Freeform: Shape 18350">
                  <a:extLst>
                    <a:ext uri="{FF2B5EF4-FFF2-40B4-BE49-F238E27FC236}">
                      <a16:creationId xmlns:a16="http://schemas.microsoft.com/office/drawing/2014/main" id="{1E5F0CE0-A723-93B9-3A5C-A8C8DE680C4E}"/>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2" name="Graphic 790">
                <a:extLst>
                  <a:ext uri="{FF2B5EF4-FFF2-40B4-BE49-F238E27FC236}">
                    <a16:creationId xmlns:a16="http://schemas.microsoft.com/office/drawing/2014/main" id="{05C75AB7-2C13-7C68-2BAB-44871B7F5A0F}"/>
                  </a:ext>
                </a:extLst>
              </p:cNvPr>
              <p:cNvGrpSpPr/>
              <p:nvPr/>
            </p:nvGrpSpPr>
            <p:grpSpPr>
              <a:xfrm>
                <a:off x="7730870" y="3838193"/>
                <a:ext cx="75723" cy="75628"/>
                <a:chOff x="7730870" y="3838193"/>
                <a:chExt cx="75723" cy="75628"/>
              </a:xfrm>
            </p:grpSpPr>
            <p:sp>
              <p:nvSpPr>
                <p:cNvPr id="18348" name="Freeform: Shape 18347">
                  <a:extLst>
                    <a:ext uri="{FF2B5EF4-FFF2-40B4-BE49-F238E27FC236}">
                      <a16:creationId xmlns:a16="http://schemas.microsoft.com/office/drawing/2014/main" id="{B54507E4-2B8F-7368-110F-707D821E813F}"/>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9" name="Freeform: Shape 18348">
                  <a:extLst>
                    <a:ext uri="{FF2B5EF4-FFF2-40B4-BE49-F238E27FC236}">
                      <a16:creationId xmlns:a16="http://schemas.microsoft.com/office/drawing/2014/main" id="{1338AFCB-8C2B-B119-EBF5-DE1B62B2B4A0}"/>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3" name="Graphic 790">
                <a:extLst>
                  <a:ext uri="{FF2B5EF4-FFF2-40B4-BE49-F238E27FC236}">
                    <a16:creationId xmlns:a16="http://schemas.microsoft.com/office/drawing/2014/main" id="{F8993455-7578-9FBD-2063-53BD08F1F18E}"/>
                  </a:ext>
                </a:extLst>
              </p:cNvPr>
              <p:cNvGrpSpPr/>
              <p:nvPr/>
            </p:nvGrpSpPr>
            <p:grpSpPr>
              <a:xfrm>
                <a:off x="7744015" y="3838193"/>
                <a:ext cx="75723" cy="75628"/>
                <a:chOff x="7744015" y="3838193"/>
                <a:chExt cx="75723" cy="75628"/>
              </a:xfrm>
            </p:grpSpPr>
            <p:sp>
              <p:nvSpPr>
                <p:cNvPr id="18346" name="Freeform: Shape 18345">
                  <a:extLst>
                    <a:ext uri="{FF2B5EF4-FFF2-40B4-BE49-F238E27FC236}">
                      <a16:creationId xmlns:a16="http://schemas.microsoft.com/office/drawing/2014/main" id="{74B0FBF6-3414-46BC-0CA5-B73338F28B07}"/>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7" name="Freeform: Shape 18346">
                  <a:extLst>
                    <a:ext uri="{FF2B5EF4-FFF2-40B4-BE49-F238E27FC236}">
                      <a16:creationId xmlns:a16="http://schemas.microsoft.com/office/drawing/2014/main" id="{03C397B0-2539-DCC7-C77C-105816F726F0}"/>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4" name="Graphic 790">
                <a:extLst>
                  <a:ext uri="{FF2B5EF4-FFF2-40B4-BE49-F238E27FC236}">
                    <a16:creationId xmlns:a16="http://schemas.microsoft.com/office/drawing/2014/main" id="{4CCCDDF9-74A7-0452-5156-3D09BD1BA017}"/>
                  </a:ext>
                </a:extLst>
              </p:cNvPr>
              <p:cNvGrpSpPr/>
              <p:nvPr/>
            </p:nvGrpSpPr>
            <p:grpSpPr>
              <a:xfrm>
                <a:off x="7836788" y="3873626"/>
                <a:ext cx="75723" cy="75628"/>
                <a:chOff x="7836788" y="3873626"/>
                <a:chExt cx="75723" cy="75628"/>
              </a:xfrm>
            </p:grpSpPr>
            <p:sp>
              <p:nvSpPr>
                <p:cNvPr id="18344" name="Freeform: Shape 18343">
                  <a:extLst>
                    <a:ext uri="{FF2B5EF4-FFF2-40B4-BE49-F238E27FC236}">
                      <a16:creationId xmlns:a16="http://schemas.microsoft.com/office/drawing/2014/main" id="{E7B2511B-EE36-8AC3-0D19-BF7D3FAABAC8}"/>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5" name="Freeform: Shape 18344">
                  <a:extLst>
                    <a:ext uri="{FF2B5EF4-FFF2-40B4-BE49-F238E27FC236}">
                      <a16:creationId xmlns:a16="http://schemas.microsoft.com/office/drawing/2014/main" id="{0E2D4AF9-A208-8B44-F12F-76917B790C89}"/>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5" name="Graphic 790">
                <a:extLst>
                  <a:ext uri="{FF2B5EF4-FFF2-40B4-BE49-F238E27FC236}">
                    <a16:creationId xmlns:a16="http://schemas.microsoft.com/office/drawing/2014/main" id="{9080AD93-28C8-9E60-B793-F2FE6D159A64}"/>
                  </a:ext>
                </a:extLst>
              </p:cNvPr>
              <p:cNvGrpSpPr/>
              <p:nvPr/>
            </p:nvGrpSpPr>
            <p:grpSpPr>
              <a:xfrm>
                <a:off x="7788401" y="3873626"/>
                <a:ext cx="75628" cy="75628"/>
                <a:chOff x="7788401" y="3873626"/>
                <a:chExt cx="75628" cy="75628"/>
              </a:xfrm>
            </p:grpSpPr>
            <p:sp>
              <p:nvSpPr>
                <p:cNvPr id="18342" name="Freeform: Shape 18341">
                  <a:extLst>
                    <a:ext uri="{FF2B5EF4-FFF2-40B4-BE49-F238E27FC236}">
                      <a16:creationId xmlns:a16="http://schemas.microsoft.com/office/drawing/2014/main" id="{BC48E8FE-EC62-5122-4BE5-B121591F044D}"/>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3" name="Freeform: Shape 18342">
                  <a:extLst>
                    <a:ext uri="{FF2B5EF4-FFF2-40B4-BE49-F238E27FC236}">
                      <a16:creationId xmlns:a16="http://schemas.microsoft.com/office/drawing/2014/main" id="{12A2D66E-8479-702D-2AF9-CD3B50023416}"/>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6" name="Graphic 790">
                <a:extLst>
                  <a:ext uri="{FF2B5EF4-FFF2-40B4-BE49-F238E27FC236}">
                    <a16:creationId xmlns:a16="http://schemas.microsoft.com/office/drawing/2014/main" id="{6F10ADAD-CA9F-4D17-33F7-87E96120EB31}"/>
                  </a:ext>
                </a:extLst>
              </p:cNvPr>
              <p:cNvGrpSpPr/>
              <p:nvPr/>
            </p:nvGrpSpPr>
            <p:grpSpPr>
              <a:xfrm>
                <a:off x="7781924" y="3873626"/>
                <a:ext cx="75628" cy="75628"/>
                <a:chOff x="7781924" y="3873626"/>
                <a:chExt cx="75628" cy="75628"/>
              </a:xfrm>
            </p:grpSpPr>
            <p:sp>
              <p:nvSpPr>
                <p:cNvPr id="18340" name="Freeform: Shape 18339">
                  <a:extLst>
                    <a:ext uri="{FF2B5EF4-FFF2-40B4-BE49-F238E27FC236}">
                      <a16:creationId xmlns:a16="http://schemas.microsoft.com/office/drawing/2014/main" id="{FBABF0C7-865E-C6CC-E86A-E863D1164B89}"/>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1" name="Freeform: Shape 18340">
                  <a:extLst>
                    <a:ext uri="{FF2B5EF4-FFF2-40B4-BE49-F238E27FC236}">
                      <a16:creationId xmlns:a16="http://schemas.microsoft.com/office/drawing/2014/main" id="{881E3997-368A-17E7-5984-4DC4678F1723}"/>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7" name="Graphic 790">
                <a:extLst>
                  <a:ext uri="{FF2B5EF4-FFF2-40B4-BE49-F238E27FC236}">
                    <a16:creationId xmlns:a16="http://schemas.microsoft.com/office/drawing/2014/main" id="{58976BF3-243F-123C-9228-CFE7BDD37E72}"/>
                  </a:ext>
                </a:extLst>
              </p:cNvPr>
              <p:cNvGrpSpPr/>
              <p:nvPr/>
            </p:nvGrpSpPr>
            <p:grpSpPr>
              <a:xfrm>
                <a:off x="7769351" y="3873626"/>
                <a:ext cx="75628" cy="75628"/>
                <a:chOff x="7769351" y="3873626"/>
                <a:chExt cx="75628" cy="75628"/>
              </a:xfrm>
            </p:grpSpPr>
            <p:sp>
              <p:nvSpPr>
                <p:cNvPr id="18338" name="Freeform: Shape 18337">
                  <a:extLst>
                    <a:ext uri="{FF2B5EF4-FFF2-40B4-BE49-F238E27FC236}">
                      <a16:creationId xmlns:a16="http://schemas.microsoft.com/office/drawing/2014/main" id="{4F15FFAC-7969-CF27-0FCF-17343034FEEF}"/>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9" name="Freeform: Shape 18338">
                  <a:extLst>
                    <a:ext uri="{FF2B5EF4-FFF2-40B4-BE49-F238E27FC236}">
                      <a16:creationId xmlns:a16="http://schemas.microsoft.com/office/drawing/2014/main" id="{988BC93E-9BD1-28B4-1F49-EAFC8188616E}"/>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8" name="Graphic 790">
                <a:extLst>
                  <a:ext uri="{FF2B5EF4-FFF2-40B4-BE49-F238E27FC236}">
                    <a16:creationId xmlns:a16="http://schemas.microsoft.com/office/drawing/2014/main" id="{1868F286-D7C0-193C-ECD7-2A562D2F66EB}"/>
                  </a:ext>
                </a:extLst>
              </p:cNvPr>
              <p:cNvGrpSpPr/>
              <p:nvPr/>
            </p:nvGrpSpPr>
            <p:grpSpPr>
              <a:xfrm>
                <a:off x="7762874" y="3873626"/>
                <a:ext cx="75628" cy="75628"/>
                <a:chOff x="7762874" y="3873626"/>
                <a:chExt cx="75628" cy="75628"/>
              </a:xfrm>
            </p:grpSpPr>
            <p:sp>
              <p:nvSpPr>
                <p:cNvPr id="18336" name="Freeform: Shape 18335">
                  <a:extLst>
                    <a:ext uri="{FF2B5EF4-FFF2-40B4-BE49-F238E27FC236}">
                      <a16:creationId xmlns:a16="http://schemas.microsoft.com/office/drawing/2014/main" id="{EC2FE05F-E7AF-0148-280D-6AC426DD315D}"/>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7" name="Freeform: Shape 18336">
                  <a:extLst>
                    <a:ext uri="{FF2B5EF4-FFF2-40B4-BE49-F238E27FC236}">
                      <a16:creationId xmlns:a16="http://schemas.microsoft.com/office/drawing/2014/main" id="{FED32DEE-FD12-30B0-3A0A-E00A367E436C}"/>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9" name="Graphic 790">
                <a:extLst>
                  <a:ext uri="{FF2B5EF4-FFF2-40B4-BE49-F238E27FC236}">
                    <a16:creationId xmlns:a16="http://schemas.microsoft.com/office/drawing/2014/main" id="{39FBA59C-8B5C-A08A-C00E-DA399D52684E}"/>
                  </a:ext>
                </a:extLst>
              </p:cNvPr>
              <p:cNvGrpSpPr/>
              <p:nvPr/>
            </p:nvGrpSpPr>
            <p:grpSpPr>
              <a:xfrm>
                <a:off x="7753730" y="3873626"/>
                <a:ext cx="75723" cy="75628"/>
                <a:chOff x="7753730" y="3873626"/>
                <a:chExt cx="75723" cy="75628"/>
              </a:xfrm>
            </p:grpSpPr>
            <p:sp>
              <p:nvSpPr>
                <p:cNvPr id="18334" name="Freeform: Shape 18333">
                  <a:extLst>
                    <a:ext uri="{FF2B5EF4-FFF2-40B4-BE49-F238E27FC236}">
                      <a16:creationId xmlns:a16="http://schemas.microsoft.com/office/drawing/2014/main" id="{5874C713-BADF-A68D-AEB1-912E586A1D33}"/>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5" name="Freeform: Shape 18334">
                  <a:extLst>
                    <a:ext uri="{FF2B5EF4-FFF2-40B4-BE49-F238E27FC236}">
                      <a16:creationId xmlns:a16="http://schemas.microsoft.com/office/drawing/2014/main" id="{D8DC460A-6C8F-5AAC-604F-6A1E18574654}"/>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0" name="Graphic 790">
                <a:extLst>
                  <a:ext uri="{FF2B5EF4-FFF2-40B4-BE49-F238E27FC236}">
                    <a16:creationId xmlns:a16="http://schemas.microsoft.com/office/drawing/2014/main" id="{1EEC153B-E51B-74B8-A1FB-DAF9961F8FFD}"/>
                  </a:ext>
                </a:extLst>
              </p:cNvPr>
              <p:cNvGrpSpPr/>
              <p:nvPr/>
            </p:nvGrpSpPr>
            <p:grpSpPr>
              <a:xfrm>
                <a:off x="7747253" y="3873626"/>
                <a:ext cx="75723" cy="75628"/>
                <a:chOff x="7747253" y="3873626"/>
                <a:chExt cx="75723" cy="75628"/>
              </a:xfrm>
            </p:grpSpPr>
            <p:sp>
              <p:nvSpPr>
                <p:cNvPr id="18332" name="Freeform: Shape 18331">
                  <a:extLst>
                    <a:ext uri="{FF2B5EF4-FFF2-40B4-BE49-F238E27FC236}">
                      <a16:creationId xmlns:a16="http://schemas.microsoft.com/office/drawing/2014/main" id="{44F1FC99-CA54-C977-E2ED-6B9C3A140291}"/>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3" name="Freeform: Shape 18332">
                  <a:extLst>
                    <a:ext uri="{FF2B5EF4-FFF2-40B4-BE49-F238E27FC236}">
                      <a16:creationId xmlns:a16="http://schemas.microsoft.com/office/drawing/2014/main" id="{20996B58-0BB5-5422-4CA3-B6E4C3DF253F}"/>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1" name="Graphic 790">
                <a:extLst>
                  <a:ext uri="{FF2B5EF4-FFF2-40B4-BE49-F238E27FC236}">
                    <a16:creationId xmlns:a16="http://schemas.microsoft.com/office/drawing/2014/main" id="{912BB636-259C-3A5A-CC3E-3B679A7379EE}"/>
                  </a:ext>
                </a:extLst>
              </p:cNvPr>
              <p:cNvGrpSpPr/>
              <p:nvPr/>
            </p:nvGrpSpPr>
            <p:grpSpPr>
              <a:xfrm>
                <a:off x="8155590" y="3932491"/>
                <a:ext cx="75723" cy="75628"/>
                <a:chOff x="8155590" y="3932491"/>
                <a:chExt cx="75723" cy="75628"/>
              </a:xfrm>
            </p:grpSpPr>
            <p:sp>
              <p:nvSpPr>
                <p:cNvPr id="18330" name="Freeform: Shape 18329">
                  <a:extLst>
                    <a:ext uri="{FF2B5EF4-FFF2-40B4-BE49-F238E27FC236}">
                      <a16:creationId xmlns:a16="http://schemas.microsoft.com/office/drawing/2014/main" id="{43198464-26F0-6BF6-E9D8-1B2CE328DB28}"/>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1" name="Freeform: Shape 18330">
                  <a:extLst>
                    <a:ext uri="{FF2B5EF4-FFF2-40B4-BE49-F238E27FC236}">
                      <a16:creationId xmlns:a16="http://schemas.microsoft.com/office/drawing/2014/main" id="{CFC7AF84-324E-4A2F-742F-02F12AD8E2A0}"/>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2" name="Graphic 790">
                <a:extLst>
                  <a:ext uri="{FF2B5EF4-FFF2-40B4-BE49-F238E27FC236}">
                    <a16:creationId xmlns:a16="http://schemas.microsoft.com/office/drawing/2014/main" id="{A760B768-CB42-FC6F-C6F8-5F0B228109E5}"/>
                  </a:ext>
                </a:extLst>
              </p:cNvPr>
              <p:cNvGrpSpPr/>
              <p:nvPr/>
            </p:nvGrpSpPr>
            <p:grpSpPr>
              <a:xfrm>
                <a:off x="8236743" y="3932491"/>
                <a:ext cx="75723" cy="75628"/>
                <a:chOff x="8236743" y="3932491"/>
                <a:chExt cx="75723" cy="75628"/>
              </a:xfrm>
            </p:grpSpPr>
            <p:sp>
              <p:nvSpPr>
                <p:cNvPr id="18328" name="Freeform: Shape 18327">
                  <a:extLst>
                    <a:ext uri="{FF2B5EF4-FFF2-40B4-BE49-F238E27FC236}">
                      <a16:creationId xmlns:a16="http://schemas.microsoft.com/office/drawing/2014/main" id="{2E5BF911-1714-1ECE-01D6-8E0EB87F9926}"/>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29" name="Freeform: Shape 18328">
                  <a:extLst>
                    <a:ext uri="{FF2B5EF4-FFF2-40B4-BE49-F238E27FC236}">
                      <a16:creationId xmlns:a16="http://schemas.microsoft.com/office/drawing/2014/main" id="{6C046E93-4CF5-D236-6521-FFACB7DB96C0}"/>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3" name="Graphic 790">
                <a:extLst>
                  <a:ext uri="{FF2B5EF4-FFF2-40B4-BE49-F238E27FC236}">
                    <a16:creationId xmlns:a16="http://schemas.microsoft.com/office/drawing/2014/main" id="{9E02F400-F9B2-C8C2-03EF-0D58C8AC5E26}"/>
                  </a:ext>
                </a:extLst>
              </p:cNvPr>
              <p:cNvGrpSpPr/>
              <p:nvPr/>
            </p:nvGrpSpPr>
            <p:grpSpPr>
              <a:xfrm>
                <a:off x="8224837" y="3932491"/>
                <a:ext cx="75628" cy="75628"/>
                <a:chOff x="8224837" y="3932491"/>
                <a:chExt cx="75628" cy="75628"/>
              </a:xfrm>
            </p:grpSpPr>
            <p:sp>
              <p:nvSpPr>
                <p:cNvPr id="18326" name="Freeform: Shape 18325">
                  <a:extLst>
                    <a:ext uri="{FF2B5EF4-FFF2-40B4-BE49-F238E27FC236}">
                      <a16:creationId xmlns:a16="http://schemas.microsoft.com/office/drawing/2014/main" id="{40C70DC9-6598-C418-B76A-05891F9D134D}"/>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27" name="Freeform: Shape 18326">
                  <a:extLst>
                    <a:ext uri="{FF2B5EF4-FFF2-40B4-BE49-F238E27FC236}">
                      <a16:creationId xmlns:a16="http://schemas.microsoft.com/office/drawing/2014/main" id="{292B3B76-C875-830A-7B12-1EC38969DA1F}"/>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4" name="Graphic 790">
                <a:extLst>
                  <a:ext uri="{FF2B5EF4-FFF2-40B4-BE49-F238E27FC236}">
                    <a16:creationId xmlns:a16="http://schemas.microsoft.com/office/drawing/2014/main" id="{9F302DAD-1910-BF5C-800E-0BC554095A8B}"/>
                  </a:ext>
                </a:extLst>
              </p:cNvPr>
              <p:cNvGrpSpPr/>
              <p:nvPr/>
            </p:nvGrpSpPr>
            <p:grpSpPr>
              <a:xfrm>
                <a:off x="8212835" y="3932491"/>
                <a:ext cx="75723" cy="75628"/>
                <a:chOff x="8212835" y="3932491"/>
                <a:chExt cx="75723" cy="75628"/>
              </a:xfrm>
            </p:grpSpPr>
            <p:sp>
              <p:nvSpPr>
                <p:cNvPr id="18324" name="Freeform: Shape 18323">
                  <a:extLst>
                    <a:ext uri="{FF2B5EF4-FFF2-40B4-BE49-F238E27FC236}">
                      <a16:creationId xmlns:a16="http://schemas.microsoft.com/office/drawing/2014/main" id="{D8697055-6385-22DF-B5E8-42F18C876FAF}"/>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25" name="Freeform: Shape 18324">
                  <a:extLst>
                    <a:ext uri="{FF2B5EF4-FFF2-40B4-BE49-F238E27FC236}">
                      <a16:creationId xmlns:a16="http://schemas.microsoft.com/office/drawing/2014/main" id="{EFE5A592-E7D3-96BE-3DD9-6F6B8768EAA5}"/>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5" name="Graphic 790">
                <a:extLst>
                  <a:ext uri="{FF2B5EF4-FFF2-40B4-BE49-F238E27FC236}">
                    <a16:creationId xmlns:a16="http://schemas.microsoft.com/office/drawing/2014/main" id="{4683ECE1-9682-CC84-627D-2BD41804E81C}"/>
                  </a:ext>
                </a:extLst>
              </p:cNvPr>
              <p:cNvGrpSpPr/>
              <p:nvPr/>
            </p:nvGrpSpPr>
            <p:grpSpPr>
              <a:xfrm>
                <a:off x="8146541" y="3932491"/>
                <a:ext cx="75628" cy="75628"/>
                <a:chOff x="8146541" y="3932491"/>
                <a:chExt cx="75628" cy="75628"/>
              </a:xfrm>
            </p:grpSpPr>
            <p:sp>
              <p:nvSpPr>
                <p:cNvPr id="18322" name="Freeform: Shape 18321">
                  <a:extLst>
                    <a:ext uri="{FF2B5EF4-FFF2-40B4-BE49-F238E27FC236}">
                      <a16:creationId xmlns:a16="http://schemas.microsoft.com/office/drawing/2014/main" id="{99CA90A2-B11E-D82E-768E-290DF4BD6ED1}"/>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23" name="Freeform: Shape 18322">
                  <a:extLst>
                    <a:ext uri="{FF2B5EF4-FFF2-40B4-BE49-F238E27FC236}">
                      <a16:creationId xmlns:a16="http://schemas.microsoft.com/office/drawing/2014/main" id="{695CA976-742D-9513-61EE-2E2D75CEFDAD}"/>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6" name="Graphic 790">
                <a:extLst>
                  <a:ext uri="{FF2B5EF4-FFF2-40B4-BE49-F238E27FC236}">
                    <a16:creationId xmlns:a16="http://schemas.microsoft.com/office/drawing/2014/main" id="{BEEAE098-E479-99C1-8162-B85B4FAB9840}"/>
                  </a:ext>
                </a:extLst>
              </p:cNvPr>
              <p:cNvGrpSpPr/>
              <p:nvPr/>
            </p:nvGrpSpPr>
            <p:grpSpPr>
              <a:xfrm>
                <a:off x="8166544" y="3932491"/>
                <a:ext cx="75723" cy="75628"/>
                <a:chOff x="8166544" y="3932491"/>
                <a:chExt cx="75723" cy="75628"/>
              </a:xfrm>
            </p:grpSpPr>
            <p:sp>
              <p:nvSpPr>
                <p:cNvPr id="18320" name="Freeform: Shape 18319">
                  <a:extLst>
                    <a:ext uri="{FF2B5EF4-FFF2-40B4-BE49-F238E27FC236}">
                      <a16:creationId xmlns:a16="http://schemas.microsoft.com/office/drawing/2014/main" id="{C4DB4992-8CD2-3A20-5888-E9A14914C83C}"/>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21" name="Freeform: Shape 18320">
                  <a:extLst>
                    <a:ext uri="{FF2B5EF4-FFF2-40B4-BE49-F238E27FC236}">
                      <a16:creationId xmlns:a16="http://schemas.microsoft.com/office/drawing/2014/main" id="{C1496572-5094-B006-C9B6-E5FA3EFC6B95}"/>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7" name="Graphic 790">
                <a:extLst>
                  <a:ext uri="{FF2B5EF4-FFF2-40B4-BE49-F238E27FC236}">
                    <a16:creationId xmlns:a16="http://schemas.microsoft.com/office/drawing/2014/main" id="{D12D1425-7A60-F946-FF6D-42C26A1D88D3}"/>
                  </a:ext>
                </a:extLst>
              </p:cNvPr>
              <p:cNvGrpSpPr/>
              <p:nvPr/>
            </p:nvGrpSpPr>
            <p:grpSpPr>
              <a:xfrm>
                <a:off x="8200929" y="3932491"/>
                <a:ext cx="75628" cy="75628"/>
                <a:chOff x="8200929" y="3932491"/>
                <a:chExt cx="75628" cy="75628"/>
              </a:xfrm>
            </p:grpSpPr>
            <p:sp>
              <p:nvSpPr>
                <p:cNvPr id="18318" name="Freeform: Shape 18317">
                  <a:extLst>
                    <a:ext uri="{FF2B5EF4-FFF2-40B4-BE49-F238E27FC236}">
                      <a16:creationId xmlns:a16="http://schemas.microsoft.com/office/drawing/2014/main" id="{C83140D5-94CB-AEC2-3177-195A79F8C023}"/>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19" name="Freeform: Shape 18318">
                  <a:extLst>
                    <a:ext uri="{FF2B5EF4-FFF2-40B4-BE49-F238E27FC236}">
                      <a16:creationId xmlns:a16="http://schemas.microsoft.com/office/drawing/2014/main" id="{7129E0EC-F9BB-8AD3-BBD3-5AA59FD53394}"/>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3146" name="Freeform: Shape 13145">
              <a:extLst>
                <a:ext uri="{FF2B5EF4-FFF2-40B4-BE49-F238E27FC236}">
                  <a16:creationId xmlns:a16="http://schemas.microsoft.com/office/drawing/2014/main" id="{98417265-8122-EF00-87BE-F2485B5563AB}"/>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6" name="Group 18545">
            <a:extLst>
              <a:ext uri="{FF2B5EF4-FFF2-40B4-BE49-F238E27FC236}">
                <a16:creationId xmlns:a16="http://schemas.microsoft.com/office/drawing/2014/main" id="{0BB660D4-577C-2FC2-1677-A3A6DFBDD55D}"/>
              </a:ext>
            </a:extLst>
          </p:cNvPr>
          <p:cNvGrpSpPr/>
          <p:nvPr/>
        </p:nvGrpSpPr>
        <p:grpSpPr>
          <a:xfrm>
            <a:off x="834913" y="4133989"/>
            <a:ext cx="2385787" cy="523220"/>
            <a:chOff x="1283828" y="4129371"/>
            <a:chExt cx="2090677" cy="523220"/>
          </a:xfrm>
        </p:grpSpPr>
        <p:sp>
          <p:nvSpPr>
            <p:cNvPr id="18547" name="TextBox 18546">
              <a:extLst>
                <a:ext uri="{FF2B5EF4-FFF2-40B4-BE49-F238E27FC236}">
                  <a16:creationId xmlns:a16="http://schemas.microsoft.com/office/drawing/2014/main" id="{8256F2BA-5197-2732-3FBF-61AA33B2B1CD}"/>
                </a:ext>
              </a:extLst>
            </p:cNvPr>
            <p:cNvSpPr txBox="1"/>
            <p:nvPr/>
          </p:nvSpPr>
          <p:spPr>
            <a:xfrm>
              <a:off x="1680132" y="4129371"/>
              <a:ext cx="169437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18548" name="Group 18547">
              <a:extLst>
                <a:ext uri="{FF2B5EF4-FFF2-40B4-BE49-F238E27FC236}">
                  <a16:creationId xmlns:a16="http://schemas.microsoft.com/office/drawing/2014/main" id="{C9157CE9-8ACD-B963-F198-8C3523EA8433}"/>
                </a:ext>
              </a:extLst>
            </p:cNvPr>
            <p:cNvGrpSpPr/>
            <p:nvPr/>
          </p:nvGrpSpPr>
          <p:grpSpPr>
            <a:xfrm>
              <a:off x="1289304" y="4278446"/>
              <a:ext cx="334470" cy="72000"/>
              <a:chOff x="2459420" y="3626363"/>
              <a:chExt cx="313728" cy="72000"/>
            </a:xfrm>
          </p:grpSpPr>
          <p:cxnSp>
            <p:nvCxnSpPr>
              <p:cNvPr id="18552" name="Straight Connector 18551">
                <a:extLst>
                  <a:ext uri="{FF2B5EF4-FFF2-40B4-BE49-F238E27FC236}">
                    <a16:creationId xmlns:a16="http://schemas.microsoft.com/office/drawing/2014/main" id="{B1A2682E-1AEB-9440-537D-BD29ED69546B}"/>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8553" name="Straight Connector 18552">
                <a:extLst>
                  <a:ext uri="{FF2B5EF4-FFF2-40B4-BE49-F238E27FC236}">
                    <a16:creationId xmlns:a16="http://schemas.microsoft.com/office/drawing/2014/main" id="{86AE7A22-CC17-FF04-5469-44643B5BA187}"/>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8549" name="Group 18548">
              <a:extLst>
                <a:ext uri="{FF2B5EF4-FFF2-40B4-BE49-F238E27FC236}">
                  <a16:creationId xmlns:a16="http://schemas.microsoft.com/office/drawing/2014/main" id="{BA150DDE-80B3-56FC-D15D-E9572D546B9E}"/>
                </a:ext>
              </a:extLst>
            </p:cNvPr>
            <p:cNvGrpSpPr/>
            <p:nvPr/>
          </p:nvGrpSpPr>
          <p:grpSpPr>
            <a:xfrm>
              <a:off x="1283828" y="4464183"/>
              <a:ext cx="345421" cy="72000"/>
              <a:chOff x="2454284" y="3812100"/>
              <a:chExt cx="324000" cy="72000"/>
            </a:xfrm>
          </p:grpSpPr>
          <p:cxnSp>
            <p:nvCxnSpPr>
              <p:cNvPr id="18550" name="Straight Connector 18549">
                <a:extLst>
                  <a:ext uri="{FF2B5EF4-FFF2-40B4-BE49-F238E27FC236}">
                    <a16:creationId xmlns:a16="http://schemas.microsoft.com/office/drawing/2014/main" id="{966CBD4F-52B0-B620-EFEF-76C2F0F96671}"/>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8551" name="Straight Connector 18550">
                <a:extLst>
                  <a:ext uri="{FF2B5EF4-FFF2-40B4-BE49-F238E27FC236}">
                    <a16:creationId xmlns:a16="http://schemas.microsoft.com/office/drawing/2014/main" id="{09559225-8F6D-FFEF-D3BB-0B2485260DCC}"/>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Tree>
    <p:extLst>
      <p:ext uri="{BB962C8B-B14F-4D97-AF65-F5344CB8AC3E}">
        <p14:creationId xmlns:p14="http://schemas.microsoft.com/office/powerpoint/2010/main" val="2467486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Dr George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91AD8D69-A41C-746C-66D1-CD72CCCFD9C7}"/>
              </a:ext>
            </a:extLst>
          </p:cNvPr>
          <p:cNvGraphicFramePr>
            <a:graphicFrameLocks/>
          </p:cNvGraphicFramePr>
          <p:nvPr>
            <p:extLst>
              <p:ext uri="{D42A27DB-BD31-4B8C-83A1-F6EECF244321}">
                <p14:modId xmlns:p14="http://schemas.microsoft.com/office/powerpoint/2010/main" val="2212655818"/>
              </p:ext>
            </p:extLst>
          </p:nvPr>
        </p:nvGraphicFramePr>
        <p:xfrm>
          <a:off x="1035208" y="1334019"/>
          <a:ext cx="10121582" cy="5059804"/>
        </p:xfrm>
        <a:graphic>
          <a:graphicData uri="http://schemas.openxmlformats.org/drawingml/2006/table">
            <a:tbl>
              <a:tblPr firstRow="1" bandRow="1">
                <a:tableStyleId>{F2DE63D5-997A-4646-A377-4702673A728D}</a:tableStyleId>
              </a:tblPr>
              <a:tblGrid>
                <a:gridCol w="2843681">
                  <a:extLst>
                    <a:ext uri="{9D8B030D-6E8A-4147-A177-3AD203B41FA5}">
                      <a16:colId xmlns:a16="http://schemas.microsoft.com/office/drawing/2014/main" val="20000"/>
                    </a:ext>
                  </a:extLst>
                </a:gridCol>
                <a:gridCol w="7277901">
                  <a:extLst>
                    <a:ext uri="{9D8B030D-6E8A-4147-A177-3AD203B41FA5}">
                      <a16:colId xmlns:a16="http://schemas.microsoft.com/office/drawing/2014/main" val="20001"/>
                    </a:ext>
                  </a:extLst>
                </a:gridCol>
              </a:tblGrid>
              <a:tr h="1239538">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ellas, AstraZeneca Pharmaceuticals LP, Bayer HealthCare Pharmaceuticals, Bristol Myers Squibb, Candel Therapeutics, Convergent Therapeutics Inc, Dendreon Pharmaceuticals LLC, Johnson &amp; Johnson,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92962">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 Bayer HealthCare Pharmaceuticals, Eisai Inc, Johnson &amp; Johnson,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739722">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 Bristol Myers Squibb, Exelixis Inc, Johnson &amp; Johnson, Merck, Novartis, Pfizer Inc, </a:t>
                      </a:r>
                      <a:r>
                        <a:rPr lang="en-US" sz="2000" b="0" kern="1200" dirty="0" err="1">
                          <a:solidFill>
                            <a:schemeClr val="tx1"/>
                          </a:solidFill>
                          <a:effectLst/>
                          <a:latin typeface="+mn-lt"/>
                          <a:ea typeface="+mn-ea"/>
                          <a:cs typeface="+mn-cs"/>
                        </a:rPr>
                        <a:t>pharmaand</a:t>
                      </a:r>
                      <a:r>
                        <a:rPr lang="en-US" sz="2000" b="0" kern="1200" dirty="0">
                          <a:solidFill>
                            <a:schemeClr val="tx1"/>
                          </a:solidFill>
                          <a:effectLst/>
                          <a:latin typeface="+mn-lt"/>
                          <a:ea typeface="+mn-ea"/>
                          <a:cs typeface="+mn-cs"/>
                        </a:rPr>
                        <a:t> Gmb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0160206"/>
                  </a:ext>
                </a:extLst>
              </a:tr>
              <a:tr h="946157">
                <a:tc>
                  <a:txBody>
                    <a:bodyPr/>
                    <a:lstStyle/>
                    <a:p>
                      <a:r>
                        <a:rPr lang="en-US" sz="20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9747798"/>
                  </a:ext>
                </a:extLst>
              </a:tr>
              <a:tr h="652775">
                <a:tc>
                  <a:txBody>
                    <a:bodyPr/>
                    <a:lstStyle/>
                    <a:p>
                      <a:r>
                        <a:rPr lang="en-US" sz="20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Bristol Myers Squibb,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0297633"/>
                  </a:ext>
                </a:extLst>
              </a:tr>
              <a:tr h="652775">
                <a:tc>
                  <a:txBody>
                    <a:bodyPr/>
                    <a:lstStyle/>
                    <a:p>
                      <a:r>
                        <a:rPr lang="en-US" sz="20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IDEOlogy</a:t>
                      </a:r>
                      <a:r>
                        <a:rPr lang="en-US" sz="2000" b="0" kern="1200" dirty="0">
                          <a:solidFill>
                            <a:schemeClr val="tx1"/>
                          </a:solidFill>
                          <a:effectLst/>
                          <a:latin typeface="+mn-lt"/>
                          <a:ea typeface="+mn-ea"/>
                          <a:cs typeface="+mn-cs"/>
                        </a:rPr>
                        <a:t> Health, MJH Life Sciences, </a:t>
                      </a:r>
                      <a:r>
                        <a:rPr lang="en-US" sz="2000" b="0" kern="1200" dirty="0" err="1">
                          <a:solidFill>
                            <a:schemeClr val="tx1"/>
                          </a:solidFill>
                          <a:effectLst/>
                          <a:latin typeface="+mn-lt"/>
                          <a:ea typeface="+mn-ea"/>
                          <a:cs typeface="+mn-cs"/>
                        </a:rPr>
                        <a:t>Onclive</a:t>
                      </a:r>
                      <a:r>
                        <a:rPr lang="en-US" sz="2000" b="0" kern="1200" dirty="0">
                          <a:solidFill>
                            <a:schemeClr val="tx1"/>
                          </a:solidFill>
                          <a:effectLst/>
                          <a:latin typeface="+mn-lt"/>
                          <a:ea typeface="+mn-ea"/>
                          <a:cs typeface="+mn-cs"/>
                        </a:rPr>
                        <a:t>, Targeted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090132"/>
                  </a:ext>
                </a:extLst>
              </a:tr>
            </a:tbl>
          </a:graphicData>
        </a:graphic>
      </p:graphicFrame>
    </p:spTree>
    <p:custDataLst>
      <p:tags r:id="rId1"/>
    </p:custDataLst>
    <p:extLst>
      <p:ext uri="{BB962C8B-B14F-4D97-AF65-F5344CB8AC3E}">
        <p14:creationId xmlns:p14="http://schemas.microsoft.com/office/powerpoint/2010/main" val="530758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B09EE-60C3-7842-E77B-FD6A1EFD5F5C}"/>
            </a:ext>
          </a:extLst>
        </p:cNvPr>
        <p:cNvGrpSpPr/>
        <p:nvPr/>
      </p:nvGrpSpPr>
      <p:grpSpPr>
        <a:xfrm>
          <a:off x="0" y="0"/>
          <a:ext cx="0" cy="0"/>
          <a:chOff x="0" y="0"/>
          <a:chExt cx="0" cy="0"/>
        </a:xfrm>
      </p:grpSpPr>
      <p:grpSp>
        <p:nvGrpSpPr>
          <p:cNvPr id="18450" name="Group 18449">
            <a:extLst>
              <a:ext uri="{FF2B5EF4-FFF2-40B4-BE49-F238E27FC236}">
                <a16:creationId xmlns:a16="http://schemas.microsoft.com/office/drawing/2014/main" id="{19D15C08-B117-B951-E2FB-B516AC2B19D7}"/>
              </a:ext>
            </a:extLst>
          </p:cNvPr>
          <p:cNvGrpSpPr/>
          <p:nvPr/>
        </p:nvGrpSpPr>
        <p:grpSpPr>
          <a:xfrm>
            <a:off x="677822" y="1468806"/>
            <a:ext cx="6832931" cy="2404800"/>
            <a:chOff x="3500437" y="2409824"/>
            <a:chExt cx="5186648" cy="2042255"/>
          </a:xfrm>
        </p:grpSpPr>
        <p:grpSp>
          <p:nvGrpSpPr>
            <p:cNvPr id="18451" name="Graphic 790">
              <a:extLst>
                <a:ext uri="{FF2B5EF4-FFF2-40B4-BE49-F238E27FC236}">
                  <a16:creationId xmlns:a16="http://schemas.microsoft.com/office/drawing/2014/main" id="{30F8FFAF-945A-B757-45A9-46E8D86685CB}"/>
                </a:ext>
              </a:extLst>
            </p:cNvPr>
            <p:cNvGrpSpPr/>
            <p:nvPr/>
          </p:nvGrpSpPr>
          <p:grpSpPr>
            <a:xfrm>
              <a:off x="3865530" y="2479547"/>
              <a:ext cx="4821555" cy="1972532"/>
              <a:chOff x="3865530" y="2479547"/>
              <a:chExt cx="4821555" cy="1972532"/>
            </a:xfrm>
          </p:grpSpPr>
          <p:grpSp>
            <p:nvGrpSpPr>
              <p:cNvPr id="18453" name="Graphic 790">
                <a:extLst>
                  <a:ext uri="{FF2B5EF4-FFF2-40B4-BE49-F238E27FC236}">
                    <a16:creationId xmlns:a16="http://schemas.microsoft.com/office/drawing/2014/main" id="{33404C17-8153-6B3B-A484-B729B66B5825}"/>
                  </a:ext>
                </a:extLst>
              </p:cNvPr>
              <p:cNvGrpSpPr/>
              <p:nvPr/>
            </p:nvGrpSpPr>
            <p:grpSpPr>
              <a:xfrm>
                <a:off x="8601169" y="4376356"/>
                <a:ext cx="75723" cy="75723"/>
                <a:chOff x="8601169" y="4376356"/>
                <a:chExt cx="75723" cy="75723"/>
              </a:xfrm>
            </p:grpSpPr>
            <p:sp>
              <p:nvSpPr>
                <p:cNvPr id="18792" name="Freeform: Shape 18791">
                  <a:extLst>
                    <a:ext uri="{FF2B5EF4-FFF2-40B4-BE49-F238E27FC236}">
                      <a16:creationId xmlns:a16="http://schemas.microsoft.com/office/drawing/2014/main" id="{E1008C79-1C21-21B0-A03B-CAA84FD4CBD3}"/>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3" name="Freeform: Shape 18792">
                  <a:extLst>
                    <a:ext uri="{FF2B5EF4-FFF2-40B4-BE49-F238E27FC236}">
                      <a16:creationId xmlns:a16="http://schemas.microsoft.com/office/drawing/2014/main" id="{33A48FD0-E427-DA0D-91F1-1DE9B1614002}"/>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4" name="Graphic 790">
                <a:extLst>
                  <a:ext uri="{FF2B5EF4-FFF2-40B4-BE49-F238E27FC236}">
                    <a16:creationId xmlns:a16="http://schemas.microsoft.com/office/drawing/2014/main" id="{B75ABAA3-D170-BB1A-CEBA-8E85AFE62CD3}"/>
                  </a:ext>
                </a:extLst>
              </p:cNvPr>
              <p:cNvGrpSpPr/>
              <p:nvPr/>
            </p:nvGrpSpPr>
            <p:grpSpPr>
              <a:xfrm>
                <a:off x="8611456" y="4376356"/>
                <a:ext cx="75628" cy="75723"/>
                <a:chOff x="8611456" y="4376356"/>
                <a:chExt cx="75628" cy="75723"/>
              </a:xfrm>
            </p:grpSpPr>
            <p:sp>
              <p:nvSpPr>
                <p:cNvPr id="18790" name="Freeform: Shape 18789">
                  <a:extLst>
                    <a:ext uri="{FF2B5EF4-FFF2-40B4-BE49-F238E27FC236}">
                      <a16:creationId xmlns:a16="http://schemas.microsoft.com/office/drawing/2014/main" id="{BAD3866C-AB12-2053-E998-359BB813D538}"/>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1" name="Freeform: Shape 18790">
                  <a:extLst>
                    <a:ext uri="{FF2B5EF4-FFF2-40B4-BE49-F238E27FC236}">
                      <a16:creationId xmlns:a16="http://schemas.microsoft.com/office/drawing/2014/main" id="{DADF19A6-86A4-E1E4-5B84-B675F0518C83}"/>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5" name="Graphic 790">
                <a:extLst>
                  <a:ext uri="{FF2B5EF4-FFF2-40B4-BE49-F238E27FC236}">
                    <a16:creationId xmlns:a16="http://schemas.microsoft.com/office/drawing/2014/main" id="{68CF90B5-02AA-6DB5-97EE-AE5E17702289}"/>
                  </a:ext>
                </a:extLst>
              </p:cNvPr>
              <p:cNvGrpSpPr/>
              <p:nvPr/>
            </p:nvGrpSpPr>
            <p:grpSpPr>
              <a:xfrm>
                <a:off x="8583453" y="4106989"/>
                <a:ext cx="75723" cy="75723"/>
                <a:chOff x="8583453" y="4106989"/>
                <a:chExt cx="75723" cy="75723"/>
              </a:xfrm>
            </p:grpSpPr>
            <p:sp>
              <p:nvSpPr>
                <p:cNvPr id="18788" name="Freeform: Shape 18787">
                  <a:extLst>
                    <a:ext uri="{FF2B5EF4-FFF2-40B4-BE49-F238E27FC236}">
                      <a16:creationId xmlns:a16="http://schemas.microsoft.com/office/drawing/2014/main" id="{C92BE497-C522-5170-EBF5-D669AA5647C4}"/>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9" name="Freeform: Shape 18788">
                  <a:extLst>
                    <a:ext uri="{FF2B5EF4-FFF2-40B4-BE49-F238E27FC236}">
                      <a16:creationId xmlns:a16="http://schemas.microsoft.com/office/drawing/2014/main" id="{DE4FE8C1-1711-D434-7F1E-17E09BC37B8E}"/>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6" name="Graphic 790">
                <a:extLst>
                  <a:ext uri="{FF2B5EF4-FFF2-40B4-BE49-F238E27FC236}">
                    <a16:creationId xmlns:a16="http://schemas.microsoft.com/office/drawing/2014/main" id="{838D64EE-C49B-82D3-EFEC-68A7F42E70EA}"/>
                  </a:ext>
                </a:extLst>
              </p:cNvPr>
              <p:cNvGrpSpPr/>
              <p:nvPr/>
            </p:nvGrpSpPr>
            <p:grpSpPr>
              <a:xfrm>
                <a:off x="8465057" y="4106989"/>
                <a:ext cx="75723" cy="75723"/>
                <a:chOff x="8465057" y="4106989"/>
                <a:chExt cx="75723" cy="75723"/>
              </a:xfrm>
            </p:grpSpPr>
            <p:sp>
              <p:nvSpPr>
                <p:cNvPr id="18786" name="Freeform: Shape 18785">
                  <a:extLst>
                    <a:ext uri="{FF2B5EF4-FFF2-40B4-BE49-F238E27FC236}">
                      <a16:creationId xmlns:a16="http://schemas.microsoft.com/office/drawing/2014/main" id="{234C2630-4661-8B86-1293-37066C5CC9FE}"/>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7" name="Freeform: Shape 18786">
                  <a:extLst>
                    <a:ext uri="{FF2B5EF4-FFF2-40B4-BE49-F238E27FC236}">
                      <a16:creationId xmlns:a16="http://schemas.microsoft.com/office/drawing/2014/main" id="{6C3B6EEE-427D-4BFB-AB32-BE5492E73F37}"/>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7" name="Graphic 790">
                <a:extLst>
                  <a:ext uri="{FF2B5EF4-FFF2-40B4-BE49-F238E27FC236}">
                    <a16:creationId xmlns:a16="http://schemas.microsoft.com/office/drawing/2014/main" id="{40469178-70F1-5C96-630C-DB427C770A7E}"/>
                  </a:ext>
                </a:extLst>
              </p:cNvPr>
              <p:cNvGrpSpPr/>
              <p:nvPr/>
            </p:nvGrpSpPr>
            <p:grpSpPr>
              <a:xfrm>
                <a:off x="8070817" y="3932491"/>
                <a:ext cx="75723" cy="75628"/>
                <a:chOff x="8070817" y="3932491"/>
                <a:chExt cx="75723" cy="75628"/>
              </a:xfrm>
            </p:grpSpPr>
            <p:sp>
              <p:nvSpPr>
                <p:cNvPr id="18784" name="Freeform: Shape 18783">
                  <a:extLst>
                    <a:ext uri="{FF2B5EF4-FFF2-40B4-BE49-F238E27FC236}">
                      <a16:creationId xmlns:a16="http://schemas.microsoft.com/office/drawing/2014/main" id="{FF31D2DC-0D5A-965F-C97A-49AC6C5B4404}"/>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5" name="Freeform: Shape 18784">
                  <a:extLst>
                    <a:ext uri="{FF2B5EF4-FFF2-40B4-BE49-F238E27FC236}">
                      <a16:creationId xmlns:a16="http://schemas.microsoft.com/office/drawing/2014/main" id="{F35290D3-9A04-E02F-368D-E22669754982}"/>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8" name="Graphic 790">
                <a:extLst>
                  <a:ext uri="{FF2B5EF4-FFF2-40B4-BE49-F238E27FC236}">
                    <a16:creationId xmlns:a16="http://schemas.microsoft.com/office/drawing/2014/main" id="{07C36E97-C13E-CEC3-9104-30A4F09B69AD}"/>
                  </a:ext>
                </a:extLst>
              </p:cNvPr>
              <p:cNvGrpSpPr/>
              <p:nvPr/>
            </p:nvGrpSpPr>
            <p:grpSpPr>
              <a:xfrm>
                <a:off x="7717726" y="3838193"/>
                <a:ext cx="75628" cy="75628"/>
                <a:chOff x="7717726" y="3838193"/>
                <a:chExt cx="75628" cy="75628"/>
              </a:xfrm>
            </p:grpSpPr>
            <p:sp>
              <p:nvSpPr>
                <p:cNvPr id="18782" name="Freeform: Shape 18781">
                  <a:extLst>
                    <a:ext uri="{FF2B5EF4-FFF2-40B4-BE49-F238E27FC236}">
                      <a16:creationId xmlns:a16="http://schemas.microsoft.com/office/drawing/2014/main" id="{A981DD0A-5F9E-5927-9FE3-2218ED75AC0E}"/>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3" name="Freeform: Shape 18782">
                  <a:extLst>
                    <a:ext uri="{FF2B5EF4-FFF2-40B4-BE49-F238E27FC236}">
                      <a16:creationId xmlns:a16="http://schemas.microsoft.com/office/drawing/2014/main" id="{B1B9A484-8727-84B4-D4F3-C4656F96B537}"/>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59" name="Graphic 790">
                <a:extLst>
                  <a:ext uri="{FF2B5EF4-FFF2-40B4-BE49-F238E27FC236}">
                    <a16:creationId xmlns:a16="http://schemas.microsoft.com/office/drawing/2014/main" id="{9F5DBAC6-E0A8-BF59-A633-C273D9FDC937}"/>
                  </a:ext>
                </a:extLst>
              </p:cNvPr>
              <p:cNvGrpSpPr/>
              <p:nvPr/>
            </p:nvGrpSpPr>
            <p:grpSpPr>
              <a:xfrm>
                <a:off x="7431499" y="3801712"/>
                <a:ext cx="75723" cy="75723"/>
                <a:chOff x="7431499" y="3801712"/>
                <a:chExt cx="75723" cy="75723"/>
              </a:xfrm>
            </p:grpSpPr>
            <p:sp>
              <p:nvSpPr>
                <p:cNvPr id="18780" name="Freeform: Shape 18779">
                  <a:extLst>
                    <a:ext uri="{FF2B5EF4-FFF2-40B4-BE49-F238E27FC236}">
                      <a16:creationId xmlns:a16="http://schemas.microsoft.com/office/drawing/2014/main" id="{EBE1D9B6-2E70-A5E5-C296-7583B4356063}"/>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1" name="Freeform: Shape 18780">
                  <a:extLst>
                    <a:ext uri="{FF2B5EF4-FFF2-40B4-BE49-F238E27FC236}">
                      <a16:creationId xmlns:a16="http://schemas.microsoft.com/office/drawing/2014/main" id="{34B23D18-DC7C-A9B4-34F0-EDF6C0E734DE}"/>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0" name="Graphic 790">
                <a:extLst>
                  <a:ext uri="{FF2B5EF4-FFF2-40B4-BE49-F238E27FC236}">
                    <a16:creationId xmlns:a16="http://schemas.microsoft.com/office/drawing/2014/main" id="{9F129F00-5F0E-6A37-B912-F18CC4FE3991}"/>
                  </a:ext>
                </a:extLst>
              </p:cNvPr>
              <p:cNvGrpSpPr/>
              <p:nvPr/>
            </p:nvGrpSpPr>
            <p:grpSpPr>
              <a:xfrm>
                <a:off x="7239380" y="3719226"/>
                <a:ext cx="75723" cy="75723"/>
                <a:chOff x="7239380" y="3719226"/>
                <a:chExt cx="75723" cy="75723"/>
              </a:xfrm>
            </p:grpSpPr>
            <p:sp>
              <p:nvSpPr>
                <p:cNvPr id="18778" name="Freeform: Shape 18777">
                  <a:extLst>
                    <a:ext uri="{FF2B5EF4-FFF2-40B4-BE49-F238E27FC236}">
                      <a16:creationId xmlns:a16="http://schemas.microsoft.com/office/drawing/2014/main" id="{407D0C2E-610E-1D9D-4DE0-68CA3F9D92AF}"/>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9" name="Freeform: Shape 18778">
                  <a:extLst>
                    <a:ext uri="{FF2B5EF4-FFF2-40B4-BE49-F238E27FC236}">
                      <a16:creationId xmlns:a16="http://schemas.microsoft.com/office/drawing/2014/main" id="{E94BBA70-7067-6727-DCD8-13EC00650409}"/>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1" name="Graphic 790">
                <a:extLst>
                  <a:ext uri="{FF2B5EF4-FFF2-40B4-BE49-F238E27FC236}">
                    <a16:creationId xmlns:a16="http://schemas.microsoft.com/office/drawing/2014/main" id="{4A67C67D-9CE4-3052-F4B2-9804B0CA3C97}"/>
                  </a:ext>
                </a:extLst>
              </p:cNvPr>
              <p:cNvGrpSpPr/>
              <p:nvPr/>
            </p:nvGrpSpPr>
            <p:grpSpPr>
              <a:xfrm>
                <a:off x="7024401" y="3677030"/>
                <a:ext cx="75723" cy="75628"/>
                <a:chOff x="7024401" y="3677030"/>
                <a:chExt cx="75723" cy="75628"/>
              </a:xfrm>
            </p:grpSpPr>
            <p:sp>
              <p:nvSpPr>
                <p:cNvPr id="18776" name="Freeform: Shape 18775">
                  <a:extLst>
                    <a:ext uri="{FF2B5EF4-FFF2-40B4-BE49-F238E27FC236}">
                      <a16:creationId xmlns:a16="http://schemas.microsoft.com/office/drawing/2014/main" id="{DAAFF16D-40F0-BDF0-A04B-E32EA64CEAF4}"/>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7" name="Freeform: Shape 18776">
                  <a:extLst>
                    <a:ext uri="{FF2B5EF4-FFF2-40B4-BE49-F238E27FC236}">
                      <a16:creationId xmlns:a16="http://schemas.microsoft.com/office/drawing/2014/main" id="{582AF181-418C-36A4-4E6D-2F2340B1640F}"/>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2" name="Graphic 790">
                <a:extLst>
                  <a:ext uri="{FF2B5EF4-FFF2-40B4-BE49-F238E27FC236}">
                    <a16:creationId xmlns:a16="http://schemas.microsoft.com/office/drawing/2014/main" id="{B3459DD4-B86A-1C2D-BFFB-4F5333646C23}"/>
                  </a:ext>
                </a:extLst>
              </p:cNvPr>
              <p:cNvGrpSpPr/>
              <p:nvPr/>
            </p:nvGrpSpPr>
            <p:grpSpPr>
              <a:xfrm>
                <a:off x="6938104" y="3677030"/>
                <a:ext cx="75723" cy="75628"/>
                <a:chOff x="6938104" y="3677030"/>
                <a:chExt cx="75723" cy="75628"/>
              </a:xfrm>
            </p:grpSpPr>
            <p:sp>
              <p:nvSpPr>
                <p:cNvPr id="18774" name="Freeform: Shape 18773">
                  <a:extLst>
                    <a:ext uri="{FF2B5EF4-FFF2-40B4-BE49-F238E27FC236}">
                      <a16:creationId xmlns:a16="http://schemas.microsoft.com/office/drawing/2014/main" id="{6363D5C6-B3E3-BE38-AD18-506B84E47D0C}"/>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5" name="Freeform: Shape 18774">
                  <a:extLst>
                    <a:ext uri="{FF2B5EF4-FFF2-40B4-BE49-F238E27FC236}">
                      <a16:creationId xmlns:a16="http://schemas.microsoft.com/office/drawing/2014/main" id="{31D3DC4C-1384-0D12-2880-6CD6C26339C8}"/>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3" name="Graphic 790">
                <a:extLst>
                  <a:ext uri="{FF2B5EF4-FFF2-40B4-BE49-F238E27FC236}">
                    <a16:creationId xmlns:a16="http://schemas.microsoft.com/office/drawing/2014/main" id="{EB10A2BB-BD64-47C1-AB40-738D8183AFA7}"/>
                  </a:ext>
                </a:extLst>
              </p:cNvPr>
              <p:cNvGrpSpPr/>
              <p:nvPr/>
            </p:nvGrpSpPr>
            <p:grpSpPr>
              <a:xfrm>
                <a:off x="6838092" y="3652646"/>
                <a:ext cx="75723" cy="75723"/>
                <a:chOff x="6838092" y="3652646"/>
                <a:chExt cx="75723" cy="75723"/>
              </a:xfrm>
            </p:grpSpPr>
            <p:sp>
              <p:nvSpPr>
                <p:cNvPr id="18772" name="Freeform: Shape 18771">
                  <a:extLst>
                    <a:ext uri="{FF2B5EF4-FFF2-40B4-BE49-F238E27FC236}">
                      <a16:creationId xmlns:a16="http://schemas.microsoft.com/office/drawing/2014/main" id="{596152C8-2BED-0FBD-5996-EE2230328C04}"/>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3" name="Freeform: Shape 18772">
                  <a:extLst>
                    <a:ext uri="{FF2B5EF4-FFF2-40B4-BE49-F238E27FC236}">
                      <a16:creationId xmlns:a16="http://schemas.microsoft.com/office/drawing/2014/main" id="{7022B447-FC56-CDB4-1DB1-8E8D55050C2C}"/>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4" name="Graphic 790">
                <a:extLst>
                  <a:ext uri="{FF2B5EF4-FFF2-40B4-BE49-F238E27FC236}">
                    <a16:creationId xmlns:a16="http://schemas.microsoft.com/office/drawing/2014/main" id="{EC891C96-73A0-29C6-92A3-088FAC2BA2F9}"/>
                  </a:ext>
                </a:extLst>
              </p:cNvPr>
              <p:cNvGrpSpPr/>
              <p:nvPr/>
            </p:nvGrpSpPr>
            <p:grpSpPr>
              <a:xfrm>
                <a:off x="6516337" y="3639883"/>
                <a:ext cx="75723" cy="75723"/>
                <a:chOff x="6516337" y="3639883"/>
                <a:chExt cx="75723" cy="75723"/>
              </a:xfrm>
            </p:grpSpPr>
            <p:sp>
              <p:nvSpPr>
                <p:cNvPr id="18770" name="Freeform: Shape 18769">
                  <a:extLst>
                    <a:ext uri="{FF2B5EF4-FFF2-40B4-BE49-F238E27FC236}">
                      <a16:creationId xmlns:a16="http://schemas.microsoft.com/office/drawing/2014/main" id="{B7C6EAA3-FB87-CAF2-D015-EED58B696084}"/>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1" name="Freeform: Shape 18770">
                  <a:extLst>
                    <a:ext uri="{FF2B5EF4-FFF2-40B4-BE49-F238E27FC236}">
                      <a16:creationId xmlns:a16="http://schemas.microsoft.com/office/drawing/2014/main" id="{C2C172A9-8CA7-2FFA-2E61-62C6794DD4AB}"/>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5" name="Graphic 790">
                <a:extLst>
                  <a:ext uri="{FF2B5EF4-FFF2-40B4-BE49-F238E27FC236}">
                    <a16:creationId xmlns:a16="http://schemas.microsoft.com/office/drawing/2014/main" id="{82A3FA76-D945-E119-FB43-480252FA37A5}"/>
                  </a:ext>
                </a:extLst>
              </p:cNvPr>
              <p:cNvGrpSpPr/>
              <p:nvPr/>
            </p:nvGrpSpPr>
            <p:grpSpPr>
              <a:xfrm>
                <a:off x="6461950" y="3639883"/>
                <a:ext cx="75628" cy="75723"/>
                <a:chOff x="6461950" y="3639883"/>
                <a:chExt cx="75628" cy="75723"/>
              </a:xfrm>
            </p:grpSpPr>
            <p:sp>
              <p:nvSpPr>
                <p:cNvPr id="18768" name="Freeform: Shape 18767">
                  <a:extLst>
                    <a:ext uri="{FF2B5EF4-FFF2-40B4-BE49-F238E27FC236}">
                      <a16:creationId xmlns:a16="http://schemas.microsoft.com/office/drawing/2014/main" id="{69761E63-8FFA-13BE-80FC-C01E8281E2C3}"/>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9" name="Freeform: Shape 18768">
                  <a:extLst>
                    <a:ext uri="{FF2B5EF4-FFF2-40B4-BE49-F238E27FC236}">
                      <a16:creationId xmlns:a16="http://schemas.microsoft.com/office/drawing/2014/main" id="{D199E9EA-DDCD-DB16-8FFD-051BECF67715}"/>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6" name="Graphic 790">
                <a:extLst>
                  <a:ext uri="{FF2B5EF4-FFF2-40B4-BE49-F238E27FC236}">
                    <a16:creationId xmlns:a16="http://schemas.microsoft.com/office/drawing/2014/main" id="{4F9BF46F-0D3E-B1D6-1575-5EFE42225801}"/>
                  </a:ext>
                </a:extLst>
              </p:cNvPr>
              <p:cNvGrpSpPr/>
              <p:nvPr/>
            </p:nvGrpSpPr>
            <p:grpSpPr>
              <a:xfrm>
                <a:off x="6475475" y="3639883"/>
                <a:ext cx="75723" cy="75723"/>
                <a:chOff x="6475475" y="3639883"/>
                <a:chExt cx="75723" cy="75723"/>
              </a:xfrm>
            </p:grpSpPr>
            <p:sp>
              <p:nvSpPr>
                <p:cNvPr id="18766" name="Freeform: Shape 18765">
                  <a:extLst>
                    <a:ext uri="{FF2B5EF4-FFF2-40B4-BE49-F238E27FC236}">
                      <a16:creationId xmlns:a16="http://schemas.microsoft.com/office/drawing/2014/main" id="{62F1685C-FC2F-1B60-BAAB-BFFF85164E33}"/>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7" name="Freeform: Shape 18766">
                  <a:extLst>
                    <a:ext uri="{FF2B5EF4-FFF2-40B4-BE49-F238E27FC236}">
                      <a16:creationId xmlns:a16="http://schemas.microsoft.com/office/drawing/2014/main" id="{41BD6E84-1958-8EE9-9135-8912913920A7}"/>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7" name="Graphic 790">
                <a:extLst>
                  <a:ext uri="{FF2B5EF4-FFF2-40B4-BE49-F238E27FC236}">
                    <a16:creationId xmlns:a16="http://schemas.microsoft.com/office/drawing/2014/main" id="{DDBA2996-8B40-60FA-6763-D6A32088D47B}"/>
                  </a:ext>
                </a:extLst>
              </p:cNvPr>
              <p:cNvGrpSpPr/>
              <p:nvPr/>
            </p:nvGrpSpPr>
            <p:grpSpPr>
              <a:xfrm>
                <a:off x="6489096" y="3639883"/>
                <a:ext cx="75723" cy="75723"/>
                <a:chOff x="6489096" y="3639883"/>
                <a:chExt cx="75723" cy="75723"/>
              </a:xfrm>
            </p:grpSpPr>
            <p:sp>
              <p:nvSpPr>
                <p:cNvPr id="18764" name="Freeform: Shape 18763">
                  <a:extLst>
                    <a:ext uri="{FF2B5EF4-FFF2-40B4-BE49-F238E27FC236}">
                      <a16:creationId xmlns:a16="http://schemas.microsoft.com/office/drawing/2014/main" id="{1526CB27-BEFE-AB9B-0506-71C1E0E4108B}"/>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5" name="Freeform: Shape 18764">
                  <a:extLst>
                    <a:ext uri="{FF2B5EF4-FFF2-40B4-BE49-F238E27FC236}">
                      <a16:creationId xmlns:a16="http://schemas.microsoft.com/office/drawing/2014/main" id="{BACC4283-6ADE-D9D1-8393-D64FE93B3980}"/>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8" name="Graphic 790">
                <a:extLst>
                  <a:ext uri="{FF2B5EF4-FFF2-40B4-BE49-F238E27FC236}">
                    <a16:creationId xmlns:a16="http://schemas.microsoft.com/office/drawing/2014/main" id="{839E3DBB-9ECF-F682-3245-2F425C4D2FFB}"/>
                  </a:ext>
                </a:extLst>
              </p:cNvPr>
              <p:cNvGrpSpPr/>
              <p:nvPr/>
            </p:nvGrpSpPr>
            <p:grpSpPr>
              <a:xfrm>
                <a:off x="6399847" y="3598449"/>
                <a:ext cx="75628" cy="75723"/>
                <a:chOff x="6399847" y="3598449"/>
                <a:chExt cx="75628" cy="75723"/>
              </a:xfrm>
            </p:grpSpPr>
            <p:sp>
              <p:nvSpPr>
                <p:cNvPr id="18762" name="Freeform: Shape 18761">
                  <a:extLst>
                    <a:ext uri="{FF2B5EF4-FFF2-40B4-BE49-F238E27FC236}">
                      <a16:creationId xmlns:a16="http://schemas.microsoft.com/office/drawing/2014/main" id="{E7C46C60-A294-C2DF-4FD0-0E8B69D0C693}"/>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3" name="Freeform: Shape 18762">
                  <a:extLst>
                    <a:ext uri="{FF2B5EF4-FFF2-40B4-BE49-F238E27FC236}">
                      <a16:creationId xmlns:a16="http://schemas.microsoft.com/office/drawing/2014/main" id="{767B7DE3-B46E-D403-56FB-8617A066C345}"/>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9" name="Graphic 790">
                <a:extLst>
                  <a:ext uri="{FF2B5EF4-FFF2-40B4-BE49-F238E27FC236}">
                    <a16:creationId xmlns:a16="http://schemas.microsoft.com/office/drawing/2014/main" id="{5256B80B-72FF-C674-EE4A-195A345BDDC1}"/>
                  </a:ext>
                </a:extLst>
              </p:cNvPr>
              <p:cNvGrpSpPr/>
              <p:nvPr/>
            </p:nvGrpSpPr>
            <p:grpSpPr>
              <a:xfrm>
                <a:off x="6254590" y="3598449"/>
                <a:ext cx="75723" cy="75723"/>
                <a:chOff x="6254590" y="3598449"/>
                <a:chExt cx="75723" cy="75723"/>
              </a:xfrm>
            </p:grpSpPr>
            <p:sp>
              <p:nvSpPr>
                <p:cNvPr id="18760" name="Freeform: Shape 18759">
                  <a:extLst>
                    <a:ext uri="{FF2B5EF4-FFF2-40B4-BE49-F238E27FC236}">
                      <a16:creationId xmlns:a16="http://schemas.microsoft.com/office/drawing/2014/main" id="{0BC5F2DA-BEFB-2FDB-AD69-18AF5093F454}"/>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1" name="Freeform: Shape 18760">
                  <a:extLst>
                    <a:ext uri="{FF2B5EF4-FFF2-40B4-BE49-F238E27FC236}">
                      <a16:creationId xmlns:a16="http://schemas.microsoft.com/office/drawing/2014/main" id="{D26D69D7-B272-B8AD-AF3F-8C5847C3166B}"/>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0" name="Graphic 790">
                <a:extLst>
                  <a:ext uri="{FF2B5EF4-FFF2-40B4-BE49-F238E27FC236}">
                    <a16:creationId xmlns:a16="http://schemas.microsoft.com/office/drawing/2014/main" id="{F03FAAB8-DB79-BD5E-ED6E-85289F14DA08}"/>
                  </a:ext>
                </a:extLst>
              </p:cNvPr>
              <p:cNvGrpSpPr/>
              <p:nvPr/>
            </p:nvGrpSpPr>
            <p:grpSpPr>
              <a:xfrm>
                <a:off x="6192773" y="3598449"/>
                <a:ext cx="75723" cy="75723"/>
                <a:chOff x="6192773" y="3598449"/>
                <a:chExt cx="75723" cy="75723"/>
              </a:xfrm>
            </p:grpSpPr>
            <p:sp>
              <p:nvSpPr>
                <p:cNvPr id="18758" name="Freeform: Shape 18757">
                  <a:extLst>
                    <a:ext uri="{FF2B5EF4-FFF2-40B4-BE49-F238E27FC236}">
                      <a16:creationId xmlns:a16="http://schemas.microsoft.com/office/drawing/2014/main" id="{F0CAC6F6-EC43-FCCD-2719-A3280BD36A1A}"/>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9" name="Freeform: Shape 18758">
                  <a:extLst>
                    <a:ext uri="{FF2B5EF4-FFF2-40B4-BE49-F238E27FC236}">
                      <a16:creationId xmlns:a16="http://schemas.microsoft.com/office/drawing/2014/main" id="{548E8222-0D2A-542B-E8F9-E9DB80AC36C8}"/>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1" name="Graphic 790">
                <a:extLst>
                  <a:ext uri="{FF2B5EF4-FFF2-40B4-BE49-F238E27FC236}">
                    <a16:creationId xmlns:a16="http://schemas.microsoft.com/office/drawing/2014/main" id="{1D3A6D64-1B3B-493A-36B7-AAC176E6E94E}"/>
                  </a:ext>
                </a:extLst>
              </p:cNvPr>
              <p:cNvGrpSpPr/>
              <p:nvPr/>
            </p:nvGrpSpPr>
            <p:grpSpPr>
              <a:xfrm>
                <a:off x="6174104" y="3598449"/>
                <a:ext cx="75723" cy="75723"/>
                <a:chOff x="6174104" y="3598449"/>
                <a:chExt cx="75723" cy="75723"/>
              </a:xfrm>
            </p:grpSpPr>
            <p:sp>
              <p:nvSpPr>
                <p:cNvPr id="18756" name="Freeform: Shape 18755">
                  <a:extLst>
                    <a:ext uri="{FF2B5EF4-FFF2-40B4-BE49-F238E27FC236}">
                      <a16:creationId xmlns:a16="http://schemas.microsoft.com/office/drawing/2014/main" id="{2AAAC639-684F-135E-9054-62733C00BD2D}"/>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7" name="Freeform: Shape 18756">
                  <a:extLst>
                    <a:ext uri="{FF2B5EF4-FFF2-40B4-BE49-F238E27FC236}">
                      <a16:creationId xmlns:a16="http://schemas.microsoft.com/office/drawing/2014/main" id="{AF6B89B1-03F9-46F7-930D-F22D407249BA}"/>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2" name="Graphic 790">
                <a:extLst>
                  <a:ext uri="{FF2B5EF4-FFF2-40B4-BE49-F238E27FC236}">
                    <a16:creationId xmlns:a16="http://schemas.microsoft.com/office/drawing/2014/main" id="{E77BDE39-3BA4-E987-6AAE-61B849D211C5}"/>
                  </a:ext>
                </a:extLst>
              </p:cNvPr>
              <p:cNvGrpSpPr/>
              <p:nvPr/>
            </p:nvGrpSpPr>
            <p:grpSpPr>
              <a:xfrm>
                <a:off x="6096475" y="3598449"/>
                <a:ext cx="75723" cy="75723"/>
                <a:chOff x="6096475" y="3598449"/>
                <a:chExt cx="75723" cy="75723"/>
              </a:xfrm>
            </p:grpSpPr>
            <p:sp>
              <p:nvSpPr>
                <p:cNvPr id="18754" name="Freeform: Shape 18753">
                  <a:extLst>
                    <a:ext uri="{FF2B5EF4-FFF2-40B4-BE49-F238E27FC236}">
                      <a16:creationId xmlns:a16="http://schemas.microsoft.com/office/drawing/2014/main" id="{4C93F1A2-5031-626E-7682-F4AFDCDC3A21}"/>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5" name="Freeform: Shape 18754">
                  <a:extLst>
                    <a:ext uri="{FF2B5EF4-FFF2-40B4-BE49-F238E27FC236}">
                      <a16:creationId xmlns:a16="http://schemas.microsoft.com/office/drawing/2014/main" id="{A5186136-C948-382B-FB15-BF9C25B95CFB}"/>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3" name="Graphic 790">
                <a:extLst>
                  <a:ext uri="{FF2B5EF4-FFF2-40B4-BE49-F238E27FC236}">
                    <a16:creationId xmlns:a16="http://schemas.microsoft.com/office/drawing/2014/main" id="{EF5E4F19-8C22-5730-1366-EACD08C3CDE2}"/>
                  </a:ext>
                </a:extLst>
              </p:cNvPr>
              <p:cNvGrpSpPr/>
              <p:nvPr/>
            </p:nvGrpSpPr>
            <p:grpSpPr>
              <a:xfrm>
                <a:off x="6078759" y="3598449"/>
                <a:ext cx="75628" cy="75723"/>
                <a:chOff x="6078759" y="3598449"/>
                <a:chExt cx="75628" cy="75723"/>
              </a:xfrm>
            </p:grpSpPr>
            <p:sp>
              <p:nvSpPr>
                <p:cNvPr id="18752" name="Freeform: Shape 18751">
                  <a:extLst>
                    <a:ext uri="{FF2B5EF4-FFF2-40B4-BE49-F238E27FC236}">
                      <a16:creationId xmlns:a16="http://schemas.microsoft.com/office/drawing/2014/main" id="{DC373F0D-3DA2-E1A0-8506-F1971120B287}"/>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3" name="Freeform: Shape 18752">
                  <a:extLst>
                    <a:ext uri="{FF2B5EF4-FFF2-40B4-BE49-F238E27FC236}">
                      <a16:creationId xmlns:a16="http://schemas.microsoft.com/office/drawing/2014/main" id="{09F6471B-635D-1204-1474-5BE08641B485}"/>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4" name="Graphic 790">
                <a:extLst>
                  <a:ext uri="{FF2B5EF4-FFF2-40B4-BE49-F238E27FC236}">
                    <a16:creationId xmlns:a16="http://schemas.microsoft.com/office/drawing/2014/main" id="{78262DD3-64AF-D1B7-64C8-01BAF4F4CBA2}"/>
                  </a:ext>
                </a:extLst>
              </p:cNvPr>
              <p:cNvGrpSpPr/>
              <p:nvPr/>
            </p:nvGrpSpPr>
            <p:grpSpPr>
              <a:xfrm>
                <a:off x="6039135" y="3546442"/>
                <a:ext cx="75723" cy="75628"/>
                <a:chOff x="6039135" y="3546442"/>
                <a:chExt cx="75723" cy="75628"/>
              </a:xfrm>
            </p:grpSpPr>
            <p:sp>
              <p:nvSpPr>
                <p:cNvPr id="18750" name="Freeform: Shape 18749">
                  <a:extLst>
                    <a:ext uri="{FF2B5EF4-FFF2-40B4-BE49-F238E27FC236}">
                      <a16:creationId xmlns:a16="http://schemas.microsoft.com/office/drawing/2014/main" id="{6E107FA1-CA20-8511-2BDA-8E6CC7727598}"/>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1" name="Freeform: Shape 18750">
                  <a:extLst>
                    <a:ext uri="{FF2B5EF4-FFF2-40B4-BE49-F238E27FC236}">
                      <a16:creationId xmlns:a16="http://schemas.microsoft.com/office/drawing/2014/main" id="{F45CFCA1-5BF9-BBD8-FF54-618ECC451F11}"/>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5" name="Graphic 790">
                <a:extLst>
                  <a:ext uri="{FF2B5EF4-FFF2-40B4-BE49-F238E27FC236}">
                    <a16:creationId xmlns:a16="http://schemas.microsoft.com/office/drawing/2014/main" id="{7E1ADE2F-EC0B-D208-CE67-07588A930A00}"/>
                  </a:ext>
                </a:extLst>
              </p:cNvPr>
              <p:cNvGrpSpPr/>
              <p:nvPr/>
            </p:nvGrpSpPr>
            <p:grpSpPr>
              <a:xfrm>
                <a:off x="5977984" y="3472814"/>
                <a:ext cx="75628" cy="75723"/>
                <a:chOff x="5977984" y="3472814"/>
                <a:chExt cx="75628" cy="75723"/>
              </a:xfrm>
            </p:grpSpPr>
            <p:sp>
              <p:nvSpPr>
                <p:cNvPr id="18748" name="Freeform: Shape 18747">
                  <a:extLst>
                    <a:ext uri="{FF2B5EF4-FFF2-40B4-BE49-F238E27FC236}">
                      <a16:creationId xmlns:a16="http://schemas.microsoft.com/office/drawing/2014/main" id="{596861FA-BC89-0DA8-0098-6CE3EE3DF15B}"/>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9" name="Freeform: Shape 18748">
                  <a:extLst>
                    <a:ext uri="{FF2B5EF4-FFF2-40B4-BE49-F238E27FC236}">
                      <a16:creationId xmlns:a16="http://schemas.microsoft.com/office/drawing/2014/main" id="{60EFEC3A-B9D6-85C0-B7AA-82F76C800502}"/>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6" name="Graphic 790">
                <a:extLst>
                  <a:ext uri="{FF2B5EF4-FFF2-40B4-BE49-F238E27FC236}">
                    <a16:creationId xmlns:a16="http://schemas.microsoft.com/office/drawing/2014/main" id="{E2F08893-B18C-95BE-CB5B-6C5FE1D0C334}"/>
                  </a:ext>
                </a:extLst>
              </p:cNvPr>
              <p:cNvGrpSpPr/>
              <p:nvPr/>
            </p:nvGrpSpPr>
            <p:grpSpPr>
              <a:xfrm>
                <a:off x="5730715" y="3443096"/>
                <a:ext cx="75723" cy="75723"/>
                <a:chOff x="5730715" y="3443096"/>
                <a:chExt cx="75723" cy="75723"/>
              </a:xfrm>
            </p:grpSpPr>
            <p:sp>
              <p:nvSpPr>
                <p:cNvPr id="18746" name="Freeform: Shape 18745">
                  <a:extLst>
                    <a:ext uri="{FF2B5EF4-FFF2-40B4-BE49-F238E27FC236}">
                      <a16:creationId xmlns:a16="http://schemas.microsoft.com/office/drawing/2014/main" id="{6AA3D425-BE64-680A-A0C8-06DB27B6AAFE}"/>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7" name="Freeform: Shape 18746">
                  <a:extLst>
                    <a:ext uri="{FF2B5EF4-FFF2-40B4-BE49-F238E27FC236}">
                      <a16:creationId xmlns:a16="http://schemas.microsoft.com/office/drawing/2014/main" id="{C77DF2EB-C91D-CE70-684D-8D45A6B6FF19}"/>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7" name="Graphic 790">
                <a:extLst>
                  <a:ext uri="{FF2B5EF4-FFF2-40B4-BE49-F238E27FC236}">
                    <a16:creationId xmlns:a16="http://schemas.microsoft.com/office/drawing/2014/main" id="{2EE0E7A3-AF25-5AE2-0F6E-DD83E0BB4183}"/>
                  </a:ext>
                </a:extLst>
              </p:cNvPr>
              <p:cNvGrpSpPr/>
              <p:nvPr/>
            </p:nvGrpSpPr>
            <p:grpSpPr>
              <a:xfrm>
                <a:off x="5503449" y="3300793"/>
                <a:ext cx="75723" cy="75723"/>
                <a:chOff x="5503449" y="3300793"/>
                <a:chExt cx="75723" cy="75723"/>
              </a:xfrm>
            </p:grpSpPr>
            <p:sp>
              <p:nvSpPr>
                <p:cNvPr id="18744" name="Freeform: Shape 18743">
                  <a:extLst>
                    <a:ext uri="{FF2B5EF4-FFF2-40B4-BE49-F238E27FC236}">
                      <a16:creationId xmlns:a16="http://schemas.microsoft.com/office/drawing/2014/main" id="{9B378F93-5140-3D9E-77DE-E1BEE7F97FF1}"/>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5" name="Freeform: Shape 18744">
                  <a:extLst>
                    <a:ext uri="{FF2B5EF4-FFF2-40B4-BE49-F238E27FC236}">
                      <a16:creationId xmlns:a16="http://schemas.microsoft.com/office/drawing/2014/main" id="{D137EBD4-EB6D-35DE-E855-34A34DFB1794}"/>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8" name="Graphic 790">
                <a:extLst>
                  <a:ext uri="{FF2B5EF4-FFF2-40B4-BE49-F238E27FC236}">
                    <a16:creationId xmlns:a16="http://schemas.microsoft.com/office/drawing/2014/main" id="{0746860D-18A0-9E7F-82BE-F04D4A501FFB}"/>
                  </a:ext>
                </a:extLst>
              </p:cNvPr>
              <p:cNvGrpSpPr/>
              <p:nvPr/>
            </p:nvGrpSpPr>
            <p:grpSpPr>
              <a:xfrm>
                <a:off x="5338095" y="3244786"/>
                <a:ext cx="75628" cy="75723"/>
                <a:chOff x="5338095" y="3244786"/>
                <a:chExt cx="75628" cy="75723"/>
              </a:xfrm>
            </p:grpSpPr>
            <p:sp>
              <p:nvSpPr>
                <p:cNvPr id="18742" name="Freeform: Shape 18741">
                  <a:extLst>
                    <a:ext uri="{FF2B5EF4-FFF2-40B4-BE49-F238E27FC236}">
                      <a16:creationId xmlns:a16="http://schemas.microsoft.com/office/drawing/2014/main" id="{4FB4F649-C257-7778-4867-69F43826BC7B}"/>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3" name="Freeform: Shape 18742">
                  <a:extLst>
                    <a:ext uri="{FF2B5EF4-FFF2-40B4-BE49-F238E27FC236}">
                      <a16:creationId xmlns:a16="http://schemas.microsoft.com/office/drawing/2014/main" id="{DD63F252-1BBF-3A09-F8ED-66558101B7D9}"/>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9" name="Graphic 790">
                <a:extLst>
                  <a:ext uri="{FF2B5EF4-FFF2-40B4-BE49-F238E27FC236}">
                    <a16:creationId xmlns:a16="http://schemas.microsoft.com/office/drawing/2014/main" id="{6A13D704-A5B5-BEDF-0C64-D2DE097095C1}"/>
                  </a:ext>
                </a:extLst>
              </p:cNvPr>
              <p:cNvGrpSpPr/>
              <p:nvPr/>
            </p:nvGrpSpPr>
            <p:grpSpPr>
              <a:xfrm>
                <a:off x="5268753" y="3244786"/>
                <a:ext cx="75723" cy="75723"/>
                <a:chOff x="5268753" y="3244786"/>
                <a:chExt cx="75723" cy="75723"/>
              </a:xfrm>
            </p:grpSpPr>
            <p:sp>
              <p:nvSpPr>
                <p:cNvPr id="18740" name="Freeform: Shape 18739">
                  <a:extLst>
                    <a:ext uri="{FF2B5EF4-FFF2-40B4-BE49-F238E27FC236}">
                      <a16:creationId xmlns:a16="http://schemas.microsoft.com/office/drawing/2014/main" id="{7FD48E2C-5DCD-0AF9-5139-24F230402204}"/>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1" name="Freeform: Shape 18740">
                  <a:extLst>
                    <a:ext uri="{FF2B5EF4-FFF2-40B4-BE49-F238E27FC236}">
                      <a16:creationId xmlns:a16="http://schemas.microsoft.com/office/drawing/2014/main" id="{804950C8-F4C5-26D4-40E8-009CDCD69AE9}"/>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0" name="Graphic 790">
                <a:extLst>
                  <a:ext uri="{FF2B5EF4-FFF2-40B4-BE49-F238E27FC236}">
                    <a16:creationId xmlns:a16="http://schemas.microsoft.com/office/drawing/2014/main" id="{503B74ED-972F-5643-793B-CEDC82247CA8}"/>
                  </a:ext>
                </a:extLst>
              </p:cNvPr>
              <p:cNvGrpSpPr/>
              <p:nvPr/>
            </p:nvGrpSpPr>
            <p:grpSpPr>
              <a:xfrm>
                <a:off x="5234082" y="3244786"/>
                <a:ext cx="75723" cy="75723"/>
                <a:chOff x="5234082" y="3244786"/>
                <a:chExt cx="75723" cy="75723"/>
              </a:xfrm>
            </p:grpSpPr>
            <p:sp>
              <p:nvSpPr>
                <p:cNvPr id="18738" name="Freeform: Shape 18737">
                  <a:extLst>
                    <a:ext uri="{FF2B5EF4-FFF2-40B4-BE49-F238E27FC236}">
                      <a16:creationId xmlns:a16="http://schemas.microsoft.com/office/drawing/2014/main" id="{C478B930-74FC-97AE-65E9-4B7AD7F77CE6}"/>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9" name="Freeform: Shape 18738">
                  <a:extLst>
                    <a:ext uri="{FF2B5EF4-FFF2-40B4-BE49-F238E27FC236}">
                      <a16:creationId xmlns:a16="http://schemas.microsoft.com/office/drawing/2014/main" id="{3AE6C8F6-D2E8-1E45-DD31-4160DFA5AD96}"/>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1" name="Graphic 790">
                <a:extLst>
                  <a:ext uri="{FF2B5EF4-FFF2-40B4-BE49-F238E27FC236}">
                    <a16:creationId xmlns:a16="http://schemas.microsoft.com/office/drawing/2014/main" id="{5654E5A5-5976-C228-8667-46537AC0C6E2}"/>
                  </a:ext>
                </a:extLst>
              </p:cNvPr>
              <p:cNvGrpSpPr/>
              <p:nvPr/>
            </p:nvGrpSpPr>
            <p:grpSpPr>
              <a:xfrm>
                <a:off x="5211603" y="3234689"/>
                <a:ext cx="75723" cy="75723"/>
                <a:chOff x="5211603" y="3234689"/>
                <a:chExt cx="75723" cy="75723"/>
              </a:xfrm>
            </p:grpSpPr>
            <p:sp>
              <p:nvSpPr>
                <p:cNvPr id="18736" name="Freeform: Shape 18735">
                  <a:extLst>
                    <a:ext uri="{FF2B5EF4-FFF2-40B4-BE49-F238E27FC236}">
                      <a16:creationId xmlns:a16="http://schemas.microsoft.com/office/drawing/2014/main" id="{1F22E85B-2F95-877E-B0D8-CBF5F6E6ADCB}"/>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7" name="Freeform: Shape 18736">
                  <a:extLst>
                    <a:ext uri="{FF2B5EF4-FFF2-40B4-BE49-F238E27FC236}">
                      <a16:creationId xmlns:a16="http://schemas.microsoft.com/office/drawing/2014/main" id="{92FD7D73-4A1B-F15F-27D6-F0D4EFE90E63}"/>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2" name="Graphic 790">
                <a:extLst>
                  <a:ext uri="{FF2B5EF4-FFF2-40B4-BE49-F238E27FC236}">
                    <a16:creationId xmlns:a16="http://schemas.microsoft.com/office/drawing/2014/main" id="{A90CA89A-04AF-C2FF-18DE-1E69EA583E54}"/>
                  </a:ext>
                </a:extLst>
              </p:cNvPr>
              <p:cNvGrpSpPr/>
              <p:nvPr/>
            </p:nvGrpSpPr>
            <p:grpSpPr>
              <a:xfrm>
                <a:off x="5196268" y="3222116"/>
                <a:ext cx="75723" cy="75723"/>
                <a:chOff x="5196268" y="3222116"/>
                <a:chExt cx="75723" cy="75723"/>
              </a:xfrm>
            </p:grpSpPr>
            <p:sp>
              <p:nvSpPr>
                <p:cNvPr id="18734" name="Freeform: Shape 18733">
                  <a:extLst>
                    <a:ext uri="{FF2B5EF4-FFF2-40B4-BE49-F238E27FC236}">
                      <a16:creationId xmlns:a16="http://schemas.microsoft.com/office/drawing/2014/main" id="{2171AC72-9E8A-11C3-5533-98D0A98C9873}"/>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5" name="Freeform: Shape 18734">
                  <a:extLst>
                    <a:ext uri="{FF2B5EF4-FFF2-40B4-BE49-F238E27FC236}">
                      <a16:creationId xmlns:a16="http://schemas.microsoft.com/office/drawing/2014/main" id="{17134DF1-C62E-3FCB-3BCD-227FA94B8D82}"/>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3" name="Graphic 790">
                <a:extLst>
                  <a:ext uri="{FF2B5EF4-FFF2-40B4-BE49-F238E27FC236}">
                    <a16:creationId xmlns:a16="http://schemas.microsoft.com/office/drawing/2014/main" id="{99F37DEB-E8FC-3F9E-F16E-8E5A97B77BE3}"/>
                  </a:ext>
                </a:extLst>
              </p:cNvPr>
              <p:cNvGrpSpPr/>
              <p:nvPr/>
            </p:nvGrpSpPr>
            <p:grpSpPr>
              <a:xfrm>
                <a:off x="5183599" y="3206971"/>
                <a:ext cx="75723" cy="75723"/>
                <a:chOff x="5183599" y="3206971"/>
                <a:chExt cx="75723" cy="75723"/>
              </a:xfrm>
            </p:grpSpPr>
            <p:sp>
              <p:nvSpPr>
                <p:cNvPr id="18732" name="Freeform: Shape 18731">
                  <a:extLst>
                    <a:ext uri="{FF2B5EF4-FFF2-40B4-BE49-F238E27FC236}">
                      <a16:creationId xmlns:a16="http://schemas.microsoft.com/office/drawing/2014/main" id="{7390F322-1447-7CCE-DB03-6938BD3BE0B4}"/>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3" name="Freeform: Shape 18732">
                  <a:extLst>
                    <a:ext uri="{FF2B5EF4-FFF2-40B4-BE49-F238E27FC236}">
                      <a16:creationId xmlns:a16="http://schemas.microsoft.com/office/drawing/2014/main" id="{F68993A7-88EA-A803-0F6D-96EB1F2C4BFD}"/>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4" name="Graphic 790">
                <a:extLst>
                  <a:ext uri="{FF2B5EF4-FFF2-40B4-BE49-F238E27FC236}">
                    <a16:creationId xmlns:a16="http://schemas.microsoft.com/office/drawing/2014/main" id="{DEA79BE4-3034-870E-4B42-6859BEFAFD03}"/>
                  </a:ext>
                </a:extLst>
              </p:cNvPr>
              <p:cNvGrpSpPr/>
              <p:nvPr/>
            </p:nvGrpSpPr>
            <p:grpSpPr>
              <a:xfrm>
                <a:off x="5171217" y="3173729"/>
                <a:ext cx="75628" cy="75723"/>
                <a:chOff x="5171217" y="3173729"/>
                <a:chExt cx="75628" cy="75723"/>
              </a:xfrm>
            </p:grpSpPr>
            <p:sp>
              <p:nvSpPr>
                <p:cNvPr id="18730" name="Freeform: Shape 18729">
                  <a:extLst>
                    <a:ext uri="{FF2B5EF4-FFF2-40B4-BE49-F238E27FC236}">
                      <a16:creationId xmlns:a16="http://schemas.microsoft.com/office/drawing/2014/main" id="{3216F322-5162-3993-9367-EBD49E39FA6C}"/>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1" name="Freeform: Shape 18730">
                  <a:extLst>
                    <a:ext uri="{FF2B5EF4-FFF2-40B4-BE49-F238E27FC236}">
                      <a16:creationId xmlns:a16="http://schemas.microsoft.com/office/drawing/2014/main" id="{31A57627-4610-AF3D-B04F-B17F4842E504}"/>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5" name="Graphic 790">
                <a:extLst>
                  <a:ext uri="{FF2B5EF4-FFF2-40B4-BE49-F238E27FC236}">
                    <a16:creationId xmlns:a16="http://schemas.microsoft.com/office/drawing/2014/main" id="{15793F9B-DDFB-AA35-139B-9870EA736E12}"/>
                  </a:ext>
                </a:extLst>
              </p:cNvPr>
              <p:cNvGrpSpPr/>
              <p:nvPr/>
            </p:nvGrpSpPr>
            <p:grpSpPr>
              <a:xfrm>
                <a:off x="5158453" y="3158965"/>
                <a:ext cx="75628" cy="75723"/>
                <a:chOff x="5158453" y="3158965"/>
                <a:chExt cx="75628" cy="75723"/>
              </a:xfrm>
            </p:grpSpPr>
            <p:sp>
              <p:nvSpPr>
                <p:cNvPr id="18728" name="Freeform: Shape 18727">
                  <a:extLst>
                    <a:ext uri="{FF2B5EF4-FFF2-40B4-BE49-F238E27FC236}">
                      <a16:creationId xmlns:a16="http://schemas.microsoft.com/office/drawing/2014/main" id="{7446AE4B-4F7F-4ED1-CDF0-0595BA1EA988}"/>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9" name="Freeform: Shape 18728">
                  <a:extLst>
                    <a:ext uri="{FF2B5EF4-FFF2-40B4-BE49-F238E27FC236}">
                      <a16:creationId xmlns:a16="http://schemas.microsoft.com/office/drawing/2014/main" id="{4D48F418-FF9D-751B-DC41-7FEF4E9873F8}"/>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6" name="Graphic 790">
                <a:extLst>
                  <a:ext uri="{FF2B5EF4-FFF2-40B4-BE49-F238E27FC236}">
                    <a16:creationId xmlns:a16="http://schemas.microsoft.com/office/drawing/2014/main" id="{FD941889-A2CC-2CD2-457C-07443E488336}"/>
                  </a:ext>
                </a:extLst>
              </p:cNvPr>
              <p:cNvGrpSpPr/>
              <p:nvPr/>
            </p:nvGrpSpPr>
            <p:grpSpPr>
              <a:xfrm>
                <a:off x="5145880" y="3158965"/>
                <a:ext cx="75723" cy="75723"/>
                <a:chOff x="5145880" y="3158965"/>
                <a:chExt cx="75723" cy="75723"/>
              </a:xfrm>
            </p:grpSpPr>
            <p:sp>
              <p:nvSpPr>
                <p:cNvPr id="18726" name="Freeform: Shape 18725">
                  <a:extLst>
                    <a:ext uri="{FF2B5EF4-FFF2-40B4-BE49-F238E27FC236}">
                      <a16:creationId xmlns:a16="http://schemas.microsoft.com/office/drawing/2014/main" id="{A078E217-B709-DEDA-E7A4-E70FBF0AD2C8}"/>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7" name="Freeform: Shape 18726">
                  <a:extLst>
                    <a:ext uri="{FF2B5EF4-FFF2-40B4-BE49-F238E27FC236}">
                      <a16:creationId xmlns:a16="http://schemas.microsoft.com/office/drawing/2014/main" id="{36C08BC1-90F7-969B-412B-B42B4630F19A}"/>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7" name="Graphic 790">
                <a:extLst>
                  <a:ext uri="{FF2B5EF4-FFF2-40B4-BE49-F238E27FC236}">
                    <a16:creationId xmlns:a16="http://schemas.microsoft.com/office/drawing/2014/main" id="{0A9624E2-C038-BE0F-AB75-4F62442D1A3B}"/>
                  </a:ext>
                </a:extLst>
              </p:cNvPr>
              <p:cNvGrpSpPr/>
              <p:nvPr/>
            </p:nvGrpSpPr>
            <p:grpSpPr>
              <a:xfrm>
                <a:off x="5133307" y="3158965"/>
                <a:ext cx="75723" cy="75723"/>
                <a:chOff x="5133307" y="3158965"/>
                <a:chExt cx="75723" cy="75723"/>
              </a:xfrm>
            </p:grpSpPr>
            <p:sp>
              <p:nvSpPr>
                <p:cNvPr id="18724" name="Freeform: Shape 18723">
                  <a:extLst>
                    <a:ext uri="{FF2B5EF4-FFF2-40B4-BE49-F238E27FC236}">
                      <a16:creationId xmlns:a16="http://schemas.microsoft.com/office/drawing/2014/main" id="{1E57E83C-AFE9-A3B8-954C-915DA64D8ABB}"/>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5" name="Freeform: Shape 18724">
                  <a:extLst>
                    <a:ext uri="{FF2B5EF4-FFF2-40B4-BE49-F238E27FC236}">
                      <a16:creationId xmlns:a16="http://schemas.microsoft.com/office/drawing/2014/main" id="{8713F86F-7C13-28AB-8A81-E30091AF25DB}"/>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8" name="Graphic 790">
                <a:extLst>
                  <a:ext uri="{FF2B5EF4-FFF2-40B4-BE49-F238E27FC236}">
                    <a16:creationId xmlns:a16="http://schemas.microsoft.com/office/drawing/2014/main" id="{DA6F3F4D-4DB3-DEBE-E18D-C16DECD8CA7F}"/>
                  </a:ext>
                </a:extLst>
              </p:cNvPr>
              <p:cNvGrpSpPr/>
              <p:nvPr/>
            </p:nvGrpSpPr>
            <p:grpSpPr>
              <a:xfrm>
                <a:off x="4973287" y="3133057"/>
                <a:ext cx="75723" cy="75723"/>
                <a:chOff x="4973287" y="3133057"/>
                <a:chExt cx="75723" cy="75723"/>
              </a:xfrm>
            </p:grpSpPr>
            <p:sp>
              <p:nvSpPr>
                <p:cNvPr id="18722" name="Freeform: Shape 18721">
                  <a:extLst>
                    <a:ext uri="{FF2B5EF4-FFF2-40B4-BE49-F238E27FC236}">
                      <a16:creationId xmlns:a16="http://schemas.microsoft.com/office/drawing/2014/main" id="{6CAFDE2E-A4B0-20EC-3E28-32743316495A}"/>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3" name="Freeform: Shape 18722">
                  <a:extLst>
                    <a:ext uri="{FF2B5EF4-FFF2-40B4-BE49-F238E27FC236}">
                      <a16:creationId xmlns:a16="http://schemas.microsoft.com/office/drawing/2014/main" id="{103DE6CC-0E83-5F69-CC5B-619A44677B60}"/>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9" name="Graphic 790">
                <a:extLst>
                  <a:ext uri="{FF2B5EF4-FFF2-40B4-BE49-F238E27FC236}">
                    <a16:creationId xmlns:a16="http://schemas.microsoft.com/office/drawing/2014/main" id="{5C1249AE-526B-F116-9976-66913BDAE511}"/>
                  </a:ext>
                </a:extLst>
              </p:cNvPr>
              <p:cNvGrpSpPr/>
              <p:nvPr/>
            </p:nvGrpSpPr>
            <p:grpSpPr>
              <a:xfrm>
                <a:off x="4802980" y="3087052"/>
                <a:ext cx="75723" cy="75723"/>
                <a:chOff x="4802980" y="3087052"/>
                <a:chExt cx="75723" cy="75723"/>
              </a:xfrm>
            </p:grpSpPr>
            <p:sp>
              <p:nvSpPr>
                <p:cNvPr id="18720" name="Freeform: Shape 18719">
                  <a:extLst>
                    <a:ext uri="{FF2B5EF4-FFF2-40B4-BE49-F238E27FC236}">
                      <a16:creationId xmlns:a16="http://schemas.microsoft.com/office/drawing/2014/main" id="{8D5EFA61-51A3-6FED-44DE-63D5A8C3D5B4}"/>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1" name="Freeform: Shape 18720">
                  <a:extLst>
                    <a:ext uri="{FF2B5EF4-FFF2-40B4-BE49-F238E27FC236}">
                      <a16:creationId xmlns:a16="http://schemas.microsoft.com/office/drawing/2014/main" id="{C1E695D4-DA19-A5F2-0AF4-21E5C72EFC85}"/>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0" name="Graphic 790">
                <a:extLst>
                  <a:ext uri="{FF2B5EF4-FFF2-40B4-BE49-F238E27FC236}">
                    <a16:creationId xmlns:a16="http://schemas.microsoft.com/office/drawing/2014/main" id="{D1DFD29E-9BA0-7BE5-3AE8-6643B12D60EC}"/>
                  </a:ext>
                </a:extLst>
              </p:cNvPr>
              <p:cNvGrpSpPr/>
              <p:nvPr/>
            </p:nvGrpSpPr>
            <p:grpSpPr>
              <a:xfrm>
                <a:off x="4788502" y="3073240"/>
                <a:ext cx="75723" cy="75723"/>
                <a:chOff x="4788502" y="3073240"/>
                <a:chExt cx="75723" cy="75723"/>
              </a:xfrm>
            </p:grpSpPr>
            <p:sp>
              <p:nvSpPr>
                <p:cNvPr id="18718" name="Freeform: Shape 18717">
                  <a:extLst>
                    <a:ext uri="{FF2B5EF4-FFF2-40B4-BE49-F238E27FC236}">
                      <a16:creationId xmlns:a16="http://schemas.microsoft.com/office/drawing/2014/main" id="{2B62DE27-1830-8645-E688-83B58FDB0EC5}"/>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9" name="Freeform: Shape 18718">
                  <a:extLst>
                    <a:ext uri="{FF2B5EF4-FFF2-40B4-BE49-F238E27FC236}">
                      <a16:creationId xmlns:a16="http://schemas.microsoft.com/office/drawing/2014/main" id="{B7E9F071-776A-6DBA-134E-04D257BE1366}"/>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1" name="Graphic 790">
                <a:extLst>
                  <a:ext uri="{FF2B5EF4-FFF2-40B4-BE49-F238E27FC236}">
                    <a16:creationId xmlns:a16="http://schemas.microsoft.com/office/drawing/2014/main" id="{1B8A7BD1-9F1B-DA4F-08D4-C727D72F9B3D}"/>
                  </a:ext>
                </a:extLst>
              </p:cNvPr>
              <p:cNvGrpSpPr/>
              <p:nvPr/>
            </p:nvGrpSpPr>
            <p:grpSpPr>
              <a:xfrm>
                <a:off x="4634864" y="2850260"/>
                <a:ext cx="75723" cy="75723"/>
                <a:chOff x="4634864" y="2850260"/>
                <a:chExt cx="75723" cy="75723"/>
              </a:xfrm>
            </p:grpSpPr>
            <p:sp>
              <p:nvSpPr>
                <p:cNvPr id="18716" name="Freeform: Shape 18715">
                  <a:extLst>
                    <a:ext uri="{FF2B5EF4-FFF2-40B4-BE49-F238E27FC236}">
                      <a16:creationId xmlns:a16="http://schemas.microsoft.com/office/drawing/2014/main" id="{5EC3B976-FA88-FC35-D1E0-F711613146E2}"/>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7" name="Freeform: Shape 18716">
                  <a:extLst>
                    <a:ext uri="{FF2B5EF4-FFF2-40B4-BE49-F238E27FC236}">
                      <a16:creationId xmlns:a16="http://schemas.microsoft.com/office/drawing/2014/main" id="{2778909A-22D6-6375-3C40-82FA62396A4B}"/>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2" name="Graphic 790">
                <a:extLst>
                  <a:ext uri="{FF2B5EF4-FFF2-40B4-BE49-F238E27FC236}">
                    <a16:creationId xmlns:a16="http://schemas.microsoft.com/office/drawing/2014/main" id="{42EE4D50-B5FE-459B-3C0B-7038775E391D}"/>
                  </a:ext>
                </a:extLst>
              </p:cNvPr>
              <p:cNvGrpSpPr/>
              <p:nvPr/>
            </p:nvGrpSpPr>
            <p:grpSpPr>
              <a:xfrm>
                <a:off x="4664106" y="2856928"/>
                <a:ext cx="98964" cy="89630"/>
                <a:chOff x="4664106" y="2856928"/>
                <a:chExt cx="98964" cy="89630"/>
              </a:xfrm>
            </p:grpSpPr>
            <p:sp>
              <p:nvSpPr>
                <p:cNvPr id="18712" name="Freeform: Shape 18711">
                  <a:extLst>
                    <a:ext uri="{FF2B5EF4-FFF2-40B4-BE49-F238E27FC236}">
                      <a16:creationId xmlns:a16="http://schemas.microsoft.com/office/drawing/2014/main" id="{6F625A67-ACDC-6E95-C0AB-572868942BBC}"/>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3" name="Freeform: Shape 18712">
                  <a:extLst>
                    <a:ext uri="{FF2B5EF4-FFF2-40B4-BE49-F238E27FC236}">
                      <a16:creationId xmlns:a16="http://schemas.microsoft.com/office/drawing/2014/main" id="{C78CC51B-C0FD-16EA-08D2-078C6AE97944}"/>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4" name="Freeform: Shape 18713">
                  <a:extLst>
                    <a:ext uri="{FF2B5EF4-FFF2-40B4-BE49-F238E27FC236}">
                      <a16:creationId xmlns:a16="http://schemas.microsoft.com/office/drawing/2014/main" id="{10E41399-7FD3-0FB8-8456-7BB5B3A70A08}"/>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5" name="Freeform: Shape 18714">
                  <a:extLst>
                    <a:ext uri="{FF2B5EF4-FFF2-40B4-BE49-F238E27FC236}">
                      <a16:creationId xmlns:a16="http://schemas.microsoft.com/office/drawing/2014/main" id="{D99DCE2A-2E0A-88FD-71D9-BDD89BB3214A}"/>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3" name="Graphic 790">
                <a:extLst>
                  <a:ext uri="{FF2B5EF4-FFF2-40B4-BE49-F238E27FC236}">
                    <a16:creationId xmlns:a16="http://schemas.microsoft.com/office/drawing/2014/main" id="{82C2C449-5939-A4A8-8C8D-F4C85525BF50}"/>
                  </a:ext>
                </a:extLst>
              </p:cNvPr>
              <p:cNvGrpSpPr/>
              <p:nvPr/>
            </p:nvGrpSpPr>
            <p:grpSpPr>
              <a:xfrm>
                <a:off x="4725256" y="2932651"/>
                <a:ext cx="75628" cy="75628"/>
                <a:chOff x="4725256" y="2932651"/>
                <a:chExt cx="75628" cy="75628"/>
              </a:xfrm>
            </p:grpSpPr>
            <p:sp>
              <p:nvSpPr>
                <p:cNvPr id="18710" name="Freeform: Shape 18709">
                  <a:extLst>
                    <a:ext uri="{FF2B5EF4-FFF2-40B4-BE49-F238E27FC236}">
                      <a16:creationId xmlns:a16="http://schemas.microsoft.com/office/drawing/2014/main" id="{9C13AAD4-6B53-99D7-5F79-B0555294A421}"/>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1" name="Freeform: Shape 18710">
                  <a:extLst>
                    <a:ext uri="{FF2B5EF4-FFF2-40B4-BE49-F238E27FC236}">
                      <a16:creationId xmlns:a16="http://schemas.microsoft.com/office/drawing/2014/main" id="{42449811-49FD-2552-32D3-A923D67763A0}"/>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4" name="Graphic 790">
                <a:extLst>
                  <a:ext uri="{FF2B5EF4-FFF2-40B4-BE49-F238E27FC236}">
                    <a16:creationId xmlns:a16="http://schemas.microsoft.com/office/drawing/2014/main" id="{96571485-197A-08D5-F740-33F63EF34D44}"/>
                  </a:ext>
                </a:extLst>
              </p:cNvPr>
              <p:cNvGrpSpPr/>
              <p:nvPr/>
            </p:nvGrpSpPr>
            <p:grpSpPr>
              <a:xfrm>
                <a:off x="4734972" y="2977038"/>
                <a:ext cx="75628" cy="75723"/>
                <a:chOff x="4734972" y="2977038"/>
                <a:chExt cx="75628" cy="75723"/>
              </a:xfrm>
            </p:grpSpPr>
            <p:sp>
              <p:nvSpPr>
                <p:cNvPr id="18708" name="Freeform: Shape 18707">
                  <a:extLst>
                    <a:ext uri="{FF2B5EF4-FFF2-40B4-BE49-F238E27FC236}">
                      <a16:creationId xmlns:a16="http://schemas.microsoft.com/office/drawing/2014/main" id="{FC4830EE-5500-44F2-A202-0C5F730F7FE3}"/>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9" name="Freeform: Shape 18708">
                  <a:extLst>
                    <a:ext uri="{FF2B5EF4-FFF2-40B4-BE49-F238E27FC236}">
                      <a16:creationId xmlns:a16="http://schemas.microsoft.com/office/drawing/2014/main" id="{E5C95C3A-FB4E-3155-EDDC-8A650DEB525C}"/>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5" name="Graphic 790">
                <a:extLst>
                  <a:ext uri="{FF2B5EF4-FFF2-40B4-BE49-F238E27FC236}">
                    <a16:creationId xmlns:a16="http://schemas.microsoft.com/office/drawing/2014/main" id="{8E703E5E-BF6B-F14A-2217-A12811E50AA8}"/>
                  </a:ext>
                </a:extLst>
              </p:cNvPr>
              <p:cNvGrpSpPr/>
              <p:nvPr/>
            </p:nvGrpSpPr>
            <p:grpSpPr>
              <a:xfrm>
                <a:off x="4744021" y="3008280"/>
                <a:ext cx="75723" cy="75723"/>
                <a:chOff x="4744021" y="3008280"/>
                <a:chExt cx="75723" cy="75723"/>
              </a:xfrm>
            </p:grpSpPr>
            <p:sp>
              <p:nvSpPr>
                <p:cNvPr id="18706" name="Freeform: Shape 18705">
                  <a:extLst>
                    <a:ext uri="{FF2B5EF4-FFF2-40B4-BE49-F238E27FC236}">
                      <a16:creationId xmlns:a16="http://schemas.microsoft.com/office/drawing/2014/main" id="{CEDB4DA5-6D4A-3DA6-AF0E-C7C338FFC271}"/>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7" name="Freeform: Shape 18706">
                  <a:extLst>
                    <a:ext uri="{FF2B5EF4-FFF2-40B4-BE49-F238E27FC236}">
                      <a16:creationId xmlns:a16="http://schemas.microsoft.com/office/drawing/2014/main" id="{740B8EC2-19D4-F6D8-9247-76E9BC78DA14}"/>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6" name="Graphic 790">
                <a:extLst>
                  <a:ext uri="{FF2B5EF4-FFF2-40B4-BE49-F238E27FC236}">
                    <a16:creationId xmlns:a16="http://schemas.microsoft.com/office/drawing/2014/main" id="{70E2C011-3527-D2BB-9305-152BF54A156E}"/>
                  </a:ext>
                </a:extLst>
              </p:cNvPr>
              <p:cNvGrpSpPr/>
              <p:nvPr/>
            </p:nvGrpSpPr>
            <p:grpSpPr>
              <a:xfrm>
                <a:off x="4765166" y="3033045"/>
                <a:ext cx="75628" cy="75723"/>
                <a:chOff x="4765166" y="3033045"/>
                <a:chExt cx="75628" cy="75723"/>
              </a:xfrm>
            </p:grpSpPr>
            <p:sp>
              <p:nvSpPr>
                <p:cNvPr id="18704" name="Freeform: Shape 18703">
                  <a:extLst>
                    <a:ext uri="{FF2B5EF4-FFF2-40B4-BE49-F238E27FC236}">
                      <a16:creationId xmlns:a16="http://schemas.microsoft.com/office/drawing/2014/main" id="{1DFCD7AF-F921-BC96-3E5A-EDC0F97C5982}"/>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5" name="Freeform: Shape 18704">
                  <a:extLst>
                    <a:ext uri="{FF2B5EF4-FFF2-40B4-BE49-F238E27FC236}">
                      <a16:creationId xmlns:a16="http://schemas.microsoft.com/office/drawing/2014/main" id="{BD7F76C7-065C-A3CB-0F43-37D7107408D6}"/>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7" name="Graphic 790">
                <a:extLst>
                  <a:ext uri="{FF2B5EF4-FFF2-40B4-BE49-F238E27FC236}">
                    <a16:creationId xmlns:a16="http://schemas.microsoft.com/office/drawing/2014/main" id="{63FC6431-FA57-4E16-7CE8-5B17B08DD1AE}"/>
                  </a:ext>
                </a:extLst>
              </p:cNvPr>
              <p:cNvGrpSpPr/>
              <p:nvPr/>
            </p:nvGrpSpPr>
            <p:grpSpPr>
              <a:xfrm>
                <a:off x="4499895" y="2814732"/>
                <a:ext cx="75628" cy="75723"/>
                <a:chOff x="4499895" y="2814732"/>
                <a:chExt cx="75628" cy="75723"/>
              </a:xfrm>
            </p:grpSpPr>
            <p:sp>
              <p:nvSpPr>
                <p:cNvPr id="18702" name="Freeform: Shape 18701">
                  <a:extLst>
                    <a:ext uri="{FF2B5EF4-FFF2-40B4-BE49-F238E27FC236}">
                      <a16:creationId xmlns:a16="http://schemas.microsoft.com/office/drawing/2014/main" id="{13F50F48-EE53-D5D0-4DC2-9E13C81AB9AC}"/>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3" name="Freeform: Shape 18702">
                  <a:extLst>
                    <a:ext uri="{FF2B5EF4-FFF2-40B4-BE49-F238E27FC236}">
                      <a16:creationId xmlns:a16="http://schemas.microsoft.com/office/drawing/2014/main" id="{5E864B39-BB5D-9861-13BF-57DCCEE25F30}"/>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8" name="Graphic 790">
                <a:extLst>
                  <a:ext uri="{FF2B5EF4-FFF2-40B4-BE49-F238E27FC236}">
                    <a16:creationId xmlns:a16="http://schemas.microsoft.com/office/drawing/2014/main" id="{52646F9D-3CDB-AA06-2A4A-1888DBA1EC90}"/>
                  </a:ext>
                </a:extLst>
              </p:cNvPr>
              <p:cNvGrpSpPr/>
              <p:nvPr/>
            </p:nvGrpSpPr>
            <p:grpSpPr>
              <a:xfrm>
                <a:off x="4424171" y="2808731"/>
                <a:ext cx="75723" cy="75628"/>
                <a:chOff x="4424171" y="2808731"/>
                <a:chExt cx="75723" cy="75628"/>
              </a:xfrm>
            </p:grpSpPr>
            <p:sp>
              <p:nvSpPr>
                <p:cNvPr id="18700" name="Freeform: Shape 18699">
                  <a:extLst>
                    <a:ext uri="{FF2B5EF4-FFF2-40B4-BE49-F238E27FC236}">
                      <a16:creationId xmlns:a16="http://schemas.microsoft.com/office/drawing/2014/main" id="{91A5446F-DAFF-696E-E81B-B00681930BB1}"/>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1" name="Freeform: Shape 18700">
                  <a:extLst>
                    <a:ext uri="{FF2B5EF4-FFF2-40B4-BE49-F238E27FC236}">
                      <a16:creationId xmlns:a16="http://schemas.microsoft.com/office/drawing/2014/main" id="{BF0CABDB-01A1-ABCC-E294-8F1B0515B48D}"/>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9" name="Graphic 790">
                <a:extLst>
                  <a:ext uri="{FF2B5EF4-FFF2-40B4-BE49-F238E27FC236}">
                    <a16:creationId xmlns:a16="http://schemas.microsoft.com/office/drawing/2014/main" id="{DD387CF7-DEBE-C813-354F-0437B957F7D4}"/>
                  </a:ext>
                </a:extLst>
              </p:cNvPr>
              <p:cNvGrpSpPr/>
              <p:nvPr/>
            </p:nvGrpSpPr>
            <p:grpSpPr>
              <a:xfrm>
                <a:off x="4203286" y="2576416"/>
                <a:ext cx="75723" cy="75723"/>
                <a:chOff x="4203286" y="2576416"/>
                <a:chExt cx="75723" cy="75723"/>
              </a:xfrm>
            </p:grpSpPr>
            <p:sp>
              <p:nvSpPr>
                <p:cNvPr id="18698" name="Freeform: Shape 18697">
                  <a:extLst>
                    <a:ext uri="{FF2B5EF4-FFF2-40B4-BE49-F238E27FC236}">
                      <a16:creationId xmlns:a16="http://schemas.microsoft.com/office/drawing/2014/main" id="{88F6B6C6-42F7-B2E6-76EB-600B6AA2EBE1}"/>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9" name="Freeform: Shape 18698">
                  <a:extLst>
                    <a:ext uri="{FF2B5EF4-FFF2-40B4-BE49-F238E27FC236}">
                      <a16:creationId xmlns:a16="http://schemas.microsoft.com/office/drawing/2014/main" id="{726C903C-3C66-10DA-9628-0DDE5E6059D6}"/>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0" name="Graphic 790">
                <a:extLst>
                  <a:ext uri="{FF2B5EF4-FFF2-40B4-BE49-F238E27FC236}">
                    <a16:creationId xmlns:a16="http://schemas.microsoft.com/office/drawing/2014/main" id="{0EF5E6D6-0F30-41BC-8C10-211E3ECB3BE3}"/>
                  </a:ext>
                </a:extLst>
              </p:cNvPr>
              <p:cNvGrpSpPr/>
              <p:nvPr/>
            </p:nvGrpSpPr>
            <p:grpSpPr>
              <a:xfrm>
                <a:off x="4135849" y="2555176"/>
                <a:ext cx="75723" cy="75723"/>
                <a:chOff x="4135849" y="2555176"/>
                <a:chExt cx="75723" cy="75723"/>
              </a:xfrm>
            </p:grpSpPr>
            <p:sp>
              <p:nvSpPr>
                <p:cNvPr id="18696" name="Freeform: Shape 18695">
                  <a:extLst>
                    <a:ext uri="{FF2B5EF4-FFF2-40B4-BE49-F238E27FC236}">
                      <a16:creationId xmlns:a16="http://schemas.microsoft.com/office/drawing/2014/main" id="{CCB25D37-2A55-E5C3-30EF-094BDCE67DA3}"/>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7" name="Freeform: Shape 18696">
                  <a:extLst>
                    <a:ext uri="{FF2B5EF4-FFF2-40B4-BE49-F238E27FC236}">
                      <a16:creationId xmlns:a16="http://schemas.microsoft.com/office/drawing/2014/main" id="{E1B1D493-0682-BD93-3825-A78719B3D9EC}"/>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1" name="Graphic 790">
                <a:extLst>
                  <a:ext uri="{FF2B5EF4-FFF2-40B4-BE49-F238E27FC236}">
                    <a16:creationId xmlns:a16="http://schemas.microsoft.com/office/drawing/2014/main" id="{0A7DF11E-B6FB-C9BF-2747-4054B603896C}"/>
                  </a:ext>
                </a:extLst>
              </p:cNvPr>
              <p:cNvGrpSpPr/>
              <p:nvPr/>
            </p:nvGrpSpPr>
            <p:grpSpPr>
              <a:xfrm>
                <a:off x="3865530" y="2479547"/>
                <a:ext cx="75723" cy="75628"/>
                <a:chOff x="3865530" y="2479547"/>
                <a:chExt cx="75723" cy="75628"/>
              </a:xfrm>
            </p:grpSpPr>
            <p:sp>
              <p:nvSpPr>
                <p:cNvPr id="18694" name="Freeform: Shape 18693">
                  <a:extLst>
                    <a:ext uri="{FF2B5EF4-FFF2-40B4-BE49-F238E27FC236}">
                      <a16:creationId xmlns:a16="http://schemas.microsoft.com/office/drawing/2014/main" id="{01D9B17B-CC1A-4D8B-E134-85311E3742C8}"/>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5" name="Freeform: Shape 18694">
                  <a:extLst>
                    <a:ext uri="{FF2B5EF4-FFF2-40B4-BE49-F238E27FC236}">
                      <a16:creationId xmlns:a16="http://schemas.microsoft.com/office/drawing/2014/main" id="{9CB08FA8-74CD-972F-0B13-19120B143002}"/>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2" name="Graphic 790">
                <a:extLst>
                  <a:ext uri="{FF2B5EF4-FFF2-40B4-BE49-F238E27FC236}">
                    <a16:creationId xmlns:a16="http://schemas.microsoft.com/office/drawing/2014/main" id="{CE57C796-9424-6411-526A-0D31ECDEC7A2}"/>
                  </a:ext>
                </a:extLst>
              </p:cNvPr>
              <p:cNvGrpSpPr/>
              <p:nvPr/>
            </p:nvGrpSpPr>
            <p:grpSpPr>
              <a:xfrm>
                <a:off x="3922299" y="2514790"/>
                <a:ext cx="75628" cy="75723"/>
                <a:chOff x="3922299" y="2514790"/>
                <a:chExt cx="75628" cy="75723"/>
              </a:xfrm>
            </p:grpSpPr>
            <p:sp>
              <p:nvSpPr>
                <p:cNvPr id="18692" name="Freeform: Shape 18691">
                  <a:extLst>
                    <a:ext uri="{FF2B5EF4-FFF2-40B4-BE49-F238E27FC236}">
                      <a16:creationId xmlns:a16="http://schemas.microsoft.com/office/drawing/2014/main" id="{D2EC0A96-ED40-09F6-51E7-90D206DB5D23}"/>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3" name="Freeform: Shape 18692">
                  <a:extLst>
                    <a:ext uri="{FF2B5EF4-FFF2-40B4-BE49-F238E27FC236}">
                      <a16:creationId xmlns:a16="http://schemas.microsoft.com/office/drawing/2014/main" id="{5B94FC46-B729-6450-BB46-365B9C469456}"/>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3" name="Graphic 790">
                <a:extLst>
                  <a:ext uri="{FF2B5EF4-FFF2-40B4-BE49-F238E27FC236}">
                    <a16:creationId xmlns:a16="http://schemas.microsoft.com/office/drawing/2014/main" id="{6555D2FA-6B84-7EF7-3ABE-37EC6BBF5EA8}"/>
                  </a:ext>
                </a:extLst>
              </p:cNvPr>
              <p:cNvGrpSpPr/>
              <p:nvPr/>
            </p:nvGrpSpPr>
            <p:grpSpPr>
              <a:xfrm>
                <a:off x="3893629" y="2514790"/>
                <a:ext cx="75628" cy="75723"/>
                <a:chOff x="3893629" y="2514790"/>
                <a:chExt cx="75628" cy="75723"/>
              </a:xfrm>
            </p:grpSpPr>
            <p:sp>
              <p:nvSpPr>
                <p:cNvPr id="18690" name="Freeform: Shape 18689">
                  <a:extLst>
                    <a:ext uri="{FF2B5EF4-FFF2-40B4-BE49-F238E27FC236}">
                      <a16:creationId xmlns:a16="http://schemas.microsoft.com/office/drawing/2014/main" id="{1F4EF605-3022-AA3E-D70A-16F91F539BFD}"/>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91" name="Freeform: Shape 18690">
                  <a:extLst>
                    <a:ext uri="{FF2B5EF4-FFF2-40B4-BE49-F238E27FC236}">
                      <a16:creationId xmlns:a16="http://schemas.microsoft.com/office/drawing/2014/main" id="{616FCB56-140C-0AB7-2C4C-8B3947B49FFA}"/>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4" name="Graphic 790">
                <a:extLst>
                  <a:ext uri="{FF2B5EF4-FFF2-40B4-BE49-F238E27FC236}">
                    <a16:creationId xmlns:a16="http://schemas.microsoft.com/office/drawing/2014/main" id="{F3BA9EE7-5B14-257A-09C0-19222B1C524D}"/>
                  </a:ext>
                </a:extLst>
              </p:cNvPr>
              <p:cNvGrpSpPr/>
              <p:nvPr/>
            </p:nvGrpSpPr>
            <p:grpSpPr>
              <a:xfrm>
                <a:off x="3909345" y="2514790"/>
                <a:ext cx="75628" cy="75723"/>
                <a:chOff x="3909345" y="2514790"/>
                <a:chExt cx="75628" cy="75723"/>
              </a:xfrm>
            </p:grpSpPr>
            <p:sp>
              <p:nvSpPr>
                <p:cNvPr id="18688" name="Freeform: Shape 18687">
                  <a:extLst>
                    <a:ext uri="{FF2B5EF4-FFF2-40B4-BE49-F238E27FC236}">
                      <a16:creationId xmlns:a16="http://schemas.microsoft.com/office/drawing/2014/main" id="{4F2EA2A4-23C5-7B7C-C210-95CD7AD1B1A0}"/>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89" name="Freeform: Shape 18688">
                  <a:extLst>
                    <a:ext uri="{FF2B5EF4-FFF2-40B4-BE49-F238E27FC236}">
                      <a16:creationId xmlns:a16="http://schemas.microsoft.com/office/drawing/2014/main" id="{FDA767C6-0BA8-9605-D6DF-AE24458E7BDE}"/>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5" name="Graphic 790">
                <a:extLst>
                  <a:ext uri="{FF2B5EF4-FFF2-40B4-BE49-F238E27FC236}">
                    <a16:creationId xmlns:a16="http://schemas.microsoft.com/office/drawing/2014/main" id="{48C12B6E-7124-5052-7A40-4FD2709F9F93}"/>
                  </a:ext>
                </a:extLst>
              </p:cNvPr>
              <p:cNvGrpSpPr/>
              <p:nvPr/>
            </p:nvGrpSpPr>
            <p:grpSpPr>
              <a:xfrm>
                <a:off x="4241101" y="2593085"/>
                <a:ext cx="75723" cy="75628"/>
                <a:chOff x="4241101" y="2593085"/>
                <a:chExt cx="75723" cy="75628"/>
              </a:xfrm>
            </p:grpSpPr>
            <p:sp>
              <p:nvSpPr>
                <p:cNvPr id="18686" name="Freeform: Shape 18685">
                  <a:extLst>
                    <a:ext uri="{FF2B5EF4-FFF2-40B4-BE49-F238E27FC236}">
                      <a16:creationId xmlns:a16="http://schemas.microsoft.com/office/drawing/2014/main" id="{9DC1A7DA-C4FC-7E16-0083-235B4097DE58}"/>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87" name="Freeform: Shape 18686">
                  <a:extLst>
                    <a:ext uri="{FF2B5EF4-FFF2-40B4-BE49-F238E27FC236}">
                      <a16:creationId xmlns:a16="http://schemas.microsoft.com/office/drawing/2014/main" id="{BC07C3BF-07BF-5A9F-C82F-F0848BF8840D}"/>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6" name="Graphic 790">
                <a:extLst>
                  <a:ext uri="{FF2B5EF4-FFF2-40B4-BE49-F238E27FC236}">
                    <a16:creationId xmlns:a16="http://schemas.microsoft.com/office/drawing/2014/main" id="{C80DBCFC-D974-8C55-BDA2-97FFC610133A}"/>
                  </a:ext>
                </a:extLst>
              </p:cNvPr>
              <p:cNvGrpSpPr/>
              <p:nvPr/>
            </p:nvGrpSpPr>
            <p:grpSpPr>
              <a:xfrm>
                <a:off x="4276534" y="2621851"/>
                <a:ext cx="75723" cy="75628"/>
                <a:chOff x="4276534" y="2621851"/>
                <a:chExt cx="75723" cy="75628"/>
              </a:xfrm>
            </p:grpSpPr>
            <p:sp>
              <p:nvSpPr>
                <p:cNvPr id="18684" name="Freeform: Shape 18683">
                  <a:extLst>
                    <a:ext uri="{FF2B5EF4-FFF2-40B4-BE49-F238E27FC236}">
                      <a16:creationId xmlns:a16="http://schemas.microsoft.com/office/drawing/2014/main" id="{020FE1CC-26A8-5EA1-B199-C0B602CB19EB}"/>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85" name="Freeform: Shape 18684">
                  <a:extLst>
                    <a:ext uri="{FF2B5EF4-FFF2-40B4-BE49-F238E27FC236}">
                      <a16:creationId xmlns:a16="http://schemas.microsoft.com/office/drawing/2014/main" id="{7408679B-845F-E73A-AE38-D91C8335509E}"/>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7" name="Graphic 790">
                <a:extLst>
                  <a:ext uri="{FF2B5EF4-FFF2-40B4-BE49-F238E27FC236}">
                    <a16:creationId xmlns:a16="http://schemas.microsoft.com/office/drawing/2014/main" id="{E322CE83-5AB9-622F-DF43-2EB2262D3C90}"/>
                  </a:ext>
                </a:extLst>
              </p:cNvPr>
              <p:cNvGrpSpPr/>
              <p:nvPr/>
            </p:nvGrpSpPr>
            <p:grpSpPr>
              <a:xfrm>
                <a:off x="4283868" y="2621851"/>
                <a:ext cx="75628" cy="75628"/>
                <a:chOff x="4283868" y="2621851"/>
                <a:chExt cx="75628" cy="75628"/>
              </a:xfrm>
            </p:grpSpPr>
            <p:sp>
              <p:nvSpPr>
                <p:cNvPr id="18682" name="Freeform: Shape 18681">
                  <a:extLst>
                    <a:ext uri="{FF2B5EF4-FFF2-40B4-BE49-F238E27FC236}">
                      <a16:creationId xmlns:a16="http://schemas.microsoft.com/office/drawing/2014/main" id="{F2CC6A1E-C58F-E24A-8E85-6744FE3187A0}"/>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83" name="Freeform: Shape 18682">
                  <a:extLst>
                    <a:ext uri="{FF2B5EF4-FFF2-40B4-BE49-F238E27FC236}">
                      <a16:creationId xmlns:a16="http://schemas.microsoft.com/office/drawing/2014/main" id="{D7E54FCE-D236-59D7-E639-A2077D9EE414}"/>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8" name="Graphic 790">
                <a:extLst>
                  <a:ext uri="{FF2B5EF4-FFF2-40B4-BE49-F238E27FC236}">
                    <a16:creationId xmlns:a16="http://schemas.microsoft.com/office/drawing/2014/main" id="{37C2F3D4-DC40-4C5E-CEBC-936506512B4A}"/>
                  </a:ext>
                </a:extLst>
              </p:cNvPr>
              <p:cNvGrpSpPr/>
              <p:nvPr/>
            </p:nvGrpSpPr>
            <p:grpSpPr>
              <a:xfrm>
                <a:off x="4295298" y="2656236"/>
                <a:ext cx="75628" cy="75628"/>
                <a:chOff x="4295298" y="2656236"/>
                <a:chExt cx="75628" cy="75628"/>
              </a:xfrm>
            </p:grpSpPr>
            <p:sp>
              <p:nvSpPr>
                <p:cNvPr id="18680" name="Freeform: Shape 18679">
                  <a:extLst>
                    <a:ext uri="{FF2B5EF4-FFF2-40B4-BE49-F238E27FC236}">
                      <a16:creationId xmlns:a16="http://schemas.microsoft.com/office/drawing/2014/main" id="{356CB939-AD8A-AEB0-544B-29C99C8BBBC3}"/>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81" name="Freeform: Shape 18680">
                  <a:extLst>
                    <a:ext uri="{FF2B5EF4-FFF2-40B4-BE49-F238E27FC236}">
                      <a16:creationId xmlns:a16="http://schemas.microsoft.com/office/drawing/2014/main" id="{AE5AB80C-6B56-AB87-1D96-056095B5DE91}"/>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9" name="Graphic 790">
                <a:extLst>
                  <a:ext uri="{FF2B5EF4-FFF2-40B4-BE49-F238E27FC236}">
                    <a16:creationId xmlns:a16="http://schemas.microsoft.com/office/drawing/2014/main" id="{7FB08EB6-6477-6F66-3F85-FA2982B8DE60}"/>
                  </a:ext>
                </a:extLst>
              </p:cNvPr>
              <p:cNvGrpSpPr/>
              <p:nvPr/>
            </p:nvGrpSpPr>
            <p:grpSpPr>
              <a:xfrm>
                <a:off x="4301584" y="2656236"/>
                <a:ext cx="75628" cy="75628"/>
                <a:chOff x="4301584" y="2656236"/>
                <a:chExt cx="75628" cy="75628"/>
              </a:xfrm>
            </p:grpSpPr>
            <p:sp>
              <p:nvSpPr>
                <p:cNvPr id="18678" name="Freeform: Shape 18677">
                  <a:extLst>
                    <a:ext uri="{FF2B5EF4-FFF2-40B4-BE49-F238E27FC236}">
                      <a16:creationId xmlns:a16="http://schemas.microsoft.com/office/drawing/2014/main" id="{64B52284-0B1D-9BB7-F968-4590F754EECB}"/>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9" name="Freeform: Shape 18678">
                  <a:extLst>
                    <a:ext uri="{FF2B5EF4-FFF2-40B4-BE49-F238E27FC236}">
                      <a16:creationId xmlns:a16="http://schemas.microsoft.com/office/drawing/2014/main" id="{0E9BE6CA-FA73-018A-3283-FD1D3CDD02F5}"/>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0" name="Graphic 790">
                <a:extLst>
                  <a:ext uri="{FF2B5EF4-FFF2-40B4-BE49-F238E27FC236}">
                    <a16:creationId xmlns:a16="http://schemas.microsoft.com/office/drawing/2014/main" id="{9F11C5C9-FEE2-689B-2BD2-703BFC4D1796}"/>
                  </a:ext>
                </a:extLst>
              </p:cNvPr>
              <p:cNvGrpSpPr/>
              <p:nvPr/>
            </p:nvGrpSpPr>
            <p:grpSpPr>
              <a:xfrm>
                <a:off x="4307871" y="2685097"/>
                <a:ext cx="75628" cy="75723"/>
                <a:chOff x="4307871" y="2685097"/>
                <a:chExt cx="75628" cy="75723"/>
              </a:xfrm>
            </p:grpSpPr>
            <p:sp>
              <p:nvSpPr>
                <p:cNvPr id="18676" name="Freeform: Shape 18675">
                  <a:extLst>
                    <a:ext uri="{FF2B5EF4-FFF2-40B4-BE49-F238E27FC236}">
                      <a16:creationId xmlns:a16="http://schemas.microsoft.com/office/drawing/2014/main" id="{72AB9F8C-F6D1-AE04-C8EB-E2A070C7A4C4}"/>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7" name="Freeform: Shape 18676">
                  <a:extLst>
                    <a:ext uri="{FF2B5EF4-FFF2-40B4-BE49-F238E27FC236}">
                      <a16:creationId xmlns:a16="http://schemas.microsoft.com/office/drawing/2014/main" id="{B130D1CA-7A2F-A89B-DA79-B71571BC6505}"/>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1" name="Graphic 790">
                <a:extLst>
                  <a:ext uri="{FF2B5EF4-FFF2-40B4-BE49-F238E27FC236}">
                    <a16:creationId xmlns:a16="http://schemas.microsoft.com/office/drawing/2014/main" id="{21085B22-F63C-0233-5D5D-F8FC60135A0E}"/>
                  </a:ext>
                </a:extLst>
              </p:cNvPr>
              <p:cNvGrpSpPr/>
              <p:nvPr/>
            </p:nvGrpSpPr>
            <p:grpSpPr>
              <a:xfrm>
                <a:off x="4314348" y="2685097"/>
                <a:ext cx="75723" cy="75723"/>
                <a:chOff x="4314348" y="2685097"/>
                <a:chExt cx="75723" cy="75723"/>
              </a:xfrm>
            </p:grpSpPr>
            <p:sp>
              <p:nvSpPr>
                <p:cNvPr id="18674" name="Freeform: Shape 18673">
                  <a:extLst>
                    <a:ext uri="{FF2B5EF4-FFF2-40B4-BE49-F238E27FC236}">
                      <a16:creationId xmlns:a16="http://schemas.microsoft.com/office/drawing/2014/main" id="{97D6C8C9-EFA7-235B-F4F1-9D1504C67842}"/>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5" name="Freeform: Shape 18674">
                  <a:extLst>
                    <a:ext uri="{FF2B5EF4-FFF2-40B4-BE49-F238E27FC236}">
                      <a16:creationId xmlns:a16="http://schemas.microsoft.com/office/drawing/2014/main" id="{F12344B0-B255-1F14-E642-C778D7C9A991}"/>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2" name="Graphic 790">
                <a:extLst>
                  <a:ext uri="{FF2B5EF4-FFF2-40B4-BE49-F238E27FC236}">
                    <a16:creationId xmlns:a16="http://schemas.microsoft.com/office/drawing/2014/main" id="{426B1DBA-1C47-D602-A80A-EBF447F366F0}"/>
                  </a:ext>
                </a:extLst>
              </p:cNvPr>
              <p:cNvGrpSpPr/>
              <p:nvPr/>
            </p:nvGrpSpPr>
            <p:grpSpPr>
              <a:xfrm>
                <a:off x="4330540" y="2716910"/>
                <a:ext cx="75723" cy="75723"/>
                <a:chOff x="4330540" y="2716910"/>
                <a:chExt cx="75723" cy="75723"/>
              </a:xfrm>
            </p:grpSpPr>
            <p:sp>
              <p:nvSpPr>
                <p:cNvPr id="18672" name="Freeform: Shape 18671">
                  <a:extLst>
                    <a:ext uri="{FF2B5EF4-FFF2-40B4-BE49-F238E27FC236}">
                      <a16:creationId xmlns:a16="http://schemas.microsoft.com/office/drawing/2014/main" id="{AA603700-B23E-1249-F8F9-371AF4E9FEC6}"/>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3" name="Freeform: Shape 18672">
                  <a:extLst>
                    <a:ext uri="{FF2B5EF4-FFF2-40B4-BE49-F238E27FC236}">
                      <a16:creationId xmlns:a16="http://schemas.microsoft.com/office/drawing/2014/main" id="{0586DF7B-0E28-FD08-57E3-E5D97C69DA6E}"/>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3" name="Graphic 790">
                <a:extLst>
                  <a:ext uri="{FF2B5EF4-FFF2-40B4-BE49-F238E27FC236}">
                    <a16:creationId xmlns:a16="http://schemas.microsoft.com/office/drawing/2014/main" id="{96251996-1759-4C3D-EE9A-6EB9CCAAE2F8}"/>
                  </a:ext>
                </a:extLst>
              </p:cNvPr>
              <p:cNvGrpSpPr/>
              <p:nvPr/>
            </p:nvGrpSpPr>
            <p:grpSpPr>
              <a:xfrm>
                <a:off x="4340827" y="2716910"/>
                <a:ext cx="75723" cy="75723"/>
                <a:chOff x="4340827" y="2716910"/>
                <a:chExt cx="75723" cy="75723"/>
              </a:xfrm>
            </p:grpSpPr>
            <p:sp>
              <p:nvSpPr>
                <p:cNvPr id="18670" name="Freeform: Shape 18669">
                  <a:extLst>
                    <a:ext uri="{FF2B5EF4-FFF2-40B4-BE49-F238E27FC236}">
                      <a16:creationId xmlns:a16="http://schemas.microsoft.com/office/drawing/2014/main" id="{56A7181D-8F80-A61E-5946-7E6500B9B7D9}"/>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71" name="Freeform: Shape 18670">
                  <a:extLst>
                    <a:ext uri="{FF2B5EF4-FFF2-40B4-BE49-F238E27FC236}">
                      <a16:creationId xmlns:a16="http://schemas.microsoft.com/office/drawing/2014/main" id="{2752E36F-ABFD-0929-7AFA-6EB5E83D5CC1}"/>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4" name="Graphic 790">
                <a:extLst>
                  <a:ext uri="{FF2B5EF4-FFF2-40B4-BE49-F238E27FC236}">
                    <a16:creationId xmlns:a16="http://schemas.microsoft.com/office/drawing/2014/main" id="{60D5B4F0-6145-94B8-B0AC-769C970BB304}"/>
                  </a:ext>
                </a:extLst>
              </p:cNvPr>
              <p:cNvGrpSpPr/>
              <p:nvPr/>
            </p:nvGrpSpPr>
            <p:grpSpPr>
              <a:xfrm>
                <a:off x="4340827" y="2754724"/>
                <a:ext cx="75723" cy="75723"/>
                <a:chOff x="4340827" y="2754724"/>
                <a:chExt cx="75723" cy="75723"/>
              </a:xfrm>
            </p:grpSpPr>
            <p:sp>
              <p:nvSpPr>
                <p:cNvPr id="18668" name="Freeform: Shape 18667">
                  <a:extLst>
                    <a:ext uri="{FF2B5EF4-FFF2-40B4-BE49-F238E27FC236}">
                      <a16:creationId xmlns:a16="http://schemas.microsoft.com/office/drawing/2014/main" id="{10D20A96-AD88-A336-C79C-B423BA8DD4E6}"/>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69" name="Freeform: Shape 18668">
                  <a:extLst>
                    <a:ext uri="{FF2B5EF4-FFF2-40B4-BE49-F238E27FC236}">
                      <a16:creationId xmlns:a16="http://schemas.microsoft.com/office/drawing/2014/main" id="{C62DB9BC-A14F-266A-2255-EBD50F5F8B2A}"/>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5" name="Graphic 790">
                <a:extLst>
                  <a:ext uri="{FF2B5EF4-FFF2-40B4-BE49-F238E27FC236}">
                    <a16:creationId xmlns:a16="http://schemas.microsoft.com/office/drawing/2014/main" id="{0D52BB59-3CBD-83D6-9617-59708FD6A845}"/>
                  </a:ext>
                </a:extLst>
              </p:cNvPr>
              <p:cNvGrpSpPr/>
              <p:nvPr/>
            </p:nvGrpSpPr>
            <p:grpSpPr>
              <a:xfrm>
                <a:off x="4352257" y="2754724"/>
                <a:ext cx="75628" cy="75723"/>
                <a:chOff x="4352257" y="2754724"/>
                <a:chExt cx="75628" cy="75723"/>
              </a:xfrm>
            </p:grpSpPr>
            <p:sp>
              <p:nvSpPr>
                <p:cNvPr id="18666" name="Freeform: Shape 18665">
                  <a:extLst>
                    <a:ext uri="{FF2B5EF4-FFF2-40B4-BE49-F238E27FC236}">
                      <a16:creationId xmlns:a16="http://schemas.microsoft.com/office/drawing/2014/main" id="{1E9B4FA5-D96C-2D39-63D5-C2A396957E65}"/>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67" name="Freeform: Shape 18666">
                  <a:extLst>
                    <a:ext uri="{FF2B5EF4-FFF2-40B4-BE49-F238E27FC236}">
                      <a16:creationId xmlns:a16="http://schemas.microsoft.com/office/drawing/2014/main" id="{2BCDB63E-C6F5-6E4C-02FC-E16B9D57ACE9}"/>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6" name="Graphic 790">
                <a:extLst>
                  <a:ext uri="{FF2B5EF4-FFF2-40B4-BE49-F238E27FC236}">
                    <a16:creationId xmlns:a16="http://schemas.microsoft.com/office/drawing/2014/main" id="{ABCE33D2-83B9-25D1-3857-639C9500C121}"/>
                  </a:ext>
                </a:extLst>
              </p:cNvPr>
              <p:cNvGrpSpPr/>
              <p:nvPr/>
            </p:nvGrpSpPr>
            <p:grpSpPr>
              <a:xfrm>
                <a:off x="4368355" y="2754724"/>
                <a:ext cx="75723" cy="75723"/>
                <a:chOff x="4368355" y="2754724"/>
                <a:chExt cx="75723" cy="75723"/>
              </a:xfrm>
            </p:grpSpPr>
            <p:sp>
              <p:nvSpPr>
                <p:cNvPr id="18664" name="Freeform: Shape 18663">
                  <a:extLst>
                    <a:ext uri="{FF2B5EF4-FFF2-40B4-BE49-F238E27FC236}">
                      <a16:creationId xmlns:a16="http://schemas.microsoft.com/office/drawing/2014/main" id="{44478245-15A9-01DB-01CC-778149FCACE7}"/>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65" name="Freeform: Shape 18664">
                  <a:extLst>
                    <a:ext uri="{FF2B5EF4-FFF2-40B4-BE49-F238E27FC236}">
                      <a16:creationId xmlns:a16="http://schemas.microsoft.com/office/drawing/2014/main" id="{FB9895E4-F735-2BD1-E46C-44B60E0E6528}"/>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7" name="Graphic 790">
                <a:extLst>
                  <a:ext uri="{FF2B5EF4-FFF2-40B4-BE49-F238E27FC236}">
                    <a16:creationId xmlns:a16="http://schemas.microsoft.com/office/drawing/2014/main" id="{E379F4A2-D9BC-3A63-BB96-7C196B660D88}"/>
                  </a:ext>
                </a:extLst>
              </p:cNvPr>
              <p:cNvGrpSpPr/>
              <p:nvPr/>
            </p:nvGrpSpPr>
            <p:grpSpPr>
              <a:xfrm>
                <a:off x="4370926" y="2769202"/>
                <a:ext cx="75723" cy="75723"/>
                <a:chOff x="4370926" y="2769202"/>
                <a:chExt cx="75723" cy="75723"/>
              </a:xfrm>
            </p:grpSpPr>
            <p:sp>
              <p:nvSpPr>
                <p:cNvPr id="18662" name="Freeform: Shape 18661">
                  <a:extLst>
                    <a:ext uri="{FF2B5EF4-FFF2-40B4-BE49-F238E27FC236}">
                      <a16:creationId xmlns:a16="http://schemas.microsoft.com/office/drawing/2014/main" id="{B8DB196A-CC0D-E048-02EE-0D440D1C8E35}"/>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63" name="Freeform: Shape 18662">
                  <a:extLst>
                    <a:ext uri="{FF2B5EF4-FFF2-40B4-BE49-F238E27FC236}">
                      <a16:creationId xmlns:a16="http://schemas.microsoft.com/office/drawing/2014/main" id="{43CDBB3C-F47D-45BB-2358-D7B47453331A}"/>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8" name="Graphic 790">
                <a:extLst>
                  <a:ext uri="{FF2B5EF4-FFF2-40B4-BE49-F238E27FC236}">
                    <a16:creationId xmlns:a16="http://schemas.microsoft.com/office/drawing/2014/main" id="{8E5D3E24-D48C-32FB-8FFE-13997FAAF169}"/>
                  </a:ext>
                </a:extLst>
              </p:cNvPr>
              <p:cNvGrpSpPr/>
              <p:nvPr/>
            </p:nvGrpSpPr>
            <p:grpSpPr>
              <a:xfrm>
                <a:off x="5061679" y="3133057"/>
                <a:ext cx="75628" cy="75723"/>
                <a:chOff x="5061679" y="3133057"/>
                <a:chExt cx="75628" cy="75723"/>
              </a:xfrm>
            </p:grpSpPr>
            <p:sp>
              <p:nvSpPr>
                <p:cNvPr id="18660" name="Freeform: Shape 18659">
                  <a:extLst>
                    <a:ext uri="{FF2B5EF4-FFF2-40B4-BE49-F238E27FC236}">
                      <a16:creationId xmlns:a16="http://schemas.microsoft.com/office/drawing/2014/main" id="{B7FDE635-8645-FC34-0D05-8E3FE5F1885F}"/>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61" name="Freeform: Shape 18660">
                  <a:extLst>
                    <a:ext uri="{FF2B5EF4-FFF2-40B4-BE49-F238E27FC236}">
                      <a16:creationId xmlns:a16="http://schemas.microsoft.com/office/drawing/2014/main" id="{E3CEEE51-B811-79FE-D9D8-3DC00E1D80AD}"/>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9" name="Graphic 790">
                <a:extLst>
                  <a:ext uri="{FF2B5EF4-FFF2-40B4-BE49-F238E27FC236}">
                    <a16:creationId xmlns:a16="http://schemas.microsoft.com/office/drawing/2014/main" id="{D4FF62FB-0159-6136-7AEF-9185B900B2F6}"/>
                  </a:ext>
                </a:extLst>
              </p:cNvPr>
              <p:cNvGrpSpPr/>
              <p:nvPr/>
            </p:nvGrpSpPr>
            <p:grpSpPr>
              <a:xfrm>
                <a:off x="5108066" y="3144392"/>
                <a:ext cx="75628" cy="75723"/>
                <a:chOff x="5108066" y="3144392"/>
                <a:chExt cx="75628" cy="75723"/>
              </a:xfrm>
            </p:grpSpPr>
            <p:sp>
              <p:nvSpPr>
                <p:cNvPr id="18658" name="Freeform: Shape 18657">
                  <a:extLst>
                    <a:ext uri="{FF2B5EF4-FFF2-40B4-BE49-F238E27FC236}">
                      <a16:creationId xmlns:a16="http://schemas.microsoft.com/office/drawing/2014/main" id="{0BFA8B69-6236-543C-A381-1781528DC385}"/>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9" name="Freeform: Shape 18658">
                  <a:extLst>
                    <a:ext uri="{FF2B5EF4-FFF2-40B4-BE49-F238E27FC236}">
                      <a16:creationId xmlns:a16="http://schemas.microsoft.com/office/drawing/2014/main" id="{2458A0EB-4546-67F4-FC19-63A1B43803A8}"/>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0" name="Graphic 790">
                <a:extLst>
                  <a:ext uri="{FF2B5EF4-FFF2-40B4-BE49-F238E27FC236}">
                    <a16:creationId xmlns:a16="http://schemas.microsoft.com/office/drawing/2014/main" id="{87EE6893-1129-9246-E5AF-9495E3F8205F}"/>
                  </a:ext>
                </a:extLst>
              </p:cNvPr>
              <p:cNvGrpSpPr/>
              <p:nvPr/>
            </p:nvGrpSpPr>
            <p:grpSpPr>
              <a:xfrm>
                <a:off x="5124163" y="3151726"/>
                <a:ext cx="75723" cy="75723"/>
                <a:chOff x="5124163" y="3151726"/>
                <a:chExt cx="75723" cy="75723"/>
              </a:xfrm>
            </p:grpSpPr>
            <p:sp>
              <p:nvSpPr>
                <p:cNvPr id="18656" name="Freeform: Shape 18655">
                  <a:extLst>
                    <a:ext uri="{FF2B5EF4-FFF2-40B4-BE49-F238E27FC236}">
                      <a16:creationId xmlns:a16="http://schemas.microsoft.com/office/drawing/2014/main" id="{F0EB6D1A-9A1F-0B27-BA33-6E61021C2839}"/>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7" name="Freeform: Shape 18656">
                  <a:extLst>
                    <a:ext uri="{FF2B5EF4-FFF2-40B4-BE49-F238E27FC236}">
                      <a16:creationId xmlns:a16="http://schemas.microsoft.com/office/drawing/2014/main" id="{182B598C-35EB-6E08-EE43-6086CD726F77}"/>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1" name="Graphic 790">
                <a:extLst>
                  <a:ext uri="{FF2B5EF4-FFF2-40B4-BE49-F238E27FC236}">
                    <a16:creationId xmlns:a16="http://schemas.microsoft.com/office/drawing/2014/main" id="{217EDD4D-CA49-B6BD-79B4-DF5218A2DB9E}"/>
                  </a:ext>
                </a:extLst>
              </p:cNvPr>
              <p:cNvGrpSpPr/>
              <p:nvPr/>
            </p:nvGrpSpPr>
            <p:grpSpPr>
              <a:xfrm>
                <a:off x="5568314" y="3300793"/>
                <a:ext cx="75723" cy="75723"/>
                <a:chOff x="5568314" y="3300793"/>
                <a:chExt cx="75723" cy="75723"/>
              </a:xfrm>
            </p:grpSpPr>
            <p:sp>
              <p:nvSpPr>
                <p:cNvPr id="18654" name="Freeform: Shape 18653">
                  <a:extLst>
                    <a:ext uri="{FF2B5EF4-FFF2-40B4-BE49-F238E27FC236}">
                      <a16:creationId xmlns:a16="http://schemas.microsoft.com/office/drawing/2014/main" id="{9CF4689F-8BE2-CA9F-009B-45F61DD32260}"/>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5" name="Freeform: Shape 18654">
                  <a:extLst>
                    <a:ext uri="{FF2B5EF4-FFF2-40B4-BE49-F238E27FC236}">
                      <a16:creationId xmlns:a16="http://schemas.microsoft.com/office/drawing/2014/main" id="{7C77201C-555E-30DF-2128-0BB0865D37E2}"/>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2" name="Graphic 790">
                <a:extLst>
                  <a:ext uri="{FF2B5EF4-FFF2-40B4-BE49-F238E27FC236}">
                    <a16:creationId xmlns:a16="http://schemas.microsoft.com/office/drawing/2014/main" id="{CF65293B-FC7F-51B4-BFF6-119AF1068869}"/>
                  </a:ext>
                </a:extLst>
              </p:cNvPr>
              <p:cNvGrpSpPr/>
              <p:nvPr/>
            </p:nvGrpSpPr>
            <p:grpSpPr>
              <a:xfrm>
                <a:off x="5594603" y="3322319"/>
                <a:ext cx="75723" cy="75723"/>
                <a:chOff x="5594603" y="3322319"/>
                <a:chExt cx="75723" cy="75723"/>
              </a:xfrm>
            </p:grpSpPr>
            <p:sp>
              <p:nvSpPr>
                <p:cNvPr id="18652" name="Freeform: Shape 18651">
                  <a:extLst>
                    <a:ext uri="{FF2B5EF4-FFF2-40B4-BE49-F238E27FC236}">
                      <a16:creationId xmlns:a16="http://schemas.microsoft.com/office/drawing/2014/main" id="{A0DC1F26-A06C-5E19-F283-780E313F23B4}"/>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3" name="Freeform: Shape 18652">
                  <a:extLst>
                    <a:ext uri="{FF2B5EF4-FFF2-40B4-BE49-F238E27FC236}">
                      <a16:creationId xmlns:a16="http://schemas.microsoft.com/office/drawing/2014/main" id="{C539894C-0A37-0534-1A60-EEC0D918B7A6}"/>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3" name="Graphic 790">
                <a:extLst>
                  <a:ext uri="{FF2B5EF4-FFF2-40B4-BE49-F238E27FC236}">
                    <a16:creationId xmlns:a16="http://schemas.microsoft.com/office/drawing/2014/main" id="{9692799B-098D-6187-999C-748FFDD2C43F}"/>
                  </a:ext>
                </a:extLst>
              </p:cNvPr>
              <p:cNvGrpSpPr/>
              <p:nvPr/>
            </p:nvGrpSpPr>
            <p:grpSpPr>
              <a:xfrm>
                <a:off x="5606224" y="3360133"/>
                <a:ext cx="75628" cy="75723"/>
                <a:chOff x="5606224" y="3360133"/>
                <a:chExt cx="75628" cy="75723"/>
              </a:xfrm>
            </p:grpSpPr>
            <p:sp>
              <p:nvSpPr>
                <p:cNvPr id="18650" name="Freeform: Shape 18649">
                  <a:extLst>
                    <a:ext uri="{FF2B5EF4-FFF2-40B4-BE49-F238E27FC236}">
                      <a16:creationId xmlns:a16="http://schemas.microsoft.com/office/drawing/2014/main" id="{9520C77B-59A4-F911-335E-4B204B8E29E4}"/>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51" name="Freeform: Shape 18650">
                  <a:extLst>
                    <a:ext uri="{FF2B5EF4-FFF2-40B4-BE49-F238E27FC236}">
                      <a16:creationId xmlns:a16="http://schemas.microsoft.com/office/drawing/2014/main" id="{3F952C99-C4D9-020B-5C68-9B3D2F7630F6}"/>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4" name="Graphic 790">
                <a:extLst>
                  <a:ext uri="{FF2B5EF4-FFF2-40B4-BE49-F238E27FC236}">
                    <a16:creationId xmlns:a16="http://schemas.microsoft.com/office/drawing/2014/main" id="{CC4021EB-1FB5-ECC7-9AC0-78ED388DBC14}"/>
                  </a:ext>
                </a:extLst>
              </p:cNvPr>
              <p:cNvGrpSpPr/>
              <p:nvPr/>
            </p:nvGrpSpPr>
            <p:grpSpPr>
              <a:xfrm>
                <a:off x="5612224" y="3385660"/>
                <a:ext cx="75723" cy="75723"/>
                <a:chOff x="5612224" y="3385660"/>
                <a:chExt cx="75723" cy="75723"/>
              </a:xfrm>
            </p:grpSpPr>
            <p:sp>
              <p:nvSpPr>
                <p:cNvPr id="18648" name="Freeform: Shape 18647">
                  <a:extLst>
                    <a:ext uri="{FF2B5EF4-FFF2-40B4-BE49-F238E27FC236}">
                      <a16:creationId xmlns:a16="http://schemas.microsoft.com/office/drawing/2014/main" id="{57C9C947-177A-058E-9FDF-85FD98481F75}"/>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49" name="Freeform: Shape 18648">
                  <a:extLst>
                    <a:ext uri="{FF2B5EF4-FFF2-40B4-BE49-F238E27FC236}">
                      <a16:creationId xmlns:a16="http://schemas.microsoft.com/office/drawing/2014/main" id="{9ADCE0A5-76A1-D16A-C562-8B3CF5A84C84}"/>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5" name="Graphic 790">
                <a:extLst>
                  <a:ext uri="{FF2B5EF4-FFF2-40B4-BE49-F238E27FC236}">
                    <a16:creationId xmlns:a16="http://schemas.microsoft.com/office/drawing/2014/main" id="{23D31BB9-C53F-F3C3-1AE2-85E8FA364818}"/>
                  </a:ext>
                </a:extLst>
              </p:cNvPr>
              <p:cNvGrpSpPr/>
              <p:nvPr/>
            </p:nvGrpSpPr>
            <p:grpSpPr>
              <a:xfrm>
                <a:off x="5619749" y="3398043"/>
                <a:ext cx="75628" cy="75628"/>
                <a:chOff x="5619749" y="3398043"/>
                <a:chExt cx="75628" cy="75628"/>
              </a:xfrm>
            </p:grpSpPr>
            <p:sp>
              <p:nvSpPr>
                <p:cNvPr id="18646" name="Freeform: Shape 18645">
                  <a:extLst>
                    <a:ext uri="{FF2B5EF4-FFF2-40B4-BE49-F238E27FC236}">
                      <a16:creationId xmlns:a16="http://schemas.microsoft.com/office/drawing/2014/main" id="{FB7288CD-79AC-3E74-42DA-088F55C331F8}"/>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47" name="Freeform: Shape 18646">
                  <a:extLst>
                    <a:ext uri="{FF2B5EF4-FFF2-40B4-BE49-F238E27FC236}">
                      <a16:creationId xmlns:a16="http://schemas.microsoft.com/office/drawing/2014/main" id="{EFFE059E-435E-C542-93A8-E58E430F0424}"/>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6" name="Graphic 790">
                <a:extLst>
                  <a:ext uri="{FF2B5EF4-FFF2-40B4-BE49-F238E27FC236}">
                    <a16:creationId xmlns:a16="http://schemas.microsoft.com/office/drawing/2014/main" id="{3FA47644-C3FA-58F5-AEF1-20CB9E4FEEE4}"/>
                  </a:ext>
                </a:extLst>
              </p:cNvPr>
              <p:cNvGrpSpPr/>
              <p:nvPr/>
            </p:nvGrpSpPr>
            <p:grpSpPr>
              <a:xfrm>
                <a:off x="5640514" y="3405282"/>
                <a:ext cx="75723" cy="75628"/>
                <a:chOff x="5640514" y="3405282"/>
                <a:chExt cx="75723" cy="75628"/>
              </a:xfrm>
            </p:grpSpPr>
            <p:sp>
              <p:nvSpPr>
                <p:cNvPr id="18644" name="Freeform: Shape 18643">
                  <a:extLst>
                    <a:ext uri="{FF2B5EF4-FFF2-40B4-BE49-F238E27FC236}">
                      <a16:creationId xmlns:a16="http://schemas.microsoft.com/office/drawing/2014/main" id="{00E6BCC7-EF3A-A59B-95B9-5E2E4D302A41}"/>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45" name="Freeform: Shape 18644">
                  <a:extLst>
                    <a:ext uri="{FF2B5EF4-FFF2-40B4-BE49-F238E27FC236}">
                      <a16:creationId xmlns:a16="http://schemas.microsoft.com/office/drawing/2014/main" id="{0C66C3D5-F545-AE6B-003E-5D91A19A2263}"/>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7" name="Graphic 790">
                <a:extLst>
                  <a:ext uri="{FF2B5EF4-FFF2-40B4-BE49-F238E27FC236}">
                    <a16:creationId xmlns:a16="http://schemas.microsoft.com/office/drawing/2014/main" id="{12290805-7277-E6DA-BE9A-1A8ACFD65ED8}"/>
                  </a:ext>
                </a:extLst>
              </p:cNvPr>
              <p:cNvGrpSpPr/>
              <p:nvPr/>
            </p:nvGrpSpPr>
            <p:grpSpPr>
              <a:xfrm>
                <a:off x="5579173" y="3322319"/>
                <a:ext cx="75628" cy="75723"/>
                <a:chOff x="5579173" y="3322319"/>
                <a:chExt cx="75628" cy="75723"/>
              </a:xfrm>
            </p:grpSpPr>
            <p:sp>
              <p:nvSpPr>
                <p:cNvPr id="18642" name="Freeform: Shape 18641">
                  <a:extLst>
                    <a:ext uri="{FF2B5EF4-FFF2-40B4-BE49-F238E27FC236}">
                      <a16:creationId xmlns:a16="http://schemas.microsoft.com/office/drawing/2014/main" id="{4901C2D7-098D-A85E-5C35-104B66F3F55F}"/>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43" name="Freeform: Shape 18642">
                  <a:extLst>
                    <a:ext uri="{FF2B5EF4-FFF2-40B4-BE49-F238E27FC236}">
                      <a16:creationId xmlns:a16="http://schemas.microsoft.com/office/drawing/2014/main" id="{003D9A2D-EA19-E657-5D66-4E3BD037A975}"/>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8" name="Graphic 790">
                <a:extLst>
                  <a:ext uri="{FF2B5EF4-FFF2-40B4-BE49-F238E27FC236}">
                    <a16:creationId xmlns:a16="http://schemas.microsoft.com/office/drawing/2014/main" id="{3E8B5B80-47E1-9F37-F1FD-69A2336600C8}"/>
                  </a:ext>
                </a:extLst>
              </p:cNvPr>
              <p:cNvGrpSpPr/>
              <p:nvPr/>
            </p:nvGrpSpPr>
            <p:grpSpPr>
              <a:xfrm>
                <a:off x="6010465" y="3480910"/>
                <a:ext cx="75723" cy="75723"/>
                <a:chOff x="6010465" y="3480910"/>
                <a:chExt cx="75723" cy="75723"/>
              </a:xfrm>
            </p:grpSpPr>
            <p:sp>
              <p:nvSpPr>
                <p:cNvPr id="18640" name="Freeform: Shape 18639">
                  <a:extLst>
                    <a:ext uri="{FF2B5EF4-FFF2-40B4-BE49-F238E27FC236}">
                      <a16:creationId xmlns:a16="http://schemas.microsoft.com/office/drawing/2014/main" id="{20717D16-746E-905C-EE82-EA485BE5249B}"/>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41" name="Freeform: Shape 18640">
                  <a:extLst>
                    <a:ext uri="{FF2B5EF4-FFF2-40B4-BE49-F238E27FC236}">
                      <a16:creationId xmlns:a16="http://schemas.microsoft.com/office/drawing/2014/main" id="{A44DBDC3-45D6-4677-1337-9BD3B6A0615B}"/>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9" name="Graphic 790">
                <a:extLst>
                  <a:ext uri="{FF2B5EF4-FFF2-40B4-BE49-F238E27FC236}">
                    <a16:creationId xmlns:a16="http://schemas.microsoft.com/office/drawing/2014/main" id="{85368154-A5E6-7B58-3715-F3B3AB5E9594}"/>
                  </a:ext>
                </a:extLst>
              </p:cNvPr>
              <p:cNvGrpSpPr/>
              <p:nvPr/>
            </p:nvGrpSpPr>
            <p:grpSpPr>
              <a:xfrm>
                <a:off x="6029991" y="3480910"/>
                <a:ext cx="75628" cy="75723"/>
                <a:chOff x="6029991" y="3480910"/>
                <a:chExt cx="75628" cy="75723"/>
              </a:xfrm>
            </p:grpSpPr>
            <p:sp>
              <p:nvSpPr>
                <p:cNvPr id="18638" name="Freeform: Shape 18637">
                  <a:extLst>
                    <a:ext uri="{FF2B5EF4-FFF2-40B4-BE49-F238E27FC236}">
                      <a16:creationId xmlns:a16="http://schemas.microsoft.com/office/drawing/2014/main" id="{FA1DDBF7-B3FB-EC56-FA3B-5EA7D707BD9C}"/>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9" name="Freeform: Shape 18638">
                  <a:extLst>
                    <a:ext uri="{FF2B5EF4-FFF2-40B4-BE49-F238E27FC236}">
                      <a16:creationId xmlns:a16="http://schemas.microsoft.com/office/drawing/2014/main" id="{5AE64237-D88C-6154-0097-286C9207CCA5}"/>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0" name="Graphic 790">
                <a:extLst>
                  <a:ext uri="{FF2B5EF4-FFF2-40B4-BE49-F238E27FC236}">
                    <a16:creationId xmlns:a16="http://schemas.microsoft.com/office/drawing/2014/main" id="{F302C0B9-00B5-7840-658F-0AD05D8619A3}"/>
                  </a:ext>
                </a:extLst>
              </p:cNvPr>
              <p:cNvGrpSpPr/>
              <p:nvPr/>
            </p:nvGrpSpPr>
            <p:grpSpPr>
              <a:xfrm>
                <a:off x="6457092" y="3598449"/>
                <a:ext cx="75628" cy="75723"/>
                <a:chOff x="6457092" y="3598449"/>
                <a:chExt cx="75628" cy="75723"/>
              </a:xfrm>
            </p:grpSpPr>
            <p:sp>
              <p:nvSpPr>
                <p:cNvPr id="18636" name="Freeform: Shape 18635">
                  <a:extLst>
                    <a:ext uri="{FF2B5EF4-FFF2-40B4-BE49-F238E27FC236}">
                      <a16:creationId xmlns:a16="http://schemas.microsoft.com/office/drawing/2014/main" id="{5DCE2262-6A41-5DFF-DE26-2B4D0605352C}"/>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7" name="Freeform: Shape 18636">
                  <a:extLst>
                    <a:ext uri="{FF2B5EF4-FFF2-40B4-BE49-F238E27FC236}">
                      <a16:creationId xmlns:a16="http://schemas.microsoft.com/office/drawing/2014/main" id="{189EC526-F49D-6D4B-BDBF-6057F0664516}"/>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1" name="Graphic 790">
                <a:extLst>
                  <a:ext uri="{FF2B5EF4-FFF2-40B4-BE49-F238E27FC236}">
                    <a16:creationId xmlns:a16="http://schemas.microsoft.com/office/drawing/2014/main" id="{57AAF2E3-B429-53C2-6145-7BC7284A5A10}"/>
                  </a:ext>
                </a:extLst>
              </p:cNvPr>
              <p:cNvGrpSpPr/>
              <p:nvPr/>
            </p:nvGrpSpPr>
            <p:grpSpPr>
              <a:xfrm>
                <a:off x="6445567" y="3598449"/>
                <a:ext cx="75723" cy="75723"/>
                <a:chOff x="6445567" y="3598449"/>
                <a:chExt cx="75723" cy="75723"/>
              </a:xfrm>
            </p:grpSpPr>
            <p:sp>
              <p:nvSpPr>
                <p:cNvPr id="18634" name="Freeform: Shape 18633">
                  <a:extLst>
                    <a:ext uri="{FF2B5EF4-FFF2-40B4-BE49-F238E27FC236}">
                      <a16:creationId xmlns:a16="http://schemas.microsoft.com/office/drawing/2014/main" id="{D07650E0-E0F6-3F77-C86E-FD2EF5CD9718}"/>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5" name="Freeform: Shape 18634">
                  <a:extLst>
                    <a:ext uri="{FF2B5EF4-FFF2-40B4-BE49-F238E27FC236}">
                      <a16:creationId xmlns:a16="http://schemas.microsoft.com/office/drawing/2014/main" id="{BCF47AA6-458A-A07F-D824-0C180ABD5175}"/>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2" name="Graphic 790">
                <a:extLst>
                  <a:ext uri="{FF2B5EF4-FFF2-40B4-BE49-F238E27FC236}">
                    <a16:creationId xmlns:a16="http://schemas.microsoft.com/office/drawing/2014/main" id="{521A8CF4-AE7C-6730-51D9-05AB40941E9A}"/>
                  </a:ext>
                </a:extLst>
              </p:cNvPr>
              <p:cNvGrpSpPr/>
              <p:nvPr/>
            </p:nvGrpSpPr>
            <p:grpSpPr>
              <a:xfrm>
                <a:off x="6434137" y="3598449"/>
                <a:ext cx="75723" cy="75723"/>
                <a:chOff x="6434137" y="3598449"/>
                <a:chExt cx="75723" cy="75723"/>
              </a:xfrm>
            </p:grpSpPr>
            <p:sp>
              <p:nvSpPr>
                <p:cNvPr id="18632" name="Freeform: Shape 18631">
                  <a:extLst>
                    <a:ext uri="{FF2B5EF4-FFF2-40B4-BE49-F238E27FC236}">
                      <a16:creationId xmlns:a16="http://schemas.microsoft.com/office/drawing/2014/main" id="{7EA662C8-E87B-0619-1ED6-43AE67606369}"/>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3" name="Freeform: Shape 18632">
                  <a:extLst>
                    <a:ext uri="{FF2B5EF4-FFF2-40B4-BE49-F238E27FC236}">
                      <a16:creationId xmlns:a16="http://schemas.microsoft.com/office/drawing/2014/main" id="{82642D3B-C64D-2C93-D9CC-FA4D6B7D6DDD}"/>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3" name="Graphic 790">
                <a:extLst>
                  <a:ext uri="{FF2B5EF4-FFF2-40B4-BE49-F238E27FC236}">
                    <a16:creationId xmlns:a16="http://schemas.microsoft.com/office/drawing/2014/main" id="{8916D3C4-372C-DB50-ECAA-DB7EEC631D14}"/>
                  </a:ext>
                </a:extLst>
              </p:cNvPr>
              <p:cNvGrpSpPr/>
              <p:nvPr/>
            </p:nvGrpSpPr>
            <p:grpSpPr>
              <a:xfrm>
                <a:off x="6422707" y="3598449"/>
                <a:ext cx="75723" cy="75723"/>
                <a:chOff x="6422707" y="3598449"/>
                <a:chExt cx="75723" cy="75723"/>
              </a:xfrm>
            </p:grpSpPr>
            <p:sp>
              <p:nvSpPr>
                <p:cNvPr id="18630" name="Freeform: Shape 18629">
                  <a:extLst>
                    <a:ext uri="{FF2B5EF4-FFF2-40B4-BE49-F238E27FC236}">
                      <a16:creationId xmlns:a16="http://schemas.microsoft.com/office/drawing/2014/main" id="{27DBFD06-7FC6-FE88-8156-5157D9E25AAD}"/>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1" name="Freeform: Shape 18630">
                  <a:extLst>
                    <a:ext uri="{FF2B5EF4-FFF2-40B4-BE49-F238E27FC236}">
                      <a16:creationId xmlns:a16="http://schemas.microsoft.com/office/drawing/2014/main" id="{2D5576B9-4603-F03E-7079-85616B5BD397}"/>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4" name="Graphic 790">
                <a:extLst>
                  <a:ext uri="{FF2B5EF4-FFF2-40B4-BE49-F238E27FC236}">
                    <a16:creationId xmlns:a16="http://schemas.microsoft.com/office/drawing/2014/main" id="{7372865B-0DE3-5CC9-85E2-D4F3BBBC6D8C}"/>
                  </a:ext>
                </a:extLst>
              </p:cNvPr>
              <p:cNvGrpSpPr/>
              <p:nvPr/>
            </p:nvGrpSpPr>
            <p:grpSpPr>
              <a:xfrm>
                <a:off x="6411277" y="3598449"/>
                <a:ext cx="75723" cy="75723"/>
                <a:chOff x="6411277" y="3598449"/>
                <a:chExt cx="75723" cy="75723"/>
              </a:xfrm>
            </p:grpSpPr>
            <p:sp>
              <p:nvSpPr>
                <p:cNvPr id="18628" name="Freeform: Shape 18627">
                  <a:extLst>
                    <a:ext uri="{FF2B5EF4-FFF2-40B4-BE49-F238E27FC236}">
                      <a16:creationId xmlns:a16="http://schemas.microsoft.com/office/drawing/2014/main" id="{E9D5A93E-6847-4367-EFE1-A221A86D8C77}"/>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9" name="Freeform: Shape 18628">
                  <a:extLst>
                    <a:ext uri="{FF2B5EF4-FFF2-40B4-BE49-F238E27FC236}">
                      <a16:creationId xmlns:a16="http://schemas.microsoft.com/office/drawing/2014/main" id="{879FB994-E7DC-8594-9E70-1E4AC69C0B8B}"/>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5" name="Graphic 790">
                <a:extLst>
                  <a:ext uri="{FF2B5EF4-FFF2-40B4-BE49-F238E27FC236}">
                    <a16:creationId xmlns:a16="http://schemas.microsoft.com/office/drawing/2014/main" id="{024C05D4-02BF-D163-5DDD-E411011910B6}"/>
                  </a:ext>
                </a:extLst>
              </p:cNvPr>
              <p:cNvGrpSpPr/>
              <p:nvPr/>
            </p:nvGrpSpPr>
            <p:grpSpPr>
              <a:xfrm>
                <a:off x="6502717" y="3639883"/>
                <a:ext cx="75723" cy="75723"/>
                <a:chOff x="6502717" y="3639883"/>
                <a:chExt cx="75723" cy="75723"/>
              </a:xfrm>
            </p:grpSpPr>
            <p:sp>
              <p:nvSpPr>
                <p:cNvPr id="18626" name="Freeform: Shape 18625">
                  <a:extLst>
                    <a:ext uri="{FF2B5EF4-FFF2-40B4-BE49-F238E27FC236}">
                      <a16:creationId xmlns:a16="http://schemas.microsoft.com/office/drawing/2014/main" id="{4D6D6BB4-AE94-3ED1-0106-581672C28217}"/>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7" name="Freeform: Shape 18626">
                  <a:extLst>
                    <a:ext uri="{FF2B5EF4-FFF2-40B4-BE49-F238E27FC236}">
                      <a16:creationId xmlns:a16="http://schemas.microsoft.com/office/drawing/2014/main" id="{AC3B0497-0777-1EF5-EBD7-8AFCA1C034A4}"/>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6" name="Graphic 790">
                <a:extLst>
                  <a:ext uri="{FF2B5EF4-FFF2-40B4-BE49-F238E27FC236}">
                    <a16:creationId xmlns:a16="http://schemas.microsoft.com/office/drawing/2014/main" id="{DF47DAB6-C9D5-3992-BDC1-FA90F663DF6D}"/>
                  </a:ext>
                </a:extLst>
              </p:cNvPr>
              <p:cNvGrpSpPr/>
              <p:nvPr/>
            </p:nvGrpSpPr>
            <p:grpSpPr>
              <a:xfrm>
                <a:off x="6916483" y="3652646"/>
                <a:ext cx="75723" cy="75723"/>
                <a:chOff x="6916483" y="3652646"/>
                <a:chExt cx="75723" cy="75723"/>
              </a:xfrm>
            </p:grpSpPr>
            <p:sp>
              <p:nvSpPr>
                <p:cNvPr id="18624" name="Freeform: Shape 18623">
                  <a:extLst>
                    <a:ext uri="{FF2B5EF4-FFF2-40B4-BE49-F238E27FC236}">
                      <a16:creationId xmlns:a16="http://schemas.microsoft.com/office/drawing/2014/main" id="{E6DD087C-54D2-4EFE-65EB-839F0588C8E9}"/>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5" name="Freeform: Shape 18624">
                  <a:extLst>
                    <a:ext uri="{FF2B5EF4-FFF2-40B4-BE49-F238E27FC236}">
                      <a16:creationId xmlns:a16="http://schemas.microsoft.com/office/drawing/2014/main" id="{67C67CCD-3328-8049-3847-3A3074B60D25}"/>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7" name="Graphic 790">
                <a:extLst>
                  <a:ext uri="{FF2B5EF4-FFF2-40B4-BE49-F238E27FC236}">
                    <a16:creationId xmlns:a16="http://schemas.microsoft.com/office/drawing/2014/main" id="{28A52BFD-AA09-825E-C499-C67C134AC097}"/>
                  </a:ext>
                </a:extLst>
              </p:cNvPr>
              <p:cNvGrpSpPr/>
              <p:nvPr/>
            </p:nvGrpSpPr>
            <p:grpSpPr>
              <a:xfrm>
                <a:off x="6900862" y="3652646"/>
                <a:ext cx="75628" cy="75723"/>
                <a:chOff x="6900862" y="3652646"/>
                <a:chExt cx="75628" cy="75723"/>
              </a:xfrm>
            </p:grpSpPr>
            <p:sp>
              <p:nvSpPr>
                <p:cNvPr id="18622" name="Freeform: Shape 18621">
                  <a:extLst>
                    <a:ext uri="{FF2B5EF4-FFF2-40B4-BE49-F238E27FC236}">
                      <a16:creationId xmlns:a16="http://schemas.microsoft.com/office/drawing/2014/main" id="{D8473DCA-528C-254D-EE08-FB7F4E71400A}"/>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3" name="Freeform: Shape 18622">
                  <a:extLst>
                    <a:ext uri="{FF2B5EF4-FFF2-40B4-BE49-F238E27FC236}">
                      <a16:creationId xmlns:a16="http://schemas.microsoft.com/office/drawing/2014/main" id="{CB30626E-8184-F6D3-37C5-B8EA5CF83C68}"/>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8" name="Graphic 790">
                <a:extLst>
                  <a:ext uri="{FF2B5EF4-FFF2-40B4-BE49-F238E27FC236}">
                    <a16:creationId xmlns:a16="http://schemas.microsoft.com/office/drawing/2014/main" id="{A32B91C0-1F8B-6483-34CD-DDF83BD5B884}"/>
                  </a:ext>
                </a:extLst>
              </p:cNvPr>
              <p:cNvGrpSpPr/>
              <p:nvPr/>
            </p:nvGrpSpPr>
            <p:grpSpPr>
              <a:xfrm>
                <a:off x="6885145" y="3652646"/>
                <a:ext cx="75723" cy="75723"/>
                <a:chOff x="6885145" y="3652646"/>
                <a:chExt cx="75723" cy="75723"/>
              </a:xfrm>
            </p:grpSpPr>
            <p:sp>
              <p:nvSpPr>
                <p:cNvPr id="18620" name="Freeform: Shape 18619">
                  <a:extLst>
                    <a:ext uri="{FF2B5EF4-FFF2-40B4-BE49-F238E27FC236}">
                      <a16:creationId xmlns:a16="http://schemas.microsoft.com/office/drawing/2014/main" id="{5681E41A-8608-E458-5EB2-0B51AEDAFE03}"/>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1" name="Freeform: Shape 18620">
                  <a:extLst>
                    <a:ext uri="{FF2B5EF4-FFF2-40B4-BE49-F238E27FC236}">
                      <a16:creationId xmlns:a16="http://schemas.microsoft.com/office/drawing/2014/main" id="{3FCCA3A2-189C-2CEC-D046-1B683791132E}"/>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39" name="Graphic 790">
                <a:extLst>
                  <a:ext uri="{FF2B5EF4-FFF2-40B4-BE49-F238E27FC236}">
                    <a16:creationId xmlns:a16="http://schemas.microsoft.com/office/drawing/2014/main" id="{186120C3-A197-F5A3-08F3-A1991E14DF3F}"/>
                  </a:ext>
                </a:extLst>
              </p:cNvPr>
              <p:cNvGrpSpPr/>
              <p:nvPr/>
            </p:nvGrpSpPr>
            <p:grpSpPr>
              <a:xfrm>
                <a:off x="6869429" y="3652646"/>
                <a:ext cx="75723" cy="75723"/>
                <a:chOff x="6869429" y="3652646"/>
                <a:chExt cx="75723" cy="75723"/>
              </a:xfrm>
            </p:grpSpPr>
            <p:sp>
              <p:nvSpPr>
                <p:cNvPr id="18618" name="Freeform: Shape 18617">
                  <a:extLst>
                    <a:ext uri="{FF2B5EF4-FFF2-40B4-BE49-F238E27FC236}">
                      <a16:creationId xmlns:a16="http://schemas.microsoft.com/office/drawing/2014/main" id="{5F67EA37-268D-69C5-0B4C-28B7FBE93638}"/>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9" name="Freeform: Shape 18618">
                  <a:extLst>
                    <a:ext uri="{FF2B5EF4-FFF2-40B4-BE49-F238E27FC236}">
                      <a16:creationId xmlns:a16="http://schemas.microsoft.com/office/drawing/2014/main" id="{3CA268F7-0DE8-A3E0-12F6-333001E6544C}"/>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0" name="Graphic 790">
                <a:extLst>
                  <a:ext uri="{FF2B5EF4-FFF2-40B4-BE49-F238E27FC236}">
                    <a16:creationId xmlns:a16="http://schemas.microsoft.com/office/drawing/2014/main" id="{7D95A0BA-D102-3743-1B69-3311AB9FA770}"/>
                  </a:ext>
                </a:extLst>
              </p:cNvPr>
              <p:cNvGrpSpPr/>
              <p:nvPr/>
            </p:nvGrpSpPr>
            <p:grpSpPr>
              <a:xfrm>
                <a:off x="6853808" y="3652646"/>
                <a:ext cx="75628" cy="75723"/>
                <a:chOff x="6853808" y="3652646"/>
                <a:chExt cx="75628" cy="75723"/>
              </a:xfrm>
            </p:grpSpPr>
            <p:sp>
              <p:nvSpPr>
                <p:cNvPr id="18616" name="Freeform: Shape 18615">
                  <a:extLst>
                    <a:ext uri="{FF2B5EF4-FFF2-40B4-BE49-F238E27FC236}">
                      <a16:creationId xmlns:a16="http://schemas.microsoft.com/office/drawing/2014/main" id="{E5B8D133-9FBA-B89F-F498-E5D6FEC26046}"/>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7" name="Freeform: Shape 18616">
                  <a:extLst>
                    <a:ext uri="{FF2B5EF4-FFF2-40B4-BE49-F238E27FC236}">
                      <a16:creationId xmlns:a16="http://schemas.microsoft.com/office/drawing/2014/main" id="{031FEBDA-4C7F-3D4F-2EC4-5ABA345C2AA5}"/>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1" name="Graphic 790">
                <a:extLst>
                  <a:ext uri="{FF2B5EF4-FFF2-40B4-BE49-F238E27FC236}">
                    <a16:creationId xmlns:a16="http://schemas.microsoft.com/office/drawing/2014/main" id="{612D5B4E-C403-6BE1-8396-9B9A338A6A1C}"/>
                  </a:ext>
                </a:extLst>
              </p:cNvPr>
              <p:cNvGrpSpPr/>
              <p:nvPr/>
            </p:nvGrpSpPr>
            <p:grpSpPr>
              <a:xfrm>
                <a:off x="6923626" y="3677030"/>
                <a:ext cx="75723" cy="75628"/>
                <a:chOff x="6923626" y="3677030"/>
                <a:chExt cx="75723" cy="75628"/>
              </a:xfrm>
            </p:grpSpPr>
            <p:sp>
              <p:nvSpPr>
                <p:cNvPr id="18614" name="Freeform: Shape 18613">
                  <a:extLst>
                    <a:ext uri="{FF2B5EF4-FFF2-40B4-BE49-F238E27FC236}">
                      <a16:creationId xmlns:a16="http://schemas.microsoft.com/office/drawing/2014/main" id="{A692855C-ABF6-21B6-5F06-7D1BE4E5A586}"/>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5" name="Freeform: Shape 18614">
                  <a:extLst>
                    <a:ext uri="{FF2B5EF4-FFF2-40B4-BE49-F238E27FC236}">
                      <a16:creationId xmlns:a16="http://schemas.microsoft.com/office/drawing/2014/main" id="{A526767A-5D59-4543-B0DA-B75B02BCF2CD}"/>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2" name="Graphic 790">
                <a:extLst>
                  <a:ext uri="{FF2B5EF4-FFF2-40B4-BE49-F238E27FC236}">
                    <a16:creationId xmlns:a16="http://schemas.microsoft.com/office/drawing/2014/main" id="{D7D211DB-ACF8-6552-67D8-F6C6A073924C}"/>
                  </a:ext>
                </a:extLst>
              </p:cNvPr>
              <p:cNvGrpSpPr/>
              <p:nvPr/>
            </p:nvGrpSpPr>
            <p:grpSpPr>
              <a:xfrm>
                <a:off x="6908482" y="3677030"/>
                <a:ext cx="75723" cy="75628"/>
                <a:chOff x="6908482" y="3677030"/>
                <a:chExt cx="75723" cy="75628"/>
              </a:xfrm>
            </p:grpSpPr>
            <p:sp>
              <p:nvSpPr>
                <p:cNvPr id="18612" name="Freeform: Shape 18611">
                  <a:extLst>
                    <a:ext uri="{FF2B5EF4-FFF2-40B4-BE49-F238E27FC236}">
                      <a16:creationId xmlns:a16="http://schemas.microsoft.com/office/drawing/2014/main" id="{4F97D1A9-E2E6-B56D-06CB-64208CA4C4E7}"/>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3" name="Freeform: Shape 18612">
                  <a:extLst>
                    <a:ext uri="{FF2B5EF4-FFF2-40B4-BE49-F238E27FC236}">
                      <a16:creationId xmlns:a16="http://schemas.microsoft.com/office/drawing/2014/main" id="{2D22C0D3-D087-1B53-6300-DE6E7BFD8439}"/>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3" name="Graphic 790">
                <a:extLst>
                  <a:ext uri="{FF2B5EF4-FFF2-40B4-BE49-F238E27FC236}">
                    <a16:creationId xmlns:a16="http://schemas.microsoft.com/office/drawing/2014/main" id="{5969810D-C2D4-CB92-616A-5B4B58624795}"/>
                  </a:ext>
                </a:extLst>
              </p:cNvPr>
              <p:cNvGrpSpPr/>
              <p:nvPr/>
            </p:nvGrpSpPr>
            <p:grpSpPr>
              <a:xfrm>
                <a:off x="7307960" y="3719226"/>
                <a:ext cx="75628" cy="75723"/>
                <a:chOff x="7307960" y="3719226"/>
                <a:chExt cx="75628" cy="75723"/>
              </a:xfrm>
            </p:grpSpPr>
            <p:sp>
              <p:nvSpPr>
                <p:cNvPr id="18610" name="Freeform: Shape 18609">
                  <a:extLst>
                    <a:ext uri="{FF2B5EF4-FFF2-40B4-BE49-F238E27FC236}">
                      <a16:creationId xmlns:a16="http://schemas.microsoft.com/office/drawing/2014/main" id="{EC69F5C7-8AE8-0BDF-51A8-AE0A4A080A79}"/>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1" name="Freeform: Shape 18610">
                  <a:extLst>
                    <a:ext uri="{FF2B5EF4-FFF2-40B4-BE49-F238E27FC236}">
                      <a16:creationId xmlns:a16="http://schemas.microsoft.com/office/drawing/2014/main" id="{10249698-6D17-6B2E-A8BE-C6A20E2030D1}"/>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4" name="Graphic 790">
                <a:extLst>
                  <a:ext uri="{FF2B5EF4-FFF2-40B4-BE49-F238E27FC236}">
                    <a16:creationId xmlns:a16="http://schemas.microsoft.com/office/drawing/2014/main" id="{F4015A70-8BC0-CE38-9ACF-947B100ED44B}"/>
                  </a:ext>
                </a:extLst>
              </p:cNvPr>
              <p:cNvGrpSpPr/>
              <p:nvPr/>
            </p:nvGrpSpPr>
            <p:grpSpPr>
              <a:xfrm>
                <a:off x="7302150" y="3719226"/>
                <a:ext cx="75723" cy="75723"/>
                <a:chOff x="7302150" y="3719226"/>
                <a:chExt cx="75723" cy="75723"/>
              </a:xfrm>
            </p:grpSpPr>
            <p:sp>
              <p:nvSpPr>
                <p:cNvPr id="18608" name="Freeform: Shape 18607">
                  <a:extLst>
                    <a:ext uri="{FF2B5EF4-FFF2-40B4-BE49-F238E27FC236}">
                      <a16:creationId xmlns:a16="http://schemas.microsoft.com/office/drawing/2014/main" id="{21609A02-BF51-987A-3A56-25CA1CD3D1FE}"/>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9" name="Freeform: Shape 18608">
                  <a:extLst>
                    <a:ext uri="{FF2B5EF4-FFF2-40B4-BE49-F238E27FC236}">
                      <a16:creationId xmlns:a16="http://schemas.microsoft.com/office/drawing/2014/main" id="{FBBB17FA-6D6F-113F-0567-1C87203088FE}"/>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5" name="Graphic 790">
                <a:extLst>
                  <a:ext uri="{FF2B5EF4-FFF2-40B4-BE49-F238E27FC236}">
                    <a16:creationId xmlns:a16="http://schemas.microsoft.com/office/drawing/2014/main" id="{0F9BB3BA-1277-49BE-0D63-D4EDD9D21172}"/>
                  </a:ext>
                </a:extLst>
              </p:cNvPr>
              <p:cNvGrpSpPr/>
              <p:nvPr/>
            </p:nvGrpSpPr>
            <p:grpSpPr>
              <a:xfrm>
                <a:off x="7318819" y="3763898"/>
                <a:ext cx="75723" cy="75723"/>
                <a:chOff x="7318819" y="3763898"/>
                <a:chExt cx="75723" cy="75723"/>
              </a:xfrm>
            </p:grpSpPr>
            <p:sp>
              <p:nvSpPr>
                <p:cNvPr id="18606" name="Freeform: Shape 18605">
                  <a:extLst>
                    <a:ext uri="{FF2B5EF4-FFF2-40B4-BE49-F238E27FC236}">
                      <a16:creationId xmlns:a16="http://schemas.microsoft.com/office/drawing/2014/main" id="{CBC8A767-E897-225B-E218-C57E1E55286B}"/>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7" name="Freeform: Shape 18606">
                  <a:extLst>
                    <a:ext uri="{FF2B5EF4-FFF2-40B4-BE49-F238E27FC236}">
                      <a16:creationId xmlns:a16="http://schemas.microsoft.com/office/drawing/2014/main" id="{55217BB1-9AB0-BEB7-03E7-34BAF0BF8DD4}"/>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6" name="Graphic 790">
                <a:extLst>
                  <a:ext uri="{FF2B5EF4-FFF2-40B4-BE49-F238E27FC236}">
                    <a16:creationId xmlns:a16="http://schemas.microsoft.com/office/drawing/2014/main" id="{BB383163-787C-42E2-1E48-2B411F0A3131}"/>
                  </a:ext>
                </a:extLst>
              </p:cNvPr>
              <p:cNvGrpSpPr/>
              <p:nvPr/>
            </p:nvGrpSpPr>
            <p:grpSpPr>
              <a:xfrm>
                <a:off x="7329391" y="3772661"/>
                <a:ext cx="75723" cy="75628"/>
                <a:chOff x="7329391" y="3772661"/>
                <a:chExt cx="75723" cy="75628"/>
              </a:xfrm>
            </p:grpSpPr>
            <p:sp>
              <p:nvSpPr>
                <p:cNvPr id="18604" name="Freeform: Shape 18603">
                  <a:extLst>
                    <a:ext uri="{FF2B5EF4-FFF2-40B4-BE49-F238E27FC236}">
                      <a16:creationId xmlns:a16="http://schemas.microsoft.com/office/drawing/2014/main" id="{078108C6-CDE5-9406-FA0B-BE69036374C7}"/>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5" name="Freeform: Shape 18604">
                  <a:extLst>
                    <a:ext uri="{FF2B5EF4-FFF2-40B4-BE49-F238E27FC236}">
                      <a16:creationId xmlns:a16="http://schemas.microsoft.com/office/drawing/2014/main" id="{FFAD239B-6F5A-809A-55F0-D0B4BE1A1902}"/>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7" name="Graphic 790">
                <a:extLst>
                  <a:ext uri="{FF2B5EF4-FFF2-40B4-BE49-F238E27FC236}">
                    <a16:creationId xmlns:a16="http://schemas.microsoft.com/office/drawing/2014/main" id="{35926CF1-9A0D-0A9F-5C2A-E2159630EF52}"/>
                  </a:ext>
                </a:extLst>
              </p:cNvPr>
              <p:cNvGrpSpPr/>
              <p:nvPr/>
            </p:nvGrpSpPr>
            <p:grpSpPr>
              <a:xfrm>
                <a:off x="7377874" y="3772661"/>
                <a:ext cx="75723" cy="75628"/>
                <a:chOff x="7377874" y="3772661"/>
                <a:chExt cx="75723" cy="75628"/>
              </a:xfrm>
            </p:grpSpPr>
            <p:sp>
              <p:nvSpPr>
                <p:cNvPr id="18602" name="Freeform: Shape 18601">
                  <a:extLst>
                    <a:ext uri="{FF2B5EF4-FFF2-40B4-BE49-F238E27FC236}">
                      <a16:creationId xmlns:a16="http://schemas.microsoft.com/office/drawing/2014/main" id="{32DC6992-106D-63B1-3643-2D4C8B7BB71C}"/>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3" name="Freeform: Shape 18602">
                  <a:extLst>
                    <a:ext uri="{FF2B5EF4-FFF2-40B4-BE49-F238E27FC236}">
                      <a16:creationId xmlns:a16="http://schemas.microsoft.com/office/drawing/2014/main" id="{57F4E232-674F-420F-6FBD-40D80088C139}"/>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8" name="Graphic 790">
                <a:extLst>
                  <a:ext uri="{FF2B5EF4-FFF2-40B4-BE49-F238E27FC236}">
                    <a16:creationId xmlns:a16="http://schemas.microsoft.com/office/drawing/2014/main" id="{E281BD20-94B9-132C-0F98-BB45F082713E}"/>
                  </a:ext>
                </a:extLst>
              </p:cNvPr>
              <p:cNvGrpSpPr/>
              <p:nvPr/>
            </p:nvGrpSpPr>
            <p:grpSpPr>
              <a:xfrm>
                <a:off x="7350061" y="3772661"/>
                <a:ext cx="75628" cy="75628"/>
                <a:chOff x="7350061" y="3772661"/>
                <a:chExt cx="75628" cy="75628"/>
              </a:xfrm>
            </p:grpSpPr>
            <p:sp>
              <p:nvSpPr>
                <p:cNvPr id="18600" name="Freeform: Shape 18599">
                  <a:extLst>
                    <a:ext uri="{FF2B5EF4-FFF2-40B4-BE49-F238E27FC236}">
                      <a16:creationId xmlns:a16="http://schemas.microsoft.com/office/drawing/2014/main" id="{15C2B641-1C19-2680-D53D-804590116673}"/>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1" name="Freeform: Shape 18600">
                  <a:extLst>
                    <a:ext uri="{FF2B5EF4-FFF2-40B4-BE49-F238E27FC236}">
                      <a16:creationId xmlns:a16="http://schemas.microsoft.com/office/drawing/2014/main" id="{25399414-BCB2-4C31-02AB-B113DEE2A3A7}"/>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49" name="Graphic 790">
                <a:extLst>
                  <a:ext uri="{FF2B5EF4-FFF2-40B4-BE49-F238E27FC236}">
                    <a16:creationId xmlns:a16="http://schemas.microsoft.com/office/drawing/2014/main" id="{DE2A213F-EA13-9BDE-8EB1-B3BB2CA3B3E7}"/>
                  </a:ext>
                </a:extLst>
              </p:cNvPr>
              <p:cNvGrpSpPr/>
              <p:nvPr/>
            </p:nvGrpSpPr>
            <p:grpSpPr>
              <a:xfrm>
                <a:off x="7285481" y="3719226"/>
                <a:ext cx="75723" cy="75723"/>
                <a:chOff x="7285481" y="3719226"/>
                <a:chExt cx="75723" cy="75723"/>
              </a:xfrm>
            </p:grpSpPr>
            <p:sp>
              <p:nvSpPr>
                <p:cNvPr id="18598" name="Freeform: Shape 18597">
                  <a:extLst>
                    <a:ext uri="{FF2B5EF4-FFF2-40B4-BE49-F238E27FC236}">
                      <a16:creationId xmlns:a16="http://schemas.microsoft.com/office/drawing/2014/main" id="{B6D90D86-76F1-C651-A17F-A009FB1B5844}"/>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9" name="Freeform: Shape 18598">
                  <a:extLst>
                    <a:ext uri="{FF2B5EF4-FFF2-40B4-BE49-F238E27FC236}">
                      <a16:creationId xmlns:a16="http://schemas.microsoft.com/office/drawing/2014/main" id="{DD9F50FA-59E0-9E3D-7F48-4861E41FD1D8}"/>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0" name="Graphic 790">
                <a:extLst>
                  <a:ext uri="{FF2B5EF4-FFF2-40B4-BE49-F238E27FC236}">
                    <a16:creationId xmlns:a16="http://schemas.microsoft.com/office/drawing/2014/main" id="{FC8350BE-A376-6749-1630-6439FCDA9E28}"/>
                  </a:ext>
                </a:extLst>
              </p:cNvPr>
              <p:cNvGrpSpPr/>
              <p:nvPr/>
            </p:nvGrpSpPr>
            <p:grpSpPr>
              <a:xfrm>
                <a:off x="7730870" y="3838193"/>
                <a:ext cx="75723" cy="75628"/>
                <a:chOff x="7730870" y="3838193"/>
                <a:chExt cx="75723" cy="75628"/>
              </a:xfrm>
            </p:grpSpPr>
            <p:sp>
              <p:nvSpPr>
                <p:cNvPr id="18596" name="Freeform: Shape 18595">
                  <a:extLst>
                    <a:ext uri="{FF2B5EF4-FFF2-40B4-BE49-F238E27FC236}">
                      <a16:creationId xmlns:a16="http://schemas.microsoft.com/office/drawing/2014/main" id="{64336948-D338-B0EB-6291-8700AF4AC4E7}"/>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7" name="Freeform: Shape 18596">
                  <a:extLst>
                    <a:ext uri="{FF2B5EF4-FFF2-40B4-BE49-F238E27FC236}">
                      <a16:creationId xmlns:a16="http://schemas.microsoft.com/office/drawing/2014/main" id="{F7D0BB6F-8D64-6052-A8F0-31E554DB813E}"/>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1" name="Graphic 790">
                <a:extLst>
                  <a:ext uri="{FF2B5EF4-FFF2-40B4-BE49-F238E27FC236}">
                    <a16:creationId xmlns:a16="http://schemas.microsoft.com/office/drawing/2014/main" id="{56CA94C7-B79F-0940-5A67-882DFBA7398B}"/>
                  </a:ext>
                </a:extLst>
              </p:cNvPr>
              <p:cNvGrpSpPr/>
              <p:nvPr/>
            </p:nvGrpSpPr>
            <p:grpSpPr>
              <a:xfrm>
                <a:off x="7744015" y="3838193"/>
                <a:ext cx="75723" cy="75628"/>
                <a:chOff x="7744015" y="3838193"/>
                <a:chExt cx="75723" cy="75628"/>
              </a:xfrm>
            </p:grpSpPr>
            <p:sp>
              <p:nvSpPr>
                <p:cNvPr id="18594" name="Freeform: Shape 18593">
                  <a:extLst>
                    <a:ext uri="{FF2B5EF4-FFF2-40B4-BE49-F238E27FC236}">
                      <a16:creationId xmlns:a16="http://schemas.microsoft.com/office/drawing/2014/main" id="{09D87D0B-ED5D-798D-F5F7-42E5C879B7EF}"/>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5" name="Freeform: Shape 18594">
                  <a:extLst>
                    <a:ext uri="{FF2B5EF4-FFF2-40B4-BE49-F238E27FC236}">
                      <a16:creationId xmlns:a16="http://schemas.microsoft.com/office/drawing/2014/main" id="{71917740-30B3-35E6-E877-D1DDE44716DD}"/>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2" name="Graphic 790">
                <a:extLst>
                  <a:ext uri="{FF2B5EF4-FFF2-40B4-BE49-F238E27FC236}">
                    <a16:creationId xmlns:a16="http://schemas.microsoft.com/office/drawing/2014/main" id="{334E24DB-28DA-53D5-08FE-2BB18A1B9CED}"/>
                  </a:ext>
                </a:extLst>
              </p:cNvPr>
              <p:cNvGrpSpPr/>
              <p:nvPr/>
            </p:nvGrpSpPr>
            <p:grpSpPr>
              <a:xfrm>
                <a:off x="7836788" y="3873626"/>
                <a:ext cx="75723" cy="75628"/>
                <a:chOff x="7836788" y="3873626"/>
                <a:chExt cx="75723" cy="75628"/>
              </a:xfrm>
            </p:grpSpPr>
            <p:sp>
              <p:nvSpPr>
                <p:cNvPr id="18592" name="Freeform: Shape 18591">
                  <a:extLst>
                    <a:ext uri="{FF2B5EF4-FFF2-40B4-BE49-F238E27FC236}">
                      <a16:creationId xmlns:a16="http://schemas.microsoft.com/office/drawing/2014/main" id="{D30DC41F-399A-1EA7-FD63-857D0B6E2229}"/>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3" name="Freeform: Shape 18592">
                  <a:extLst>
                    <a:ext uri="{FF2B5EF4-FFF2-40B4-BE49-F238E27FC236}">
                      <a16:creationId xmlns:a16="http://schemas.microsoft.com/office/drawing/2014/main" id="{DB83E6BA-9B5F-DB6A-CAC1-04504FB55BA7}"/>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3" name="Graphic 790">
                <a:extLst>
                  <a:ext uri="{FF2B5EF4-FFF2-40B4-BE49-F238E27FC236}">
                    <a16:creationId xmlns:a16="http://schemas.microsoft.com/office/drawing/2014/main" id="{E680F3B5-948B-B605-53C6-0E3306BAB366}"/>
                  </a:ext>
                </a:extLst>
              </p:cNvPr>
              <p:cNvGrpSpPr/>
              <p:nvPr/>
            </p:nvGrpSpPr>
            <p:grpSpPr>
              <a:xfrm>
                <a:off x="7788401" y="3873626"/>
                <a:ext cx="75628" cy="75628"/>
                <a:chOff x="7788401" y="3873626"/>
                <a:chExt cx="75628" cy="75628"/>
              </a:xfrm>
            </p:grpSpPr>
            <p:sp>
              <p:nvSpPr>
                <p:cNvPr id="18590" name="Freeform: Shape 18589">
                  <a:extLst>
                    <a:ext uri="{FF2B5EF4-FFF2-40B4-BE49-F238E27FC236}">
                      <a16:creationId xmlns:a16="http://schemas.microsoft.com/office/drawing/2014/main" id="{95C054C6-8DE2-8223-0559-6464A4C1ABC2}"/>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1" name="Freeform: Shape 18590">
                  <a:extLst>
                    <a:ext uri="{FF2B5EF4-FFF2-40B4-BE49-F238E27FC236}">
                      <a16:creationId xmlns:a16="http://schemas.microsoft.com/office/drawing/2014/main" id="{2AD26CA7-D0F8-895B-6363-088CC1C181C6}"/>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4" name="Graphic 790">
                <a:extLst>
                  <a:ext uri="{FF2B5EF4-FFF2-40B4-BE49-F238E27FC236}">
                    <a16:creationId xmlns:a16="http://schemas.microsoft.com/office/drawing/2014/main" id="{4AD5A647-72C8-9E83-2BA6-9D5ECD9FFC7A}"/>
                  </a:ext>
                </a:extLst>
              </p:cNvPr>
              <p:cNvGrpSpPr/>
              <p:nvPr/>
            </p:nvGrpSpPr>
            <p:grpSpPr>
              <a:xfrm>
                <a:off x="7781924" y="3873626"/>
                <a:ext cx="75628" cy="75628"/>
                <a:chOff x="7781924" y="3873626"/>
                <a:chExt cx="75628" cy="75628"/>
              </a:xfrm>
            </p:grpSpPr>
            <p:sp>
              <p:nvSpPr>
                <p:cNvPr id="18588" name="Freeform: Shape 18587">
                  <a:extLst>
                    <a:ext uri="{FF2B5EF4-FFF2-40B4-BE49-F238E27FC236}">
                      <a16:creationId xmlns:a16="http://schemas.microsoft.com/office/drawing/2014/main" id="{1FAFB86F-7F2F-390F-B38C-1C45BB85BF2C}"/>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9" name="Freeform: Shape 18588">
                  <a:extLst>
                    <a:ext uri="{FF2B5EF4-FFF2-40B4-BE49-F238E27FC236}">
                      <a16:creationId xmlns:a16="http://schemas.microsoft.com/office/drawing/2014/main" id="{06D750AD-8FD2-9E4B-5361-A1D62FDE1314}"/>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5" name="Graphic 790">
                <a:extLst>
                  <a:ext uri="{FF2B5EF4-FFF2-40B4-BE49-F238E27FC236}">
                    <a16:creationId xmlns:a16="http://schemas.microsoft.com/office/drawing/2014/main" id="{ADD170F9-0572-125D-6C42-DBCBFF8145DB}"/>
                  </a:ext>
                </a:extLst>
              </p:cNvPr>
              <p:cNvGrpSpPr/>
              <p:nvPr/>
            </p:nvGrpSpPr>
            <p:grpSpPr>
              <a:xfrm>
                <a:off x="7769351" y="3873626"/>
                <a:ext cx="75628" cy="75628"/>
                <a:chOff x="7769351" y="3873626"/>
                <a:chExt cx="75628" cy="75628"/>
              </a:xfrm>
            </p:grpSpPr>
            <p:sp>
              <p:nvSpPr>
                <p:cNvPr id="18586" name="Freeform: Shape 18585">
                  <a:extLst>
                    <a:ext uri="{FF2B5EF4-FFF2-40B4-BE49-F238E27FC236}">
                      <a16:creationId xmlns:a16="http://schemas.microsoft.com/office/drawing/2014/main" id="{157C51F4-A5DE-05A4-4203-AB8660926579}"/>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7" name="Freeform: Shape 18586">
                  <a:extLst>
                    <a:ext uri="{FF2B5EF4-FFF2-40B4-BE49-F238E27FC236}">
                      <a16:creationId xmlns:a16="http://schemas.microsoft.com/office/drawing/2014/main" id="{33CB30DD-BE19-EA4B-F1B2-DD2415DB2692}"/>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6" name="Graphic 790">
                <a:extLst>
                  <a:ext uri="{FF2B5EF4-FFF2-40B4-BE49-F238E27FC236}">
                    <a16:creationId xmlns:a16="http://schemas.microsoft.com/office/drawing/2014/main" id="{B7D5EF04-2D78-25BC-E2DB-4B438DFF7056}"/>
                  </a:ext>
                </a:extLst>
              </p:cNvPr>
              <p:cNvGrpSpPr/>
              <p:nvPr/>
            </p:nvGrpSpPr>
            <p:grpSpPr>
              <a:xfrm>
                <a:off x="7762874" y="3873626"/>
                <a:ext cx="75628" cy="75628"/>
                <a:chOff x="7762874" y="3873626"/>
                <a:chExt cx="75628" cy="75628"/>
              </a:xfrm>
            </p:grpSpPr>
            <p:sp>
              <p:nvSpPr>
                <p:cNvPr id="18584" name="Freeform: Shape 18583">
                  <a:extLst>
                    <a:ext uri="{FF2B5EF4-FFF2-40B4-BE49-F238E27FC236}">
                      <a16:creationId xmlns:a16="http://schemas.microsoft.com/office/drawing/2014/main" id="{319209EC-3505-EEB4-5992-0C7AEA69856E}"/>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5" name="Freeform: Shape 18584">
                  <a:extLst>
                    <a:ext uri="{FF2B5EF4-FFF2-40B4-BE49-F238E27FC236}">
                      <a16:creationId xmlns:a16="http://schemas.microsoft.com/office/drawing/2014/main" id="{91B69E5E-2FF1-5498-500D-BD566DC9DE2A}"/>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7" name="Graphic 790">
                <a:extLst>
                  <a:ext uri="{FF2B5EF4-FFF2-40B4-BE49-F238E27FC236}">
                    <a16:creationId xmlns:a16="http://schemas.microsoft.com/office/drawing/2014/main" id="{46F8890D-9EE9-0D89-E730-CD5CD2A634A7}"/>
                  </a:ext>
                </a:extLst>
              </p:cNvPr>
              <p:cNvGrpSpPr/>
              <p:nvPr/>
            </p:nvGrpSpPr>
            <p:grpSpPr>
              <a:xfrm>
                <a:off x="7753730" y="3873626"/>
                <a:ext cx="75723" cy="75628"/>
                <a:chOff x="7753730" y="3873626"/>
                <a:chExt cx="75723" cy="75628"/>
              </a:xfrm>
            </p:grpSpPr>
            <p:sp>
              <p:nvSpPr>
                <p:cNvPr id="18582" name="Freeform: Shape 18581">
                  <a:extLst>
                    <a:ext uri="{FF2B5EF4-FFF2-40B4-BE49-F238E27FC236}">
                      <a16:creationId xmlns:a16="http://schemas.microsoft.com/office/drawing/2014/main" id="{38DE4D80-FD33-BDDA-8A3B-70B94F9F8EE2}"/>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3" name="Freeform: Shape 18582">
                  <a:extLst>
                    <a:ext uri="{FF2B5EF4-FFF2-40B4-BE49-F238E27FC236}">
                      <a16:creationId xmlns:a16="http://schemas.microsoft.com/office/drawing/2014/main" id="{88CEA0BE-0115-135C-9482-72AC46EAB310}"/>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8" name="Graphic 790">
                <a:extLst>
                  <a:ext uri="{FF2B5EF4-FFF2-40B4-BE49-F238E27FC236}">
                    <a16:creationId xmlns:a16="http://schemas.microsoft.com/office/drawing/2014/main" id="{90D0E49B-BA15-A129-6189-62A177BB65E5}"/>
                  </a:ext>
                </a:extLst>
              </p:cNvPr>
              <p:cNvGrpSpPr/>
              <p:nvPr/>
            </p:nvGrpSpPr>
            <p:grpSpPr>
              <a:xfrm>
                <a:off x="7747253" y="3873626"/>
                <a:ext cx="75723" cy="75628"/>
                <a:chOff x="7747253" y="3873626"/>
                <a:chExt cx="75723" cy="75628"/>
              </a:xfrm>
            </p:grpSpPr>
            <p:sp>
              <p:nvSpPr>
                <p:cNvPr id="18580" name="Freeform: Shape 18579">
                  <a:extLst>
                    <a:ext uri="{FF2B5EF4-FFF2-40B4-BE49-F238E27FC236}">
                      <a16:creationId xmlns:a16="http://schemas.microsoft.com/office/drawing/2014/main" id="{3137D440-9CD0-DB5C-B242-D9F0B31C41BC}"/>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1" name="Freeform: Shape 18580">
                  <a:extLst>
                    <a:ext uri="{FF2B5EF4-FFF2-40B4-BE49-F238E27FC236}">
                      <a16:creationId xmlns:a16="http://schemas.microsoft.com/office/drawing/2014/main" id="{38B6DFA7-2A41-C763-757B-4EF07BAC7FEE}"/>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59" name="Graphic 790">
                <a:extLst>
                  <a:ext uri="{FF2B5EF4-FFF2-40B4-BE49-F238E27FC236}">
                    <a16:creationId xmlns:a16="http://schemas.microsoft.com/office/drawing/2014/main" id="{E33C2EE0-3EC4-0729-78BC-D4826C3D2F4F}"/>
                  </a:ext>
                </a:extLst>
              </p:cNvPr>
              <p:cNvGrpSpPr/>
              <p:nvPr/>
            </p:nvGrpSpPr>
            <p:grpSpPr>
              <a:xfrm>
                <a:off x="8155590" y="3932491"/>
                <a:ext cx="75723" cy="75628"/>
                <a:chOff x="8155590" y="3932491"/>
                <a:chExt cx="75723" cy="75628"/>
              </a:xfrm>
            </p:grpSpPr>
            <p:sp>
              <p:nvSpPr>
                <p:cNvPr id="18578" name="Freeform: Shape 18577">
                  <a:extLst>
                    <a:ext uri="{FF2B5EF4-FFF2-40B4-BE49-F238E27FC236}">
                      <a16:creationId xmlns:a16="http://schemas.microsoft.com/office/drawing/2014/main" id="{AFCE2DC3-C44E-7BC8-616D-7F75343A5B48}"/>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9" name="Freeform: Shape 18578">
                  <a:extLst>
                    <a:ext uri="{FF2B5EF4-FFF2-40B4-BE49-F238E27FC236}">
                      <a16:creationId xmlns:a16="http://schemas.microsoft.com/office/drawing/2014/main" id="{9BD8E6C2-9BD7-9F83-508D-CD9C5E432B06}"/>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0" name="Graphic 790">
                <a:extLst>
                  <a:ext uri="{FF2B5EF4-FFF2-40B4-BE49-F238E27FC236}">
                    <a16:creationId xmlns:a16="http://schemas.microsoft.com/office/drawing/2014/main" id="{6E9EF38C-3F5A-446F-C23D-2E0FD183B471}"/>
                  </a:ext>
                </a:extLst>
              </p:cNvPr>
              <p:cNvGrpSpPr/>
              <p:nvPr/>
            </p:nvGrpSpPr>
            <p:grpSpPr>
              <a:xfrm>
                <a:off x="8236743" y="3932491"/>
                <a:ext cx="75723" cy="75628"/>
                <a:chOff x="8236743" y="3932491"/>
                <a:chExt cx="75723" cy="75628"/>
              </a:xfrm>
            </p:grpSpPr>
            <p:sp>
              <p:nvSpPr>
                <p:cNvPr id="18576" name="Freeform: Shape 18575">
                  <a:extLst>
                    <a:ext uri="{FF2B5EF4-FFF2-40B4-BE49-F238E27FC236}">
                      <a16:creationId xmlns:a16="http://schemas.microsoft.com/office/drawing/2014/main" id="{118C6F92-EAD2-A483-5523-68EFC38EA59F}"/>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7" name="Freeform: Shape 18576">
                  <a:extLst>
                    <a:ext uri="{FF2B5EF4-FFF2-40B4-BE49-F238E27FC236}">
                      <a16:creationId xmlns:a16="http://schemas.microsoft.com/office/drawing/2014/main" id="{81A5609C-EF54-5A3D-A211-D3400989CD03}"/>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1" name="Graphic 790">
                <a:extLst>
                  <a:ext uri="{FF2B5EF4-FFF2-40B4-BE49-F238E27FC236}">
                    <a16:creationId xmlns:a16="http://schemas.microsoft.com/office/drawing/2014/main" id="{E7A2F51E-043F-F061-006D-CE035D995257}"/>
                  </a:ext>
                </a:extLst>
              </p:cNvPr>
              <p:cNvGrpSpPr/>
              <p:nvPr/>
            </p:nvGrpSpPr>
            <p:grpSpPr>
              <a:xfrm>
                <a:off x="8224837" y="3932491"/>
                <a:ext cx="75628" cy="75628"/>
                <a:chOff x="8224837" y="3932491"/>
                <a:chExt cx="75628" cy="75628"/>
              </a:xfrm>
            </p:grpSpPr>
            <p:sp>
              <p:nvSpPr>
                <p:cNvPr id="18574" name="Freeform: Shape 18573">
                  <a:extLst>
                    <a:ext uri="{FF2B5EF4-FFF2-40B4-BE49-F238E27FC236}">
                      <a16:creationId xmlns:a16="http://schemas.microsoft.com/office/drawing/2014/main" id="{48E588C0-B8A9-0B39-2129-BC0F023B2A6D}"/>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5" name="Freeform: Shape 18574">
                  <a:extLst>
                    <a:ext uri="{FF2B5EF4-FFF2-40B4-BE49-F238E27FC236}">
                      <a16:creationId xmlns:a16="http://schemas.microsoft.com/office/drawing/2014/main" id="{18A030AF-483D-0E6E-5C38-EDFA486C0C25}"/>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2" name="Graphic 790">
                <a:extLst>
                  <a:ext uri="{FF2B5EF4-FFF2-40B4-BE49-F238E27FC236}">
                    <a16:creationId xmlns:a16="http://schemas.microsoft.com/office/drawing/2014/main" id="{3F70C517-E86B-822E-552B-D7ED225DAE37}"/>
                  </a:ext>
                </a:extLst>
              </p:cNvPr>
              <p:cNvGrpSpPr/>
              <p:nvPr/>
            </p:nvGrpSpPr>
            <p:grpSpPr>
              <a:xfrm>
                <a:off x="8212835" y="3932491"/>
                <a:ext cx="75723" cy="75628"/>
                <a:chOff x="8212835" y="3932491"/>
                <a:chExt cx="75723" cy="75628"/>
              </a:xfrm>
            </p:grpSpPr>
            <p:sp>
              <p:nvSpPr>
                <p:cNvPr id="18572" name="Freeform: Shape 18571">
                  <a:extLst>
                    <a:ext uri="{FF2B5EF4-FFF2-40B4-BE49-F238E27FC236}">
                      <a16:creationId xmlns:a16="http://schemas.microsoft.com/office/drawing/2014/main" id="{67122013-C835-C26B-99C1-A72537F59B2D}"/>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3" name="Freeform: Shape 18572">
                  <a:extLst>
                    <a:ext uri="{FF2B5EF4-FFF2-40B4-BE49-F238E27FC236}">
                      <a16:creationId xmlns:a16="http://schemas.microsoft.com/office/drawing/2014/main" id="{458FDFD3-2C9E-6E11-5196-37227944255A}"/>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3" name="Graphic 790">
                <a:extLst>
                  <a:ext uri="{FF2B5EF4-FFF2-40B4-BE49-F238E27FC236}">
                    <a16:creationId xmlns:a16="http://schemas.microsoft.com/office/drawing/2014/main" id="{E969EDC5-7949-9876-9B0B-EC1976DC010D}"/>
                  </a:ext>
                </a:extLst>
              </p:cNvPr>
              <p:cNvGrpSpPr/>
              <p:nvPr/>
            </p:nvGrpSpPr>
            <p:grpSpPr>
              <a:xfrm>
                <a:off x="8146541" y="3932491"/>
                <a:ext cx="75628" cy="75628"/>
                <a:chOff x="8146541" y="3932491"/>
                <a:chExt cx="75628" cy="75628"/>
              </a:xfrm>
            </p:grpSpPr>
            <p:sp>
              <p:nvSpPr>
                <p:cNvPr id="18570" name="Freeform: Shape 18569">
                  <a:extLst>
                    <a:ext uri="{FF2B5EF4-FFF2-40B4-BE49-F238E27FC236}">
                      <a16:creationId xmlns:a16="http://schemas.microsoft.com/office/drawing/2014/main" id="{0A6FF0FC-8EA1-858D-99BD-E7B36E06D552}"/>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1" name="Freeform: Shape 18570">
                  <a:extLst>
                    <a:ext uri="{FF2B5EF4-FFF2-40B4-BE49-F238E27FC236}">
                      <a16:creationId xmlns:a16="http://schemas.microsoft.com/office/drawing/2014/main" id="{F4DE5389-E0E4-B554-FD74-00CAAC087F34}"/>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4" name="Graphic 790">
                <a:extLst>
                  <a:ext uri="{FF2B5EF4-FFF2-40B4-BE49-F238E27FC236}">
                    <a16:creationId xmlns:a16="http://schemas.microsoft.com/office/drawing/2014/main" id="{07A16298-A238-82E2-E9BB-9613017605A9}"/>
                  </a:ext>
                </a:extLst>
              </p:cNvPr>
              <p:cNvGrpSpPr/>
              <p:nvPr/>
            </p:nvGrpSpPr>
            <p:grpSpPr>
              <a:xfrm>
                <a:off x="8166544" y="3932491"/>
                <a:ext cx="75723" cy="75628"/>
                <a:chOff x="8166544" y="3932491"/>
                <a:chExt cx="75723" cy="75628"/>
              </a:xfrm>
            </p:grpSpPr>
            <p:sp>
              <p:nvSpPr>
                <p:cNvPr id="18568" name="Freeform: Shape 18567">
                  <a:extLst>
                    <a:ext uri="{FF2B5EF4-FFF2-40B4-BE49-F238E27FC236}">
                      <a16:creationId xmlns:a16="http://schemas.microsoft.com/office/drawing/2014/main" id="{61AD634F-701B-3609-965B-C19A5B8471BD}"/>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9" name="Freeform: Shape 18568">
                  <a:extLst>
                    <a:ext uri="{FF2B5EF4-FFF2-40B4-BE49-F238E27FC236}">
                      <a16:creationId xmlns:a16="http://schemas.microsoft.com/office/drawing/2014/main" id="{B60C7AB8-675E-71A5-FAE8-EF431CB63024}"/>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65" name="Graphic 790">
                <a:extLst>
                  <a:ext uri="{FF2B5EF4-FFF2-40B4-BE49-F238E27FC236}">
                    <a16:creationId xmlns:a16="http://schemas.microsoft.com/office/drawing/2014/main" id="{E1E162EB-7C68-ADD0-2801-3583F033C5D1}"/>
                  </a:ext>
                </a:extLst>
              </p:cNvPr>
              <p:cNvGrpSpPr/>
              <p:nvPr/>
            </p:nvGrpSpPr>
            <p:grpSpPr>
              <a:xfrm>
                <a:off x="8200929" y="3932491"/>
                <a:ext cx="75628" cy="75628"/>
                <a:chOff x="8200929" y="3932491"/>
                <a:chExt cx="75628" cy="75628"/>
              </a:xfrm>
            </p:grpSpPr>
            <p:sp>
              <p:nvSpPr>
                <p:cNvPr id="18566" name="Freeform: Shape 18565">
                  <a:extLst>
                    <a:ext uri="{FF2B5EF4-FFF2-40B4-BE49-F238E27FC236}">
                      <a16:creationId xmlns:a16="http://schemas.microsoft.com/office/drawing/2014/main" id="{46E90850-CD45-E209-C0B5-F58973D844D2}"/>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7" name="Freeform: Shape 18566">
                  <a:extLst>
                    <a:ext uri="{FF2B5EF4-FFF2-40B4-BE49-F238E27FC236}">
                      <a16:creationId xmlns:a16="http://schemas.microsoft.com/office/drawing/2014/main" id="{9A6246EE-2623-E98D-FA42-9802186B97BD}"/>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452" name="Freeform: Shape 18451">
              <a:extLst>
                <a:ext uri="{FF2B5EF4-FFF2-40B4-BE49-F238E27FC236}">
                  <a16:creationId xmlns:a16="http://schemas.microsoft.com/office/drawing/2014/main" id="{9E012F1F-10CE-6266-AFCF-E3C19BBC777B}"/>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 name="Group 5">
            <a:extLst>
              <a:ext uri="{FF2B5EF4-FFF2-40B4-BE49-F238E27FC236}">
                <a16:creationId xmlns:a16="http://schemas.microsoft.com/office/drawing/2014/main" id="{71D04019-7741-01A3-E02C-555BF84F56DC}"/>
              </a:ext>
            </a:extLst>
          </p:cNvPr>
          <p:cNvGrpSpPr/>
          <p:nvPr/>
        </p:nvGrpSpPr>
        <p:grpSpPr>
          <a:xfrm>
            <a:off x="714940" y="1482475"/>
            <a:ext cx="6798425" cy="1935956"/>
            <a:chOff x="1040606" y="1476375"/>
            <a:chExt cx="6090949" cy="1935956"/>
          </a:xfrm>
        </p:grpSpPr>
        <p:grpSp>
          <p:nvGrpSpPr>
            <p:cNvPr id="15" name="Graphic 1583">
              <a:extLst>
                <a:ext uri="{FF2B5EF4-FFF2-40B4-BE49-F238E27FC236}">
                  <a16:creationId xmlns:a16="http://schemas.microsoft.com/office/drawing/2014/main" id="{37B38979-0A4F-176B-7B0B-34F1D1866DAC}"/>
                </a:ext>
              </a:extLst>
            </p:cNvPr>
            <p:cNvGrpSpPr/>
            <p:nvPr/>
          </p:nvGrpSpPr>
          <p:grpSpPr>
            <a:xfrm>
              <a:off x="1469675" y="1616392"/>
              <a:ext cx="5661880" cy="1795939"/>
              <a:chOff x="4136421" y="2810065"/>
              <a:chExt cx="4244530" cy="1346358"/>
            </a:xfrm>
          </p:grpSpPr>
          <p:grpSp>
            <p:nvGrpSpPr>
              <p:cNvPr id="17" name="Graphic 1583">
                <a:extLst>
                  <a:ext uri="{FF2B5EF4-FFF2-40B4-BE49-F238E27FC236}">
                    <a16:creationId xmlns:a16="http://schemas.microsoft.com/office/drawing/2014/main" id="{3283FEA4-DB49-64F5-6E98-BA240F220DF9}"/>
                  </a:ext>
                </a:extLst>
              </p:cNvPr>
              <p:cNvGrpSpPr/>
              <p:nvPr/>
            </p:nvGrpSpPr>
            <p:grpSpPr>
              <a:xfrm>
                <a:off x="8305323" y="4080700"/>
                <a:ext cx="75628" cy="75723"/>
                <a:chOff x="8305323" y="4080700"/>
                <a:chExt cx="75628" cy="75723"/>
              </a:xfrm>
            </p:grpSpPr>
            <p:sp>
              <p:nvSpPr>
                <p:cNvPr id="14644" name="Freeform: Shape 14643">
                  <a:extLst>
                    <a:ext uri="{FF2B5EF4-FFF2-40B4-BE49-F238E27FC236}">
                      <a16:creationId xmlns:a16="http://schemas.microsoft.com/office/drawing/2014/main" id="{DEEFE6DB-A33E-C3C3-8619-6E7DBA80F24E}"/>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5" name="Freeform: Shape 14644">
                  <a:extLst>
                    <a:ext uri="{FF2B5EF4-FFF2-40B4-BE49-F238E27FC236}">
                      <a16:creationId xmlns:a16="http://schemas.microsoft.com/office/drawing/2014/main" id="{0C736DD8-0156-2D16-7BD7-C6672148D075}"/>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 name="Graphic 1583">
                <a:extLst>
                  <a:ext uri="{FF2B5EF4-FFF2-40B4-BE49-F238E27FC236}">
                    <a16:creationId xmlns:a16="http://schemas.microsoft.com/office/drawing/2014/main" id="{00D685D7-7CB3-2E3B-8B1B-86F09E0C271C}"/>
                  </a:ext>
                </a:extLst>
              </p:cNvPr>
              <p:cNvGrpSpPr/>
              <p:nvPr/>
            </p:nvGrpSpPr>
            <p:grpSpPr>
              <a:xfrm>
                <a:off x="7934800" y="4080700"/>
                <a:ext cx="75628" cy="75723"/>
                <a:chOff x="7934800" y="4080700"/>
                <a:chExt cx="75628" cy="75723"/>
              </a:xfrm>
            </p:grpSpPr>
            <p:sp>
              <p:nvSpPr>
                <p:cNvPr id="14642" name="Freeform: Shape 14641">
                  <a:extLst>
                    <a:ext uri="{FF2B5EF4-FFF2-40B4-BE49-F238E27FC236}">
                      <a16:creationId xmlns:a16="http://schemas.microsoft.com/office/drawing/2014/main" id="{49D4C4A7-D070-EF34-14CD-30EF80749196}"/>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3" name="Freeform: Shape 14642">
                  <a:extLst>
                    <a:ext uri="{FF2B5EF4-FFF2-40B4-BE49-F238E27FC236}">
                      <a16:creationId xmlns:a16="http://schemas.microsoft.com/office/drawing/2014/main" id="{E56F7CA1-D8F9-4C83-FE83-A9999E15A158}"/>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 name="Graphic 1583">
                <a:extLst>
                  <a:ext uri="{FF2B5EF4-FFF2-40B4-BE49-F238E27FC236}">
                    <a16:creationId xmlns:a16="http://schemas.microsoft.com/office/drawing/2014/main" id="{06CDDBE8-2223-451D-FB63-C5C58A54E438}"/>
                  </a:ext>
                </a:extLst>
              </p:cNvPr>
              <p:cNvGrpSpPr/>
              <p:nvPr/>
            </p:nvGrpSpPr>
            <p:grpSpPr>
              <a:xfrm>
                <a:off x="7923561" y="4080700"/>
                <a:ext cx="75628" cy="75723"/>
                <a:chOff x="7923561" y="4080700"/>
                <a:chExt cx="75628" cy="75723"/>
              </a:xfrm>
            </p:grpSpPr>
            <p:sp>
              <p:nvSpPr>
                <p:cNvPr id="14640" name="Freeform: Shape 14639">
                  <a:extLst>
                    <a:ext uri="{FF2B5EF4-FFF2-40B4-BE49-F238E27FC236}">
                      <a16:creationId xmlns:a16="http://schemas.microsoft.com/office/drawing/2014/main" id="{E3868C95-8D15-A477-B205-291AB66718F0}"/>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1" name="Freeform: Shape 14640">
                  <a:extLst>
                    <a:ext uri="{FF2B5EF4-FFF2-40B4-BE49-F238E27FC236}">
                      <a16:creationId xmlns:a16="http://schemas.microsoft.com/office/drawing/2014/main" id="{389E3476-8E96-5D07-7307-1C1E9AD6B1EA}"/>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 name="Graphic 1583">
                <a:extLst>
                  <a:ext uri="{FF2B5EF4-FFF2-40B4-BE49-F238E27FC236}">
                    <a16:creationId xmlns:a16="http://schemas.microsoft.com/office/drawing/2014/main" id="{2B9F41BC-0696-1F42-B2D4-64D40996505A}"/>
                  </a:ext>
                </a:extLst>
              </p:cNvPr>
              <p:cNvGrpSpPr/>
              <p:nvPr/>
            </p:nvGrpSpPr>
            <p:grpSpPr>
              <a:xfrm>
                <a:off x="7590281" y="4080700"/>
                <a:ext cx="75723" cy="75723"/>
                <a:chOff x="7590281" y="4080700"/>
                <a:chExt cx="75723" cy="75723"/>
              </a:xfrm>
            </p:grpSpPr>
            <p:sp>
              <p:nvSpPr>
                <p:cNvPr id="14638" name="Freeform: Shape 14637">
                  <a:extLst>
                    <a:ext uri="{FF2B5EF4-FFF2-40B4-BE49-F238E27FC236}">
                      <a16:creationId xmlns:a16="http://schemas.microsoft.com/office/drawing/2014/main" id="{88D15A3F-9732-45ED-D05A-FD9D17300E20}"/>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9" name="Freeform: Shape 14638">
                  <a:extLst>
                    <a:ext uri="{FF2B5EF4-FFF2-40B4-BE49-F238E27FC236}">
                      <a16:creationId xmlns:a16="http://schemas.microsoft.com/office/drawing/2014/main" id="{02D8F56A-4DAA-FEAB-C40D-B8B5CF093456}"/>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 name="Graphic 1583">
                <a:extLst>
                  <a:ext uri="{FF2B5EF4-FFF2-40B4-BE49-F238E27FC236}">
                    <a16:creationId xmlns:a16="http://schemas.microsoft.com/office/drawing/2014/main" id="{075FAA27-9701-6B14-F0D4-2445DCEE9741}"/>
                  </a:ext>
                </a:extLst>
              </p:cNvPr>
              <p:cNvGrpSpPr/>
              <p:nvPr/>
            </p:nvGrpSpPr>
            <p:grpSpPr>
              <a:xfrm>
                <a:off x="7565040" y="4080700"/>
                <a:ext cx="75723" cy="75723"/>
                <a:chOff x="7565040" y="4080700"/>
                <a:chExt cx="75723" cy="75723"/>
              </a:xfrm>
            </p:grpSpPr>
            <p:sp>
              <p:nvSpPr>
                <p:cNvPr id="14635" name="Freeform: Shape 14634">
                  <a:extLst>
                    <a:ext uri="{FF2B5EF4-FFF2-40B4-BE49-F238E27FC236}">
                      <a16:creationId xmlns:a16="http://schemas.microsoft.com/office/drawing/2014/main" id="{C90511F4-32E8-09EF-DF0B-C5E54E4EA0A7}"/>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6" name="Freeform: Shape 14635">
                  <a:extLst>
                    <a:ext uri="{FF2B5EF4-FFF2-40B4-BE49-F238E27FC236}">
                      <a16:creationId xmlns:a16="http://schemas.microsoft.com/office/drawing/2014/main" id="{608A666B-EFAD-D89D-37B3-4C572EB50185}"/>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 name="Graphic 1583">
                <a:extLst>
                  <a:ext uri="{FF2B5EF4-FFF2-40B4-BE49-F238E27FC236}">
                    <a16:creationId xmlns:a16="http://schemas.microsoft.com/office/drawing/2014/main" id="{604550A1-9B32-AC9E-1F3F-073EBF450AE4}"/>
                  </a:ext>
                </a:extLst>
              </p:cNvPr>
              <p:cNvGrpSpPr/>
              <p:nvPr/>
            </p:nvGrpSpPr>
            <p:grpSpPr>
              <a:xfrm>
                <a:off x="7541799" y="3949826"/>
                <a:ext cx="75723" cy="75723"/>
                <a:chOff x="7541799" y="3949826"/>
                <a:chExt cx="75723" cy="75723"/>
              </a:xfrm>
            </p:grpSpPr>
            <p:sp>
              <p:nvSpPr>
                <p:cNvPr id="14632" name="Freeform: Shape 14631">
                  <a:extLst>
                    <a:ext uri="{FF2B5EF4-FFF2-40B4-BE49-F238E27FC236}">
                      <a16:creationId xmlns:a16="http://schemas.microsoft.com/office/drawing/2014/main" id="{914AD5AF-D7C5-B5C0-8562-F8DA494761C3}"/>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4" name="Freeform: Shape 14633">
                  <a:extLst>
                    <a:ext uri="{FF2B5EF4-FFF2-40B4-BE49-F238E27FC236}">
                      <a16:creationId xmlns:a16="http://schemas.microsoft.com/office/drawing/2014/main" id="{ACFB1541-2C68-2445-3EC1-645E653DC195}"/>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 name="Graphic 1583">
                <a:extLst>
                  <a:ext uri="{FF2B5EF4-FFF2-40B4-BE49-F238E27FC236}">
                    <a16:creationId xmlns:a16="http://schemas.microsoft.com/office/drawing/2014/main" id="{ED2E10FB-2915-4F2C-186C-F9799D77ED5F}"/>
                  </a:ext>
                </a:extLst>
              </p:cNvPr>
              <p:cNvGrpSpPr/>
              <p:nvPr/>
            </p:nvGrpSpPr>
            <p:grpSpPr>
              <a:xfrm>
                <a:off x="7272146" y="3949826"/>
                <a:ext cx="75723" cy="75723"/>
                <a:chOff x="7272146" y="3949826"/>
                <a:chExt cx="75723" cy="75723"/>
              </a:xfrm>
            </p:grpSpPr>
            <p:sp>
              <p:nvSpPr>
                <p:cNvPr id="14630" name="Freeform: Shape 14629">
                  <a:extLst>
                    <a:ext uri="{FF2B5EF4-FFF2-40B4-BE49-F238E27FC236}">
                      <a16:creationId xmlns:a16="http://schemas.microsoft.com/office/drawing/2014/main" id="{3C2048EC-B825-C9E0-BAB3-F4CA5D144EDE}"/>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1" name="Freeform: Shape 14630">
                  <a:extLst>
                    <a:ext uri="{FF2B5EF4-FFF2-40B4-BE49-F238E27FC236}">
                      <a16:creationId xmlns:a16="http://schemas.microsoft.com/office/drawing/2014/main" id="{BD5DBD7C-8DA5-F735-E297-2B0389806C95}"/>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 name="Graphic 1583">
                <a:extLst>
                  <a:ext uri="{FF2B5EF4-FFF2-40B4-BE49-F238E27FC236}">
                    <a16:creationId xmlns:a16="http://schemas.microsoft.com/office/drawing/2014/main" id="{7E08B802-36E4-70EB-55E2-A35FA1945EA4}"/>
                  </a:ext>
                </a:extLst>
              </p:cNvPr>
              <p:cNvGrpSpPr/>
              <p:nvPr/>
            </p:nvGrpSpPr>
            <p:grpSpPr>
              <a:xfrm>
                <a:off x="7220330" y="3850290"/>
                <a:ext cx="75628" cy="75723"/>
                <a:chOff x="7220330" y="3850290"/>
                <a:chExt cx="75628" cy="75723"/>
              </a:xfrm>
            </p:grpSpPr>
            <p:sp>
              <p:nvSpPr>
                <p:cNvPr id="14628" name="Freeform: Shape 14627">
                  <a:extLst>
                    <a:ext uri="{FF2B5EF4-FFF2-40B4-BE49-F238E27FC236}">
                      <a16:creationId xmlns:a16="http://schemas.microsoft.com/office/drawing/2014/main" id="{01B1AC0E-599D-1B74-0488-20AB6EF89812}"/>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9" name="Freeform: Shape 14628">
                  <a:extLst>
                    <a:ext uri="{FF2B5EF4-FFF2-40B4-BE49-F238E27FC236}">
                      <a16:creationId xmlns:a16="http://schemas.microsoft.com/office/drawing/2014/main" id="{BBEB9E32-0023-0100-FC41-79F2E5C1B8A3}"/>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5" name="Graphic 1583">
                <a:extLst>
                  <a:ext uri="{FF2B5EF4-FFF2-40B4-BE49-F238E27FC236}">
                    <a16:creationId xmlns:a16="http://schemas.microsoft.com/office/drawing/2014/main" id="{A7C5D013-7F69-2F4C-5A40-99A8BFB30984}"/>
                  </a:ext>
                </a:extLst>
              </p:cNvPr>
              <p:cNvGrpSpPr/>
              <p:nvPr/>
            </p:nvGrpSpPr>
            <p:grpSpPr>
              <a:xfrm>
                <a:off x="7176515" y="3850290"/>
                <a:ext cx="75723" cy="75723"/>
                <a:chOff x="7176515" y="3850290"/>
                <a:chExt cx="75723" cy="75723"/>
              </a:xfrm>
            </p:grpSpPr>
            <p:sp>
              <p:nvSpPr>
                <p:cNvPr id="14626" name="Freeform: Shape 14625">
                  <a:extLst>
                    <a:ext uri="{FF2B5EF4-FFF2-40B4-BE49-F238E27FC236}">
                      <a16:creationId xmlns:a16="http://schemas.microsoft.com/office/drawing/2014/main" id="{37D4C3D8-C999-5AA6-6A12-465A5D47D150}"/>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7" name="Freeform: Shape 14626">
                  <a:extLst>
                    <a:ext uri="{FF2B5EF4-FFF2-40B4-BE49-F238E27FC236}">
                      <a16:creationId xmlns:a16="http://schemas.microsoft.com/office/drawing/2014/main" id="{0FEA4C00-5686-3AF4-E9BF-BD8F628CCCF5}"/>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6" name="Graphic 1583">
                <a:extLst>
                  <a:ext uri="{FF2B5EF4-FFF2-40B4-BE49-F238E27FC236}">
                    <a16:creationId xmlns:a16="http://schemas.microsoft.com/office/drawing/2014/main" id="{A04C0912-8B39-4F1B-8378-73CD4A681742}"/>
                  </a:ext>
                </a:extLst>
              </p:cNvPr>
              <p:cNvGrpSpPr/>
              <p:nvPr/>
            </p:nvGrpSpPr>
            <p:grpSpPr>
              <a:xfrm>
                <a:off x="6829996" y="3789520"/>
                <a:ext cx="75723" cy="75628"/>
                <a:chOff x="6829996" y="3789520"/>
                <a:chExt cx="75723" cy="75628"/>
              </a:xfrm>
            </p:grpSpPr>
            <p:sp>
              <p:nvSpPr>
                <p:cNvPr id="14576" name="Freeform: Shape 14575">
                  <a:extLst>
                    <a:ext uri="{FF2B5EF4-FFF2-40B4-BE49-F238E27FC236}">
                      <a16:creationId xmlns:a16="http://schemas.microsoft.com/office/drawing/2014/main" id="{BC786A93-167F-ADC0-A6A7-4C7964B0D680}"/>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5" name="Freeform: Shape 14624">
                  <a:extLst>
                    <a:ext uri="{FF2B5EF4-FFF2-40B4-BE49-F238E27FC236}">
                      <a16:creationId xmlns:a16="http://schemas.microsoft.com/office/drawing/2014/main" id="{931EFAF6-4653-7D91-F388-22BD2E9B1B3A}"/>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 name="Graphic 1583">
                <a:extLst>
                  <a:ext uri="{FF2B5EF4-FFF2-40B4-BE49-F238E27FC236}">
                    <a16:creationId xmlns:a16="http://schemas.microsoft.com/office/drawing/2014/main" id="{73678264-C544-F4F3-D20A-7B37593DE6CA}"/>
                  </a:ext>
                </a:extLst>
              </p:cNvPr>
              <p:cNvGrpSpPr/>
              <p:nvPr/>
            </p:nvGrpSpPr>
            <p:grpSpPr>
              <a:xfrm>
                <a:off x="6816280" y="3789520"/>
                <a:ext cx="75723" cy="75628"/>
                <a:chOff x="6816280" y="3789520"/>
                <a:chExt cx="75723" cy="75628"/>
              </a:xfrm>
            </p:grpSpPr>
            <p:sp>
              <p:nvSpPr>
                <p:cNvPr id="14574" name="Freeform: Shape 14573">
                  <a:extLst>
                    <a:ext uri="{FF2B5EF4-FFF2-40B4-BE49-F238E27FC236}">
                      <a16:creationId xmlns:a16="http://schemas.microsoft.com/office/drawing/2014/main" id="{A27B19D5-3B4D-933A-266B-8CFC6B2E8261}"/>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5" name="Freeform: Shape 14574">
                  <a:extLst>
                    <a:ext uri="{FF2B5EF4-FFF2-40B4-BE49-F238E27FC236}">
                      <a16:creationId xmlns:a16="http://schemas.microsoft.com/office/drawing/2014/main" id="{5F35C8B3-9087-3604-69A9-87F3CC08D8AF}"/>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8" name="Graphic 1583">
                <a:extLst>
                  <a:ext uri="{FF2B5EF4-FFF2-40B4-BE49-F238E27FC236}">
                    <a16:creationId xmlns:a16="http://schemas.microsoft.com/office/drawing/2014/main" id="{75BC0AFE-5E56-980F-41C8-171844C1ECFF}"/>
                  </a:ext>
                </a:extLst>
              </p:cNvPr>
              <p:cNvGrpSpPr/>
              <p:nvPr/>
            </p:nvGrpSpPr>
            <p:grpSpPr>
              <a:xfrm>
                <a:off x="6795325" y="3789520"/>
                <a:ext cx="75723" cy="75628"/>
                <a:chOff x="6795325" y="3789520"/>
                <a:chExt cx="75723" cy="75628"/>
              </a:xfrm>
            </p:grpSpPr>
            <p:sp>
              <p:nvSpPr>
                <p:cNvPr id="14572" name="Freeform: Shape 14571">
                  <a:extLst>
                    <a:ext uri="{FF2B5EF4-FFF2-40B4-BE49-F238E27FC236}">
                      <a16:creationId xmlns:a16="http://schemas.microsoft.com/office/drawing/2014/main" id="{A001A48F-2ABA-0AB7-8302-6F17F86A8F07}"/>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3" name="Freeform: Shape 14572">
                  <a:extLst>
                    <a:ext uri="{FF2B5EF4-FFF2-40B4-BE49-F238E27FC236}">
                      <a16:creationId xmlns:a16="http://schemas.microsoft.com/office/drawing/2014/main" id="{03007F7E-EF62-68AF-2402-EB23BD6C2A33}"/>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9" name="Graphic 1583">
                <a:extLst>
                  <a:ext uri="{FF2B5EF4-FFF2-40B4-BE49-F238E27FC236}">
                    <a16:creationId xmlns:a16="http://schemas.microsoft.com/office/drawing/2014/main" id="{91CC6093-72BB-C40B-0365-D211F7C0E91E}"/>
                  </a:ext>
                </a:extLst>
              </p:cNvPr>
              <p:cNvGrpSpPr/>
              <p:nvPr/>
            </p:nvGrpSpPr>
            <p:grpSpPr>
              <a:xfrm>
                <a:off x="6781990" y="3789520"/>
                <a:ext cx="75628" cy="75628"/>
                <a:chOff x="6781990" y="3789520"/>
                <a:chExt cx="75628" cy="75628"/>
              </a:xfrm>
            </p:grpSpPr>
            <p:sp>
              <p:nvSpPr>
                <p:cNvPr id="14570" name="Freeform: Shape 14569">
                  <a:extLst>
                    <a:ext uri="{FF2B5EF4-FFF2-40B4-BE49-F238E27FC236}">
                      <a16:creationId xmlns:a16="http://schemas.microsoft.com/office/drawing/2014/main" id="{1A6F4827-45BD-9FD6-2B91-0FCD7B74E973}"/>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1" name="Freeform: Shape 14570">
                  <a:extLst>
                    <a:ext uri="{FF2B5EF4-FFF2-40B4-BE49-F238E27FC236}">
                      <a16:creationId xmlns:a16="http://schemas.microsoft.com/office/drawing/2014/main" id="{5655ADBB-7C70-3538-38F3-2CAE98E4439F}"/>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0" name="Graphic 1583">
                <a:extLst>
                  <a:ext uri="{FF2B5EF4-FFF2-40B4-BE49-F238E27FC236}">
                    <a16:creationId xmlns:a16="http://schemas.microsoft.com/office/drawing/2014/main" id="{3DF89AAE-E8F9-D7EE-43EF-5C4DA8BCA8A2}"/>
                  </a:ext>
                </a:extLst>
              </p:cNvPr>
              <p:cNvGrpSpPr/>
              <p:nvPr/>
            </p:nvGrpSpPr>
            <p:grpSpPr>
              <a:xfrm>
                <a:off x="6768845" y="3789520"/>
                <a:ext cx="75723" cy="75628"/>
                <a:chOff x="6768845" y="3789520"/>
                <a:chExt cx="75723" cy="75628"/>
              </a:xfrm>
            </p:grpSpPr>
            <p:sp>
              <p:nvSpPr>
                <p:cNvPr id="14568" name="Freeform: Shape 14567">
                  <a:extLst>
                    <a:ext uri="{FF2B5EF4-FFF2-40B4-BE49-F238E27FC236}">
                      <a16:creationId xmlns:a16="http://schemas.microsoft.com/office/drawing/2014/main" id="{2AEABD62-8FAD-8D86-ADE0-69740DE3DACB}"/>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9" name="Freeform: Shape 14568">
                  <a:extLst>
                    <a:ext uri="{FF2B5EF4-FFF2-40B4-BE49-F238E27FC236}">
                      <a16:creationId xmlns:a16="http://schemas.microsoft.com/office/drawing/2014/main" id="{21AF8426-8495-3A62-5E33-08A5A2C223C9}"/>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1" name="Graphic 1583">
                <a:extLst>
                  <a:ext uri="{FF2B5EF4-FFF2-40B4-BE49-F238E27FC236}">
                    <a16:creationId xmlns:a16="http://schemas.microsoft.com/office/drawing/2014/main" id="{3D2A6058-68B1-8FE1-9C46-9E2DF8986167}"/>
                  </a:ext>
                </a:extLst>
              </p:cNvPr>
              <p:cNvGrpSpPr/>
              <p:nvPr/>
            </p:nvGrpSpPr>
            <p:grpSpPr>
              <a:xfrm>
                <a:off x="6443757" y="3789520"/>
                <a:ext cx="75723" cy="75628"/>
                <a:chOff x="6443757" y="3789520"/>
                <a:chExt cx="75723" cy="75628"/>
              </a:xfrm>
            </p:grpSpPr>
            <p:sp>
              <p:nvSpPr>
                <p:cNvPr id="14566" name="Freeform: Shape 14565">
                  <a:extLst>
                    <a:ext uri="{FF2B5EF4-FFF2-40B4-BE49-F238E27FC236}">
                      <a16:creationId xmlns:a16="http://schemas.microsoft.com/office/drawing/2014/main" id="{CEA7291A-A00B-9DCB-1A71-F3E8069EF797}"/>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7" name="Freeform: Shape 14566">
                  <a:extLst>
                    <a:ext uri="{FF2B5EF4-FFF2-40B4-BE49-F238E27FC236}">
                      <a16:creationId xmlns:a16="http://schemas.microsoft.com/office/drawing/2014/main" id="{FC6A95BD-95D2-1E37-C94A-447AEFDCBABC}"/>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2" name="Graphic 1583">
                <a:extLst>
                  <a:ext uri="{FF2B5EF4-FFF2-40B4-BE49-F238E27FC236}">
                    <a16:creationId xmlns:a16="http://schemas.microsoft.com/office/drawing/2014/main" id="{21B19073-13D6-ADAA-D1A3-8E592091378C}"/>
                  </a:ext>
                </a:extLst>
              </p:cNvPr>
              <p:cNvGrpSpPr/>
              <p:nvPr/>
            </p:nvGrpSpPr>
            <p:grpSpPr>
              <a:xfrm>
                <a:off x="6430422" y="3789520"/>
                <a:ext cx="75628" cy="75628"/>
                <a:chOff x="6430422" y="3789520"/>
                <a:chExt cx="75628" cy="75628"/>
              </a:xfrm>
            </p:grpSpPr>
            <p:sp>
              <p:nvSpPr>
                <p:cNvPr id="14564" name="Freeform: Shape 14563">
                  <a:extLst>
                    <a:ext uri="{FF2B5EF4-FFF2-40B4-BE49-F238E27FC236}">
                      <a16:creationId xmlns:a16="http://schemas.microsoft.com/office/drawing/2014/main" id="{4F7C207F-CEB3-D2FA-73E3-3630F290501C}"/>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5" name="Freeform: Shape 14564">
                  <a:extLst>
                    <a:ext uri="{FF2B5EF4-FFF2-40B4-BE49-F238E27FC236}">
                      <a16:creationId xmlns:a16="http://schemas.microsoft.com/office/drawing/2014/main" id="{10A54412-0FB8-233D-6254-388A9FA9C0CF}"/>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3" name="Graphic 1583">
                <a:extLst>
                  <a:ext uri="{FF2B5EF4-FFF2-40B4-BE49-F238E27FC236}">
                    <a16:creationId xmlns:a16="http://schemas.microsoft.com/office/drawing/2014/main" id="{FE742A05-EF40-B3F5-623A-7378E32D71BB}"/>
                  </a:ext>
                </a:extLst>
              </p:cNvPr>
              <p:cNvGrpSpPr/>
              <p:nvPr/>
            </p:nvGrpSpPr>
            <p:grpSpPr>
              <a:xfrm>
                <a:off x="6417277" y="3789520"/>
                <a:ext cx="75723" cy="75628"/>
                <a:chOff x="6417277" y="3789520"/>
                <a:chExt cx="75723" cy="75628"/>
              </a:xfrm>
            </p:grpSpPr>
            <p:sp>
              <p:nvSpPr>
                <p:cNvPr id="14562" name="Freeform: Shape 14561">
                  <a:extLst>
                    <a:ext uri="{FF2B5EF4-FFF2-40B4-BE49-F238E27FC236}">
                      <a16:creationId xmlns:a16="http://schemas.microsoft.com/office/drawing/2014/main" id="{07CB0BFB-0C14-2913-DE28-7C7060D6D6AD}"/>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3" name="Freeform: Shape 14562">
                  <a:extLst>
                    <a:ext uri="{FF2B5EF4-FFF2-40B4-BE49-F238E27FC236}">
                      <a16:creationId xmlns:a16="http://schemas.microsoft.com/office/drawing/2014/main" id="{7DD4CA3D-8A16-F50C-636D-808E0B1519A5}"/>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4" name="Graphic 1583">
                <a:extLst>
                  <a:ext uri="{FF2B5EF4-FFF2-40B4-BE49-F238E27FC236}">
                    <a16:creationId xmlns:a16="http://schemas.microsoft.com/office/drawing/2014/main" id="{D05A45D8-ECF1-352F-FC16-5439589EED89}"/>
                  </a:ext>
                </a:extLst>
              </p:cNvPr>
              <p:cNvGrpSpPr/>
              <p:nvPr/>
            </p:nvGrpSpPr>
            <p:grpSpPr>
              <a:xfrm>
                <a:off x="6400704" y="3746277"/>
                <a:ext cx="75723" cy="75723"/>
                <a:chOff x="6400704" y="3746277"/>
                <a:chExt cx="75723" cy="75723"/>
              </a:xfrm>
            </p:grpSpPr>
            <p:sp>
              <p:nvSpPr>
                <p:cNvPr id="14560" name="Freeform: Shape 14559">
                  <a:extLst>
                    <a:ext uri="{FF2B5EF4-FFF2-40B4-BE49-F238E27FC236}">
                      <a16:creationId xmlns:a16="http://schemas.microsoft.com/office/drawing/2014/main" id="{BE64E91C-856F-7DF6-9826-D1FAE9E18B0D}"/>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1" name="Freeform: Shape 14560">
                  <a:extLst>
                    <a:ext uri="{FF2B5EF4-FFF2-40B4-BE49-F238E27FC236}">
                      <a16:creationId xmlns:a16="http://schemas.microsoft.com/office/drawing/2014/main" id="{9928A823-823B-DC3F-0C80-D56AFD352293}"/>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5" name="Graphic 1583">
                <a:extLst>
                  <a:ext uri="{FF2B5EF4-FFF2-40B4-BE49-F238E27FC236}">
                    <a16:creationId xmlns:a16="http://schemas.microsoft.com/office/drawing/2014/main" id="{6664A4AC-BB91-2E10-CD61-A1620EB25553}"/>
                  </a:ext>
                </a:extLst>
              </p:cNvPr>
              <p:cNvGrpSpPr/>
              <p:nvPr/>
            </p:nvGrpSpPr>
            <p:grpSpPr>
              <a:xfrm>
                <a:off x="6387369" y="3746277"/>
                <a:ext cx="75723" cy="75723"/>
                <a:chOff x="6387369" y="3746277"/>
                <a:chExt cx="75723" cy="75723"/>
              </a:xfrm>
            </p:grpSpPr>
            <p:sp>
              <p:nvSpPr>
                <p:cNvPr id="14558" name="Freeform: Shape 14557">
                  <a:extLst>
                    <a:ext uri="{FF2B5EF4-FFF2-40B4-BE49-F238E27FC236}">
                      <a16:creationId xmlns:a16="http://schemas.microsoft.com/office/drawing/2014/main" id="{26E0319D-CFE2-F90A-7AA0-B6D7223CD007}"/>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9" name="Freeform: Shape 14558">
                  <a:extLst>
                    <a:ext uri="{FF2B5EF4-FFF2-40B4-BE49-F238E27FC236}">
                      <a16:creationId xmlns:a16="http://schemas.microsoft.com/office/drawing/2014/main" id="{E606A691-BA59-838D-FC8F-6688C9916607}"/>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6" name="Graphic 1583">
                <a:extLst>
                  <a:ext uri="{FF2B5EF4-FFF2-40B4-BE49-F238E27FC236}">
                    <a16:creationId xmlns:a16="http://schemas.microsoft.com/office/drawing/2014/main" id="{9A6C5590-55DB-1975-F0AD-E841DD959CED}"/>
                  </a:ext>
                </a:extLst>
              </p:cNvPr>
              <p:cNvGrpSpPr/>
              <p:nvPr/>
            </p:nvGrpSpPr>
            <p:grpSpPr>
              <a:xfrm>
                <a:off x="6374320" y="3746277"/>
                <a:ext cx="75628" cy="75723"/>
                <a:chOff x="6374320" y="3746277"/>
                <a:chExt cx="75628" cy="75723"/>
              </a:xfrm>
            </p:grpSpPr>
            <p:sp>
              <p:nvSpPr>
                <p:cNvPr id="14556" name="Freeform: Shape 14555">
                  <a:extLst>
                    <a:ext uri="{FF2B5EF4-FFF2-40B4-BE49-F238E27FC236}">
                      <a16:creationId xmlns:a16="http://schemas.microsoft.com/office/drawing/2014/main" id="{33038D0D-FF1C-99BE-B950-174295B52379}"/>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7" name="Freeform: Shape 14556">
                  <a:extLst>
                    <a:ext uri="{FF2B5EF4-FFF2-40B4-BE49-F238E27FC236}">
                      <a16:creationId xmlns:a16="http://schemas.microsoft.com/office/drawing/2014/main" id="{A76980ED-BB80-7C05-431C-CBDE7BDC098A}"/>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7" name="Graphic 1583">
                <a:extLst>
                  <a:ext uri="{FF2B5EF4-FFF2-40B4-BE49-F238E27FC236}">
                    <a16:creationId xmlns:a16="http://schemas.microsoft.com/office/drawing/2014/main" id="{8E37BE36-04AE-E9D6-C405-253C4E38FCD3}"/>
                  </a:ext>
                </a:extLst>
              </p:cNvPr>
              <p:cNvGrpSpPr/>
              <p:nvPr/>
            </p:nvGrpSpPr>
            <p:grpSpPr>
              <a:xfrm>
                <a:off x="6244208" y="3746277"/>
                <a:ext cx="75723" cy="75723"/>
                <a:chOff x="6244208" y="3746277"/>
                <a:chExt cx="75723" cy="75723"/>
              </a:xfrm>
            </p:grpSpPr>
            <p:sp>
              <p:nvSpPr>
                <p:cNvPr id="14554" name="Freeform: Shape 14553">
                  <a:extLst>
                    <a:ext uri="{FF2B5EF4-FFF2-40B4-BE49-F238E27FC236}">
                      <a16:creationId xmlns:a16="http://schemas.microsoft.com/office/drawing/2014/main" id="{F8B8291C-160E-FDD7-6C09-A5A3B76AC0A5}"/>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5" name="Freeform: Shape 14554">
                  <a:extLst>
                    <a:ext uri="{FF2B5EF4-FFF2-40B4-BE49-F238E27FC236}">
                      <a16:creationId xmlns:a16="http://schemas.microsoft.com/office/drawing/2014/main" id="{3A27707B-7B70-4035-6BFE-481D0480B578}"/>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8" name="Graphic 1583">
                <a:extLst>
                  <a:ext uri="{FF2B5EF4-FFF2-40B4-BE49-F238E27FC236}">
                    <a16:creationId xmlns:a16="http://schemas.microsoft.com/office/drawing/2014/main" id="{239137FA-B8E9-F59A-66D5-954381888CCB}"/>
                  </a:ext>
                </a:extLst>
              </p:cNvPr>
              <p:cNvGrpSpPr/>
              <p:nvPr/>
            </p:nvGrpSpPr>
            <p:grpSpPr>
              <a:xfrm>
                <a:off x="6229635" y="3746277"/>
                <a:ext cx="75628" cy="75723"/>
                <a:chOff x="6229635" y="3746277"/>
                <a:chExt cx="75628" cy="75723"/>
              </a:xfrm>
            </p:grpSpPr>
            <p:sp>
              <p:nvSpPr>
                <p:cNvPr id="14552" name="Freeform: Shape 14551">
                  <a:extLst>
                    <a:ext uri="{FF2B5EF4-FFF2-40B4-BE49-F238E27FC236}">
                      <a16:creationId xmlns:a16="http://schemas.microsoft.com/office/drawing/2014/main" id="{820AB409-71A2-9FFD-D012-E53FFEA90D6A}"/>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3" name="Freeform: Shape 14552">
                  <a:extLst>
                    <a:ext uri="{FF2B5EF4-FFF2-40B4-BE49-F238E27FC236}">
                      <a16:creationId xmlns:a16="http://schemas.microsoft.com/office/drawing/2014/main" id="{D45C6D09-0BCA-54C1-E9E4-C5FB7D0879F9}"/>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9" name="Graphic 1583">
                <a:extLst>
                  <a:ext uri="{FF2B5EF4-FFF2-40B4-BE49-F238E27FC236}">
                    <a16:creationId xmlns:a16="http://schemas.microsoft.com/office/drawing/2014/main" id="{2443CAF4-D452-F32B-7AF6-A1FBA220ACAA}"/>
                  </a:ext>
                </a:extLst>
              </p:cNvPr>
              <p:cNvGrpSpPr/>
              <p:nvPr/>
            </p:nvGrpSpPr>
            <p:grpSpPr>
              <a:xfrm>
                <a:off x="6184296" y="3746277"/>
                <a:ext cx="75723" cy="75723"/>
                <a:chOff x="6184296" y="3746277"/>
                <a:chExt cx="75723" cy="75723"/>
              </a:xfrm>
            </p:grpSpPr>
            <p:sp>
              <p:nvSpPr>
                <p:cNvPr id="14550" name="Freeform: Shape 14549">
                  <a:extLst>
                    <a:ext uri="{FF2B5EF4-FFF2-40B4-BE49-F238E27FC236}">
                      <a16:creationId xmlns:a16="http://schemas.microsoft.com/office/drawing/2014/main" id="{896FAB0C-2CB1-A0EA-E36D-C57A608A2EE3}"/>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1" name="Freeform: Shape 14550">
                  <a:extLst>
                    <a:ext uri="{FF2B5EF4-FFF2-40B4-BE49-F238E27FC236}">
                      <a16:creationId xmlns:a16="http://schemas.microsoft.com/office/drawing/2014/main" id="{38E2C195-3EF8-6FE6-A309-2472575A08FA}"/>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0" name="Graphic 1583">
                <a:extLst>
                  <a:ext uri="{FF2B5EF4-FFF2-40B4-BE49-F238E27FC236}">
                    <a16:creationId xmlns:a16="http://schemas.microsoft.com/office/drawing/2014/main" id="{099AAE34-F70C-5CA9-E9E4-1284899330B2}"/>
                  </a:ext>
                </a:extLst>
              </p:cNvPr>
              <p:cNvGrpSpPr/>
              <p:nvPr/>
            </p:nvGrpSpPr>
            <p:grpSpPr>
              <a:xfrm>
                <a:off x="6095618" y="3746277"/>
                <a:ext cx="75723" cy="75723"/>
                <a:chOff x="6095618" y="3746277"/>
                <a:chExt cx="75723" cy="75723"/>
              </a:xfrm>
            </p:grpSpPr>
            <p:sp>
              <p:nvSpPr>
                <p:cNvPr id="14548" name="Freeform: Shape 14547">
                  <a:extLst>
                    <a:ext uri="{FF2B5EF4-FFF2-40B4-BE49-F238E27FC236}">
                      <a16:creationId xmlns:a16="http://schemas.microsoft.com/office/drawing/2014/main" id="{3A9F1D3C-FC38-286E-62A7-4E96085B9297}"/>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9" name="Freeform: Shape 14548">
                  <a:extLst>
                    <a:ext uri="{FF2B5EF4-FFF2-40B4-BE49-F238E27FC236}">
                      <a16:creationId xmlns:a16="http://schemas.microsoft.com/office/drawing/2014/main" id="{0628DF0D-035C-3DB9-5770-5211A0E03AC8}"/>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1" name="Graphic 1583">
                <a:extLst>
                  <a:ext uri="{FF2B5EF4-FFF2-40B4-BE49-F238E27FC236}">
                    <a16:creationId xmlns:a16="http://schemas.microsoft.com/office/drawing/2014/main" id="{44C5C483-9EC4-ADD2-E49A-B65FCB65F247}"/>
                  </a:ext>
                </a:extLst>
              </p:cNvPr>
              <p:cNvGrpSpPr/>
              <p:nvPr/>
            </p:nvGrpSpPr>
            <p:grpSpPr>
              <a:xfrm>
                <a:off x="6086379" y="3746277"/>
                <a:ext cx="75723" cy="75723"/>
                <a:chOff x="6086379" y="3746277"/>
                <a:chExt cx="75723" cy="75723"/>
              </a:xfrm>
            </p:grpSpPr>
            <p:sp>
              <p:nvSpPr>
                <p:cNvPr id="14546" name="Freeform: Shape 14545">
                  <a:extLst>
                    <a:ext uri="{FF2B5EF4-FFF2-40B4-BE49-F238E27FC236}">
                      <a16:creationId xmlns:a16="http://schemas.microsoft.com/office/drawing/2014/main" id="{3613122A-D3E6-C797-FA23-9CD5ED138335}"/>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7" name="Freeform: Shape 14546">
                  <a:extLst>
                    <a:ext uri="{FF2B5EF4-FFF2-40B4-BE49-F238E27FC236}">
                      <a16:creationId xmlns:a16="http://schemas.microsoft.com/office/drawing/2014/main" id="{F6808478-0EE9-FB05-A698-146D40AD4450}"/>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2" name="Graphic 1583">
                <a:extLst>
                  <a:ext uri="{FF2B5EF4-FFF2-40B4-BE49-F238E27FC236}">
                    <a16:creationId xmlns:a16="http://schemas.microsoft.com/office/drawing/2014/main" id="{5454278A-285A-FB85-A0C6-CE4F57D46A9E}"/>
                  </a:ext>
                </a:extLst>
              </p:cNvPr>
              <p:cNvGrpSpPr/>
              <p:nvPr/>
            </p:nvGrpSpPr>
            <p:grpSpPr>
              <a:xfrm>
                <a:off x="6050089" y="3687603"/>
                <a:ext cx="75723" cy="75723"/>
                <a:chOff x="6050089" y="3687603"/>
                <a:chExt cx="75723" cy="75723"/>
              </a:xfrm>
            </p:grpSpPr>
            <p:sp>
              <p:nvSpPr>
                <p:cNvPr id="14544" name="Freeform: Shape 14543">
                  <a:extLst>
                    <a:ext uri="{FF2B5EF4-FFF2-40B4-BE49-F238E27FC236}">
                      <a16:creationId xmlns:a16="http://schemas.microsoft.com/office/drawing/2014/main" id="{CDC9B7D3-C42A-A89B-41D5-E0E6D074FBD2}"/>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5" name="Freeform: Shape 14544">
                  <a:extLst>
                    <a:ext uri="{FF2B5EF4-FFF2-40B4-BE49-F238E27FC236}">
                      <a16:creationId xmlns:a16="http://schemas.microsoft.com/office/drawing/2014/main" id="{C9FD1E20-9A97-F7EF-2BEB-DBDFEEF2BDA3}"/>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3" name="Graphic 1583">
                <a:extLst>
                  <a:ext uri="{FF2B5EF4-FFF2-40B4-BE49-F238E27FC236}">
                    <a16:creationId xmlns:a16="http://schemas.microsoft.com/office/drawing/2014/main" id="{A3872693-7CA5-3DEE-3626-1CCC4B4601AB}"/>
                  </a:ext>
                </a:extLst>
              </p:cNvPr>
              <p:cNvGrpSpPr/>
              <p:nvPr/>
            </p:nvGrpSpPr>
            <p:grpSpPr>
              <a:xfrm>
                <a:off x="6040849" y="3687603"/>
                <a:ext cx="75723" cy="75723"/>
                <a:chOff x="6040849" y="3687603"/>
                <a:chExt cx="75723" cy="75723"/>
              </a:xfrm>
            </p:grpSpPr>
            <p:sp>
              <p:nvSpPr>
                <p:cNvPr id="14542" name="Freeform: Shape 14541">
                  <a:extLst>
                    <a:ext uri="{FF2B5EF4-FFF2-40B4-BE49-F238E27FC236}">
                      <a16:creationId xmlns:a16="http://schemas.microsoft.com/office/drawing/2014/main" id="{4EB3959C-2829-DC39-7AF5-26031A7E67DE}"/>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3" name="Freeform: Shape 14542">
                  <a:extLst>
                    <a:ext uri="{FF2B5EF4-FFF2-40B4-BE49-F238E27FC236}">
                      <a16:creationId xmlns:a16="http://schemas.microsoft.com/office/drawing/2014/main" id="{AEA347DC-33BD-2F85-2302-9C411F4CCC59}"/>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4" name="Graphic 1583">
                <a:extLst>
                  <a:ext uri="{FF2B5EF4-FFF2-40B4-BE49-F238E27FC236}">
                    <a16:creationId xmlns:a16="http://schemas.microsoft.com/office/drawing/2014/main" id="{5FC7D98E-0CE2-3656-4D70-1430B38EE2FE}"/>
                  </a:ext>
                </a:extLst>
              </p:cNvPr>
              <p:cNvGrpSpPr/>
              <p:nvPr/>
            </p:nvGrpSpPr>
            <p:grpSpPr>
              <a:xfrm>
                <a:off x="6032277" y="3578542"/>
                <a:ext cx="75723" cy="75628"/>
                <a:chOff x="6032277" y="3578542"/>
                <a:chExt cx="75723" cy="75628"/>
              </a:xfrm>
            </p:grpSpPr>
            <p:sp>
              <p:nvSpPr>
                <p:cNvPr id="14540" name="Freeform: Shape 14539">
                  <a:extLst>
                    <a:ext uri="{FF2B5EF4-FFF2-40B4-BE49-F238E27FC236}">
                      <a16:creationId xmlns:a16="http://schemas.microsoft.com/office/drawing/2014/main" id="{85736F19-EC2B-C453-032B-137F67CD4B07}"/>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1" name="Freeform: Shape 14540">
                  <a:extLst>
                    <a:ext uri="{FF2B5EF4-FFF2-40B4-BE49-F238E27FC236}">
                      <a16:creationId xmlns:a16="http://schemas.microsoft.com/office/drawing/2014/main" id="{A3E6503A-0AB5-54E7-8DB3-D0BBE106CDF0}"/>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5" name="Graphic 1583">
                <a:extLst>
                  <a:ext uri="{FF2B5EF4-FFF2-40B4-BE49-F238E27FC236}">
                    <a16:creationId xmlns:a16="http://schemas.microsoft.com/office/drawing/2014/main" id="{45FFB3A9-61BF-7293-FDD1-CA075E22582F}"/>
                  </a:ext>
                </a:extLst>
              </p:cNvPr>
              <p:cNvGrpSpPr/>
              <p:nvPr/>
            </p:nvGrpSpPr>
            <p:grpSpPr>
              <a:xfrm>
                <a:off x="6023133" y="3578542"/>
                <a:ext cx="75628" cy="75628"/>
                <a:chOff x="6023133" y="3578542"/>
                <a:chExt cx="75628" cy="75628"/>
              </a:xfrm>
            </p:grpSpPr>
            <p:sp>
              <p:nvSpPr>
                <p:cNvPr id="14538" name="Freeform: Shape 14537">
                  <a:extLst>
                    <a:ext uri="{FF2B5EF4-FFF2-40B4-BE49-F238E27FC236}">
                      <a16:creationId xmlns:a16="http://schemas.microsoft.com/office/drawing/2014/main" id="{A8F94E2C-6542-1509-81F9-D3B9862742F1}"/>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9" name="Freeform: Shape 14538">
                  <a:extLst>
                    <a:ext uri="{FF2B5EF4-FFF2-40B4-BE49-F238E27FC236}">
                      <a16:creationId xmlns:a16="http://schemas.microsoft.com/office/drawing/2014/main" id="{0E58A5DD-8EC3-BE0F-B565-0031ADA704B3}"/>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6" name="Graphic 1583">
                <a:extLst>
                  <a:ext uri="{FF2B5EF4-FFF2-40B4-BE49-F238E27FC236}">
                    <a16:creationId xmlns:a16="http://schemas.microsoft.com/office/drawing/2014/main" id="{55B4E675-56D7-9204-54A5-2FA3EF2FFCE7}"/>
                  </a:ext>
                </a:extLst>
              </p:cNvPr>
              <p:cNvGrpSpPr/>
              <p:nvPr/>
            </p:nvGrpSpPr>
            <p:grpSpPr>
              <a:xfrm>
                <a:off x="5692711" y="3553300"/>
                <a:ext cx="75723" cy="75628"/>
                <a:chOff x="5692711" y="3553300"/>
                <a:chExt cx="75723" cy="75628"/>
              </a:xfrm>
            </p:grpSpPr>
            <p:sp>
              <p:nvSpPr>
                <p:cNvPr id="14536" name="Freeform: Shape 14535">
                  <a:extLst>
                    <a:ext uri="{FF2B5EF4-FFF2-40B4-BE49-F238E27FC236}">
                      <a16:creationId xmlns:a16="http://schemas.microsoft.com/office/drawing/2014/main" id="{B686C495-D453-DD39-973C-C08FEEE0153C}"/>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7" name="Freeform: Shape 14536">
                  <a:extLst>
                    <a:ext uri="{FF2B5EF4-FFF2-40B4-BE49-F238E27FC236}">
                      <a16:creationId xmlns:a16="http://schemas.microsoft.com/office/drawing/2014/main" id="{D4FD2CFE-6455-2EDB-96F8-4E7A508607DB}"/>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7" name="Graphic 1583">
                <a:extLst>
                  <a:ext uri="{FF2B5EF4-FFF2-40B4-BE49-F238E27FC236}">
                    <a16:creationId xmlns:a16="http://schemas.microsoft.com/office/drawing/2014/main" id="{9639B25E-153D-EE49-91FF-28FD04B4598C}"/>
                  </a:ext>
                </a:extLst>
              </p:cNvPr>
              <p:cNvGrpSpPr/>
              <p:nvPr/>
            </p:nvGrpSpPr>
            <p:grpSpPr>
              <a:xfrm>
                <a:off x="5662993" y="3515391"/>
                <a:ext cx="75628" cy="75723"/>
                <a:chOff x="5662993" y="3515391"/>
                <a:chExt cx="75628" cy="75723"/>
              </a:xfrm>
            </p:grpSpPr>
            <p:sp>
              <p:nvSpPr>
                <p:cNvPr id="14534" name="Freeform: Shape 14533">
                  <a:extLst>
                    <a:ext uri="{FF2B5EF4-FFF2-40B4-BE49-F238E27FC236}">
                      <a16:creationId xmlns:a16="http://schemas.microsoft.com/office/drawing/2014/main" id="{B63E1716-56A7-E42C-1CB2-668CA8A46865}"/>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5" name="Freeform: Shape 14534">
                  <a:extLst>
                    <a:ext uri="{FF2B5EF4-FFF2-40B4-BE49-F238E27FC236}">
                      <a16:creationId xmlns:a16="http://schemas.microsoft.com/office/drawing/2014/main" id="{B5268794-F976-360A-FF1E-4CE5702AF236}"/>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8" name="Graphic 1583">
                <a:extLst>
                  <a:ext uri="{FF2B5EF4-FFF2-40B4-BE49-F238E27FC236}">
                    <a16:creationId xmlns:a16="http://schemas.microsoft.com/office/drawing/2014/main" id="{2307F941-0085-A148-ED2A-B8399B44545A}"/>
                  </a:ext>
                </a:extLst>
              </p:cNvPr>
              <p:cNvGrpSpPr/>
              <p:nvPr/>
            </p:nvGrpSpPr>
            <p:grpSpPr>
              <a:xfrm>
                <a:off x="5648038" y="3515391"/>
                <a:ext cx="75628" cy="75723"/>
                <a:chOff x="5648038" y="3515391"/>
                <a:chExt cx="75628" cy="75723"/>
              </a:xfrm>
            </p:grpSpPr>
            <p:sp>
              <p:nvSpPr>
                <p:cNvPr id="14532" name="Freeform: Shape 14531">
                  <a:extLst>
                    <a:ext uri="{FF2B5EF4-FFF2-40B4-BE49-F238E27FC236}">
                      <a16:creationId xmlns:a16="http://schemas.microsoft.com/office/drawing/2014/main" id="{C75C3608-7BEE-6812-8C83-79A30833ED82}"/>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3" name="Freeform: Shape 14532">
                  <a:extLst>
                    <a:ext uri="{FF2B5EF4-FFF2-40B4-BE49-F238E27FC236}">
                      <a16:creationId xmlns:a16="http://schemas.microsoft.com/office/drawing/2014/main" id="{0FB38D93-8F8B-358C-D206-895C433FB21C}"/>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9" name="Graphic 1583">
                <a:extLst>
                  <a:ext uri="{FF2B5EF4-FFF2-40B4-BE49-F238E27FC236}">
                    <a16:creationId xmlns:a16="http://schemas.microsoft.com/office/drawing/2014/main" id="{B6A6672E-EAE8-3017-2279-110EFABEC659}"/>
                  </a:ext>
                </a:extLst>
              </p:cNvPr>
              <p:cNvGrpSpPr/>
              <p:nvPr/>
            </p:nvGrpSpPr>
            <p:grpSpPr>
              <a:xfrm>
                <a:off x="5632894" y="3474433"/>
                <a:ext cx="75628" cy="75628"/>
                <a:chOff x="5632894" y="3474433"/>
                <a:chExt cx="75628" cy="75628"/>
              </a:xfrm>
            </p:grpSpPr>
            <p:sp>
              <p:nvSpPr>
                <p:cNvPr id="14530" name="Freeform: Shape 14529">
                  <a:extLst>
                    <a:ext uri="{FF2B5EF4-FFF2-40B4-BE49-F238E27FC236}">
                      <a16:creationId xmlns:a16="http://schemas.microsoft.com/office/drawing/2014/main" id="{CA9EC99A-00B5-0CF8-EBDC-920D2062322A}"/>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1" name="Freeform: Shape 14530">
                  <a:extLst>
                    <a:ext uri="{FF2B5EF4-FFF2-40B4-BE49-F238E27FC236}">
                      <a16:creationId xmlns:a16="http://schemas.microsoft.com/office/drawing/2014/main" id="{ADBCE592-E124-1258-0D50-73C96CDAB4ED}"/>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2" name="Graphic 1583">
                <a:extLst>
                  <a:ext uri="{FF2B5EF4-FFF2-40B4-BE49-F238E27FC236}">
                    <a16:creationId xmlns:a16="http://schemas.microsoft.com/office/drawing/2014/main" id="{71836E8C-82F3-2F73-B082-1688017A7297}"/>
                  </a:ext>
                </a:extLst>
              </p:cNvPr>
              <p:cNvGrpSpPr/>
              <p:nvPr/>
            </p:nvGrpSpPr>
            <p:grpSpPr>
              <a:xfrm>
                <a:off x="5429154" y="3396614"/>
                <a:ext cx="75723" cy="75628"/>
                <a:chOff x="5429154" y="3396614"/>
                <a:chExt cx="75723" cy="75628"/>
              </a:xfrm>
            </p:grpSpPr>
            <p:sp>
              <p:nvSpPr>
                <p:cNvPr id="14528" name="Freeform: Shape 14527">
                  <a:extLst>
                    <a:ext uri="{FF2B5EF4-FFF2-40B4-BE49-F238E27FC236}">
                      <a16:creationId xmlns:a16="http://schemas.microsoft.com/office/drawing/2014/main" id="{2AF3CED0-5731-9DF4-261E-83D835A95950}"/>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29" name="Freeform: Shape 14528">
                  <a:extLst>
                    <a:ext uri="{FF2B5EF4-FFF2-40B4-BE49-F238E27FC236}">
                      <a16:creationId xmlns:a16="http://schemas.microsoft.com/office/drawing/2014/main" id="{4F3E5DF4-84BC-A68C-8C18-534F2D414C6D}"/>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3" name="Graphic 1583">
                <a:extLst>
                  <a:ext uri="{FF2B5EF4-FFF2-40B4-BE49-F238E27FC236}">
                    <a16:creationId xmlns:a16="http://schemas.microsoft.com/office/drawing/2014/main" id="{A94CDAE6-F5CE-CC0E-1A58-6BD6E600C1BC}"/>
                  </a:ext>
                </a:extLst>
              </p:cNvPr>
              <p:cNvGrpSpPr/>
              <p:nvPr/>
            </p:nvGrpSpPr>
            <p:grpSpPr>
              <a:xfrm>
                <a:off x="5315235" y="3375278"/>
                <a:ext cx="75628" cy="75723"/>
                <a:chOff x="5315235" y="3375278"/>
                <a:chExt cx="75628" cy="75723"/>
              </a:xfrm>
            </p:grpSpPr>
            <p:sp>
              <p:nvSpPr>
                <p:cNvPr id="14270" name="Freeform: Shape 14269">
                  <a:extLst>
                    <a:ext uri="{FF2B5EF4-FFF2-40B4-BE49-F238E27FC236}">
                      <a16:creationId xmlns:a16="http://schemas.microsoft.com/office/drawing/2014/main" id="{E3C0C376-4EF9-98D2-8798-1711EF86EBFD}"/>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71" name="Freeform: Shape 14270">
                  <a:extLst>
                    <a:ext uri="{FF2B5EF4-FFF2-40B4-BE49-F238E27FC236}">
                      <a16:creationId xmlns:a16="http://schemas.microsoft.com/office/drawing/2014/main" id="{A3E11A17-5F65-192B-344E-A3A7FA1C19B3}"/>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 name="Graphic 1583">
                <a:extLst>
                  <a:ext uri="{FF2B5EF4-FFF2-40B4-BE49-F238E27FC236}">
                    <a16:creationId xmlns:a16="http://schemas.microsoft.com/office/drawing/2014/main" id="{C7A643E7-B337-50BD-2374-8A6C0AEF5D06}"/>
                  </a:ext>
                </a:extLst>
              </p:cNvPr>
              <p:cNvGrpSpPr/>
              <p:nvPr/>
            </p:nvGrpSpPr>
            <p:grpSpPr>
              <a:xfrm>
                <a:off x="5284850" y="3341560"/>
                <a:ext cx="75628" cy="75723"/>
                <a:chOff x="5284850" y="3341560"/>
                <a:chExt cx="75628" cy="75723"/>
              </a:xfrm>
            </p:grpSpPr>
            <p:sp>
              <p:nvSpPr>
                <p:cNvPr id="14268" name="Freeform: Shape 14267">
                  <a:extLst>
                    <a:ext uri="{FF2B5EF4-FFF2-40B4-BE49-F238E27FC236}">
                      <a16:creationId xmlns:a16="http://schemas.microsoft.com/office/drawing/2014/main" id="{C687F830-2BB1-DD18-AB13-1CF388554015}"/>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9" name="Freeform: Shape 14268">
                  <a:extLst>
                    <a:ext uri="{FF2B5EF4-FFF2-40B4-BE49-F238E27FC236}">
                      <a16:creationId xmlns:a16="http://schemas.microsoft.com/office/drawing/2014/main" id="{30718865-771F-0A43-0073-7A45F4D808AA}"/>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 name="Graphic 1583">
                <a:extLst>
                  <a:ext uri="{FF2B5EF4-FFF2-40B4-BE49-F238E27FC236}">
                    <a16:creationId xmlns:a16="http://schemas.microsoft.com/office/drawing/2014/main" id="{056DE762-A5EA-3047-5D9C-6B65F19D786C}"/>
                  </a:ext>
                </a:extLst>
              </p:cNvPr>
              <p:cNvGrpSpPr/>
              <p:nvPr/>
            </p:nvGrpSpPr>
            <p:grpSpPr>
              <a:xfrm>
                <a:off x="5269039" y="3313842"/>
                <a:ext cx="75628" cy="75723"/>
                <a:chOff x="5269039" y="3313842"/>
                <a:chExt cx="75628" cy="75723"/>
              </a:xfrm>
            </p:grpSpPr>
            <p:sp>
              <p:nvSpPr>
                <p:cNvPr id="14266" name="Freeform: Shape 14265">
                  <a:extLst>
                    <a:ext uri="{FF2B5EF4-FFF2-40B4-BE49-F238E27FC236}">
                      <a16:creationId xmlns:a16="http://schemas.microsoft.com/office/drawing/2014/main" id="{22B1863C-49DD-9CCD-F538-E6B5181E882B}"/>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7" name="Freeform: Shape 14266">
                  <a:extLst>
                    <a:ext uri="{FF2B5EF4-FFF2-40B4-BE49-F238E27FC236}">
                      <a16:creationId xmlns:a16="http://schemas.microsoft.com/office/drawing/2014/main" id="{EE593AA4-8341-AD51-F98C-5929CD00104C}"/>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 name="Graphic 1583">
                <a:extLst>
                  <a:ext uri="{FF2B5EF4-FFF2-40B4-BE49-F238E27FC236}">
                    <a16:creationId xmlns:a16="http://schemas.microsoft.com/office/drawing/2014/main" id="{793BCF89-2D16-C143-EB40-646E504FC108}"/>
                  </a:ext>
                </a:extLst>
              </p:cNvPr>
              <p:cNvGrpSpPr/>
              <p:nvPr/>
            </p:nvGrpSpPr>
            <p:grpSpPr>
              <a:xfrm>
                <a:off x="5246941" y="3293554"/>
                <a:ext cx="75723" cy="75628"/>
                <a:chOff x="5246941" y="3293554"/>
                <a:chExt cx="75723" cy="75628"/>
              </a:xfrm>
            </p:grpSpPr>
            <p:sp>
              <p:nvSpPr>
                <p:cNvPr id="14264" name="Freeform: Shape 14263">
                  <a:extLst>
                    <a:ext uri="{FF2B5EF4-FFF2-40B4-BE49-F238E27FC236}">
                      <a16:creationId xmlns:a16="http://schemas.microsoft.com/office/drawing/2014/main" id="{3A373C89-4D8F-1924-BE22-A120BEF672AD}"/>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5" name="Freeform: Shape 14264">
                  <a:extLst>
                    <a:ext uri="{FF2B5EF4-FFF2-40B4-BE49-F238E27FC236}">
                      <a16:creationId xmlns:a16="http://schemas.microsoft.com/office/drawing/2014/main" id="{38438A48-A608-F86F-B41E-15CE388C895F}"/>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7" name="Graphic 1583">
                <a:extLst>
                  <a:ext uri="{FF2B5EF4-FFF2-40B4-BE49-F238E27FC236}">
                    <a16:creationId xmlns:a16="http://schemas.microsoft.com/office/drawing/2014/main" id="{0751A227-E20C-17D8-E8C4-8A4B042185EF}"/>
                  </a:ext>
                </a:extLst>
              </p:cNvPr>
              <p:cNvGrpSpPr/>
              <p:nvPr/>
            </p:nvGrpSpPr>
            <p:grpSpPr>
              <a:xfrm>
                <a:off x="5179599" y="3270122"/>
                <a:ext cx="75723" cy="75723"/>
                <a:chOff x="5179599" y="3270122"/>
                <a:chExt cx="75723" cy="75723"/>
              </a:xfrm>
            </p:grpSpPr>
            <p:sp>
              <p:nvSpPr>
                <p:cNvPr id="14262" name="Freeform: Shape 14261">
                  <a:extLst>
                    <a:ext uri="{FF2B5EF4-FFF2-40B4-BE49-F238E27FC236}">
                      <a16:creationId xmlns:a16="http://schemas.microsoft.com/office/drawing/2014/main" id="{31286625-98E9-C273-0998-A4AF8693D8F0}"/>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3" name="Freeform: Shape 14262">
                  <a:extLst>
                    <a:ext uri="{FF2B5EF4-FFF2-40B4-BE49-F238E27FC236}">
                      <a16:creationId xmlns:a16="http://schemas.microsoft.com/office/drawing/2014/main" id="{FA2107CE-9115-D796-8677-C2CEB9F61D4A}"/>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8" name="Graphic 1583">
                <a:extLst>
                  <a:ext uri="{FF2B5EF4-FFF2-40B4-BE49-F238E27FC236}">
                    <a16:creationId xmlns:a16="http://schemas.microsoft.com/office/drawing/2014/main" id="{FD669AF3-0587-2F6C-09BD-E52583266DA3}"/>
                  </a:ext>
                </a:extLst>
              </p:cNvPr>
              <p:cNvGrpSpPr/>
              <p:nvPr/>
            </p:nvGrpSpPr>
            <p:grpSpPr>
              <a:xfrm>
                <a:off x="4918233" y="3223926"/>
                <a:ext cx="75628" cy="75628"/>
                <a:chOff x="4918233" y="3223926"/>
                <a:chExt cx="75628" cy="75628"/>
              </a:xfrm>
            </p:grpSpPr>
            <p:sp>
              <p:nvSpPr>
                <p:cNvPr id="14260" name="Freeform: Shape 14259">
                  <a:extLst>
                    <a:ext uri="{FF2B5EF4-FFF2-40B4-BE49-F238E27FC236}">
                      <a16:creationId xmlns:a16="http://schemas.microsoft.com/office/drawing/2014/main" id="{819CD311-618A-7147-4AB8-C00E992BF6BE}"/>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1" name="Freeform: Shape 14260">
                  <a:extLst>
                    <a:ext uri="{FF2B5EF4-FFF2-40B4-BE49-F238E27FC236}">
                      <a16:creationId xmlns:a16="http://schemas.microsoft.com/office/drawing/2014/main" id="{996FD9E2-7B4A-4009-9264-F95E97CADFD2}"/>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 name="Graphic 1583">
                <a:extLst>
                  <a:ext uri="{FF2B5EF4-FFF2-40B4-BE49-F238E27FC236}">
                    <a16:creationId xmlns:a16="http://schemas.microsoft.com/office/drawing/2014/main" id="{DA78322B-6A42-40A7-E1B7-D34E6DCC7020}"/>
                  </a:ext>
                </a:extLst>
              </p:cNvPr>
              <p:cNvGrpSpPr/>
              <p:nvPr/>
            </p:nvGrpSpPr>
            <p:grpSpPr>
              <a:xfrm>
                <a:off x="4912137" y="3214782"/>
                <a:ext cx="75628" cy="75723"/>
                <a:chOff x="4912137" y="3214782"/>
                <a:chExt cx="75628" cy="75723"/>
              </a:xfrm>
            </p:grpSpPr>
            <p:sp>
              <p:nvSpPr>
                <p:cNvPr id="14258" name="Freeform: Shape 14257">
                  <a:extLst>
                    <a:ext uri="{FF2B5EF4-FFF2-40B4-BE49-F238E27FC236}">
                      <a16:creationId xmlns:a16="http://schemas.microsoft.com/office/drawing/2014/main" id="{CB16F4AE-946B-A5B1-D5E9-9A8435BF6AF3}"/>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9" name="Freeform: Shape 14258">
                  <a:extLst>
                    <a:ext uri="{FF2B5EF4-FFF2-40B4-BE49-F238E27FC236}">
                      <a16:creationId xmlns:a16="http://schemas.microsoft.com/office/drawing/2014/main" id="{E982807F-6DE7-49A0-9C2A-7474CC782D4F}"/>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 name="Graphic 1583">
                <a:extLst>
                  <a:ext uri="{FF2B5EF4-FFF2-40B4-BE49-F238E27FC236}">
                    <a16:creationId xmlns:a16="http://schemas.microsoft.com/office/drawing/2014/main" id="{10B2B890-F9E4-1C0A-9888-D24602F0EBAC}"/>
                  </a:ext>
                </a:extLst>
              </p:cNvPr>
              <p:cNvGrpSpPr/>
              <p:nvPr/>
            </p:nvGrpSpPr>
            <p:grpSpPr>
              <a:xfrm>
                <a:off x="4907470" y="3206590"/>
                <a:ext cx="75723" cy="75723"/>
                <a:chOff x="4907470" y="3206590"/>
                <a:chExt cx="75723" cy="75723"/>
              </a:xfrm>
            </p:grpSpPr>
            <p:sp>
              <p:nvSpPr>
                <p:cNvPr id="14256" name="Freeform: Shape 14255">
                  <a:extLst>
                    <a:ext uri="{FF2B5EF4-FFF2-40B4-BE49-F238E27FC236}">
                      <a16:creationId xmlns:a16="http://schemas.microsoft.com/office/drawing/2014/main" id="{3BCC3A13-7961-86F1-048E-D59FAFEFEF0A}"/>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7" name="Freeform: Shape 14256">
                  <a:extLst>
                    <a:ext uri="{FF2B5EF4-FFF2-40B4-BE49-F238E27FC236}">
                      <a16:creationId xmlns:a16="http://schemas.microsoft.com/office/drawing/2014/main" id="{469BC2B3-CD4F-859C-7807-C47D1735D936}"/>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 name="Graphic 1583">
                <a:extLst>
                  <a:ext uri="{FF2B5EF4-FFF2-40B4-BE49-F238E27FC236}">
                    <a16:creationId xmlns:a16="http://schemas.microsoft.com/office/drawing/2014/main" id="{9347924C-1CC8-77CF-0B06-C7A30B933FB6}"/>
                  </a:ext>
                </a:extLst>
              </p:cNvPr>
              <p:cNvGrpSpPr/>
              <p:nvPr/>
            </p:nvGrpSpPr>
            <p:grpSpPr>
              <a:xfrm>
                <a:off x="4888420" y="3176968"/>
                <a:ext cx="75628" cy="75628"/>
                <a:chOff x="4888420" y="3176968"/>
                <a:chExt cx="75628" cy="75628"/>
              </a:xfrm>
            </p:grpSpPr>
            <p:sp>
              <p:nvSpPr>
                <p:cNvPr id="14254" name="Freeform: Shape 14253">
                  <a:extLst>
                    <a:ext uri="{FF2B5EF4-FFF2-40B4-BE49-F238E27FC236}">
                      <a16:creationId xmlns:a16="http://schemas.microsoft.com/office/drawing/2014/main" id="{9E7F1394-E9A5-0BF3-9E62-AEE628F2435E}"/>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5" name="Freeform: Shape 14254">
                  <a:extLst>
                    <a:ext uri="{FF2B5EF4-FFF2-40B4-BE49-F238E27FC236}">
                      <a16:creationId xmlns:a16="http://schemas.microsoft.com/office/drawing/2014/main" id="{BEE25BD0-B791-B2A7-D22B-74B36E3EE8B0}"/>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2" name="Graphic 1583">
                <a:extLst>
                  <a:ext uri="{FF2B5EF4-FFF2-40B4-BE49-F238E27FC236}">
                    <a16:creationId xmlns:a16="http://schemas.microsoft.com/office/drawing/2014/main" id="{0473CE67-4EEB-07C1-D5AA-2658A01C2B0F}"/>
                  </a:ext>
                </a:extLst>
              </p:cNvPr>
              <p:cNvGrpSpPr/>
              <p:nvPr/>
            </p:nvGrpSpPr>
            <p:grpSpPr>
              <a:xfrm>
                <a:off x="4855463" y="3132867"/>
                <a:ext cx="75723" cy="75723"/>
                <a:chOff x="4855463" y="3132867"/>
                <a:chExt cx="75723" cy="75723"/>
              </a:xfrm>
            </p:grpSpPr>
            <p:sp>
              <p:nvSpPr>
                <p:cNvPr id="14252" name="Freeform: Shape 14251">
                  <a:extLst>
                    <a:ext uri="{FF2B5EF4-FFF2-40B4-BE49-F238E27FC236}">
                      <a16:creationId xmlns:a16="http://schemas.microsoft.com/office/drawing/2014/main" id="{3122792E-8020-FB9E-6D7A-DDB7B3FFDC38}"/>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3" name="Freeform: Shape 14252">
                  <a:extLst>
                    <a:ext uri="{FF2B5EF4-FFF2-40B4-BE49-F238E27FC236}">
                      <a16:creationId xmlns:a16="http://schemas.microsoft.com/office/drawing/2014/main" id="{59892DF4-9AFD-16DA-2303-9B3D767D8845}"/>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3" name="Graphic 1583">
                <a:extLst>
                  <a:ext uri="{FF2B5EF4-FFF2-40B4-BE49-F238E27FC236}">
                    <a16:creationId xmlns:a16="http://schemas.microsoft.com/office/drawing/2014/main" id="{96AD9A54-C6FE-2BD4-F8EA-7476722D0648}"/>
                  </a:ext>
                </a:extLst>
              </p:cNvPr>
              <p:cNvGrpSpPr/>
              <p:nvPr/>
            </p:nvGrpSpPr>
            <p:grpSpPr>
              <a:xfrm>
                <a:off x="4834603" y="3097339"/>
                <a:ext cx="75723" cy="75628"/>
                <a:chOff x="4834603" y="3097339"/>
                <a:chExt cx="75723" cy="75628"/>
              </a:xfrm>
            </p:grpSpPr>
            <p:sp>
              <p:nvSpPr>
                <p:cNvPr id="14250" name="Freeform: Shape 14249">
                  <a:extLst>
                    <a:ext uri="{FF2B5EF4-FFF2-40B4-BE49-F238E27FC236}">
                      <a16:creationId xmlns:a16="http://schemas.microsoft.com/office/drawing/2014/main" id="{F58EA35A-2128-2E98-5FDC-BA545D0855BF}"/>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1" name="Freeform: Shape 14250">
                  <a:extLst>
                    <a:ext uri="{FF2B5EF4-FFF2-40B4-BE49-F238E27FC236}">
                      <a16:creationId xmlns:a16="http://schemas.microsoft.com/office/drawing/2014/main" id="{BA14E8C9-6036-4493-88D7-58A863B26893}"/>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7" name="Graphic 1583">
                <a:extLst>
                  <a:ext uri="{FF2B5EF4-FFF2-40B4-BE49-F238E27FC236}">
                    <a16:creationId xmlns:a16="http://schemas.microsoft.com/office/drawing/2014/main" id="{9ECF4061-C95F-D139-DB98-2C65245C5458}"/>
                  </a:ext>
                </a:extLst>
              </p:cNvPr>
              <p:cNvGrpSpPr/>
              <p:nvPr/>
            </p:nvGrpSpPr>
            <p:grpSpPr>
              <a:xfrm>
                <a:off x="4626101" y="3097339"/>
                <a:ext cx="75628" cy="75628"/>
                <a:chOff x="4626101" y="3097339"/>
                <a:chExt cx="75628" cy="75628"/>
              </a:xfrm>
            </p:grpSpPr>
            <p:sp>
              <p:nvSpPr>
                <p:cNvPr id="14248" name="Freeform: Shape 14247">
                  <a:extLst>
                    <a:ext uri="{FF2B5EF4-FFF2-40B4-BE49-F238E27FC236}">
                      <a16:creationId xmlns:a16="http://schemas.microsoft.com/office/drawing/2014/main" id="{A82F235F-0CEB-1122-9379-6D7DD443EF4B}"/>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9" name="Freeform: Shape 14248">
                  <a:extLst>
                    <a:ext uri="{FF2B5EF4-FFF2-40B4-BE49-F238E27FC236}">
                      <a16:creationId xmlns:a16="http://schemas.microsoft.com/office/drawing/2014/main" id="{F009261A-BF0F-DBFD-8FBE-961AC9A0B68B}"/>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8" name="Graphic 1583">
                <a:extLst>
                  <a:ext uri="{FF2B5EF4-FFF2-40B4-BE49-F238E27FC236}">
                    <a16:creationId xmlns:a16="http://schemas.microsoft.com/office/drawing/2014/main" id="{AD8862A8-C561-A702-9D6B-CA5972B6B702}"/>
                  </a:ext>
                </a:extLst>
              </p:cNvPr>
              <p:cNvGrpSpPr/>
              <p:nvPr/>
            </p:nvGrpSpPr>
            <p:grpSpPr>
              <a:xfrm>
                <a:off x="4555807" y="3053524"/>
                <a:ext cx="75723" cy="75723"/>
                <a:chOff x="4555807" y="3053524"/>
                <a:chExt cx="75723" cy="75723"/>
              </a:xfrm>
            </p:grpSpPr>
            <p:sp>
              <p:nvSpPr>
                <p:cNvPr id="14246" name="Freeform: Shape 14245">
                  <a:extLst>
                    <a:ext uri="{FF2B5EF4-FFF2-40B4-BE49-F238E27FC236}">
                      <a16:creationId xmlns:a16="http://schemas.microsoft.com/office/drawing/2014/main" id="{38D65E97-A7CE-0F84-60EE-28C6332DBD7B}"/>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7" name="Freeform: Shape 14246">
                  <a:extLst>
                    <a:ext uri="{FF2B5EF4-FFF2-40B4-BE49-F238E27FC236}">
                      <a16:creationId xmlns:a16="http://schemas.microsoft.com/office/drawing/2014/main" id="{30A3B600-7B6F-9E44-BE6A-38B646202D82}"/>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9" name="Graphic 1583">
                <a:extLst>
                  <a:ext uri="{FF2B5EF4-FFF2-40B4-BE49-F238E27FC236}">
                    <a16:creationId xmlns:a16="http://schemas.microsoft.com/office/drawing/2014/main" id="{5D599D58-6D57-0F20-3E7B-3FE9E8467884}"/>
                  </a:ext>
                </a:extLst>
              </p:cNvPr>
              <p:cNvGrpSpPr/>
              <p:nvPr/>
            </p:nvGrpSpPr>
            <p:grpSpPr>
              <a:xfrm>
                <a:off x="4504753" y="2948939"/>
                <a:ext cx="75628" cy="75723"/>
                <a:chOff x="4504753" y="2948939"/>
                <a:chExt cx="75628" cy="75723"/>
              </a:xfrm>
            </p:grpSpPr>
            <p:sp>
              <p:nvSpPr>
                <p:cNvPr id="14244" name="Freeform: Shape 14243">
                  <a:extLst>
                    <a:ext uri="{FF2B5EF4-FFF2-40B4-BE49-F238E27FC236}">
                      <a16:creationId xmlns:a16="http://schemas.microsoft.com/office/drawing/2014/main" id="{6DDA192F-325A-3939-17EB-E60FE58A6C0B}"/>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5" name="Freeform: Shape 14244">
                  <a:extLst>
                    <a:ext uri="{FF2B5EF4-FFF2-40B4-BE49-F238E27FC236}">
                      <a16:creationId xmlns:a16="http://schemas.microsoft.com/office/drawing/2014/main" id="{B8A7A0FA-9CA5-3F3D-6E6F-1B6190960A21}"/>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0" name="Graphic 1583">
                <a:extLst>
                  <a:ext uri="{FF2B5EF4-FFF2-40B4-BE49-F238E27FC236}">
                    <a16:creationId xmlns:a16="http://schemas.microsoft.com/office/drawing/2014/main" id="{E4262D9C-B4AA-8E71-87BD-89154C99B179}"/>
                  </a:ext>
                </a:extLst>
              </p:cNvPr>
              <p:cNvGrpSpPr/>
              <p:nvPr/>
            </p:nvGrpSpPr>
            <p:grpSpPr>
              <a:xfrm>
                <a:off x="4510277" y="2958369"/>
                <a:ext cx="75628" cy="75723"/>
                <a:chOff x="4510277" y="2958369"/>
                <a:chExt cx="75628" cy="75723"/>
              </a:xfrm>
            </p:grpSpPr>
            <p:sp>
              <p:nvSpPr>
                <p:cNvPr id="14242" name="Freeform: Shape 14241">
                  <a:extLst>
                    <a:ext uri="{FF2B5EF4-FFF2-40B4-BE49-F238E27FC236}">
                      <a16:creationId xmlns:a16="http://schemas.microsoft.com/office/drawing/2014/main" id="{A5F5BC97-2B9E-0814-620C-9BF756063059}"/>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3" name="Freeform: Shape 14242">
                  <a:extLst>
                    <a:ext uri="{FF2B5EF4-FFF2-40B4-BE49-F238E27FC236}">
                      <a16:creationId xmlns:a16="http://schemas.microsoft.com/office/drawing/2014/main" id="{274FCE1B-7617-28E3-05CE-53460C9C8BA5}"/>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1" name="Graphic 1583">
                <a:extLst>
                  <a:ext uri="{FF2B5EF4-FFF2-40B4-BE49-F238E27FC236}">
                    <a16:creationId xmlns:a16="http://schemas.microsoft.com/office/drawing/2014/main" id="{AFD6B5D8-5D81-6390-46AA-6B4DA36492F8}"/>
                  </a:ext>
                </a:extLst>
              </p:cNvPr>
              <p:cNvGrpSpPr/>
              <p:nvPr/>
            </p:nvGrpSpPr>
            <p:grpSpPr>
              <a:xfrm>
                <a:off x="4517992" y="2970561"/>
                <a:ext cx="75723" cy="75628"/>
                <a:chOff x="4517992" y="2970561"/>
                <a:chExt cx="75723" cy="75628"/>
              </a:xfrm>
            </p:grpSpPr>
            <p:sp>
              <p:nvSpPr>
                <p:cNvPr id="14240" name="Freeform: Shape 14239">
                  <a:extLst>
                    <a:ext uri="{FF2B5EF4-FFF2-40B4-BE49-F238E27FC236}">
                      <a16:creationId xmlns:a16="http://schemas.microsoft.com/office/drawing/2014/main" id="{CAEB8D3B-31C2-2648-23D0-2121CF0A118C}"/>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1" name="Freeform: Shape 14240">
                  <a:extLst>
                    <a:ext uri="{FF2B5EF4-FFF2-40B4-BE49-F238E27FC236}">
                      <a16:creationId xmlns:a16="http://schemas.microsoft.com/office/drawing/2014/main" id="{381C7660-85E3-6704-5CD8-988A5F64AF45}"/>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2" name="Graphic 1583">
                <a:extLst>
                  <a:ext uri="{FF2B5EF4-FFF2-40B4-BE49-F238E27FC236}">
                    <a16:creationId xmlns:a16="http://schemas.microsoft.com/office/drawing/2014/main" id="{82B04673-917F-E6E9-448D-77A88A2C755B}"/>
                  </a:ext>
                </a:extLst>
              </p:cNvPr>
              <p:cNvGrpSpPr/>
              <p:nvPr/>
            </p:nvGrpSpPr>
            <p:grpSpPr>
              <a:xfrm>
                <a:off x="4525708" y="2982277"/>
                <a:ext cx="75723" cy="75628"/>
                <a:chOff x="4525708" y="2982277"/>
                <a:chExt cx="75723" cy="75628"/>
              </a:xfrm>
            </p:grpSpPr>
            <p:sp>
              <p:nvSpPr>
                <p:cNvPr id="14238" name="Freeform: Shape 14237">
                  <a:extLst>
                    <a:ext uri="{FF2B5EF4-FFF2-40B4-BE49-F238E27FC236}">
                      <a16:creationId xmlns:a16="http://schemas.microsoft.com/office/drawing/2014/main" id="{46DF7960-9295-8E8F-B9B6-AEE145A31EDF}"/>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9" name="Freeform: Shape 14238">
                  <a:extLst>
                    <a:ext uri="{FF2B5EF4-FFF2-40B4-BE49-F238E27FC236}">
                      <a16:creationId xmlns:a16="http://schemas.microsoft.com/office/drawing/2014/main" id="{E0602921-815E-6B4B-5C2B-90B991C54EBE}"/>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3" name="Graphic 1583">
                <a:extLst>
                  <a:ext uri="{FF2B5EF4-FFF2-40B4-BE49-F238E27FC236}">
                    <a16:creationId xmlns:a16="http://schemas.microsoft.com/office/drawing/2014/main" id="{9D80DC1C-8953-E024-91FE-2879515D8CD5}"/>
                  </a:ext>
                </a:extLst>
              </p:cNvPr>
              <p:cNvGrpSpPr/>
              <p:nvPr/>
            </p:nvGrpSpPr>
            <p:grpSpPr>
              <a:xfrm>
                <a:off x="4534280" y="2993516"/>
                <a:ext cx="75628" cy="75628"/>
                <a:chOff x="4534280" y="2993516"/>
                <a:chExt cx="75628" cy="75628"/>
              </a:xfrm>
            </p:grpSpPr>
            <p:sp>
              <p:nvSpPr>
                <p:cNvPr id="14236" name="Freeform: Shape 14235">
                  <a:extLst>
                    <a:ext uri="{FF2B5EF4-FFF2-40B4-BE49-F238E27FC236}">
                      <a16:creationId xmlns:a16="http://schemas.microsoft.com/office/drawing/2014/main" id="{7AB97BC5-3E48-62FC-518F-34999DAC7134}"/>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7" name="Freeform: Shape 14236">
                  <a:extLst>
                    <a:ext uri="{FF2B5EF4-FFF2-40B4-BE49-F238E27FC236}">
                      <a16:creationId xmlns:a16="http://schemas.microsoft.com/office/drawing/2014/main" id="{20264890-4316-9104-647E-145A809A5E2E}"/>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4" name="Graphic 1583">
                <a:extLst>
                  <a:ext uri="{FF2B5EF4-FFF2-40B4-BE49-F238E27FC236}">
                    <a16:creationId xmlns:a16="http://schemas.microsoft.com/office/drawing/2014/main" id="{09C65689-5E61-FA65-3EBE-5C0E492A05BB}"/>
                  </a:ext>
                </a:extLst>
              </p:cNvPr>
              <p:cNvGrpSpPr/>
              <p:nvPr/>
            </p:nvGrpSpPr>
            <p:grpSpPr>
              <a:xfrm>
                <a:off x="4544281" y="3005327"/>
                <a:ext cx="75723" cy="75723"/>
                <a:chOff x="4544281" y="3005327"/>
                <a:chExt cx="75723" cy="75723"/>
              </a:xfrm>
            </p:grpSpPr>
            <p:sp>
              <p:nvSpPr>
                <p:cNvPr id="14234" name="Freeform: Shape 14233">
                  <a:extLst>
                    <a:ext uri="{FF2B5EF4-FFF2-40B4-BE49-F238E27FC236}">
                      <a16:creationId xmlns:a16="http://schemas.microsoft.com/office/drawing/2014/main" id="{D0A803EF-A295-836F-0773-6B616AD00590}"/>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5" name="Freeform: Shape 14234">
                  <a:extLst>
                    <a:ext uri="{FF2B5EF4-FFF2-40B4-BE49-F238E27FC236}">
                      <a16:creationId xmlns:a16="http://schemas.microsoft.com/office/drawing/2014/main" id="{F837B7CF-EF5C-1D6A-C1C1-773844DABAC4}"/>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5" name="Graphic 1583">
                <a:extLst>
                  <a:ext uri="{FF2B5EF4-FFF2-40B4-BE49-F238E27FC236}">
                    <a16:creationId xmlns:a16="http://schemas.microsoft.com/office/drawing/2014/main" id="{BB6F6237-2C1F-6F67-6EBA-9F93921435E1}"/>
                  </a:ext>
                </a:extLst>
              </p:cNvPr>
              <p:cNvGrpSpPr/>
              <p:nvPr/>
            </p:nvGrpSpPr>
            <p:grpSpPr>
              <a:xfrm>
                <a:off x="4555807" y="3035712"/>
                <a:ext cx="75723" cy="75723"/>
                <a:chOff x="4555807" y="3035712"/>
                <a:chExt cx="75723" cy="75723"/>
              </a:xfrm>
            </p:grpSpPr>
            <p:sp>
              <p:nvSpPr>
                <p:cNvPr id="14232" name="Freeform: Shape 14231">
                  <a:extLst>
                    <a:ext uri="{FF2B5EF4-FFF2-40B4-BE49-F238E27FC236}">
                      <a16:creationId xmlns:a16="http://schemas.microsoft.com/office/drawing/2014/main" id="{08474EF1-A58B-F24E-309A-0D2E3BFA93A4}"/>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3" name="Freeform: Shape 14232">
                  <a:extLst>
                    <a:ext uri="{FF2B5EF4-FFF2-40B4-BE49-F238E27FC236}">
                      <a16:creationId xmlns:a16="http://schemas.microsoft.com/office/drawing/2014/main" id="{0981612B-468A-7940-329E-06F0D7133FC1}"/>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6" name="Graphic 1583">
                <a:extLst>
                  <a:ext uri="{FF2B5EF4-FFF2-40B4-BE49-F238E27FC236}">
                    <a16:creationId xmlns:a16="http://schemas.microsoft.com/office/drawing/2014/main" id="{EFD0EE36-A64D-A2D4-DECA-B8D91E310EB0}"/>
                  </a:ext>
                </a:extLst>
              </p:cNvPr>
              <p:cNvGrpSpPr/>
              <p:nvPr/>
            </p:nvGrpSpPr>
            <p:grpSpPr>
              <a:xfrm>
                <a:off x="4542567" y="3024663"/>
                <a:ext cx="75723" cy="75628"/>
                <a:chOff x="4542567" y="3024663"/>
                <a:chExt cx="75723" cy="75628"/>
              </a:xfrm>
            </p:grpSpPr>
            <p:sp>
              <p:nvSpPr>
                <p:cNvPr id="14230" name="Freeform: Shape 14229">
                  <a:extLst>
                    <a:ext uri="{FF2B5EF4-FFF2-40B4-BE49-F238E27FC236}">
                      <a16:creationId xmlns:a16="http://schemas.microsoft.com/office/drawing/2014/main" id="{BA860CE3-14E3-326B-4F67-39816934E476}"/>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1" name="Freeform: Shape 14230">
                  <a:extLst>
                    <a:ext uri="{FF2B5EF4-FFF2-40B4-BE49-F238E27FC236}">
                      <a16:creationId xmlns:a16="http://schemas.microsoft.com/office/drawing/2014/main" id="{1C42B97C-E14C-C80F-12D9-518341C216AA}"/>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7" name="Graphic 1583">
                <a:extLst>
                  <a:ext uri="{FF2B5EF4-FFF2-40B4-BE49-F238E27FC236}">
                    <a16:creationId xmlns:a16="http://schemas.microsoft.com/office/drawing/2014/main" id="{902AA97E-9AF6-11F2-6293-91E7DEDDC878}"/>
                  </a:ext>
                </a:extLst>
              </p:cNvPr>
              <p:cNvGrpSpPr/>
              <p:nvPr/>
            </p:nvGrpSpPr>
            <p:grpSpPr>
              <a:xfrm>
                <a:off x="4369879" y="2860166"/>
                <a:ext cx="75723" cy="75723"/>
                <a:chOff x="4369879" y="2860166"/>
                <a:chExt cx="75723" cy="75723"/>
              </a:xfrm>
            </p:grpSpPr>
            <p:sp>
              <p:nvSpPr>
                <p:cNvPr id="14228" name="Freeform: Shape 14227">
                  <a:extLst>
                    <a:ext uri="{FF2B5EF4-FFF2-40B4-BE49-F238E27FC236}">
                      <a16:creationId xmlns:a16="http://schemas.microsoft.com/office/drawing/2014/main" id="{20D5506A-EECB-E3B2-1C42-AB5FE3F0D32C}"/>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9" name="Freeform: Shape 14228">
                  <a:extLst>
                    <a:ext uri="{FF2B5EF4-FFF2-40B4-BE49-F238E27FC236}">
                      <a16:creationId xmlns:a16="http://schemas.microsoft.com/office/drawing/2014/main" id="{ED28753D-B84E-624B-53E7-33728692401E}"/>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8" name="Graphic 1583">
                <a:extLst>
                  <a:ext uri="{FF2B5EF4-FFF2-40B4-BE49-F238E27FC236}">
                    <a16:creationId xmlns:a16="http://schemas.microsoft.com/office/drawing/2014/main" id="{F185370D-743A-EB34-3998-3EB1BA6D15E7}"/>
                  </a:ext>
                </a:extLst>
              </p:cNvPr>
              <p:cNvGrpSpPr/>
              <p:nvPr/>
            </p:nvGrpSpPr>
            <p:grpSpPr>
              <a:xfrm>
                <a:off x="4156804" y="2823971"/>
                <a:ext cx="75723" cy="75723"/>
                <a:chOff x="4156804" y="2823971"/>
                <a:chExt cx="75723" cy="75723"/>
              </a:xfrm>
            </p:grpSpPr>
            <p:sp>
              <p:nvSpPr>
                <p:cNvPr id="14226" name="Freeform: Shape 14225">
                  <a:extLst>
                    <a:ext uri="{FF2B5EF4-FFF2-40B4-BE49-F238E27FC236}">
                      <a16:creationId xmlns:a16="http://schemas.microsoft.com/office/drawing/2014/main" id="{25CECACA-1C80-C5C0-53D1-D399F98521D6}"/>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7" name="Freeform: Shape 14226">
                  <a:extLst>
                    <a:ext uri="{FF2B5EF4-FFF2-40B4-BE49-F238E27FC236}">
                      <a16:creationId xmlns:a16="http://schemas.microsoft.com/office/drawing/2014/main" id="{91DFB77C-508D-E170-A002-25CD80C621D0}"/>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9" name="Graphic 1583">
                <a:extLst>
                  <a:ext uri="{FF2B5EF4-FFF2-40B4-BE49-F238E27FC236}">
                    <a16:creationId xmlns:a16="http://schemas.microsoft.com/office/drawing/2014/main" id="{65909FD7-B26E-6DA5-E8F1-97500A942F01}"/>
                  </a:ext>
                </a:extLst>
              </p:cNvPr>
              <p:cNvGrpSpPr/>
              <p:nvPr/>
            </p:nvGrpSpPr>
            <p:grpSpPr>
              <a:xfrm>
                <a:off x="4136421" y="2810065"/>
                <a:ext cx="75723" cy="75628"/>
                <a:chOff x="4136421" y="2810065"/>
                <a:chExt cx="75723" cy="75628"/>
              </a:xfrm>
            </p:grpSpPr>
            <p:sp>
              <p:nvSpPr>
                <p:cNvPr id="14224" name="Freeform: Shape 14223">
                  <a:extLst>
                    <a:ext uri="{FF2B5EF4-FFF2-40B4-BE49-F238E27FC236}">
                      <a16:creationId xmlns:a16="http://schemas.microsoft.com/office/drawing/2014/main" id="{0E40B219-CD0C-003F-DA49-2A1EBEB9BCAE}"/>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5" name="Freeform: Shape 14224">
                  <a:extLst>
                    <a:ext uri="{FF2B5EF4-FFF2-40B4-BE49-F238E27FC236}">
                      <a16:creationId xmlns:a16="http://schemas.microsoft.com/office/drawing/2014/main" id="{C818EDEA-FA01-74E7-578A-E9D936A0C2BD}"/>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0" name="Graphic 1583">
                <a:extLst>
                  <a:ext uri="{FF2B5EF4-FFF2-40B4-BE49-F238E27FC236}">
                    <a16:creationId xmlns:a16="http://schemas.microsoft.com/office/drawing/2014/main" id="{F1DDEE53-B90C-77CA-5342-B9918A77F39A}"/>
                  </a:ext>
                </a:extLst>
              </p:cNvPr>
              <p:cNvGrpSpPr/>
              <p:nvPr/>
            </p:nvGrpSpPr>
            <p:grpSpPr>
              <a:xfrm>
                <a:off x="5287517" y="3375278"/>
                <a:ext cx="75723" cy="75723"/>
                <a:chOff x="5287517" y="3375278"/>
                <a:chExt cx="75723" cy="75723"/>
              </a:xfrm>
            </p:grpSpPr>
            <p:sp>
              <p:nvSpPr>
                <p:cNvPr id="14222" name="Freeform: Shape 14221">
                  <a:extLst>
                    <a:ext uri="{FF2B5EF4-FFF2-40B4-BE49-F238E27FC236}">
                      <a16:creationId xmlns:a16="http://schemas.microsoft.com/office/drawing/2014/main" id="{60B97B7A-A984-1E04-9EE0-A275DA25974A}"/>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3" name="Freeform: Shape 14222">
                  <a:extLst>
                    <a:ext uri="{FF2B5EF4-FFF2-40B4-BE49-F238E27FC236}">
                      <a16:creationId xmlns:a16="http://schemas.microsoft.com/office/drawing/2014/main" id="{5158FCFE-409B-A6C6-C402-5EB7DF85E748}"/>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1" name="Graphic 1583">
                <a:extLst>
                  <a:ext uri="{FF2B5EF4-FFF2-40B4-BE49-F238E27FC236}">
                    <a16:creationId xmlns:a16="http://schemas.microsoft.com/office/drawing/2014/main" id="{A647A654-12DB-A98A-91D8-C8B67C9FA292}"/>
                  </a:ext>
                </a:extLst>
              </p:cNvPr>
              <p:cNvGrpSpPr/>
              <p:nvPr/>
            </p:nvGrpSpPr>
            <p:grpSpPr>
              <a:xfrm>
                <a:off x="5299709" y="3375278"/>
                <a:ext cx="75723" cy="75723"/>
                <a:chOff x="5299709" y="3375278"/>
                <a:chExt cx="75723" cy="75723"/>
              </a:xfrm>
            </p:grpSpPr>
            <p:sp>
              <p:nvSpPr>
                <p:cNvPr id="14220" name="Freeform: Shape 14219">
                  <a:extLst>
                    <a:ext uri="{FF2B5EF4-FFF2-40B4-BE49-F238E27FC236}">
                      <a16:creationId xmlns:a16="http://schemas.microsoft.com/office/drawing/2014/main" id="{5417DAE9-8113-123A-F8AD-BD18A26AE68A}"/>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1" name="Freeform: Shape 14220">
                  <a:extLst>
                    <a:ext uri="{FF2B5EF4-FFF2-40B4-BE49-F238E27FC236}">
                      <a16:creationId xmlns:a16="http://schemas.microsoft.com/office/drawing/2014/main" id="{66546F62-6B90-2E42-D53A-59182D45454F}"/>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2" name="Graphic 1583">
                <a:extLst>
                  <a:ext uri="{FF2B5EF4-FFF2-40B4-BE49-F238E27FC236}">
                    <a16:creationId xmlns:a16="http://schemas.microsoft.com/office/drawing/2014/main" id="{5979854E-5566-0015-7577-86F02A7A2291}"/>
                  </a:ext>
                </a:extLst>
              </p:cNvPr>
              <p:cNvGrpSpPr/>
              <p:nvPr/>
            </p:nvGrpSpPr>
            <p:grpSpPr>
              <a:xfrm>
                <a:off x="5656611" y="3553300"/>
                <a:ext cx="75628" cy="75628"/>
                <a:chOff x="5656611" y="3553300"/>
                <a:chExt cx="75628" cy="75628"/>
              </a:xfrm>
            </p:grpSpPr>
            <p:sp>
              <p:nvSpPr>
                <p:cNvPr id="18238" name="Freeform: Shape 18237">
                  <a:extLst>
                    <a:ext uri="{FF2B5EF4-FFF2-40B4-BE49-F238E27FC236}">
                      <a16:creationId xmlns:a16="http://schemas.microsoft.com/office/drawing/2014/main" id="{1B7807DC-F7F3-7F67-7B41-65B3D0180D6A}"/>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9" name="Freeform: Shape 18238">
                  <a:extLst>
                    <a:ext uri="{FF2B5EF4-FFF2-40B4-BE49-F238E27FC236}">
                      <a16:creationId xmlns:a16="http://schemas.microsoft.com/office/drawing/2014/main" id="{D5E978C7-FA85-D214-4D12-0A98010DC27D}"/>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3" name="Graphic 1583">
                <a:extLst>
                  <a:ext uri="{FF2B5EF4-FFF2-40B4-BE49-F238E27FC236}">
                    <a16:creationId xmlns:a16="http://schemas.microsoft.com/office/drawing/2014/main" id="{551BABB5-8A46-FA9F-605B-3D7F3057F964}"/>
                  </a:ext>
                </a:extLst>
              </p:cNvPr>
              <p:cNvGrpSpPr/>
              <p:nvPr/>
            </p:nvGrpSpPr>
            <p:grpSpPr>
              <a:xfrm>
                <a:off x="5668612" y="3553300"/>
                <a:ext cx="75723" cy="75628"/>
                <a:chOff x="5668612" y="3553300"/>
                <a:chExt cx="75723" cy="75628"/>
              </a:xfrm>
            </p:grpSpPr>
            <p:sp>
              <p:nvSpPr>
                <p:cNvPr id="18236" name="Freeform: Shape 18235">
                  <a:extLst>
                    <a:ext uri="{FF2B5EF4-FFF2-40B4-BE49-F238E27FC236}">
                      <a16:creationId xmlns:a16="http://schemas.microsoft.com/office/drawing/2014/main" id="{D325F481-BFDC-EDE4-FD78-A29C2B9D46BA}"/>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7" name="Freeform: Shape 18236">
                  <a:extLst>
                    <a:ext uri="{FF2B5EF4-FFF2-40B4-BE49-F238E27FC236}">
                      <a16:creationId xmlns:a16="http://schemas.microsoft.com/office/drawing/2014/main" id="{FA858B15-4714-A2F1-1F4D-6CCD9875AFC4}"/>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4" name="Graphic 1583">
                <a:extLst>
                  <a:ext uri="{FF2B5EF4-FFF2-40B4-BE49-F238E27FC236}">
                    <a16:creationId xmlns:a16="http://schemas.microsoft.com/office/drawing/2014/main" id="{11021677-D7FA-A536-409C-5BDDD15BE3D2}"/>
                  </a:ext>
                </a:extLst>
              </p:cNvPr>
              <p:cNvGrpSpPr/>
              <p:nvPr/>
            </p:nvGrpSpPr>
            <p:grpSpPr>
              <a:xfrm>
                <a:off x="5680709" y="3553300"/>
                <a:ext cx="75723" cy="75628"/>
                <a:chOff x="5680709" y="3553300"/>
                <a:chExt cx="75723" cy="75628"/>
              </a:xfrm>
            </p:grpSpPr>
            <p:sp>
              <p:nvSpPr>
                <p:cNvPr id="18234" name="Freeform: Shape 18233">
                  <a:extLst>
                    <a:ext uri="{FF2B5EF4-FFF2-40B4-BE49-F238E27FC236}">
                      <a16:creationId xmlns:a16="http://schemas.microsoft.com/office/drawing/2014/main" id="{FCBE4CF2-B66A-7846-0FBE-55ADE3A53830}"/>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5" name="Freeform: Shape 18234">
                  <a:extLst>
                    <a:ext uri="{FF2B5EF4-FFF2-40B4-BE49-F238E27FC236}">
                      <a16:creationId xmlns:a16="http://schemas.microsoft.com/office/drawing/2014/main" id="{7A5F3590-96D9-8101-CB9A-894538211BB7}"/>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5" name="Graphic 1583">
                <a:extLst>
                  <a:ext uri="{FF2B5EF4-FFF2-40B4-BE49-F238E27FC236}">
                    <a16:creationId xmlns:a16="http://schemas.microsoft.com/office/drawing/2014/main" id="{9E72C006-B8B6-D379-13B5-1C7F957050E1}"/>
                  </a:ext>
                </a:extLst>
              </p:cNvPr>
              <p:cNvGrpSpPr/>
              <p:nvPr/>
            </p:nvGrpSpPr>
            <p:grpSpPr>
              <a:xfrm>
                <a:off x="6040659" y="3606450"/>
                <a:ext cx="75628" cy="75723"/>
                <a:chOff x="6040659" y="3606450"/>
                <a:chExt cx="75628" cy="75723"/>
              </a:xfrm>
            </p:grpSpPr>
            <p:sp>
              <p:nvSpPr>
                <p:cNvPr id="18232" name="Freeform: Shape 18231">
                  <a:extLst>
                    <a:ext uri="{FF2B5EF4-FFF2-40B4-BE49-F238E27FC236}">
                      <a16:creationId xmlns:a16="http://schemas.microsoft.com/office/drawing/2014/main" id="{9D42A010-1A70-7FBD-7493-25D96FA08B37}"/>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3" name="Freeform: Shape 18232">
                  <a:extLst>
                    <a:ext uri="{FF2B5EF4-FFF2-40B4-BE49-F238E27FC236}">
                      <a16:creationId xmlns:a16="http://schemas.microsoft.com/office/drawing/2014/main" id="{AE48C74F-D1FB-D039-7A08-059EBCA8E869}"/>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6" name="Graphic 1583">
                <a:extLst>
                  <a:ext uri="{FF2B5EF4-FFF2-40B4-BE49-F238E27FC236}">
                    <a16:creationId xmlns:a16="http://schemas.microsoft.com/office/drawing/2014/main" id="{A8E665E4-6F77-7E54-99CE-FC9F5477C181}"/>
                  </a:ext>
                </a:extLst>
              </p:cNvPr>
              <p:cNvGrpSpPr/>
              <p:nvPr/>
            </p:nvGrpSpPr>
            <p:grpSpPr>
              <a:xfrm>
                <a:off x="6040659" y="3657218"/>
                <a:ext cx="75628" cy="75723"/>
                <a:chOff x="6040659" y="3657218"/>
                <a:chExt cx="75628" cy="75723"/>
              </a:xfrm>
            </p:grpSpPr>
            <p:sp>
              <p:nvSpPr>
                <p:cNvPr id="18230" name="Freeform: Shape 18229">
                  <a:extLst>
                    <a:ext uri="{FF2B5EF4-FFF2-40B4-BE49-F238E27FC236}">
                      <a16:creationId xmlns:a16="http://schemas.microsoft.com/office/drawing/2014/main" id="{62A305E4-F0AE-F2DD-3283-F31A582BB6E2}"/>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1" name="Freeform: Shape 18230">
                  <a:extLst>
                    <a:ext uri="{FF2B5EF4-FFF2-40B4-BE49-F238E27FC236}">
                      <a16:creationId xmlns:a16="http://schemas.microsoft.com/office/drawing/2014/main" id="{A1E51A61-0177-AA94-B623-A5689EEF54D1}"/>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7" name="Graphic 1583">
                <a:extLst>
                  <a:ext uri="{FF2B5EF4-FFF2-40B4-BE49-F238E27FC236}">
                    <a16:creationId xmlns:a16="http://schemas.microsoft.com/office/drawing/2014/main" id="{37C45D11-8697-0825-8E8C-887C18F213C2}"/>
                  </a:ext>
                </a:extLst>
              </p:cNvPr>
              <p:cNvGrpSpPr/>
              <p:nvPr/>
            </p:nvGrpSpPr>
            <p:grpSpPr>
              <a:xfrm>
                <a:off x="7192517" y="3850290"/>
                <a:ext cx="75723" cy="75723"/>
                <a:chOff x="7192517" y="3850290"/>
                <a:chExt cx="75723" cy="75723"/>
              </a:xfrm>
            </p:grpSpPr>
            <p:sp>
              <p:nvSpPr>
                <p:cNvPr id="18228" name="Freeform: Shape 18227">
                  <a:extLst>
                    <a:ext uri="{FF2B5EF4-FFF2-40B4-BE49-F238E27FC236}">
                      <a16:creationId xmlns:a16="http://schemas.microsoft.com/office/drawing/2014/main" id="{8BDE5280-112A-1F39-9029-B8CBC90ED587}"/>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29" name="Freeform: Shape 18228">
                  <a:extLst>
                    <a:ext uri="{FF2B5EF4-FFF2-40B4-BE49-F238E27FC236}">
                      <a16:creationId xmlns:a16="http://schemas.microsoft.com/office/drawing/2014/main" id="{33AE3E89-E5F7-7FE1-0DF9-61C50BDBE30F}"/>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 name="Freeform: Shape 15">
              <a:extLst>
                <a:ext uri="{FF2B5EF4-FFF2-40B4-BE49-F238E27FC236}">
                  <a16:creationId xmlns:a16="http://schemas.microsoft.com/office/drawing/2014/main" id="{59E0F294-4764-9E1F-6365-8438F2D46C1D}"/>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73" name="Group 18272">
            <a:extLst>
              <a:ext uri="{FF2B5EF4-FFF2-40B4-BE49-F238E27FC236}">
                <a16:creationId xmlns:a16="http://schemas.microsoft.com/office/drawing/2014/main" id="{DAE332D0-8592-3EFB-7D0D-8306F8B38243}"/>
              </a:ext>
            </a:extLst>
          </p:cNvPr>
          <p:cNvGrpSpPr/>
          <p:nvPr/>
        </p:nvGrpSpPr>
        <p:grpSpPr>
          <a:xfrm>
            <a:off x="696239" y="1479868"/>
            <a:ext cx="6806199" cy="2148615"/>
            <a:chOff x="3509962" y="2519361"/>
            <a:chExt cx="5175122" cy="1828324"/>
          </a:xfrm>
        </p:grpSpPr>
        <p:grpSp>
          <p:nvGrpSpPr>
            <p:cNvPr id="18274" name="Graphic 2151">
              <a:extLst>
                <a:ext uri="{FF2B5EF4-FFF2-40B4-BE49-F238E27FC236}">
                  <a16:creationId xmlns:a16="http://schemas.microsoft.com/office/drawing/2014/main" id="{0ECD0A90-2D6E-8D36-7BCE-48CD080146F9}"/>
                </a:ext>
              </a:extLst>
            </p:cNvPr>
            <p:cNvGrpSpPr/>
            <p:nvPr/>
          </p:nvGrpSpPr>
          <p:grpSpPr>
            <a:xfrm>
              <a:off x="3876674" y="2674810"/>
              <a:ext cx="4808410" cy="1672875"/>
              <a:chOff x="3876674" y="2674810"/>
              <a:chExt cx="4808410" cy="1672875"/>
            </a:xfrm>
          </p:grpSpPr>
          <p:grpSp>
            <p:nvGrpSpPr>
              <p:cNvPr id="18276" name="Graphic 2151">
                <a:extLst>
                  <a:ext uri="{FF2B5EF4-FFF2-40B4-BE49-F238E27FC236}">
                    <a16:creationId xmlns:a16="http://schemas.microsoft.com/office/drawing/2014/main" id="{B9FCD42C-3E62-BCEE-4AD0-44A6019D7314}"/>
                  </a:ext>
                </a:extLst>
              </p:cNvPr>
              <p:cNvGrpSpPr/>
              <p:nvPr/>
            </p:nvGrpSpPr>
            <p:grpSpPr>
              <a:xfrm>
                <a:off x="8609361" y="4272057"/>
                <a:ext cx="75723" cy="75628"/>
                <a:chOff x="8609361" y="4272057"/>
                <a:chExt cx="75723" cy="75628"/>
              </a:xfrm>
            </p:grpSpPr>
            <p:sp>
              <p:nvSpPr>
                <p:cNvPr id="18448" name="Freeform: Shape 18447">
                  <a:extLst>
                    <a:ext uri="{FF2B5EF4-FFF2-40B4-BE49-F238E27FC236}">
                      <a16:creationId xmlns:a16="http://schemas.microsoft.com/office/drawing/2014/main" id="{2F499BB8-9907-96E4-8F93-E6B5DCCD3CF7}"/>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9" name="Freeform: Shape 18448">
                  <a:extLst>
                    <a:ext uri="{FF2B5EF4-FFF2-40B4-BE49-F238E27FC236}">
                      <a16:creationId xmlns:a16="http://schemas.microsoft.com/office/drawing/2014/main" id="{906F380D-74E6-EB3F-8978-818672933336}"/>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7" name="Graphic 2151">
                <a:extLst>
                  <a:ext uri="{FF2B5EF4-FFF2-40B4-BE49-F238E27FC236}">
                    <a16:creationId xmlns:a16="http://schemas.microsoft.com/office/drawing/2014/main" id="{9BA139B1-0F7A-151C-80FE-D89C9F63B7A0}"/>
                  </a:ext>
                </a:extLst>
              </p:cNvPr>
              <p:cNvGrpSpPr/>
              <p:nvPr/>
            </p:nvGrpSpPr>
            <p:grpSpPr>
              <a:xfrm>
                <a:off x="8189975" y="4272057"/>
                <a:ext cx="75628" cy="75628"/>
                <a:chOff x="8189975" y="4272057"/>
                <a:chExt cx="75628" cy="75628"/>
              </a:xfrm>
            </p:grpSpPr>
            <p:sp>
              <p:nvSpPr>
                <p:cNvPr id="18446" name="Freeform: Shape 18445">
                  <a:extLst>
                    <a:ext uri="{FF2B5EF4-FFF2-40B4-BE49-F238E27FC236}">
                      <a16:creationId xmlns:a16="http://schemas.microsoft.com/office/drawing/2014/main" id="{EDD70342-FC45-3359-A729-3AB696F9D03B}"/>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7" name="Freeform: Shape 18446">
                  <a:extLst>
                    <a:ext uri="{FF2B5EF4-FFF2-40B4-BE49-F238E27FC236}">
                      <a16:creationId xmlns:a16="http://schemas.microsoft.com/office/drawing/2014/main" id="{E8029AC9-79DC-D98A-319A-FFFEBDA13802}"/>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8" name="Graphic 2151">
                <a:extLst>
                  <a:ext uri="{FF2B5EF4-FFF2-40B4-BE49-F238E27FC236}">
                    <a16:creationId xmlns:a16="http://schemas.microsoft.com/office/drawing/2014/main" id="{1D048752-2630-F0EB-B693-650D6F7569DA}"/>
                  </a:ext>
                </a:extLst>
              </p:cNvPr>
              <p:cNvGrpSpPr/>
              <p:nvPr/>
            </p:nvGrpSpPr>
            <p:grpSpPr>
              <a:xfrm>
                <a:off x="7798402" y="4272057"/>
                <a:ext cx="75723" cy="75628"/>
                <a:chOff x="7798402" y="4272057"/>
                <a:chExt cx="75723" cy="75628"/>
              </a:xfrm>
            </p:grpSpPr>
            <p:sp>
              <p:nvSpPr>
                <p:cNvPr id="18444" name="Freeform: Shape 18443">
                  <a:extLst>
                    <a:ext uri="{FF2B5EF4-FFF2-40B4-BE49-F238E27FC236}">
                      <a16:creationId xmlns:a16="http://schemas.microsoft.com/office/drawing/2014/main" id="{6FD1FA85-707D-15F5-5AFA-540402D74FF7}"/>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5" name="Freeform: Shape 18444">
                  <a:extLst>
                    <a:ext uri="{FF2B5EF4-FFF2-40B4-BE49-F238E27FC236}">
                      <a16:creationId xmlns:a16="http://schemas.microsoft.com/office/drawing/2014/main" id="{5B6170F3-5D4D-53EE-F23B-EEC1D6AE03E6}"/>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79" name="Graphic 2151">
                <a:extLst>
                  <a:ext uri="{FF2B5EF4-FFF2-40B4-BE49-F238E27FC236}">
                    <a16:creationId xmlns:a16="http://schemas.microsoft.com/office/drawing/2014/main" id="{E83B6A04-9E54-548C-BDD4-204FEE7AD610}"/>
                  </a:ext>
                </a:extLst>
              </p:cNvPr>
              <p:cNvGrpSpPr/>
              <p:nvPr/>
            </p:nvGrpSpPr>
            <p:grpSpPr>
              <a:xfrm>
                <a:off x="7744491" y="4023169"/>
                <a:ext cx="75723" cy="75628"/>
                <a:chOff x="7744491" y="4023169"/>
                <a:chExt cx="75723" cy="75628"/>
              </a:xfrm>
            </p:grpSpPr>
            <p:sp>
              <p:nvSpPr>
                <p:cNvPr id="18442" name="Freeform: Shape 18441">
                  <a:extLst>
                    <a:ext uri="{FF2B5EF4-FFF2-40B4-BE49-F238E27FC236}">
                      <a16:creationId xmlns:a16="http://schemas.microsoft.com/office/drawing/2014/main" id="{90180A5D-A576-7B76-9809-9DBFF6880757}"/>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3" name="Freeform: Shape 18442">
                  <a:extLst>
                    <a:ext uri="{FF2B5EF4-FFF2-40B4-BE49-F238E27FC236}">
                      <a16:creationId xmlns:a16="http://schemas.microsoft.com/office/drawing/2014/main" id="{400EBEC4-4205-ADE4-E144-1F8442836B12}"/>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0" name="Graphic 2151">
                <a:extLst>
                  <a:ext uri="{FF2B5EF4-FFF2-40B4-BE49-F238E27FC236}">
                    <a16:creationId xmlns:a16="http://schemas.microsoft.com/office/drawing/2014/main" id="{20E7F51C-4DAE-2A71-C496-79D22985D00B}"/>
                  </a:ext>
                </a:extLst>
              </p:cNvPr>
              <p:cNvGrpSpPr/>
              <p:nvPr/>
            </p:nvGrpSpPr>
            <p:grpSpPr>
              <a:xfrm>
                <a:off x="7378445" y="3841337"/>
                <a:ext cx="75723" cy="75723"/>
                <a:chOff x="7378445" y="3841337"/>
                <a:chExt cx="75723" cy="75723"/>
              </a:xfrm>
            </p:grpSpPr>
            <p:sp>
              <p:nvSpPr>
                <p:cNvPr id="18440" name="Freeform: Shape 18439">
                  <a:extLst>
                    <a:ext uri="{FF2B5EF4-FFF2-40B4-BE49-F238E27FC236}">
                      <a16:creationId xmlns:a16="http://schemas.microsoft.com/office/drawing/2014/main" id="{CB2FE5AD-4F1E-74E2-7CF9-E20676AD1E1B}"/>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41" name="Freeform: Shape 18440">
                  <a:extLst>
                    <a:ext uri="{FF2B5EF4-FFF2-40B4-BE49-F238E27FC236}">
                      <a16:creationId xmlns:a16="http://schemas.microsoft.com/office/drawing/2014/main" id="{723C7D5B-8AE5-ED00-1FB0-AC75CB2132CC}"/>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1" name="Graphic 2151">
                <a:extLst>
                  <a:ext uri="{FF2B5EF4-FFF2-40B4-BE49-F238E27FC236}">
                    <a16:creationId xmlns:a16="http://schemas.microsoft.com/office/drawing/2014/main" id="{F3C1BE62-50F4-9CA2-3EB2-03A12ABC6E68}"/>
                  </a:ext>
                </a:extLst>
              </p:cNvPr>
              <p:cNvGrpSpPr/>
              <p:nvPr/>
            </p:nvGrpSpPr>
            <p:grpSpPr>
              <a:xfrm>
                <a:off x="7326724" y="3841337"/>
                <a:ext cx="75628" cy="75723"/>
                <a:chOff x="7326724" y="3841337"/>
                <a:chExt cx="75628" cy="75723"/>
              </a:xfrm>
            </p:grpSpPr>
            <p:sp>
              <p:nvSpPr>
                <p:cNvPr id="18438" name="Freeform: Shape 18437">
                  <a:extLst>
                    <a:ext uri="{FF2B5EF4-FFF2-40B4-BE49-F238E27FC236}">
                      <a16:creationId xmlns:a16="http://schemas.microsoft.com/office/drawing/2014/main" id="{4E56C04F-3465-2EB6-41C7-59DC4E0365CB}"/>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9" name="Freeform: Shape 18438">
                  <a:extLst>
                    <a:ext uri="{FF2B5EF4-FFF2-40B4-BE49-F238E27FC236}">
                      <a16:creationId xmlns:a16="http://schemas.microsoft.com/office/drawing/2014/main" id="{2A82AD4B-8D98-16FA-2E2C-1D7224F05362}"/>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2" name="Graphic 2151">
                <a:extLst>
                  <a:ext uri="{FF2B5EF4-FFF2-40B4-BE49-F238E27FC236}">
                    <a16:creationId xmlns:a16="http://schemas.microsoft.com/office/drawing/2014/main" id="{F14F096E-E2DB-1263-5412-86684578E42D}"/>
                  </a:ext>
                </a:extLst>
              </p:cNvPr>
              <p:cNvGrpSpPr/>
              <p:nvPr/>
            </p:nvGrpSpPr>
            <p:grpSpPr>
              <a:xfrm>
                <a:off x="6939438" y="3743515"/>
                <a:ext cx="75628" cy="75628"/>
                <a:chOff x="6939438" y="3743515"/>
                <a:chExt cx="75628" cy="75628"/>
              </a:xfrm>
            </p:grpSpPr>
            <p:sp>
              <p:nvSpPr>
                <p:cNvPr id="18436" name="Freeform: Shape 18435">
                  <a:extLst>
                    <a:ext uri="{FF2B5EF4-FFF2-40B4-BE49-F238E27FC236}">
                      <a16:creationId xmlns:a16="http://schemas.microsoft.com/office/drawing/2014/main" id="{14B9D738-566E-719C-653E-2B42E3E4CE44}"/>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7" name="Freeform: Shape 18436">
                  <a:extLst>
                    <a:ext uri="{FF2B5EF4-FFF2-40B4-BE49-F238E27FC236}">
                      <a16:creationId xmlns:a16="http://schemas.microsoft.com/office/drawing/2014/main" id="{550D10E6-411B-B987-897B-EF4897039036}"/>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3" name="Graphic 2151">
                <a:extLst>
                  <a:ext uri="{FF2B5EF4-FFF2-40B4-BE49-F238E27FC236}">
                    <a16:creationId xmlns:a16="http://schemas.microsoft.com/office/drawing/2014/main" id="{C9799EB1-45D4-1302-84CF-A20C6B7AADEE}"/>
                  </a:ext>
                </a:extLst>
              </p:cNvPr>
              <p:cNvGrpSpPr/>
              <p:nvPr/>
            </p:nvGrpSpPr>
            <p:grpSpPr>
              <a:xfrm>
                <a:off x="6926008" y="3743515"/>
                <a:ext cx="75723" cy="75628"/>
                <a:chOff x="6926008" y="3743515"/>
                <a:chExt cx="75723" cy="75628"/>
              </a:xfrm>
            </p:grpSpPr>
            <p:sp>
              <p:nvSpPr>
                <p:cNvPr id="18434" name="Freeform: Shape 18433">
                  <a:extLst>
                    <a:ext uri="{FF2B5EF4-FFF2-40B4-BE49-F238E27FC236}">
                      <a16:creationId xmlns:a16="http://schemas.microsoft.com/office/drawing/2014/main" id="{94CFA9A7-E783-548D-0FD6-A39F0AF5B80E}"/>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5" name="Freeform: Shape 18434">
                  <a:extLst>
                    <a:ext uri="{FF2B5EF4-FFF2-40B4-BE49-F238E27FC236}">
                      <a16:creationId xmlns:a16="http://schemas.microsoft.com/office/drawing/2014/main" id="{FFB46C45-F148-44E0-8C1D-5BC3D25F9D2D}"/>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4" name="Graphic 2151">
                <a:extLst>
                  <a:ext uri="{FF2B5EF4-FFF2-40B4-BE49-F238E27FC236}">
                    <a16:creationId xmlns:a16="http://schemas.microsoft.com/office/drawing/2014/main" id="{AA126237-4DDB-76F3-4057-ED9E0B32E2B2}"/>
                  </a:ext>
                </a:extLst>
              </p:cNvPr>
              <p:cNvGrpSpPr/>
              <p:nvPr/>
            </p:nvGrpSpPr>
            <p:grpSpPr>
              <a:xfrm>
                <a:off x="6898671" y="3743515"/>
                <a:ext cx="75723" cy="75628"/>
                <a:chOff x="6898671" y="3743515"/>
                <a:chExt cx="75723" cy="75628"/>
              </a:xfrm>
            </p:grpSpPr>
            <p:sp>
              <p:nvSpPr>
                <p:cNvPr id="18432" name="Freeform: Shape 18431">
                  <a:extLst>
                    <a:ext uri="{FF2B5EF4-FFF2-40B4-BE49-F238E27FC236}">
                      <a16:creationId xmlns:a16="http://schemas.microsoft.com/office/drawing/2014/main" id="{56BE18B5-1D4D-EDE2-2ECC-A9981E182539}"/>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3" name="Freeform: Shape 18432">
                  <a:extLst>
                    <a:ext uri="{FF2B5EF4-FFF2-40B4-BE49-F238E27FC236}">
                      <a16:creationId xmlns:a16="http://schemas.microsoft.com/office/drawing/2014/main" id="{568EAB1F-194C-06D8-0DCE-2A6629319C8F}"/>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5" name="Graphic 2151">
                <a:extLst>
                  <a:ext uri="{FF2B5EF4-FFF2-40B4-BE49-F238E27FC236}">
                    <a16:creationId xmlns:a16="http://schemas.microsoft.com/office/drawing/2014/main" id="{6FCAB09C-CD40-A5BC-C939-B328C85A4FB8}"/>
                  </a:ext>
                </a:extLst>
              </p:cNvPr>
              <p:cNvGrpSpPr/>
              <p:nvPr/>
            </p:nvGrpSpPr>
            <p:grpSpPr>
              <a:xfrm>
                <a:off x="6882288" y="3743515"/>
                <a:ext cx="75628" cy="75628"/>
                <a:chOff x="6882288" y="3743515"/>
                <a:chExt cx="75628" cy="75628"/>
              </a:xfrm>
            </p:grpSpPr>
            <p:sp>
              <p:nvSpPr>
                <p:cNvPr id="18430" name="Freeform: Shape 18429">
                  <a:extLst>
                    <a:ext uri="{FF2B5EF4-FFF2-40B4-BE49-F238E27FC236}">
                      <a16:creationId xmlns:a16="http://schemas.microsoft.com/office/drawing/2014/main" id="{C677F9F4-3631-BA64-4F11-C63EF068C897}"/>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31" name="Freeform: Shape 18430">
                  <a:extLst>
                    <a:ext uri="{FF2B5EF4-FFF2-40B4-BE49-F238E27FC236}">
                      <a16:creationId xmlns:a16="http://schemas.microsoft.com/office/drawing/2014/main" id="{16B8DAE9-156F-4728-42C2-EA2AF698FF5F}"/>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6" name="Graphic 2151">
                <a:extLst>
                  <a:ext uri="{FF2B5EF4-FFF2-40B4-BE49-F238E27FC236}">
                    <a16:creationId xmlns:a16="http://schemas.microsoft.com/office/drawing/2014/main" id="{60FAEB5F-26A0-B0AB-3F48-DFB59FAD5AA9}"/>
                  </a:ext>
                </a:extLst>
              </p:cNvPr>
              <p:cNvGrpSpPr/>
              <p:nvPr/>
            </p:nvGrpSpPr>
            <p:grpSpPr>
              <a:xfrm>
                <a:off x="6867715" y="3743515"/>
                <a:ext cx="75628" cy="75628"/>
                <a:chOff x="6867715" y="3743515"/>
                <a:chExt cx="75628" cy="75628"/>
              </a:xfrm>
            </p:grpSpPr>
            <p:sp>
              <p:nvSpPr>
                <p:cNvPr id="18428" name="Freeform: Shape 18427">
                  <a:extLst>
                    <a:ext uri="{FF2B5EF4-FFF2-40B4-BE49-F238E27FC236}">
                      <a16:creationId xmlns:a16="http://schemas.microsoft.com/office/drawing/2014/main" id="{963C3532-2BF5-084A-7D58-209A6C4BBB89}"/>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9" name="Freeform: Shape 18428">
                  <a:extLst>
                    <a:ext uri="{FF2B5EF4-FFF2-40B4-BE49-F238E27FC236}">
                      <a16:creationId xmlns:a16="http://schemas.microsoft.com/office/drawing/2014/main" id="{541190E1-F3D3-C03A-A623-E426871D6804}"/>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7" name="Graphic 2151">
                <a:extLst>
                  <a:ext uri="{FF2B5EF4-FFF2-40B4-BE49-F238E27FC236}">
                    <a16:creationId xmlns:a16="http://schemas.microsoft.com/office/drawing/2014/main" id="{98877778-1ED9-718E-3A8B-350CF0783DB8}"/>
                  </a:ext>
                </a:extLst>
              </p:cNvPr>
              <p:cNvGrpSpPr/>
              <p:nvPr/>
            </p:nvGrpSpPr>
            <p:grpSpPr>
              <a:xfrm>
                <a:off x="6496240" y="3743515"/>
                <a:ext cx="75628" cy="75628"/>
                <a:chOff x="6496240" y="3743515"/>
                <a:chExt cx="75628" cy="75628"/>
              </a:xfrm>
            </p:grpSpPr>
            <p:sp>
              <p:nvSpPr>
                <p:cNvPr id="18426" name="Freeform: Shape 18425">
                  <a:extLst>
                    <a:ext uri="{FF2B5EF4-FFF2-40B4-BE49-F238E27FC236}">
                      <a16:creationId xmlns:a16="http://schemas.microsoft.com/office/drawing/2014/main" id="{4A32E8A6-C928-2D53-7349-151FCCCE170B}"/>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7" name="Freeform: Shape 18426">
                  <a:extLst>
                    <a:ext uri="{FF2B5EF4-FFF2-40B4-BE49-F238E27FC236}">
                      <a16:creationId xmlns:a16="http://schemas.microsoft.com/office/drawing/2014/main" id="{86F534A4-7820-74A1-5B9C-2A6A7B535DCA}"/>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8" name="Graphic 2151">
                <a:extLst>
                  <a:ext uri="{FF2B5EF4-FFF2-40B4-BE49-F238E27FC236}">
                    <a16:creationId xmlns:a16="http://schemas.microsoft.com/office/drawing/2014/main" id="{F8EB86AD-7B10-892C-D8E8-0BAA8361FC9D}"/>
                  </a:ext>
                </a:extLst>
              </p:cNvPr>
              <p:cNvGrpSpPr/>
              <p:nvPr/>
            </p:nvGrpSpPr>
            <p:grpSpPr>
              <a:xfrm>
                <a:off x="6447853" y="3692747"/>
                <a:ext cx="75628" cy="75628"/>
                <a:chOff x="6447853" y="3692747"/>
                <a:chExt cx="75628" cy="75628"/>
              </a:xfrm>
            </p:grpSpPr>
            <p:sp>
              <p:nvSpPr>
                <p:cNvPr id="18424" name="Freeform: Shape 18423">
                  <a:extLst>
                    <a:ext uri="{FF2B5EF4-FFF2-40B4-BE49-F238E27FC236}">
                      <a16:creationId xmlns:a16="http://schemas.microsoft.com/office/drawing/2014/main" id="{68CE6B1C-41A3-B294-813D-0401293C45DC}"/>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5" name="Freeform: Shape 18424">
                  <a:extLst>
                    <a:ext uri="{FF2B5EF4-FFF2-40B4-BE49-F238E27FC236}">
                      <a16:creationId xmlns:a16="http://schemas.microsoft.com/office/drawing/2014/main" id="{51ED79C3-BDAB-F3F2-B154-CB6088C7CF68}"/>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89" name="Graphic 2151">
                <a:extLst>
                  <a:ext uri="{FF2B5EF4-FFF2-40B4-BE49-F238E27FC236}">
                    <a16:creationId xmlns:a16="http://schemas.microsoft.com/office/drawing/2014/main" id="{4A704220-959E-9BF8-C803-5F3E1D9644C1}"/>
                  </a:ext>
                </a:extLst>
              </p:cNvPr>
              <p:cNvGrpSpPr/>
              <p:nvPr/>
            </p:nvGrpSpPr>
            <p:grpSpPr>
              <a:xfrm>
                <a:off x="6418039" y="3692747"/>
                <a:ext cx="75723" cy="75628"/>
                <a:chOff x="6418039" y="3692747"/>
                <a:chExt cx="75723" cy="75628"/>
              </a:xfrm>
            </p:grpSpPr>
            <p:sp>
              <p:nvSpPr>
                <p:cNvPr id="18422" name="Freeform: Shape 18421">
                  <a:extLst>
                    <a:ext uri="{FF2B5EF4-FFF2-40B4-BE49-F238E27FC236}">
                      <a16:creationId xmlns:a16="http://schemas.microsoft.com/office/drawing/2014/main" id="{8A790D3E-AAF7-EEF2-3F6B-9B89DC1CB133}"/>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3" name="Freeform: Shape 18422">
                  <a:extLst>
                    <a:ext uri="{FF2B5EF4-FFF2-40B4-BE49-F238E27FC236}">
                      <a16:creationId xmlns:a16="http://schemas.microsoft.com/office/drawing/2014/main" id="{E9FE665D-4790-B837-D0F5-306FE489A687}"/>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0" name="Graphic 2151">
                <a:extLst>
                  <a:ext uri="{FF2B5EF4-FFF2-40B4-BE49-F238E27FC236}">
                    <a16:creationId xmlns:a16="http://schemas.microsoft.com/office/drawing/2014/main" id="{4BA32F1F-DAF3-8B72-8CED-0A1878E7986A}"/>
                  </a:ext>
                </a:extLst>
              </p:cNvPr>
              <p:cNvGrpSpPr/>
              <p:nvPr/>
            </p:nvGrpSpPr>
            <p:grpSpPr>
              <a:xfrm>
                <a:off x="6092475" y="3692747"/>
                <a:ext cx="75723" cy="75628"/>
                <a:chOff x="6092475" y="3692747"/>
                <a:chExt cx="75723" cy="75628"/>
              </a:xfrm>
            </p:grpSpPr>
            <p:sp>
              <p:nvSpPr>
                <p:cNvPr id="18420" name="Freeform: Shape 18419">
                  <a:extLst>
                    <a:ext uri="{FF2B5EF4-FFF2-40B4-BE49-F238E27FC236}">
                      <a16:creationId xmlns:a16="http://schemas.microsoft.com/office/drawing/2014/main" id="{2955B06D-5A82-D211-C28F-82AEB8362DF3}"/>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21" name="Freeform: Shape 18420">
                  <a:extLst>
                    <a:ext uri="{FF2B5EF4-FFF2-40B4-BE49-F238E27FC236}">
                      <a16:creationId xmlns:a16="http://schemas.microsoft.com/office/drawing/2014/main" id="{DE4D5647-BDF6-AF54-93EE-5B1498E498D7}"/>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1" name="Graphic 2151">
                <a:extLst>
                  <a:ext uri="{FF2B5EF4-FFF2-40B4-BE49-F238E27FC236}">
                    <a16:creationId xmlns:a16="http://schemas.microsoft.com/office/drawing/2014/main" id="{C6681F65-68FC-D56F-A1B5-D3D77936E729}"/>
                  </a:ext>
                </a:extLst>
              </p:cNvPr>
              <p:cNvGrpSpPr/>
              <p:nvPr/>
            </p:nvGrpSpPr>
            <p:grpSpPr>
              <a:xfrm>
                <a:off x="6103714" y="3692747"/>
                <a:ext cx="75723" cy="75628"/>
                <a:chOff x="6103714" y="3692747"/>
                <a:chExt cx="75723" cy="75628"/>
              </a:xfrm>
            </p:grpSpPr>
            <p:sp>
              <p:nvSpPr>
                <p:cNvPr id="18418" name="Freeform: Shape 18417">
                  <a:extLst>
                    <a:ext uri="{FF2B5EF4-FFF2-40B4-BE49-F238E27FC236}">
                      <a16:creationId xmlns:a16="http://schemas.microsoft.com/office/drawing/2014/main" id="{A04A48A0-17B3-71BA-89A2-FC4B474C9485}"/>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9" name="Freeform: Shape 18418">
                  <a:extLst>
                    <a:ext uri="{FF2B5EF4-FFF2-40B4-BE49-F238E27FC236}">
                      <a16:creationId xmlns:a16="http://schemas.microsoft.com/office/drawing/2014/main" id="{7836F5FA-2BF7-85B9-42C7-0E7F2A5A0FBB}"/>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2" name="Graphic 2151">
                <a:extLst>
                  <a:ext uri="{FF2B5EF4-FFF2-40B4-BE49-F238E27FC236}">
                    <a16:creationId xmlns:a16="http://schemas.microsoft.com/office/drawing/2014/main" id="{D43913F3-DEFD-361E-C9B5-26EF08B9B528}"/>
                  </a:ext>
                </a:extLst>
              </p:cNvPr>
              <p:cNvGrpSpPr/>
              <p:nvPr/>
            </p:nvGrpSpPr>
            <p:grpSpPr>
              <a:xfrm>
                <a:off x="6202870" y="3692747"/>
                <a:ext cx="75628" cy="75628"/>
                <a:chOff x="6202870" y="3692747"/>
                <a:chExt cx="75628" cy="75628"/>
              </a:xfrm>
            </p:grpSpPr>
            <p:sp>
              <p:nvSpPr>
                <p:cNvPr id="18416" name="Freeform: Shape 18415">
                  <a:extLst>
                    <a:ext uri="{FF2B5EF4-FFF2-40B4-BE49-F238E27FC236}">
                      <a16:creationId xmlns:a16="http://schemas.microsoft.com/office/drawing/2014/main" id="{5887E4D9-C7E0-3E32-9823-83945C10A2EB}"/>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7" name="Freeform: Shape 18416">
                  <a:extLst>
                    <a:ext uri="{FF2B5EF4-FFF2-40B4-BE49-F238E27FC236}">
                      <a16:creationId xmlns:a16="http://schemas.microsoft.com/office/drawing/2014/main" id="{968758C0-85D3-61C0-C412-8425547BEBD0}"/>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3" name="Graphic 2151">
                <a:extLst>
                  <a:ext uri="{FF2B5EF4-FFF2-40B4-BE49-F238E27FC236}">
                    <a16:creationId xmlns:a16="http://schemas.microsoft.com/office/drawing/2014/main" id="{DBAD7EE6-379F-F2AF-709F-11212A93D13C}"/>
                  </a:ext>
                </a:extLst>
              </p:cNvPr>
              <p:cNvGrpSpPr/>
              <p:nvPr/>
            </p:nvGrpSpPr>
            <p:grpSpPr>
              <a:xfrm>
                <a:off x="6046279" y="3606736"/>
                <a:ext cx="75723" cy="75628"/>
                <a:chOff x="6046279" y="3606736"/>
                <a:chExt cx="75723" cy="75628"/>
              </a:xfrm>
            </p:grpSpPr>
            <p:sp>
              <p:nvSpPr>
                <p:cNvPr id="18414" name="Freeform: Shape 18413">
                  <a:extLst>
                    <a:ext uri="{FF2B5EF4-FFF2-40B4-BE49-F238E27FC236}">
                      <a16:creationId xmlns:a16="http://schemas.microsoft.com/office/drawing/2014/main" id="{EE0FB38D-0CCD-04BA-24C1-EA2F40CE816F}"/>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5" name="Freeform: Shape 18414">
                  <a:extLst>
                    <a:ext uri="{FF2B5EF4-FFF2-40B4-BE49-F238E27FC236}">
                      <a16:creationId xmlns:a16="http://schemas.microsoft.com/office/drawing/2014/main" id="{E1BB0F19-A9A6-6CD5-702F-1C0CEB013E5A}"/>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4" name="Graphic 2151">
                <a:extLst>
                  <a:ext uri="{FF2B5EF4-FFF2-40B4-BE49-F238E27FC236}">
                    <a16:creationId xmlns:a16="http://schemas.microsoft.com/office/drawing/2014/main" id="{EC620C83-A359-FFDF-0778-3502D34234E7}"/>
                  </a:ext>
                </a:extLst>
              </p:cNvPr>
              <p:cNvGrpSpPr/>
              <p:nvPr/>
            </p:nvGrpSpPr>
            <p:grpSpPr>
              <a:xfrm>
                <a:off x="6038659" y="3570541"/>
                <a:ext cx="75723" cy="75723"/>
                <a:chOff x="6038659" y="3570541"/>
                <a:chExt cx="75723" cy="75723"/>
              </a:xfrm>
            </p:grpSpPr>
            <p:sp>
              <p:nvSpPr>
                <p:cNvPr id="18412" name="Freeform: Shape 18411">
                  <a:extLst>
                    <a:ext uri="{FF2B5EF4-FFF2-40B4-BE49-F238E27FC236}">
                      <a16:creationId xmlns:a16="http://schemas.microsoft.com/office/drawing/2014/main" id="{844A9B18-3D0F-34B6-B661-A916F40093B4}"/>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3" name="Freeform: Shape 18412">
                  <a:extLst>
                    <a:ext uri="{FF2B5EF4-FFF2-40B4-BE49-F238E27FC236}">
                      <a16:creationId xmlns:a16="http://schemas.microsoft.com/office/drawing/2014/main" id="{9FDF7B1A-5664-76DA-83A9-C5A9A7E023EE}"/>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5" name="Graphic 2151">
                <a:extLst>
                  <a:ext uri="{FF2B5EF4-FFF2-40B4-BE49-F238E27FC236}">
                    <a16:creationId xmlns:a16="http://schemas.microsoft.com/office/drawing/2014/main" id="{8C546AEC-46C1-A044-1BAA-77FE93E5F94F}"/>
                  </a:ext>
                </a:extLst>
              </p:cNvPr>
              <p:cNvGrpSpPr/>
              <p:nvPr/>
            </p:nvGrpSpPr>
            <p:grpSpPr>
              <a:xfrm>
                <a:off x="6038659" y="3527012"/>
                <a:ext cx="75723" cy="75723"/>
                <a:chOff x="6038659" y="3527012"/>
                <a:chExt cx="75723" cy="75723"/>
              </a:xfrm>
            </p:grpSpPr>
            <p:sp>
              <p:nvSpPr>
                <p:cNvPr id="18410" name="Freeform: Shape 18409">
                  <a:extLst>
                    <a:ext uri="{FF2B5EF4-FFF2-40B4-BE49-F238E27FC236}">
                      <a16:creationId xmlns:a16="http://schemas.microsoft.com/office/drawing/2014/main" id="{121263BE-C522-4901-13A8-0945F9C785C6}"/>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11" name="Freeform: Shape 18410">
                  <a:extLst>
                    <a:ext uri="{FF2B5EF4-FFF2-40B4-BE49-F238E27FC236}">
                      <a16:creationId xmlns:a16="http://schemas.microsoft.com/office/drawing/2014/main" id="{B18B4910-6708-8038-5C63-11DCCE54DB95}"/>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6" name="Graphic 2151">
                <a:extLst>
                  <a:ext uri="{FF2B5EF4-FFF2-40B4-BE49-F238E27FC236}">
                    <a16:creationId xmlns:a16="http://schemas.microsoft.com/office/drawing/2014/main" id="{9432B15F-7EF8-755B-A1A3-EE09E67F1756}"/>
                  </a:ext>
                </a:extLst>
              </p:cNvPr>
              <p:cNvGrpSpPr/>
              <p:nvPr/>
            </p:nvGrpSpPr>
            <p:grpSpPr>
              <a:xfrm>
                <a:off x="6031991" y="3491769"/>
                <a:ext cx="75723" cy="75723"/>
                <a:chOff x="6031991" y="3491769"/>
                <a:chExt cx="75723" cy="75723"/>
              </a:xfrm>
            </p:grpSpPr>
            <p:sp>
              <p:nvSpPr>
                <p:cNvPr id="18408" name="Freeform: Shape 18407">
                  <a:extLst>
                    <a:ext uri="{FF2B5EF4-FFF2-40B4-BE49-F238E27FC236}">
                      <a16:creationId xmlns:a16="http://schemas.microsoft.com/office/drawing/2014/main" id="{FD1EE035-A4DE-A327-AA1B-BA568E120BF3}"/>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9" name="Freeform: Shape 18408">
                  <a:extLst>
                    <a:ext uri="{FF2B5EF4-FFF2-40B4-BE49-F238E27FC236}">
                      <a16:creationId xmlns:a16="http://schemas.microsoft.com/office/drawing/2014/main" id="{F3EE25AE-5F22-2CE1-EEAE-CAA6D0FC834E}"/>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7" name="Graphic 2151">
                <a:extLst>
                  <a:ext uri="{FF2B5EF4-FFF2-40B4-BE49-F238E27FC236}">
                    <a16:creationId xmlns:a16="http://schemas.microsoft.com/office/drawing/2014/main" id="{48CD801A-CE1F-44E9-F9F6-F94BAEA5CBB8}"/>
                  </a:ext>
                </a:extLst>
              </p:cNvPr>
              <p:cNvGrpSpPr/>
              <p:nvPr/>
            </p:nvGrpSpPr>
            <p:grpSpPr>
              <a:xfrm>
                <a:off x="6018942" y="3491769"/>
                <a:ext cx="75628" cy="75723"/>
                <a:chOff x="6018942" y="3491769"/>
                <a:chExt cx="75628" cy="75723"/>
              </a:xfrm>
            </p:grpSpPr>
            <p:sp>
              <p:nvSpPr>
                <p:cNvPr id="18406" name="Freeform: Shape 18405">
                  <a:extLst>
                    <a:ext uri="{FF2B5EF4-FFF2-40B4-BE49-F238E27FC236}">
                      <a16:creationId xmlns:a16="http://schemas.microsoft.com/office/drawing/2014/main" id="{55A95903-2F10-EE01-E4DE-E2EF54C5B13A}"/>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7" name="Freeform: Shape 18406">
                  <a:extLst>
                    <a:ext uri="{FF2B5EF4-FFF2-40B4-BE49-F238E27FC236}">
                      <a16:creationId xmlns:a16="http://schemas.microsoft.com/office/drawing/2014/main" id="{B555B822-39C3-3C28-5004-F17B3A803327}"/>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8" name="Graphic 2151">
                <a:extLst>
                  <a:ext uri="{FF2B5EF4-FFF2-40B4-BE49-F238E27FC236}">
                    <a16:creationId xmlns:a16="http://schemas.microsoft.com/office/drawing/2014/main" id="{B6C005C3-65D1-3D4B-9838-922158F4E1D4}"/>
                  </a:ext>
                </a:extLst>
              </p:cNvPr>
              <p:cNvGrpSpPr/>
              <p:nvPr/>
            </p:nvGrpSpPr>
            <p:grpSpPr>
              <a:xfrm>
                <a:off x="5642895" y="3463194"/>
                <a:ext cx="75723" cy="75723"/>
                <a:chOff x="5642895" y="3463194"/>
                <a:chExt cx="75723" cy="75723"/>
              </a:xfrm>
            </p:grpSpPr>
            <p:sp>
              <p:nvSpPr>
                <p:cNvPr id="18404" name="Freeform: Shape 18403">
                  <a:extLst>
                    <a:ext uri="{FF2B5EF4-FFF2-40B4-BE49-F238E27FC236}">
                      <a16:creationId xmlns:a16="http://schemas.microsoft.com/office/drawing/2014/main" id="{9163251B-AFA5-633C-7FFE-4A968B3CF77D}"/>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5" name="Freeform: Shape 18404">
                  <a:extLst>
                    <a:ext uri="{FF2B5EF4-FFF2-40B4-BE49-F238E27FC236}">
                      <a16:creationId xmlns:a16="http://schemas.microsoft.com/office/drawing/2014/main" id="{962EC10F-1FB9-8393-ABE0-C0E466A8C666}"/>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299" name="Graphic 2151">
                <a:extLst>
                  <a:ext uri="{FF2B5EF4-FFF2-40B4-BE49-F238E27FC236}">
                    <a16:creationId xmlns:a16="http://schemas.microsoft.com/office/drawing/2014/main" id="{63F0B23B-3803-A2DD-F120-46A1CFAF871C}"/>
                  </a:ext>
                </a:extLst>
              </p:cNvPr>
              <p:cNvGrpSpPr/>
              <p:nvPr/>
            </p:nvGrpSpPr>
            <p:grpSpPr>
              <a:xfrm>
                <a:off x="5591174" y="3463194"/>
                <a:ext cx="75723" cy="75723"/>
                <a:chOff x="5591174" y="3463194"/>
                <a:chExt cx="75723" cy="75723"/>
              </a:xfrm>
            </p:grpSpPr>
            <p:sp>
              <p:nvSpPr>
                <p:cNvPr id="18402" name="Freeform: Shape 18401">
                  <a:extLst>
                    <a:ext uri="{FF2B5EF4-FFF2-40B4-BE49-F238E27FC236}">
                      <a16:creationId xmlns:a16="http://schemas.microsoft.com/office/drawing/2014/main" id="{54045FE4-FCEF-E641-484A-4AF3266B4999}"/>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3" name="Freeform: Shape 18402">
                  <a:extLst>
                    <a:ext uri="{FF2B5EF4-FFF2-40B4-BE49-F238E27FC236}">
                      <a16:creationId xmlns:a16="http://schemas.microsoft.com/office/drawing/2014/main" id="{52EF743F-37DB-04F1-8025-696EC0CF829E}"/>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0" name="Graphic 2151">
                <a:extLst>
                  <a:ext uri="{FF2B5EF4-FFF2-40B4-BE49-F238E27FC236}">
                    <a16:creationId xmlns:a16="http://schemas.microsoft.com/office/drawing/2014/main" id="{BB6F6ED2-7D59-F1D6-461F-DE0E1EC7E042}"/>
                  </a:ext>
                </a:extLst>
              </p:cNvPr>
              <p:cNvGrpSpPr/>
              <p:nvPr/>
            </p:nvGrpSpPr>
            <p:grpSpPr>
              <a:xfrm>
                <a:off x="5601556" y="3463194"/>
                <a:ext cx="75723" cy="75723"/>
                <a:chOff x="5601556" y="3463194"/>
                <a:chExt cx="75723" cy="75723"/>
              </a:xfrm>
            </p:grpSpPr>
            <p:sp>
              <p:nvSpPr>
                <p:cNvPr id="18400" name="Freeform: Shape 18399">
                  <a:extLst>
                    <a:ext uri="{FF2B5EF4-FFF2-40B4-BE49-F238E27FC236}">
                      <a16:creationId xmlns:a16="http://schemas.microsoft.com/office/drawing/2014/main" id="{C39181D9-AAFD-64EB-7761-8908A51FE15C}"/>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401" name="Freeform: Shape 18400">
                  <a:extLst>
                    <a:ext uri="{FF2B5EF4-FFF2-40B4-BE49-F238E27FC236}">
                      <a16:creationId xmlns:a16="http://schemas.microsoft.com/office/drawing/2014/main" id="{64DA0F59-6110-FA89-1DDA-327A5EA6AF75}"/>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1" name="Graphic 2151">
                <a:extLst>
                  <a:ext uri="{FF2B5EF4-FFF2-40B4-BE49-F238E27FC236}">
                    <a16:creationId xmlns:a16="http://schemas.microsoft.com/office/drawing/2014/main" id="{A6F336BB-4AE7-6C50-9D0C-DA3A02FAE8C9}"/>
                  </a:ext>
                </a:extLst>
              </p:cNvPr>
              <p:cNvGrpSpPr/>
              <p:nvPr/>
            </p:nvGrpSpPr>
            <p:grpSpPr>
              <a:xfrm>
                <a:off x="5346191" y="3324129"/>
                <a:ext cx="75723" cy="75723"/>
                <a:chOff x="5346191" y="3324129"/>
                <a:chExt cx="75723" cy="75723"/>
              </a:xfrm>
            </p:grpSpPr>
            <p:sp>
              <p:nvSpPr>
                <p:cNvPr id="18398" name="Freeform: Shape 18397">
                  <a:extLst>
                    <a:ext uri="{FF2B5EF4-FFF2-40B4-BE49-F238E27FC236}">
                      <a16:creationId xmlns:a16="http://schemas.microsoft.com/office/drawing/2014/main" id="{FBC3BCA9-01CD-B411-C58C-D391B500C1F5}"/>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9" name="Freeform: Shape 18398">
                  <a:extLst>
                    <a:ext uri="{FF2B5EF4-FFF2-40B4-BE49-F238E27FC236}">
                      <a16:creationId xmlns:a16="http://schemas.microsoft.com/office/drawing/2014/main" id="{BA513CE7-50DB-C244-C65A-D2448D51FA9F}"/>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2" name="Graphic 2151">
                <a:extLst>
                  <a:ext uri="{FF2B5EF4-FFF2-40B4-BE49-F238E27FC236}">
                    <a16:creationId xmlns:a16="http://schemas.microsoft.com/office/drawing/2014/main" id="{7FDC9E19-F1C0-1E16-440E-08B1544FC623}"/>
                  </a:ext>
                </a:extLst>
              </p:cNvPr>
              <p:cNvGrpSpPr/>
              <p:nvPr/>
            </p:nvGrpSpPr>
            <p:grpSpPr>
              <a:xfrm>
                <a:off x="5213889" y="3295078"/>
                <a:ext cx="75628" cy="75723"/>
                <a:chOff x="5213889" y="3295078"/>
                <a:chExt cx="75628" cy="75723"/>
              </a:xfrm>
            </p:grpSpPr>
            <p:sp>
              <p:nvSpPr>
                <p:cNvPr id="18396" name="Freeform: Shape 18395">
                  <a:extLst>
                    <a:ext uri="{FF2B5EF4-FFF2-40B4-BE49-F238E27FC236}">
                      <a16:creationId xmlns:a16="http://schemas.microsoft.com/office/drawing/2014/main" id="{B9FD5E49-4900-CC54-D041-9FE91A5E0194}"/>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7" name="Freeform: Shape 18396">
                  <a:extLst>
                    <a:ext uri="{FF2B5EF4-FFF2-40B4-BE49-F238E27FC236}">
                      <a16:creationId xmlns:a16="http://schemas.microsoft.com/office/drawing/2014/main" id="{E8D7FEFC-BAB9-271C-02C6-4F85375E720A}"/>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3" name="Graphic 2151">
                <a:extLst>
                  <a:ext uri="{FF2B5EF4-FFF2-40B4-BE49-F238E27FC236}">
                    <a16:creationId xmlns:a16="http://schemas.microsoft.com/office/drawing/2014/main" id="{2E89635C-BC39-05EE-2B3A-D6604BFE9973}"/>
                  </a:ext>
                </a:extLst>
              </p:cNvPr>
              <p:cNvGrpSpPr/>
              <p:nvPr/>
            </p:nvGrpSpPr>
            <p:grpSpPr>
              <a:xfrm>
                <a:off x="5184361" y="3295078"/>
                <a:ext cx="75723" cy="75723"/>
                <a:chOff x="5184361" y="3295078"/>
                <a:chExt cx="75723" cy="75723"/>
              </a:xfrm>
            </p:grpSpPr>
            <p:sp>
              <p:nvSpPr>
                <p:cNvPr id="18394" name="Freeform: Shape 18393">
                  <a:extLst>
                    <a:ext uri="{FF2B5EF4-FFF2-40B4-BE49-F238E27FC236}">
                      <a16:creationId xmlns:a16="http://schemas.microsoft.com/office/drawing/2014/main" id="{32F62AFB-51DB-F0B9-E321-16B63EA63AD4}"/>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5" name="Freeform: Shape 18394">
                  <a:extLst>
                    <a:ext uri="{FF2B5EF4-FFF2-40B4-BE49-F238E27FC236}">
                      <a16:creationId xmlns:a16="http://schemas.microsoft.com/office/drawing/2014/main" id="{BB533275-16B7-8C8E-D6CF-3821E3FF6DC4}"/>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4" name="Graphic 2151">
                <a:extLst>
                  <a:ext uri="{FF2B5EF4-FFF2-40B4-BE49-F238E27FC236}">
                    <a16:creationId xmlns:a16="http://schemas.microsoft.com/office/drawing/2014/main" id="{A9EE1456-C545-EF61-796E-A9CCFF7003CD}"/>
                  </a:ext>
                </a:extLst>
              </p:cNvPr>
              <p:cNvGrpSpPr/>
              <p:nvPr/>
            </p:nvGrpSpPr>
            <p:grpSpPr>
              <a:xfrm>
                <a:off x="5136736" y="3247072"/>
                <a:ext cx="75723" cy="75628"/>
                <a:chOff x="5136736" y="3247072"/>
                <a:chExt cx="75723" cy="75628"/>
              </a:xfrm>
            </p:grpSpPr>
            <p:sp>
              <p:nvSpPr>
                <p:cNvPr id="18392" name="Freeform: Shape 18391">
                  <a:extLst>
                    <a:ext uri="{FF2B5EF4-FFF2-40B4-BE49-F238E27FC236}">
                      <a16:creationId xmlns:a16="http://schemas.microsoft.com/office/drawing/2014/main" id="{FD915DD1-DB68-7504-3CB4-A954C9186D87}"/>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3" name="Freeform: Shape 18392">
                  <a:extLst>
                    <a:ext uri="{FF2B5EF4-FFF2-40B4-BE49-F238E27FC236}">
                      <a16:creationId xmlns:a16="http://schemas.microsoft.com/office/drawing/2014/main" id="{EB619D90-7586-B3B1-7935-E98178878F96}"/>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5" name="Graphic 2151">
                <a:extLst>
                  <a:ext uri="{FF2B5EF4-FFF2-40B4-BE49-F238E27FC236}">
                    <a16:creationId xmlns:a16="http://schemas.microsoft.com/office/drawing/2014/main" id="{3AD50431-9110-EFB4-32B0-E114841D568A}"/>
                  </a:ext>
                </a:extLst>
              </p:cNvPr>
              <p:cNvGrpSpPr/>
              <p:nvPr/>
            </p:nvGrpSpPr>
            <p:grpSpPr>
              <a:xfrm>
                <a:off x="5062537" y="3222688"/>
                <a:ext cx="75723" cy="75723"/>
                <a:chOff x="5062537" y="3222688"/>
                <a:chExt cx="75723" cy="75723"/>
              </a:xfrm>
            </p:grpSpPr>
            <p:sp>
              <p:nvSpPr>
                <p:cNvPr id="18390" name="Freeform: Shape 18389">
                  <a:extLst>
                    <a:ext uri="{FF2B5EF4-FFF2-40B4-BE49-F238E27FC236}">
                      <a16:creationId xmlns:a16="http://schemas.microsoft.com/office/drawing/2014/main" id="{7A2E46C6-50B9-2038-045E-6C31702C7DCA}"/>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91" name="Freeform: Shape 18390">
                  <a:extLst>
                    <a:ext uri="{FF2B5EF4-FFF2-40B4-BE49-F238E27FC236}">
                      <a16:creationId xmlns:a16="http://schemas.microsoft.com/office/drawing/2014/main" id="{9B60793A-5EFA-6991-F7E9-006F4D4F5F41}"/>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6" name="Graphic 2151">
                <a:extLst>
                  <a:ext uri="{FF2B5EF4-FFF2-40B4-BE49-F238E27FC236}">
                    <a16:creationId xmlns:a16="http://schemas.microsoft.com/office/drawing/2014/main" id="{21C17861-4993-EAA3-072F-1DAA55D450B1}"/>
                  </a:ext>
                </a:extLst>
              </p:cNvPr>
              <p:cNvGrpSpPr/>
              <p:nvPr/>
            </p:nvGrpSpPr>
            <p:grpSpPr>
              <a:xfrm>
                <a:off x="4760975" y="3149346"/>
                <a:ext cx="75723" cy="75723"/>
                <a:chOff x="4760975" y="3149346"/>
                <a:chExt cx="75723" cy="75723"/>
              </a:xfrm>
            </p:grpSpPr>
            <p:sp>
              <p:nvSpPr>
                <p:cNvPr id="18388" name="Freeform: Shape 18387">
                  <a:extLst>
                    <a:ext uri="{FF2B5EF4-FFF2-40B4-BE49-F238E27FC236}">
                      <a16:creationId xmlns:a16="http://schemas.microsoft.com/office/drawing/2014/main" id="{B03CA65B-2C7E-1C1A-DD70-48A097DF987F}"/>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9" name="Freeform: Shape 18388">
                  <a:extLst>
                    <a:ext uri="{FF2B5EF4-FFF2-40B4-BE49-F238E27FC236}">
                      <a16:creationId xmlns:a16="http://schemas.microsoft.com/office/drawing/2014/main" id="{A4D1B575-F322-709C-6DE7-EA03BF148264}"/>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7" name="Graphic 2151">
                <a:extLst>
                  <a:ext uri="{FF2B5EF4-FFF2-40B4-BE49-F238E27FC236}">
                    <a16:creationId xmlns:a16="http://schemas.microsoft.com/office/drawing/2014/main" id="{4BDDA871-93D8-7E5D-2115-8A8D29BB20C7}"/>
                  </a:ext>
                </a:extLst>
              </p:cNvPr>
              <p:cNvGrpSpPr/>
              <p:nvPr/>
            </p:nvGrpSpPr>
            <p:grpSpPr>
              <a:xfrm>
                <a:off x="4757927" y="3127438"/>
                <a:ext cx="75723" cy="75628"/>
                <a:chOff x="4757927" y="3127438"/>
                <a:chExt cx="75723" cy="75628"/>
              </a:xfrm>
            </p:grpSpPr>
            <p:sp>
              <p:nvSpPr>
                <p:cNvPr id="18386" name="Freeform: Shape 18385">
                  <a:extLst>
                    <a:ext uri="{FF2B5EF4-FFF2-40B4-BE49-F238E27FC236}">
                      <a16:creationId xmlns:a16="http://schemas.microsoft.com/office/drawing/2014/main" id="{275A728E-54BB-E329-A3C0-7E113F8C6F31}"/>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7" name="Freeform: Shape 18386">
                  <a:extLst>
                    <a:ext uri="{FF2B5EF4-FFF2-40B4-BE49-F238E27FC236}">
                      <a16:creationId xmlns:a16="http://schemas.microsoft.com/office/drawing/2014/main" id="{BE13E56B-EF67-C873-85A7-8CCDFD2EEE39}"/>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8" name="Graphic 2151">
                <a:extLst>
                  <a:ext uri="{FF2B5EF4-FFF2-40B4-BE49-F238E27FC236}">
                    <a16:creationId xmlns:a16="http://schemas.microsoft.com/office/drawing/2014/main" id="{8387A303-EA5A-CB9B-85AA-588FC35D6FD9}"/>
                  </a:ext>
                </a:extLst>
              </p:cNvPr>
              <p:cNvGrpSpPr/>
              <p:nvPr/>
            </p:nvGrpSpPr>
            <p:grpSpPr>
              <a:xfrm>
                <a:off x="4746116" y="3127438"/>
                <a:ext cx="75723" cy="75628"/>
                <a:chOff x="4746116" y="3127438"/>
                <a:chExt cx="75723" cy="75628"/>
              </a:xfrm>
            </p:grpSpPr>
            <p:sp>
              <p:nvSpPr>
                <p:cNvPr id="18384" name="Freeform: Shape 18383">
                  <a:extLst>
                    <a:ext uri="{FF2B5EF4-FFF2-40B4-BE49-F238E27FC236}">
                      <a16:creationId xmlns:a16="http://schemas.microsoft.com/office/drawing/2014/main" id="{82A4AD5B-8053-5E4B-2D57-8602BD867500}"/>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5" name="Freeform: Shape 18384">
                  <a:extLst>
                    <a:ext uri="{FF2B5EF4-FFF2-40B4-BE49-F238E27FC236}">
                      <a16:creationId xmlns:a16="http://schemas.microsoft.com/office/drawing/2014/main" id="{6DCE191F-154A-18E6-4A18-72F94C06CEAA}"/>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09" name="Graphic 2151">
                <a:extLst>
                  <a:ext uri="{FF2B5EF4-FFF2-40B4-BE49-F238E27FC236}">
                    <a16:creationId xmlns:a16="http://schemas.microsoft.com/office/drawing/2014/main" id="{BD2EB22B-BB40-D6BD-0756-BA5C9BC6D456}"/>
                  </a:ext>
                </a:extLst>
              </p:cNvPr>
              <p:cNvGrpSpPr/>
              <p:nvPr/>
            </p:nvGrpSpPr>
            <p:grpSpPr>
              <a:xfrm>
                <a:off x="4693538" y="3060192"/>
                <a:ext cx="75723" cy="75723"/>
                <a:chOff x="4693538" y="3060192"/>
                <a:chExt cx="75723" cy="75723"/>
              </a:xfrm>
            </p:grpSpPr>
            <p:sp>
              <p:nvSpPr>
                <p:cNvPr id="18382" name="Freeform: Shape 18381">
                  <a:extLst>
                    <a:ext uri="{FF2B5EF4-FFF2-40B4-BE49-F238E27FC236}">
                      <a16:creationId xmlns:a16="http://schemas.microsoft.com/office/drawing/2014/main" id="{C1EA9FCC-AC4C-5D61-C5C2-36A5F4F3FAE1}"/>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3" name="Freeform: Shape 18382">
                  <a:extLst>
                    <a:ext uri="{FF2B5EF4-FFF2-40B4-BE49-F238E27FC236}">
                      <a16:creationId xmlns:a16="http://schemas.microsoft.com/office/drawing/2014/main" id="{02EA39A1-7ABC-3DA2-663A-88AE71FBD731}"/>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0" name="Graphic 2151">
                <a:extLst>
                  <a:ext uri="{FF2B5EF4-FFF2-40B4-BE49-F238E27FC236}">
                    <a16:creationId xmlns:a16="http://schemas.microsoft.com/office/drawing/2014/main" id="{310B4332-EFEA-EDA9-235C-BCECFE5FCB42}"/>
                  </a:ext>
                </a:extLst>
              </p:cNvPr>
              <p:cNvGrpSpPr/>
              <p:nvPr/>
            </p:nvGrpSpPr>
            <p:grpSpPr>
              <a:xfrm>
                <a:off x="4670392" y="3019806"/>
                <a:ext cx="75723" cy="75628"/>
                <a:chOff x="4670392" y="3019806"/>
                <a:chExt cx="75723" cy="75628"/>
              </a:xfrm>
            </p:grpSpPr>
            <p:sp>
              <p:nvSpPr>
                <p:cNvPr id="18380" name="Freeform: Shape 18379">
                  <a:extLst>
                    <a:ext uri="{FF2B5EF4-FFF2-40B4-BE49-F238E27FC236}">
                      <a16:creationId xmlns:a16="http://schemas.microsoft.com/office/drawing/2014/main" id="{CF20CE5B-C3C3-F742-71CC-E3DF625B1DB9}"/>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81" name="Freeform: Shape 18380">
                  <a:extLst>
                    <a:ext uri="{FF2B5EF4-FFF2-40B4-BE49-F238E27FC236}">
                      <a16:creationId xmlns:a16="http://schemas.microsoft.com/office/drawing/2014/main" id="{64580880-EC63-F130-F0CE-92603D5E4142}"/>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1" name="Graphic 2151">
                <a:extLst>
                  <a:ext uri="{FF2B5EF4-FFF2-40B4-BE49-F238E27FC236}">
                    <a16:creationId xmlns:a16="http://schemas.microsoft.com/office/drawing/2014/main" id="{525005A0-C25F-E218-0D74-390D9730F132}"/>
                  </a:ext>
                </a:extLst>
              </p:cNvPr>
              <p:cNvGrpSpPr/>
              <p:nvPr/>
            </p:nvGrpSpPr>
            <p:grpSpPr>
              <a:xfrm>
                <a:off x="4433029" y="3019806"/>
                <a:ext cx="75628" cy="75628"/>
                <a:chOff x="4433029" y="3019806"/>
                <a:chExt cx="75628" cy="75628"/>
              </a:xfrm>
            </p:grpSpPr>
            <p:sp>
              <p:nvSpPr>
                <p:cNvPr id="18378" name="Freeform: Shape 18377">
                  <a:extLst>
                    <a:ext uri="{FF2B5EF4-FFF2-40B4-BE49-F238E27FC236}">
                      <a16:creationId xmlns:a16="http://schemas.microsoft.com/office/drawing/2014/main" id="{F669736E-E2DC-D578-896F-8ABF37536134}"/>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9" name="Freeform: Shape 18378">
                  <a:extLst>
                    <a:ext uri="{FF2B5EF4-FFF2-40B4-BE49-F238E27FC236}">
                      <a16:creationId xmlns:a16="http://schemas.microsoft.com/office/drawing/2014/main" id="{A64CCE0B-8368-B5B1-FB8E-994C1480C30D}"/>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2" name="Graphic 2151">
                <a:extLst>
                  <a:ext uri="{FF2B5EF4-FFF2-40B4-BE49-F238E27FC236}">
                    <a16:creationId xmlns:a16="http://schemas.microsoft.com/office/drawing/2014/main" id="{E24BB9E4-FACD-2172-34E7-2002BDA3F7C0}"/>
                  </a:ext>
                </a:extLst>
              </p:cNvPr>
              <p:cNvGrpSpPr/>
              <p:nvPr/>
            </p:nvGrpSpPr>
            <p:grpSpPr>
              <a:xfrm>
                <a:off x="4353019" y="2954083"/>
                <a:ext cx="75723" cy="75723"/>
                <a:chOff x="4353019" y="2954083"/>
                <a:chExt cx="75723" cy="75723"/>
              </a:xfrm>
            </p:grpSpPr>
            <p:sp>
              <p:nvSpPr>
                <p:cNvPr id="18376" name="Freeform: Shape 18375">
                  <a:extLst>
                    <a:ext uri="{FF2B5EF4-FFF2-40B4-BE49-F238E27FC236}">
                      <a16:creationId xmlns:a16="http://schemas.microsoft.com/office/drawing/2014/main" id="{9092584D-3159-BEBF-CA81-F18F48922490}"/>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7" name="Freeform: Shape 18376">
                  <a:extLst>
                    <a:ext uri="{FF2B5EF4-FFF2-40B4-BE49-F238E27FC236}">
                      <a16:creationId xmlns:a16="http://schemas.microsoft.com/office/drawing/2014/main" id="{0F4BD932-17FC-B580-4199-61B9B4C01F9A}"/>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3" name="Graphic 2151">
                <a:extLst>
                  <a:ext uri="{FF2B5EF4-FFF2-40B4-BE49-F238E27FC236}">
                    <a16:creationId xmlns:a16="http://schemas.microsoft.com/office/drawing/2014/main" id="{DF2C7C1E-B8E9-A07F-1222-F75E85E406DC}"/>
                  </a:ext>
                </a:extLst>
              </p:cNvPr>
              <p:cNvGrpSpPr/>
              <p:nvPr/>
            </p:nvGrpSpPr>
            <p:grpSpPr>
              <a:xfrm>
                <a:off x="4349686" y="2911983"/>
                <a:ext cx="75723" cy="75628"/>
                <a:chOff x="4349686" y="2911983"/>
                <a:chExt cx="75723" cy="75628"/>
              </a:xfrm>
            </p:grpSpPr>
            <p:sp>
              <p:nvSpPr>
                <p:cNvPr id="18374" name="Freeform: Shape 18373">
                  <a:extLst>
                    <a:ext uri="{FF2B5EF4-FFF2-40B4-BE49-F238E27FC236}">
                      <a16:creationId xmlns:a16="http://schemas.microsoft.com/office/drawing/2014/main" id="{283E499D-616A-5FAB-01B7-A08D2D075BC8}"/>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5" name="Freeform: Shape 18374">
                  <a:extLst>
                    <a:ext uri="{FF2B5EF4-FFF2-40B4-BE49-F238E27FC236}">
                      <a16:creationId xmlns:a16="http://schemas.microsoft.com/office/drawing/2014/main" id="{E1449462-4C76-B963-CBFA-19C3649B58E9}"/>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4" name="Graphic 2151">
                <a:extLst>
                  <a:ext uri="{FF2B5EF4-FFF2-40B4-BE49-F238E27FC236}">
                    <a16:creationId xmlns:a16="http://schemas.microsoft.com/office/drawing/2014/main" id="{0AB0E015-5C4E-AA64-27EB-1064ED374ABB}"/>
                  </a:ext>
                </a:extLst>
              </p:cNvPr>
              <p:cNvGrpSpPr/>
              <p:nvPr/>
            </p:nvGrpSpPr>
            <p:grpSpPr>
              <a:xfrm>
                <a:off x="4341208" y="2892742"/>
                <a:ext cx="75723" cy="75723"/>
                <a:chOff x="4341208" y="2892742"/>
                <a:chExt cx="75723" cy="75723"/>
              </a:xfrm>
            </p:grpSpPr>
            <p:sp>
              <p:nvSpPr>
                <p:cNvPr id="18372" name="Freeform: Shape 18371">
                  <a:extLst>
                    <a:ext uri="{FF2B5EF4-FFF2-40B4-BE49-F238E27FC236}">
                      <a16:creationId xmlns:a16="http://schemas.microsoft.com/office/drawing/2014/main" id="{CC1B98CC-EA89-4AEB-E15B-5A37A571F583}"/>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3" name="Freeform: Shape 18372">
                  <a:extLst>
                    <a:ext uri="{FF2B5EF4-FFF2-40B4-BE49-F238E27FC236}">
                      <a16:creationId xmlns:a16="http://schemas.microsoft.com/office/drawing/2014/main" id="{570DB4CB-FBA1-384E-538D-9E3BA5F3E6D8}"/>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5" name="Graphic 2151">
                <a:extLst>
                  <a:ext uri="{FF2B5EF4-FFF2-40B4-BE49-F238E27FC236}">
                    <a16:creationId xmlns:a16="http://schemas.microsoft.com/office/drawing/2014/main" id="{0CB4BF4B-FF80-292F-90B2-AEBC639D8CF6}"/>
                  </a:ext>
                </a:extLst>
              </p:cNvPr>
              <p:cNvGrpSpPr/>
              <p:nvPr/>
            </p:nvGrpSpPr>
            <p:grpSpPr>
              <a:xfrm>
                <a:off x="4326635" y="2882169"/>
                <a:ext cx="75628" cy="75628"/>
                <a:chOff x="4326635" y="2882169"/>
                <a:chExt cx="75628" cy="75628"/>
              </a:xfrm>
            </p:grpSpPr>
            <p:sp>
              <p:nvSpPr>
                <p:cNvPr id="18370" name="Freeform: Shape 18369">
                  <a:extLst>
                    <a:ext uri="{FF2B5EF4-FFF2-40B4-BE49-F238E27FC236}">
                      <a16:creationId xmlns:a16="http://schemas.microsoft.com/office/drawing/2014/main" id="{5D82BB40-47E7-CCE2-B76A-50D680B0B6AB}"/>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71" name="Freeform: Shape 18370">
                  <a:extLst>
                    <a:ext uri="{FF2B5EF4-FFF2-40B4-BE49-F238E27FC236}">
                      <a16:creationId xmlns:a16="http://schemas.microsoft.com/office/drawing/2014/main" id="{A4A04294-F344-14CA-B595-EB373D6B6F52}"/>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6" name="Graphic 2151">
                <a:extLst>
                  <a:ext uri="{FF2B5EF4-FFF2-40B4-BE49-F238E27FC236}">
                    <a16:creationId xmlns:a16="http://schemas.microsoft.com/office/drawing/2014/main" id="{3502ED79-9F54-EB15-A672-AE89DA53740B}"/>
                  </a:ext>
                </a:extLst>
              </p:cNvPr>
              <p:cNvGrpSpPr/>
              <p:nvPr/>
            </p:nvGrpSpPr>
            <p:grpSpPr>
              <a:xfrm>
                <a:off x="4317682" y="2869692"/>
                <a:ext cx="75628" cy="75723"/>
                <a:chOff x="4317682" y="2869692"/>
                <a:chExt cx="75628" cy="75723"/>
              </a:xfrm>
            </p:grpSpPr>
            <p:sp>
              <p:nvSpPr>
                <p:cNvPr id="18368" name="Freeform: Shape 18367">
                  <a:extLst>
                    <a:ext uri="{FF2B5EF4-FFF2-40B4-BE49-F238E27FC236}">
                      <a16:creationId xmlns:a16="http://schemas.microsoft.com/office/drawing/2014/main" id="{E1752D9C-7F98-0AE6-ACD6-F2437C339C1A}"/>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9" name="Freeform: Shape 18368">
                  <a:extLst>
                    <a:ext uri="{FF2B5EF4-FFF2-40B4-BE49-F238E27FC236}">
                      <a16:creationId xmlns:a16="http://schemas.microsoft.com/office/drawing/2014/main" id="{0B874EE0-474A-9E05-C6DB-0CB091DB2909}"/>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7" name="Graphic 2151">
                <a:extLst>
                  <a:ext uri="{FF2B5EF4-FFF2-40B4-BE49-F238E27FC236}">
                    <a16:creationId xmlns:a16="http://schemas.microsoft.com/office/drawing/2014/main" id="{0BB6D9EA-A7C9-5C9D-B5F0-CCE9138F9159}"/>
                  </a:ext>
                </a:extLst>
              </p:cNvPr>
              <p:cNvGrpSpPr/>
              <p:nvPr/>
            </p:nvGrpSpPr>
            <p:grpSpPr>
              <a:xfrm>
                <a:off x="4310633" y="2854928"/>
                <a:ext cx="75723" cy="75723"/>
                <a:chOff x="4310633" y="2854928"/>
                <a:chExt cx="75723" cy="75723"/>
              </a:xfrm>
            </p:grpSpPr>
            <p:sp>
              <p:nvSpPr>
                <p:cNvPr id="18366" name="Freeform: Shape 18365">
                  <a:extLst>
                    <a:ext uri="{FF2B5EF4-FFF2-40B4-BE49-F238E27FC236}">
                      <a16:creationId xmlns:a16="http://schemas.microsoft.com/office/drawing/2014/main" id="{43522025-631A-9E39-B2A2-F89C5E6EA8E7}"/>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7" name="Freeform: Shape 18366">
                  <a:extLst>
                    <a:ext uri="{FF2B5EF4-FFF2-40B4-BE49-F238E27FC236}">
                      <a16:creationId xmlns:a16="http://schemas.microsoft.com/office/drawing/2014/main" id="{3B353CDF-8C44-52DF-FB06-3AB47378D81A}"/>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8" name="Graphic 2151">
                <a:extLst>
                  <a:ext uri="{FF2B5EF4-FFF2-40B4-BE49-F238E27FC236}">
                    <a16:creationId xmlns:a16="http://schemas.microsoft.com/office/drawing/2014/main" id="{34D5BCD4-5DE8-9A53-E2B8-F99A5FFAF807}"/>
                  </a:ext>
                </a:extLst>
              </p:cNvPr>
              <p:cNvGrpSpPr/>
              <p:nvPr/>
            </p:nvGrpSpPr>
            <p:grpSpPr>
              <a:xfrm>
                <a:off x="4295488" y="2838069"/>
                <a:ext cx="75628" cy="75723"/>
                <a:chOff x="4295488" y="2838069"/>
                <a:chExt cx="75628" cy="75723"/>
              </a:xfrm>
            </p:grpSpPr>
            <p:sp>
              <p:nvSpPr>
                <p:cNvPr id="18364" name="Freeform: Shape 18363">
                  <a:extLst>
                    <a:ext uri="{FF2B5EF4-FFF2-40B4-BE49-F238E27FC236}">
                      <a16:creationId xmlns:a16="http://schemas.microsoft.com/office/drawing/2014/main" id="{E99C2A21-ACC4-25A5-B476-4D5C93E2340F}"/>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5" name="Freeform: Shape 18364">
                  <a:extLst>
                    <a:ext uri="{FF2B5EF4-FFF2-40B4-BE49-F238E27FC236}">
                      <a16:creationId xmlns:a16="http://schemas.microsoft.com/office/drawing/2014/main" id="{63B3604F-CEA3-D6E6-B36B-2F0CB336557F}"/>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19" name="Graphic 2151">
                <a:extLst>
                  <a:ext uri="{FF2B5EF4-FFF2-40B4-BE49-F238E27FC236}">
                    <a16:creationId xmlns:a16="http://schemas.microsoft.com/office/drawing/2014/main" id="{55773799-DED4-B6B5-81C0-008EAF4423D2}"/>
                  </a:ext>
                </a:extLst>
              </p:cNvPr>
              <p:cNvGrpSpPr/>
              <p:nvPr/>
            </p:nvGrpSpPr>
            <p:grpSpPr>
              <a:xfrm>
                <a:off x="4141374" y="2725959"/>
                <a:ext cx="75628" cy="75628"/>
                <a:chOff x="4141374" y="2725959"/>
                <a:chExt cx="75628" cy="75628"/>
              </a:xfrm>
            </p:grpSpPr>
            <p:sp>
              <p:nvSpPr>
                <p:cNvPr id="18362" name="Freeform: Shape 18361">
                  <a:extLst>
                    <a:ext uri="{FF2B5EF4-FFF2-40B4-BE49-F238E27FC236}">
                      <a16:creationId xmlns:a16="http://schemas.microsoft.com/office/drawing/2014/main" id="{AF83E421-ADE4-E9B1-DB2A-BB28E10E4D57}"/>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3" name="Freeform: Shape 18362">
                  <a:extLst>
                    <a:ext uri="{FF2B5EF4-FFF2-40B4-BE49-F238E27FC236}">
                      <a16:creationId xmlns:a16="http://schemas.microsoft.com/office/drawing/2014/main" id="{273ED7C2-F9CF-298F-DC54-04C56EAAAEB6}"/>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0" name="Graphic 2151">
                <a:extLst>
                  <a:ext uri="{FF2B5EF4-FFF2-40B4-BE49-F238E27FC236}">
                    <a16:creationId xmlns:a16="http://schemas.microsoft.com/office/drawing/2014/main" id="{4670279C-EE15-6B39-5065-14958618FDD6}"/>
                  </a:ext>
                </a:extLst>
              </p:cNvPr>
              <p:cNvGrpSpPr/>
              <p:nvPr/>
            </p:nvGrpSpPr>
            <p:grpSpPr>
              <a:xfrm>
                <a:off x="3900677" y="2674810"/>
                <a:ext cx="75723" cy="75723"/>
                <a:chOff x="3900677" y="2674810"/>
                <a:chExt cx="75723" cy="75723"/>
              </a:xfrm>
            </p:grpSpPr>
            <p:sp>
              <p:nvSpPr>
                <p:cNvPr id="18360" name="Freeform: Shape 18359">
                  <a:extLst>
                    <a:ext uri="{FF2B5EF4-FFF2-40B4-BE49-F238E27FC236}">
                      <a16:creationId xmlns:a16="http://schemas.microsoft.com/office/drawing/2014/main" id="{8965D46F-9EC4-EA04-2234-88CFC8218795}"/>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61" name="Freeform: Shape 18360">
                  <a:extLst>
                    <a:ext uri="{FF2B5EF4-FFF2-40B4-BE49-F238E27FC236}">
                      <a16:creationId xmlns:a16="http://schemas.microsoft.com/office/drawing/2014/main" id="{D903D434-7740-A35A-4D8D-92A5C24C8C7C}"/>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1" name="Graphic 2151">
                <a:extLst>
                  <a:ext uri="{FF2B5EF4-FFF2-40B4-BE49-F238E27FC236}">
                    <a16:creationId xmlns:a16="http://schemas.microsoft.com/office/drawing/2014/main" id="{C5A80D06-DB0F-FF11-1675-7D0C609C5C19}"/>
                  </a:ext>
                </a:extLst>
              </p:cNvPr>
              <p:cNvGrpSpPr/>
              <p:nvPr/>
            </p:nvGrpSpPr>
            <p:grpSpPr>
              <a:xfrm>
                <a:off x="3876674" y="2674810"/>
                <a:ext cx="75723" cy="75723"/>
                <a:chOff x="3876674" y="2674810"/>
                <a:chExt cx="75723" cy="75723"/>
              </a:xfrm>
            </p:grpSpPr>
            <p:sp>
              <p:nvSpPr>
                <p:cNvPr id="18358" name="Freeform: Shape 18357">
                  <a:extLst>
                    <a:ext uri="{FF2B5EF4-FFF2-40B4-BE49-F238E27FC236}">
                      <a16:creationId xmlns:a16="http://schemas.microsoft.com/office/drawing/2014/main" id="{EDFB38F9-E742-37F4-0D56-630318BD6650}"/>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9" name="Freeform: Shape 18358">
                  <a:extLst>
                    <a:ext uri="{FF2B5EF4-FFF2-40B4-BE49-F238E27FC236}">
                      <a16:creationId xmlns:a16="http://schemas.microsoft.com/office/drawing/2014/main" id="{C03A43A2-EF88-177A-9D71-2B97563BDC23}"/>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2" name="Graphic 2151">
                <a:extLst>
                  <a:ext uri="{FF2B5EF4-FFF2-40B4-BE49-F238E27FC236}">
                    <a16:creationId xmlns:a16="http://schemas.microsoft.com/office/drawing/2014/main" id="{BD0EC812-8ADA-BE1B-4452-BED517DA64A0}"/>
                  </a:ext>
                </a:extLst>
              </p:cNvPr>
              <p:cNvGrpSpPr/>
              <p:nvPr/>
            </p:nvGrpSpPr>
            <p:grpSpPr>
              <a:xfrm>
                <a:off x="4353019" y="2937129"/>
                <a:ext cx="75723" cy="75628"/>
                <a:chOff x="4353019" y="2937129"/>
                <a:chExt cx="75723" cy="75628"/>
              </a:xfrm>
            </p:grpSpPr>
            <p:sp>
              <p:nvSpPr>
                <p:cNvPr id="18356" name="Freeform: Shape 18355">
                  <a:extLst>
                    <a:ext uri="{FF2B5EF4-FFF2-40B4-BE49-F238E27FC236}">
                      <a16:creationId xmlns:a16="http://schemas.microsoft.com/office/drawing/2014/main" id="{55332542-F8B6-5DD2-216D-D6F42CF564D2}"/>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7" name="Freeform: Shape 18356">
                  <a:extLst>
                    <a:ext uri="{FF2B5EF4-FFF2-40B4-BE49-F238E27FC236}">
                      <a16:creationId xmlns:a16="http://schemas.microsoft.com/office/drawing/2014/main" id="{FB9AFE1F-9B94-E642-E6DD-D8E9ACC55ECE}"/>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3" name="Graphic 2151">
                <a:extLst>
                  <a:ext uri="{FF2B5EF4-FFF2-40B4-BE49-F238E27FC236}">
                    <a16:creationId xmlns:a16="http://schemas.microsoft.com/office/drawing/2014/main" id="{FDDC0D7A-8C03-A3D8-1FD6-2296AFC8D6D0}"/>
                  </a:ext>
                </a:extLst>
              </p:cNvPr>
              <p:cNvGrpSpPr/>
              <p:nvPr/>
            </p:nvGrpSpPr>
            <p:grpSpPr>
              <a:xfrm>
                <a:off x="5159501" y="3247072"/>
                <a:ext cx="75723" cy="75628"/>
                <a:chOff x="5159501" y="3247072"/>
                <a:chExt cx="75723" cy="75628"/>
              </a:xfrm>
            </p:grpSpPr>
            <p:sp>
              <p:nvSpPr>
                <p:cNvPr id="18354" name="Freeform: Shape 18353">
                  <a:extLst>
                    <a:ext uri="{FF2B5EF4-FFF2-40B4-BE49-F238E27FC236}">
                      <a16:creationId xmlns:a16="http://schemas.microsoft.com/office/drawing/2014/main" id="{A1F071E1-A741-3168-D7D7-6B67C39BEEDE}"/>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5" name="Freeform: Shape 18354">
                  <a:extLst>
                    <a:ext uri="{FF2B5EF4-FFF2-40B4-BE49-F238E27FC236}">
                      <a16:creationId xmlns:a16="http://schemas.microsoft.com/office/drawing/2014/main" id="{EA57134C-0DC7-C57A-137A-1D31F3411C6C}"/>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4" name="Graphic 2151">
                <a:extLst>
                  <a:ext uri="{FF2B5EF4-FFF2-40B4-BE49-F238E27FC236}">
                    <a16:creationId xmlns:a16="http://schemas.microsoft.com/office/drawing/2014/main" id="{6C1C5F81-0F02-A006-CFFF-34ABECE584DD}"/>
                  </a:ext>
                </a:extLst>
              </p:cNvPr>
              <p:cNvGrpSpPr/>
              <p:nvPr/>
            </p:nvGrpSpPr>
            <p:grpSpPr>
              <a:xfrm>
                <a:off x="5179123" y="3264027"/>
                <a:ext cx="75723" cy="75723"/>
                <a:chOff x="5179123" y="3264027"/>
                <a:chExt cx="75723" cy="75723"/>
              </a:xfrm>
            </p:grpSpPr>
            <p:sp>
              <p:nvSpPr>
                <p:cNvPr id="18352" name="Freeform: Shape 18351">
                  <a:extLst>
                    <a:ext uri="{FF2B5EF4-FFF2-40B4-BE49-F238E27FC236}">
                      <a16:creationId xmlns:a16="http://schemas.microsoft.com/office/drawing/2014/main" id="{B85980EF-1E27-E19A-CB77-BA855593A6AB}"/>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3" name="Freeform: Shape 18352">
                  <a:extLst>
                    <a:ext uri="{FF2B5EF4-FFF2-40B4-BE49-F238E27FC236}">
                      <a16:creationId xmlns:a16="http://schemas.microsoft.com/office/drawing/2014/main" id="{C9AE9B35-FC2F-F5D9-3208-4D282F312B35}"/>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5" name="Graphic 2151">
                <a:extLst>
                  <a:ext uri="{FF2B5EF4-FFF2-40B4-BE49-F238E27FC236}">
                    <a16:creationId xmlns:a16="http://schemas.microsoft.com/office/drawing/2014/main" id="{11982187-FAD3-79DC-F028-0DCA5C968795}"/>
                  </a:ext>
                </a:extLst>
              </p:cNvPr>
              <p:cNvGrpSpPr/>
              <p:nvPr/>
            </p:nvGrpSpPr>
            <p:grpSpPr>
              <a:xfrm>
                <a:off x="5611843" y="3463194"/>
                <a:ext cx="75723" cy="75723"/>
                <a:chOff x="5611843" y="3463194"/>
                <a:chExt cx="75723" cy="75723"/>
              </a:xfrm>
            </p:grpSpPr>
            <p:sp>
              <p:nvSpPr>
                <p:cNvPr id="18350" name="Freeform: Shape 18349">
                  <a:extLst>
                    <a:ext uri="{FF2B5EF4-FFF2-40B4-BE49-F238E27FC236}">
                      <a16:creationId xmlns:a16="http://schemas.microsoft.com/office/drawing/2014/main" id="{1599CE62-33CB-781C-9612-306FCCE6B137}"/>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51" name="Freeform: Shape 18350">
                  <a:extLst>
                    <a:ext uri="{FF2B5EF4-FFF2-40B4-BE49-F238E27FC236}">
                      <a16:creationId xmlns:a16="http://schemas.microsoft.com/office/drawing/2014/main" id="{057F0A9F-E285-81EB-AD2E-FDD073AEBD60}"/>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6" name="Graphic 2151">
                <a:extLst>
                  <a:ext uri="{FF2B5EF4-FFF2-40B4-BE49-F238E27FC236}">
                    <a16:creationId xmlns:a16="http://schemas.microsoft.com/office/drawing/2014/main" id="{4CBBD651-69ED-41DF-6ED2-41FD5AA280F9}"/>
                  </a:ext>
                </a:extLst>
              </p:cNvPr>
              <p:cNvGrpSpPr/>
              <p:nvPr/>
            </p:nvGrpSpPr>
            <p:grpSpPr>
              <a:xfrm>
                <a:off x="5622226" y="3463194"/>
                <a:ext cx="75723" cy="75723"/>
                <a:chOff x="5622226" y="3463194"/>
                <a:chExt cx="75723" cy="75723"/>
              </a:xfrm>
            </p:grpSpPr>
            <p:sp>
              <p:nvSpPr>
                <p:cNvPr id="18348" name="Freeform: Shape 18347">
                  <a:extLst>
                    <a:ext uri="{FF2B5EF4-FFF2-40B4-BE49-F238E27FC236}">
                      <a16:creationId xmlns:a16="http://schemas.microsoft.com/office/drawing/2014/main" id="{C29FCC55-4993-A3C3-7027-3407F3A57583}"/>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9" name="Freeform: Shape 18348">
                  <a:extLst>
                    <a:ext uri="{FF2B5EF4-FFF2-40B4-BE49-F238E27FC236}">
                      <a16:creationId xmlns:a16="http://schemas.microsoft.com/office/drawing/2014/main" id="{89A00B7C-F96F-2CF2-43FF-9E2C64102397}"/>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7" name="Graphic 2151">
                <a:extLst>
                  <a:ext uri="{FF2B5EF4-FFF2-40B4-BE49-F238E27FC236}">
                    <a16:creationId xmlns:a16="http://schemas.microsoft.com/office/drawing/2014/main" id="{59DA0A1B-9063-6823-CC0B-B6F165874A97}"/>
                  </a:ext>
                </a:extLst>
              </p:cNvPr>
              <p:cNvGrpSpPr/>
              <p:nvPr/>
            </p:nvGrpSpPr>
            <p:grpSpPr>
              <a:xfrm>
                <a:off x="5632513" y="3463194"/>
                <a:ext cx="75723" cy="75723"/>
                <a:chOff x="5632513" y="3463194"/>
                <a:chExt cx="75723" cy="75723"/>
              </a:xfrm>
            </p:grpSpPr>
            <p:sp>
              <p:nvSpPr>
                <p:cNvPr id="18346" name="Freeform: Shape 18345">
                  <a:extLst>
                    <a:ext uri="{FF2B5EF4-FFF2-40B4-BE49-F238E27FC236}">
                      <a16:creationId xmlns:a16="http://schemas.microsoft.com/office/drawing/2014/main" id="{FB8703CD-04B1-FD6A-DDAE-4C1D466E548C}"/>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7" name="Freeform: Shape 18346">
                  <a:extLst>
                    <a:ext uri="{FF2B5EF4-FFF2-40B4-BE49-F238E27FC236}">
                      <a16:creationId xmlns:a16="http://schemas.microsoft.com/office/drawing/2014/main" id="{85E1988C-3F6E-BC3C-BF8F-76C56BDBF262}"/>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8" name="Graphic 2151">
                <a:extLst>
                  <a:ext uri="{FF2B5EF4-FFF2-40B4-BE49-F238E27FC236}">
                    <a16:creationId xmlns:a16="http://schemas.microsoft.com/office/drawing/2014/main" id="{741D52F2-5713-4812-B1A5-B3E91879A705}"/>
                  </a:ext>
                </a:extLst>
              </p:cNvPr>
              <p:cNvGrpSpPr/>
              <p:nvPr/>
            </p:nvGrpSpPr>
            <p:grpSpPr>
              <a:xfrm>
                <a:off x="6254781" y="3692747"/>
                <a:ext cx="75723" cy="75628"/>
                <a:chOff x="6254781" y="3692747"/>
                <a:chExt cx="75723" cy="75628"/>
              </a:xfrm>
            </p:grpSpPr>
            <p:sp>
              <p:nvSpPr>
                <p:cNvPr id="18344" name="Freeform: Shape 18343">
                  <a:extLst>
                    <a:ext uri="{FF2B5EF4-FFF2-40B4-BE49-F238E27FC236}">
                      <a16:creationId xmlns:a16="http://schemas.microsoft.com/office/drawing/2014/main" id="{24144B7E-158C-70D7-EFB4-52D299A1F79C}"/>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5" name="Freeform: Shape 18344">
                  <a:extLst>
                    <a:ext uri="{FF2B5EF4-FFF2-40B4-BE49-F238E27FC236}">
                      <a16:creationId xmlns:a16="http://schemas.microsoft.com/office/drawing/2014/main" id="{9E182512-5B8C-BFD5-16C1-2DDC6BCAC396}"/>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29" name="Graphic 2151">
                <a:extLst>
                  <a:ext uri="{FF2B5EF4-FFF2-40B4-BE49-F238E27FC236}">
                    <a16:creationId xmlns:a16="http://schemas.microsoft.com/office/drawing/2014/main" id="{6A07549C-F653-56AF-1FF4-057B1A98810B}"/>
                  </a:ext>
                </a:extLst>
              </p:cNvPr>
              <p:cNvGrpSpPr/>
              <p:nvPr/>
            </p:nvGrpSpPr>
            <p:grpSpPr>
              <a:xfrm>
                <a:off x="6272116" y="3692747"/>
                <a:ext cx="75723" cy="75628"/>
                <a:chOff x="6272116" y="3692747"/>
                <a:chExt cx="75723" cy="75628"/>
              </a:xfrm>
            </p:grpSpPr>
            <p:sp>
              <p:nvSpPr>
                <p:cNvPr id="18342" name="Freeform: Shape 18341">
                  <a:extLst>
                    <a:ext uri="{FF2B5EF4-FFF2-40B4-BE49-F238E27FC236}">
                      <a16:creationId xmlns:a16="http://schemas.microsoft.com/office/drawing/2014/main" id="{DA79CA49-A9FE-563E-C471-A3C3D78FAF1C}"/>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3" name="Freeform: Shape 18342">
                  <a:extLst>
                    <a:ext uri="{FF2B5EF4-FFF2-40B4-BE49-F238E27FC236}">
                      <a16:creationId xmlns:a16="http://schemas.microsoft.com/office/drawing/2014/main" id="{41764051-C49E-FD99-9418-D4417591FC1A}"/>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30" name="Graphic 2151">
                <a:extLst>
                  <a:ext uri="{FF2B5EF4-FFF2-40B4-BE49-F238E27FC236}">
                    <a16:creationId xmlns:a16="http://schemas.microsoft.com/office/drawing/2014/main" id="{DAAE1041-9ECF-8EB0-4EB3-970016F446E5}"/>
                  </a:ext>
                </a:extLst>
              </p:cNvPr>
              <p:cNvGrpSpPr/>
              <p:nvPr/>
            </p:nvGrpSpPr>
            <p:grpSpPr>
              <a:xfrm>
                <a:off x="6479761" y="3743515"/>
                <a:ext cx="75723" cy="75628"/>
                <a:chOff x="6479761" y="3743515"/>
                <a:chExt cx="75723" cy="75628"/>
              </a:xfrm>
            </p:grpSpPr>
            <p:sp>
              <p:nvSpPr>
                <p:cNvPr id="18340" name="Freeform: Shape 18339">
                  <a:extLst>
                    <a:ext uri="{FF2B5EF4-FFF2-40B4-BE49-F238E27FC236}">
                      <a16:creationId xmlns:a16="http://schemas.microsoft.com/office/drawing/2014/main" id="{E8C7BF0E-BCC4-AB55-3DC6-44D38F710994}"/>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41" name="Freeform: Shape 18340">
                  <a:extLst>
                    <a:ext uri="{FF2B5EF4-FFF2-40B4-BE49-F238E27FC236}">
                      <a16:creationId xmlns:a16="http://schemas.microsoft.com/office/drawing/2014/main" id="{F6DDF8B0-0D5C-FC59-EC66-6DA3FA853F7A}"/>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31" name="Graphic 2151">
                <a:extLst>
                  <a:ext uri="{FF2B5EF4-FFF2-40B4-BE49-F238E27FC236}">
                    <a16:creationId xmlns:a16="http://schemas.microsoft.com/office/drawing/2014/main" id="{6D81A2BB-415C-B2D3-3C94-2F0D27C82974}"/>
                  </a:ext>
                </a:extLst>
              </p:cNvPr>
              <p:cNvGrpSpPr/>
              <p:nvPr/>
            </p:nvGrpSpPr>
            <p:grpSpPr>
              <a:xfrm>
                <a:off x="6465188" y="3743515"/>
                <a:ext cx="75723" cy="75628"/>
                <a:chOff x="6465188" y="3743515"/>
                <a:chExt cx="75723" cy="75628"/>
              </a:xfrm>
            </p:grpSpPr>
            <p:sp>
              <p:nvSpPr>
                <p:cNvPr id="18338" name="Freeform: Shape 18337">
                  <a:extLst>
                    <a:ext uri="{FF2B5EF4-FFF2-40B4-BE49-F238E27FC236}">
                      <a16:creationId xmlns:a16="http://schemas.microsoft.com/office/drawing/2014/main" id="{3055BC1C-E196-58D4-7A48-EB0FD17BB8E8}"/>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9" name="Freeform: Shape 18338">
                  <a:extLst>
                    <a:ext uri="{FF2B5EF4-FFF2-40B4-BE49-F238E27FC236}">
                      <a16:creationId xmlns:a16="http://schemas.microsoft.com/office/drawing/2014/main" id="{38C25EB3-4781-A00E-E33E-7E4DE86D5894}"/>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32" name="Graphic 2151">
                <a:extLst>
                  <a:ext uri="{FF2B5EF4-FFF2-40B4-BE49-F238E27FC236}">
                    <a16:creationId xmlns:a16="http://schemas.microsoft.com/office/drawing/2014/main" id="{4C326E07-AC2C-82A1-FDA2-79336FAEAF73}"/>
                  </a:ext>
                </a:extLst>
              </p:cNvPr>
              <p:cNvGrpSpPr/>
              <p:nvPr/>
            </p:nvGrpSpPr>
            <p:grpSpPr>
              <a:xfrm>
                <a:off x="7340059" y="3841337"/>
                <a:ext cx="75723" cy="75723"/>
                <a:chOff x="7340059" y="3841337"/>
                <a:chExt cx="75723" cy="75723"/>
              </a:xfrm>
            </p:grpSpPr>
            <p:sp>
              <p:nvSpPr>
                <p:cNvPr id="18336" name="Freeform: Shape 18335">
                  <a:extLst>
                    <a:ext uri="{FF2B5EF4-FFF2-40B4-BE49-F238E27FC236}">
                      <a16:creationId xmlns:a16="http://schemas.microsoft.com/office/drawing/2014/main" id="{F12D424E-E815-9884-22AE-AC234E6B64C6}"/>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7" name="Freeform: Shape 18336">
                  <a:extLst>
                    <a:ext uri="{FF2B5EF4-FFF2-40B4-BE49-F238E27FC236}">
                      <a16:creationId xmlns:a16="http://schemas.microsoft.com/office/drawing/2014/main" id="{E4DBAC6D-045E-15B4-2F15-AAA3B373B3BD}"/>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333" name="Graphic 2151">
                <a:extLst>
                  <a:ext uri="{FF2B5EF4-FFF2-40B4-BE49-F238E27FC236}">
                    <a16:creationId xmlns:a16="http://schemas.microsoft.com/office/drawing/2014/main" id="{C5E36FA1-A131-29BC-195A-001933C88250}"/>
                  </a:ext>
                </a:extLst>
              </p:cNvPr>
              <p:cNvGrpSpPr/>
              <p:nvPr/>
            </p:nvGrpSpPr>
            <p:grpSpPr>
              <a:xfrm>
                <a:off x="7353490" y="3841337"/>
                <a:ext cx="75628" cy="75723"/>
                <a:chOff x="7353490" y="3841337"/>
                <a:chExt cx="75628" cy="75723"/>
              </a:xfrm>
            </p:grpSpPr>
            <p:sp>
              <p:nvSpPr>
                <p:cNvPr id="18334" name="Freeform: Shape 18333">
                  <a:extLst>
                    <a:ext uri="{FF2B5EF4-FFF2-40B4-BE49-F238E27FC236}">
                      <a16:creationId xmlns:a16="http://schemas.microsoft.com/office/drawing/2014/main" id="{EA45107F-0CA3-7F6A-D5D0-03E46AD09E8A}"/>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335" name="Freeform: Shape 18334">
                  <a:extLst>
                    <a:ext uri="{FF2B5EF4-FFF2-40B4-BE49-F238E27FC236}">
                      <a16:creationId xmlns:a16="http://schemas.microsoft.com/office/drawing/2014/main" id="{C595CDD0-3359-C2D1-1B97-74FE4B2B093B}"/>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275" name="Freeform: Shape 18274">
              <a:extLst>
                <a:ext uri="{FF2B5EF4-FFF2-40B4-BE49-F238E27FC236}">
                  <a16:creationId xmlns:a16="http://schemas.microsoft.com/office/drawing/2014/main" id="{5A4DE1DC-7CBC-C607-74B9-B2384E445855}"/>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27" name="Group 16826">
            <a:extLst>
              <a:ext uri="{FF2B5EF4-FFF2-40B4-BE49-F238E27FC236}">
                <a16:creationId xmlns:a16="http://schemas.microsoft.com/office/drawing/2014/main" id="{F1A5A85E-648E-2739-0B4D-7B9070265BF8}"/>
              </a:ext>
            </a:extLst>
          </p:cNvPr>
          <p:cNvGrpSpPr/>
          <p:nvPr/>
        </p:nvGrpSpPr>
        <p:grpSpPr>
          <a:xfrm>
            <a:off x="644389" y="1431150"/>
            <a:ext cx="6925055" cy="2062527"/>
            <a:chOff x="3467100" y="2552700"/>
            <a:chExt cx="5257513" cy="1752409"/>
          </a:xfrm>
        </p:grpSpPr>
        <p:sp>
          <p:nvSpPr>
            <p:cNvPr id="16828" name="Freeform: Shape 16827">
              <a:extLst>
                <a:ext uri="{FF2B5EF4-FFF2-40B4-BE49-F238E27FC236}">
                  <a16:creationId xmlns:a16="http://schemas.microsoft.com/office/drawing/2014/main" id="{2211859F-C202-85DB-5733-2A03F0FEAAA3}"/>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6829" name="Graphic 112">
              <a:extLst>
                <a:ext uri="{FF2B5EF4-FFF2-40B4-BE49-F238E27FC236}">
                  <a16:creationId xmlns:a16="http://schemas.microsoft.com/office/drawing/2014/main" id="{84F30DA0-2D27-8DDB-E841-B939B0AAE5E6}"/>
                </a:ext>
              </a:extLst>
            </p:cNvPr>
            <p:cNvGrpSpPr/>
            <p:nvPr/>
          </p:nvGrpSpPr>
          <p:grpSpPr>
            <a:xfrm>
              <a:off x="3467100" y="2552700"/>
              <a:ext cx="75723" cy="75723"/>
              <a:chOff x="3467100" y="2552700"/>
              <a:chExt cx="75723" cy="75723"/>
            </a:xfrm>
          </p:grpSpPr>
          <p:sp>
            <p:nvSpPr>
              <p:cNvPr id="17151" name="Freeform: Shape 17150">
                <a:extLst>
                  <a:ext uri="{FF2B5EF4-FFF2-40B4-BE49-F238E27FC236}">
                    <a16:creationId xmlns:a16="http://schemas.microsoft.com/office/drawing/2014/main" id="{A382ACCF-1E80-ABA1-F4BA-CE16A183B967}"/>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2" name="Freeform: Shape 17151">
                <a:extLst>
                  <a:ext uri="{FF2B5EF4-FFF2-40B4-BE49-F238E27FC236}">
                    <a16:creationId xmlns:a16="http://schemas.microsoft.com/office/drawing/2014/main" id="{D081371C-F4C4-BF8B-7A09-28B118FB8E76}"/>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0" name="Graphic 112">
              <a:extLst>
                <a:ext uri="{FF2B5EF4-FFF2-40B4-BE49-F238E27FC236}">
                  <a16:creationId xmlns:a16="http://schemas.microsoft.com/office/drawing/2014/main" id="{0A967E2E-C29F-DD3D-4E99-3F9C424AEF71}"/>
                </a:ext>
              </a:extLst>
            </p:cNvPr>
            <p:cNvGrpSpPr/>
            <p:nvPr/>
          </p:nvGrpSpPr>
          <p:grpSpPr>
            <a:xfrm>
              <a:off x="3935920" y="2766726"/>
              <a:ext cx="75723" cy="75628"/>
              <a:chOff x="3935920" y="2766726"/>
              <a:chExt cx="75723" cy="75628"/>
            </a:xfrm>
          </p:grpSpPr>
          <p:sp>
            <p:nvSpPr>
              <p:cNvPr id="17149" name="Freeform: Shape 17148">
                <a:extLst>
                  <a:ext uri="{FF2B5EF4-FFF2-40B4-BE49-F238E27FC236}">
                    <a16:creationId xmlns:a16="http://schemas.microsoft.com/office/drawing/2014/main" id="{F0AFC45B-876F-A0C6-8274-C86BD6EABD1D}"/>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0" name="Freeform: Shape 17149">
                <a:extLst>
                  <a:ext uri="{FF2B5EF4-FFF2-40B4-BE49-F238E27FC236}">
                    <a16:creationId xmlns:a16="http://schemas.microsoft.com/office/drawing/2014/main" id="{BFF54A80-52BF-F984-E77B-F859DBA73DAF}"/>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1" name="Graphic 112">
              <a:extLst>
                <a:ext uri="{FF2B5EF4-FFF2-40B4-BE49-F238E27FC236}">
                  <a16:creationId xmlns:a16="http://schemas.microsoft.com/office/drawing/2014/main" id="{AB573660-EBC8-600A-7B90-2E9BDE2B09B5}"/>
                </a:ext>
              </a:extLst>
            </p:cNvPr>
            <p:cNvGrpSpPr/>
            <p:nvPr/>
          </p:nvGrpSpPr>
          <p:grpSpPr>
            <a:xfrm>
              <a:off x="3901440" y="2766726"/>
              <a:ext cx="75723" cy="75628"/>
              <a:chOff x="3901440" y="2766726"/>
              <a:chExt cx="75723" cy="75628"/>
            </a:xfrm>
          </p:grpSpPr>
          <p:sp>
            <p:nvSpPr>
              <p:cNvPr id="17147" name="Freeform: Shape 17146">
                <a:extLst>
                  <a:ext uri="{FF2B5EF4-FFF2-40B4-BE49-F238E27FC236}">
                    <a16:creationId xmlns:a16="http://schemas.microsoft.com/office/drawing/2014/main" id="{7D490D0D-AD19-521A-F0F1-7B41A6A70419}"/>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8" name="Freeform: Shape 17147">
                <a:extLst>
                  <a:ext uri="{FF2B5EF4-FFF2-40B4-BE49-F238E27FC236}">
                    <a16:creationId xmlns:a16="http://schemas.microsoft.com/office/drawing/2014/main" id="{6D72C12B-E833-4389-FF14-3DB0D9986623}"/>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2" name="Graphic 112">
              <a:extLst>
                <a:ext uri="{FF2B5EF4-FFF2-40B4-BE49-F238E27FC236}">
                  <a16:creationId xmlns:a16="http://schemas.microsoft.com/office/drawing/2014/main" id="{167E0D06-F022-B0C5-4E83-47A0B5FDE193}"/>
                </a:ext>
              </a:extLst>
            </p:cNvPr>
            <p:cNvGrpSpPr/>
            <p:nvPr/>
          </p:nvGrpSpPr>
          <p:grpSpPr>
            <a:xfrm>
              <a:off x="4510373" y="3098673"/>
              <a:ext cx="75628" cy="75723"/>
              <a:chOff x="4510373" y="3098673"/>
              <a:chExt cx="75628" cy="75723"/>
            </a:xfrm>
          </p:grpSpPr>
          <p:sp>
            <p:nvSpPr>
              <p:cNvPr id="17145" name="Freeform: Shape 17144">
                <a:extLst>
                  <a:ext uri="{FF2B5EF4-FFF2-40B4-BE49-F238E27FC236}">
                    <a16:creationId xmlns:a16="http://schemas.microsoft.com/office/drawing/2014/main" id="{7BEEED95-3EE6-451E-C127-4F618EFD852B}"/>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6" name="Freeform: Shape 17145">
                <a:extLst>
                  <a:ext uri="{FF2B5EF4-FFF2-40B4-BE49-F238E27FC236}">
                    <a16:creationId xmlns:a16="http://schemas.microsoft.com/office/drawing/2014/main" id="{F56C770C-3EF0-50C7-FEC2-86C7B4E513E9}"/>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3" name="Graphic 112">
              <a:extLst>
                <a:ext uri="{FF2B5EF4-FFF2-40B4-BE49-F238E27FC236}">
                  <a16:creationId xmlns:a16="http://schemas.microsoft.com/office/drawing/2014/main" id="{6BA6473C-2CBD-19E4-40E2-588CCE216705}"/>
                </a:ext>
              </a:extLst>
            </p:cNvPr>
            <p:cNvGrpSpPr/>
            <p:nvPr/>
          </p:nvGrpSpPr>
          <p:grpSpPr>
            <a:xfrm>
              <a:off x="4693920" y="3164776"/>
              <a:ext cx="75723" cy="75628"/>
              <a:chOff x="4693920" y="3164776"/>
              <a:chExt cx="75723" cy="75628"/>
            </a:xfrm>
          </p:grpSpPr>
          <p:sp>
            <p:nvSpPr>
              <p:cNvPr id="17143" name="Freeform: Shape 17142">
                <a:extLst>
                  <a:ext uri="{FF2B5EF4-FFF2-40B4-BE49-F238E27FC236}">
                    <a16:creationId xmlns:a16="http://schemas.microsoft.com/office/drawing/2014/main" id="{B738293C-A2A1-2848-3896-233A3E0E5BA6}"/>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4" name="Freeform: Shape 17143">
                <a:extLst>
                  <a:ext uri="{FF2B5EF4-FFF2-40B4-BE49-F238E27FC236}">
                    <a16:creationId xmlns:a16="http://schemas.microsoft.com/office/drawing/2014/main" id="{EEFFBDF4-A517-E3C6-C6D3-B820B5BEF1F6}"/>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4" name="Graphic 112">
              <a:extLst>
                <a:ext uri="{FF2B5EF4-FFF2-40B4-BE49-F238E27FC236}">
                  <a16:creationId xmlns:a16="http://schemas.microsoft.com/office/drawing/2014/main" id="{FAA9533D-8920-F576-C168-84D6BF56C7DB}"/>
                </a:ext>
              </a:extLst>
            </p:cNvPr>
            <p:cNvGrpSpPr/>
            <p:nvPr/>
          </p:nvGrpSpPr>
          <p:grpSpPr>
            <a:xfrm>
              <a:off x="4786407" y="3343465"/>
              <a:ext cx="75628" cy="75723"/>
              <a:chOff x="4786407" y="3343465"/>
              <a:chExt cx="75628" cy="75723"/>
            </a:xfrm>
          </p:grpSpPr>
          <p:sp>
            <p:nvSpPr>
              <p:cNvPr id="17141" name="Freeform: Shape 17140">
                <a:extLst>
                  <a:ext uri="{FF2B5EF4-FFF2-40B4-BE49-F238E27FC236}">
                    <a16:creationId xmlns:a16="http://schemas.microsoft.com/office/drawing/2014/main" id="{006C40EE-E947-CC59-6E8D-4F2E9649DDC7}"/>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2" name="Freeform: Shape 17141">
                <a:extLst>
                  <a:ext uri="{FF2B5EF4-FFF2-40B4-BE49-F238E27FC236}">
                    <a16:creationId xmlns:a16="http://schemas.microsoft.com/office/drawing/2014/main" id="{EBFDCF9C-B85E-B095-BDCD-8418913ABC46}"/>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5" name="Graphic 112">
              <a:extLst>
                <a:ext uri="{FF2B5EF4-FFF2-40B4-BE49-F238E27FC236}">
                  <a16:creationId xmlns:a16="http://schemas.microsoft.com/office/drawing/2014/main" id="{57DECE46-8300-4D72-E6C4-4F5625F6D02C}"/>
                </a:ext>
              </a:extLst>
            </p:cNvPr>
            <p:cNvGrpSpPr/>
            <p:nvPr/>
          </p:nvGrpSpPr>
          <p:grpSpPr>
            <a:xfrm>
              <a:off x="5238654" y="3598830"/>
              <a:ext cx="75628" cy="75723"/>
              <a:chOff x="5238654" y="3598830"/>
              <a:chExt cx="75628" cy="75723"/>
            </a:xfrm>
          </p:grpSpPr>
          <p:sp>
            <p:nvSpPr>
              <p:cNvPr id="17139" name="Freeform: Shape 17138">
                <a:extLst>
                  <a:ext uri="{FF2B5EF4-FFF2-40B4-BE49-F238E27FC236}">
                    <a16:creationId xmlns:a16="http://schemas.microsoft.com/office/drawing/2014/main" id="{9A67EBD2-4644-9308-A242-0055D9986A5F}"/>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0" name="Freeform: Shape 17139">
                <a:extLst>
                  <a:ext uri="{FF2B5EF4-FFF2-40B4-BE49-F238E27FC236}">
                    <a16:creationId xmlns:a16="http://schemas.microsoft.com/office/drawing/2014/main" id="{663892AE-E55F-2EDC-2C60-2C3C181F8ED4}"/>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6" name="Graphic 112">
              <a:extLst>
                <a:ext uri="{FF2B5EF4-FFF2-40B4-BE49-F238E27FC236}">
                  <a16:creationId xmlns:a16="http://schemas.microsoft.com/office/drawing/2014/main" id="{86354F91-0A15-463E-A7E2-F01F80AD1DAD}"/>
                </a:ext>
              </a:extLst>
            </p:cNvPr>
            <p:cNvGrpSpPr/>
            <p:nvPr/>
          </p:nvGrpSpPr>
          <p:grpSpPr>
            <a:xfrm>
              <a:off x="5690330" y="3775138"/>
              <a:ext cx="75723" cy="75723"/>
              <a:chOff x="5690330" y="3775138"/>
              <a:chExt cx="75723" cy="75723"/>
            </a:xfrm>
          </p:grpSpPr>
          <p:sp>
            <p:nvSpPr>
              <p:cNvPr id="17137" name="Freeform: Shape 17136">
                <a:extLst>
                  <a:ext uri="{FF2B5EF4-FFF2-40B4-BE49-F238E27FC236}">
                    <a16:creationId xmlns:a16="http://schemas.microsoft.com/office/drawing/2014/main" id="{A5382CAD-E4A9-18DA-8AB6-235C4ECEBF37}"/>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8" name="Freeform: Shape 17137">
                <a:extLst>
                  <a:ext uri="{FF2B5EF4-FFF2-40B4-BE49-F238E27FC236}">
                    <a16:creationId xmlns:a16="http://schemas.microsoft.com/office/drawing/2014/main" id="{D1D9BE25-4C42-2FA0-54D7-F5C88A2CE60D}"/>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7" name="Graphic 112">
              <a:extLst>
                <a:ext uri="{FF2B5EF4-FFF2-40B4-BE49-F238E27FC236}">
                  <a16:creationId xmlns:a16="http://schemas.microsoft.com/office/drawing/2014/main" id="{DC2E3EC1-A7B8-337E-47B9-BAC3595995B7}"/>
                </a:ext>
              </a:extLst>
            </p:cNvPr>
            <p:cNvGrpSpPr/>
            <p:nvPr/>
          </p:nvGrpSpPr>
          <p:grpSpPr>
            <a:xfrm>
              <a:off x="5902547" y="3795522"/>
              <a:ext cx="75628" cy="75723"/>
              <a:chOff x="5902547" y="3795522"/>
              <a:chExt cx="75628" cy="75723"/>
            </a:xfrm>
          </p:grpSpPr>
          <p:sp>
            <p:nvSpPr>
              <p:cNvPr id="17135" name="Freeform: Shape 17134">
                <a:extLst>
                  <a:ext uri="{FF2B5EF4-FFF2-40B4-BE49-F238E27FC236}">
                    <a16:creationId xmlns:a16="http://schemas.microsoft.com/office/drawing/2014/main" id="{C1650917-B48F-04E8-26F8-02CF9BCEB2D1}"/>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6" name="Freeform: Shape 17135">
                <a:extLst>
                  <a:ext uri="{FF2B5EF4-FFF2-40B4-BE49-F238E27FC236}">
                    <a16:creationId xmlns:a16="http://schemas.microsoft.com/office/drawing/2014/main" id="{3E18FB4E-64E6-50AA-FB28-5D08420075AD}"/>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8" name="Graphic 112">
              <a:extLst>
                <a:ext uri="{FF2B5EF4-FFF2-40B4-BE49-F238E27FC236}">
                  <a16:creationId xmlns:a16="http://schemas.microsoft.com/office/drawing/2014/main" id="{E4E34388-FDAC-EBE0-8125-06995AE3B660}"/>
                </a:ext>
              </a:extLst>
            </p:cNvPr>
            <p:cNvGrpSpPr/>
            <p:nvPr/>
          </p:nvGrpSpPr>
          <p:grpSpPr>
            <a:xfrm>
              <a:off x="6217443" y="3898296"/>
              <a:ext cx="75723" cy="75628"/>
              <a:chOff x="6217443" y="3898296"/>
              <a:chExt cx="75723" cy="75628"/>
            </a:xfrm>
          </p:grpSpPr>
          <p:sp>
            <p:nvSpPr>
              <p:cNvPr id="17133" name="Freeform: Shape 17132">
                <a:extLst>
                  <a:ext uri="{FF2B5EF4-FFF2-40B4-BE49-F238E27FC236}">
                    <a16:creationId xmlns:a16="http://schemas.microsoft.com/office/drawing/2014/main" id="{7B64A2E6-EF3A-988F-D4DE-947E25B5F90B}"/>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4" name="Freeform: Shape 17133">
                <a:extLst>
                  <a:ext uri="{FF2B5EF4-FFF2-40B4-BE49-F238E27FC236}">
                    <a16:creationId xmlns:a16="http://schemas.microsoft.com/office/drawing/2014/main" id="{1BF6C468-BA77-26AD-08EF-079D6C7B28C2}"/>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9" name="Graphic 112">
              <a:extLst>
                <a:ext uri="{FF2B5EF4-FFF2-40B4-BE49-F238E27FC236}">
                  <a16:creationId xmlns:a16="http://schemas.microsoft.com/office/drawing/2014/main" id="{20E9944F-DBB5-B8A0-60DE-76968F11CDC4}"/>
                </a:ext>
              </a:extLst>
            </p:cNvPr>
            <p:cNvGrpSpPr/>
            <p:nvPr/>
          </p:nvGrpSpPr>
          <p:grpSpPr>
            <a:xfrm>
              <a:off x="6334791" y="3909822"/>
              <a:ext cx="75723" cy="75723"/>
              <a:chOff x="6334791" y="3909822"/>
              <a:chExt cx="75723" cy="75723"/>
            </a:xfrm>
          </p:grpSpPr>
          <p:sp>
            <p:nvSpPr>
              <p:cNvPr id="17131" name="Freeform: Shape 17130">
                <a:extLst>
                  <a:ext uri="{FF2B5EF4-FFF2-40B4-BE49-F238E27FC236}">
                    <a16:creationId xmlns:a16="http://schemas.microsoft.com/office/drawing/2014/main" id="{97A9AB28-6D18-5FA7-BEDA-C1B926897345}"/>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2" name="Freeform: Shape 17131">
                <a:extLst>
                  <a:ext uri="{FF2B5EF4-FFF2-40B4-BE49-F238E27FC236}">
                    <a16:creationId xmlns:a16="http://schemas.microsoft.com/office/drawing/2014/main" id="{376E5188-1F8E-09F3-4F94-B6B882114C1D}"/>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0" name="Graphic 112">
              <a:extLst>
                <a:ext uri="{FF2B5EF4-FFF2-40B4-BE49-F238E27FC236}">
                  <a16:creationId xmlns:a16="http://schemas.microsoft.com/office/drawing/2014/main" id="{1DE39D14-ECD6-5CC4-798B-703704864347}"/>
                </a:ext>
              </a:extLst>
            </p:cNvPr>
            <p:cNvGrpSpPr/>
            <p:nvPr/>
          </p:nvGrpSpPr>
          <p:grpSpPr>
            <a:xfrm>
              <a:off x="6379749" y="3909822"/>
              <a:ext cx="75723" cy="75723"/>
              <a:chOff x="6379749" y="3909822"/>
              <a:chExt cx="75723" cy="75723"/>
            </a:xfrm>
          </p:grpSpPr>
          <p:sp>
            <p:nvSpPr>
              <p:cNvPr id="17129" name="Freeform: Shape 17128">
                <a:extLst>
                  <a:ext uri="{FF2B5EF4-FFF2-40B4-BE49-F238E27FC236}">
                    <a16:creationId xmlns:a16="http://schemas.microsoft.com/office/drawing/2014/main" id="{4891995B-9CC0-8D43-1E16-AC4FE47D30D1}"/>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0" name="Freeform: Shape 17129">
                <a:extLst>
                  <a:ext uri="{FF2B5EF4-FFF2-40B4-BE49-F238E27FC236}">
                    <a16:creationId xmlns:a16="http://schemas.microsoft.com/office/drawing/2014/main" id="{D0CDFE82-4D73-634D-1F32-D7D995AB409E}"/>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1" name="Graphic 112">
              <a:extLst>
                <a:ext uri="{FF2B5EF4-FFF2-40B4-BE49-F238E27FC236}">
                  <a16:creationId xmlns:a16="http://schemas.microsoft.com/office/drawing/2014/main" id="{1E08F47D-02C8-8264-DE1C-ADFD7EC4CEA1}"/>
                </a:ext>
              </a:extLst>
            </p:cNvPr>
            <p:cNvGrpSpPr/>
            <p:nvPr/>
          </p:nvGrpSpPr>
          <p:grpSpPr>
            <a:xfrm>
              <a:off x="6410515" y="3922585"/>
              <a:ext cx="75628" cy="75723"/>
              <a:chOff x="6410515" y="3922585"/>
              <a:chExt cx="75628" cy="75723"/>
            </a:xfrm>
          </p:grpSpPr>
          <p:sp>
            <p:nvSpPr>
              <p:cNvPr id="17127" name="Freeform: Shape 17126">
                <a:extLst>
                  <a:ext uri="{FF2B5EF4-FFF2-40B4-BE49-F238E27FC236}">
                    <a16:creationId xmlns:a16="http://schemas.microsoft.com/office/drawing/2014/main" id="{D6FF88D1-8E8D-9D76-8993-77E25FB05E15}"/>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8" name="Freeform: Shape 17127">
                <a:extLst>
                  <a:ext uri="{FF2B5EF4-FFF2-40B4-BE49-F238E27FC236}">
                    <a16:creationId xmlns:a16="http://schemas.microsoft.com/office/drawing/2014/main" id="{E0661659-357B-4E44-9BFD-3967A3ECC8B3}"/>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2" name="Graphic 112">
              <a:extLst>
                <a:ext uri="{FF2B5EF4-FFF2-40B4-BE49-F238E27FC236}">
                  <a16:creationId xmlns:a16="http://schemas.microsoft.com/office/drawing/2014/main" id="{802F725A-FA70-07F1-F352-851A27819BA5}"/>
                </a:ext>
              </a:extLst>
            </p:cNvPr>
            <p:cNvGrpSpPr/>
            <p:nvPr/>
          </p:nvGrpSpPr>
          <p:grpSpPr>
            <a:xfrm>
              <a:off x="6430232" y="3933539"/>
              <a:ext cx="75723" cy="75628"/>
              <a:chOff x="6430232" y="3933539"/>
              <a:chExt cx="75723" cy="75628"/>
            </a:xfrm>
          </p:grpSpPr>
          <p:sp>
            <p:nvSpPr>
              <p:cNvPr id="17125" name="Freeform: Shape 17124">
                <a:extLst>
                  <a:ext uri="{FF2B5EF4-FFF2-40B4-BE49-F238E27FC236}">
                    <a16:creationId xmlns:a16="http://schemas.microsoft.com/office/drawing/2014/main" id="{CE545F4D-2059-F4F6-832C-40600259CF8E}"/>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6" name="Freeform: Shape 17125">
                <a:extLst>
                  <a:ext uri="{FF2B5EF4-FFF2-40B4-BE49-F238E27FC236}">
                    <a16:creationId xmlns:a16="http://schemas.microsoft.com/office/drawing/2014/main" id="{B7B976C2-7956-22BB-72B4-EBF126C37C8D}"/>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3" name="Graphic 112">
              <a:extLst>
                <a:ext uri="{FF2B5EF4-FFF2-40B4-BE49-F238E27FC236}">
                  <a16:creationId xmlns:a16="http://schemas.microsoft.com/office/drawing/2014/main" id="{B766A76D-71AC-79DB-A33E-144D524DEED3}"/>
                </a:ext>
              </a:extLst>
            </p:cNvPr>
            <p:cNvGrpSpPr/>
            <p:nvPr/>
          </p:nvGrpSpPr>
          <p:grpSpPr>
            <a:xfrm>
              <a:off x="6450330" y="3947636"/>
              <a:ext cx="75628" cy="75723"/>
              <a:chOff x="6450330" y="3947636"/>
              <a:chExt cx="75628" cy="75723"/>
            </a:xfrm>
          </p:grpSpPr>
          <p:sp>
            <p:nvSpPr>
              <p:cNvPr id="17123" name="Freeform: Shape 17122">
                <a:extLst>
                  <a:ext uri="{FF2B5EF4-FFF2-40B4-BE49-F238E27FC236}">
                    <a16:creationId xmlns:a16="http://schemas.microsoft.com/office/drawing/2014/main" id="{03141CCB-81E5-75BE-9CE4-024897872B95}"/>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4" name="Freeform: Shape 17123">
                <a:extLst>
                  <a:ext uri="{FF2B5EF4-FFF2-40B4-BE49-F238E27FC236}">
                    <a16:creationId xmlns:a16="http://schemas.microsoft.com/office/drawing/2014/main" id="{C6BC34C8-A049-7654-FDEF-FD21D6160885}"/>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4" name="Graphic 112">
              <a:extLst>
                <a:ext uri="{FF2B5EF4-FFF2-40B4-BE49-F238E27FC236}">
                  <a16:creationId xmlns:a16="http://schemas.microsoft.com/office/drawing/2014/main" id="{AD1C4B91-BCF7-2CD4-6AC4-41CE2C6E36C5}"/>
                </a:ext>
              </a:extLst>
            </p:cNvPr>
            <p:cNvGrpSpPr/>
            <p:nvPr/>
          </p:nvGrpSpPr>
          <p:grpSpPr>
            <a:xfrm>
              <a:off x="6463665" y="3960399"/>
              <a:ext cx="75723" cy="75723"/>
              <a:chOff x="6463665" y="3960399"/>
              <a:chExt cx="75723" cy="75723"/>
            </a:xfrm>
          </p:grpSpPr>
          <p:sp>
            <p:nvSpPr>
              <p:cNvPr id="17121" name="Freeform: Shape 17120">
                <a:extLst>
                  <a:ext uri="{FF2B5EF4-FFF2-40B4-BE49-F238E27FC236}">
                    <a16:creationId xmlns:a16="http://schemas.microsoft.com/office/drawing/2014/main" id="{CF20B84A-56B0-4BA8-179B-4240FF875E2D}"/>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2" name="Freeform: Shape 17121">
                <a:extLst>
                  <a:ext uri="{FF2B5EF4-FFF2-40B4-BE49-F238E27FC236}">
                    <a16:creationId xmlns:a16="http://schemas.microsoft.com/office/drawing/2014/main" id="{8FB8F65B-CEAE-695F-10FB-4EE5D2055D61}"/>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5" name="Graphic 112">
              <a:extLst>
                <a:ext uri="{FF2B5EF4-FFF2-40B4-BE49-F238E27FC236}">
                  <a16:creationId xmlns:a16="http://schemas.microsoft.com/office/drawing/2014/main" id="{4DF4DB62-D6EB-5EB2-59CB-9FE44C8F4436}"/>
                </a:ext>
              </a:extLst>
            </p:cNvPr>
            <p:cNvGrpSpPr/>
            <p:nvPr/>
          </p:nvGrpSpPr>
          <p:grpSpPr>
            <a:xfrm>
              <a:off x="6520815" y="4015263"/>
              <a:ext cx="75723" cy="75723"/>
              <a:chOff x="6520815" y="4015263"/>
              <a:chExt cx="75723" cy="75723"/>
            </a:xfrm>
          </p:grpSpPr>
          <p:sp>
            <p:nvSpPr>
              <p:cNvPr id="17119" name="Freeform: Shape 17118">
                <a:extLst>
                  <a:ext uri="{FF2B5EF4-FFF2-40B4-BE49-F238E27FC236}">
                    <a16:creationId xmlns:a16="http://schemas.microsoft.com/office/drawing/2014/main" id="{18863887-B5B0-0FA3-408E-D73BA20FEB91}"/>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0" name="Freeform: Shape 17119">
                <a:extLst>
                  <a:ext uri="{FF2B5EF4-FFF2-40B4-BE49-F238E27FC236}">
                    <a16:creationId xmlns:a16="http://schemas.microsoft.com/office/drawing/2014/main" id="{21EF6787-1A4B-663F-98F2-CCFAC350634A}"/>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6" name="Graphic 112">
              <a:extLst>
                <a:ext uri="{FF2B5EF4-FFF2-40B4-BE49-F238E27FC236}">
                  <a16:creationId xmlns:a16="http://schemas.microsoft.com/office/drawing/2014/main" id="{7D126A91-D578-C811-4DA2-61ADB9ADA8AE}"/>
                </a:ext>
              </a:extLst>
            </p:cNvPr>
            <p:cNvGrpSpPr/>
            <p:nvPr/>
          </p:nvGrpSpPr>
          <p:grpSpPr>
            <a:xfrm>
              <a:off x="6771322" y="4036123"/>
              <a:ext cx="75723" cy="75723"/>
              <a:chOff x="6771322" y="4036123"/>
              <a:chExt cx="75723" cy="75723"/>
            </a:xfrm>
          </p:grpSpPr>
          <p:sp>
            <p:nvSpPr>
              <p:cNvPr id="17117" name="Freeform: Shape 17116">
                <a:extLst>
                  <a:ext uri="{FF2B5EF4-FFF2-40B4-BE49-F238E27FC236}">
                    <a16:creationId xmlns:a16="http://schemas.microsoft.com/office/drawing/2014/main" id="{EA5C6011-7F8A-0317-494C-019EECDDE297}"/>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8" name="Freeform: Shape 17117">
                <a:extLst>
                  <a:ext uri="{FF2B5EF4-FFF2-40B4-BE49-F238E27FC236}">
                    <a16:creationId xmlns:a16="http://schemas.microsoft.com/office/drawing/2014/main" id="{1BAD6173-7A3F-6309-C2AF-8CD450E1AB33}"/>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7" name="Graphic 112">
              <a:extLst>
                <a:ext uri="{FF2B5EF4-FFF2-40B4-BE49-F238E27FC236}">
                  <a16:creationId xmlns:a16="http://schemas.microsoft.com/office/drawing/2014/main" id="{02BFD38F-F232-DFAA-3C8B-173E2A2F2A14}"/>
                </a:ext>
              </a:extLst>
            </p:cNvPr>
            <p:cNvGrpSpPr/>
            <p:nvPr/>
          </p:nvGrpSpPr>
          <p:grpSpPr>
            <a:xfrm>
              <a:off x="6871620" y="4036123"/>
              <a:ext cx="75723" cy="75723"/>
              <a:chOff x="6871620" y="4036123"/>
              <a:chExt cx="75723" cy="75723"/>
            </a:xfrm>
          </p:grpSpPr>
          <p:sp>
            <p:nvSpPr>
              <p:cNvPr id="17115" name="Freeform: Shape 17114">
                <a:extLst>
                  <a:ext uri="{FF2B5EF4-FFF2-40B4-BE49-F238E27FC236}">
                    <a16:creationId xmlns:a16="http://schemas.microsoft.com/office/drawing/2014/main" id="{F1BEAD71-48E6-2CF1-ED57-653CC161E65A}"/>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6" name="Freeform: Shape 17115">
                <a:extLst>
                  <a:ext uri="{FF2B5EF4-FFF2-40B4-BE49-F238E27FC236}">
                    <a16:creationId xmlns:a16="http://schemas.microsoft.com/office/drawing/2014/main" id="{894E3C1B-9288-C5F4-833E-9FD44D533229}"/>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8" name="Graphic 112">
              <a:extLst>
                <a:ext uri="{FF2B5EF4-FFF2-40B4-BE49-F238E27FC236}">
                  <a16:creationId xmlns:a16="http://schemas.microsoft.com/office/drawing/2014/main" id="{D21201F7-61EB-A99B-0B0A-FE1FC27A56F0}"/>
                </a:ext>
              </a:extLst>
            </p:cNvPr>
            <p:cNvGrpSpPr/>
            <p:nvPr/>
          </p:nvGrpSpPr>
          <p:grpSpPr>
            <a:xfrm>
              <a:off x="6885051" y="4036123"/>
              <a:ext cx="75628" cy="75723"/>
              <a:chOff x="6885051" y="4036123"/>
              <a:chExt cx="75628" cy="75723"/>
            </a:xfrm>
          </p:grpSpPr>
          <p:sp>
            <p:nvSpPr>
              <p:cNvPr id="17113" name="Freeform: Shape 17112">
                <a:extLst>
                  <a:ext uri="{FF2B5EF4-FFF2-40B4-BE49-F238E27FC236}">
                    <a16:creationId xmlns:a16="http://schemas.microsoft.com/office/drawing/2014/main" id="{0B1969E8-B398-AB21-0E42-E88BB20AEC2A}"/>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4" name="Freeform: Shape 17113">
                <a:extLst>
                  <a:ext uri="{FF2B5EF4-FFF2-40B4-BE49-F238E27FC236}">
                    <a16:creationId xmlns:a16="http://schemas.microsoft.com/office/drawing/2014/main" id="{62EDC903-828D-EB39-F193-59D94CDA31A9}"/>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9" name="Graphic 112">
              <a:extLst>
                <a:ext uri="{FF2B5EF4-FFF2-40B4-BE49-F238E27FC236}">
                  <a16:creationId xmlns:a16="http://schemas.microsoft.com/office/drawing/2014/main" id="{2D0357D6-99F1-A4F9-885A-F9618E75DBE8}"/>
                </a:ext>
              </a:extLst>
            </p:cNvPr>
            <p:cNvGrpSpPr/>
            <p:nvPr/>
          </p:nvGrpSpPr>
          <p:grpSpPr>
            <a:xfrm>
              <a:off x="7015353" y="4135183"/>
              <a:ext cx="75628" cy="75723"/>
              <a:chOff x="7015353" y="4135183"/>
              <a:chExt cx="75628" cy="75723"/>
            </a:xfrm>
          </p:grpSpPr>
          <p:sp>
            <p:nvSpPr>
              <p:cNvPr id="17111" name="Freeform: Shape 17110">
                <a:extLst>
                  <a:ext uri="{FF2B5EF4-FFF2-40B4-BE49-F238E27FC236}">
                    <a16:creationId xmlns:a16="http://schemas.microsoft.com/office/drawing/2014/main" id="{C1B791FF-02CF-6DB9-1D1F-5E6D7C1FD6B4}"/>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2" name="Freeform: Shape 17111">
                <a:extLst>
                  <a:ext uri="{FF2B5EF4-FFF2-40B4-BE49-F238E27FC236}">
                    <a16:creationId xmlns:a16="http://schemas.microsoft.com/office/drawing/2014/main" id="{D92DAECA-23A8-51B4-3256-960B627EF257}"/>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0" name="Graphic 112">
              <a:extLst>
                <a:ext uri="{FF2B5EF4-FFF2-40B4-BE49-F238E27FC236}">
                  <a16:creationId xmlns:a16="http://schemas.microsoft.com/office/drawing/2014/main" id="{E9A64E30-3D3B-9EB8-D92A-058A037F2216}"/>
                </a:ext>
              </a:extLst>
            </p:cNvPr>
            <p:cNvGrpSpPr/>
            <p:nvPr/>
          </p:nvGrpSpPr>
          <p:grpSpPr>
            <a:xfrm>
              <a:off x="7368349" y="4229481"/>
              <a:ext cx="75723" cy="75628"/>
              <a:chOff x="7368349" y="4229481"/>
              <a:chExt cx="75723" cy="75628"/>
            </a:xfrm>
          </p:grpSpPr>
          <p:sp>
            <p:nvSpPr>
              <p:cNvPr id="17109" name="Freeform: Shape 17108">
                <a:extLst>
                  <a:ext uri="{FF2B5EF4-FFF2-40B4-BE49-F238E27FC236}">
                    <a16:creationId xmlns:a16="http://schemas.microsoft.com/office/drawing/2014/main" id="{5143FB45-59E6-3AF0-5A1C-B26E907F68F7}"/>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0" name="Freeform: Shape 17109">
                <a:extLst>
                  <a:ext uri="{FF2B5EF4-FFF2-40B4-BE49-F238E27FC236}">
                    <a16:creationId xmlns:a16="http://schemas.microsoft.com/office/drawing/2014/main" id="{76354CC5-2393-7B65-2D00-3981202EAD54}"/>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1" name="Graphic 112">
              <a:extLst>
                <a:ext uri="{FF2B5EF4-FFF2-40B4-BE49-F238E27FC236}">
                  <a16:creationId xmlns:a16="http://schemas.microsoft.com/office/drawing/2014/main" id="{891F3C43-8A2E-31B0-7011-B4304E18B7AD}"/>
                </a:ext>
              </a:extLst>
            </p:cNvPr>
            <p:cNvGrpSpPr/>
            <p:nvPr/>
          </p:nvGrpSpPr>
          <p:grpSpPr>
            <a:xfrm>
              <a:off x="7638288" y="4229481"/>
              <a:ext cx="75723" cy="75628"/>
              <a:chOff x="7638288" y="4229481"/>
              <a:chExt cx="75723" cy="75628"/>
            </a:xfrm>
          </p:grpSpPr>
          <p:sp>
            <p:nvSpPr>
              <p:cNvPr id="17107" name="Freeform: Shape 17106">
                <a:extLst>
                  <a:ext uri="{FF2B5EF4-FFF2-40B4-BE49-F238E27FC236}">
                    <a16:creationId xmlns:a16="http://schemas.microsoft.com/office/drawing/2014/main" id="{49F75AA2-5E2F-2DCB-CB5F-A4448A3020BF}"/>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8" name="Freeform: Shape 17107">
                <a:extLst>
                  <a:ext uri="{FF2B5EF4-FFF2-40B4-BE49-F238E27FC236}">
                    <a16:creationId xmlns:a16="http://schemas.microsoft.com/office/drawing/2014/main" id="{35C53862-D8D3-2AEB-2DA8-D96B7FB45715}"/>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2" name="Graphic 112">
              <a:extLst>
                <a:ext uri="{FF2B5EF4-FFF2-40B4-BE49-F238E27FC236}">
                  <a16:creationId xmlns:a16="http://schemas.microsoft.com/office/drawing/2014/main" id="{3301444A-55F3-884D-4842-892C6822299F}"/>
                </a:ext>
              </a:extLst>
            </p:cNvPr>
            <p:cNvGrpSpPr/>
            <p:nvPr/>
          </p:nvGrpSpPr>
          <p:grpSpPr>
            <a:xfrm>
              <a:off x="7722203" y="4229481"/>
              <a:ext cx="75723" cy="75628"/>
              <a:chOff x="7722203" y="4229481"/>
              <a:chExt cx="75723" cy="75628"/>
            </a:xfrm>
          </p:grpSpPr>
          <p:sp>
            <p:nvSpPr>
              <p:cNvPr id="17105" name="Freeform: Shape 17104">
                <a:extLst>
                  <a:ext uri="{FF2B5EF4-FFF2-40B4-BE49-F238E27FC236}">
                    <a16:creationId xmlns:a16="http://schemas.microsoft.com/office/drawing/2014/main" id="{BD0B8DAB-213D-1614-0F6C-87BD7AADDB73}"/>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6" name="Freeform: Shape 17105">
                <a:extLst>
                  <a:ext uri="{FF2B5EF4-FFF2-40B4-BE49-F238E27FC236}">
                    <a16:creationId xmlns:a16="http://schemas.microsoft.com/office/drawing/2014/main" id="{1037E6EA-054D-6071-BDE2-A4B6357E6C15}"/>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3" name="Graphic 112">
              <a:extLst>
                <a:ext uri="{FF2B5EF4-FFF2-40B4-BE49-F238E27FC236}">
                  <a16:creationId xmlns:a16="http://schemas.microsoft.com/office/drawing/2014/main" id="{7D01A47B-1ECA-2D60-4666-3774497892B1}"/>
                </a:ext>
              </a:extLst>
            </p:cNvPr>
            <p:cNvGrpSpPr/>
            <p:nvPr/>
          </p:nvGrpSpPr>
          <p:grpSpPr>
            <a:xfrm>
              <a:off x="7755064" y="4229481"/>
              <a:ext cx="75628" cy="75628"/>
              <a:chOff x="7755064" y="4229481"/>
              <a:chExt cx="75628" cy="75628"/>
            </a:xfrm>
          </p:grpSpPr>
          <p:sp>
            <p:nvSpPr>
              <p:cNvPr id="17103" name="Freeform: Shape 17102">
                <a:extLst>
                  <a:ext uri="{FF2B5EF4-FFF2-40B4-BE49-F238E27FC236}">
                    <a16:creationId xmlns:a16="http://schemas.microsoft.com/office/drawing/2014/main" id="{73AF2DFC-99D9-87AA-FCA3-A522F5616BD4}"/>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4" name="Freeform: Shape 17103">
                <a:extLst>
                  <a:ext uri="{FF2B5EF4-FFF2-40B4-BE49-F238E27FC236}">
                    <a16:creationId xmlns:a16="http://schemas.microsoft.com/office/drawing/2014/main" id="{82932524-A0EB-4B21-6108-696493406AB8}"/>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4" name="Graphic 112">
              <a:extLst>
                <a:ext uri="{FF2B5EF4-FFF2-40B4-BE49-F238E27FC236}">
                  <a16:creationId xmlns:a16="http://schemas.microsoft.com/office/drawing/2014/main" id="{599FE253-9E41-D3B8-FEE2-1AD14CA4D9CD}"/>
                </a:ext>
              </a:extLst>
            </p:cNvPr>
            <p:cNvGrpSpPr/>
            <p:nvPr/>
          </p:nvGrpSpPr>
          <p:grpSpPr>
            <a:xfrm>
              <a:off x="7760017" y="4229481"/>
              <a:ext cx="75723" cy="75628"/>
              <a:chOff x="7760017" y="4229481"/>
              <a:chExt cx="75723" cy="75628"/>
            </a:xfrm>
          </p:grpSpPr>
          <p:sp>
            <p:nvSpPr>
              <p:cNvPr id="17101" name="Freeform: Shape 17100">
                <a:extLst>
                  <a:ext uri="{FF2B5EF4-FFF2-40B4-BE49-F238E27FC236}">
                    <a16:creationId xmlns:a16="http://schemas.microsoft.com/office/drawing/2014/main" id="{3075B363-0205-3FA0-38D3-BFEB8EDF64EB}"/>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2" name="Freeform: Shape 17101">
                <a:extLst>
                  <a:ext uri="{FF2B5EF4-FFF2-40B4-BE49-F238E27FC236}">
                    <a16:creationId xmlns:a16="http://schemas.microsoft.com/office/drawing/2014/main" id="{CF9797E9-E813-E1D0-B952-02B6B0D26593}"/>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5" name="Graphic 112">
              <a:extLst>
                <a:ext uri="{FF2B5EF4-FFF2-40B4-BE49-F238E27FC236}">
                  <a16:creationId xmlns:a16="http://schemas.microsoft.com/office/drawing/2014/main" id="{D48B6A9A-6E34-7538-5CBE-E2E9BF942420}"/>
                </a:ext>
              </a:extLst>
            </p:cNvPr>
            <p:cNvGrpSpPr/>
            <p:nvPr/>
          </p:nvGrpSpPr>
          <p:grpSpPr>
            <a:xfrm>
              <a:off x="7800594" y="4229481"/>
              <a:ext cx="75723" cy="75628"/>
              <a:chOff x="7800594" y="4229481"/>
              <a:chExt cx="75723" cy="75628"/>
            </a:xfrm>
          </p:grpSpPr>
          <p:sp>
            <p:nvSpPr>
              <p:cNvPr id="17099" name="Freeform: Shape 17098">
                <a:extLst>
                  <a:ext uri="{FF2B5EF4-FFF2-40B4-BE49-F238E27FC236}">
                    <a16:creationId xmlns:a16="http://schemas.microsoft.com/office/drawing/2014/main" id="{9331E3E7-B8E1-218C-4625-4DB2FD8D89F2}"/>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0" name="Freeform: Shape 17099">
                <a:extLst>
                  <a:ext uri="{FF2B5EF4-FFF2-40B4-BE49-F238E27FC236}">
                    <a16:creationId xmlns:a16="http://schemas.microsoft.com/office/drawing/2014/main" id="{2BC1DE0D-88E8-7621-228F-AB34EE15427C}"/>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6" name="Graphic 112">
              <a:extLst>
                <a:ext uri="{FF2B5EF4-FFF2-40B4-BE49-F238E27FC236}">
                  <a16:creationId xmlns:a16="http://schemas.microsoft.com/office/drawing/2014/main" id="{94774D0A-2786-0F14-910D-6017960636BB}"/>
                </a:ext>
              </a:extLst>
            </p:cNvPr>
            <p:cNvGrpSpPr/>
            <p:nvPr/>
          </p:nvGrpSpPr>
          <p:grpSpPr>
            <a:xfrm>
              <a:off x="7805451" y="4229481"/>
              <a:ext cx="75723" cy="75628"/>
              <a:chOff x="7805451" y="4229481"/>
              <a:chExt cx="75723" cy="75628"/>
            </a:xfrm>
          </p:grpSpPr>
          <p:sp>
            <p:nvSpPr>
              <p:cNvPr id="17097" name="Freeform: Shape 17096">
                <a:extLst>
                  <a:ext uri="{FF2B5EF4-FFF2-40B4-BE49-F238E27FC236}">
                    <a16:creationId xmlns:a16="http://schemas.microsoft.com/office/drawing/2014/main" id="{CD219C2D-CC4D-AA45-7FC4-7D8E533DEABE}"/>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8" name="Freeform: Shape 17097">
                <a:extLst>
                  <a:ext uri="{FF2B5EF4-FFF2-40B4-BE49-F238E27FC236}">
                    <a16:creationId xmlns:a16="http://schemas.microsoft.com/office/drawing/2014/main" id="{3AAE6554-9C86-C51C-3986-D567BD6A9403}"/>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7" name="Graphic 112">
              <a:extLst>
                <a:ext uri="{FF2B5EF4-FFF2-40B4-BE49-F238E27FC236}">
                  <a16:creationId xmlns:a16="http://schemas.microsoft.com/office/drawing/2014/main" id="{CDC45EAC-96A3-F41D-932F-B22EEB9911AC}"/>
                </a:ext>
              </a:extLst>
            </p:cNvPr>
            <p:cNvGrpSpPr/>
            <p:nvPr/>
          </p:nvGrpSpPr>
          <p:grpSpPr>
            <a:xfrm>
              <a:off x="8124729" y="4229481"/>
              <a:ext cx="75628" cy="75628"/>
              <a:chOff x="8124729" y="4229481"/>
              <a:chExt cx="75628" cy="75628"/>
            </a:xfrm>
          </p:grpSpPr>
          <p:sp>
            <p:nvSpPr>
              <p:cNvPr id="17095" name="Freeform: Shape 17094">
                <a:extLst>
                  <a:ext uri="{FF2B5EF4-FFF2-40B4-BE49-F238E27FC236}">
                    <a16:creationId xmlns:a16="http://schemas.microsoft.com/office/drawing/2014/main" id="{C473DDDC-CEA9-E921-66FE-D242B80E0859}"/>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6" name="Freeform: Shape 17095">
                <a:extLst>
                  <a:ext uri="{FF2B5EF4-FFF2-40B4-BE49-F238E27FC236}">
                    <a16:creationId xmlns:a16="http://schemas.microsoft.com/office/drawing/2014/main" id="{CB98EC1F-A5FC-30DA-3CAF-F9F574533CDC}"/>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8" name="Graphic 112">
              <a:extLst>
                <a:ext uri="{FF2B5EF4-FFF2-40B4-BE49-F238E27FC236}">
                  <a16:creationId xmlns:a16="http://schemas.microsoft.com/office/drawing/2014/main" id="{DDD3CD4B-C057-E240-B755-D68970F13C93}"/>
                </a:ext>
              </a:extLst>
            </p:cNvPr>
            <p:cNvGrpSpPr/>
            <p:nvPr/>
          </p:nvGrpSpPr>
          <p:grpSpPr>
            <a:xfrm>
              <a:off x="8143875" y="4229481"/>
              <a:ext cx="75628" cy="75628"/>
              <a:chOff x="8143875" y="4229481"/>
              <a:chExt cx="75628" cy="75628"/>
            </a:xfrm>
          </p:grpSpPr>
          <p:sp>
            <p:nvSpPr>
              <p:cNvPr id="17093" name="Freeform: Shape 17092">
                <a:extLst>
                  <a:ext uri="{FF2B5EF4-FFF2-40B4-BE49-F238E27FC236}">
                    <a16:creationId xmlns:a16="http://schemas.microsoft.com/office/drawing/2014/main" id="{D0E0EC44-0712-85E1-FBF4-E80C9803ADAE}"/>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4" name="Freeform: Shape 17093">
                <a:extLst>
                  <a:ext uri="{FF2B5EF4-FFF2-40B4-BE49-F238E27FC236}">
                    <a16:creationId xmlns:a16="http://schemas.microsoft.com/office/drawing/2014/main" id="{B4A8CED9-64B4-E919-8FA2-820F7E8AAA3C}"/>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9" name="Graphic 112">
              <a:extLst>
                <a:ext uri="{FF2B5EF4-FFF2-40B4-BE49-F238E27FC236}">
                  <a16:creationId xmlns:a16="http://schemas.microsoft.com/office/drawing/2014/main" id="{2B85568F-647F-3356-1047-65D9DF961DDB}"/>
                </a:ext>
              </a:extLst>
            </p:cNvPr>
            <p:cNvGrpSpPr/>
            <p:nvPr/>
          </p:nvGrpSpPr>
          <p:grpSpPr>
            <a:xfrm>
              <a:off x="8163020" y="4229481"/>
              <a:ext cx="75628" cy="75628"/>
              <a:chOff x="8163020" y="4229481"/>
              <a:chExt cx="75628" cy="75628"/>
            </a:xfrm>
          </p:grpSpPr>
          <p:sp>
            <p:nvSpPr>
              <p:cNvPr id="17091" name="Freeform: Shape 17090">
                <a:extLst>
                  <a:ext uri="{FF2B5EF4-FFF2-40B4-BE49-F238E27FC236}">
                    <a16:creationId xmlns:a16="http://schemas.microsoft.com/office/drawing/2014/main" id="{5645C196-7A11-9254-12E2-DB76B3729EC9}"/>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2" name="Freeform: Shape 17091">
                <a:extLst>
                  <a:ext uri="{FF2B5EF4-FFF2-40B4-BE49-F238E27FC236}">
                    <a16:creationId xmlns:a16="http://schemas.microsoft.com/office/drawing/2014/main" id="{CF01FFE6-1E8A-848E-C647-B7FCD4FA2A41}"/>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0" name="Graphic 112">
              <a:extLst>
                <a:ext uri="{FF2B5EF4-FFF2-40B4-BE49-F238E27FC236}">
                  <a16:creationId xmlns:a16="http://schemas.microsoft.com/office/drawing/2014/main" id="{0A361AC0-A378-5BC1-94A2-F1FCE0EF15C0}"/>
                </a:ext>
              </a:extLst>
            </p:cNvPr>
            <p:cNvGrpSpPr/>
            <p:nvPr/>
          </p:nvGrpSpPr>
          <p:grpSpPr>
            <a:xfrm>
              <a:off x="8182165" y="4229481"/>
              <a:ext cx="75628" cy="75628"/>
              <a:chOff x="8182165" y="4229481"/>
              <a:chExt cx="75628" cy="75628"/>
            </a:xfrm>
          </p:grpSpPr>
          <p:sp>
            <p:nvSpPr>
              <p:cNvPr id="17089" name="Freeform: Shape 17088">
                <a:extLst>
                  <a:ext uri="{FF2B5EF4-FFF2-40B4-BE49-F238E27FC236}">
                    <a16:creationId xmlns:a16="http://schemas.microsoft.com/office/drawing/2014/main" id="{D8CEC015-D0E7-9740-D0CF-BFD7609C2868}"/>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0" name="Freeform: Shape 17089">
                <a:extLst>
                  <a:ext uri="{FF2B5EF4-FFF2-40B4-BE49-F238E27FC236}">
                    <a16:creationId xmlns:a16="http://schemas.microsoft.com/office/drawing/2014/main" id="{E720E54B-8FCB-1F33-2829-F3FE6DED1B8B}"/>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1" name="Graphic 112">
              <a:extLst>
                <a:ext uri="{FF2B5EF4-FFF2-40B4-BE49-F238E27FC236}">
                  <a16:creationId xmlns:a16="http://schemas.microsoft.com/office/drawing/2014/main" id="{74B511A9-DC37-0075-361E-C3143FD6BC40}"/>
                </a:ext>
              </a:extLst>
            </p:cNvPr>
            <p:cNvGrpSpPr/>
            <p:nvPr/>
          </p:nvGrpSpPr>
          <p:grpSpPr>
            <a:xfrm>
              <a:off x="8201310" y="4229481"/>
              <a:ext cx="75628" cy="75628"/>
              <a:chOff x="8201310" y="4229481"/>
              <a:chExt cx="75628" cy="75628"/>
            </a:xfrm>
          </p:grpSpPr>
          <p:sp>
            <p:nvSpPr>
              <p:cNvPr id="17087" name="Freeform: Shape 17086">
                <a:extLst>
                  <a:ext uri="{FF2B5EF4-FFF2-40B4-BE49-F238E27FC236}">
                    <a16:creationId xmlns:a16="http://schemas.microsoft.com/office/drawing/2014/main" id="{9001D570-DBE6-DCB8-5F6F-C9BFF68DAC56}"/>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8" name="Freeform: Shape 17087">
                <a:extLst>
                  <a:ext uri="{FF2B5EF4-FFF2-40B4-BE49-F238E27FC236}">
                    <a16:creationId xmlns:a16="http://schemas.microsoft.com/office/drawing/2014/main" id="{C9ADFA2B-6966-6083-9D53-BD5FCD4B8122}"/>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2" name="Graphic 112">
              <a:extLst>
                <a:ext uri="{FF2B5EF4-FFF2-40B4-BE49-F238E27FC236}">
                  <a16:creationId xmlns:a16="http://schemas.microsoft.com/office/drawing/2014/main" id="{313808FB-38CC-593B-6426-2BF7B1D2CE09}"/>
                </a:ext>
              </a:extLst>
            </p:cNvPr>
            <p:cNvGrpSpPr/>
            <p:nvPr/>
          </p:nvGrpSpPr>
          <p:grpSpPr>
            <a:xfrm>
              <a:off x="8239601" y="4229481"/>
              <a:ext cx="75723" cy="75628"/>
              <a:chOff x="8239601" y="4229481"/>
              <a:chExt cx="75723" cy="75628"/>
            </a:xfrm>
          </p:grpSpPr>
          <p:sp>
            <p:nvSpPr>
              <p:cNvPr id="17085" name="Freeform: Shape 17084">
                <a:extLst>
                  <a:ext uri="{FF2B5EF4-FFF2-40B4-BE49-F238E27FC236}">
                    <a16:creationId xmlns:a16="http://schemas.microsoft.com/office/drawing/2014/main" id="{DE0C61B1-8095-5153-FF06-82E239F3A90B}"/>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6" name="Freeform: Shape 17085">
                <a:extLst>
                  <a:ext uri="{FF2B5EF4-FFF2-40B4-BE49-F238E27FC236}">
                    <a16:creationId xmlns:a16="http://schemas.microsoft.com/office/drawing/2014/main" id="{25DC953E-44D8-C74D-0AF7-BD95328402B3}"/>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3" name="Graphic 112">
              <a:extLst>
                <a:ext uri="{FF2B5EF4-FFF2-40B4-BE49-F238E27FC236}">
                  <a16:creationId xmlns:a16="http://schemas.microsoft.com/office/drawing/2014/main" id="{72E61631-583A-FBD0-91C6-03B29800CDBF}"/>
                </a:ext>
              </a:extLst>
            </p:cNvPr>
            <p:cNvGrpSpPr/>
            <p:nvPr/>
          </p:nvGrpSpPr>
          <p:grpSpPr>
            <a:xfrm>
              <a:off x="8463915" y="4229481"/>
              <a:ext cx="75723" cy="75628"/>
              <a:chOff x="8463915" y="4229481"/>
              <a:chExt cx="75723" cy="75628"/>
            </a:xfrm>
          </p:grpSpPr>
          <p:sp>
            <p:nvSpPr>
              <p:cNvPr id="17083" name="Freeform: Shape 17082">
                <a:extLst>
                  <a:ext uri="{FF2B5EF4-FFF2-40B4-BE49-F238E27FC236}">
                    <a16:creationId xmlns:a16="http://schemas.microsoft.com/office/drawing/2014/main" id="{C6CADB8B-255A-AD4D-9A6E-855A24696BA2}"/>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4" name="Freeform: Shape 17083">
                <a:extLst>
                  <a:ext uri="{FF2B5EF4-FFF2-40B4-BE49-F238E27FC236}">
                    <a16:creationId xmlns:a16="http://schemas.microsoft.com/office/drawing/2014/main" id="{8509750C-EFCD-D26B-7DA2-D8F33EB7E01E}"/>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4" name="Graphic 112">
              <a:extLst>
                <a:ext uri="{FF2B5EF4-FFF2-40B4-BE49-F238E27FC236}">
                  <a16:creationId xmlns:a16="http://schemas.microsoft.com/office/drawing/2014/main" id="{50531D33-BBA0-148D-BB16-94A44E8B4401}"/>
                </a:ext>
              </a:extLst>
            </p:cNvPr>
            <p:cNvGrpSpPr/>
            <p:nvPr/>
          </p:nvGrpSpPr>
          <p:grpSpPr>
            <a:xfrm>
              <a:off x="8598884" y="4229481"/>
              <a:ext cx="75723" cy="75628"/>
              <a:chOff x="8598884" y="4229481"/>
              <a:chExt cx="75723" cy="75628"/>
            </a:xfrm>
          </p:grpSpPr>
          <p:sp>
            <p:nvSpPr>
              <p:cNvPr id="17081" name="Freeform: Shape 17080">
                <a:extLst>
                  <a:ext uri="{FF2B5EF4-FFF2-40B4-BE49-F238E27FC236}">
                    <a16:creationId xmlns:a16="http://schemas.microsoft.com/office/drawing/2014/main" id="{5D577FE7-FD43-D4DB-073C-41F7EA3CBC34}"/>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2" name="Freeform: Shape 17081">
                <a:extLst>
                  <a:ext uri="{FF2B5EF4-FFF2-40B4-BE49-F238E27FC236}">
                    <a16:creationId xmlns:a16="http://schemas.microsoft.com/office/drawing/2014/main" id="{5FCCA652-2648-CE9C-F3FC-1D584E7346A0}"/>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5" name="Graphic 112">
              <a:extLst>
                <a:ext uri="{FF2B5EF4-FFF2-40B4-BE49-F238E27FC236}">
                  <a16:creationId xmlns:a16="http://schemas.microsoft.com/office/drawing/2014/main" id="{30064F81-870E-EBFA-AEA6-895D6F25FBB5}"/>
                </a:ext>
              </a:extLst>
            </p:cNvPr>
            <p:cNvGrpSpPr/>
            <p:nvPr/>
          </p:nvGrpSpPr>
          <p:grpSpPr>
            <a:xfrm>
              <a:off x="8611457" y="4229481"/>
              <a:ext cx="75628" cy="75628"/>
              <a:chOff x="8611457" y="4229481"/>
              <a:chExt cx="75628" cy="75628"/>
            </a:xfrm>
          </p:grpSpPr>
          <p:sp>
            <p:nvSpPr>
              <p:cNvPr id="17079" name="Freeform: Shape 17078">
                <a:extLst>
                  <a:ext uri="{FF2B5EF4-FFF2-40B4-BE49-F238E27FC236}">
                    <a16:creationId xmlns:a16="http://schemas.microsoft.com/office/drawing/2014/main" id="{40C04108-F57D-64F2-6534-C5481794EEC8}"/>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0" name="Freeform: Shape 17079">
                <a:extLst>
                  <a:ext uri="{FF2B5EF4-FFF2-40B4-BE49-F238E27FC236}">
                    <a16:creationId xmlns:a16="http://schemas.microsoft.com/office/drawing/2014/main" id="{A3315333-552C-659F-D03D-D5BE68D43C10}"/>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6" name="Graphic 112">
              <a:extLst>
                <a:ext uri="{FF2B5EF4-FFF2-40B4-BE49-F238E27FC236}">
                  <a16:creationId xmlns:a16="http://schemas.microsoft.com/office/drawing/2014/main" id="{415A8266-1104-EDCB-6B7C-B41F26D33019}"/>
                </a:ext>
              </a:extLst>
            </p:cNvPr>
            <p:cNvGrpSpPr/>
            <p:nvPr/>
          </p:nvGrpSpPr>
          <p:grpSpPr>
            <a:xfrm>
              <a:off x="8623935" y="4229481"/>
              <a:ext cx="75628" cy="75628"/>
              <a:chOff x="8623935" y="4229481"/>
              <a:chExt cx="75628" cy="75628"/>
            </a:xfrm>
          </p:grpSpPr>
          <p:sp>
            <p:nvSpPr>
              <p:cNvPr id="17077" name="Freeform: Shape 17076">
                <a:extLst>
                  <a:ext uri="{FF2B5EF4-FFF2-40B4-BE49-F238E27FC236}">
                    <a16:creationId xmlns:a16="http://schemas.microsoft.com/office/drawing/2014/main" id="{34A29878-48DE-0F5C-E87F-D1ADE2B1E213}"/>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8" name="Freeform: Shape 17077">
                <a:extLst>
                  <a:ext uri="{FF2B5EF4-FFF2-40B4-BE49-F238E27FC236}">
                    <a16:creationId xmlns:a16="http://schemas.microsoft.com/office/drawing/2014/main" id="{5901FD17-7495-D91A-B3EA-10B9B9FC9FFA}"/>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7" name="Graphic 112">
              <a:extLst>
                <a:ext uri="{FF2B5EF4-FFF2-40B4-BE49-F238E27FC236}">
                  <a16:creationId xmlns:a16="http://schemas.microsoft.com/office/drawing/2014/main" id="{2D46E5E0-061A-8E61-FB72-663BC66D0AD7}"/>
                </a:ext>
              </a:extLst>
            </p:cNvPr>
            <p:cNvGrpSpPr/>
            <p:nvPr/>
          </p:nvGrpSpPr>
          <p:grpSpPr>
            <a:xfrm>
              <a:off x="8648890" y="4229481"/>
              <a:ext cx="75723" cy="75628"/>
              <a:chOff x="8648890" y="4229481"/>
              <a:chExt cx="75723" cy="75628"/>
            </a:xfrm>
          </p:grpSpPr>
          <p:sp>
            <p:nvSpPr>
              <p:cNvPr id="17075" name="Freeform: Shape 17074">
                <a:extLst>
                  <a:ext uri="{FF2B5EF4-FFF2-40B4-BE49-F238E27FC236}">
                    <a16:creationId xmlns:a16="http://schemas.microsoft.com/office/drawing/2014/main" id="{AD7B0C36-EFE2-B8CE-AE14-AD1A95240582}"/>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6" name="Freeform: Shape 17075">
                <a:extLst>
                  <a:ext uri="{FF2B5EF4-FFF2-40B4-BE49-F238E27FC236}">
                    <a16:creationId xmlns:a16="http://schemas.microsoft.com/office/drawing/2014/main" id="{A0A72056-3B67-5B33-748A-4601D910A82E}"/>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8" name="Graphic 112">
              <a:extLst>
                <a:ext uri="{FF2B5EF4-FFF2-40B4-BE49-F238E27FC236}">
                  <a16:creationId xmlns:a16="http://schemas.microsoft.com/office/drawing/2014/main" id="{55985B53-CCB2-9323-ABFF-B2D0BAF64DE7}"/>
                </a:ext>
              </a:extLst>
            </p:cNvPr>
            <p:cNvGrpSpPr/>
            <p:nvPr/>
          </p:nvGrpSpPr>
          <p:grpSpPr>
            <a:xfrm>
              <a:off x="8636412" y="4229481"/>
              <a:ext cx="75723" cy="75628"/>
              <a:chOff x="8636412" y="4229481"/>
              <a:chExt cx="75723" cy="75628"/>
            </a:xfrm>
          </p:grpSpPr>
          <p:sp>
            <p:nvSpPr>
              <p:cNvPr id="17073" name="Freeform: Shape 17072">
                <a:extLst>
                  <a:ext uri="{FF2B5EF4-FFF2-40B4-BE49-F238E27FC236}">
                    <a16:creationId xmlns:a16="http://schemas.microsoft.com/office/drawing/2014/main" id="{5B56E300-BB36-3C87-713B-68F2CEB97841}"/>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4" name="Freeform: Shape 17073">
                <a:extLst>
                  <a:ext uri="{FF2B5EF4-FFF2-40B4-BE49-F238E27FC236}">
                    <a16:creationId xmlns:a16="http://schemas.microsoft.com/office/drawing/2014/main" id="{5A2C8C0E-CECA-E46F-ED6C-4D7C2B3218C7}"/>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9" name="Graphic 112">
              <a:extLst>
                <a:ext uri="{FF2B5EF4-FFF2-40B4-BE49-F238E27FC236}">
                  <a16:creationId xmlns:a16="http://schemas.microsoft.com/office/drawing/2014/main" id="{D9C38382-D990-9D6B-A471-FD461ED5E387}"/>
                </a:ext>
              </a:extLst>
            </p:cNvPr>
            <p:cNvGrpSpPr/>
            <p:nvPr/>
          </p:nvGrpSpPr>
          <p:grpSpPr>
            <a:xfrm>
              <a:off x="8220456" y="4229481"/>
              <a:ext cx="75723" cy="75628"/>
              <a:chOff x="8220456" y="4229481"/>
              <a:chExt cx="75723" cy="75628"/>
            </a:xfrm>
          </p:grpSpPr>
          <p:sp>
            <p:nvSpPr>
              <p:cNvPr id="17071" name="Freeform: Shape 17070">
                <a:extLst>
                  <a:ext uri="{FF2B5EF4-FFF2-40B4-BE49-F238E27FC236}">
                    <a16:creationId xmlns:a16="http://schemas.microsoft.com/office/drawing/2014/main" id="{ABD75DB3-FFCB-4D6C-963D-0860EA09D36D}"/>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2" name="Freeform: Shape 17071">
                <a:extLst>
                  <a:ext uri="{FF2B5EF4-FFF2-40B4-BE49-F238E27FC236}">
                    <a16:creationId xmlns:a16="http://schemas.microsoft.com/office/drawing/2014/main" id="{A2C25977-9985-E497-C1AC-3FC0BEF8593D}"/>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0" name="Graphic 112">
              <a:extLst>
                <a:ext uri="{FF2B5EF4-FFF2-40B4-BE49-F238E27FC236}">
                  <a16:creationId xmlns:a16="http://schemas.microsoft.com/office/drawing/2014/main" id="{BAC7899A-3BCE-1C3E-1225-D21891585B98}"/>
                </a:ext>
              </a:extLst>
            </p:cNvPr>
            <p:cNvGrpSpPr/>
            <p:nvPr/>
          </p:nvGrpSpPr>
          <p:grpSpPr>
            <a:xfrm>
              <a:off x="7790307" y="4229481"/>
              <a:ext cx="75723" cy="75628"/>
              <a:chOff x="7790307" y="4229481"/>
              <a:chExt cx="75723" cy="75628"/>
            </a:xfrm>
          </p:grpSpPr>
          <p:sp>
            <p:nvSpPr>
              <p:cNvPr id="17069" name="Freeform: Shape 17068">
                <a:extLst>
                  <a:ext uri="{FF2B5EF4-FFF2-40B4-BE49-F238E27FC236}">
                    <a16:creationId xmlns:a16="http://schemas.microsoft.com/office/drawing/2014/main" id="{12B45D0C-F4AF-B6E5-9B95-6EBFCD8D85E3}"/>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0" name="Freeform: Shape 17069">
                <a:extLst>
                  <a:ext uri="{FF2B5EF4-FFF2-40B4-BE49-F238E27FC236}">
                    <a16:creationId xmlns:a16="http://schemas.microsoft.com/office/drawing/2014/main" id="{2DE35FE6-306D-CFF2-D4D4-020D8510B9B4}"/>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1" name="Graphic 112">
              <a:extLst>
                <a:ext uri="{FF2B5EF4-FFF2-40B4-BE49-F238E27FC236}">
                  <a16:creationId xmlns:a16="http://schemas.microsoft.com/office/drawing/2014/main" id="{94FA5EF9-77C4-EEF2-2F4E-1C1C004FD26E}"/>
                </a:ext>
              </a:extLst>
            </p:cNvPr>
            <p:cNvGrpSpPr/>
            <p:nvPr/>
          </p:nvGrpSpPr>
          <p:grpSpPr>
            <a:xfrm>
              <a:off x="7330535" y="4205763"/>
              <a:ext cx="75628" cy="75628"/>
              <a:chOff x="7330535" y="4205763"/>
              <a:chExt cx="75628" cy="75628"/>
            </a:xfrm>
          </p:grpSpPr>
          <p:sp>
            <p:nvSpPr>
              <p:cNvPr id="17067" name="Freeform: Shape 17066">
                <a:extLst>
                  <a:ext uri="{FF2B5EF4-FFF2-40B4-BE49-F238E27FC236}">
                    <a16:creationId xmlns:a16="http://schemas.microsoft.com/office/drawing/2014/main" id="{CCD81F03-1797-4C51-CE0F-5A5BDA7443AA}"/>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8" name="Freeform: Shape 17067">
                <a:extLst>
                  <a:ext uri="{FF2B5EF4-FFF2-40B4-BE49-F238E27FC236}">
                    <a16:creationId xmlns:a16="http://schemas.microsoft.com/office/drawing/2014/main" id="{5AE844DA-7496-30AC-E459-5FC72B153EE0}"/>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2" name="Graphic 112">
              <a:extLst>
                <a:ext uri="{FF2B5EF4-FFF2-40B4-BE49-F238E27FC236}">
                  <a16:creationId xmlns:a16="http://schemas.microsoft.com/office/drawing/2014/main" id="{33CDBA8F-D2F6-36FF-E71C-5B28C3432133}"/>
                </a:ext>
              </a:extLst>
            </p:cNvPr>
            <p:cNvGrpSpPr/>
            <p:nvPr/>
          </p:nvGrpSpPr>
          <p:grpSpPr>
            <a:xfrm>
              <a:off x="7299007" y="4153757"/>
              <a:ext cx="75723" cy="75723"/>
              <a:chOff x="7299007" y="4153757"/>
              <a:chExt cx="75723" cy="75723"/>
            </a:xfrm>
          </p:grpSpPr>
          <p:sp>
            <p:nvSpPr>
              <p:cNvPr id="17065" name="Freeform: Shape 17064">
                <a:extLst>
                  <a:ext uri="{FF2B5EF4-FFF2-40B4-BE49-F238E27FC236}">
                    <a16:creationId xmlns:a16="http://schemas.microsoft.com/office/drawing/2014/main" id="{D46B982D-88A1-9B66-776E-2F87211AB673}"/>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6" name="Freeform: Shape 17065">
                <a:extLst>
                  <a:ext uri="{FF2B5EF4-FFF2-40B4-BE49-F238E27FC236}">
                    <a16:creationId xmlns:a16="http://schemas.microsoft.com/office/drawing/2014/main" id="{249E5EB0-018D-5545-0020-725A51E7066B}"/>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3" name="Graphic 112">
              <a:extLst>
                <a:ext uri="{FF2B5EF4-FFF2-40B4-BE49-F238E27FC236}">
                  <a16:creationId xmlns:a16="http://schemas.microsoft.com/office/drawing/2014/main" id="{351F2C01-3AE1-CC29-9DAE-9FC414DD5085}"/>
                </a:ext>
              </a:extLst>
            </p:cNvPr>
            <p:cNvGrpSpPr/>
            <p:nvPr/>
          </p:nvGrpSpPr>
          <p:grpSpPr>
            <a:xfrm>
              <a:off x="7287482" y="4153757"/>
              <a:ext cx="75723" cy="75723"/>
              <a:chOff x="7287482" y="4153757"/>
              <a:chExt cx="75723" cy="75723"/>
            </a:xfrm>
          </p:grpSpPr>
          <p:sp>
            <p:nvSpPr>
              <p:cNvPr id="17063" name="Freeform: Shape 17062">
                <a:extLst>
                  <a:ext uri="{FF2B5EF4-FFF2-40B4-BE49-F238E27FC236}">
                    <a16:creationId xmlns:a16="http://schemas.microsoft.com/office/drawing/2014/main" id="{652D808C-D5FF-9D72-CCC1-42AA89DDAC29}"/>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4" name="Freeform: Shape 17063">
                <a:extLst>
                  <a:ext uri="{FF2B5EF4-FFF2-40B4-BE49-F238E27FC236}">
                    <a16:creationId xmlns:a16="http://schemas.microsoft.com/office/drawing/2014/main" id="{FC2246B5-0817-480D-E017-1A5A56C36A46}"/>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4" name="Graphic 112">
              <a:extLst>
                <a:ext uri="{FF2B5EF4-FFF2-40B4-BE49-F238E27FC236}">
                  <a16:creationId xmlns:a16="http://schemas.microsoft.com/office/drawing/2014/main" id="{7A71F726-3000-99A8-9B69-2FEE4B7798E5}"/>
                </a:ext>
              </a:extLst>
            </p:cNvPr>
            <p:cNvGrpSpPr/>
            <p:nvPr/>
          </p:nvGrpSpPr>
          <p:grpSpPr>
            <a:xfrm>
              <a:off x="7312437" y="4153757"/>
              <a:ext cx="75723" cy="75723"/>
              <a:chOff x="7312437" y="4153757"/>
              <a:chExt cx="75723" cy="75723"/>
            </a:xfrm>
          </p:grpSpPr>
          <p:sp>
            <p:nvSpPr>
              <p:cNvPr id="17061" name="Freeform: Shape 17060">
                <a:extLst>
                  <a:ext uri="{FF2B5EF4-FFF2-40B4-BE49-F238E27FC236}">
                    <a16:creationId xmlns:a16="http://schemas.microsoft.com/office/drawing/2014/main" id="{0CE61182-8D4F-4C03-AC1A-4C7DD94AB0E6}"/>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2" name="Freeform: Shape 17061">
                <a:extLst>
                  <a:ext uri="{FF2B5EF4-FFF2-40B4-BE49-F238E27FC236}">
                    <a16:creationId xmlns:a16="http://schemas.microsoft.com/office/drawing/2014/main" id="{AA2A587A-A4A8-ED94-28A8-EC7DF85911F4}"/>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5" name="Graphic 112">
              <a:extLst>
                <a:ext uri="{FF2B5EF4-FFF2-40B4-BE49-F238E27FC236}">
                  <a16:creationId xmlns:a16="http://schemas.microsoft.com/office/drawing/2014/main" id="{344F2FA5-4B65-04A9-49EF-946AA3E7736D}"/>
                </a:ext>
              </a:extLst>
            </p:cNvPr>
            <p:cNvGrpSpPr/>
            <p:nvPr/>
          </p:nvGrpSpPr>
          <p:grpSpPr>
            <a:xfrm>
              <a:off x="7002399" y="4135183"/>
              <a:ext cx="75628" cy="75723"/>
              <a:chOff x="7002399" y="4135183"/>
              <a:chExt cx="75628" cy="75723"/>
            </a:xfrm>
          </p:grpSpPr>
          <p:sp>
            <p:nvSpPr>
              <p:cNvPr id="17059" name="Freeform: Shape 17058">
                <a:extLst>
                  <a:ext uri="{FF2B5EF4-FFF2-40B4-BE49-F238E27FC236}">
                    <a16:creationId xmlns:a16="http://schemas.microsoft.com/office/drawing/2014/main" id="{6643C67C-7936-9851-2A5C-36B53296D072}"/>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0" name="Freeform: Shape 17059">
                <a:extLst>
                  <a:ext uri="{FF2B5EF4-FFF2-40B4-BE49-F238E27FC236}">
                    <a16:creationId xmlns:a16="http://schemas.microsoft.com/office/drawing/2014/main" id="{6861A167-12DB-E9A5-CE71-2A75C1830783}"/>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6" name="Graphic 112">
              <a:extLst>
                <a:ext uri="{FF2B5EF4-FFF2-40B4-BE49-F238E27FC236}">
                  <a16:creationId xmlns:a16="http://schemas.microsoft.com/office/drawing/2014/main" id="{26F15973-1F25-55B9-D901-96DD14693021}"/>
                </a:ext>
              </a:extLst>
            </p:cNvPr>
            <p:cNvGrpSpPr/>
            <p:nvPr/>
          </p:nvGrpSpPr>
          <p:grpSpPr>
            <a:xfrm>
              <a:off x="6947344" y="4111847"/>
              <a:ext cx="75723" cy="75628"/>
              <a:chOff x="6947344" y="4111847"/>
              <a:chExt cx="75723" cy="75628"/>
            </a:xfrm>
          </p:grpSpPr>
          <p:sp>
            <p:nvSpPr>
              <p:cNvPr id="17057" name="Freeform: Shape 17056">
                <a:extLst>
                  <a:ext uri="{FF2B5EF4-FFF2-40B4-BE49-F238E27FC236}">
                    <a16:creationId xmlns:a16="http://schemas.microsoft.com/office/drawing/2014/main" id="{89125067-26B4-602A-4A1B-B31155337538}"/>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8" name="Freeform: Shape 17057">
                <a:extLst>
                  <a:ext uri="{FF2B5EF4-FFF2-40B4-BE49-F238E27FC236}">
                    <a16:creationId xmlns:a16="http://schemas.microsoft.com/office/drawing/2014/main" id="{62E89264-E113-CFE1-3DEC-2BAF6C5B8D7B}"/>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7" name="Graphic 112">
              <a:extLst>
                <a:ext uri="{FF2B5EF4-FFF2-40B4-BE49-F238E27FC236}">
                  <a16:creationId xmlns:a16="http://schemas.microsoft.com/office/drawing/2014/main" id="{EABCCA99-EFFB-DE57-CD65-1C4C1C7047C8}"/>
                </a:ext>
              </a:extLst>
            </p:cNvPr>
            <p:cNvGrpSpPr/>
            <p:nvPr/>
          </p:nvGrpSpPr>
          <p:grpSpPr>
            <a:xfrm>
              <a:off x="6928199" y="4090987"/>
              <a:ext cx="75723" cy="75723"/>
              <a:chOff x="6928199" y="4090987"/>
              <a:chExt cx="75723" cy="75723"/>
            </a:xfrm>
          </p:grpSpPr>
          <p:sp>
            <p:nvSpPr>
              <p:cNvPr id="17055" name="Freeform: Shape 17054">
                <a:extLst>
                  <a:ext uri="{FF2B5EF4-FFF2-40B4-BE49-F238E27FC236}">
                    <a16:creationId xmlns:a16="http://schemas.microsoft.com/office/drawing/2014/main" id="{E01E74BB-B8EF-839C-0D28-965C6876C7CC}"/>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6" name="Freeform: Shape 17055">
                <a:extLst>
                  <a:ext uri="{FF2B5EF4-FFF2-40B4-BE49-F238E27FC236}">
                    <a16:creationId xmlns:a16="http://schemas.microsoft.com/office/drawing/2014/main" id="{D9F06586-8D21-7B68-CD97-5BAC40F1836C}"/>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8" name="Graphic 112">
              <a:extLst>
                <a:ext uri="{FF2B5EF4-FFF2-40B4-BE49-F238E27FC236}">
                  <a16:creationId xmlns:a16="http://schemas.microsoft.com/office/drawing/2014/main" id="{BADFB3DF-7DE6-7F47-7D46-E538F2B110A8}"/>
                </a:ext>
              </a:extLst>
            </p:cNvPr>
            <p:cNvGrpSpPr/>
            <p:nvPr/>
          </p:nvGrpSpPr>
          <p:grpSpPr>
            <a:xfrm>
              <a:off x="6912959" y="4073937"/>
              <a:ext cx="75723" cy="75723"/>
              <a:chOff x="6912959" y="4073937"/>
              <a:chExt cx="75723" cy="75723"/>
            </a:xfrm>
          </p:grpSpPr>
          <p:sp>
            <p:nvSpPr>
              <p:cNvPr id="17053" name="Freeform: Shape 17052">
                <a:extLst>
                  <a:ext uri="{FF2B5EF4-FFF2-40B4-BE49-F238E27FC236}">
                    <a16:creationId xmlns:a16="http://schemas.microsoft.com/office/drawing/2014/main" id="{5B35746D-34AE-44AA-3631-A24E7879478B}"/>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4" name="Freeform: Shape 17053">
                <a:extLst>
                  <a:ext uri="{FF2B5EF4-FFF2-40B4-BE49-F238E27FC236}">
                    <a16:creationId xmlns:a16="http://schemas.microsoft.com/office/drawing/2014/main" id="{3188A460-FAD3-6E59-1AD4-018DF446AE6D}"/>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9" name="Graphic 112">
              <a:extLst>
                <a:ext uri="{FF2B5EF4-FFF2-40B4-BE49-F238E27FC236}">
                  <a16:creationId xmlns:a16="http://schemas.microsoft.com/office/drawing/2014/main" id="{2A862593-7E25-D54A-7864-0FEE04CAFCE9}"/>
                </a:ext>
              </a:extLst>
            </p:cNvPr>
            <p:cNvGrpSpPr/>
            <p:nvPr/>
          </p:nvGrpSpPr>
          <p:grpSpPr>
            <a:xfrm>
              <a:off x="6895338" y="4053173"/>
              <a:ext cx="75723" cy="75628"/>
              <a:chOff x="6895338" y="4053173"/>
              <a:chExt cx="75723" cy="75628"/>
            </a:xfrm>
          </p:grpSpPr>
          <p:sp>
            <p:nvSpPr>
              <p:cNvPr id="17051" name="Freeform: Shape 17050">
                <a:extLst>
                  <a:ext uri="{FF2B5EF4-FFF2-40B4-BE49-F238E27FC236}">
                    <a16:creationId xmlns:a16="http://schemas.microsoft.com/office/drawing/2014/main" id="{5436FCC1-BD09-89F9-DFEE-A0691B339BB2}"/>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2" name="Freeform: Shape 17051">
                <a:extLst>
                  <a:ext uri="{FF2B5EF4-FFF2-40B4-BE49-F238E27FC236}">
                    <a16:creationId xmlns:a16="http://schemas.microsoft.com/office/drawing/2014/main" id="{959BDF5A-5ADB-F7E3-E14B-35CABB72FA65}"/>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0" name="Graphic 112">
              <a:extLst>
                <a:ext uri="{FF2B5EF4-FFF2-40B4-BE49-F238E27FC236}">
                  <a16:creationId xmlns:a16="http://schemas.microsoft.com/office/drawing/2014/main" id="{E6ED5A91-EF7A-08B6-A266-8365F118C4AF}"/>
                </a:ext>
              </a:extLst>
            </p:cNvPr>
            <p:cNvGrpSpPr/>
            <p:nvPr/>
          </p:nvGrpSpPr>
          <p:grpSpPr>
            <a:xfrm>
              <a:off x="6501574" y="4015263"/>
              <a:ext cx="75628" cy="75723"/>
              <a:chOff x="6501574" y="4015263"/>
              <a:chExt cx="75628" cy="75723"/>
            </a:xfrm>
          </p:grpSpPr>
          <p:sp>
            <p:nvSpPr>
              <p:cNvPr id="17049" name="Freeform: Shape 17048">
                <a:extLst>
                  <a:ext uri="{FF2B5EF4-FFF2-40B4-BE49-F238E27FC236}">
                    <a16:creationId xmlns:a16="http://schemas.microsoft.com/office/drawing/2014/main" id="{C66AE77C-907E-0DF5-BFC8-0ADA3721E347}"/>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0" name="Freeform: Shape 17049">
                <a:extLst>
                  <a:ext uri="{FF2B5EF4-FFF2-40B4-BE49-F238E27FC236}">
                    <a16:creationId xmlns:a16="http://schemas.microsoft.com/office/drawing/2014/main" id="{C96C957E-9356-7802-6EFC-C0DCFD4C6F66}"/>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1" name="Graphic 112">
              <a:extLst>
                <a:ext uri="{FF2B5EF4-FFF2-40B4-BE49-F238E27FC236}">
                  <a16:creationId xmlns:a16="http://schemas.microsoft.com/office/drawing/2014/main" id="{03FB645B-4AD1-3A3D-CA2A-4CF4E0E44C7D}"/>
                </a:ext>
              </a:extLst>
            </p:cNvPr>
            <p:cNvGrpSpPr/>
            <p:nvPr/>
          </p:nvGrpSpPr>
          <p:grpSpPr>
            <a:xfrm>
              <a:off x="6483000" y="3998309"/>
              <a:ext cx="75723" cy="75628"/>
              <a:chOff x="6483000" y="3998309"/>
              <a:chExt cx="75723" cy="75628"/>
            </a:xfrm>
          </p:grpSpPr>
          <p:sp>
            <p:nvSpPr>
              <p:cNvPr id="17047" name="Freeform: Shape 17046">
                <a:extLst>
                  <a:ext uri="{FF2B5EF4-FFF2-40B4-BE49-F238E27FC236}">
                    <a16:creationId xmlns:a16="http://schemas.microsoft.com/office/drawing/2014/main" id="{C3955F8A-2833-4FF7-B246-2ACF55AA0901}"/>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8" name="Freeform: Shape 17047">
                <a:extLst>
                  <a:ext uri="{FF2B5EF4-FFF2-40B4-BE49-F238E27FC236}">
                    <a16:creationId xmlns:a16="http://schemas.microsoft.com/office/drawing/2014/main" id="{4F8C56AA-5036-2BA6-5A3B-AE253D55CDB0}"/>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2" name="Graphic 112">
              <a:extLst>
                <a:ext uri="{FF2B5EF4-FFF2-40B4-BE49-F238E27FC236}">
                  <a16:creationId xmlns:a16="http://schemas.microsoft.com/office/drawing/2014/main" id="{DD9F907E-F3AA-8777-129D-FE67274E873B}"/>
                </a:ext>
              </a:extLst>
            </p:cNvPr>
            <p:cNvGrpSpPr/>
            <p:nvPr/>
          </p:nvGrpSpPr>
          <p:grpSpPr>
            <a:xfrm>
              <a:off x="6468141" y="3980021"/>
              <a:ext cx="75628" cy="75723"/>
              <a:chOff x="6468141" y="3980021"/>
              <a:chExt cx="75628" cy="75723"/>
            </a:xfrm>
          </p:grpSpPr>
          <p:sp>
            <p:nvSpPr>
              <p:cNvPr id="17045" name="Freeform: Shape 17044">
                <a:extLst>
                  <a:ext uri="{FF2B5EF4-FFF2-40B4-BE49-F238E27FC236}">
                    <a16:creationId xmlns:a16="http://schemas.microsoft.com/office/drawing/2014/main" id="{ADE7A3CF-1361-B85A-94D2-83010670318F}"/>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6" name="Freeform: Shape 17045">
                <a:extLst>
                  <a:ext uri="{FF2B5EF4-FFF2-40B4-BE49-F238E27FC236}">
                    <a16:creationId xmlns:a16="http://schemas.microsoft.com/office/drawing/2014/main" id="{454780B8-DFFE-F7DE-3A06-0EBC557C1944}"/>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3" name="Graphic 112">
              <a:extLst>
                <a:ext uri="{FF2B5EF4-FFF2-40B4-BE49-F238E27FC236}">
                  <a16:creationId xmlns:a16="http://schemas.microsoft.com/office/drawing/2014/main" id="{E6BC902A-95C1-E10C-2949-D81ABA6DC872}"/>
                </a:ext>
              </a:extLst>
            </p:cNvPr>
            <p:cNvGrpSpPr/>
            <p:nvPr/>
          </p:nvGrpSpPr>
          <p:grpSpPr>
            <a:xfrm>
              <a:off x="6095714" y="3871245"/>
              <a:ext cx="75723" cy="75628"/>
              <a:chOff x="6095714" y="3871245"/>
              <a:chExt cx="75723" cy="75628"/>
            </a:xfrm>
          </p:grpSpPr>
          <p:sp>
            <p:nvSpPr>
              <p:cNvPr id="17043" name="Freeform: Shape 17042">
                <a:extLst>
                  <a:ext uri="{FF2B5EF4-FFF2-40B4-BE49-F238E27FC236}">
                    <a16:creationId xmlns:a16="http://schemas.microsoft.com/office/drawing/2014/main" id="{2A823A83-F26F-86DC-BACB-A9506C5568AD}"/>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4" name="Freeform: Shape 17043">
                <a:extLst>
                  <a:ext uri="{FF2B5EF4-FFF2-40B4-BE49-F238E27FC236}">
                    <a16:creationId xmlns:a16="http://schemas.microsoft.com/office/drawing/2014/main" id="{7B6DD880-E347-5636-352D-CD3799568CFB}"/>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4" name="Graphic 112">
              <a:extLst>
                <a:ext uri="{FF2B5EF4-FFF2-40B4-BE49-F238E27FC236}">
                  <a16:creationId xmlns:a16="http://schemas.microsoft.com/office/drawing/2014/main" id="{AAED3A42-6AE5-0F62-365D-AAE7883CBFEC}"/>
                </a:ext>
              </a:extLst>
            </p:cNvPr>
            <p:cNvGrpSpPr/>
            <p:nvPr/>
          </p:nvGrpSpPr>
          <p:grpSpPr>
            <a:xfrm>
              <a:off x="6059995" y="3862673"/>
              <a:ext cx="75723" cy="75723"/>
              <a:chOff x="6059995" y="3862673"/>
              <a:chExt cx="75723" cy="75723"/>
            </a:xfrm>
          </p:grpSpPr>
          <p:sp>
            <p:nvSpPr>
              <p:cNvPr id="17041" name="Freeform: Shape 17040">
                <a:extLst>
                  <a:ext uri="{FF2B5EF4-FFF2-40B4-BE49-F238E27FC236}">
                    <a16:creationId xmlns:a16="http://schemas.microsoft.com/office/drawing/2014/main" id="{FED80426-5115-593D-EFBF-B4D23EC7895A}"/>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2" name="Freeform: Shape 17041">
                <a:extLst>
                  <a:ext uri="{FF2B5EF4-FFF2-40B4-BE49-F238E27FC236}">
                    <a16:creationId xmlns:a16="http://schemas.microsoft.com/office/drawing/2014/main" id="{DF7F24D5-03B2-D742-44D0-6DBC23F91699}"/>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5" name="Graphic 112">
              <a:extLst>
                <a:ext uri="{FF2B5EF4-FFF2-40B4-BE49-F238E27FC236}">
                  <a16:creationId xmlns:a16="http://schemas.microsoft.com/office/drawing/2014/main" id="{8D1C61BF-C782-FC7D-4CBC-3EDAC79B7D6E}"/>
                </a:ext>
              </a:extLst>
            </p:cNvPr>
            <p:cNvGrpSpPr/>
            <p:nvPr/>
          </p:nvGrpSpPr>
          <p:grpSpPr>
            <a:xfrm>
              <a:off x="6072282" y="3867531"/>
              <a:ext cx="75723" cy="75723"/>
              <a:chOff x="6072282" y="3867531"/>
              <a:chExt cx="75723" cy="75723"/>
            </a:xfrm>
          </p:grpSpPr>
          <p:sp>
            <p:nvSpPr>
              <p:cNvPr id="17039" name="Freeform: Shape 17038">
                <a:extLst>
                  <a:ext uri="{FF2B5EF4-FFF2-40B4-BE49-F238E27FC236}">
                    <a16:creationId xmlns:a16="http://schemas.microsoft.com/office/drawing/2014/main" id="{DA82C57C-9A4E-5FD8-51F1-830D7448E0E0}"/>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0" name="Freeform: Shape 17039">
                <a:extLst>
                  <a:ext uri="{FF2B5EF4-FFF2-40B4-BE49-F238E27FC236}">
                    <a16:creationId xmlns:a16="http://schemas.microsoft.com/office/drawing/2014/main" id="{4A77F838-D6B4-8FCB-97FF-19527E51000A}"/>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6" name="Graphic 112">
              <a:extLst>
                <a:ext uri="{FF2B5EF4-FFF2-40B4-BE49-F238E27FC236}">
                  <a16:creationId xmlns:a16="http://schemas.microsoft.com/office/drawing/2014/main" id="{10C082CC-2EDE-8C7D-DEA6-BCB5DEA33042}"/>
                </a:ext>
              </a:extLst>
            </p:cNvPr>
            <p:cNvGrpSpPr/>
            <p:nvPr/>
          </p:nvGrpSpPr>
          <p:grpSpPr>
            <a:xfrm>
              <a:off x="6045422" y="3850862"/>
              <a:ext cx="75628" cy="75628"/>
              <a:chOff x="6045422" y="3850862"/>
              <a:chExt cx="75628" cy="75628"/>
            </a:xfrm>
          </p:grpSpPr>
          <p:sp>
            <p:nvSpPr>
              <p:cNvPr id="17037" name="Freeform: Shape 17036">
                <a:extLst>
                  <a:ext uri="{FF2B5EF4-FFF2-40B4-BE49-F238E27FC236}">
                    <a16:creationId xmlns:a16="http://schemas.microsoft.com/office/drawing/2014/main" id="{B499D420-0CAD-9E31-4296-A5563F8446CF}"/>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8" name="Freeform: Shape 17037">
                <a:extLst>
                  <a:ext uri="{FF2B5EF4-FFF2-40B4-BE49-F238E27FC236}">
                    <a16:creationId xmlns:a16="http://schemas.microsoft.com/office/drawing/2014/main" id="{BB89C7B3-0FDB-2B2A-9363-F12B47121D49}"/>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7" name="Graphic 112">
              <a:extLst>
                <a:ext uri="{FF2B5EF4-FFF2-40B4-BE49-F238E27FC236}">
                  <a16:creationId xmlns:a16="http://schemas.microsoft.com/office/drawing/2014/main" id="{66B59F16-EB61-1D6A-259C-E18F8E7EDD1F}"/>
                </a:ext>
              </a:extLst>
            </p:cNvPr>
            <p:cNvGrpSpPr/>
            <p:nvPr/>
          </p:nvGrpSpPr>
          <p:grpSpPr>
            <a:xfrm>
              <a:off x="6034468" y="3840670"/>
              <a:ext cx="75723" cy="75723"/>
              <a:chOff x="6034468" y="3840670"/>
              <a:chExt cx="75723" cy="75723"/>
            </a:xfrm>
          </p:grpSpPr>
          <p:sp>
            <p:nvSpPr>
              <p:cNvPr id="17035" name="Freeform: Shape 17034">
                <a:extLst>
                  <a:ext uri="{FF2B5EF4-FFF2-40B4-BE49-F238E27FC236}">
                    <a16:creationId xmlns:a16="http://schemas.microsoft.com/office/drawing/2014/main" id="{E523FA60-8AB5-A30B-9E50-29CDEA7FC3A6}"/>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6" name="Freeform: Shape 17035">
                <a:extLst>
                  <a:ext uri="{FF2B5EF4-FFF2-40B4-BE49-F238E27FC236}">
                    <a16:creationId xmlns:a16="http://schemas.microsoft.com/office/drawing/2014/main" id="{FBE4FAA5-085A-C04E-9B66-90498B781D8D}"/>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8" name="Graphic 112">
              <a:extLst>
                <a:ext uri="{FF2B5EF4-FFF2-40B4-BE49-F238E27FC236}">
                  <a16:creationId xmlns:a16="http://schemas.microsoft.com/office/drawing/2014/main" id="{3A2AB48D-F57D-6003-EAF6-9FD3045A72A0}"/>
                </a:ext>
              </a:extLst>
            </p:cNvPr>
            <p:cNvGrpSpPr/>
            <p:nvPr/>
          </p:nvGrpSpPr>
          <p:grpSpPr>
            <a:xfrm>
              <a:off x="6025324" y="3833336"/>
              <a:ext cx="75723" cy="75723"/>
              <a:chOff x="6025324" y="3833336"/>
              <a:chExt cx="75723" cy="75723"/>
            </a:xfrm>
          </p:grpSpPr>
          <p:sp>
            <p:nvSpPr>
              <p:cNvPr id="17033" name="Freeform: Shape 17032">
                <a:extLst>
                  <a:ext uri="{FF2B5EF4-FFF2-40B4-BE49-F238E27FC236}">
                    <a16:creationId xmlns:a16="http://schemas.microsoft.com/office/drawing/2014/main" id="{FA82D3FF-A1A1-5840-DAA3-3B91778DB3AD}"/>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4" name="Freeform: Shape 17033">
                <a:extLst>
                  <a:ext uri="{FF2B5EF4-FFF2-40B4-BE49-F238E27FC236}">
                    <a16:creationId xmlns:a16="http://schemas.microsoft.com/office/drawing/2014/main" id="{96B6C946-8B49-8539-3144-174E9F2BAE16}"/>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9" name="Graphic 112">
              <a:extLst>
                <a:ext uri="{FF2B5EF4-FFF2-40B4-BE49-F238E27FC236}">
                  <a16:creationId xmlns:a16="http://schemas.microsoft.com/office/drawing/2014/main" id="{E20BADDB-EC73-ADA0-8E4B-386A3F30C503}"/>
                </a:ext>
              </a:extLst>
            </p:cNvPr>
            <p:cNvGrpSpPr/>
            <p:nvPr/>
          </p:nvGrpSpPr>
          <p:grpSpPr>
            <a:xfrm>
              <a:off x="6015037" y="3806571"/>
              <a:ext cx="75628" cy="75723"/>
              <a:chOff x="6015037" y="3806571"/>
              <a:chExt cx="75628" cy="75723"/>
            </a:xfrm>
          </p:grpSpPr>
          <p:sp>
            <p:nvSpPr>
              <p:cNvPr id="17031" name="Freeform: Shape 17030">
                <a:extLst>
                  <a:ext uri="{FF2B5EF4-FFF2-40B4-BE49-F238E27FC236}">
                    <a16:creationId xmlns:a16="http://schemas.microsoft.com/office/drawing/2014/main" id="{294214A2-04FE-F3C9-0E45-99ED789E6C5A}"/>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2" name="Freeform: Shape 17031">
                <a:extLst>
                  <a:ext uri="{FF2B5EF4-FFF2-40B4-BE49-F238E27FC236}">
                    <a16:creationId xmlns:a16="http://schemas.microsoft.com/office/drawing/2014/main" id="{92DDAB13-71E3-5BD9-D246-B222CFE5F421}"/>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0" name="Graphic 112">
              <a:extLst>
                <a:ext uri="{FF2B5EF4-FFF2-40B4-BE49-F238E27FC236}">
                  <a16:creationId xmlns:a16="http://schemas.microsoft.com/office/drawing/2014/main" id="{4C1F7E8F-C65C-2A5D-8050-AFE8F99776EC}"/>
                </a:ext>
              </a:extLst>
            </p:cNvPr>
            <p:cNvGrpSpPr/>
            <p:nvPr/>
          </p:nvGrpSpPr>
          <p:grpSpPr>
            <a:xfrm>
              <a:off x="5953029" y="3802856"/>
              <a:ext cx="75628" cy="75628"/>
              <a:chOff x="5953029" y="3802856"/>
              <a:chExt cx="75628" cy="75628"/>
            </a:xfrm>
          </p:grpSpPr>
          <p:sp>
            <p:nvSpPr>
              <p:cNvPr id="17029" name="Freeform: Shape 17028">
                <a:extLst>
                  <a:ext uri="{FF2B5EF4-FFF2-40B4-BE49-F238E27FC236}">
                    <a16:creationId xmlns:a16="http://schemas.microsoft.com/office/drawing/2014/main" id="{8711233F-48E2-CE35-03E7-E02B62D07108}"/>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0" name="Freeform: Shape 17029">
                <a:extLst>
                  <a:ext uri="{FF2B5EF4-FFF2-40B4-BE49-F238E27FC236}">
                    <a16:creationId xmlns:a16="http://schemas.microsoft.com/office/drawing/2014/main" id="{54EFFF5C-137D-9135-3F75-AC8F7F6DF510}"/>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1" name="Graphic 112">
              <a:extLst>
                <a:ext uri="{FF2B5EF4-FFF2-40B4-BE49-F238E27FC236}">
                  <a16:creationId xmlns:a16="http://schemas.microsoft.com/office/drawing/2014/main" id="{96784918-03E9-B225-4312-6EC463B7D810}"/>
                </a:ext>
              </a:extLst>
            </p:cNvPr>
            <p:cNvGrpSpPr/>
            <p:nvPr/>
          </p:nvGrpSpPr>
          <p:grpSpPr>
            <a:xfrm>
              <a:off x="5999130" y="3806571"/>
              <a:ext cx="75723" cy="75723"/>
              <a:chOff x="5999130" y="3806571"/>
              <a:chExt cx="75723" cy="75723"/>
            </a:xfrm>
          </p:grpSpPr>
          <p:sp>
            <p:nvSpPr>
              <p:cNvPr id="17027" name="Freeform: Shape 17026">
                <a:extLst>
                  <a:ext uri="{FF2B5EF4-FFF2-40B4-BE49-F238E27FC236}">
                    <a16:creationId xmlns:a16="http://schemas.microsoft.com/office/drawing/2014/main" id="{09768960-BD13-DB50-9383-5B22C54A4DF6}"/>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8" name="Freeform: Shape 17027">
                <a:extLst>
                  <a:ext uri="{FF2B5EF4-FFF2-40B4-BE49-F238E27FC236}">
                    <a16:creationId xmlns:a16="http://schemas.microsoft.com/office/drawing/2014/main" id="{2B777319-F8E4-FDD3-E268-9AB4F6E83428}"/>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2" name="Graphic 112">
              <a:extLst>
                <a:ext uri="{FF2B5EF4-FFF2-40B4-BE49-F238E27FC236}">
                  <a16:creationId xmlns:a16="http://schemas.microsoft.com/office/drawing/2014/main" id="{56F1230E-7C76-C967-D230-032580AB97E2}"/>
                </a:ext>
              </a:extLst>
            </p:cNvPr>
            <p:cNvGrpSpPr/>
            <p:nvPr/>
          </p:nvGrpSpPr>
          <p:grpSpPr>
            <a:xfrm>
              <a:off x="5553551" y="3678459"/>
              <a:ext cx="75723" cy="75723"/>
              <a:chOff x="5553551" y="3678459"/>
              <a:chExt cx="75723" cy="75723"/>
            </a:xfrm>
          </p:grpSpPr>
          <p:sp>
            <p:nvSpPr>
              <p:cNvPr id="17025" name="Freeform: Shape 17024">
                <a:extLst>
                  <a:ext uri="{FF2B5EF4-FFF2-40B4-BE49-F238E27FC236}">
                    <a16:creationId xmlns:a16="http://schemas.microsoft.com/office/drawing/2014/main" id="{1C387CE9-314F-34A7-70B8-1CE40EE9B042}"/>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6" name="Freeform: Shape 17025">
                <a:extLst>
                  <a:ext uri="{FF2B5EF4-FFF2-40B4-BE49-F238E27FC236}">
                    <a16:creationId xmlns:a16="http://schemas.microsoft.com/office/drawing/2014/main" id="{8722E38B-CC45-5D61-22B2-8430B2520A64}"/>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3" name="Graphic 112">
              <a:extLst>
                <a:ext uri="{FF2B5EF4-FFF2-40B4-BE49-F238E27FC236}">
                  <a16:creationId xmlns:a16="http://schemas.microsoft.com/office/drawing/2014/main" id="{2279A30A-DE8D-5932-A4B6-F337A2F31B18}"/>
                </a:ext>
              </a:extLst>
            </p:cNvPr>
            <p:cNvGrpSpPr/>
            <p:nvPr/>
          </p:nvGrpSpPr>
          <p:grpSpPr>
            <a:xfrm>
              <a:off x="5569362" y="3685794"/>
              <a:ext cx="75723" cy="75628"/>
              <a:chOff x="5569362" y="3685794"/>
              <a:chExt cx="75723" cy="75628"/>
            </a:xfrm>
          </p:grpSpPr>
          <p:sp>
            <p:nvSpPr>
              <p:cNvPr id="17023" name="Freeform: Shape 17022">
                <a:extLst>
                  <a:ext uri="{FF2B5EF4-FFF2-40B4-BE49-F238E27FC236}">
                    <a16:creationId xmlns:a16="http://schemas.microsoft.com/office/drawing/2014/main" id="{D6CB6131-9FD6-0BEF-15A4-0A7AAC3CE176}"/>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4" name="Freeform: Shape 17023">
                <a:extLst>
                  <a:ext uri="{FF2B5EF4-FFF2-40B4-BE49-F238E27FC236}">
                    <a16:creationId xmlns:a16="http://schemas.microsoft.com/office/drawing/2014/main" id="{C9481E8D-9216-D902-6822-3DCDEBD05A2C}"/>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4" name="Graphic 112">
              <a:extLst>
                <a:ext uri="{FF2B5EF4-FFF2-40B4-BE49-F238E27FC236}">
                  <a16:creationId xmlns:a16="http://schemas.microsoft.com/office/drawing/2014/main" id="{08FC8D2F-0B19-AE5A-0139-1BA46F149D2A}"/>
                </a:ext>
              </a:extLst>
            </p:cNvPr>
            <p:cNvGrpSpPr/>
            <p:nvPr/>
          </p:nvGrpSpPr>
          <p:grpSpPr>
            <a:xfrm>
              <a:off x="5586412" y="3694271"/>
              <a:ext cx="75628" cy="75723"/>
              <a:chOff x="5586412" y="3694271"/>
              <a:chExt cx="75628" cy="75723"/>
            </a:xfrm>
          </p:grpSpPr>
          <p:sp>
            <p:nvSpPr>
              <p:cNvPr id="17021" name="Freeform: Shape 17020">
                <a:extLst>
                  <a:ext uri="{FF2B5EF4-FFF2-40B4-BE49-F238E27FC236}">
                    <a16:creationId xmlns:a16="http://schemas.microsoft.com/office/drawing/2014/main" id="{99C8DB89-579B-8618-CBD1-9EC72C3E3ECB}"/>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2" name="Freeform: Shape 17021">
                <a:extLst>
                  <a:ext uri="{FF2B5EF4-FFF2-40B4-BE49-F238E27FC236}">
                    <a16:creationId xmlns:a16="http://schemas.microsoft.com/office/drawing/2014/main" id="{900BC225-AEE0-4591-C8FF-7B7181D15E15}"/>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5" name="Graphic 112">
              <a:extLst>
                <a:ext uri="{FF2B5EF4-FFF2-40B4-BE49-F238E27FC236}">
                  <a16:creationId xmlns:a16="http://schemas.microsoft.com/office/drawing/2014/main" id="{9CE5F20C-76A9-8DCC-AC53-E69C8DD640F0}"/>
                </a:ext>
              </a:extLst>
            </p:cNvPr>
            <p:cNvGrpSpPr/>
            <p:nvPr/>
          </p:nvGrpSpPr>
          <p:grpSpPr>
            <a:xfrm>
              <a:off x="5599176" y="3699414"/>
              <a:ext cx="75628" cy="75723"/>
              <a:chOff x="5599176" y="3699414"/>
              <a:chExt cx="75628" cy="75723"/>
            </a:xfrm>
          </p:grpSpPr>
          <p:sp>
            <p:nvSpPr>
              <p:cNvPr id="17019" name="Freeform: Shape 17018">
                <a:extLst>
                  <a:ext uri="{FF2B5EF4-FFF2-40B4-BE49-F238E27FC236}">
                    <a16:creationId xmlns:a16="http://schemas.microsoft.com/office/drawing/2014/main" id="{AB1E896E-DE8E-DAF0-40C8-D1814813375D}"/>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0" name="Freeform: Shape 17019">
                <a:extLst>
                  <a:ext uri="{FF2B5EF4-FFF2-40B4-BE49-F238E27FC236}">
                    <a16:creationId xmlns:a16="http://schemas.microsoft.com/office/drawing/2014/main" id="{17E9482D-CEF5-8FC0-92D7-6A555CEB12F7}"/>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6" name="Graphic 112">
              <a:extLst>
                <a:ext uri="{FF2B5EF4-FFF2-40B4-BE49-F238E27FC236}">
                  <a16:creationId xmlns:a16="http://schemas.microsoft.com/office/drawing/2014/main" id="{AB5BE0D3-CEC3-C89C-55F5-C40FDEC02988}"/>
                </a:ext>
              </a:extLst>
            </p:cNvPr>
            <p:cNvGrpSpPr/>
            <p:nvPr/>
          </p:nvGrpSpPr>
          <p:grpSpPr>
            <a:xfrm>
              <a:off x="5610701" y="3709130"/>
              <a:ext cx="75723" cy="75723"/>
              <a:chOff x="5610701" y="3709130"/>
              <a:chExt cx="75723" cy="75723"/>
            </a:xfrm>
          </p:grpSpPr>
          <p:sp>
            <p:nvSpPr>
              <p:cNvPr id="17017" name="Freeform: Shape 17016">
                <a:extLst>
                  <a:ext uri="{FF2B5EF4-FFF2-40B4-BE49-F238E27FC236}">
                    <a16:creationId xmlns:a16="http://schemas.microsoft.com/office/drawing/2014/main" id="{6CC9407D-43E5-C5C1-6E80-FA5B6C6838F5}"/>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8" name="Freeform: Shape 17017">
                <a:extLst>
                  <a:ext uri="{FF2B5EF4-FFF2-40B4-BE49-F238E27FC236}">
                    <a16:creationId xmlns:a16="http://schemas.microsoft.com/office/drawing/2014/main" id="{DB38354D-AA25-DC47-8229-E9E485AAE532}"/>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7" name="Graphic 112">
              <a:extLst>
                <a:ext uri="{FF2B5EF4-FFF2-40B4-BE49-F238E27FC236}">
                  <a16:creationId xmlns:a16="http://schemas.microsoft.com/office/drawing/2014/main" id="{CD8AFD26-7BE8-4ACE-5734-C6040D5F1B24}"/>
                </a:ext>
              </a:extLst>
            </p:cNvPr>
            <p:cNvGrpSpPr/>
            <p:nvPr/>
          </p:nvGrpSpPr>
          <p:grpSpPr>
            <a:xfrm>
              <a:off x="5619845" y="3716274"/>
              <a:ext cx="75628" cy="75723"/>
              <a:chOff x="5619845" y="3716274"/>
              <a:chExt cx="75628" cy="75723"/>
            </a:xfrm>
          </p:grpSpPr>
          <p:sp>
            <p:nvSpPr>
              <p:cNvPr id="17015" name="Freeform: Shape 17014">
                <a:extLst>
                  <a:ext uri="{FF2B5EF4-FFF2-40B4-BE49-F238E27FC236}">
                    <a16:creationId xmlns:a16="http://schemas.microsoft.com/office/drawing/2014/main" id="{B5145E27-8FC8-1862-14F2-FB4B98BE60CA}"/>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6" name="Freeform: Shape 17015">
                <a:extLst>
                  <a:ext uri="{FF2B5EF4-FFF2-40B4-BE49-F238E27FC236}">
                    <a16:creationId xmlns:a16="http://schemas.microsoft.com/office/drawing/2014/main" id="{6737EC93-5B4B-EA88-BF1E-03C860C498CB}"/>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8" name="Graphic 112">
              <a:extLst>
                <a:ext uri="{FF2B5EF4-FFF2-40B4-BE49-F238E27FC236}">
                  <a16:creationId xmlns:a16="http://schemas.microsoft.com/office/drawing/2014/main" id="{54198EDB-53EB-03CC-C05A-EB2AC93488AF}"/>
                </a:ext>
              </a:extLst>
            </p:cNvPr>
            <p:cNvGrpSpPr/>
            <p:nvPr/>
          </p:nvGrpSpPr>
          <p:grpSpPr>
            <a:xfrm>
              <a:off x="5619845" y="3737324"/>
              <a:ext cx="75628" cy="75628"/>
              <a:chOff x="5619845" y="3737324"/>
              <a:chExt cx="75628" cy="75628"/>
            </a:xfrm>
          </p:grpSpPr>
          <p:sp>
            <p:nvSpPr>
              <p:cNvPr id="17013" name="Freeform: Shape 17012">
                <a:extLst>
                  <a:ext uri="{FF2B5EF4-FFF2-40B4-BE49-F238E27FC236}">
                    <a16:creationId xmlns:a16="http://schemas.microsoft.com/office/drawing/2014/main" id="{6E053D3D-2D10-83BD-9D85-C04C2C4B1471}"/>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4" name="Freeform: Shape 17013">
                <a:extLst>
                  <a:ext uri="{FF2B5EF4-FFF2-40B4-BE49-F238E27FC236}">
                    <a16:creationId xmlns:a16="http://schemas.microsoft.com/office/drawing/2014/main" id="{970CCEBA-2460-F144-3E54-FF248AC6E790}"/>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9" name="Graphic 112">
              <a:extLst>
                <a:ext uri="{FF2B5EF4-FFF2-40B4-BE49-F238E27FC236}">
                  <a16:creationId xmlns:a16="http://schemas.microsoft.com/office/drawing/2014/main" id="{F41F6961-3638-3386-2F01-9D8E2A6EDC70}"/>
                </a:ext>
              </a:extLst>
            </p:cNvPr>
            <p:cNvGrpSpPr/>
            <p:nvPr/>
          </p:nvGrpSpPr>
          <p:grpSpPr>
            <a:xfrm>
              <a:off x="5619845" y="3757707"/>
              <a:ext cx="75628" cy="75628"/>
              <a:chOff x="5619845" y="3757707"/>
              <a:chExt cx="75628" cy="75628"/>
            </a:xfrm>
          </p:grpSpPr>
          <p:sp>
            <p:nvSpPr>
              <p:cNvPr id="17011" name="Freeform: Shape 17010">
                <a:extLst>
                  <a:ext uri="{FF2B5EF4-FFF2-40B4-BE49-F238E27FC236}">
                    <a16:creationId xmlns:a16="http://schemas.microsoft.com/office/drawing/2014/main" id="{B8F678F6-E102-FBE6-F599-F78965395F13}"/>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2" name="Freeform: Shape 17011">
                <a:extLst>
                  <a:ext uri="{FF2B5EF4-FFF2-40B4-BE49-F238E27FC236}">
                    <a16:creationId xmlns:a16="http://schemas.microsoft.com/office/drawing/2014/main" id="{FBF56905-E4AE-7876-B424-1C8A0AB6C869}"/>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0" name="Graphic 112">
              <a:extLst>
                <a:ext uri="{FF2B5EF4-FFF2-40B4-BE49-F238E27FC236}">
                  <a16:creationId xmlns:a16="http://schemas.microsoft.com/office/drawing/2014/main" id="{893D0EFC-D196-BBA6-A48D-926CB7BAEAB8}"/>
                </a:ext>
              </a:extLst>
            </p:cNvPr>
            <p:cNvGrpSpPr/>
            <p:nvPr/>
          </p:nvGrpSpPr>
          <p:grpSpPr>
            <a:xfrm>
              <a:off x="5631942" y="3764946"/>
              <a:ext cx="75723" cy="75723"/>
              <a:chOff x="5631942" y="3764946"/>
              <a:chExt cx="75723" cy="75723"/>
            </a:xfrm>
          </p:grpSpPr>
          <p:sp>
            <p:nvSpPr>
              <p:cNvPr id="17009" name="Freeform: Shape 17008">
                <a:extLst>
                  <a:ext uri="{FF2B5EF4-FFF2-40B4-BE49-F238E27FC236}">
                    <a16:creationId xmlns:a16="http://schemas.microsoft.com/office/drawing/2014/main" id="{9226114C-D4C1-2D48-EDDA-E2CA583C2033}"/>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0" name="Freeform: Shape 17009">
                <a:extLst>
                  <a:ext uri="{FF2B5EF4-FFF2-40B4-BE49-F238E27FC236}">
                    <a16:creationId xmlns:a16="http://schemas.microsoft.com/office/drawing/2014/main" id="{C54144AF-B119-6F26-2147-2B59A0E21CD6}"/>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1" name="Graphic 112">
              <a:extLst>
                <a:ext uri="{FF2B5EF4-FFF2-40B4-BE49-F238E27FC236}">
                  <a16:creationId xmlns:a16="http://schemas.microsoft.com/office/drawing/2014/main" id="{D4F5055D-25CA-FDE2-15B4-D8873FC93D45}"/>
                </a:ext>
              </a:extLst>
            </p:cNvPr>
            <p:cNvGrpSpPr/>
            <p:nvPr/>
          </p:nvGrpSpPr>
          <p:grpSpPr>
            <a:xfrm>
              <a:off x="5648515" y="3764946"/>
              <a:ext cx="75723" cy="75723"/>
              <a:chOff x="5648515" y="3764946"/>
              <a:chExt cx="75723" cy="75723"/>
            </a:xfrm>
          </p:grpSpPr>
          <p:sp>
            <p:nvSpPr>
              <p:cNvPr id="17007" name="Freeform: Shape 17006">
                <a:extLst>
                  <a:ext uri="{FF2B5EF4-FFF2-40B4-BE49-F238E27FC236}">
                    <a16:creationId xmlns:a16="http://schemas.microsoft.com/office/drawing/2014/main" id="{8AFDFE03-049C-6166-1F35-FBD28EEF3867}"/>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8" name="Freeform: Shape 17007">
                <a:extLst>
                  <a:ext uri="{FF2B5EF4-FFF2-40B4-BE49-F238E27FC236}">
                    <a16:creationId xmlns:a16="http://schemas.microsoft.com/office/drawing/2014/main" id="{EA4B6F30-A958-ADB5-08C4-38ACF5784194}"/>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2" name="Graphic 112">
              <a:extLst>
                <a:ext uri="{FF2B5EF4-FFF2-40B4-BE49-F238E27FC236}">
                  <a16:creationId xmlns:a16="http://schemas.microsoft.com/office/drawing/2014/main" id="{97A54341-D88B-031B-0799-AC722BA1F09D}"/>
                </a:ext>
              </a:extLst>
            </p:cNvPr>
            <p:cNvGrpSpPr/>
            <p:nvPr/>
          </p:nvGrpSpPr>
          <p:grpSpPr>
            <a:xfrm>
              <a:off x="5662041" y="3764946"/>
              <a:ext cx="75723" cy="75723"/>
              <a:chOff x="5662041" y="3764946"/>
              <a:chExt cx="75723" cy="75723"/>
            </a:xfrm>
          </p:grpSpPr>
          <p:sp>
            <p:nvSpPr>
              <p:cNvPr id="17005" name="Freeform: Shape 17004">
                <a:extLst>
                  <a:ext uri="{FF2B5EF4-FFF2-40B4-BE49-F238E27FC236}">
                    <a16:creationId xmlns:a16="http://schemas.microsoft.com/office/drawing/2014/main" id="{730F9354-5766-1A3F-1473-16D9B62F1B56}"/>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6" name="Freeform: Shape 17005">
                <a:extLst>
                  <a:ext uri="{FF2B5EF4-FFF2-40B4-BE49-F238E27FC236}">
                    <a16:creationId xmlns:a16="http://schemas.microsoft.com/office/drawing/2014/main" id="{32D54592-1B30-E398-427A-791FEC7B35BE}"/>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3" name="Graphic 112">
              <a:extLst>
                <a:ext uri="{FF2B5EF4-FFF2-40B4-BE49-F238E27FC236}">
                  <a16:creationId xmlns:a16="http://schemas.microsoft.com/office/drawing/2014/main" id="{78839FA9-5237-66E4-49A7-7E845A08ADDE}"/>
                </a:ext>
              </a:extLst>
            </p:cNvPr>
            <p:cNvGrpSpPr/>
            <p:nvPr/>
          </p:nvGrpSpPr>
          <p:grpSpPr>
            <a:xfrm>
              <a:off x="5075110" y="3425571"/>
              <a:ext cx="75628" cy="75723"/>
              <a:chOff x="5075110" y="3425571"/>
              <a:chExt cx="75628" cy="75723"/>
            </a:xfrm>
          </p:grpSpPr>
          <p:sp>
            <p:nvSpPr>
              <p:cNvPr id="17003" name="Freeform: Shape 17002">
                <a:extLst>
                  <a:ext uri="{FF2B5EF4-FFF2-40B4-BE49-F238E27FC236}">
                    <a16:creationId xmlns:a16="http://schemas.microsoft.com/office/drawing/2014/main" id="{4341DEA0-1C38-4858-BC2C-7D191C2110E8}"/>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4" name="Freeform: Shape 17003">
                <a:extLst>
                  <a:ext uri="{FF2B5EF4-FFF2-40B4-BE49-F238E27FC236}">
                    <a16:creationId xmlns:a16="http://schemas.microsoft.com/office/drawing/2014/main" id="{6EDA5B16-18E7-2893-DF66-E24B785E48B4}"/>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4" name="Graphic 112">
              <a:extLst>
                <a:ext uri="{FF2B5EF4-FFF2-40B4-BE49-F238E27FC236}">
                  <a16:creationId xmlns:a16="http://schemas.microsoft.com/office/drawing/2014/main" id="{F1E86A69-883D-F2F1-E44C-AB4CC0174FA7}"/>
                </a:ext>
              </a:extLst>
            </p:cNvPr>
            <p:cNvGrpSpPr/>
            <p:nvPr/>
          </p:nvGrpSpPr>
          <p:grpSpPr>
            <a:xfrm>
              <a:off x="5099970" y="3425571"/>
              <a:ext cx="75723" cy="75723"/>
              <a:chOff x="5099970" y="3425571"/>
              <a:chExt cx="75723" cy="75723"/>
            </a:xfrm>
          </p:grpSpPr>
          <p:sp>
            <p:nvSpPr>
              <p:cNvPr id="17001" name="Freeform: Shape 17000">
                <a:extLst>
                  <a:ext uri="{FF2B5EF4-FFF2-40B4-BE49-F238E27FC236}">
                    <a16:creationId xmlns:a16="http://schemas.microsoft.com/office/drawing/2014/main" id="{551714CB-F197-A920-DBE4-40BDDB908D77}"/>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2" name="Freeform: Shape 17001">
                <a:extLst>
                  <a:ext uri="{FF2B5EF4-FFF2-40B4-BE49-F238E27FC236}">
                    <a16:creationId xmlns:a16="http://schemas.microsoft.com/office/drawing/2014/main" id="{2C20F68D-8109-5354-3F48-86E87609F4ED}"/>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5" name="Graphic 112">
              <a:extLst>
                <a:ext uri="{FF2B5EF4-FFF2-40B4-BE49-F238E27FC236}">
                  <a16:creationId xmlns:a16="http://schemas.microsoft.com/office/drawing/2014/main" id="{A1A7204A-5B68-5708-5FFB-51B55AFF47A2}"/>
                </a:ext>
              </a:extLst>
            </p:cNvPr>
            <p:cNvGrpSpPr/>
            <p:nvPr/>
          </p:nvGrpSpPr>
          <p:grpSpPr>
            <a:xfrm>
              <a:off x="5137880" y="3463385"/>
              <a:ext cx="75628" cy="75723"/>
              <a:chOff x="5137880" y="3463385"/>
              <a:chExt cx="75628" cy="75723"/>
            </a:xfrm>
          </p:grpSpPr>
          <p:sp>
            <p:nvSpPr>
              <p:cNvPr id="16999" name="Freeform: Shape 16998">
                <a:extLst>
                  <a:ext uri="{FF2B5EF4-FFF2-40B4-BE49-F238E27FC236}">
                    <a16:creationId xmlns:a16="http://schemas.microsoft.com/office/drawing/2014/main" id="{5025F9DF-60A4-0830-FEA0-282F7E7A9FED}"/>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0" name="Freeform: Shape 16999">
                <a:extLst>
                  <a:ext uri="{FF2B5EF4-FFF2-40B4-BE49-F238E27FC236}">
                    <a16:creationId xmlns:a16="http://schemas.microsoft.com/office/drawing/2014/main" id="{C70FD30F-00A5-D462-8DE6-E66C58919AE4}"/>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6" name="Graphic 112">
              <a:extLst>
                <a:ext uri="{FF2B5EF4-FFF2-40B4-BE49-F238E27FC236}">
                  <a16:creationId xmlns:a16="http://schemas.microsoft.com/office/drawing/2014/main" id="{448AC346-1998-820A-46C0-6E8BAC1CD91E}"/>
                </a:ext>
              </a:extLst>
            </p:cNvPr>
            <p:cNvGrpSpPr/>
            <p:nvPr/>
          </p:nvGrpSpPr>
          <p:grpSpPr>
            <a:xfrm>
              <a:off x="5152167" y="3463385"/>
              <a:ext cx="75723" cy="75723"/>
              <a:chOff x="5152167" y="3463385"/>
              <a:chExt cx="75723" cy="75723"/>
            </a:xfrm>
          </p:grpSpPr>
          <p:sp>
            <p:nvSpPr>
              <p:cNvPr id="16997" name="Freeform: Shape 16996">
                <a:extLst>
                  <a:ext uri="{FF2B5EF4-FFF2-40B4-BE49-F238E27FC236}">
                    <a16:creationId xmlns:a16="http://schemas.microsoft.com/office/drawing/2014/main" id="{03F7E896-B2B1-539A-8D7B-AA7F95126BD6}"/>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8" name="Freeform: Shape 16997">
                <a:extLst>
                  <a:ext uri="{FF2B5EF4-FFF2-40B4-BE49-F238E27FC236}">
                    <a16:creationId xmlns:a16="http://schemas.microsoft.com/office/drawing/2014/main" id="{B0AABDD3-612B-151B-21FB-ADF062B8C378}"/>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7" name="Graphic 112">
              <a:extLst>
                <a:ext uri="{FF2B5EF4-FFF2-40B4-BE49-F238E27FC236}">
                  <a16:creationId xmlns:a16="http://schemas.microsoft.com/office/drawing/2014/main" id="{7192FE20-54B4-492A-7D4D-B4BEFC0325A2}"/>
                </a:ext>
              </a:extLst>
            </p:cNvPr>
            <p:cNvGrpSpPr/>
            <p:nvPr/>
          </p:nvGrpSpPr>
          <p:grpSpPr>
            <a:xfrm>
              <a:off x="5166550" y="3463385"/>
              <a:ext cx="75628" cy="75723"/>
              <a:chOff x="5166550" y="3463385"/>
              <a:chExt cx="75628" cy="75723"/>
            </a:xfrm>
          </p:grpSpPr>
          <p:sp>
            <p:nvSpPr>
              <p:cNvPr id="16995" name="Freeform: Shape 16994">
                <a:extLst>
                  <a:ext uri="{FF2B5EF4-FFF2-40B4-BE49-F238E27FC236}">
                    <a16:creationId xmlns:a16="http://schemas.microsoft.com/office/drawing/2014/main" id="{442866D5-E485-5299-AE49-771B7A844CC0}"/>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6" name="Freeform: Shape 16995">
                <a:extLst>
                  <a:ext uri="{FF2B5EF4-FFF2-40B4-BE49-F238E27FC236}">
                    <a16:creationId xmlns:a16="http://schemas.microsoft.com/office/drawing/2014/main" id="{84AFEFE0-4EAD-FE28-183E-F2E09173F6E3}"/>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8" name="Graphic 112">
              <a:extLst>
                <a:ext uri="{FF2B5EF4-FFF2-40B4-BE49-F238E27FC236}">
                  <a16:creationId xmlns:a16="http://schemas.microsoft.com/office/drawing/2014/main" id="{7F120341-5658-EE77-499D-7B24C84A3071}"/>
                </a:ext>
              </a:extLst>
            </p:cNvPr>
            <p:cNvGrpSpPr/>
            <p:nvPr/>
          </p:nvGrpSpPr>
          <p:grpSpPr>
            <a:xfrm>
              <a:off x="5180838" y="3523107"/>
              <a:ext cx="75723" cy="75723"/>
              <a:chOff x="5180838" y="3523107"/>
              <a:chExt cx="75723" cy="75723"/>
            </a:xfrm>
          </p:grpSpPr>
          <p:sp>
            <p:nvSpPr>
              <p:cNvPr id="16993" name="Freeform: Shape 16992">
                <a:extLst>
                  <a:ext uri="{FF2B5EF4-FFF2-40B4-BE49-F238E27FC236}">
                    <a16:creationId xmlns:a16="http://schemas.microsoft.com/office/drawing/2014/main" id="{22B5C8B2-D818-A185-6C8C-43DC317CA9E3}"/>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4" name="Freeform: Shape 16993">
                <a:extLst>
                  <a:ext uri="{FF2B5EF4-FFF2-40B4-BE49-F238E27FC236}">
                    <a16:creationId xmlns:a16="http://schemas.microsoft.com/office/drawing/2014/main" id="{027CED88-4BA3-53A8-EB41-9764D36EB826}"/>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9" name="Graphic 112">
              <a:extLst>
                <a:ext uri="{FF2B5EF4-FFF2-40B4-BE49-F238E27FC236}">
                  <a16:creationId xmlns:a16="http://schemas.microsoft.com/office/drawing/2014/main" id="{1663C82C-5028-F228-D5D8-990EF94A938B}"/>
                </a:ext>
              </a:extLst>
            </p:cNvPr>
            <p:cNvGrpSpPr/>
            <p:nvPr/>
          </p:nvGrpSpPr>
          <p:grpSpPr>
            <a:xfrm>
              <a:off x="5227701" y="3598830"/>
              <a:ext cx="75628" cy="75723"/>
              <a:chOff x="5227701" y="3598830"/>
              <a:chExt cx="75628" cy="75723"/>
            </a:xfrm>
          </p:grpSpPr>
          <p:sp>
            <p:nvSpPr>
              <p:cNvPr id="16991" name="Freeform: Shape 16990">
                <a:extLst>
                  <a:ext uri="{FF2B5EF4-FFF2-40B4-BE49-F238E27FC236}">
                    <a16:creationId xmlns:a16="http://schemas.microsoft.com/office/drawing/2014/main" id="{D6CCE4A6-9EFD-EDA1-55C6-F5DEF736520C}"/>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2" name="Freeform: Shape 16991">
                <a:extLst>
                  <a:ext uri="{FF2B5EF4-FFF2-40B4-BE49-F238E27FC236}">
                    <a16:creationId xmlns:a16="http://schemas.microsoft.com/office/drawing/2014/main" id="{A3133F0D-D0EE-5430-BAA9-315F99BE9C3D}"/>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0" name="Graphic 112">
              <a:extLst>
                <a:ext uri="{FF2B5EF4-FFF2-40B4-BE49-F238E27FC236}">
                  <a16:creationId xmlns:a16="http://schemas.microsoft.com/office/drawing/2014/main" id="{42DFFE42-A59C-E1F5-3FA3-8F1C2F74C118}"/>
                </a:ext>
              </a:extLst>
            </p:cNvPr>
            <p:cNvGrpSpPr/>
            <p:nvPr/>
          </p:nvGrpSpPr>
          <p:grpSpPr>
            <a:xfrm>
              <a:off x="5195316" y="3549015"/>
              <a:ext cx="75628" cy="75628"/>
              <a:chOff x="5195316" y="3549015"/>
              <a:chExt cx="75628" cy="75628"/>
            </a:xfrm>
          </p:grpSpPr>
          <p:sp>
            <p:nvSpPr>
              <p:cNvPr id="16989" name="Freeform: Shape 16988">
                <a:extLst>
                  <a:ext uri="{FF2B5EF4-FFF2-40B4-BE49-F238E27FC236}">
                    <a16:creationId xmlns:a16="http://schemas.microsoft.com/office/drawing/2014/main" id="{4E28B675-2AE2-DC82-DB81-04C87C96519B}"/>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0" name="Freeform: Shape 16989">
                <a:extLst>
                  <a:ext uri="{FF2B5EF4-FFF2-40B4-BE49-F238E27FC236}">
                    <a16:creationId xmlns:a16="http://schemas.microsoft.com/office/drawing/2014/main" id="{7E1508AB-F0C3-68F9-65BE-77906CBB9D10}"/>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1" name="Graphic 112">
              <a:extLst>
                <a:ext uri="{FF2B5EF4-FFF2-40B4-BE49-F238E27FC236}">
                  <a16:creationId xmlns:a16="http://schemas.microsoft.com/office/drawing/2014/main" id="{66304D31-9768-9283-1025-FC98B9085A52}"/>
                </a:ext>
              </a:extLst>
            </p:cNvPr>
            <p:cNvGrpSpPr/>
            <p:nvPr/>
          </p:nvGrpSpPr>
          <p:grpSpPr>
            <a:xfrm>
              <a:off x="5184362" y="3549015"/>
              <a:ext cx="75723" cy="75628"/>
              <a:chOff x="5184362" y="3549015"/>
              <a:chExt cx="75723" cy="75628"/>
            </a:xfrm>
          </p:grpSpPr>
          <p:sp>
            <p:nvSpPr>
              <p:cNvPr id="16987" name="Freeform: Shape 16986">
                <a:extLst>
                  <a:ext uri="{FF2B5EF4-FFF2-40B4-BE49-F238E27FC236}">
                    <a16:creationId xmlns:a16="http://schemas.microsoft.com/office/drawing/2014/main" id="{B1B2FFEB-1D06-6C8D-4144-E3318694C2EC}"/>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8" name="Freeform: Shape 16987">
                <a:extLst>
                  <a:ext uri="{FF2B5EF4-FFF2-40B4-BE49-F238E27FC236}">
                    <a16:creationId xmlns:a16="http://schemas.microsoft.com/office/drawing/2014/main" id="{2D458B2B-65DE-15C9-89FA-27F522778081}"/>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2" name="Graphic 112">
              <a:extLst>
                <a:ext uri="{FF2B5EF4-FFF2-40B4-BE49-F238E27FC236}">
                  <a16:creationId xmlns:a16="http://schemas.microsoft.com/office/drawing/2014/main" id="{412D0FFB-6852-A401-73F8-D427B81F9636}"/>
                </a:ext>
              </a:extLst>
            </p:cNvPr>
            <p:cNvGrpSpPr/>
            <p:nvPr/>
          </p:nvGrpSpPr>
          <p:grpSpPr>
            <a:xfrm>
              <a:off x="4769643" y="3323272"/>
              <a:ext cx="75723" cy="75628"/>
              <a:chOff x="4769643" y="3323272"/>
              <a:chExt cx="75723" cy="75628"/>
            </a:xfrm>
          </p:grpSpPr>
          <p:sp>
            <p:nvSpPr>
              <p:cNvPr id="16985" name="Freeform: Shape 16984">
                <a:extLst>
                  <a:ext uri="{FF2B5EF4-FFF2-40B4-BE49-F238E27FC236}">
                    <a16:creationId xmlns:a16="http://schemas.microsoft.com/office/drawing/2014/main" id="{EFB50127-FCE0-43AC-A065-14351FBE65AE}"/>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6" name="Freeform: Shape 16985">
                <a:extLst>
                  <a:ext uri="{FF2B5EF4-FFF2-40B4-BE49-F238E27FC236}">
                    <a16:creationId xmlns:a16="http://schemas.microsoft.com/office/drawing/2014/main" id="{06B05DF2-494A-8A93-1768-B28095F50566}"/>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3" name="Graphic 112">
              <a:extLst>
                <a:ext uri="{FF2B5EF4-FFF2-40B4-BE49-F238E27FC236}">
                  <a16:creationId xmlns:a16="http://schemas.microsoft.com/office/drawing/2014/main" id="{5B2C447F-A2FC-22E3-2F21-CBB3E19479C7}"/>
                </a:ext>
              </a:extLst>
            </p:cNvPr>
            <p:cNvGrpSpPr/>
            <p:nvPr/>
          </p:nvGrpSpPr>
          <p:grpSpPr>
            <a:xfrm>
              <a:off x="4755165" y="3323272"/>
              <a:ext cx="75723" cy="75628"/>
              <a:chOff x="4755165" y="3323272"/>
              <a:chExt cx="75723" cy="75628"/>
            </a:xfrm>
          </p:grpSpPr>
          <p:sp>
            <p:nvSpPr>
              <p:cNvPr id="16983" name="Freeform: Shape 16982">
                <a:extLst>
                  <a:ext uri="{FF2B5EF4-FFF2-40B4-BE49-F238E27FC236}">
                    <a16:creationId xmlns:a16="http://schemas.microsoft.com/office/drawing/2014/main" id="{51B65E0E-FB2F-7DE6-EE90-F1CC8F690B44}"/>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4" name="Freeform: Shape 16983">
                <a:extLst>
                  <a:ext uri="{FF2B5EF4-FFF2-40B4-BE49-F238E27FC236}">
                    <a16:creationId xmlns:a16="http://schemas.microsoft.com/office/drawing/2014/main" id="{4F489EA1-9C99-DAA9-D7CA-0F640F002904}"/>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4" name="Graphic 112">
              <a:extLst>
                <a:ext uri="{FF2B5EF4-FFF2-40B4-BE49-F238E27FC236}">
                  <a16:creationId xmlns:a16="http://schemas.microsoft.com/office/drawing/2014/main" id="{1CE163FE-E3B0-970B-476D-B001D62DF157}"/>
                </a:ext>
              </a:extLst>
            </p:cNvPr>
            <p:cNvGrpSpPr/>
            <p:nvPr/>
          </p:nvGrpSpPr>
          <p:grpSpPr>
            <a:xfrm>
              <a:off x="4762404" y="3323272"/>
              <a:ext cx="75723" cy="75628"/>
              <a:chOff x="4762404" y="3323272"/>
              <a:chExt cx="75723" cy="75628"/>
            </a:xfrm>
          </p:grpSpPr>
          <p:sp>
            <p:nvSpPr>
              <p:cNvPr id="16981" name="Freeform: Shape 16980">
                <a:extLst>
                  <a:ext uri="{FF2B5EF4-FFF2-40B4-BE49-F238E27FC236}">
                    <a16:creationId xmlns:a16="http://schemas.microsoft.com/office/drawing/2014/main" id="{84C69940-F273-9B28-09D5-0F14D95E9FD5}"/>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2" name="Freeform: Shape 16981">
                <a:extLst>
                  <a:ext uri="{FF2B5EF4-FFF2-40B4-BE49-F238E27FC236}">
                    <a16:creationId xmlns:a16="http://schemas.microsoft.com/office/drawing/2014/main" id="{A4BC566D-40B5-9456-B20A-D3EA80CFBA30}"/>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5" name="Graphic 112">
              <a:extLst>
                <a:ext uri="{FF2B5EF4-FFF2-40B4-BE49-F238E27FC236}">
                  <a16:creationId xmlns:a16="http://schemas.microsoft.com/office/drawing/2014/main" id="{6A2EAEB6-9D90-682A-82DF-C3D0A77BB20E}"/>
                </a:ext>
              </a:extLst>
            </p:cNvPr>
            <p:cNvGrpSpPr/>
            <p:nvPr/>
          </p:nvGrpSpPr>
          <p:grpSpPr>
            <a:xfrm>
              <a:off x="4724590" y="3199257"/>
              <a:ext cx="75628" cy="75628"/>
              <a:chOff x="4724590" y="3199257"/>
              <a:chExt cx="75628" cy="75628"/>
            </a:xfrm>
          </p:grpSpPr>
          <p:sp>
            <p:nvSpPr>
              <p:cNvPr id="16979" name="Freeform: Shape 16978">
                <a:extLst>
                  <a:ext uri="{FF2B5EF4-FFF2-40B4-BE49-F238E27FC236}">
                    <a16:creationId xmlns:a16="http://schemas.microsoft.com/office/drawing/2014/main" id="{B4244D40-3FF0-AA24-6CF4-809AC4ED592D}"/>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0" name="Freeform: Shape 16979">
                <a:extLst>
                  <a:ext uri="{FF2B5EF4-FFF2-40B4-BE49-F238E27FC236}">
                    <a16:creationId xmlns:a16="http://schemas.microsoft.com/office/drawing/2014/main" id="{1450D951-75F1-BD17-C528-2BDA542EA2F0}"/>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6" name="Graphic 112">
              <a:extLst>
                <a:ext uri="{FF2B5EF4-FFF2-40B4-BE49-F238E27FC236}">
                  <a16:creationId xmlns:a16="http://schemas.microsoft.com/office/drawing/2014/main" id="{92248D2F-4655-8656-D7C6-678472EA4343}"/>
                </a:ext>
              </a:extLst>
            </p:cNvPr>
            <p:cNvGrpSpPr/>
            <p:nvPr/>
          </p:nvGrpSpPr>
          <p:grpSpPr>
            <a:xfrm>
              <a:off x="4710112" y="3199257"/>
              <a:ext cx="75628" cy="75628"/>
              <a:chOff x="4710112" y="3199257"/>
              <a:chExt cx="75628" cy="75628"/>
            </a:xfrm>
          </p:grpSpPr>
          <p:sp>
            <p:nvSpPr>
              <p:cNvPr id="16977" name="Freeform: Shape 16976">
                <a:extLst>
                  <a:ext uri="{FF2B5EF4-FFF2-40B4-BE49-F238E27FC236}">
                    <a16:creationId xmlns:a16="http://schemas.microsoft.com/office/drawing/2014/main" id="{498AE861-9872-13FE-F69C-8172C576C5FD}"/>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8" name="Freeform: Shape 16977">
                <a:extLst>
                  <a:ext uri="{FF2B5EF4-FFF2-40B4-BE49-F238E27FC236}">
                    <a16:creationId xmlns:a16="http://schemas.microsoft.com/office/drawing/2014/main" id="{FB7DFB73-5FA1-6256-5977-FD6B5F6B8910}"/>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7" name="Graphic 112">
              <a:extLst>
                <a:ext uri="{FF2B5EF4-FFF2-40B4-BE49-F238E27FC236}">
                  <a16:creationId xmlns:a16="http://schemas.microsoft.com/office/drawing/2014/main" id="{2FA0BFDF-F90F-4449-0687-45DEC32541E8}"/>
                </a:ext>
              </a:extLst>
            </p:cNvPr>
            <p:cNvGrpSpPr/>
            <p:nvPr/>
          </p:nvGrpSpPr>
          <p:grpSpPr>
            <a:xfrm>
              <a:off x="4717351" y="3199257"/>
              <a:ext cx="75628" cy="75628"/>
              <a:chOff x="4717351" y="3199257"/>
              <a:chExt cx="75628" cy="75628"/>
            </a:xfrm>
          </p:grpSpPr>
          <p:sp>
            <p:nvSpPr>
              <p:cNvPr id="16975" name="Freeform: Shape 16974">
                <a:extLst>
                  <a:ext uri="{FF2B5EF4-FFF2-40B4-BE49-F238E27FC236}">
                    <a16:creationId xmlns:a16="http://schemas.microsoft.com/office/drawing/2014/main" id="{73897240-1B48-1524-5794-93FE5A378D55}"/>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6" name="Freeform: Shape 16975">
                <a:extLst>
                  <a:ext uri="{FF2B5EF4-FFF2-40B4-BE49-F238E27FC236}">
                    <a16:creationId xmlns:a16="http://schemas.microsoft.com/office/drawing/2014/main" id="{6FB77A29-091B-4813-56DE-600D7D58E943}"/>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8" name="Graphic 112">
              <a:extLst>
                <a:ext uri="{FF2B5EF4-FFF2-40B4-BE49-F238E27FC236}">
                  <a16:creationId xmlns:a16="http://schemas.microsoft.com/office/drawing/2014/main" id="{2F210B2D-8B6C-E817-2508-7B9B9620B587}"/>
                </a:ext>
              </a:extLst>
            </p:cNvPr>
            <p:cNvGrpSpPr/>
            <p:nvPr/>
          </p:nvGrpSpPr>
          <p:grpSpPr>
            <a:xfrm>
              <a:off x="4731829" y="3199257"/>
              <a:ext cx="75628" cy="75628"/>
              <a:chOff x="4731829" y="3199257"/>
              <a:chExt cx="75628" cy="75628"/>
            </a:xfrm>
          </p:grpSpPr>
          <p:sp>
            <p:nvSpPr>
              <p:cNvPr id="16973" name="Freeform: Shape 16972">
                <a:extLst>
                  <a:ext uri="{FF2B5EF4-FFF2-40B4-BE49-F238E27FC236}">
                    <a16:creationId xmlns:a16="http://schemas.microsoft.com/office/drawing/2014/main" id="{F4A0734D-50B0-9844-624B-C90929DE43DB}"/>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4" name="Freeform: Shape 16973">
                <a:extLst>
                  <a:ext uri="{FF2B5EF4-FFF2-40B4-BE49-F238E27FC236}">
                    <a16:creationId xmlns:a16="http://schemas.microsoft.com/office/drawing/2014/main" id="{590CADDA-7230-E589-3FDC-AAEC111CFFFB}"/>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9" name="Graphic 112">
              <a:extLst>
                <a:ext uri="{FF2B5EF4-FFF2-40B4-BE49-F238E27FC236}">
                  <a16:creationId xmlns:a16="http://schemas.microsoft.com/office/drawing/2014/main" id="{FC28267B-2C27-A446-D7DC-3AAC57FF8C8E}"/>
                </a:ext>
              </a:extLst>
            </p:cNvPr>
            <p:cNvGrpSpPr/>
            <p:nvPr/>
          </p:nvGrpSpPr>
          <p:grpSpPr>
            <a:xfrm>
              <a:off x="4751546" y="3244024"/>
              <a:ext cx="75723" cy="75628"/>
              <a:chOff x="4751546" y="3244024"/>
              <a:chExt cx="75723" cy="75628"/>
            </a:xfrm>
          </p:grpSpPr>
          <p:sp>
            <p:nvSpPr>
              <p:cNvPr id="16971" name="Freeform: Shape 16970">
                <a:extLst>
                  <a:ext uri="{FF2B5EF4-FFF2-40B4-BE49-F238E27FC236}">
                    <a16:creationId xmlns:a16="http://schemas.microsoft.com/office/drawing/2014/main" id="{02750B03-D800-5F9A-5516-7A25D05AAF96}"/>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2" name="Freeform: Shape 16971">
                <a:extLst>
                  <a:ext uri="{FF2B5EF4-FFF2-40B4-BE49-F238E27FC236}">
                    <a16:creationId xmlns:a16="http://schemas.microsoft.com/office/drawing/2014/main" id="{F9EE7FCA-E7CD-B03E-F6DC-BCB845C726C9}"/>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0" name="Graphic 112">
              <a:extLst>
                <a:ext uri="{FF2B5EF4-FFF2-40B4-BE49-F238E27FC236}">
                  <a16:creationId xmlns:a16="http://schemas.microsoft.com/office/drawing/2014/main" id="{BB2BDBBA-1519-87D6-F403-78AA083F73AF}"/>
                </a:ext>
              </a:extLst>
            </p:cNvPr>
            <p:cNvGrpSpPr/>
            <p:nvPr/>
          </p:nvGrpSpPr>
          <p:grpSpPr>
            <a:xfrm>
              <a:off x="4737068" y="3244024"/>
              <a:ext cx="75723" cy="75628"/>
              <a:chOff x="4737068" y="3244024"/>
              <a:chExt cx="75723" cy="75628"/>
            </a:xfrm>
          </p:grpSpPr>
          <p:sp>
            <p:nvSpPr>
              <p:cNvPr id="16969" name="Freeform: Shape 16968">
                <a:extLst>
                  <a:ext uri="{FF2B5EF4-FFF2-40B4-BE49-F238E27FC236}">
                    <a16:creationId xmlns:a16="http://schemas.microsoft.com/office/drawing/2014/main" id="{79580607-5BF3-BDD1-E0F5-09937EFAFB9D}"/>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0" name="Freeform: Shape 16969">
                <a:extLst>
                  <a:ext uri="{FF2B5EF4-FFF2-40B4-BE49-F238E27FC236}">
                    <a16:creationId xmlns:a16="http://schemas.microsoft.com/office/drawing/2014/main" id="{6D877592-3DB1-1EEC-7CB5-D324A7B1AB67}"/>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1" name="Graphic 112">
              <a:extLst>
                <a:ext uri="{FF2B5EF4-FFF2-40B4-BE49-F238E27FC236}">
                  <a16:creationId xmlns:a16="http://schemas.microsoft.com/office/drawing/2014/main" id="{DB0B4D39-3852-B913-88C0-6720FA951BA8}"/>
                </a:ext>
              </a:extLst>
            </p:cNvPr>
            <p:cNvGrpSpPr/>
            <p:nvPr/>
          </p:nvGrpSpPr>
          <p:grpSpPr>
            <a:xfrm>
              <a:off x="4744307" y="3244024"/>
              <a:ext cx="75723" cy="75628"/>
              <a:chOff x="4744307" y="3244024"/>
              <a:chExt cx="75723" cy="75628"/>
            </a:xfrm>
          </p:grpSpPr>
          <p:sp>
            <p:nvSpPr>
              <p:cNvPr id="16967" name="Freeform: Shape 16966">
                <a:extLst>
                  <a:ext uri="{FF2B5EF4-FFF2-40B4-BE49-F238E27FC236}">
                    <a16:creationId xmlns:a16="http://schemas.microsoft.com/office/drawing/2014/main" id="{3533C6B7-C071-49A6-D784-8B3ECB57826A}"/>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8" name="Freeform: Shape 16967">
                <a:extLst>
                  <a:ext uri="{FF2B5EF4-FFF2-40B4-BE49-F238E27FC236}">
                    <a16:creationId xmlns:a16="http://schemas.microsoft.com/office/drawing/2014/main" id="{EBAC2E52-76F5-F37F-EECF-20C627E7383B}"/>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2" name="Graphic 112">
              <a:extLst>
                <a:ext uri="{FF2B5EF4-FFF2-40B4-BE49-F238E27FC236}">
                  <a16:creationId xmlns:a16="http://schemas.microsoft.com/office/drawing/2014/main" id="{1C30FC69-5A88-0320-4799-D4568B199AA4}"/>
                </a:ext>
              </a:extLst>
            </p:cNvPr>
            <p:cNvGrpSpPr/>
            <p:nvPr/>
          </p:nvGrpSpPr>
          <p:grpSpPr>
            <a:xfrm>
              <a:off x="4758785" y="3244024"/>
              <a:ext cx="75723" cy="75628"/>
              <a:chOff x="4758785" y="3244024"/>
              <a:chExt cx="75723" cy="75628"/>
            </a:xfrm>
          </p:grpSpPr>
          <p:sp>
            <p:nvSpPr>
              <p:cNvPr id="16965" name="Freeform: Shape 16964">
                <a:extLst>
                  <a:ext uri="{FF2B5EF4-FFF2-40B4-BE49-F238E27FC236}">
                    <a16:creationId xmlns:a16="http://schemas.microsoft.com/office/drawing/2014/main" id="{CF683DB9-4969-FB7A-DC64-3593AFE4B77E}"/>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6" name="Freeform: Shape 16965">
                <a:extLst>
                  <a:ext uri="{FF2B5EF4-FFF2-40B4-BE49-F238E27FC236}">
                    <a16:creationId xmlns:a16="http://schemas.microsoft.com/office/drawing/2014/main" id="{BF336A48-03D0-7BDD-2104-DE4B0D72252C}"/>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3" name="Graphic 112">
              <a:extLst>
                <a:ext uri="{FF2B5EF4-FFF2-40B4-BE49-F238E27FC236}">
                  <a16:creationId xmlns:a16="http://schemas.microsoft.com/office/drawing/2014/main" id="{AF8907B1-BB51-F7F7-9C8D-9B76AA412429}"/>
                </a:ext>
              </a:extLst>
            </p:cNvPr>
            <p:cNvGrpSpPr/>
            <p:nvPr/>
          </p:nvGrpSpPr>
          <p:grpSpPr>
            <a:xfrm>
              <a:off x="4747926" y="3261264"/>
              <a:ext cx="75723" cy="75628"/>
              <a:chOff x="4747926" y="3261264"/>
              <a:chExt cx="75723" cy="75628"/>
            </a:xfrm>
          </p:grpSpPr>
          <p:sp>
            <p:nvSpPr>
              <p:cNvPr id="16963" name="Freeform: Shape 16962">
                <a:extLst>
                  <a:ext uri="{FF2B5EF4-FFF2-40B4-BE49-F238E27FC236}">
                    <a16:creationId xmlns:a16="http://schemas.microsoft.com/office/drawing/2014/main" id="{97D8A6FC-2879-4211-108E-2987C60A5A39}"/>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4" name="Freeform: Shape 16963">
                <a:extLst>
                  <a:ext uri="{FF2B5EF4-FFF2-40B4-BE49-F238E27FC236}">
                    <a16:creationId xmlns:a16="http://schemas.microsoft.com/office/drawing/2014/main" id="{0028EDC2-BD1B-8C73-FC8F-116C2C251C20}"/>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4" name="Graphic 112">
              <a:extLst>
                <a:ext uri="{FF2B5EF4-FFF2-40B4-BE49-F238E27FC236}">
                  <a16:creationId xmlns:a16="http://schemas.microsoft.com/office/drawing/2014/main" id="{CE53CEE3-C473-F2DB-5889-A61781A28A4B}"/>
                </a:ext>
              </a:extLst>
            </p:cNvPr>
            <p:cNvGrpSpPr/>
            <p:nvPr/>
          </p:nvGrpSpPr>
          <p:grpSpPr>
            <a:xfrm>
              <a:off x="4755165" y="3261264"/>
              <a:ext cx="75723" cy="75628"/>
              <a:chOff x="4755165" y="3261264"/>
              <a:chExt cx="75723" cy="75628"/>
            </a:xfrm>
          </p:grpSpPr>
          <p:sp>
            <p:nvSpPr>
              <p:cNvPr id="16961" name="Freeform: Shape 16960">
                <a:extLst>
                  <a:ext uri="{FF2B5EF4-FFF2-40B4-BE49-F238E27FC236}">
                    <a16:creationId xmlns:a16="http://schemas.microsoft.com/office/drawing/2014/main" id="{C8B20E46-F89A-A77B-FBA8-B00B721FB817}"/>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2" name="Freeform: Shape 16961">
                <a:extLst>
                  <a:ext uri="{FF2B5EF4-FFF2-40B4-BE49-F238E27FC236}">
                    <a16:creationId xmlns:a16="http://schemas.microsoft.com/office/drawing/2014/main" id="{9D3D02B0-67AF-4062-A0E1-8D06A94AD0BA}"/>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5" name="Graphic 112">
              <a:extLst>
                <a:ext uri="{FF2B5EF4-FFF2-40B4-BE49-F238E27FC236}">
                  <a16:creationId xmlns:a16="http://schemas.microsoft.com/office/drawing/2014/main" id="{712299C9-AD7F-71E7-51E2-B394A72CCE99}"/>
                </a:ext>
              </a:extLst>
            </p:cNvPr>
            <p:cNvGrpSpPr/>
            <p:nvPr/>
          </p:nvGrpSpPr>
          <p:grpSpPr>
            <a:xfrm>
              <a:off x="4436078" y="3075527"/>
              <a:ext cx="75723" cy="75628"/>
              <a:chOff x="4436078" y="3075527"/>
              <a:chExt cx="75723" cy="75628"/>
            </a:xfrm>
          </p:grpSpPr>
          <p:sp>
            <p:nvSpPr>
              <p:cNvPr id="16959" name="Freeform: Shape 16958">
                <a:extLst>
                  <a:ext uri="{FF2B5EF4-FFF2-40B4-BE49-F238E27FC236}">
                    <a16:creationId xmlns:a16="http://schemas.microsoft.com/office/drawing/2014/main" id="{459F134B-1E5E-943D-BB69-916EBC1B58C1}"/>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0" name="Freeform: Shape 16959">
                <a:extLst>
                  <a:ext uri="{FF2B5EF4-FFF2-40B4-BE49-F238E27FC236}">
                    <a16:creationId xmlns:a16="http://schemas.microsoft.com/office/drawing/2014/main" id="{83073EEC-E592-8A8C-161F-1C65CFEF6EBB}"/>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6" name="Graphic 112">
              <a:extLst>
                <a:ext uri="{FF2B5EF4-FFF2-40B4-BE49-F238E27FC236}">
                  <a16:creationId xmlns:a16="http://schemas.microsoft.com/office/drawing/2014/main" id="{83201E2B-ACEB-098B-8A7B-77161DE4EEA8}"/>
                </a:ext>
              </a:extLst>
            </p:cNvPr>
            <p:cNvGrpSpPr/>
            <p:nvPr/>
          </p:nvGrpSpPr>
          <p:grpSpPr>
            <a:xfrm>
              <a:off x="4372927" y="3062954"/>
              <a:ext cx="75628" cy="75628"/>
              <a:chOff x="4372927" y="3062954"/>
              <a:chExt cx="75628" cy="75628"/>
            </a:xfrm>
          </p:grpSpPr>
          <p:sp>
            <p:nvSpPr>
              <p:cNvPr id="16957" name="Freeform: Shape 16956">
                <a:extLst>
                  <a:ext uri="{FF2B5EF4-FFF2-40B4-BE49-F238E27FC236}">
                    <a16:creationId xmlns:a16="http://schemas.microsoft.com/office/drawing/2014/main" id="{5C7E44CF-A86C-9E3F-D634-15B6340D5AF5}"/>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8" name="Freeform: Shape 16957">
                <a:extLst>
                  <a:ext uri="{FF2B5EF4-FFF2-40B4-BE49-F238E27FC236}">
                    <a16:creationId xmlns:a16="http://schemas.microsoft.com/office/drawing/2014/main" id="{2223467D-D57C-F331-2810-CB511622175C}"/>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7" name="Graphic 112">
              <a:extLst>
                <a:ext uri="{FF2B5EF4-FFF2-40B4-BE49-F238E27FC236}">
                  <a16:creationId xmlns:a16="http://schemas.microsoft.com/office/drawing/2014/main" id="{72A5D36E-55E2-2293-949B-E356CE273150}"/>
                </a:ext>
              </a:extLst>
            </p:cNvPr>
            <p:cNvGrpSpPr/>
            <p:nvPr/>
          </p:nvGrpSpPr>
          <p:grpSpPr>
            <a:xfrm>
              <a:off x="4337589" y="3037617"/>
              <a:ext cx="75723" cy="75723"/>
              <a:chOff x="4337589" y="3037617"/>
              <a:chExt cx="75723" cy="75723"/>
            </a:xfrm>
          </p:grpSpPr>
          <p:sp>
            <p:nvSpPr>
              <p:cNvPr id="16955" name="Freeform: Shape 16954">
                <a:extLst>
                  <a:ext uri="{FF2B5EF4-FFF2-40B4-BE49-F238E27FC236}">
                    <a16:creationId xmlns:a16="http://schemas.microsoft.com/office/drawing/2014/main" id="{DC352A4B-6BEE-1AD1-CEC6-D934398BE7C7}"/>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6" name="Freeform: Shape 16955">
                <a:extLst>
                  <a:ext uri="{FF2B5EF4-FFF2-40B4-BE49-F238E27FC236}">
                    <a16:creationId xmlns:a16="http://schemas.microsoft.com/office/drawing/2014/main" id="{D664BD80-0054-AD8D-C742-E88AEFDF2319}"/>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8" name="Graphic 112">
              <a:extLst>
                <a:ext uri="{FF2B5EF4-FFF2-40B4-BE49-F238E27FC236}">
                  <a16:creationId xmlns:a16="http://schemas.microsoft.com/office/drawing/2014/main" id="{FAA72428-9D2F-A673-7CC6-420271CA3ADA}"/>
                </a:ext>
              </a:extLst>
            </p:cNvPr>
            <p:cNvGrpSpPr/>
            <p:nvPr/>
          </p:nvGrpSpPr>
          <p:grpSpPr>
            <a:xfrm>
              <a:off x="4343876" y="3037617"/>
              <a:ext cx="75723" cy="75723"/>
              <a:chOff x="4343876" y="3037617"/>
              <a:chExt cx="75723" cy="75723"/>
            </a:xfrm>
          </p:grpSpPr>
          <p:sp>
            <p:nvSpPr>
              <p:cNvPr id="16953" name="Freeform: Shape 16952">
                <a:extLst>
                  <a:ext uri="{FF2B5EF4-FFF2-40B4-BE49-F238E27FC236}">
                    <a16:creationId xmlns:a16="http://schemas.microsoft.com/office/drawing/2014/main" id="{D536282F-2966-6D0B-4CEB-C943E4552240}"/>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4" name="Freeform: Shape 16953">
                <a:extLst>
                  <a:ext uri="{FF2B5EF4-FFF2-40B4-BE49-F238E27FC236}">
                    <a16:creationId xmlns:a16="http://schemas.microsoft.com/office/drawing/2014/main" id="{B5998FDC-4D15-610C-2967-658008512306}"/>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9" name="Graphic 112">
              <a:extLst>
                <a:ext uri="{FF2B5EF4-FFF2-40B4-BE49-F238E27FC236}">
                  <a16:creationId xmlns:a16="http://schemas.microsoft.com/office/drawing/2014/main" id="{F049184B-1BBC-B1F5-681C-5287F44384FB}"/>
                </a:ext>
              </a:extLst>
            </p:cNvPr>
            <p:cNvGrpSpPr/>
            <p:nvPr/>
          </p:nvGrpSpPr>
          <p:grpSpPr>
            <a:xfrm>
              <a:off x="4350162" y="3037617"/>
              <a:ext cx="75723" cy="75723"/>
              <a:chOff x="4350162" y="3037617"/>
              <a:chExt cx="75723" cy="75723"/>
            </a:xfrm>
          </p:grpSpPr>
          <p:sp>
            <p:nvSpPr>
              <p:cNvPr id="16951" name="Freeform: Shape 16950">
                <a:extLst>
                  <a:ext uri="{FF2B5EF4-FFF2-40B4-BE49-F238E27FC236}">
                    <a16:creationId xmlns:a16="http://schemas.microsoft.com/office/drawing/2014/main" id="{21DFCB2B-3E4F-E738-982B-60FB7A971D44}"/>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2" name="Freeform: Shape 16951">
                <a:extLst>
                  <a:ext uri="{FF2B5EF4-FFF2-40B4-BE49-F238E27FC236}">
                    <a16:creationId xmlns:a16="http://schemas.microsoft.com/office/drawing/2014/main" id="{A84BCBC5-DD97-B70B-CF0E-D49A8E9D1558}"/>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0" name="Graphic 112">
              <a:extLst>
                <a:ext uri="{FF2B5EF4-FFF2-40B4-BE49-F238E27FC236}">
                  <a16:creationId xmlns:a16="http://schemas.microsoft.com/office/drawing/2014/main" id="{97F260F6-05A3-C36F-C278-13E8424AA617}"/>
                </a:ext>
              </a:extLst>
            </p:cNvPr>
            <p:cNvGrpSpPr/>
            <p:nvPr/>
          </p:nvGrpSpPr>
          <p:grpSpPr>
            <a:xfrm>
              <a:off x="4329112" y="2975895"/>
              <a:ext cx="75723" cy="75628"/>
              <a:chOff x="4329112" y="2975895"/>
              <a:chExt cx="75723" cy="75628"/>
            </a:xfrm>
          </p:grpSpPr>
          <p:sp>
            <p:nvSpPr>
              <p:cNvPr id="16949" name="Freeform: Shape 16948">
                <a:extLst>
                  <a:ext uri="{FF2B5EF4-FFF2-40B4-BE49-F238E27FC236}">
                    <a16:creationId xmlns:a16="http://schemas.microsoft.com/office/drawing/2014/main" id="{B7F9A22D-07D7-EC93-667A-C809B8041F2B}"/>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0" name="Freeform: Shape 16949">
                <a:extLst>
                  <a:ext uri="{FF2B5EF4-FFF2-40B4-BE49-F238E27FC236}">
                    <a16:creationId xmlns:a16="http://schemas.microsoft.com/office/drawing/2014/main" id="{18047E28-7BE7-497F-218E-0C690CA15E45}"/>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1" name="Graphic 112">
              <a:extLst>
                <a:ext uri="{FF2B5EF4-FFF2-40B4-BE49-F238E27FC236}">
                  <a16:creationId xmlns:a16="http://schemas.microsoft.com/office/drawing/2014/main" id="{001ED045-F92D-32C6-45D1-5C27D447FA85}"/>
                </a:ext>
              </a:extLst>
            </p:cNvPr>
            <p:cNvGrpSpPr/>
            <p:nvPr/>
          </p:nvGrpSpPr>
          <p:grpSpPr>
            <a:xfrm>
              <a:off x="4283487" y="2903696"/>
              <a:ext cx="75723" cy="75723"/>
              <a:chOff x="4283487" y="2903696"/>
              <a:chExt cx="75723" cy="75723"/>
            </a:xfrm>
          </p:grpSpPr>
          <p:sp>
            <p:nvSpPr>
              <p:cNvPr id="16947" name="Freeform: Shape 16946">
                <a:extLst>
                  <a:ext uri="{FF2B5EF4-FFF2-40B4-BE49-F238E27FC236}">
                    <a16:creationId xmlns:a16="http://schemas.microsoft.com/office/drawing/2014/main" id="{44602AAD-23BC-3BA5-8729-3390D0BA0B47}"/>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8" name="Freeform: Shape 16947">
                <a:extLst>
                  <a:ext uri="{FF2B5EF4-FFF2-40B4-BE49-F238E27FC236}">
                    <a16:creationId xmlns:a16="http://schemas.microsoft.com/office/drawing/2014/main" id="{C1DFDE38-0A9A-7E06-3ED0-9EE8E003C057}"/>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2" name="Graphic 112">
              <a:extLst>
                <a:ext uri="{FF2B5EF4-FFF2-40B4-BE49-F238E27FC236}">
                  <a16:creationId xmlns:a16="http://schemas.microsoft.com/office/drawing/2014/main" id="{EFC02F93-CDEB-1CBA-C1E7-D381EAE56D4B}"/>
                </a:ext>
              </a:extLst>
            </p:cNvPr>
            <p:cNvGrpSpPr/>
            <p:nvPr/>
          </p:nvGrpSpPr>
          <p:grpSpPr>
            <a:xfrm>
              <a:off x="4288345" y="2903696"/>
              <a:ext cx="75723" cy="75723"/>
              <a:chOff x="4288345" y="2903696"/>
              <a:chExt cx="75723" cy="75723"/>
            </a:xfrm>
          </p:grpSpPr>
          <p:sp>
            <p:nvSpPr>
              <p:cNvPr id="16945" name="Freeform: Shape 16944">
                <a:extLst>
                  <a:ext uri="{FF2B5EF4-FFF2-40B4-BE49-F238E27FC236}">
                    <a16:creationId xmlns:a16="http://schemas.microsoft.com/office/drawing/2014/main" id="{2100F914-7975-49EB-849C-E287770472A1}"/>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6" name="Freeform: Shape 16945">
                <a:extLst>
                  <a:ext uri="{FF2B5EF4-FFF2-40B4-BE49-F238E27FC236}">
                    <a16:creationId xmlns:a16="http://schemas.microsoft.com/office/drawing/2014/main" id="{FF0F656D-4390-22CC-5A6A-28CEBB89EBE9}"/>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3" name="Graphic 112">
              <a:extLst>
                <a:ext uri="{FF2B5EF4-FFF2-40B4-BE49-F238E27FC236}">
                  <a16:creationId xmlns:a16="http://schemas.microsoft.com/office/drawing/2014/main" id="{B668038A-5234-1233-CE62-A6B117193043}"/>
                </a:ext>
              </a:extLst>
            </p:cNvPr>
            <p:cNvGrpSpPr/>
            <p:nvPr/>
          </p:nvGrpSpPr>
          <p:grpSpPr>
            <a:xfrm>
              <a:off x="4297394" y="2949892"/>
              <a:ext cx="75628" cy="75723"/>
              <a:chOff x="4297394" y="2949892"/>
              <a:chExt cx="75628" cy="75723"/>
            </a:xfrm>
          </p:grpSpPr>
          <p:sp>
            <p:nvSpPr>
              <p:cNvPr id="16943" name="Freeform: Shape 16942">
                <a:extLst>
                  <a:ext uri="{FF2B5EF4-FFF2-40B4-BE49-F238E27FC236}">
                    <a16:creationId xmlns:a16="http://schemas.microsoft.com/office/drawing/2014/main" id="{40CEB153-2101-B4A5-C2FF-BC3109BEF645}"/>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4" name="Freeform: Shape 16943">
                <a:extLst>
                  <a:ext uri="{FF2B5EF4-FFF2-40B4-BE49-F238E27FC236}">
                    <a16:creationId xmlns:a16="http://schemas.microsoft.com/office/drawing/2014/main" id="{BAC4A7DD-5F0E-813C-CD87-345E9AF29D15}"/>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4" name="Graphic 112">
              <a:extLst>
                <a:ext uri="{FF2B5EF4-FFF2-40B4-BE49-F238E27FC236}">
                  <a16:creationId xmlns:a16="http://schemas.microsoft.com/office/drawing/2014/main" id="{129E1DC5-5A45-D183-7A01-A22B23021DB4}"/>
                </a:ext>
              </a:extLst>
            </p:cNvPr>
            <p:cNvGrpSpPr/>
            <p:nvPr/>
          </p:nvGrpSpPr>
          <p:grpSpPr>
            <a:xfrm>
              <a:off x="4304823" y="2949892"/>
              <a:ext cx="75723" cy="75723"/>
              <a:chOff x="4304823" y="2949892"/>
              <a:chExt cx="75723" cy="75723"/>
            </a:xfrm>
          </p:grpSpPr>
          <p:sp>
            <p:nvSpPr>
              <p:cNvPr id="16941" name="Freeform: Shape 16940">
                <a:extLst>
                  <a:ext uri="{FF2B5EF4-FFF2-40B4-BE49-F238E27FC236}">
                    <a16:creationId xmlns:a16="http://schemas.microsoft.com/office/drawing/2014/main" id="{D0C80C06-CB1B-4A3C-2C86-C5B2B599CE8D}"/>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2" name="Freeform: Shape 16941">
                <a:extLst>
                  <a:ext uri="{FF2B5EF4-FFF2-40B4-BE49-F238E27FC236}">
                    <a16:creationId xmlns:a16="http://schemas.microsoft.com/office/drawing/2014/main" id="{BAD568DF-1CED-185C-79F4-0C54DE26B6C5}"/>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5" name="Graphic 112">
              <a:extLst>
                <a:ext uri="{FF2B5EF4-FFF2-40B4-BE49-F238E27FC236}">
                  <a16:creationId xmlns:a16="http://schemas.microsoft.com/office/drawing/2014/main" id="{C768BE59-953A-6860-F19C-55FC83C03951}"/>
                </a:ext>
              </a:extLst>
            </p:cNvPr>
            <p:cNvGrpSpPr/>
            <p:nvPr/>
          </p:nvGrpSpPr>
          <p:grpSpPr>
            <a:xfrm>
              <a:off x="4312348" y="2949892"/>
              <a:ext cx="75723" cy="75723"/>
              <a:chOff x="4312348" y="2949892"/>
              <a:chExt cx="75723" cy="75723"/>
            </a:xfrm>
          </p:grpSpPr>
          <p:sp>
            <p:nvSpPr>
              <p:cNvPr id="16939" name="Freeform: Shape 16938">
                <a:extLst>
                  <a:ext uri="{FF2B5EF4-FFF2-40B4-BE49-F238E27FC236}">
                    <a16:creationId xmlns:a16="http://schemas.microsoft.com/office/drawing/2014/main" id="{462130F5-87AD-EAB3-9BB2-8880B5B5B7BF}"/>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0" name="Freeform: Shape 16939">
                <a:extLst>
                  <a:ext uri="{FF2B5EF4-FFF2-40B4-BE49-F238E27FC236}">
                    <a16:creationId xmlns:a16="http://schemas.microsoft.com/office/drawing/2014/main" id="{166C0F02-D425-822C-3F88-8E6CD716BEEB}"/>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6" name="Graphic 112">
              <a:extLst>
                <a:ext uri="{FF2B5EF4-FFF2-40B4-BE49-F238E27FC236}">
                  <a16:creationId xmlns:a16="http://schemas.microsoft.com/office/drawing/2014/main" id="{E36AA9F8-CC6A-8B5F-0903-3616715BFA67}"/>
                </a:ext>
              </a:extLst>
            </p:cNvPr>
            <p:cNvGrpSpPr/>
            <p:nvPr/>
          </p:nvGrpSpPr>
          <p:grpSpPr>
            <a:xfrm>
              <a:off x="3888962" y="2740056"/>
              <a:ext cx="75628" cy="75723"/>
              <a:chOff x="3888962" y="2740056"/>
              <a:chExt cx="75628" cy="75723"/>
            </a:xfrm>
          </p:grpSpPr>
          <p:sp>
            <p:nvSpPr>
              <p:cNvPr id="16937" name="Freeform: Shape 16936">
                <a:extLst>
                  <a:ext uri="{FF2B5EF4-FFF2-40B4-BE49-F238E27FC236}">
                    <a16:creationId xmlns:a16="http://schemas.microsoft.com/office/drawing/2014/main" id="{9AB0918E-E231-D76A-F60E-87AA77322195}"/>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38" name="Freeform: Shape 16937">
                <a:extLst>
                  <a:ext uri="{FF2B5EF4-FFF2-40B4-BE49-F238E27FC236}">
                    <a16:creationId xmlns:a16="http://schemas.microsoft.com/office/drawing/2014/main" id="{494D5C4A-6DAB-2582-EEA9-6E3F75C6D476}"/>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6279" name="Group 16278" hidden="1">
            <a:extLst>
              <a:ext uri="{FF2B5EF4-FFF2-40B4-BE49-F238E27FC236}">
                <a16:creationId xmlns:a16="http://schemas.microsoft.com/office/drawing/2014/main" id="{6DBB63E9-3230-F61D-764B-46B3CEC6C1B4}"/>
              </a:ext>
            </a:extLst>
          </p:cNvPr>
          <p:cNvGrpSpPr/>
          <p:nvPr/>
        </p:nvGrpSpPr>
        <p:grpSpPr>
          <a:xfrm>
            <a:off x="666995" y="1435010"/>
            <a:ext cx="6838719" cy="2233885"/>
            <a:chOff x="3800475" y="2590800"/>
            <a:chExt cx="4593812" cy="1674876"/>
          </a:xfrm>
        </p:grpSpPr>
        <p:grpSp>
          <p:nvGrpSpPr>
            <p:cNvPr id="16481" name="Graphic 1391">
              <a:extLst>
                <a:ext uri="{FF2B5EF4-FFF2-40B4-BE49-F238E27FC236}">
                  <a16:creationId xmlns:a16="http://schemas.microsoft.com/office/drawing/2014/main" id="{1C38C879-1B6B-966F-1B54-AD677EBA4BA3}"/>
                </a:ext>
              </a:extLst>
            </p:cNvPr>
            <p:cNvGrpSpPr/>
            <p:nvPr/>
          </p:nvGrpSpPr>
          <p:grpSpPr>
            <a:xfrm>
              <a:off x="3800475" y="2590800"/>
              <a:ext cx="4593812" cy="1674876"/>
              <a:chOff x="3800475" y="2590800"/>
              <a:chExt cx="4593812" cy="1674876"/>
            </a:xfrm>
          </p:grpSpPr>
          <p:grpSp>
            <p:nvGrpSpPr>
              <p:cNvPr id="16483" name="Graphic 1391">
                <a:extLst>
                  <a:ext uri="{FF2B5EF4-FFF2-40B4-BE49-F238E27FC236}">
                    <a16:creationId xmlns:a16="http://schemas.microsoft.com/office/drawing/2014/main" id="{8A8D3136-E539-4A7E-41C2-8EB3D012FE58}"/>
                  </a:ext>
                </a:extLst>
              </p:cNvPr>
              <p:cNvGrpSpPr/>
              <p:nvPr/>
            </p:nvGrpSpPr>
            <p:grpSpPr>
              <a:xfrm>
                <a:off x="8318563" y="4189952"/>
                <a:ext cx="75723" cy="75723"/>
                <a:chOff x="8318563" y="4189952"/>
                <a:chExt cx="75723" cy="75723"/>
              </a:xfrm>
            </p:grpSpPr>
            <p:sp>
              <p:nvSpPr>
                <p:cNvPr id="16667" name="Freeform: Shape 16666">
                  <a:extLst>
                    <a:ext uri="{FF2B5EF4-FFF2-40B4-BE49-F238E27FC236}">
                      <a16:creationId xmlns:a16="http://schemas.microsoft.com/office/drawing/2014/main" id="{BDB6E958-35E8-25BF-91C0-E5C280C00055}"/>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8" name="Freeform: Shape 16667">
                  <a:extLst>
                    <a:ext uri="{FF2B5EF4-FFF2-40B4-BE49-F238E27FC236}">
                      <a16:creationId xmlns:a16="http://schemas.microsoft.com/office/drawing/2014/main" id="{5A74A8E9-F0FC-9CC5-EA0B-67DB07B56295}"/>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4" name="Graphic 1391">
                <a:extLst>
                  <a:ext uri="{FF2B5EF4-FFF2-40B4-BE49-F238E27FC236}">
                    <a16:creationId xmlns:a16="http://schemas.microsoft.com/office/drawing/2014/main" id="{C1EB3A1F-DA01-0A12-051D-2A26E5436242}"/>
                  </a:ext>
                </a:extLst>
              </p:cNvPr>
              <p:cNvGrpSpPr/>
              <p:nvPr/>
            </p:nvGrpSpPr>
            <p:grpSpPr>
              <a:xfrm>
                <a:off x="7982140" y="4189952"/>
                <a:ext cx="75723" cy="75723"/>
                <a:chOff x="7982140" y="4189952"/>
                <a:chExt cx="75723" cy="75723"/>
              </a:xfrm>
            </p:grpSpPr>
            <p:sp>
              <p:nvSpPr>
                <p:cNvPr id="16665" name="Freeform: Shape 16664">
                  <a:extLst>
                    <a:ext uri="{FF2B5EF4-FFF2-40B4-BE49-F238E27FC236}">
                      <a16:creationId xmlns:a16="http://schemas.microsoft.com/office/drawing/2014/main" id="{4439479C-09F8-B281-78A8-8B9DC65A65C8}"/>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6" name="Freeform: Shape 16665">
                  <a:extLst>
                    <a:ext uri="{FF2B5EF4-FFF2-40B4-BE49-F238E27FC236}">
                      <a16:creationId xmlns:a16="http://schemas.microsoft.com/office/drawing/2014/main" id="{308A3E3F-BBAE-1F73-673B-3D9FF0419E98}"/>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5" name="Graphic 1391">
                <a:extLst>
                  <a:ext uri="{FF2B5EF4-FFF2-40B4-BE49-F238E27FC236}">
                    <a16:creationId xmlns:a16="http://schemas.microsoft.com/office/drawing/2014/main" id="{15E213F0-EC72-82DC-9A63-35A826649EE2}"/>
                  </a:ext>
                </a:extLst>
              </p:cNvPr>
              <p:cNvGrpSpPr/>
              <p:nvPr/>
            </p:nvGrpSpPr>
            <p:grpSpPr>
              <a:xfrm>
                <a:off x="7971758" y="4189952"/>
                <a:ext cx="75723" cy="75723"/>
                <a:chOff x="7971758" y="4189952"/>
                <a:chExt cx="75723" cy="75723"/>
              </a:xfrm>
            </p:grpSpPr>
            <p:sp>
              <p:nvSpPr>
                <p:cNvPr id="16663" name="Freeform: Shape 16662">
                  <a:extLst>
                    <a:ext uri="{FF2B5EF4-FFF2-40B4-BE49-F238E27FC236}">
                      <a16:creationId xmlns:a16="http://schemas.microsoft.com/office/drawing/2014/main" id="{C70A3E0B-6F83-85C1-0AB3-2578DD56D68B}"/>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4" name="Freeform: Shape 16663">
                  <a:extLst>
                    <a:ext uri="{FF2B5EF4-FFF2-40B4-BE49-F238E27FC236}">
                      <a16:creationId xmlns:a16="http://schemas.microsoft.com/office/drawing/2014/main" id="{40278B53-244F-94ED-F729-041A25392517}"/>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6" name="Graphic 1391">
                <a:extLst>
                  <a:ext uri="{FF2B5EF4-FFF2-40B4-BE49-F238E27FC236}">
                    <a16:creationId xmlns:a16="http://schemas.microsoft.com/office/drawing/2014/main" id="{E650A420-24C2-6E64-5F1D-E41FC03D81F3}"/>
                  </a:ext>
                </a:extLst>
              </p:cNvPr>
              <p:cNvGrpSpPr/>
              <p:nvPr/>
            </p:nvGrpSpPr>
            <p:grpSpPr>
              <a:xfrm>
                <a:off x="7613904" y="4189952"/>
                <a:ext cx="75628" cy="75723"/>
                <a:chOff x="7613904" y="4189952"/>
                <a:chExt cx="75628" cy="75723"/>
              </a:xfrm>
            </p:grpSpPr>
            <p:sp>
              <p:nvSpPr>
                <p:cNvPr id="16661" name="Freeform: Shape 16660">
                  <a:extLst>
                    <a:ext uri="{FF2B5EF4-FFF2-40B4-BE49-F238E27FC236}">
                      <a16:creationId xmlns:a16="http://schemas.microsoft.com/office/drawing/2014/main" id="{B272204B-1904-66F0-57C3-CB0F25CDB9A7}"/>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2" name="Freeform: Shape 16661">
                  <a:extLst>
                    <a:ext uri="{FF2B5EF4-FFF2-40B4-BE49-F238E27FC236}">
                      <a16:creationId xmlns:a16="http://schemas.microsoft.com/office/drawing/2014/main" id="{110B13F1-3762-FCA4-DCF2-58AB005B9A63}"/>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7" name="Graphic 1391">
                <a:extLst>
                  <a:ext uri="{FF2B5EF4-FFF2-40B4-BE49-F238E27FC236}">
                    <a16:creationId xmlns:a16="http://schemas.microsoft.com/office/drawing/2014/main" id="{E028D05E-F889-7C36-BDB5-905B9E1AA296}"/>
                  </a:ext>
                </a:extLst>
              </p:cNvPr>
              <p:cNvGrpSpPr/>
              <p:nvPr/>
            </p:nvGrpSpPr>
            <p:grpSpPr>
              <a:xfrm>
                <a:off x="7578185" y="4189952"/>
                <a:ext cx="75723" cy="75723"/>
                <a:chOff x="7578185" y="4189952"/>
                <a:chExt cx="75723" cy="75723"/>
              </a:xfrm>
            </p:grpSpPr>
            <p:sp>
              <p:nvSpPr>
                <p:cNvPr id="16659" name="Freeform: Shape 16658">
                  <a:extLst>
                    <a:ext uri="{FF2B5EF4-FFF2-40B4-BE49-F238E27FC236}">
                      <a16:creationId xmlns:a16="http://schemas.microsoft.com/office/drawing/2014/main" id="{E45402BC-7476-06FA-5477-ACF48472A99D}"/>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0" name="Freeform: Shape 16659">
                  <a:extLst>
                    <a:ext uri="{FF2B5EF4-FFF2-40B4-BE49-F238E27FC236}">
                      <a16:creationId xmlns:a16="http://schemas.microsoft.com/office/drawing/2014/main" id="{CE2A58EC-5485-4D84-0DC5-A920B547ADE7}"/>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8" name="Graphic 1391">
                <a:extLst>
                  <a:ext uri="{FF2B5EF4-FFF2-40B4-BE49-F238E27FC236}">
                    <a16:creationId xmlns:a16="http://schemas.microsoft.com/office/drawing/2014/main" id="{E722F01A-90E4-9FCB-90D2-F5801E0CDD27}"/>
                  </a:ext>
                </a:extLst>
              </p:cNvPr>
              <p:cNvGrpSpPr/>
              <p:nvPr/>
            </p:nvGrpSpPr>
            <p:grpSpPr>
              <a:xfrm>
                <a:off x="7567231" y="4189952"/>
                <a:ext cx="75723" cy="75723"/>
                <a:chOff x="7567231" y="4189952"/>
                <a:chExt cx="75723" cy="75723"/>
              </a:xfrm>
            </p:grpSpPr>
            <p:sp>
              <p:nvSpPr>
                <p:cNvPr id="16657" name="Freeform: Shape 16656">
                  <a:extLst>
                    <a:ext uri="{FF2B5EF4-FFF2-40B4-BE49-F238E27FC236}">
                      <a16:creationId xmlns:a16="http://schemas.microsoft.com/office/drawing/2014/main" id="{89275477-12CE-56ED-B73D-D1399590F203}"/>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8" name="Freeform: Shape 16657">
                  <a:extLst>
                    <a:ext uri="{FF2B5EF4-FFF2-40B4-BE49-F238E27FC236}">
                      <a16:creationId xmlns:a16="http://schemas.microsoft.com/office/drawing/2014/main" id="{E2158161-A5C1-C4C4-312A-9FA6AD1F472B}"/>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9" name="Graphic 1391">
                <a:extLst>
                  <a:ext uri="{FF2B5EF4-FFF2-40B4-BE49-F238E27FC236}">
                    <a16:creationId xmlns:a16="http://schemas.microsoft.com/office/drawing/2014/main" id="{4F00CCF2-BFA1-D5D9-DA90-7DB9DE869233}"/>
                  </a:ext>
                </a:extLst>
              </p:cNvPr>
              <p:cNvGrpSpPr/>
              <p:nvPr/>
            </p:nvGrpSpPr>
            <p:grpSpPr>
              <a:xfrm>
                <a:off x="7557897" y="4189952"/>
                <a:ext cx="75723" cy="75723"/>
                <a:chOff x="7557897" y="4189952"/>
                <a:chExt cx="75723" cy="75723"/>
              </a:xfrm>
            </p:grpSpPr>
            <p:sp>
              <p:nvSpPr>
                <p:cNvPr id="16655" name="Freeform: Shape 16654">
                  <a:extLst>
                    <a:ext uri="{FF2B5EF4-FFF2-40B4-BE49-F238E27FC236}">
                      <a16:creationId xmlns:a16="http://schemas.microsoft.com/office/drawing/2014/main" id="{611B7207-FE66-1661-45EE-E3CEA905C121}"/>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6" name="Freeform: Shape 16655">
                  <a:extLst>
                    <a:ext uri="{FF2B5EF4-FFF2-40B4-BE49-F238E27FC236}">
                      <a16:creationId xmlns:a16="http://schemas.microsoft.com/office/drawing/2014/main" id="{9B08CABC-0BD3-3BBC-2926-621DC8D65FD2}"/>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0" name="Graphic 1391">
                <a:extLst>
                  <a:ext uri="{FF2B5EF4-FFF2-40B4-BE49-F238E27FC236}">
                    <a16:creationId xmlns:a16="http://schemas.microsoft.com/office/drawing/2014/main" id="{719E907A-3489-3CF7-F7A8-D49FB5073D76}"/>
                  </a:ext>
                </a:extLst>
              </p:cNvPr>
              <p:cNvGrpSpPr/>
              <p:nvPr/>
            </p:nvGrpSpPr>
            <p:grpSpPr>
              <a:xfrm>
                <a:off x="7236142" y="4189952"/>
                <a:ext cx="75628" cy="75723"/>
                <a:chOff x="7236142" y="4189952"/>
                <a:chExt cx="75628" cy="75723"/>
              </a:xfrm>
            </p:grpSpPr>
            <p:sp>
              <p:nvSpPr>
                <p:cNvPr id="16653" name="Freeform: Shape 16652">
                  <a:extLst>
                    <a:ext uri="{FF2B5EF4-FFF2-40B4-BE49-F238E27FC236}">
                      <a16:creationId xmlns:a16="http://schemas.microsoft.com/office/drawing/2014/main" id="{C936E773-3B40-2AA1-A19F-B96243AB0C09}"/>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4" name="Freeform: Shape 16653">
                  <a:extLst>
                    <a:ext uri="{FF2B5EF4-FFF2-40B4-BE49-F238E27FC236}">
                      <a16:creationId xmlns:a16="http://schemas.microsoft.com/office/drawing/2014/main" id="{328FE08C-A1D1-FE32-01DA-2ABD11178C39}"/>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1" name="Graphic 1391">
                <a:extLst>
                  <a:ext uri="{FF2B5EF4-FFF2-40B4-BE49-F238E27FC236}">
                    <a16:creationId xmlns:a16="http://schemas.microsoft.com/office/drawing/2014/main" id="{5D6896F8-B678-AA85-0A09-3690A6E3A767}"/>
                  </a:ext>
                </a:extLst>
              </p:cNvPr>
              <p:cNvGrpSpPr/>
              <p:nvPr/>
            </p:nvGrpSpPr>
            <p:grpSpPr>
              <a:xfrm>
                <a:off x="7200804" y="4189952"/>
                <a:ext cx="75723" cy="75723"/>
                <a:chOff x="7200804" y="4189952"/>
                <a:chExt cx="75723" cy="75723"/>
              </a:xfrm>
            </p:grpSpPr>
            <p:sp>
              <p:nvSpPr>
                <p:cNvPr id="16651" name="Freeform: Shape 16650">
                  <a:extLst>
                    <a:ext uri="{FF2B5EF4-FFF2-40B4-BE49-F238E27FC236}">
                      <a16:creationId xmlns:a16="http://schemas.microsoft.com/office/drawing/2014/main" id="{7574673C-DD02-A81F-FA26-CA0378174AE7}"/>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2" name="Freeform: Shape 16651">
                  <a:extLst>
                    <a:ext uri="{FF2B5EF4-FFF2-40B4-BE49-F238E27FC236}">
                      <a16:creationId xmlns:a16="http://schemas.microsoft.com/office/drawing/2014/main" id="{F3152972-85BA-65D1-93F2-64DAE08B2D71}"/>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2" name="Graphic 1391">
                <a:extLst>
                  <a:ext uri="{FF2B5EF4-FFF2-40B4-BE49-F238E27FC236}">
                    <a16:creationId xmlns:a16="http://schemas.microsoft.com/office/drawing/2014/main" id="{F9B6A471-028F-1EAB-D278-8EE4350C3A1B}"/>
                  </a:ext>
                </a:extLst>
              </p:cNvPr>
              <p:cNvGrpSpPr/>
              <p:nvPr/>
            </p:nvGrpSpPr>
            <p:grpSpPr>
              <a:xfrm>
                <a:off x="7178135" y="4189952"/>
                <a:ext cx="75723" cy="75723"/>
                <a:chOff x="7178135" y="4189952"/>
                <a:chExt cx="75723" cy="75723"/>
              </a:xfrm>
            </p:grpSpPr>
            <p:sp>
              <p:nvSpPr>
                <p:cNvPr id="16649" name="Freeform: Shape 16648">
                  <a:extLst>
                    <a:ext uri="{FF2B5EF4-FFF2-40B4-BE49-F238E27FC236}">
                      <a16:creationId xmlns:a16="http://schemas.microsoft.com/office/drawing/2014/main" id="{37374008-A641-89AF-8976-14A26E5BAB0E}"/>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0" name="Freeform: Shape 16649">
                  <a:extLst>
                    <a:ext uri="{FF2B5EF4-FFF2-40B4-BE49-F238E27FC236}">
                      <a16:creationId xmlns:a16="http://schemas.microsoft.com/office/drawing/2014/main" id="{3CFA43C3-0128-5069-9943-3C02B9179649}"/>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3" name="Graphic 1391">
                <a:extLst>
                  <a:ext uri="{FF2B5EF4-FFF2-40B4-BE49-F238E27FC236}">
                    <a16:creationId xmlns:a16="http://schemas.microsoft.com/office/drawing/2014/main" id="{FA81A8CE-01E9-82AC-CAEF-5AFD37C6A63D}"/>
                  </a:ext>
                </a:extLst>
              </p:cNvPr>
              <p:cNvGrpSpPr/>
              <p:nvPr/>
            </p:nvGrpSpPr>
            <p:grpSpPr>
              <a:xfrm>
                <a:off x="6910197" y="4189952"/>
                <a:ext cx="75723" cy="75723"/>
                <a:chOff x="6910197" y="4189952"/>
                <a:chExt cx="75723" cy="75723"/>
              </a:xfrm>
            </p:grpSpPr>
            <p:sp>
              <p:nvSpPr>
                <p:cNvPr id="16647" name="Freeform: Shape 16646">
                  <a:extLst>
                    <a:ext uri="{FF2B5EF4-FFF2-40B4-BE49-F238E27FC236}">
                      <a16:creationId xmlns:a16="http://schemas.microsoft.com/office/drawing/2014/main" id="{A3C33712-1127-501E-BC57-DEF884354761}"/>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8" name="Freeform: Shape 16647">
                  <a:extLst>
                    <a:ext uri="{FF2B5EF4-FFF2-40B4-BE49-F238E27FC236}">
                      <a16:creationId xmlns:a16="http://schemas.microsoft.com/office/drawing/2014/main" id="{A746303E-3315-B034-6C52-E3D88274157A}"/>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4" name="Graphic 1391">
                <a:extLst>
                  <a:ext uri="{FF2B5EF4-FFF2-40B4-BE49-F238E27FC236}">
                    <a16:creationId xmlns:a16="http://schemas.microsoft.com/office/drawing/2014/main" id="{207BD385-A357-A23E-D446-B35D5BC4F258}"/>
                  </a:ext>
                </a:extLst>
              </p:cNvPr>
              <p:cNvGrpSpPr/>
              <p:nvPr/>
            </p:nvGrpSpPr>
            <p:grpSpPr>
              <a:xfrm>
                <a:off x="6866096" y="4189952"/>
                <a:ext cx="75628" cy="75723"/>
                <a:chOff x="6866096" y="4189952"/>
                <a:chExt cx="75628" cy="75723"/>
              </a:xfrm>
            </p:grpSpPr>
            <p:sp>
              <p:nvSpPr>
                <p:cNvPr id="16645" name="Freeform: Shape 16644">
                  <a:extLst>
                    <a:ext uri="{FF2B5EF4-FFF2-40B4-BE49-F238E27FC236}">
                      <a16:creationId xmlns:a16="http://schemas.microsoft.com/office/drawing/2014/main" id="{646FFF22-C06A-F08E-7E5F-8F9EE98E4C01}"/>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6" name="Freeform: Shape 16645">
                  <a:extLst>
                    <a:ext uri="{FF2B5EF4-FFF2-40B4-BE49-F238E27FC236}">
                      <a16:creationId xmlns:a16="http://schemas.microsoft.com/office/drawing/2014/main" id="{564FF635-F325-91FE-2327-91DE25479F69}"/>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5" name="Graphic 1391">
                <a:extLst>
                  <a:ext uri="{FF2B5EF4-FFF2-40B4-BE49-F238E27FC236}">
                    <a16:creationId xmlns:a16="http://schemas.microsoft.com/office/drawing/2014/main" id="{C2ED17C1-63C1-D9B9-2AAB-ABC160743664}"/>
                  </a:ext>
                </a:extLst>
              </p:cNvPr>
              <p:cNvGrpSpPr/>
              <p:nvPr/>
            </p:nvGrpSpPr>
            <p:grpSpPr>
              <a:xfrm>
                <a:off x="6855523" y="4136898"/>
                <a:ext cx="75723" cy="75628"/>
                <a:chOff x="6855523" y="4136898"/>
                <a:chExt cx="75723" cy="75628"/>
              </a:xfrm>
            </p:grpSpPr>
            <p:sp>
              <p:nvSpPr>
                <p:cNvPr id="16643" name="Freeform: Shape 16642">
                  <a:extLst>
                    <a:ext uri="{FF2B5EF4-FFF2-40B4-BE49-F238E27FC236}">
                      <a16:creationId xmlns:a16="http://schemas.microsoft.com/office/drawing/2014/main" id="{8C1D3C4D-FEDC-50C7-C27E-D03C000A5F2C}"/>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4" name="Freeform: Shape 16643">
                  <a:extLst>
                    <a:ext uri="{FF2B5EF4-FFF2-40B4-BE49-F238E27FC236}">
                      <a16:creationId xmlns:a16="http://schemas.microsoft.com/office/drawing/2014/main" id="{D02FE6B5-CBA7-A427-51BC-FCF30A40E134}"/>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6" name="Graphic 1391">
                <a:extLst>
                  <a:ext uri="{FF2B5EF4-FFF2-40B4-BE49-F238E27FC236}">
                    <a16:creationId xmlns:a16="http://schemas.microsoft.com/office/drawing/2014/main" id="{DA7D4071-1DB6-B1C0-506A-2B27D6BD5BB9}"/>
                  </a:ext>
                </a:extLst>
              </p:cNvPr>
              <p:cNvGrpSpPr/>
              <p:nvPr/>
            </p:nvGrpSpPr>
            <p:grpSpPr>
              <a:xfrm>
                <a:off x="6821424" y="4086129"/>
                <a:ext cx="75723" cy="75723"/>
                <a:chOff x="6821424" y="4086129"/>
                <a:chExt cx="75723" cy="75723"/>
              </a:xfrm>
            </p:grpSpPr>
            <p:sp>
              <p:nvSpPr>
                <p:cNvPr id="16641" name="Freeform: Shape 16640">
                  <a:extLst>
                    <a:ext uri="{FF2B5EF4-FFF2-40B4-BE49-F238E27FC236}">
                      <a16:creationId xmlns:a16="http://schemas.microsoft.com/office/drawing/2014/main" id="{A4661A9E-6D0E-FE1E-55D4-D0236BFD4A6F}"/>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2" name="Freeform: Shape 16641">
                  <a:extLst>
                    <a:ext uri="{FF2B5EF4-FFF2-40B4-BE49-F238E27FC236}">
                      <a16:creationId xmlns:a16="http://schemas.microsoft.com/office/drawing/2014/main" id="{AF5DFF18-3ABF-07AB-BD6A-47583D8369B6}"/>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7" name="Graphic 1391">
                <a:extLst>
                  <a:ext uri="{FF2B5EF4-FFF2-40B4-BE49-F238E27FC236}">
                    <a16:creationId xmlns:a16="http://schemas.microsoft.com/office/drawing/2014/main" id="{505AD9B1-629F-3BB9-81F6-FD1BC6F165BF}"/>
                  </a:ext>
                </a:extLst>
              </p:cNvPr>
              <p:cNvGrpSpPr/>
              <p:nvPr/>
            </p:nvGrpSpPr>
            <p:grpSpPr>
              <a:xfrm>
                <a:off x="6810565" y="4041933"/>
                <a:ext cx="75628" cy="75723"/>
                <a:chOff x="6810565" y="4041933"/>
                <a:chExt cx="75628" cy="75723"/>
              </a:xfrm>
            </p:grpSpPr>
            <p:sp>
              <p:nvSpPr>
                <p:cNvPr id="16639" name="Freeform: Shape 16638">
                  <a:extLst>
                    <a:ext uri="{FF2B5EF4-FFF2-40B4-BE49-F238E27FC236}">
                      <a16:creationId xmlns:a16="http://schemas.microsoft.com/office/drawing/2014/main" id="{2E4D3211-0FB8-FA7F-3BBC-58B777F6D1F3}"/>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0" name="Freeform: Shape 16639">
                  <a:extLst>
                    <a:ext uri="{FF2B5EF4-FFF2-40B4-BE49-F238E27FC236}">
                      <a16:creationId xmlns:a16="http://schemas.microsoft.com/office/drawing/2014/main" id="{EEE2D8F5-59F9-1962-4E77-4BCE84FD38EC}"/>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8" name="Graphic 1391">
                <a:extLst>
                  <a:ext uri="{FF2B5EF4-FFF2-40B4-BE49-F238E27FC236}">
                    <a16:creationId xmlns:a16="http://schemas.microsoft.com/office/drawing/2014/main" id="{A977D8C7-D4B8-434A-07B0-6F32CE991769}"/>
                  </a:ext>
                </a:extLst>
              </p:cNvPr>
              <p:cNvGrpSpPr/>
              <p:nvPr/>
            </p:nvGrpSpPr>
            <p:grpSpPr>
              <a:xfrm>
                <a:off x="6797516" y="4041933"/>
                <a:ext cx="75723" cy="75723"/>
                <a:chOff x="6797516" y="4041933"/>
                <a:chExt cx="75723" cy="75723"/>
              </a:xfrm>
            </p:grpSpPr>
            <p:sp>
              <p:nvSpPr>
                <p:cNvPr id="16637" name="Freeform: Shape 16636">
                  <a:extLst>
                    <a:ext uri="{FF2B5EF4-FFF2-40B4-BE49-F238E27FC236}">
                      <a16:creationId xmlns:a16="http://schemas.microsoft.com/office/drawing/2014/main" id="{423A8735-E36F-2329-2970-F285D4543E27}"/>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8" name="Freeform: Shape 16637">
                  <a:extLst>
                    <a:ext uri="{FF2B5EF4-FFF2-40B4-BE49-F238E27FC236}">
                      <a16:creationId xmlns:a16="http://schemas.microsoft.com/office/drawing/2014/main" id="{6702363F-3D46-4D98-6484-2345C508A281}"/>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9" name="Graphic 1391">
                <a:extLst>
                  <a:ext uri="{FF2B5EF4-FFF2-40B4-BE49-F238E27FC236}">
                    <a16:creationId xmlns:a16="http://schemas.microsoft.com/office/drawing/2014/main" id="{9474A639-379A-3A51-56E7-DC78831FE5F3}"/>
                  </a:ext>
                </a:extLst>
              </p:cNvPr>
              <p:cNvGrpSpPr/>
              <p:nvPr/>
            </p:nvGrpSpPr>
            <p:grpSpPr>
              <a:xfrm>
                <a:off x="6708362" y="4041933"/>
                <a:ext cx="75723" cy="75723"/>
                <a:chOff x="6708362" y="4041933"/>
                <a:chExt cx="75723" cy="75723"/>
              </a:xfrm>
            </p:grpSpPr>
            <p:sp>
              <p:nvSpPr>
                <p:cNvPr id="16635" name="Freeform: Shape 16634">
                  <a:extLst>
                    <a:ext uri="{FF2B5EF4-FFF2-40B4-BE49-F238E27FC236}">
                      <a16:creationId xmlns:a16="http://schemas.microsoft.com/office/drawing/2014/main" id="{730961EB-6570-66FF-07A3-E5F67B069419}"/>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6" name="Freeform: Shape 16635">
                  <a:extLst>
                    <a:ext uri="{FF2B5EF4-FFF2-40B4-BE49-F238E27FC236}">
                      <a16:creationId xmlns:a16="http://schemas.microsoft.com/office/drawing/2014/main" id="{2DC84309-76BB-DC6D-ED35-43C15611F1DB}"/>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0" name="Graphic 1391">
                <a:extLst>
                  <a:ext uri="{FF2B5EF4-FFF2-40B4-BE49-F238E27FC236}">
                    <a16:creationId xmlns:a16="http://schemas.microsoft.com/office/drawing/2014/main" id="{3FD4684F-C6E5-6FBE-55EE-6218B2120679}"/>
                  </a:ext>
                </a:extLst>
              </p:cNvPr>
              <p:cNvGrpSpPr/>
              <p:nvPr/>
            </p:nvGrpSpPr>
            <p:grpSpPr>
              <a:xfrm>
                <a:off x="6420612" y="3932491"/>
                <a:ext cx="75723" cy="75723"/>
                <a:chOff x="6420612" y="3932491"/>
                <a:chExt cx="75723" cy="75723"/>
              </a:xfrm>
            </p:grpSpPr>
            <p:sp>
              <p:nvSpPr>
                <p:cNvPr id="16633" name="Freeform: Shape 16632">
                  <a:extLst>
                    <a:ext uri="{FF2B5EF4-FFF2-40B4-BE49-F238E27FC236}">
                      <a16:creationId xmlns:a16="http://schemas.microsoft.com/office/drawing/2014/main" id="{19719F6D-19C8-DD42-94E4-A1CD495416E1}"/>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4" name="Freeform: Shape 16633">
                  <a:extLst>
                    <a:ext uri="{FF2B5EF4-FFF2-40B4-BE49-F238E27FC236}">
                      <a16:creationId xmlns:a16="http://schemas.microsoft.com/office/drawing/2014/main" id="{F8DD8ED4-6528-5970-DFC0-9715F4F70224}"/>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1" name="Graphic 1391">
                <a:extLst>
                  <a:ext uri="{FF2B5EF4-FFF2-40B4-BE49-F238E27FC236}">
                    <a16:creationId xmlns:a16="http://schemas.microsoft.com/office/drawing/2014/main" id="{E4D07D4B-02D5-472F-842D-59B8DA966C21}"/>
                  </a:ext>
                </a:extLst>
              </p:cNvPr>
              <p:cNvGrpSpPr/>
              <p:nvPr/>
            </p:nvGrpSpPr>
            <p:grpSpPr>
              <a:xfrm>
                <a:off x="6440900" y="3959256"/>
                <a:ext cx="75628" cy="75723"/>
                <a:chOff x="6440900" y="3959256"/>
                <a:chExt cx="75628" cy="75723"/>
              </a:xfrm>
            </p:grpSpPr>
            <p:sp>
              <p:nvSpPr>
                <p:cNvPr id="16631" name="Freeform: Shape 16630">
                  <a:extLst>
                    <a:ext uri="{FF2B5EF4-FFF2-40B4-BE49-F238E27FC236}">
                      <a16:creationId xmlns:a16="http://schemas.microsoft.com/office/drawing/2014/main" id="{048E5B6D-0CB3-6897-A5FD-0C9000640ECE}"/>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2" name="Freeform: Shape 16631">
                  <a:extLst>
                    <a:ext uri="{FF2B5EF4-FFF2-40B4-BE49-F238E27FC236}">
                      <a16:creationId xmlns:a16="http://schemas.microsoft.com/office/drawing/2014/main" id="{223C3746-9BE4-6B1F-4CE6-F3F2DD9D7B92}"/>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2" name="Graphic 1391">
                <a:extLst>
                  <a:ext uri="{FF2B5EF4-FFF2-40B4-BE49-F238E27FC236}">
                    <a16:creationId xmlns:a16="http://schemas.microsoft.com/office/drawing/2014/main" id="{1A5B7A16-C95B-C56F-B1F3-8B08AD9A8323}"/>
                  </a:ext>
                </a:extLst>
              </p:cNvPr>
              <p:cNvGrpSpPr/>
              <p:nvPr/>
            </p:nvGrpSpPr>
            <p:grpSpPr>
              <a:xfrm>
                <a:off x="6451377" y="3959256"/>
                <a:ext cx="75723" cy="75723"/>
                <a:chOff x="6451377" y="3959256"/>
                <a:chExt cx="75723" cy="75723"/>
              </a:xfrm>
            </p:grpSpPr>
            <p:sp>
              <p:nvSpPr>
                <p:cNvPr id="16629" name="Freeform: Shape 16628">
                  <a:extLst>
                    <a:ext uri="{FF2B5EF4-FFF2-40B4-BE49-F238E27FC236}">
                      <a16:creationId xmlns:a16="http://schemas.microsoft.com/office/drawing/2014/main" id="{2DA92C6A-66DB-434E-6B19-A2D05672AB45}"/>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0" name="Freeform: Shape 16629">
                  <a:extLst>
                    <a:ext uri="{FF2B5EF4-FFF2-40B4-BE49-F238E27FC236}">
                      <a16:creationId xmlns:a16="http://schemas.microsoft.com/office/drawing/2014/main" id="{7274A2D1-528E-0E9D-DC88-752A0615332F}"/>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3" name="Graphic 1391">
                <a:extLst>
                  <a:ext uri="{FF2B5EF4-FFF2-40B4-BE49-F238E27FC236}">
                    <a16:creationId xmlns:a16="http://schemas.microsoft.com/office/drawing/2014/main" id="{8C3DFB03-6984-7554-F3F5-E19AAE88F373}"/>
                  </a:ext>
                </a:extLst>
              </p:cNvPr>
              <p:cNvGrpSpPr/>
              <p:nvPr/>
            </p:nvGrpSpPr>
            <p:grpSpPr>
              <a:xfrm>
                <a:off x="6465189" y="3959256"/>
                <a:ext cx="75723" cy="75723"/>
                <a:chOff x="6465189" y="3959256"/>
                <a:chExt cx="75723" cy="75723"/>
              </a:xfrm>
            </p:grpSpPr>
            <p:sp>
              <p:nvSpPr>
                <p:cNvPr id="16627" name="Freeform: Shape 16626">
                  <a:extLst>
                    <a:ext uri="{FF2B5EF4-FFF2-40B4-BE49-F238E27FC236}">
                      <a16:creationId xmlns:a16="http://schemas.microsoft.com/office/drawing/2014/main" id="{FDA87552-1B36-7692-EA6E-350481D58B97}"/>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8" name="Freeform: Shape 16627">
                  <a:extLst>
                    <a:ext uri="{FF2B5EF4-FFF2-40B4-BE49-F238E27FC236}">
                      <a16:creationId xmlns:a16="http://schemas.microsoft.com/office/drawing/2014/main" id="{97E79CEF-39E5-4909-1A5D-D440A9400EB4}"/>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4" name="Graphic 1391">
                <a:extLst>
                  <a:ext uri="{FF2B5EF4-FFF2-40B4-BE49-F238E27FC236}">
                    <a16:creationId xmlns:a16="http://schemas.microsoft.com/office/drawing/2014/main" id="{B4C091F1-3619-0440-4002-506DB496DF05}"/>
                  </a:ext>
                </a:extLst>
              </p:cNvPr>
              <p:cNvGrpSpPr/>
              <p:nvPr/>
            </p:nvGrpSpPr>
            <p:grpSpPr>
              <a:xfrm>
                <a:off x="6396323" y="3932491"/>
                <a:ext cx="75628" cy="75723"/>
                <a:chOff x="6396323" y="3932491"/>
                <a:chExt cx="75628" cy="75723"/>
              </a:xfrm>
            </p:grpSpPr>
            <p:sp>
              <p:nvSpPr>
                <p:cNvPr id="16625" name="Freeform: Shape 16624">
                  <a:extLst>
                    <a:ext uri="{FF2B5EF4-FFF2-40B4-BE49-F238E27FC236}">
                      <a16:creationId xmlns:a16="http://schemas.microsoft.com/office/drawing/2014/main" id="{52A8A465-87FB-38FB-4C95-AA7B54307993}"/>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6" name="Freeform: Shape 16625">
                  <a:extLst>
                    <a:ext uri="{FF2B5EF4-FFF2-40B4-BE49-F238E27FC236}">
                      <a16:creationId xmlns:a16="http://schemas.microsoft.com/office/drawing/2014/main" id="{069E11A9-BD5F-95D5-7131-41E6A76D5263}"/>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5" name="Graphic 1391">
                <a:extLst>
                  <a:ext uri="{FF2B5EF4-FFF2-40B4-BE49-F238E27FC236}">
                    <a16:creationId xmlns:a16="http://schemas.microsoft.com/office/drawing/2014/main" id="{EE246838-C1C1-EFA8-ACED-7585B56F4D86}"/>
                  </a:ext>
                </a:extLst>
              </p:cNvPr>
              <p:cNvGrpSpPr/>
              <p:nvPr/>
            </p:nvGrpSpPr>
            <p:grpSpPr>
              <a:xfrm>
                <a:off x="6324504" y="3932491"/>
                <a:ext cx="75723" cy="75723"/>
                <a:chOff x="6324504" y="3932491"/>
                <a:chExt cx="75723" cy="75723"/>
              </a:xfrm>
            </p:grpSpPr>
            <p:sp>
              <p:nvSpPr>
                <p:cNvPr id="16623" name="Freeform: Shape 16622">
                  <a:extLst>
                    <a:ext uri="{FF2B5EF4-FFF2-40B4-BE49-F238E27FC236}">
                      <a16:creationId xmlns:a16="http://schemas.microsoft.com/office/drawing/2014/main" id="{F6541AD7-64A0-D7C7-EA37-06DAA0AEB2D7}"/>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4" name="Freeform: Shape 16623">
                  <a:extLst>
                    <a:ext uri="{FF2B5EF4-FFF2-40B4-BE49-F238E27FC236}">
                      <a16:creationId xmlns:a16="http://schemas.microsoft.com/office/drawing/2014/main" id="{2494635B-5843-0A46-CF50-6EE87A3ABBFD}"/>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6" name="Graphic 1391">
                <a:extLst>
                  <a:ext uri="{FF2B5EF4-FFF2-40B4-BE49-F238E27FC236}">
                    <a16:creationId xmlns:a16="http://schemas.microsoft.com/office/drawing/2014/main" id="{372D4287-A66A-BBFD-BDBD-8239E45D400F}"/>
                  </a:ext>
                </a:extLst>
              </p:cNvPr>
              <p:cNvGrpSpPr/>
              <p:nvPr/>
            </p:nvGrpSpPr>
            <p:grpSpPr>
              <a:xfrm>
                <a:off x="6106858" y="3849433"/>
                <a:ext cx="75723" cy="75723"/>
                <a:chOff x="6106858" y="3849433"/>
                <a:chExt cx="75723" cy="75723"/>
              </a:xfrm>
            </p:grpSpPr>
            <p:sp>
              <p:nvSpPr>
                <p:cNvPr id="16621" name="Freeform: Shape 16620">
                  <a:extLst>
                    <a:ext uri="{FF2B5EF4-FFF2-40B4-BE49-F238E27FC236}">
                      <a16:creationId xmlns:a16="http://schemas.microsoft.com/office/drawing/2014/main" id="{BF2F8CAE-6FD9-72FA-5D30-EEE320613CF8}"/>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2" name="Freeform: Shape 16621">
                  <a:extLst>
                    <a:ext uri="{FF2B5EF4-FFF2-40B4-BE49-F238E27FC236}">
                      <a16:creationId xmlns:a16="http://schemas.microsoft.com/office/drawing/2014/main" id="{C2874EE6-D732-408D-8E9D-1A0D3F82EF1A}"/>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7" name="Graphic 1391">
                <a:extLst>
                  <a:ext uri="{FF2B5EF4-FFF2-40B4-BE49-F238E27FC236}">
                    <a16:creationId xmlns:a16="http://schemas.microsoft.com/office/drawing/2014/main" id="{1B7BB52E-E63F-51C8-E79E-1944F9509F9D}"/>
                  </a:ext>
                </a:extLst>
              </p:cNvPr>
              <p:cNvGrpSpPr/>
              <p:nvPr/>
            </p:nvGrpSpPr>
            <p:grpSpPr>
              <a:xfrm>
                <a:off x="6088284" y="3819429"/>
                <a:ext cx="75628" cy="75723"/>
                <a:chOff x="6088284" y="3819429"/>
                <a:chExt cx="75628" cy="75723"/>
              </a:xfrm>
            </p:grpSpPr>
            <p:sp>
              <p:nvSpPr>
                <p:cNvPr id="16619" name="Freeform: Shape 16618">
                  <a:extLst>
                    <a:ext uri="{FF2B5EF4-FFF2-40B4-BE49-F238E27FC236}">
                      <a16:creationId xmlns:a16="http://schemas.microsoft.com/office/drawing/2014/main" id="{53BD48EE-EC39-5226-CF37-0D694F55F71C}"/>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0" name="Freeform: Shape 16619">
                  <a:extLst>
                    <a:ext uri="{FF2B5EF4-FFF2-40B4-BE49-F238E27FC236}">
                      <a16:creationId xmlns:a16="http://schemas.microsoft.com/office/drawing/2014/main" id="{2F5C1802-15D0-D5B6-7EDA-925674031A12}"/>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8" name="Graphic 1391">
                <a:extLst>
                  <a:ext uri="{FF2B5EF4-FFF2-40B4-BE49-F238E27FC236}">
                    <a16:creationId xmlns:a16="http://schemas.microsoft.com/office/drawing/2014/main" id="{45DB1ECA-829E-7DFA-4747-DB817AD0C78D}"/>
                  </a:ext>
                </a:extLst>
              </p:cNvPr>
              <p:cNvGrpSpPr/>
              <p:nvPr/>
            </p:nvGrpSpPr>
            <p:grpSpPr>
              <a:xfrm>
                <a:off x="6069044" y="3794664"/>
                <a:ext cx="75723" cy="75723"/>
                <a:chOff x="6069044" y="3794664"/>
                <a:chExt cx="75723" cy="75723"/>
              </a:xfrm>
            </p:grpSpPr>
            <p:sp>
              <p:nvSpPr>
                <p:cNvPr id="16617" name="Freeform: Shape 16616">
                  <a:extLst>
                    <a:ext uri="{FF2B5EF4-FFF2-40B4-BE49-F238E27FC236}">
                      <a16:creationId xmlns:a16="http://schemas.microsoft.com/office/drawing/2014/main" id="{BF87C5F6-C6B8-CB48-F40C-9ECD18D4625C}"/>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8" name="Freeform: Shape 16617">
                  <a:extLst>
                    <a:ext uri="{FF2B5EF4-FFF2-40B4-BE49-F238E27FC236}">
                      <a16:creationId xmlns:a16="http://schemas.microsoft.com/office/drawing/2014/main" id="{06B34850-7838-DB65-A3F8-F8121D11D73A}"/>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9" name="Graphic 1391">
                <a:extLst>
                  <a:ext uri="{FF2B5EF4-FFF2-40B4-BE49-F238E27FC236}">
                    <a16:creationId xmlns:a16="http://schemas.microsoft.com/office/drawing/2014/main" id="{888803A0-35B1-79AE-52B9-E7CF9A6F579A}"/>
                  </a:ext>
                </a:extLst>
              </p:cNvPr>
              <p:cNvGrpSpPr/>
              <p:nvPr/>
            </p:nvGrpSpPr>
            <p:grpSpPr>
              <a:xfrm>
                <a:off x="6064186" y="3794664"/>
                <a:ext cx="75723" cy="75723"/>
                <a:chOff x="6064186" y="3794664"/>
                <a:chExt cx="75723" cy="75723"/>
              </a:xfrm>
            </p:grpSpPr>
            <p:sp>
              <p:nvSpPr>
                <p:cNvPr id="16615" name="Freeform: Shape 16614">
                  <a:extLst>
                    <a:ext uri="{FF2B5EF4-FFF2-40B4-BE49-F238E27FC236}">
                      <a16:creationId xmlns:a16="http://schemas.microsoft.com/office/drawing/2014/main" id="{B63940A3-CF03-1AF7-71B8-7A87A1561FF6}"/>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6" name="Freeform: Shape 16615">
                  <a:extLst>
                    <a:ext uri="{FF2B5EF4-FFF2-40B4-BE49-F238E27FC236}">
                      <a16:creationId xmlns:a16="http://schemas.microsoft.com/office/drawing/2014/main" id="{6828B4B5-5009-99B2-873F-E40675F01704}"/>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0" name="Graphic 1391">
                <a:extLst>
                  <a:ext uri="{FF2B5EF4-FFF2-40B4-BE49-F238E27FC236}">
                    <a16:creationId xmlns:a16="http://schemas.microsoft.com/office/drawing/2014/main" id="{8A6FF37F-13A6-D73B-B410-49FF104943E7}"/>
                  </a:ext>
                </a:extLst>
              </p:cNvPr>
              <p:cNvGrpSpPr/>
              <p:nvPr/>
            </p:nvGrpSpPr>
            <p:grpSpPr>
              <a:xfrm>
                <a:off x="6058471" y="3768375"/>
                <a:ext cx="75723" cy="75628"/>
                <a:chOff x="6058471" y="3768375"/>
                <a:chExt cx="75723" cy="75628"/>
              </a:xfrm>
            </p:grpSpPr>
            <p:sp>
              <p:nvSpPr>
                <p:cNvPr id="16613" name="Freeform: Shape 16612">
                  <a:extLst>
                    <a:ext uri="{FF2B5EF4-FFF2-40B4-BE49-F238E27FC236}">
                      <a16:creationId xmlns:a16="http://schemas.microsoft.com/office/drawing/2014/main" id="{9CB227C6-14BA-9EF2-8898-A96CD3D89A04}"/>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4" name="Freeform: Shape 16613">
                  <a:extLst>
                    <a:ext uri="{FF2B5EF4-FFF2-40B4-BE49-F238E27FC236}">
                      <a16:creationId xmlns:a16="http://schemas.microsoft.com/office/drawing/2014/main" id="{3CDE0B55-F04E-6AB0-B528-07472B92A4C6}"/>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1" name="Graphic 1391">
                <a:extLst>
                  <a:ext uri="{FF2B5EF4-FFF2-40B4-BE49-F238E27FC236}">
                    <a16:creationId xmlns:a16="http://schemas.microsoft.com/office/drawing/2014/main" id="{E58AFAE4-2181-FD89-BFA6-4A1031243AAC}"/>
                  </a:ext>
                </a:extLst>
              </p:cNvPr>
              <p:cNvGrpSpPr/>
              <p:nvPr/>
            </p:nvGrpSpPr>
            <p:grpSpPr>
              <a:xfrm>
                <a:off x="6043517" y="3768375"/>
                <a:ext cx="75723" cy="75628"/>
                <a:chOff x="6043517" y="3768375"/>
                <a:chExt cx="75723" cy="75628"/>
              </a:xfrm>
            </p:grpSpPr>
            <p:sp>
              <p:nvSpPr>
                <p:cNvPr id="16611" name="Freeform: Shape 16610">
                  <a:extLst>
                    <a:ext uri="{FF2B5EF4-FFF2-40B4-BE49-F238E27FC236}">
                      <a16:creationId xmlns:a16="http://schemas.microsoft.com/office/drawing/2014/main" id="{E7708A85-377B-FFE1-EEDE-5FE375CD53A6}"/>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2" name="Freeform: Shape 16611">
                  <a:extLst>
                    <a:ext uri="{FF2B5EF4-FFF2-40B4-BE49-F238E27FC236}">
                      <a16:creationId xmlns:a16="http://schemas.microsoft.com/office/drawing/2014/main" id="{1BE9378E-6C4B-0208-9606-4EEDA2D6E317}"/>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2" name="Graphic 1391">
                <a:extLst>
                  <a:ext uri="{FF2B5EF4-FFF2-40B4-BE49-F238E27FC236}">
                    <a16:creationId xmlns:a16="http://schemas.microsoft.com/office/drawing/2014/main" id="{E5693573-813E-DE8F-02A7-FE44EBB0617B}"/>
                  </a:ext>
                </a:extLst>
              </p:cNvPr>
              <p:cNvGrpSpPr/>
              <p:nvPr/>
            </p:nvGrpSpPr>
            <p:grpSpPr>
              <a:xfrm>
                <a:off x="5723477" y="3768375"/>
                <a:ext cx="75723" cy="75628"/>
                <a:chOff x="5723477" y="3768375"/>
                <a:chExt cx="75723" cy="75628"/>
              </a:xfrm>
            </p:grpSpPr>
            <p:sp>
              <p:nvSpPr>
                <p:cNvPr id="16609" name="Freeform: Shape 16608">
                  <a:extLst>
                    <a:ext uri="{FF2B5EF4-FFF2-40B4-BE49-F238E27FC236}">
                      <a16:creationId xmlns:a16="http://schemas.microsoft.com/office/drawing/2014/main" id="{9BAA1B07-CFE2-FAB8-C529-E54F15C03731}"/>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0" name="Freeform: Shape 16609">
                  <a:extLst>
                    <a:ext uri="{FF2B5EF4-FFF2-40B4-BE49-F238E27FC236}">
                      <a16:creationId xmlns:a16="http://schemas.microsoft.com/office/drawing/2014/main" id="{55798371-A140-AAE8-3E7A-B62B0FD50F91}"/>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3" name="Graphic 1391">
                <a:extLst>
                  <a:ext uri="{FF2B5EF4-FFF2-40B4-BE49-F238E27FC236}">
                    <a16:creationId xmlns:a16="http://schemas.microsoft.com/office/drawing/2014/main" id="{DC83C8EE-ECCC-142B-C367-6D254FF6E56E}"/>
                  </a:ext>
                </a:extLst>
              </p:cNvPr>
              <p:cNvGrpSpPr/>
              <p:nvPr/>
            </p:nvGrpSpPr>
            <p:grpSpPr>
              <a:xfrm>
                <a:off x="5704808" y="3768375"/>
                <a:ext cx="75723" cy="75628"/>
                <a:chOff x="5704808" y="3768375"/>
                <a:chExt cx="75723" cy="75628"/>
              </a:xfrm>
            </p:grpSpPr>
            <p:sp>
              <p:nvSpPr>
                <p:cNvPr id="16607" name="Freeform: Shape 16606">
                  <a:extLst>
                    <a:ext uri="{FF2B5EF4-FFF2-40B4-BE49-F238E27FC236}">
                      <a16:creationId xmlns:a16="http://schemas.microsoft.com/office/drawing/2014/main" id="{24AD43DD-A8F4-99B7-1813-7AD9AB03EDD1}"/>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8" name="Freeform: Shape 16607">
                  <a:extLst>
                    <a:ext uri="{FF2B5EF4-FFF2-40B4-BE49-F238E27FC236}">
                      <a16:creationId xmlns:a16="http://schemas.microsoft.com/office/drawing/2014/main" id="{34A27698-07E6-B974-E0BE-A4F1A3BABE5B}"/>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4" name="Graphic 1391">
                <a:extLst>
                  <a:ext uri="{FF2B5EF4-FFF2-40B4-BE49-F238E27FC236}">
                    <a16:creationId xmlns:a16="http://schemas.microsoft.com/office/drawing/2014/main" id="{63307129-BD63-A9B2-8EBE-117793C31F94}"/>
                  </a:ext>
                </a:extLst>
              </p:cNvPr>
              <p:cNvGrpSpPr/>
              <p:nvPr/>
            </p:nvGrpSpPr>
            <p:grpSpPr>
              <a:xfrm>
                <a:off x="5664708" y="3705796"/>
                <a:ext cx="75628" cy="75723"/>
                <a:chOff x="5664708" y="3705796"/>
                <a:chExt cx="75628" cy="75723"/>
              </a:xfrm>
            </p:grpSpPr>
            <p:sp>
              <p:nvSpPr>
                <p:cNvPr id="16605" name="Freeform: Shape 16604">
                  <a:extLst>
                    <a:ext uri="{FF2B5EF4-FFF2-40B4-BE49-F238E27FC236}">
                      <a16:creationId xmlns:a16="http://schemas.microsoft.com/office/drawing/2014/main" id="{9B14D420-BAA1-B984-CB0C-5B50594587B0}"/>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6" name="Freeform: Shape 16605">
                  <a:extLst>
                    <a:ext uri="{FF2B5EF4-FFF2-40B4-BE49-F238E27FC236}">
                      <a16:creationId xmlns:a16="http://schemas.microsoft.com/office/drawing/2014/main" id="{3289C717-763B-205C-A8DB-A33C4591B70B}"/>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5" name="Graphic 1391">
                <a:extLst>
                  <a:ext uri="{FF2B5EF4-FFF2-40B4-BE49-F238E27FC236}">
                    <a16:creationId xmlns:a16="http://schemas.microsoft.com/office/drawing/2014/main" id="{9A1CFD89-C689-7444-628C-CEF2609055FC}"/>
                  </a:ext>
                </a:extLst>
              </p:cNvPr>
              <p:cNvGrpSpPr/>
              <p:nvPr/>
            </p:nvGrpSpPr>
            <p:grpSpPr>
              <a:xfrm>
                <a:off x="5267229" y="3503580"/>
                <a:ext cx="75723" cy="75723"/>
                <a:chOff x="5267229" y="3503580"/>
                <a:chExt cx="75723" cy="75723"/>
              </a:xfrm>
            </p:grpSpPr>
            <p:sp>
              <p:nvSpPr>
                <p:cNvPr id="16603" name="Freeform: Shape 16602">
                  <a:extLst>
                    <a:ext uri="{FF2B5EF4-FFF2-40B4-BE49-F238E27FC236}">
                      <a16:creationId xmlns:a16="http://schemas.microsoft.com/office/drawing/2014/main" id="{717B24CB-5A96-D60C-D6A1-49CE32EAE3FF}"/>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4" name="Freeform: Shape 16603">
                  <a:extLst>
                    <a:ext uri="{FF2B5EF4-FFF2-40B4-BE49-F238E27FC236}">
                      <a16:creationId xmlns:a16="http://schemas.microsoft.com/office/drawing/2014/main" id="{C6A98093-85F8-32A3-43C3-28571794B703}"/>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6" name="Graphic 1391">
                <a:extLst>
                  <a:ext uri="{FF2B5EF4-FFF2-40B4-BE49-F238E27FC236}">
                    <a16:creationId xmlns:a16="http://schemas.microsoft.com/office/drawing/2014/main" id="{C8D95F6A-AB58-26BF-A521-D6740DFBA75B}"/>
                  </a:ext>
                </a:extLst>
              </p:cNvPr>
              <p:cNvGrpSpPr/>
              <p:nvPr/>
            </p:nvGrpSpPr>
            <p:grpSpPr>
              <a:xfrm>
                <a:off x="4946999" y="3369564"/>
                <a:ext cx="75723" cy="75628"/>
                <a:chOff x="4946999" y="3369564"/>
                <a:chExt cx="75723" cy="75628"/>
              </a:xfrm>
            </p:grpSpPr>
            <p:sp>
              <p:nvSpPr>
                <p:cNvPr id="16601" name="Freeform: Shape 16600">
                  <a:extLst>
                    <a:ext uri="{FF2B5EF4-FFF2-40B4-BE49-F238E27FC236}">
                      <a16:creationId xmlns:a16="http://schemas.microsoft.com/office/drawing/2014/main" id="{4CBAFFA0-DDC3-39A6-E620-54D6E7A0B269}"/>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2" name="Freeform: Shape 16601">
                  <a:extLst>
                    <a:ext uri="{FF2B5EF4-FFF2-40B4-BE49-F238E27FC236}">
                      <a16:creationId xmlns:a16="http://schemas.microsoft.com/office/drawing/2014/main" id="{1423402C-4646-64DE-7336-757642864554}"/>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7" name="Graphic 1391">
                <a:extLst>
                  <a:ext uri="{FF2B5EF4-FFF2-40B4-BE49-F238E27FC236}">
                    <a16:creationId xmlns:a16="http://schemas.microsoft.com/office/drawing/2014/main" id="{55605484-82A9-C1A2-F3F7-FD6AB1CA590D}"/>
                  </a:ext>
                </a:extLst>
              </p:cNvPr>
              <p:cNvGrpSpPr/>
              <p:nvPr/>
            </p:nvGrpSpPr>
            <p:grpSpPr>
              <a:xfrm>
                <a:off x="4935664" y="3369564"/>
                <a:ext cx="75723" cy="75628"/>
                <a:chOff x="4935664" y="3369564"/>
                <a:chExt cx="75723" cy="75628"/>
              </a:xfrm>
            </p:grpSpPr>
            <p:sp>
              <p:nvSpPr>
                <p:cNvPr id="16599" name="Freeform: Shape 16598">
                  <a:extLst>
                    <a:ext uri="{FF2B5EF4-FFF2-40B4-BE49-F238E27FC236}">
                      <a16:creationId xmlns:a16="http://schemas.microsoft.com/office/drawing/2014/main" id="{FE7EC74F-8359-4273-356C-292E12BC34EA}"/>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0" name="Freeform: Shape 16599">
                  <a:extLst>
                    <a:ext uri="{FF2B5EF4-FFF2-40B4-BE49-F238E27FC236}">
                      <a16:creationId xmlns:a16="http://schemas.microsoft.com/office/drawing/2014/main" id="{90C8816E-A2B0-4BFF-C3DE-E1F35154CE08}"/>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8" name="Graphic 1391">
                <a:extLst>
                  <a:ext uri="{FF2B5EF4-FFF2-40B4-BE49-F238E27FC236}">
                    <a16:creationId xmlns:a16="http://schemas.microsoft.com/office/drawing/2014/main" id="{1B572849-B604-DC86-99CD-149B20588CA5}"/>
                  </a:ext>
                </a:extLst>
              </p:cNvPr>
              <p:cNvGrpSpPr/>
              <p:nvPr/>
            </p:nvGrpSpPr>
            <p:grpSpPr>
              <a:xfrm>
                <a:off x="4931092" y="3335464"/>
                <a:ext cx="75628" cy="75723"/>
                <a:chOff x="4931092" y="3335464"/>
                <a:chExt cx="75628" cy="75723"/>
              </a:xfrm>
            </p:grpSpPr>
            <p:sp>
              <p:nvSpPr>
                <p:cNvPr id="16597" name="Freeform: Shape 16596">
                  <a:extLst>
                    <a:ext uri="{FF2B5EF4-FFF2-40B4-BE49-F238E27FC236}">
                      <a16:creationId xmlns:a16="http://schemas.microsoft.com/office/drawing/2014/main" id="{03D3F7F5-C318-A653-C5A5-165AE1B4422F}"/>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8" name="Freeform: Shape 16597">
                  <a:extLst>
                    <a:ext uri="{FF2B5EF4-FFF2-40B4-BE49-F238E27FC236}">
                      <a16:creationId xmlns:a16="http://schemas.microsoft.com/office/drawing/2014/main" id="{758FA2D6-8CB0-B60E-82C7-6C8248D82343}"/>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9" name="Graphic 1391">
                <a:extLst>
                  <a:ext uri="{FF2B5EF4-FFF2-40B4-BE49-F238E27FC236}">
                    <a16:creationId xmlns:a16="http://schemas.microsoft.com/office/drawing/2014/main" id="{A0FBA31D-905E-6D40-9959-0F90B0825D66}"/>
                  </a:ext>
                </a:extLst>
              </p:cNvPr>
              <p:cNvGrpSpPr/>
              <p:nvPr/>
            </p:nvGrpSpPr>
            <p:grpSpPr>
              <a:xfrm>
                <a:off x="4927854" y="3319081"/>
                <a:ext cx="75628" cy="75723"/>
                <a:chOff x="4927854" y="3319081"/>
                <a:chExt cx="75628" cy="75723"/>
              </a:xfrm>
            </p:grpSpPr>
            <p:sp>
              <p:nvSpPr>
                <p:cNvPr id="16595" name="Freeform: Shape 16594">
                  <a:extLst>
                    <a:ext uri="{FF2B5EF4-FFF2-40B4-BE49-F238E27FC236}">
                      <a16:creationId xmlns:a16="http://schemas.microsoft.com/office/drawing/2014/main" id="{C1C49926-547F-D469-3C24-DC8492A328EF}"/>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6" name="Freeform: Shape 16595">
                  <a:extLst>
                    <a:ext uri="{FF2B5EF4-FFF2-40B4-BE49-F238E27FC236}">
                      <a16:creationId xmlns:a16="http://schemas.microsoft.com/office/drawing/2014/main" id="{10A65E1E-4D10-691B-2C10-D53641B068DC}"/>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0" name="Graphic 1391">
                <a:extLst>
                  <a:ext uri="{FF2B5EF4-FFF2-40B4-BE49-F238E27FC236}">
                    <a16:creationId xmlns:a16="http://schemas.microsoft.com/office/drawing/2014/main" id="{89F87123-536B-49DF-89F4-37FB1B2B45EF}"/>
                  </a:ext>
                </a:extLst>
              </p:cNvPr>
              <p:cNvGrpSpPr/>
              <p:nvPr/>
            </p:nvGrpSpPr>
            <p:grpSpPr>
              <a:xfrm>
                <a:off x="4916900" y="3272504"/>
                <a:ext cx="75628" cy="75723"/>
                <a:chOff x="4916900" y="3272504"/>
                <a:chExt cx="75628" cy="75723"/>
              </a:xfrm>
            </p:grpSpPr>
            <p:sp>
              <p:nvSpPr>
                <p:cNvPr id="16593" name="Freeform: Shape 16592">
                  <a:extLst>
                    <a:ext uri="{FF2B5EF4-FFF2-40B4-BE49-F238E27FC236}">
                      <a16:creationId xmlns:a16="http://schemas.microsoft.com/office/drawing/2014/main" id="{548EF160-396E-70AA-0A36-E162B57D0F26}"/>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4" name="Freeform: Shape 16593">
                  <a:extLst>
                    <a:ext uri="{FF2B5EF4-FFF2-40B4-BE49-F238E27FC236}">
                      <a16:creationId xmlns:a16="http://schemas.microsoft.com/office/drawing/2014/main" id="{3EF38BF4-01D4-9480-46DB-C6F23E9098B3}"/>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1" name="Graphic 1391">
                <a:extLst>
                  <a:ext uri="{FF2B5EF4-FFF2-40B4-BE49-F238E27FC236}">
                    <a16:creationId xmlns:a16="http://schemas.microsoft.com/office/drawing/2014/main" id="{ADF1A521-7324-8AC3-38B4-EEF4D5584BD2}"/>
                  </a:ext>
                </a:extLst>
              </p:cNvPr>
              <p:cNvGrpSpPr/>
              <p:nvPr/>
            </p:nvGrpSpPr>
            <p:grpSpPr>
              <a:xfrm>
                <a:off x="4905089" y="3272504"/>
                <a:ext cx="75723" cy="75723"/>
                <a:chOff x="4905089" y="3272504"/>
                <a:chExt cx="75723" cy="75723"/>
              </a:xfrm>
            </p:grpSpPr>
            <p:sp>
              <p:nvSpPr>
                <p:cNvPr id="16591" name="Freeform: Shape 16590">
                  <a:extLst>
                    <a:ext uri="{FF2B5EF4-FFF2-40B4-BE49-F238E27FC236}">
                      <a16:creationId xmlns:a16="http://schemas.microsoft.com/office/drawing/2014/main" id="{80DECCCB-AC83-4A1C-3921-64426700573B}"/>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2" name="Freeform: Shape 16591">
                  <a:extLst>
                    <a:ext uri="{FF2B5EF4-FFF2-40B4-BE49-F238E27FC236}">
                      <a16:creationId xmlns:a16="http://schemas.microsoft.com/office/drawing/2014/main" id="{CA393F07-9A6A-AFC7-4CE1-D26B7331417A}"/>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2" name="Graphic 1391">
                <a:extLst>
                  <a:ext uri="{FF2B5EF4-FFF2-40B4-BE49-F238E27FC236}">
                    <a16:creationId xmlns:a16="http://schemas.microsoft.com/office/drawing/2014/main" id="{90748A4D-8EC6-3FBA-01E6-C0EA012ECF34}"/>
                  </a:ext>
                </a:extLst>
              </p:cNvPr>
              <p:cNvGrpSpPr/>
              <p:nvPr/>
            </p:nvGrpSpPr>
            <p:grpSpPr>
              <a:xfrm>
                <a:off x="4889944" y="3259740"/>
                <a:ext cx="75723" cy="75723"/>
                <a:chOff x="4889944" y="3259740"/>
                <a:chExt cx="75723" cy="75723"/>
              </a:xfrm>
            </p:grpSpPr>
            <p:sp>
              <p:nvSpPr>
                <p:cNvPr id="16589" name="Freeform: Shape 16588">
                  <a:extLst>
                    <a:ext uri="{FF2B5EF4-FFF2-40B4-BE49-F238E27FC236}">
                      <a16:creationId xmlns:a16="http://schemas.microsoft.com/office/drawing/2014/main" id="{E6797CE8-4D72-B6A7-5794-8C8242D52EDC}"/>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0" name="Freeform: Shape 16589">
                  <a:extLst>
                    <a:ext uri="{FF2B5EF4-FFF2-40B4-BE49-F238E27FC236}">
                      <a16:creationId xmlns:a16="http://schemas.microsoft.com/office/drawing/2014/main" id="{96BE23AF-9BA4-A957-A44C-021ADF43A429}"/>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3" name="Graphic 1391">
                <a:extLst>
                  <a:ext uri="{FF2B5EF4-FFF2-40B4-BE49-F238E27FC236}">
                    <a16:creationId xmlns:a16="http://schemas.microsoft.com/office/drawing/2014/main" id="{CFB8AB54-956D-DD03-BEE0-C0DE0C28E31E}"/>
                  </a:ext>
                </a:extLst>
              </p:cNvPr>
              <p:cNvGrpSpPr/>
              <p:nvPr/>
            </p:nvGrpSpPr>
            <p:grpSpPr>
              <a:xfrm>
                <a:off x="4657344" y="3139154"/>
                <a:ext cx="75628" cy="75723"/>
                <a:chOff x="4657344" y="3139154"/>
                <a:chExt cx="75628" cy="75723"/>
              </a:xfrm>
            </p:grpSpPr>
            <p:sp>
              <p:nvSpPr>
                <p:cNvPr id="16587" name="Freeform: Shape 16586">
                  <a:extLst>
                    <a:ext uri="{FF2B5EF4-FFF2-40B4-BE49-F238E27FC236}">
                      <a16:creationId xmlns:a16="http://schemas.microsoft.com/office/drawing/2014/main" id="{346771DA-989C-70CF-DE74-16F6CFD8B7FC}"/>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8" name="Freeform: Shape 16587">
                  <a:extLst>
                    <a:ext uri="{FF2B5EF4-FFF2-40B4-BE49-F238E27FC236}">
                      <a16:creationId xmlns:a16="http://schemas.microsoft.com/office/drawing/2014/main" id="{23846192-F0DF-84B2-888B-21626F0ADEC6}"/>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4" name="Graphic 1391">
                <a:extLst>
                  <a:ext uri="{FF2B5EF4-FFF2-40B4-BE49-F238E27FC236}">
                    <a16:creationId xmlns:a16="http://schemas.microsoft.com/office/drawing/2014/main" id="{845A9218-7CB5-55E4-6DBF-F8F8717E5C65}"/>
                  </a:ext>
                </a:extLst>
              </p:cNvPr>
              <p:cNvGrpSpPr/>
              <p:nvPr/>
            </p:nvGrpSpPr>
            <p:grpSpPr>
              <a:xfrm>
                <a:off x="4566094" y="3094672"/>
                <a:ext cx="75723" cy="75723"/>
                <a:chOff x="4566094" y="3094672"/>
                <a:chExt cx="75723" cy="75723"/>
              </a:xfrm>
            </p:grpSpPr>
            <p:sp>
              <p:nvSpPr>
                <p:cNvPr id="16585" name="Freeform: Shape 16584">
                  <a:extLst>
                    <a:ext uri="{FF2B5EF4-FFF2-40B4-BE49-F238E27FC236}">
                      <a16:creationId xmlns:a16="http://schemas.microsoft.com/office/drawing/2014/main" id="{C024F826-139E-45D9-69BE-1AAD648A36E5}"/>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6" name="Freeform: Shape 16585">
                  <a:extLst>
                    <a:ext uri="{FF2B5EF4-FFF2-40B4-BE49-F238E27FC236}">
                      <a16:creationId xmlns:a16="http://schemas.microsoft.com/office/drawing/2014/main" id="{7FF4A47B-05F3-3F5A-AC6D-40898F033408}"/>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5" name="Graphic 1391">
                <a:extLst>
                  <a:ext uri="{FF2B5EF4-FFF2-40B4-BE49-F238E27FC236}">
                    <a16:creationId xmlns:a16="http://schemas.microsoft.com/office/drawing/2014/main" id="{3722FF48-463D-D7CE-77A1-023E57817961}"/>
                  </a:ext>
                </a:extLst>
              </p:cNvPr>
              <p:cNvGrpSpPr/>
              <p:nvPr/>
            </p:nvGrpSpPr>
            <p:grpSpPr>
              <a:xfrm>
                <a:off x="4553521" y="3061049"/>
                <a:ext cx="75723" cy="75723"/>
                <a:chOff x="4553521" y="3061049"/>
                <a:chExt cx="75723" cy="75723"/>
              </a:xfrm>
            </p:grpSpPr>
            <p:sp>
              <p:nvSpPr>
                <p:cNvPr id="16583" name="Freeform: Shape 16582">
                  <a:extLst>
                    <a:ext uri="{FF2B5EF4-FFF2-40B4-BE49-F238E27FC236}">
                      <a16:creationId xmlns:a16="http://schemas.microsoft.com/office/drawing/2014/main" id="{9C144E25-1679-9908-0286-3C66670AE321}"/>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4" name="Freeform: Shape 16583">
                  <a:extLst>
                    <a:ext uri="{FF2B5EF4-FFF2-40B4-BE49-F238E27FC236}">
                      <a16:creationId xmlns:a16="http://schemas.microsoft.com/office/drawing/2014/main" id="{5B56864C-1B61-5948-A14C-DBF856769144}"/>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6" name="Graphic 1391">
                <a:extLst>
                  <a:ext uri="{FF2B5EF4-FFF2-40B4-BE49-F238E27FC236}">
                    <a16:creationId xmlns:a16="http://schemas.microsoft.com/office/drawing/2014/main" id="{E7A6F85A-4FE3-84DE-616A-62E9EE817C66}"/>
                  </a:ext>
                </a:extLst>
              </p:cNvPr>
              <p:cNvGrpSpPr/>
              <p:nvPr/>
            </p:nvGrpSpPr>
            <p:grpSpPr>
              <a:xfrm>
                <a:off x="4553521" y="3046476"/>
                <a:ext cx="75723" cy="75723"/>
                <a:chOff x="4553521" y="3046476"/>
                <a:chExt cx="75723" cy="75723"/>
              </a:xfrm>
            </p:grpSpPr>
            <p:sp>
              <p:nvSpPr>
                <p:cNvPr id="16581" name="Freeform: Shape 16580">
                  <a:extLst>
                    <a:ext uri="{FF2B5EF4-FFF2-40B4-BE49-F238E27FC236}">
                      <a16:creationId xmlns:a16="http://schemas.microsoft.com/office/drawing/2014/main" id="{FB6BEB7D-A677-BF6E-484D-603A00DE3129}"/>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2" name="Freeform: Shape 16581">
                  <a:extLst>
                    <a:ext uri="{FF2B5EF4-FFF2-40B4-BE49-F238E27FC236}">
                      <a16:creationId xmlns:a16="http://schemas.microsoft.com/office/drawing/2014/main" id="{66BA95CE-E953-BE9B-AB9A-58E2B338E359}"/>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7" name="Graphic 1391">
                <a:extLst>
                  <a:ext uri="{FF2B5EF4-FFF2-40B4-BE49-F238E27FC236}">
                    <a16:creationId xmlns:a16="http://schemas.microsoft.com/office/drawing/2014/main" id="{8876B95F-CA21-E32B-F2A7-52AC7A065A66}"/>
                  </a:ext>
                </a:extLst>
              </p:cNvPr>
              <p:cNvGrpSpPr/>
              <p:nvPr/>
            </p:nvGrpSpPr>
            <p:grpSpPr>
              <a:xfrm>
                <a:off x="4545901" y="3008661"/>
                <a:ext cx="75628" cy="75628"/>
                <a:chOff x="4545901" y="3008661"/>
                <a:chExt cx="75628" cy="75628"/>
              </a:xfrm>
            </p:grpSpPr>
            <p:sp>
              <p:nvSpPr>
                <p:cNvPr id="16579" name="Freeform: Shape 16578">
                  <a:extLst>
                    <a:ext uri="{FF2B5EF4-FFF2-40B4-BE49-F238E27FC236}">
                      <a16:creationId xmlns:a16="http://schemas.microsoft.com/office/drawing/2014/main" id="{95028E37-5C0B-9049-1360-9A7C0EF628EC}"/>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0" name="Freeform: Shape 16579">
                  <a:extLst>
                    <a:ext uri="{FF2B5EF4-FFF2-40B4-BE49-F238E27FC236}">
                      <a16:creationId xmlns:a16="http://schemas.microsoft.com/office/drawing/2014/main" id="{F2B65482-ABE1-FF7B-6646-D4158CEFAD5B}"/>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8" name="Graphic 1391">
                <a:extLst>
                  <a:ext uri="{FF2B5EF4-FFF2-40B4-BE49-F238E27FC236}">
                    <a16:creationId xmlns:a16="http://schemas.microsoft.com/office/drawing/2014/main" id="{34D5D1AF-43CE-FB90-73B4-2C3A31D67879}"/>
                  </a:ext>
                </a:extLst>
              </p:cNvPr>
              <p:cNvGrpSpPr/>
              <p:nvPr/>
            </p:nvGrpSpPr>
            <p:grpSpPr>
              <a:xfrm>
                <a:off x="4537710" y="3008661"/>
                <a:ext cx="75723" cy="75628"/>
                <a:chOff x="4537710" y="3008661"/>
                <a:chExt cx="75723" cy="75628"/>
              </a:xfrm>
            </p:grpSpPr>
            <p:sp>
              <p:nvSpPr>
                <p:cNvPr id="16577" name="Freeform: Shape 16576">
                  <a:extLst>
                    <a:ext uri="{FF2B5EF4-FFF2-40B4-BE49-F238E27FC236}">
                      <a16:creationId xmlns:a16="http://schemas.microsoft.com/office/drawing/2014/main" id="{2C633D45-475D-D11A-B7D8-33D48CD6D5F3}"/>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8" name="Freeform: Shape 16577">
                  <a:extLst>
                    <a:ext uri="{FF2B5EF4-FFF2-40B4-BE49-F238E27FC236}">
                      <a16:creationId xmlns:a16="http://schemas.microsoft.com/office/drawing/2014/main" id="{8DE384E9-864C-91FE-A769-458796CAD219}"/>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9" name="Graphic 1391">
                <a:extLst>
                  <a:ext uri="{FF2B5EF4-FFF2-40B4-BE49-F238E27FC236}">
                    <a16:creationId xmlns:a16="http://schemas.microsoft.com/office/drawing/2014/main" id="{198FF71C-2727-7166-F167-7AD3B65AED1E}"/>
                  </a:ext>
                </a:extLst>
              </p:cNvPr>
              <p:cNvGrpSpPr/>
              <p:nvPr/>
            </p:nvGrpSpPr>
            <p:grpSpPr>
              <a:xfrm>
                <a:off x="4531709" y="2994183"/>
                <a:ext cx="75628" cy="75723"/>
                <a:chOff x="4531709" y="2994183"/>
                <a:chExt cx="75628" cy="75723"/>
              </a:xfrm>
            </p:grpSpPr>
            <p:sp>
              <p:nvSpPr>
                <p:cNvPr id="16575" name="Freeform: Shape 16574">
                  <a:extLst>
                    <a:ext uri="{FF2B5EF4-FFF2-40B4-BE49-F238E27FC236}">
                      <a16:creationId xmlns:a16="http://schemas.microsoft.com/office/drawing/2014/main" id="{1F0284CA-E157-2131-20A8-49F789ACCF0E}"/>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6" name="Freeform: Shape 16575">
                  <a:extLst>
                    <a:ext uri="{FF2B5EF4-FFF2-40B4-BE49-F238E27FC236}">
                      <a16:creationId xmlns:a16="http://schemas.microsoft.com/office/drawing/2014/main" id="{23DFF421-F390-B1E6-32A1-54E6BF2590A4}"/>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0" name="Graphic 1391">
                <a:extLst>
                  <a:ext uri="{FF2B5EF4-FFF2-40B4-BE49-F238E27FC236}">
                    <a16:creationId xmlns:a16="http://schemas.microsoft.com/office/drawing/2014/main" id="{D97C1D39-34A6-39B0-BECA-FC882BE4FBD2}"/>
                  </a:ext>
                </a:extLst>
              </p:cNvPr>
              <p:cNvGrpSpPr/>
              <p:nvPr/>
            </p:nvGrpSpPr>
            <p:grpSpPr>
              <a:xfrm>
                <a:off x="4523136" y="2978372"/>
                <a:ext cx="75723" cy="75723"/>
                <a:chOff x="4523136" y="2978372"/>
                <a:chExt cx="75723" cy="75723"/>
              </a:xfrm>
            </p:grpSpPr>
            <p:sp>
              <p:nvSpPr>
                <p:cNvPr id="16573" name="Freeform: Shape 16572">
                  <a:extLst>
                    <a:ext uri="{FF2B5EF4-FFF2-40B4-BE49-F238E27FC236}">
                      <a16:creationId xmlns:a16="http://schemas.microsoft.com/office/drawing/2014/main" id="{8F8E91ED-FD73-E63D-4AA5-224CBC2A9201}"/>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4" name="Freeform: Shape 16573">
                  <a:extLst>
                    <a:ext uri="{FF2B5EF4-FFF2-40B4-BE49-F238E27FC236}">
                      <a16:creationId xmlns:a16="http://schemas.microsoft.com/office/drawing/2014/main" id="{D86FCF6F-8E5F-7D54-C641-D25B42997795}"/>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1" name="Graphic 1391">
                <a:extLst>
                  <a:ext uri="{FF2B5EF4-FFF2-40B4-BE49-F238E27FC236}">
                    <a16:creationId xmlns:a16="http://schemas.microsoft.com/office/drawing/2014/main" id="{D4967592-56B0-8367-90B9-E77FEFA4D2B0}"/>
                  </a:ext>
                </a:extLst>
              </p:cNvPr>
              <p:cNvGrpSpPr/>
              <p:nvPr/>
            </p:nvGrpSpPr>
            <p:grpSpPr>
              <a:xfrm>
                <a:off x="4521517" y="2956369"/>
                <a:ext cx="75723" cy="75628"/>
                <a:chOff x="4521517" y="2956369"/>
                <a:chExt cx="75723" cy="75628"/>
              </a:xfrm>
            </p:grpSpPr>
            <p:sp>
              <p:nvSpPr>
                <p:cNvPr id="16571" name="Freeform: Shape 16570">
                  <a:extLst>
                    <a:ext uri="{FF2B5EF4-FFF2-40B4-BE49-F238E27FC236}">
                      <a16:creationId xmlns:a16="http://schemas.microsoft.com/office/drawing/2014/main" id="{A861D70A-B429-B514-5CC9-41B25E1BBF97}"/>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2" name="Freeform: Shape 16571">
                  <a:extLst>
                    <a:ext uri="{FF2B5EF4-FFF2-40B4-BE49-F238E27FC236}">
                      <a16:creationId xmlns:a16="http://schemas.microsoft.com/office/drawing/2014/main" id="{41149543-5412-62B3-C19E-FC43B0EE559E}"/>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2" name="Graphic 1391">
                <a:extLst>
                  <a:ext uri="{FF2B5EF4-FFF2-40B4-BE49-F238E27FC236}">
                    <a16:creationId xmlns:a16="http://schemas.microsoft.com/office/drawing/2014/main" id="{9579DF59-F178-BEB4-DFFB-D9BC30A593EC}"/>
                  </a:ext>
                </a:extLst>
              </p:cNvPr>
              <p:cNvGrpSpPr/>
              <p:nvPr/>
            </p:nvGrpSpPr>
            <p:grpSpPr>
              <a:xfrm>
                <a:off x="4195286" y="2825210"/>
                <a:ext cx="75628" cy="75628"/>
                <a:chOff x="4195286" y="2825210"/>
                <a:chExt cx="75628" cy="75628"/>
              </a:xfrm>
            </p:grpSpPr>
            <p:sp>
              <p:nvSpPr>
                <p:cNvPr id="16569" name="Freeform: Shape 16568">
                  <a:extLst>
                    <a:ext uri="{FF2B5EF4-FFF2-40B4-BE49-F238E27FC236}">
                      <a16:creationId xmlns:a16="http://schemas.microsoft.com/office/drawing/2014/main" id="{369BC261-2237-F657-8825-88C464D600DA}"/>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0" name="Freeform: Shape 16569">
                  <a:extLst>
                    <a:ext uri="{FF2B5EF4-FFF2-40B4-BE49-F238E27FC236}">
                      <a16:creationId xmlns:a16="http://schemas.microsoft.com/office/drawing/2014/main" id="{6ED506D5-B10B-8279-D744-85581E65C41F}"/>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3" name="Graphic 1391">
                <a:extLst>
                  <a:ext uri="{FF2B5EF4-FFF2-40B4-BE49-F238E27FC236}">
                    <a16:creationId xmlns:a16="http://schemas.microsoft.com/office/drawing/2014/main" id="{3ADC25A8-8F67-E041-6DF7-1B3BDF9A8CD9}"/>
                  </a:ext>
                </a:extLst>
              </p:cNvPr>
              <p:cNvGrpSpPr/>
              <p:nvPr/>
            </p:nvGrpSpPr>
            <p:grpSpPr>
              <a:xfrm>
                <a:off x="3800475" y="2590800"/>
                <a:ext cx="75723" cy="75723"/>
                <a:chOff x="3800475" y="2590800"/>
                <a:chExt cx="75723" cy="75723"/>
              </a:xfrm>
            </p:grpSpPr>
            <p:sp>
              <p:nvSpPr>
                <p:cNvPr id="16567" name="Freeform: Shape 16566">
                  <a:extLst>
                    <a:ext uri="{FF2B5EF4-FFF2-40B4-BE49-F238E27FC236}">
                      <a16:creationId xmlns:a16="http://schemas.microsoft.com/office/drawing/2014/main" id="{F84BE993-299F-D6D3-FEC6-EB82B0CAE084}"/>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8" name="Freeform: Shape 16567">
                  <a:extLst>
                    <a:ext uri="{FF2B5EF4-FFF2-40B4-BE49-F238E27FC236}">
                      <a16:creationId xmlns:a16="http://schemas.microsoft.com/office/drawing/2014/main" id="{286928A3-CBB1-C859-893C-1DCE9E3D8C23}"/>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4" name="Graphic 1391">
                <a:extLst>
                  <a:ext uri="{FF2B5EF4-FFF2-40B4-BE49-F238E27FC236}">
                    <a16:creationId xmlns:a16="http://schemas.microsoft.com/office/drawing/2014/main" id="{FD761249-6FD3-60C2-0609-750D11B4867F}"/>
                  </a:ext>
                </a:extLst>
              </p:cNvPr>
              <p:cNvGrpSpPr/>
              <p:nvPr/>
            </p:nvGrpSpPr>
            <p:grpSpPr>
              <a:xfrm>
                <a:off x="5280564" y="3536918"/>
                <a:ext cx="75723" cy="75723"/>
                <a:chOff x="5280564" y="3536918"/>
                <a:chExt cx="75723" cy="75723"/>
              </a:xfrm>
            </p:grpSpPr>
            <p:sp>
              <p:nvSpPr>
                <p:cNvPr id="16565" name="Freeform: Shape 16564">
                  <a:extLst>
                    <a:ext uri="{FF2B5EF4-FFF2-40B4-BE49-F238E27FC236}">
                      <a16:creationId xmlns:a16="http://schemas.microsoft.com/office/drawing/2014/main" id="{DE441EDD-4139-F253-4169-82257D3CB5FB}"/>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6" name="Freeform: Shape 16565">
                  <a:extLst>
                    <a:ext uri="{FF2B5EF4-FFF2-40B4-BE49-F238E27FC236}">
                      <a16:creationId xmlns:a16="http://schemas.microsoft.com/office/drawing/2014/main" id="{5E4169AE-C494-E61C-634C-6D8F143262EA}"/>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5" name="Graphic 1391">
                <a:extLst>
                  <a:ext uri="{FF2B5EF4-FFF2-40B4-BE49-F238E27FC236}">
                    <a16:creationId xmlns:a16="http://schemas.microsoft.com/office/drawing/2014/main" id="{6834FFA7-1B46-C7EF-E5D9-699EDC054C40}"/>
                  </a:ext>
                </a:extLst>
              </p:cNvPr>
              <p:cNvGrpSpPr/>
              <p:nvPr/>
            </p:nvGrpSpPr>
            <p:grpSpPr>
              <a:xfrm>
                <a:off x="5298852" y="3536918"/>
                <a:ext cx="75723" cy="75723"/>
                <a:chOff x="5298852" y="3536918"/>
                <a:chExt cx="75723" cy="75723"/>
              </a:xfrm>
            </p:grpSpPr>
            <p:sp>
              <p:nvSpPr>
                <p:cNvPr id="16563" name="Freeform: Shape 16562">
                  <a:extLst>
                    <a:ext uri="{FF2B5EF4-FFF2-40B4-BE49-F238E27FC236}">
                      <a16:creationId xmlns:a16="http://schemas.microsoft.com/office/drawing/2014/main" id="{C250B941-9A1A-2A0B-9D14-877B74C90D06}"/>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4" name="Freeform: Shape 16563">
                  <a:extLst>
                    <a:ext uri="{FF2B5EF4-FFF2-40B4-BE49-F238E27FC236}">
                      <a16:creationId xmlns:a16="http://schemas.microsoft.com/office/drawing/2014/main" id="{15D0C5F3-DA1F-D668-D5EF-9EA100712CC7}"/>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6" name="Graphic 1391">
                <a:extLst>
                  <a:ext uri="{FF2B5EF4-FFF2-40B4-BE49-F238E27FC236}">
                    <a16:creationId xmlns:a16="http://schemas.microsoft.com/office/drawing/2014/main" id="{A5735636-7D77-56F8-230B-8FA8116FEDEE}"/>
                  </a:ext>
                </a:extLst>
              </p:cNvPr>
              <p:cNvGrpSpPr/>
              <p:nvPr/>
            </p:nvGrpSpPr>
            <p:grpSpPr>
              <a:xfrm>
                <a:off x="5305044" y="3573018"/>
                <a:ext cx="75723" cy="75628"/>
                <a:chOff x="5305044" y="3573018"/>
                <a:chExt cx="75723" cy="75628"/>
              </a:xfrm>
            </p:grpSpPr>
            <p:sp>
              <p:nvSpPr>
                <p:cNvPr id="16561" name="Freeform: Shape 16560">
                  <a:extLst>
                    <a:ext uri="{FF2B5EF4-FFF2-40B4-BE49-F238E27FC236}">
                      <a16:creationId xmlns:a16="http://schemas.microsoft.com/office/drawing/2014/main" id="{32D0421E-F403-1AF1-A15E-B2CB082922DA}"/>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2" name="Freeform: Shape 16561">
                  <a:extLst>
                    <a:ext uri="{FF2B5EF4-FFF2-40B4-BE49-F238E27FC236}">
                      <a16:creationId xmlns:a16="http://schemas.microsoft.com/office/drawing/2014/main" id="{FB4019C4-E24F-7D0A-86AB-18B3347F4B1A}"/>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7" name="Graphic 1391">
                <a:extLst>
                  <a:ext uri="{FF2B5EF4-FFF2-40B4-BE49-F238E27FC236}">
                    <a16:creationId xmlns:a16="http://schemas.microsoft.com/office/drawing/2014/main" id="{2E7BCF67-BD71-FFD2-499E-9EBE6D9665A8}"/>
                  </a:ext>
                </a:extLst>
              </p:cNvPr>
              <p:cNvGrpSpPr/>
              <p:nvPr/>
            </p:nvGrpSpPr>
            <p:grpSpPr>
              <a:xfrm>
                <a:off x="5314473" y="3585114"/>
                <a:ext cx="75723" cy="75723"/>
                <a:chOff x="5314473" y="3585114"/>
                <a:chExt cx="75723" cy="75723"/>
              </a:xfrm>
            </p:grpSpPr>
            <p:sp>
              <p:nvSpPr>
                <p:cNvPr id="16559" name="Freeform: Shape 16558">
                  <a:extLst>
                    <a:ext uri="{FF2B5EF4-FFF2-40B4-BE49-F238E27FC236}">
                      <a16:creationId xmlns:a16="http://schemas.microsoft.com/office/drawing/2014/main" id="{E5C826B6-5386-B9B0-AD75-DAEBB758E26A}"/>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0" name="Freeform: Shape 16559">
                  <a:extLst>
                    <a:ext uri="{FF2B5EF4-FFF2-40B4-BE49-F238E27FC236}">
                      <a16:creationId xmlns:a16="http://schemas.microsoft.com/office/drawing/2014/main" id="{72B190DD-2B96-8EAA-C317-6DACD24F6B79}"/>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8" name="Graphic 1391">
                <a:extLst>
                  <a:ext uri="{FF2B5EF4-FFF2-40B4-BE49-F238E27FC236}">
                    <a16:creationId xmlns:a16="http://schemas.microsoft.com/office/drawing/2014/main" id="{C0CDBD01-EF73-A199-C8C2-6285D9A750DD}"/>
                  </a:ext>
                </a:extLst>
              </p:cNvPr>
              <p:cNvGrpSpPr/>
              <p:nvPr/>
            </p:nvGrpSpPr>
            <p:grpSpPr>
              <a:xfrm>
                <a:off x="5328380" y="3585114"/>
                <a:ext cx="75723" cy="75723"/>
                <a:chOff x="5328380" y="3585114"/>
                <a:chExt cx="75723" cy="75723"/>
              </a:xfrm>
            </p:grpSpPr>
            <p:sp>
              <p:nvSpPr>
                <p:cNvPr id="16557" name="Freeform: Shape 16556">
                  <a:extLst>
                    <a:ext uri="{FF2B5EF4-FFF2-40B4-BE49-F238E27FC236}">
                      <a16:creationId xmlns:a16="http://schemas.microsoft.com/office/drawing/2014/main" id="{B29095B3-3AB1-4296-040C-F30804EE1865}"/>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8" name="Freeform: Shape 16557">
                  <a:extLst>
                    <a:ext uri="{FF2B5EF4-FFF2-40B4-BE49-F238E27FC236}">
                      <a16:creationId xmlns:a16="http://schemas.microsoft.com/office/drawing/2014/main" id="{277871D7-7303-6A46-1E75-B4629A45F9A3}"/>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9" name="Graphic 1391">
                <a:extLst>
                  <a:ext uri="{FF2B5EF4-FFF2-40B4-BE49-F238E27FC236}">
                    <a16:creationId xmlns:a16="http://schemas.microsoft.com/office/drawing/2014/main" id="{87221823-6153-B1E5-CB05-4613B9D7743C}"/>
                  </a:ext>
                </a:extLst>
              </p:cNvPr>
              <p:cNvGrpSpPr/>
              <p:nvPr/>
            </p:nvGrpSpPr>
            <p:grpSpPr>
              <a:xfrm>
                <a:off x="5342382" y="3585114"/>
                <a:ext cx="75628" cy="75723"/>
                <a:chOff x="5342382" y="3585114"/>
                <a:chExt cx="75628" cy="75723"/>
              </a:xfrm>
            </p:grpSpPr>
            <p:sp>
              <p:nvSpPr>
                <p:cNvPr id="16555" name="Freeform: Shape 16554">
                  <a:extLst>
                    <a:ext uri="{FF2B5EF4-FFF2-40B4-BE49-F238E27FC236}">
                      <a16:creationId xmlns:a16="http://schemas.microsoft.com/office/drawing/2014/main" id="{ACDED2C4-8C89-4503-DC62-CA3ABF4D2E49}"/>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6" name="Freeform: Shape 16555">
                  <a:extLst>
                    <a:ext uri="{FF2B5EF4-FFF2-40B4-BE49-F238E27FC236}">
                      <a16:creationId xmlns:a16="http://schemas.microsoft.com/office/drawing/2014/main" id="{43DB2FD7-E7AE-3D94-3686-BD77E97B98FF}"/>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0" name="Graphic 1391">
                <a:extLst>
                  <a:ext uri="{FF2B5EF4-FFF2-40B4-BE49-F238E27FC236}">
                    <a16:creationId xmlns:a16="http://schemas.microsoft.com/office/drawing/2014/main" id="{C4C9212B-EC10-7314-33BA-8072A6FC083F}"/>
                  </a:ext>
                </a:extLst>
              </p:cNvPr>
              <p:cNvGrpSpPr/>
              <p:nvPr/>
            </p:nvGrpSpPr>
            <p:grpSpPr>
              <a:xfrm>
                <a:off x="5356288" y="3585114"/>
                <a:ext cx="75723" cy="75723"/>
                <a:chOff x="5356288" y="3585114"/>
                <a:chExt cx="75723" cy="75723"/>
              </a:xfrm>
            </p:grpSpPr>
            <p:sp>
              <p:nvSpPr>
                <p:cNvPr id="16553" name="Freeform: Shape 16552">
                  <a:extLst>
                    <a:ext uri="{FF2B5EF4-FFF2-40B4-BE49-F238E27FC236}">
                      <a16:creationId xmlns:a16="http://schemas.microsoft.com/office/drawing/2014/main" id="{2D0A83CF-514E-6026-3542-508360387022}"/>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4" name="Freeform: Shape 16553">
                  <a:extLst>
                    <a:ext uri="{FF2B5EF4-FFF2-40B4-BE49-F238E27FC236}">
                      <a16:creationId xmlns:a16="http://schemas.microsoft.com/office/drawing/2014/main" id="{1105634A-1730-7CE0-955A-A0AF1404952B}"/>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1" name="Graphic 1391">
                <a:extLst>
                  <a:ext uri="{FF2B5EF4-FFF2-40B4-BE49-F238E27FC236}">
                    <a16:creationId xmlns:a16="http://schemas.microsoft.com/office/drawing/2014/main" id="{CF9807A4-54C2-17A2-D064-F6D648C0C3A2}"/>
                  </a:ext>
                </a:extLst>
              </p:cNvPr>
              <p:cNvGrpSpPr/>
              <p:nvPr/>
            </p:nvGrpSpPr>
            <p:grpSpPr>
              <a:xfrm>
                <a:off x="5671566" y="3726180"/>
                <a:ext cx="75723" cy="75723"/>
                <a:chOff x="5671566" y="3726180"/>
                <a:chExt cx="75723" cy="75723"/>
              </a:xfrm>
            </p:grpSpPr>
            <p:sp>
              <p:nvSpPr>
                <p:cNvPr id="16551" name="Freeform: Shape 16550">
                  <a:extLst>
                    <a:ext uri="{FF2B5EF4-FFF2-40B4-BE49-F238E27FC236}">
                      <a16:creationId xmlns:a16="http://schemas.microsoft.com/office/drawing/2014/main" id="{E8539B96-96BC-3AB6-7AB5-8EFEB2F2584D}"/>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2" name="Freeform: Shape 16551">
                  <a:extLst>
                    <a:ext uri="{FF2B5EF4-FFF2-40B4-BE49-F238E27FC236}">
                      <a16:creationId xmlns:a16="http://schemas.microsoft.com/office/drawing/2014/main" id="{27E2301D-38D6-AA27-3118-53110FC13C60}"/>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2" name="Graphic 1391">
                <a:extLst>
                  <a:ext uri="{FF2B5EF4-FFF2-40B4-BE49-F238E27FC236}">
                    <a16:creationId xmlns:a16="http://schemas.microsoft.com/office/drawing/2014/main" id="{C144C553-9E58-3C98-F078-019CF1817FD6}"/>
                  </a:ext>
                </a:extLst>
              </p:cNvPr>
              <p:cNvGrpSpPr/>
              <p:nvPr/>
            </p:nvGrpSpPr>
            <p:grpSpPr>
              <a:xfrm>
                <a:off x="5682900" y="3735514"/>
                <a:ext cx="75723" cy="75723"/>
                <a:chOff x="5682900" y="3735514"/>
                <a:chExt cx="75723" cy="75723"/>
              </a:xfrm>
            </p:grpSpPr>
            <p:sp>
              <p:nvSpPr>
                <p:cNvPr id="16549" name="Freeform: Shape 16548">
                  <a:extLst>
                    <a:ext uri="{FF2B5EF4-FFF2-40B4-BE49-F238E27FC236}">
                      <a16:creationId xmlns:a16="http://schemas.microsoft.com/office/drawing/2014/main" id="{0C0FA208-797C-CEF6-E68B-FB9E8AAE9FB4}"/>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0" name="Freeform: Shape 16549">
                  <a:extLst>
                    <a:ext uri="{FF2B5EF4-FFF2-40B4-BE49-F238E27FC236}">
                      <a16:creationId xmlns:a16="http://schemas.microsoft.com/office/drawing/2014/main" id="{24D03307-FE1B-2E5A-E93E-A953458AD006}"/>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3" name="Graphic 1391">
                <a:extLst>
                  <a:ext uri="{FF2B5EF4-FFF2-40B4-BE49-F238E27FC236}">
                    <a16:creationId xmlns:a16="http://schemas.microsoft.com/office/drawing/2014/main" id="{09AF290B-9C28-1762-200B-F20CB9CB07D3}"/>
                  </a:ext>
                </a:extLst>
              </p:cNvPr>
              <p:cNvGrpSpPr/>
              <p:nvPr/>
            </p:nvGrpSpPr>
            <p:grpSpPr>
              <a:xfrm>
                <a:off x="5692235" y="3735514"/>
                <a:ext cx="75723" cy="75723"/>
                <a:chOff x="5692235" y="3735514"/>
                <a:chExt cx="75723" cy="75723"/>
              </a:xfrm>
            </p:grpSpPr>
            <p:sp>
              <p:nvSpPr>
                <p:cNvPr id="16547" name="Freeform: Shape 16546">
                  <a:extLst>
                    <a:ext uri="{FF2B5EF4-FFF2-40B4-BE49-F238E27FC236}">
                      <a16:creationId xmlns:a16="http://schemas.microsoft.com/office/drawing/2014/main" id="{27941B0F-D9B4-DAD9-4A22-715A2D71300E}"/>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8" name="Freeform: Shape 16547">
                  <a:extLst>
                    <a:ext uri="{FF2B5EF4-FFF2-40B4-BE49-F238E27FC236}">
                      <a16:creationId xmlns:a16="http://schemas.microsoft.com/office/drawing/2014/main" id="{B672AAD4-2BF2-28E2-8F76-349D8CAD712A}"/>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4" name="Graphic 1391">
                <a:extLst>
                  <a:ext uri="{FF2B5EF4-FFF2-40B4-BE49-F238E27FC236}">
                    <a16:creationId xmlns:a16="http://schemas.microsoft.com/office/drawing/2014/main" id="{04A09402-AF30-9DEE-E92A-C19B205AEE65}"/>
                  </a:ext>
                </a:extLst>
              </p:cNvPr>
              <p:cNvGrpSpPr/>
              <p:nvPr/>
            </p:nvGrpSpPr>
            <p:grpSpPr>
              <a:xfrm>
                <a:off x="7189470" y="4189952"/>
                <a:ext cx="75723" cy="75723"/>
                <a:chOff x="7189470" y="4189952"/>
                <a:chExt cx="75723" cy="75723"/>
              </a:xfrm>
            </p:grpSpPr>
            <p:sp>
              <p:nvSpPr>
                <p:cNvPr id="16545" name="Freeform: Shape 16544">
                  <a:extLst>
                    <a:ext uri="{FF2B5EF4-FFF2-40B4-BE49-F238E27FC236}">
                      <a16:creationId xmlns:a16="http://schemas.microsoft.com/office/drawing/2014/main" id="{9A343BDE-B5E5-9488-2911-842C3E1940FC}"/>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6" name="Freeform: Shape 16545">
                  <a:extLst>
                    <a:ext uri="{FF2B5EF4-FFF2-40B4-BE49-F238E27FC236}">
                      <a16:creationId xmlns:a16="http://schemas.microsoft.com/office/drawing/2014/main" id="{C7CA9613-50E6-9CD2-87A0-565CE8A2877B}"/>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482" name="Freeform: Shape 16481">
              <a:extLst>
                <a:ext uri="{FF2B5EF4-FFF2-40B4-BE49-F238E27FC236}">
                  <a16:creationId xmlns:a16="http://schemas.microsoft.com/office/drawing/2014/main" id="{8E1DC52A-5E40-44CB-F772-BE19B6D1E6DB}"/>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7" name="Group 15696" hidden="1">
            <a:extLst>
              <a:ext uri="{FF2B5EF4-FFF2-40B4-BE49-F238E27FC236}">
                <a16:creationId xmlns:a16="http://schemas.microsoft.com/office/drawing/2014/main" id="{2B01C546-33F9-5F8D-6370-660678F44635}"/>
              </a:ext>
            </a:extLst>
          </p:cNvPr>
          <p:cNvGrpSpPr/>
          <p:nvPr/>
        </p:nvGrpSpPr>
        <p:grpSpPr>
          <a:xfrm>
            <a:off x="670502" y="1444605"/>
            <a:ext cx="6833677" cy="2159001"/>
            <a:chOff x="3486150" y="2509837"/>
            <a:chExt cx="5217128" cy="1841658"/>
          </a:xfrm>
        </p:grpSpPr>
        <p:grpSp>
          <p:nvGrpSpPr>
            <p:cNvPr id="15967" name="Graphic 745">
              <a:extLst>
                <a:ext uri="{FF2B5EF4-FFF2-40B4-BE49-F238E27FC236}">
                  <a16:creationId xmlns:a16="http://schemas.microsoft.com/office/drawing/2014/main" id="{C5FA24C7-8436-5A1C-9403-78B5A72272CA}"/>
                </a:ext>
              </a:extLst>
            </p:cNvPr>
            <p:cNvGrpSpPr/>
            <p:nvPr/>
          </p:nvGrpSpPr>
          <p:grpSpPr>
            <a:xfrm>
              <a:off x="3486150" y="2509837"/>
              <a:ext cx="5217128" cy="1841658"/>
              <a:chOff x="3486150" y="2509837"/>
              <a:chExt cx="5217128" cy="1841658"/>
            </a:xfrm>
          </p:grpSpPr>
          <p:grpSp>
            <p:nvGrpSpPr>
              <p:cNvPr id="15969" name="Graphic 745">
                <a:extLst>
                  <a:ext uri="{FF2B5EF4-FFF2-40B4-BE49-F238E27FC236}">
                    <a16:creationId xmlns:a16="http://schemas.microsoft.com/office/drawing/2014/main" id="{F878D083-D1E4-3FAF-4CD5-F18D04953508}"/>
                  </a:ext>
                </a:extLst>
              </p:cNvPr>
              <p:cNvGrpSpPr/>
              <p:nvPr/>
            </p:nvGrpSpPr>
            <p:grpSpPr>
              <a:xfrm>
                <a:off x="8627554" y="4275772"/>
                <a:ext cx="75723" cy="75723"/>
                <a:chOff x="8627554" y="4275772"/>
                <a:chExt cx="75723" cy="75723"/>
              </a:xfrm>
            </p:grpSpPr>
            <p:sp>
              <p:nvSpPr>
                <p:cNvPr id="16276" name="Freeform: Shape 16275">
                  <a:extLst>
                    <a:ext uri="{FF2B5EF4-FFF2-40B4-BE49-F238E27FC236}">
                      <a16:creationId xmlns:a16="http://schemas.microsoft.com/office/drawing/2014/main" id="{D1BA03AE-53B0-4EE8-3DEB-F6EF2AF8AFD4}"/>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7" name="Freeform: Shape 16276">
                  <a:extLst>
                    <a:ext uri="{FF2B5EF4-FFF2-40B4-BE49-F238E27FC236}">
                      <a16:creationId xmlns:a16="http://schemas.microsoft.com/office/drawing/2014/main" id="{9EA0EC64-0482-9175-6F39-A71B788A2738}"/>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0" name="Graphic 745">
                <a:extLst>
                  <a:ext uri="{FF2B5EF4-FFF2-40B4-BE49-F238E27FC236}">
                    <a16:creationId xmlns:a16="http://schemas.microsoft.com/office/drawing/2014/main" id="{778F35A8-E825-62F6-9FB7-830F3BFB8094}"/>
                  </a:ext>
                </a:extLst>
              </p:cNvPr>
              <p:cNvGrpSpPr/>
              <p:nvPr/>
            </p:nvGrpSpPr>
            <p:grpSpPr>
              <a:xfrm>
                <a:off x="8617458" y="4275772"/>
                <a:ext cx="75628" cy="75723"/>
                <a:chOff x="8617458" y="4275772"/>
                <a:chExt cx="75628" cy="75723"/>
              </a:xfrm>
            </p:grpSpPr>
            <p:sp>
              <p:nvSpPr>
                <p:cNvPr id="16274" name="Freeform: Shape 16273">
                  <a:extLst>
                    <a:ext uri="{FF2B5EF4-FFF2-40B4-BE49-F238E27FC236}">
                      <a16:creationId xmlns:a16="http://schemas.microsoft.com/office/drawing/2014/main" id="{B802F263-6F41-A635-D2BE-FCD7367F2766}"/>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5" name="Freeform: Shape 16274">
                  <a:extLst>
                    <a:ext uri="{FF2B5EF4-FFF2-40B4-BE49-F238E27FC236}">
                      <a16:creationId xmlns:a16="http://schemas.microsoft.com/office/drawing/2014/main" id="{A2C5D8AE-1B35-6B5E-6B9C-6FBE9FAC061F}"/>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1" name="Graphic 745">
                <a:extLst>
                  <a:ext uri="{FF2B5EF4-FFF2-40B4-BE49-F238E27FC236}">
                    <a16:creationId xmlns:a16="http://schemas.microsoft.com/office/drawing/2014/main" id="{8D505978-23CD-95C7-7874-AEA67E980754}"/>
                  </a:ext>
                </a:extLst>
              </p:cNvPr>
              <p:cNvGrpSpPr/>
              <p:nvPr/>
            </p:nvGrpSpPr>
            <p:grpSpPr>
              <a:xfrm>
                <a:off x="8244268" y="4275772"/>
                <a:ext cx="75628" cy="75723"/>
                <a:chOff x="8244268" y="4275772"/>
                <a:chExt cx="75628" cy="75723"/>
              </a:xfrm>
            </p:grpSpPr>
            <p:sp>
              <p:nvSpPr>
                <p:cNvPr id="16272" name="Freeform: Shape 16271">
                  <a:extLst>
                    <a:ext uri="{FF2B5EF4-FFF2-40B4-BE49-F238E27FC236}">
                      <a16:creationId xmlns:a16="http://schemas.microsoft.com/office/drawing/2014/main" id="{696402BC-FC75-21A8-345C-4704A8F85560}"/>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3" name="Freeform: Shape 16272">
                  <a:extLst>
                    <a:ext uri="{FF2B5EF4-FFF2-40B4-BE49-F238E27FC236}">
                      <a16:creationId xmlns:a16="http://schemas.microsoft.com/office/drawing/2014/main" id="{3C83DAAB-8C33-106B-63D8-ED07F4FAD6E5}"/>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2" name="Graphic 745">
                <a:extLst>
                  <a:ext uri="{FF2B5EF4-FFF2-40B4-BE49-F238E27FC236}">
                    <a16:creationId xmlns:a16="http://schemas.microsoft.com/office/drawing/2014/main" id="{CB4227F6-BB40-FB7B-E53B-888534599C55}"/>
                  </a:ext>
                </a:extLst>
              </p:cNvPr>
              <p:cNvGrpSpPr/>
              <p:nvPr/>
            </p:nvGrpSpPr>
            <p:grpSpPr>
              <a:xfrm>
                <a:off x="8139684" y="4275772"/>
                <a:ext cx="75723" cy="75723"/>
                <a:chOff x="8139684" y="4275772"/>
                <a:chExt cx="75723" cy="75723"/>
              </a:xfrm>
            </p:grpSpPr>
            <p:sp>
              <p:nvSpPr>
                <p:cNvPr id="16270" name="Freeform: Shape 16269">
                  <a:extLst>
                    <a:ext uri="{FF2B5EF4-FFF2-40B4-BE49-F238E27FC236}">
                      <a16:creationId xmlns:a16="http://schemas.microsoft.com/office/drawing/2014/main" id="{2FD85DA0-0E25-572C-405A-6046758B9839}"/>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1" name="Freeform: Shape 16270">
                  <a:extLst>
                    <a:ext uri="{FF2B5EF4-FFF2-40B4-BE49-F238E27FC236}">
                      <a16:creationId xmlns:a16="http://schemas.microsoft.com/office/drawing/2014/main" id="{33D55684-F006-263E-EC5C-279FD43710FF}"/>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3" name="Graphic 745">
                <a:extLst>
                  <a:ext uri="{FF2B5EF4-FFF2-40B4-BE49-F238E27FC236}">
                    <a16:creationId xmlns:a16="http://schemas.microsoft.com/office/drawing/2014/main" id="{DA355D15-9AE6-54E1-0C41-55A3AE0123D4}"/>
                  </a:ext>
                </a:extLst>
              </p:cNvPr>
              <p:cNvGrpSpPr/>
              <p:nvPr/>
            </p:nvGrpSpPr>
            <p:grpSpPr>
              <a:xfrm>
                <a:off x="7737157" y="4275772"/>
                <a:ext cx="75723" cy="75723"/>
                <a:chOff x="7737157" y="4275772"/>
                <a:chExt cx="75723" cy="75723"/>
              </a:xfrm>
            </p:grpSpPr>
            <p:sp>
              <p:nvSpPr>
                <p:cNvPr id="16268" name="Freeform: Shape 16267">
                  <a:extLst>
                    <a:ext uri="{FF2B5EF4-FFF2-40B4-BE49-F238E27FC236}">
                      <a16:creationId xmlns:a16="http://schemas.microsoft.com/office/drawing/2014/main" id="{893DA35E-10C0-9AD6-7F54-5D0F4510385F}"/>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9" name="Freeform: Shape 16268">
                  <a:extLst>
                    <a:ext uri="{FF2B5EF4-FFF2-40B4-BE49-F238E27FC236}">
                      <a16:creationId xmlns:a16="http://schemas.microsoft.com/office/drawing/2014/main" id="{F2F4250E-819D-9630-E860-379B5D67A6FF}"/>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4" name="Graphic 745">
                <a:extLst>
                  <a:ext uri="{FF2B5EF4-FFF2-40B4-BE49-F238E27FC236}">
                    <a16:creationId xmlns:a16="http://schemas.microsoft.com/office/drawing/2014/main" id="{DA2701E1-89C6-9121-8E2E-530120FF3EC9}"/>
                  </a:ext>
                </a:extLst>
              </p:cNvPr>
              <p:cNvGrpSpPr/>
              <p:nvPr/>
            </p:nvGrpSpPr>
            <p:grpSpPr>
              <a:xfrm>
                <a:off x="7382160" y="4275772"/>
                <a:ext cx="75628" cy="75723"/>
                <a:chOff x="7382160" y="4275772"/>
                <a:chExt cx="75628" cy="75723"/>
              </a:xfrm>
            </p:grpSpPr>
            <p:sp>
              <p:nvSpPr>
                <p:cNvPr id="16266" name="Freeform: Shape 16265">
                  <a:extLst>
                    <a:ext uri="{FF2B5EF4-FFF2-40B4-BE49-F238E27FC236}">
                      <a16:creationId xmlns:a16="http://schemas.microsoft.com/office/drawing/2014/main" id="{26E89D60-5229-9B91-D66E-8E305FB79996}"/>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7" name="Freeform: Shape 16266">
                  <a:extLst>
                    <a:ext uri="{FF2B5EF4-FFF2-40B4-BE49-F238E27FC236}">
                      <a16:creationId xmlns:a16="http://schemas.microsoft.com/office/drawing/2014/main" id="{1FAD9C6B-E203-DC2F-C99F-5505267D8D62}"/>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5" name="Graphic 745">
                <a:extLst>
                  <a:ext uri="{FF2B5EF4-FFF2-40B4-BE49-F238E27FC236}">
                    <a16:creationId xmlns:a16="http://schemas.microsoft.com/office/drawing/2014/main" id="{054C7AD1-C9A7-42E7-0141-689D90456C7F}"/>
                  </a:ext>
                </a:extLst>
              </p:cNvPr>
              <p:cNvGrpSpPr/>
              <p:nvPr/>
            </p:nvGrpSpPr>
            <p:grpSpPr>
              <a:xfrm>
                <a:off x="7337964" y="4242339"/>
                <a:ext cx="75723" cy="75723"/>
                <a:chOff x="7337964" y="4242339"/>
                <a:chExt cx="75723" cy="75723"/>
              </a:xfrm>
            </p:grpSpPr>
            <p:sp>
              <p:nvSpPr>
                <p:cNvPr id="16264" name="Freeform: Shape 16263">
                  <a:extLst>
                    <a:ext uri="{FF2B5EF4-FFF2-40B4-BE49-F238E27FC236}">
                      <a16:creationId xmlns:a16="http://schemas.microsoft.com/office/drawing/2014/main" id="{0095D307-7DEE-03C6-EA65-1807643F7DE0}"/>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5" name="Freeform: Shape 16264">
                  <a:extLst>
                    <a:ext uri="{FF2B5EF4-FFF2-40B4-BE49-F238E27FC236}">
                      <a16:creationId xmlns:a16="http://schemas.microsoft.com/office/drawing/2014/main" id="{DB25E5AF-F3D1-589E-88C9-293B5BE48BFB}"/>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6" name="Graphic 745">
                <a:extLst>
                  <a:ext uri="{FF2B5EF4-FFF2-40B4-BE49-F238E27FC236}">
                    <a16:creationId xmlns:a16="http://schemas.microsoft.com/office/drawing/2014/main" id="{6E5289F6-3B9E-888C-B6D2-1244A1345F08}"/>
                  </a:ext>
                </a:extLst>
              </p:cNvPr>
              <p:cNvGrpSpPr/>
              <p:nvPr/>
            </p:nvGrpSpPr>
            <p:grpSpPr>
              <a:xfrm>
                <a:off x="7347394" y="4242339"/>
                <a:ext cx="75628" cy="75723"/>
                <a:chOff x="7347394" y="4242339"/>
                <a:chExt cx="75628" cy="75723"/>
              </a:xfrm>
            </p:grpSpPr>
            <p:sp>
              <p:nvSpPr>
                <p:cNvPr id="16262" name="Freeform: Shape 16261">
                  <a:extLst>
                    <a:ext uri="{FF2B5EF4-FFF2-40B4-BE49-F238E27FC236}">
                      <a16:creationId xmlns:a16="http://schemas.microsoft.com/office/drawing/2014/main" id="{E335F1A0-902A-C1C9-ECB1-3FF0EF7CAD5D}"/>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3" name="Freeform: Shape 16262">
                  <a:extLst>
                    <a:ext uri="{FF2B5EF4-FFF2-40B4-BE49-F238E27FC236}">
                      <a16:creationId xmlns:a16="http://schemas.microsoft.com/office/drawing/2014/main" id="{87285E95-6286-12BB-44CD-CADFFCDCEFC8}"/>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7" name="Graphic 745">
                <a:extLst>
                  <a:ext uri="{FF2B5EF4-FFF2-40B4-BE49-F238E27FC236}">
                    <a16:creationId xmlns:a16="http://schemas.microsoft.com/office/drawing/2014/main" id="{0E2AA8A9-7E19-70C9-558B-2D40E5394108}"/>
                  </a:ext>
                </a:extLst>
              </p:cNvPr>
              <p:cNvGrpSpPr/>
              <p:nvPr/>
            </p:nvGrpSpPr>
            <p:grpSpPr>
              <a:xfrm>
                <a:off x="7308151" y="4185284"/>
                <a:ext cx="75723" cy="75723"/>
                <a:chOff x="7308151" y="4185284"/>
                <a:chExt cx="75723" cy="75723"/>
              </a:xfrm>
            </p:grpSpPr>
            <p:sp>
              <p:nvSpPr>
                <p:cNvPr id="16260" name="Freeform: Shape 16259">
                  <a:extLst>
                    <a:ext uri="{FF2B5EF4-FFF2-40B4-BE49-F238E27FC236}">
                      <a16:creationId xmlns:a16="http://schemas.microsoft.com/office/drawing/2014/main" id="{E27C662B-2D3D-1593-6D52-440D04293C5F}"/>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1" name="Freeform: Shape 16260">
                  <a:extLst>
                    <a:ext uri="{FF2B5EF4-FFF2-40B4-BE49-F238E27FC236}">
                      <a16:creationId xmlns:a16="http://schemas.microsoft.com/office/drawing/2014/main" id="{2D107E89-8909-4E16-12CD-64C5345848CA}"/>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8" name="Graphic 745">
                <a:extLst>
                  <a:ext uri="{FF2B5EF4-FFF2-40B4-BE49-F238E27FC236}">
                    <a16:creationId xmlns:a16="http://schemas.microsoft.com/office/drawing/2014/main" id="{62485FBD-875B-9980-7025-A5502AF85057}"/>
                  </a:ext>
                </a:extLst>
              </p:cNvPr>
              <p:cNvGrpSpPr/>
              <p:nvPr/>
            </p:nvGrpSpPr>
            <p:grpSpPr>
              <a:xfrm>
                <a:off x="7319295" y="4185284"/>
                <a:ext cx="75628" cy="75723"/>
                <a:chOff x="7319295" y="4185284"/>
                <a:chExt cx="75628" cy="75723"/>
              </a:xfrm>
            </p:grpSpPr>
            <p:sp>
              <p:nvSpPr>
                <p:cNvPr id="16258" name="Freeform: Shape 16257">
                  <a:extLst>
                    <a:ext uri="{FF2B5EF4-FFF2-40B4-BE49-F238E27FC236}">
                      <a16:creationId xmlns:a16="http://schemas.microsoft.com/office/drawing/2014/main" id="{49C7CE5F-3310-3217-FFEC-A9BF0FE7F521}"/>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9" name="Freeform: Shape 16258">
                  <a:extLst>
                    <a:ext uri="{FF2B5EF4-FFF2-40B4-BE49-F238E27FC236}">
                      <a16:creationId xmlns:a16="http://schemas.microsoft.com/office/drawing/2014/main" id="{0CFC44E0-0AB0-3B9C-DC50-E11763704B24}"/>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9" name="Graphic 745">
                <a:extLst>
                  <a:ext uri="{FF2B5EF4-FFF2-40B4-BE49-F238E27FC236}">
                    <a16:creationId xmlns:a16="http://schemas.microsoft.com/office/drawing/2014/main" id="{BA80AD68-0D17-5899-C8E1-6CB5A96EF33B}"/>
                  </a:ext>
                </a:extLst>
              </p:cNvPr>
              <p:cNvGrpSpPr/>
              <p:nvPr/>
            </p:nvGrpSpPr>
            <p:grpSpPr>
              <a:xfrm>
                <a:off x="7330344" y="4185284"/>
                <a:ext cx="75723" cy="75723"/>
                <a:chOff x="7330344" y="4185284"/>
                <a:chExt cx="75723" cy="75723"/>
              </a:xfrm>
            </p:grpSpPr>
            <p:sp>
              <p:nvSpPr>
                <p:cNvPr id="16256" name="Freeform: Shape 16255">
                  <a:extLst>
                    <a:ext uri="{FF2B5EF4-FFF2-40B4-BE49-F238E27FC236}">
                      <a16:creationId xmlns:a16="http://schemas.microsoft.com/office/drawing/2014/main" id="{A83ABFAF-3755-F661-6821-4525015722E4}"/>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7" name="Freeform: Shape 16256">
                  <a:extLst>
                    <a:ext uri="{FF2B5EF4-FFF2-40B4-BE49-F238E27FC236}">
                      <a16:creationId xmlns:a16="http://schemas.microsoft.com/office/drawing/2014/main" id="{F9C46984-44B8-7B07-185E-02192018D2D8}"/>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0" name="Graphic 745">
                <a:extLst>
                  <a:ext uri="{FF2B5EF4-FFF2-40B4-BE49-F238E27FC236}">
                    <a16:creationId xmlns:a16="http://schemas.microsoft.com/office/drawing/2014/main" id="{57FD08A2-09D0-7EE6-B00F-B8465E867FE3}"/>
                  </a:ext>
                </a:extLst>
              </p:cNvPr>
              <p:cNvGrpSpPr/>
              <p:nvPr/>
            </p:nvGrpSpPr>
            <p:grpSpPr>
              <a:xfrm>
                <a:off x="7009923" y="4185284"/>
                <a:ext cx="75723" cy="75723"/>
                <a:chOff x="7009923" y="4185284"/>
                <a:chExt cx="75723" cy="75723"/>
              </a:xfrm>
            </p:grpSpPr>
            <p:sp>
              <p:nvSpPr>
                <p:cNvPr id="16254" name="Freeform: Shape 16253">
                  <a:extLst>
                    <a:ext uri="{FF2B5EF4-FFF2-40B4-BE49-F238E27FC236}">
                      <a16:creationId xmlns:a16="http://schemas.microsoft.com/office/drawing/2014/main" id="{286764D1-E575-9A59-6781-62D3611DA440}"/>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5" name="Freeform: Shape 16254">
                  <a:extLst>
                    <a:ext uri="{FF2B5EF4-FFF2-40B4-BE49-F238E27FC236}">
                      <a16:creationId xmlns:a16="http://schemas.microsoft.com/office/drawing/2014/main" id="{6A861C4F-E657-778E-4217-893F30901456}"/>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1" name="Graphic 745">
                <a:extLst>
                  <a:ext uri="{FF2B5EF4-FFF2-40B4-BE49-F238E27FC236}">
                    <a16:creationId xmlns:a16="http://schemas.microsoft.com/office/drawing/2014/main" id="{6D01D689-5045-66E3-1F5D-7D1C28313621}"/>
                  </a:ext>
                </a:extLst>
              </p:cNvPr>
              <p:cNvGrpSpPr/>
              <p:nvPr/>
            </p:nvGrpSpPr>
            <p:grpSpPr>
              <a:xfrm>
                <a:off x="7021068" y="4185284"/>
                <a:ext cx="75628" cy="75723"/>
                <a:chOff x="7021068" y="4185284"/>
                <a:chExt cx="75628" cy="75723"/>
              </a:xfrm>
            </p:grpSpPr>
            <p:sp>
              <p:nvSpPr>
                <p:cNvPr id="16252" name="Freeform: Shape 16251">
                  <a:extLst>
                    <a:ext uri="{FF2B5EF4-FFF2-40B4-BE49-F238E27FC236}">
                      <a16:creationId xmlns:a16="http://schemas.microsoft.com/office/drawing/2014/main" id="{3288F829-1D07-9BA0-DB99-ED09EF03AD5D}"/>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3" name="Freeform: Shape 16252">
                  <a:extLst>
                    <a:ext uri="{FF2B5EF4-FFF2-40B4-BE49-F238E27FC236}">
                      <a16:creationId xmlns:a16="http://schemas.microsoft.com/office/drawing/2014/main" id="{0E9C5415-B381-D2AE-A46C-9C188F1C0F3E}"/>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2" name="Graphic 745">
                <a:extLst>
                  <a:ext uri="{FF2B5EF4-FFF2-40B4-BE49-F238E27FC236}">
                    <a16:creationId xmlns:a16="http://schemas.microsoft.com/office/drawing/2014/main" id="{E5FC6AF9-7F39-E69E-1179-F6AB53B2E12E}"/>
                  </a:ext>
                </a:extLst>
              </p:cNvPr>
              <p:cNvGrpSpPr/>
              <p:nvPr/>
            </p:nvGrpSpPr>
            <p:grpSpPr>
              <a:xfrm>
                <a:off x="6889051" y="4071937"/>
                <a:ext cx="75628" cy="75723"/>
                <a:chOff x="6889051" y="4071937"/>
                <a:chExt cx="75628" cy="75723"/>
              </a:xfrm>
            </p:grpSpPr>
            <p:sp>
              <p:nvSpPr>
                <p:cNvPr id="16250" name="Freeform: Shape 16249">
                  <a:extLst>
                    <a:ext uri="{FF2B5EF4-FFF2-40B4-BE49-F238E27FC236}">
                      <a16:creationId xmlns:a16="http://schemas.microsoft.com/office/drawing/2014/main" id="{47A9970F-B795-96BA-8286-6B26460202C1}"/>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1" name="Freeform: Shape 16250">
                  <a:extLst>
                    <a:ext uri="{FF2B5EF4-FFF2-40B4-BE49-F238E27FC236}">
                      <a16:creationId xmlns:a16="http://schemas.microsoft.com/office/drawing/2014/main" id="{E949F2A8-B947-A377-DC6C-E882ABB4F04A}"/>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3" name="Graphic 745">
                <a:extLst>
                  <a:ext uri="{FF2B5EF4-FFF2-40B4-BE49-F238E27FC236}">
                    <a16:creationId xmlns:a16="http://schemas.microsoft.com/office/drawing/2014/main" id="{E0605FE2-E90B-8FFE-21C1-2F7FA386CC74}"/>
                  </a:ext>
                </a:extLst>
              </p:cNvPr>
              <p:cNvGrpSpPr/>
              <p:nvPr/>
            </p:nvGrpSpPr>
            <p:grpSpPr>
              <a:xfrm>
                <a:off x="6786372" y="4071937"/>
                <a:ext cx="75723" cy="75723"/>
                <a:chOff x="6786372" y="4071937"/>
                <a:chExt cx="75723" cy="75723"/>
              </a:xfrm>
            </p:grpSpPr>
            <p:sp>
              <p:nvSpPr>
                <p:cNvPr id="16248" name="Freeform: Shape 16247">
                  <a:extLst>
                    <a:ext uri="{FF2B5EF4-FFF2-40B4-BE49-F238E27FC236}">
                      <a16:creationId xmlns:a16="http://schemas.microsoft.com/office/drawing/2014/main" id="{AE2F6FAB-9400-2A51-2092-595EB37F25F1}"/>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9" name="Freeform: Shape 16248">
                  <a:extLst>
                    <a:ext uri="{FF2B5EF4-FFF2-40B4-BE49-F238E27FC236}">
                      <a16:creationId xmlns:a16="http://schemas.microsoft.com/office/drawing/2014/main" id="{2A30AA0F-07D7-AC5E-6D17-E199CB34109A}"/>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4" name="Graphic 745">
                <a:extLst>
                  <a:ext uri="{FF2B5EF4-FFF2-40B4-BE49-F238E27FC236}">
                    <a16:creationId xmlns:a16="http://schemas.microsoft.com/office/drawing/2014/main" id="{097F6398-25FB-80E1-6D55-175FA40922B2}"/>
                  </a:ext>
                </a:extLst>
              </p:cNvPr>
              <p:cNvGrpSpPr/>
              <p:nvPr/>
            </p:nvGrpSpPr>
            <p:grpSpPr>
              <a:xfrm>
                <a:off x="6533864" y="4050886"/>
                <a:ext cx="75723" cy="75628"/>
                <a:chOff x="6533864" y="4050886"/>
                <a:chExt cx="75723" cy="75628"/>
              </a:xfrm>
            </p:grpSpPr>
            <p:sp>
              <p:nvSpPr>
                <p:cNvPr id="16246" name="Freeform: Shape 16245">
                  <a:extLst>
                    <a:ext uri="{FF2B5EF4-FFF2-40B4-BE49-F238E27FC236}">
                      <a16:creationId xmlns:a16="http://schemas.microsoft.com/office/drawing/2014/main" id="{4F87F247-3E24-7BD1-5E72-59133CE87BD8}"/>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7" name="Freeform: Shape 16246">
                  <a:extLst>
                    <a:ext uri="{FF2B5EF4-FFF2-40B4-BE49-F238E27FC236}">
                      <a16:creationId xmlns:a16="http://schemas.microsoft.com/office/drawing/2014/main" id="{86A1B353-6BA9-1DAC-47F7-46EA640C16D0}"/>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5" name="Graphic 745">
                <a:extLst>
                  <a:ext uri="{FF2B5EF4-FFF2-40B4-BE49-F238E27FC236}">
                    <a16:creationId xmlns:a16="http://schemas.microsoft.com/office/drawing/2014/main" id="{1A6ECF4F-03C5-8565-77C7-A809638CAA7D}"/>
                  </a:ext>
                </a:extLst>
              </p:cNvPr>
              <p:cNvGrpSpPr/>
              <p:nvPr/>
            </p:nvGrpSpPr>
            <p:grpSpPr>
              <a:xfrm>
                <a:off x="6504717" y="4028598"/>
                <a:ext cx="75723" cy="75723"/>
                <a:chOff x="6504717" y="4028598"/>
                <a:chExt cx="75723" cy="75723"/>
              </a:xfrm>
            </p:grpSpPr>
            <p:sp>
              <p:nvSpPr>
                <p:cNvPr id="16244" name="Freeform: Shape 16243">
                  <a:extLst>
                    <a:ext uri="{FF2B5EF4-FFF2-40B4-BE49-F238E27FC236}">
                      <a16:creationId xmlns:a16="http://schemas.microsoft.com/office/drawing/2014/main" id="{DEE73EEF-981A-07B6-E64E-A6657CBB257E}"/>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5" name="Freeform: Shape 16244">
                  <a:extLst>
                    <a:ext uri="{FF2B5EF4-FFF2-40B4-BE49-F238E27FC236}">
                      <a16:creationId xmlns:a16="http://schemas.microsoft.com/office/drawing/2014/main" id="{69EABCC7-067B-1219-F393-FB2A76AC91C5}"/>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6" name="Graphic 745">
                <a:extLst>
                  <a:ext uri="{FF2B5EF4-FFF2-40B4-BE49-F238E27FC236}">
                    <a16:creationId xmlns:a16="http://schemas.microsoft.com/office/drawing/2014/main" id="{16451232-2B7D-D777-68BF-72CB8F70033D}"/>
                  </a:ext>
                </a:extLst>
              </p:cNvPr>
              <p:cNvGrpSpPr/>
              <p:nvPr/>
            </p:nvGrpSpPr>
            <p:grpSpPr>
              <a:xfrm>
                <a:off x="6477952" y="4028598"/>
                <a:ext cx="75723" cy="75723"/>
                <a:chOff x="6477952" y="4028598"/>
                <a:chExt cx="75723" cy="75723"/>
              </a:xfrm>
            </p:grpSpPr>
            <p:sp>
              <p:nvSpPr>
                <p:cNvPr id="16242" name="Freeform: Shape 16241">
                  <a:extLst>
                    <a:ext uri="{FF2B5EF4-FFF2-40B4-BE49-F238E27FC236}">
                      <a16:creationId xmlns:a16="http://schemas.microsoft.com/office/drawing/2014/main" id="{00834FCB-C085-D711-45A7-92032AB7BAB1}"/>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3" name="Freeform: Shape 16242">
                  <a:extLst>
                    <a:ext uri="{FF2B5EF4-FFF2-40B4-BE49-F238E27FC236}">
                      <a16:creationId xmlns:a16="http://schemas.microsoft.com/office/drawing/2014/main" id="{9EC6BCAB-63BA-4E90-186F-9FB82E2A7487}"/>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7" name="Graphic 745">
                <a:extLst>
                  <a:ext uri="{FF2B5EF4-FFF2-40B4-BE49-F238E27FC236}">
                    <a16:creationId xmlns:a16="http://schemas.microsoft.com/office/drawing/2014/main" id="{D23A92A9-D8C4-0828-89F2-7DE56B80A2A8}"/>
                  </a:ext>
                </a:extLst>
              </p:cNvPr>
              <p:cNvGrpSpPr/>
              <p:nvPr/>
            </p:nvGrpSpPr>
            <p:grpSpPr>
              <a:xfrm>
                <a:off x="6491382" y="4028598"/>
                <a:ext cx="75628" cy="75723"/>
                <a:chOff x="6491382" y="4028598"/>
                <a:chExt cx="75628" cy="75723"/>
              </a:xfrm>
            </p:grpSpPr>
            <p:sp>
              <p:nvSpPr>
                <p:cNvPr id="16240" name="Freeform: Shape 16239">
                  <a:extLst>
                    <a:ext uri="{FF2B5EF4-FFF2-40B4-BE49-F238E27FC236}">
                      <a16:creationId xmlns:a16="http://schemas.microsoft.com/office/drawing/2014/main" id="{3F4A3127-7D1D-5642-F79D-C442C1452EF1}"/>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1" name="Freeform: Shape 16240">
                  <a:extLst>
                    <a:ext uri="{FF2B5EF4-FFF2-40B4-BE49-F238E27FC236}">
                      <a16:creationId xmlns:a16="http://schemas.microsoft.com/office/drawing/2014/main" id="{5A173A92-7BF4-0D70-8533-D987E0D99BD3}"/>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8" name="Graphic 745">
                <a:extLst>
                  <a:ext uri="{FF2B5EF4-FFF2-40B4-BE49-F238E27FC236}">
                    <a16:creationId xmlns:a16="http://schemas.microsoft.com/office/drawing/2014/main" id="{66E59C83-E83C-55C9-EAAA-D435D2D0A4E5}"/>
                  </a:ext>
                </a:extLst>
              </p:cNvPr>
              <p:cNvGrpSpPr/>
              <p:nvPr/>
            </p:nvGrpSpPr>
            <p:grpSpPr>
              <a:xfrm>
                <a:off x="6347460" y="3952969"/>
                <a:ext cx="75723" cy="75628"/>
                <a:chOff x="6347460" y="3952969"/>
                <a:chExt cx="75723" cy="75628"/>
              </a:xfrm>
            </p:grpSpPr>
            <p:sp>
              <p:nvSpPr>
                <p:cNvPr id="16238" name="Freeform: Shape 16237">
                  <a:extLst>
                    <a:ext uri="{FF2B5EF4-FFF2-40B4-BE49-F238E27FC236}">
                      <a16:creationId xmlns:a16="http://schemas.microsoft.com/office/drawing/2014/main" id="{A0220FDD-0F4F-4B3B-D0C8-B5710AF9A9F9}"/>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9" name="Freeform: Shape 16238">
                  <a:extLst>
                    <a:ext uri="{FF2B5EF4-FFF2-40B4-BE49-F238E27FC236}">
                      <a16:creationId xmlns:a16="http://schemas.microsoft.com/office/drawing/2014/main" id="{1A573573-784F-95C0-A55C-6445F4E9EC64}"/>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9" name="Graphic 745">
                <a:extLst>
                  <a:ext uri="{FF2B5EF4-FFF2-40B4-BE49-F238E27FC236}">
                    <a16:creationId xmlns:a16="http://schemas.microsoft.com/office/drawing/2014/main" id="{57B68ECF-60FA-D2B5-39FA-551EDB3A42F8}"/>
                  </a:ext>
                </a:extLst>
              </p:cNvPr>
              <p:cNvGrpSpPr/>
              <p:nvPr/>
            </p:nvGrpSpPr>
            <p:grpSpPr>
              <a:xfrm>
                <a:off x="6402228" y="3952969"/>
                <a:ext cx="75723" cy="75628"/>
                <a:chOff x="6402228" y="3952969"/>
                <a:chExt cx="75723" cy="75628"/>
              </a:xfrm>
            </p:grpSpPr>
            <p:sp>
              <p:nvSpPr>
                <p:cNvPr id="16236" name="Freeform: Shape 16235">
                  <a:extLst>
                    <a:ext uri="{FF2B5EF4-FFF2-40B4-BE49-F238E27FC236}">
                      <a16:creationId xmlns:a16="http://schemas.microsoft.com/office/drawing/2014/main" id="{D5C53EAD-F626-F7E4-D690-259B4CB5474C}"/>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7" name="Freeform: Shape 16236">
                  <a:extLst>
                    <a:ext uri="{FF2B5EF4-FFF2-40B4-BE49-F238E27FC236}">
                      <a16:creationId xmlns:a16="http://schemas.microsoft.com/office/drawing/2014/main" id="{4DC280F7-3873-C585-FD38-70DEC232B84B}"/>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0" name="Graphic 745">
                <a:extLst>
                  <a:ext uri="{FF2B5EF4-FFF2-40B4-BE49-F238E27FC236}">
                    <a16:creationId xmlns:a16="http://schemas.microsoft.com/office/drawing/2014/main" id="{08F515E4-A25D-9C44-FAB4-531DE95AFA17}"/>
                  </a:ext>
                </a:extLst>
              </p:cNvPr>
              <p:cNvGrpSpPr/>
              <p:nvPr/>
            </p:nvGrpSpPr>
            <p:grpSpPr>
              <a:xfrm>
                <a:off x="6437852" y="3966304"/>
                <a:ext cx="75723" cy="75723"/>
                <a:chOff x="6437852" y="3966304"/>
                <a:chExt cx="75723" cy="75723"/>
              </a:xfrm>
            </p:grpSpPr>
            <p:sp>
              <p:nvSpPr>
                <p:cNvPr id="16234" name="Freeform: Shape 16233">
                  <a:extLst>
                    <a:ext uri="{FF2B5EF4-FFF2-40B4-BE49-F238E27FC236}">
                      <a16:creationId xmlns:a16="http://schemas.microsoft.com/office/drawing/2014/main" id="{3CF8A19E-F4B7-5299-ACFB-95212755A788}"/>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5" name="Freeform: Shape 16234">
                  <a:extLst>
                    <a:ext uri="{FF2B5EF4-FFF2-40B4-BE49-F238E27FC236}">
                      <a16:creationId xmlns:a16="http://schemas.microsoft.com/office/drawing/2014/main" id="{13C1B1C7-25C5-8A82-DFFF-E9981B2C1B1B}"/>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1" name="Graphic 745">
                <a:extLst>
                  <a:ext uri="{FF2B5EF4-FFF2-40B4-BE49-F238E27FC236}">
                    <a16:creationId xmlns:a16="http://schemas.microsoft.com/office/drawing/2014/main" id="{131DFDBC-E985-9697-8921-D83EF9ED61BF}"/>
                  </a:ext>
                </a:extLst>
              </p:cNvPr>
              <p:cNvGrpSpPr/>
              <p:nvPr/>
            </p:nvGrpSpPr>
            <p:grpSpPr>
              <a:xfrm>
                <a:off x="6461379" y="3976877"/>
                <a:ext cx="75628" cy="75628"/>
                <a:chOff x="6461379" y="3976877"/>
                <a:chExt cx="75628" cy="75628"/>
              </a:xfrm>
            </p:grpSpPr>
            <p:sp>
              <p:nvSpPr>
                <p:cNvPr id="16232" name="Freeform: Shape 16231">
                  <a:extLst>
                    <a:ext uri="{FF2B5EF4-FFF2-40B4-BE49-F238E27FC236}">
                      <a16:creationId xmlns:a16="http://schemas.microsoft.com/office/drawing/2014/main" id="{218EDFC7-9DA5-993B-5039-20DE91EEE2C4}"/>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3" name="Freeform: Shape 16232">
                  <a:extLst>
                    <a:ext uri="{FF2B5EF4-FFF2-40B4-BE49-F238E27FC236}">
                      <a16:creationId xmlns:a16="http://schemas.microsoft.com/office/drawing/2014/main" id="{4FF8CB73-C5EB-2E7B-D5CA-CA65F25B53A6}"/>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2" name="Graphic 745">
                <a:extLst>
                  <a:ext uri="{FF2B5EF4-FFF2-40B4-BE49-F238E27FC236}">
                    <a16:creationId xmlns:a16="http://schemas.microsoft.com/office/drawing/2014/main" id="{0FCDFEF6-F915-9745-F54F-DC6DC782C03E}"/>
                  </a:ext>
                </a:extLst>
              </p:cNvPr>
              <p:cNvGrpSpPr/>
              <p:nvPr/>
            </p:nvGrpSpPr>
            <p:grpSpPr>
              <a:xfrm>
                <a:off x="6475666" y="3986974"/>
                <a:ext cx="75723" cy="75723"/>
                <a:chOff x="6475666" y="3986974"/>
                <a:chExt cx="75723" cy="75723"/>
              </a:xfrm>
            </p:grpSpPr>
            <p:sp>
              <p:nvSpPr>
                <p:cNvPr id="16230" name="Freeform: Shape 16229">
                  <a:extLst>
                    <a:ext uri="{FF2B5EF4-FFF2-40B4-BE49-F238E27FC236}">
                      <a16:creationId xmlns:a16="http://schemas.microsoft.com/office/drawing/2014/main" id="{9F1CF859-3EB5-2AA0-63F5-1E328322205E}"/>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1" name="Freeform: Shape 16230">
                  <a:extLst>
                    <a:ext uri="{FF2B5EF4-FFF2-40B4-BE49-F238E27FC236}">
                      <a16:creationId xmlns:a16="http://schemas.microsoft.com/office/drawing/2014/main" id="{C3A661C5-3698-6A2E-6157-2763B3BD62A2}"/>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3" name="Graphic 745">
                <a:extLst>
                  <a:ext uri="{FF2B5EF4-FFF2-40B4-BE49-F238E27FC236}">
                    <a16:creationId xmlns:a16="http://schemas.microsoft.com/office/drawing/2014/main" id="{3BC4B088-A8D0-3285-4E8E-1EA51BA4D629}"/>
                  </a:ext>
                </a:extLst>
              </p:cNvPr>
              <p:cNvGrpSpPr/>
              <p:nvPr/>
            </p:nvGrpSpPr>
            <p:grpSpPr>
              <a:xfrm>
                <a:off x="6229540" y="3936301"/>
                <a:ext cx="75628" cy="75723"/>
                <a:chOff x="6229540" y="3936301"/>
                <a:chExt cx="75628" cy="75723"/>
              </a:xfrm>
            </p:grpSpPr>
            <p:sp>
              <p:nvSpPr>
                <p:cNvPr id="16228" name="Freeform: Shape 16227">
                  <a:extLst>
                    <a:ext uri="{FF2B5EF4-FFF2-40B4-BE49-F238E27FC236}">
                      <a16:creationId xmlns:a16="http://schemas.microsoft.com/office/drawing/2014/main" id="{62DF782E-A1A8-AC6F-4054-1C6365873919}"/>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9" name="Freeform: Shape 16228">
                  <a:extLst>
                    <a:ext uri="{FF2B5EF4-FFF2-40B4-BE49-F238E27FC236}">
                      <a16:creationId xmlns:a16="http://schemas.microsoft.com/office/drawing/2014/main" id="{57F57D08-4963-B1B5-AB00-AEF1186880B6}"/>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4" name="Graphic 745">
                <a:extLst>
                  <a:ext uri="{FF2B5EF4-FFF2-40B4-BE49-F238E27FC236}">
                    <a16:creationId xmlns:a16="http://schemas.microsoft.com/office/drawing/2014/main" id="{C69EE142-98CE-ECD8-B8FB-B1BA704F3729}"/>
                  </a:ext>
                </a:extLst>
              </p:cNvPr>
              <p:cNvGrpSpPr/>
              <p:nvPr/>
            </p:nvGrpSpPr>
            <p:grpSpPr>
              <a:xfrm>
                <a:off x="5918644" y="3830478"/>
                <a:ext cx="75628" cy="75723"/>
                <a:chOff x="5918644" y="3830478"/>
                <a:chExt cx="75628" cy="75723"/>
              </a:xfrm>
            </p:grpSpPr>
            <p:sp>
              <p:nvSpPr>
                <p:cNvPr id="16226" name="Freeform: Shape 16225">
                  <a:extLst>
                    <a:ext uri="{FF2B5EF4-FFF2-40B4-BE49-F238E27FC236}">
                      <a16:creationId xmlns:a16="http://schemas.microsoft.com/office/drawing/2014/main" id="{FE101857-7A52-BF84-A9B4-56206DE26C4A}"/>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7" name="Freeform: Shape 16226">
                  <a:extLst>
                    <a:ext uri="{FF2B5EF4-FFF2-40B4-BE49-F238E27FC236}">
                      <a16:creationId xmlns:a16="http://schemas.microsoft.com/office/drawing/2014/main" id="{4EF4FDFB-2F35-7CAF-D0E7-BE8619DA86DD}"/>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5" name="Graphic 745">
                <a:extLst>
                  <a:ext uri="{FF2B5EF4-FFF2-40B4-BE49-F238E27FC236}">
                    <a16:creationId xmlns:a16="http://schemas.microsoft.com/office/drawing/2014/main" id="{B26FB462-2877-A056-6C0F-6834B5C9F41A}"/>
                  </a:ext>
                </a:extLst>
              </p:cNvPr>
              <p:cNvGrpSpPr/>
              <p:nvPr/>
            </p:nvGrpSpPr>
            <p:grpSpPr>
              <a:xfrm>
                <a:off x="5699379" y="3807427"/>
                <a:ext cx="75628" cy="75723"/>
                <a:chOff x="5699379" y="3807427"/>
                <a:chExt cx="75628" cy="75723"/>
              </a:xfrm>
            </p:grpSpPr>
            <p:sp>
              <p:nvSpPr>
                <p:cNvPr id="16224" name="Freeform: Shape 16223">
                  <a:extLst>
                    <a:ext uri="{FF2B5EF4-FFF2-40B4-BE49-F238E27FC236}">
                      <a16:creationId xmlns:a16="http://schemas.microsoft.com/office/drawing/2014/main" id="{7AC3C7EB-A371-329B-229B-A3DB28264A13}"/>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5" name="Freeform: Shape 16224">
                  <a:extLst>
                    <a:ext uri="{FF2B5EF4-FFF2-40B4-BE49-F238E27FC236}">
                      <a16:creationId xmlns:a16="http://schemas.microsoft.com/office/drawing/2014/main" id="{BF6F5FCE-4E45-6E34-7905-835C1DC369CD}"/>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6" name="Graphic 745">
                <a:extLst>
                  <a:ext uri="{FF2B5EF4-FFF2-40B4-BE49-F238E27FC236}">
                    <a16:creationId xmlns:a16="http://schemas.microsoft.com/office/drawing/2014/main" id="{26F96652-B3DF-A70C-F9B9-F5255B1963C8}"/>
                  </a:ext>
                </a:extLst>
              </p:cNvPr>
              <p:cNvGrpSpPr/>
              <p:nvPr/>
            </p:nvGrpSpPr>
            <p:grpSpPr>
              <a:xfrm>
                <a:off x="5574125" y="3710177"/>
                <a:ext cx="75628" cy="75628"/>
                <a:chOff x="5574125" y="3710177"/>
                <a:chExt cx="75628" cy="75628"/>
              </a:xfrm>
            </p:grpSpPr>
            <p:sp>
              <p:nvSpPr>
                <p:cNvPr id="16222" name="Freeform: Shape 16221">
                  <a:extLst>
                    <a:ext uri="{FF2B5EF4-FFF2-40B4-BE49-F238E27FC236}">
                      <a16:creationId xmlns:a16="http://schemas.microsoft.com/office/drawing/2014/main" id="{9B9A6F87-C9F6-5D3B-A908-A31A041A12F3}"/>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3" name="Freeform: Shape 16222">
                  <a:extLst>
                    <a:ext uri="{FF2B5EF4-FFF2-40B4-BE49-F238E27FC236}">
                      <a16:creationId xmlns:a16="http://schemas.microsoft.com/office/drawing/2014/main" id="{7CF755BE-6BCB-458D-8E98-4AF018A140E1}"/>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7" name="Graphic 745">
                <a:extLst>
                  <a:ext uri="{FF2B5EF4-FFF2-40B4-BE49-F238E27FC236}">
                    <a16:creationId xmlns:a16="http://schemas.microsoft.com/office/drawing/2014/main" id="{85E2884A-4C29-F79C-EF1E-510F4E2FC146}"/>
                  </a:ext>
                </a:extLst>
              </p:cNvPr>
              <p:cNvGrpSpPr/>
              <p:nvPr/>
            </p:nvGrpSpPr>
            <p:grpSpPr>
              <a:xfrm>
                <a:off x="5244941" y="3624643"/>
                <a:ext cx="75723" cy="75628"/>
                <a:chOff x="5244941" y="3624643"/>
                <a:chExt cx="75723" cy="75628"/>
              </a:xfrm>
            </p:grpSpPr>
            <p:sp>
              <p:nvSpPr>
                <p:cNvPr id="16220" name="Freeform: Shape 16219">
                  <a:extLst>
                    <a:ext uri="{FF2B5EF4-FFF2-40B4-BE49-F238E27FC236}">
                      <a16:creationId xmlns:a16="http://schemas.microsoft.com/office/drawing/2014/main" id="{A72CD6E3-1086-E9D3-8D52-BD4A99F420CB}"/>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1" name="Freeform: Shape 16220">
                  <a:extLst>
                    <a:ext uri="{FF2B5EF4-FFF2-40B4-BE49-F238E27FC236}">
                      <a16:creationId xmlns:a16="http://schemas.microsoft.com/office/drawing/2014/main" id="{5E068A83-FB35-884D-9587-80A1E216FD47}"/>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8" name="Graphic 745">
                <a:extLst>
                  <a:ext uri="{FF2B5EF4-FFF2-40B4-BE49-F238E27FC236}">
                    <a16:creationId xmlns:a16="http://schemas.microsoft.com/office/drawing/2014/main" id="{8A2F60A4-BF51-8E2F-2963-94309B311481}"/>
                  </a:ext>
                </a:extLst>
              </p:cNvPr>
              <p:cNvGrpSpPr/>
              <p:nvPr/>
            </p:nvGrpSpPr>
            <p:grpSpPr>
              <a:xfrm>
                <a:off x="5150929" y="3447097"/>
                <a:ext cx="75723" cy="75723"/>
                <a:chOff x="5150929" y="3447097"/>
                <a:chExt cx="75723" cy="75723"/>
              </a:xfrm>
            </p:grpSpPr>
            <p:sp>
              <p:nvSpPr>
                <p:cNvPr id="16218" name="Freeform: Shape 16217">
                  <a:extLst>
                    <a:ext uri="{FF2B5EF4-FFF2-40B4-BE49-F238E27FC236}">
                      <a16:creationId xmlns:a16="http://schemas.microsoft.com/office/drawing/2014/main" id="{81221D43-23D9-194A-A0DE-17F0261DC6DF}"/>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9" name="Freeform: Shape 16218">
                  <a:extLst>
                    <a:ext uri="{FF2B5EF4-FFF2-40B4-BE49-F238E27FC236}">
                      <a16:creationId xmlns:a16="http://schemas.microsoft.com/office/drawing/2014/main" id="{F4B7C10B-B9EE-9E14-2160-A1DEA8231B71}"/>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9" name="Graphic 745">
                <a:extLst>
                  <a:ext uri="{FF2B5EF4-FFF2-40B4-BE49-F238E27FC236}">
                    <a16:creationId xmlns:a16="http://schemas.microsoft.com/office/drawing/2014/main" id="{4CBD8E6D-0273-3329-4B2F-00F1BC1AFCF5}"/>
                  </a:ext>
                </a:extLst>
              </p:cNvPr>
              <p:cNvGrpSpPr/>
              <p:nvPr/>
            </p:nvGrpSpPr>
            <p:grpSpPr>
              <a:xfrm>
                <a:off x="4796694" y="3325081"/>
                <a:ext cx="75723" cy="75723"/>
                <a:chOff x="4796694" y="3325081"/>
                <a:chExt cx="75723" cy="75723"/>
              </a:xfrm>
            </p:grpSpPr>
            <p:sp>
              <p:nvSpPr>
                <p:cNvPr id="16216" name="Freeform: Shape 16215">
                  <a:extLst>
                    <a:ext uri="{FF2B5EF4-FFF2-40B4-BE49-F238E27FC236}">
                      <a16:creationId xmlns:a16="http://schemas.microsoft.com/office/drawing/2014/main" id="{8006E036-482C-0EF6-C8C1-F3418C6EEBFC}"/>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7" name="Freeform: Shape 16216">
                  <a:extLst>
                    <a:ext uri="{FF2B5EF4-FFF2-40B4-BE49-F238E27FC236}">
                      <a16:creationId xmlns:a16="http://schemas.microsoft.com/office/drawing/2014/main" id="{83152AB5-E5DC-79B7-214B-2BC8AE4DB8FB}"/>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0" name="Graphic 745">
                <a:extLst>
                  <a:ext uri="{FF2B5EF4-FFF2-40B4-BE49-F238E27FC236}">
                    <a16:creationId xmlns:a16="http://schemas.microsoft.com/office/drawing/2014/main" id="{8C4C0BB1-4C99-ACB0-676A-56F973F6B8FA}"/>
                  </a:ext>
                </a:extLst>
              </p:cNvPr>
              <p:cNvGrpSpPr/>
              <p:nvPr/>
            </p:nvGrpSpPr>
            <p:grpSpPr>
              <a:xfrm>
                <a:off x="4718494" y="3173920"/>
                <a:ext cx="75628" cy="75628"/>
                <a:chOff x="4718494" y="3173920"/>
                <a:chExt cx="75628" cy="75628"/>
              </a:xfrm>
            </p:grpSpPr>
            <p:sp>
              <p:nvSpPr>
                <p:cNvPr id="16214" name="Freeform: Shape 16213">
                  <a:extLst>
                    <a:ext uri="{FF2B5EF4-FFF2-40B4-BE49-F238E27FC236}">
                      <a16:creationId xmlns:a16="http://schemas.microsoft.com/office/drawing/2014/main" id="{4B2C8387-1299-660A-1EBE-88C0F134D729}"/>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5" name="Freeform: Shape 16214">
                  <a:extLst>
                    <a:ext uri="{FF2B5EF4-FFF2-40B4-BE49-F238E27FC236}">
                      <a16:creationId xmlns:a16="http://schemas.microsoft.com/office/drawing/2014/main" id="{4E2E36D3-8C75-34B2-9A4F-A2F3C2673D6F}"/>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1" name="Graphic 745">
                <a:extLst>
                  <a:ext uri="{FF2B5EF4-FFF2-40B4-BE49-F238E27FC236}">
                    <a16:creationId xmlns:a16="http://schemas.microsoft.com/office/drawing/2014/main" id="{88A01F10-E748-D597-D535-5E51431A8E37}"/>
                  </a:ext>
                </a:extLst>
              </p:cNvPr>
              <p:cNvGrpSpPr/>
              <p:nvPr/>
            </p:nvGrpSpPr>
            <p:grpSpPr>
              <a:xfrm>
                <a:off x="4527994" y="3072955"/>
                <a:ext cx="75628" cy="75723"/>
                <a:chOff x="4527994" y="3072955"/>
                <a:chExt cx="75628" cy="75723"/>
              </a:xfrm>
            </p:grpSpPr>
            <p:sp>
              <p:nvSpPr>
                <p:cNvPr id="16212" name="Freeform: Shape 16211">
                  <a:extLst>
                    <a:ext uri="{FF2B5EF4-FFF2-40B4-BE49-F238E27FC236}">
                      <a16:creationId xmlns:a16="http://schemas.microsoft.com/office/drawing/2014/main" id="{AFD111FE-6A07-94C7-C821-24EA8473F617}"/>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3" name="Freeform: Shape 16212">
                  <a:extLst>
                    <a:ext uri="{FF2B5EF4-FFF2-40B4-BE49-F238E27FC236}">
                      <a16:creationId xmlns:a16="http://schemas.microsoft.com/office/drawing/2014/main" id="{EEC8FEDF-A3F5-FA94-C923-8C941A82B58D}"/>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2" name="Graphic 745">
                <a:extLst>
                  <a:ext uri="{FF2B5EF4-FFF2-40B4-BE49-F238E27FC236}">
                    <a16:creationId xmlns:a16="http://schemas.microsoft.com/office/drawing/2014/main" id="{245FE4AB-31AE-B0D7-8BD1-49C17120E1B4}"/>
                  </a:ext>
                </a:extLst>
              </p:cNvPr>
              <p:cNvGrpSpPr/>
              <p:nvPr/>
            </p:nvGrpSpPr>
            <p:grpSpPr>
              <a:xfrm>
                <a:off x="4457414" y="3047809"/>
                <a:ext cx="75723" cy="75723"/>
                <a:chOff x="4457414" y="3047809"/>
                <a:chExt cx="75723" cy="75723"/>
              </a:xfrm>
            </p:grpSpPr>
            <p:sp>
              <p:nvSpPr>
                <p:cNvPr id="16210" name="Freeform: Shape 16209">
                  <a:extLst>
                    <a:ext uri="{FF2B5EF4-FFF2-40B4-BE49-F238E27FC236}">
                      <a16:creationId xmlns:a16="http://schemas.microsoft.com/office/drawing/2014/main" id="{7ADA9F9E-621C-8E20-A158-CE852D344795}"/>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1" name="Freeform: Shape 16210">
                  <a:extLst>
                    <a:ext uri="{FF2B5EF4-FFF2-40B4-BE49-F238E27FC236}">
                      <a16:creationId xmlns:a16="http://schemas.microsoft.com/office/drawing/2014/main" id="{2A75DD7A-B0C1-F218-B675-C8C5800EB1ED}"/>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3" name="Graphic 745">
                <a:extLst>
                  <a:ext uri="{FF2B5EF4-FFF2-40B4-BE49-F238E27FC236}">
                    <a16:creationId xmlns:a16="http://schemas.microsoft.com/office/drawing/2014/main" id="{B5386799-EE10-B8C9-0DA8-E94F773851B6}"/>
                  </a:ext>
                </a:extLst>
              </p:cNvPr>
              <p:cNvGrpSpPr/>
              <p:nvPr/>
            </p:nvGrpSpPr>
            <p:grpSpPr>
              <a:xfrm>
                <a:off x="4358925" y="3014471"/>
                <a:ext cx="75723" cy="75723"/>
                <a:chOff x="4358925" y="3014471"/>
                <a:chExt cx="75723" cy="75723"/>
              </a:xfrm>
            </p:grpSpPr>
            <p:sp>
              <p:nvSpPr>
                <p:cNvPr id="16208" name="Freeform: Shape 16207">
                  <a:extLst>
                    <a:ext uri="{FF2B5EF4-FFF2-40B4-BE49-F238E27FC236}">
                      <a16:creationId xmlns:a16="http://schemas.microsoft.com/office/drawing/2014/main" id="{B7D4DD71-0E5C-20AA-B403-3C49693E5066}"/>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9" name="Freeform: Shape 16208">
                  <a:extLst>
                    <a:ext uri="{FF2B5EF4-FFF2-40B4-BE49-F238E27FC236}">
                      <a16:creationId xmlns:a16="http://schemas.microsoft.com/office/drawing/2014/main" id="{7867E2C8-4A18-4035-4038-85402442947D}"/>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4" name="Graphic 745">
                <a:extLst>
                  <a:ext uri="{FF2B5EF4-FFF2-40B4-BE49-F238E27FC236}">
                    <a16:creationId xmlns:a16="http://schemas.microsoft.com/office/drawing/2014/main" id="{2A04A105-B03A-ED03-DB10-4E182F09FB6C}"/>
                  </a:ext>
                </a:extLst>
              </p:cNvPr>
              <p:cNvGrpSpPr/>
              <p:nvPr/>
            </p:nvGrpSpPr>
            <p:grpSpPr>
              <a:xfrm>
                <a:off x="4350448" y="3001898"/>
                <a:ext cx="75723" cy="75723"/>
                <a:chOff x="4350448" y="3001898"/>
                <a:chExt cx="75723" cy="75723"/>
              </a:xfrm>
            </p:grpSpPr>
            <p:sp>
              <p:nvSpPr>
                <p:cNvPr id="16206" name="Freeform: Shape 16205">
                  <a:extLst>
                    <a:ext uri="{FF2B5EF4-FFF2-40B4-BE49-F238E27FC236}">
                      <a16:creationId xmlns:a16="http://schemas.microsoft.com/office/drawing/2014/main" id="{971E6028-1A8B-AFCF-85C1-89467A482B79}"/>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7" name="Freeform: Shape 16206">
                  <a:extLst>
                    <a:ext uri="{FF2B5EF4-FFF2-40B4-BE49-F238E27FC236}">
                      <a16:creationId xmlns:a16="http://schemas.microsoft.com/office/drawing/2014/main" id="{78118D3C-6084-321A-9697-8323BB1C3D1B}"/>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5" name="Graphic 745">
                <a:extLst>
                  <a:ext uri="{FF2B5EF4-FFF2-40B4-BE49-F238E27FC236}">
                    <a16:creationId xmlns:a16="http://schemas.microsoft.com/office/drawing/2014/main" id="{8217359D-1C59-4AE3-5E30-20395AF03FE1}"/>
                  </a:ext>
                </a:extLst>
              </p:cNvPr>
              <p:cNvGrpSpPr/>
              <p:nvPr/>
            </p:nvGrpSpPr>
            <p:grpSpPr>
              <a:xfrm>
                <a:off x="4301775" y="2881883"/>
                <a:ext cx="75723" cy="75723"/>
                <a:chOff x="4301775" y="2881883"/>
                <a:chExt cx="75723" cy="75723"/>
              </a:xfrm>
            </p:grpSpPr>
            <p:sp>
              <p:nvSpPr>
                <p:cNvPr id="16204" name="Freeform: Shape 16203">
                  <a:extLst>
                    <a:ext uri="{FF2B5EF4-FFF2-40B4-BE49-F238E27FC236}">
                      <a16:creationId xmlns:a16="http://schemas.microsoft.com/office/drawing/2014/main" id="{868A8D22-D950-5280-5F6C-ECE74B221DF4}"/>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5" name="Freeform: Shape 16204">
                  <a:extLst>
                    <a:ext uri="{FF2B5EF4-FFF2-40B4-BE49-F238E27FC236}">
                      <a16:creationId xmlns:a16="http://schemas.microsoft.com/office/drawing/2014/main" id="{E6ED576D-2BF3-64D7-D0C2-BBF106D123E3}"/>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6" name="Graphic 745">
                <a:extLst>
                  <a:ext uri="{FF2B5EF4-FFF2-40B4-BE49-F238E27FC236}">
                    <a16:creationId xmlns:a16="http://schemas.microsoft.com/office/drawing/2014/main" id="{AD2ECAC2-A054-8363-F5F9-86F8CEDE5372}"/>
                  </a:ext>
                </a:extLst>
              </p:cNvPr>
              <p:cNvGrpSpPr/>
              <p:nvPr/>
            </p:nvGrpSpPr>
            <p:grpSpPr>
              <a:xfrm>
                <a:off x="3954018" y="2741485"/>
                <a:ext cx="75723" cy="75723"/>
                <a:chOff x="3954018" y="2741485"/>
                <a:chExt cx="75723" cy="75723"/>
              </a:xfrm>
            </p:grpSpPr>
            <p:sp>
              <p:nvSpPr>
                <p:cNvPr id="16202" name="Freeform: Shape 16201">
                  <a:extLst>
                    <a:ext uri="{FF2B5EF4-FFF2-40B4-BE49-F238E27FC236}">
                      <a16:creationId xmlns:a16="http://schemas.microsoft.com/office/drawing/2014/main" id="{7252EABD-9077-C5C2-4DB1-982B16ADB973}"/>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3" name="Freeform: Shape 16202">
                  <a:extLst>
                    <a:ext uri="{FF2B5EF4-FFF2-40B4-BE49-F238E27FC236}">
                      <a16:creationId xmlns:a16="http://schemas.microsoft.com/office/drawing/2014/main" id="{6422DD91-8307-4F7B-11C9-2FDD33B0F253}"/>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7" name="Graphic 745">
                <a:extLst>
                  <a:ext uri="{FF2B5EF4-FFF2-40B4-BE49-F238E27FC236}">
                    <a16:creationId xmlns:a16="http://schemas.microsoft.com/office/drawing/2014/main" id="{C06451EF-86C6-87E6-D989-E1BE4C813739}"/>
                  </a:ext>
                </a:extLst>
              </p:cNvPr>
              <p:cNvGrpSpPr/>
              <p:nvPr/>
            </p:nvGrpSpPr>
            <p:grpSpPr>
              <a:xfrm>
                <a:off x="3935825" y="2741485"/>
                <a:ext cx="75628" cy="75723"/>
                <a:chOff x="3935825" y="2741485"/>
                <a:chExt cx="75628" cy="75723"/>
              </a:xfrm>
            </p:grpSpPr>
            <p:sp>
              <p:nvSpPr>
                <p:cNvPr id="16200" name="Freeform: Shape 16199">
                  <a:extLst>
                    <a:ext uri="{FF2B5EF4-FFF2-40B4-BE49-F238E27FC236}">
                      <a16:creationId xmlns:a16="http://schemas.microsoft.com/office/drawing/2014/main" id="{915F0322-5E57-BD8D-1AB8-E46C043F730D}"/>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1" name="Freeform: Shape 16200">
                  <a:extLst>
                    <a:ext uri="{FF2B5EF4-FFF2-40B4-BE49-F238E27FC236}">
                      <a16:creationId xmlns:a16="http://schemas.microsoft.com/office/drawing/2014/main" id="{96721566-6E4E-86F2-6FD6-70E03DD488AA}"/>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8" name="Graphic 745">
                <a:extLst>
                  <a:ext uri="{FF2B5EF4-FFF2-40B4-BE49-F238E27FC236}">
                    <a16:creationId xmlns:a16="http://schemas.microsoft.com/office/drawing/2014/main" id="{FBF8FE49-439F-2745-C97E-71D629437C2A}"/>
                  </a:ext>
                </a:extLst>
              </p:cNvPr>
              <p:cNvGrpSpPr/>
              <p:nvPr/>
            </p:nvGrpSpPr>
            <p:grpSpPr>
              <a:xfrm>
                <a:off x="3916203" y="2706623"/>
                <a:ext cx="75723" cy="75723"/>
                <a:chOff x="3916203" y="2706623"/>
                <a:chExt cx="75723" cy="75723"/>
              </a:xfrm>
            </p:grpSpPr>
            <p:sp>
              <p:nvSpPr>
                <p:cNvPr id="16198" name="Freeform: Shape 16197">
                  <a:extLst>
                    <a:ext uri="{FF2B5EF4-FFF2-40B4-BE49-F238E27FC236}">
                      <a16:creationId xmlns:a16="http://schemas.microsoft.com/office/drawing/2014/main" id="{EC44A189-3F49-0CC5-E077-58E380E4E2E2}"/>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9" name="Freeform: Shape 16198">
                  <a:extLst>
                    <a:ext uri="{FF2B5EF4-FFF2-40B4-BE49-F238E27FC236}">
                      <a16:creationId xmlns:a16="http://schemas.microsoft.com/office/drawing/2014/main" id="{959F4E34-71D3-36F3-6F1C-5767B5541D86}"/>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9" name="Graphic 745">
                <a:extLst>
                  <a:ext uri="{FF2B5EF4-FFF2-40B4-BE49-F238E27FC236}">
                    <a16:creationId xmlns:a16="http://schemas.microsoft.com/office/drawing/2014/main" id="{829063B4-EB9D-F92A-486F-AB04ADBE94DE}"/>
                  </a:ext>
                </a:extLst>
              </p:cNvPr>
              <p:cNvGrpSpPr/>
              <p:nvPr/>
            </p:nvGrpSpPr>
            <p:grpSpPr>
              <a:xfrm>
                <a:off x="3916203" y="2733293"/>
                <a:ext cx="75723" cy="75723"/>
                <a:chOff x="3916203" y="2733293"/>
                <a:chExt cx="75723" cy="75723"/>
              </a:xfrm>
            </p:grpSpPr>
            <p:sp>
              <p:nvSpPr>
                <p:cNvPr id="16196" name="Freeform: Shape 16195">
                  <a:extLst>
                    <a:ext uri="{FF2B5EF4-FFF2-40B4-BE49-F238E27FC236}">
                      <a16:creationId xmlns:a16="http://schemas.microsoft.com/office/drawing/2014/main" id="{4E2EFA49-D0D2-EBC1-9855-420FA53F5465}"/>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7" name="Freeform: Shape 16196">
                  <a:extLst>
                    <a:ext uri="{FF2B5EF4-FFF2-40B4-BE49-F238E27FC236}">
                      <a16:creationId xmlns:a16="http://schemas.microsoft.com/office/drawing/2014/main" id="{FFD9F6B8-8CB5-B951-8912-8279B827CD28}"/>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0" name="Graphic 745">
                <a:extLst>
                  <a:ext uri="{FF2B5EF4-FFF2-40B4-BE49-F238E27FC236}">
                    <a16:creationId xmlns:a16="http://schemas.microsoft.com/office/drawing/2014/main" id="{A0BD794F-F184-C6E5-3D86-D0FC8560EF9A}"/>
                  </a:ext>
                </a:extLst>
              </p:cNvPr>
              <p:cNvGrpSpPr/>
              <p:nvPr/>
            </p:nvGrpSpPr>
            <p:grpSpPr>
              <a:xfrm>
                <a:off x="3486150" y="2509837"/>
                <a:ext cx="75723" cy="75723"/>
                <a:chOff x="3486150" y="2509837"/>
                <a:chExt cx="75723" cy="75723"/>
              </a:xfrm>
            </p:grpSpPr>
            <p:sp>
              <p:nvSpPr>
                <p:cNvPr id="16194" name="Freeform: Shape 16193">
                  <a:extLst>
                    <a:ext uri="{FF2B5EF4-FFF2-40B4-BE49-F238E27FC236}">
                      <a16:creationId xmlns:a16="http://schemas.microsoft.com/office/drawing/2014/main" id="{CF6460BC-7519-2F4A-63A4-BBFBA7964719}"/>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5" name="Freeform: Shape 16194">
                  <a:extLst>
                    <a:ext uri="{FF2B5EF4-FFF2-40B4-BE49-F238E27FC236}">
                      <a16:creationId xmlns:a16="http://schemas.microsoft.com/office/drawing/2014/main" id="{E8C0B67E-E70A-EFF4-2BE1-97127B2C6A83}"/>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1" name="Graphic 745">
                <a:extLst>
                  <a:ext uri="{FF2B5EF4-FFF2-40B4-BE49-F238E27FC236}">
                    <a16:creationId xmlns:a16="http://schemas.microsoft.com/office/drawing/2014/main" id="{D3A53953-3AC9-F75B-482D-30576B4ADA3D}"/>
                  </a:ext>
                </a:extLst>
              </p:cNvPr>
              <p:cNvGrpSpPr/>
              <p:nvPr/>
            </p:nvGrpSpPr>
            <p:grpSpPr>
              <a:xfrm>
                <a:off x="4306633" y="2894932"/>
                <a:ext cx="75723" cy="75628"/>
                <a:chOff x="4306633" y="2894932"/>
                <a:chExt cx="75723" cy="75628"/>
              </a:xfrm>
            </p:grpSpPr>
            <p:sp>
              <p:nvSpPr>
                <p:cNvPr id="16192" name="Freeform: Shape 16191">
                  <a:extLst>
                    <a:ext uri="{FF2B5EF4-FFF2-40B4-BE49-F238E27FC236}">
                      <a16:creationId xmlns:a16="http://schemas.microsoft.com/office/drawing/2014/main" id="{3A1BE4B8-3844-4868-1229-FE28EAD5654A}"/>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3" name="Freeform: Shape 16192">
                  <a:extLst>
                    <a:ext uri="{FF2B5EF4-FFF2-40B4-BE49-F238E27FC236}">
                      <a16:creationId xmlns:a16="http://schemas.microsoft.com/office/drawing/2014/main" id="{DE126EA3-7018-E8BE-0175-3144E4C481DB}"/>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2" name="Graphic 745">
                <a:extLst>
                  <a:ext uri="{FF2B5EF4-FFF2-40B4-BE49-F238E27FC236}">
                    <a16:creationId xmlns:a16="http://schemas.microsoft.com/office/drawing/2014/main" id="{106A7DDB-4304-0C74-3F32-36EA6D4301AE}"/>
                  </a:ext>
                </a:extLst>
              </p:cNvPr>
              <p:cNvGrpSpPr/>
              <p:nvPr/>
            </p:nvGrpSpPr>
            <p:grpSpPr>
              <a:xfrm>
                <a:off x="4312634" y="2905410"/>
                <a:ext cx="75628" cy="75723"/>
                <a:chOff x="4312634" y="2905410"/>
                <a:chExt cx="75628" cy="75723"/>
              </a:xfrm>
            </p:grpSpPr>
            <p:sp>
              <p:nvSpPr>
                <p:cNvPr id="16190" name="Freeform: Shape 16189">
                  <a:extLst>
                    <a:ext uri="{FF2B5EF4-FFF2-40B4-BE49-F238E27FC236}">
                      <a16:creationId xmlns:a16="http://schemas.microsoft.com/office/drawing/2014/main" id="{A1CF0D73-C961-C7A3-1D15-9676E1397EFF}"/>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1" name="Freeform: Shape 16190">
                  <a:extLst>
                    <a:ext uri="{FF2B5EF4-FFF2-40B4-BE49-F238E27FC236}">
                      <a16:creationId xmlns:a16="http://schemas.microsoft.com/office/drawing/2014/main" id="{D74435D5-D275-2CB7-7391-8E73966955EE}"/>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3" name="Graphic 745">
                <a:extLst>
                  <a:ext uri="{FF2B5EF4-FFF2-40B4-BE49-F238E27FC236}">
                    <a16:creationId xmlns:a16="http://schemas.microsoft.com/office/drawing/2014/main" id="{0653BAC3-90E2-BC45-C225-A1D7AF6FC893}"/>
                  </a:ext>
                </a:extLst>
              </p:cNvPr>
              <p:cNvGrpSpPr/>
              <p:nvPr/>
            </p:nvGrpSpPr>
            <p:grpSpPr>
              <a:xfrm>
                <a:off x="4321111" y="2915602"/>
                <a:ext cx="75723" cy="75628"/>
                <a:chOff x="4321111" y="2915602"/>
                <a:chExt cx="75723" cy="75628"/>
              </a:xfrm>
            </p:grpSpPr>
            <p:sp>
              <p:nvSpPr>
                <p:cNvPr id="16188" name="Freeform: Shape 16187">
                  <a:extLst>
                    <a:ext uri="{FF2B5EF4-FFF2-40B4-BE49-F238E27FC236}">
                      <a16:creationId xmlns:a16="http://schemas.microsoft.com/office/drawing/2014/main" id="{EB914F6F-E65D-E78A-8D98-3035F297E4DA}"/>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9" name="Freeform: Shape 16188">
                  <a:extLst>
                    <a:ext uri="{FF2B5EF4-FFF2-40B4-BE49-F238E27FC236}">
                      <a16:creationId xmlns:a16="http://schemas.microsoft.com/office/drawing/2014/main" id="{1AB98AF7-4F5A-F14C-C75C-1F91A1740FC3}"/>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4" name="Graphic 745">
                <a:extLst>
                  <a:ext uri="{FF2B5EF4-FFF2-40B4-BE49-F238E27FC236}">
                    <a16:creationId xmlns:a16="http://schemas.microsoft.com/office/drawing/2014/main" id="{00561C83-6AFF-56D0-1EA9-BE1A18D54863}"/>
                  </a:ext>
                </a:extLst>
              </p:cNvPr>
              <p:cNvGrpSpPr/>
              <p:nvPr/>
            </p:nvGrpSpPr>
            <p:grpSpPr>
              <a:xfrm>
                <a:off x="4334256" y="2915602"/>
                <a:ext cx="75628" cy="75628"/>
                <a:chOff x="4334256" y="2915602"/>
                <a:chExt cx="75628" cy="75628"/>
              </a:xfrm>
            </p:grpSpPr>
            <p:sp>
              <p:nvSpPr>
                <p:cNvPr id="16186" name="Freeform: Shape 16185">
                  <a:extLst>
                    <a:ext uri="{FF2B5EF4-FFF2-40B4-BE49-F238E27FC236}">
                      <a16:creationId xmlns:a16="http://schemas.microsoft.com/office/drawing/2014/main" id="{3D5B40C1-9D24-0372-7247-2B3B78D3C14E}"/>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7" name="Freeform: Shape 16186">
                  <a:extLst>
                    <a:ext uri="{FF2B5EF4-FFF2-40B4-BE49-F238E27FC236}">
                      <a16:creationId xmlns:a16="http://schemas.microsoft.com/office/drawing/2014/main" id="{479AA9B3-35A4-D4BB-5895-986F4DC12665}"/>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5" name="Graphic 745">
                <a:extLst>
                  <a:ext uri="{FF2B5EF4-FFF2-40B4-BE49-F238E27FC236}">
                    <a16:creationId xmlns:a16="http://schemas.microsoft.com/office/drawing/2014/main" id="{54C2BD9B-D432-7372-2017-8ABB50D3C3B8}"/>
                  </a:ext>
                </a:extLst>
              </p:cNvPr>
              <p:cNvGrpSpPr/>
              <p:nvPr/>
            </p:nvGrpSpPr>
            <p:grpSpPr>
              <a:xfrm>
                <a:off x="4344543" y="2966656"/>
                <a:ext cx="75628" cy="75628"/>
                <a:chOff x="4344543" y="2966656"/>
                <a:chExt cx="75628" cy="75628"/>
              </a:xfrm>
            </p:grpSpPr>
            <p:sp>
              <p:nvSpPr>
                <p:cNvPr id="16184" name="Freeform: Shape 16183">
                  <a:extLst>
                    <a:ext uri="{FF2B5EF4-FFF2-40B4-BE49-F238E27FC236}">
                      <a16:creationId xmlns:a16="http://schemas.microsoft.com/office/drawing/2014/main" id="{8B287ECF-3C7C-631C-8089-BADE9F58DF83}"/>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5" name="Freeform: Shape 16184">
                  <a:extLst>
                    <a:ext uri="{FF2B5EF4-FFF2-40B4-BE49-F238E27FC236}">
                      <a16:creationId xmlns:a16="http://schemas.microsoft.com/office/drawing/2014/main" id="{1932BD23-D030-8C7B-B41D-5EA2683E278A}"/>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6" name="Graphic 745">
                <a:extLst>
                  <a:ext uri="{FF2B5EF4-FFF2-40B4-BE49-F238E27FC236}">
                    <a16:creationId xmlns:a16="http://schemas.microsoft.com/office/drawing/2014/main" id="{167277ED-5A30-BC48-7E9A-35D0BB98A54A}"/>
                  </a:ext>
                </a:extLst>
              </p:cNvPr>
              <p:cNvGrpSpPr/>
              <p:nvPr/>
            </p:nvGrpSpPr>
            <p:grpSpPr>
              <a:xfrm>
                <a:off x="4344543" y="2981134"/>
                <a:ext cx="75628" cy="75723"/>
                <a:chOff x="4344543" y="2981134"/>
                <a:chExt cx="75628" cy="75723"/>
              </a:xfrm>
            </p:grpSpPr>
            <p:sp>
              <p:nvSpPr>
                <p:cNvPr id="16182" name="Freeform: Shape 16181">
                  <a:extLst>
                    <a:ext uri="{FF2B5EF4-FFF2-40B4-BE49-F238E27FC236}">
                      <a16:creationId xmlns:a16="http://schemas.microsoft.com/office/drawing/2014/main" id="{2662A1C7-8D60-7F24-1D0A-FAB0928683BB}"/>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3" name="Freeform: Shape 16182">
                  <a:extLst>
                    <a:ext uri="{FF2B5EF4-FFF2-40B4-BE49-F238E27FC236}">
                      <a16:creationId xmlns:a16="http://schemas.microsoft.com/office/drawing/2014/main" id="{3668E989-80D0-C86F-1FF7-B43D193EB66C}"/>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7" name="Graphic 745">
                <a:extLst>
                  <a:ext uri="{FF2B5EF4-FFF2-40B4-BE49-F238E27FC236}">
                    <a16:creationId xmlns:a16="http://schemas.microsoft.com/office/drawing/2014/main" id="{454F51DA-6665-D87F-CD86-ABB8A3994A10}"/>
                  </a:ext>
                </a:extLst>
              </p:cNvPr>
              <p:cNvGrpSpPr/>
              <p:nvPr/>
            </p:nvGrpSpPr>
            <p:grpSpPr>
              <a:xfrm>
                <a:off x="4350448" y="3006375"/>
                <a:ext cx="75723" cy="75723"/>
                <a:chOff x="4350448" y="3006375"/>
                <a:chExt cx="75723" cy="75723"/>
              </a:xfrm>
            </p:grpSpPr>
            <p:sp>
              <p:nvSpPr>
                <p:cNvPr id="16180" name="Freeform: Shape 16179">
                  <a:extLst>
                    <a:ext uri="{FF2B5EF4-FFF2-40B4-BE49-F238E27FC236}">
                      <a16:creationId xmlns:a16="http://schemas.microsoft.com/office/drawing/2014/main" id="{F9B55CF1-CFB7-06B9-BF22-C40CD3129A9F}"/>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1" name="Freeform: Shape 16180">
                  <a:extLst>
                    <a:ext uri="{FF2B5EF4-FFF2-40B4-BE49-F238E27FC236}">
                      <a16:creationId xmlns:a16="http://schemas.microsoft.com/office/drawing/2014/main" id="{0041D6B0-3272-B10F-45FF-5D4C102C7279}"/>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8" name="Graphic 745">
                <a:extLst>
                  <a:ext uri="{FF2B5EF4-FFF2-40B4-BE49-F238E27FC236}">
                    <a16:creationId xmlns:a16="http://schemas.microsoft.com/office/drawing/2014/main" id="{39225EE3-3F9F-FA35-0C27-ECADBD5F01B8}"/>
                  </a:ext>
                </a:extLst>
              </p:cNvPr>
              <p:cNvGrpSpPr/>
              <p:nvPr/>
            </p:nvGrpSpPr>
            <p:grpSpPr>
              <a:xfrm>
                <a:off x="4727829" y="3184397"/>
                <a:ext cx="75628" cy="75723"/>
                <a:chOff x="4727829" y="3184397"/>
                <a:chExt cx="75628" cy="75723"/>
              </a:xfrm>
            </p:grpSpPr>
            <p:sp>
              <p:nvSpPr>
                <p:cNvPr id="16178" name="Freeform: Shape 16177">
                  <a:extLst>
                    <a:ext uri="{FF2B5EF4-FFF2-40B4-BE49-F238E27FC236}">
                      <a16:creationId xmlns:a16="http://schemas.microsoft.com/office/drawing/2014/main" id="{E230A367-F1C7-C705-17A9-A2CA5BB291B6}"/>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9" name="Freeform: Shape 16178">
                  <a:extLst>
                    <a:ext uri="{FF2B5EF4-FFF2-40B4-BE49-F238E27FC236}">
                      <a16:creationId xmlns:a16="http://schemas.microsoft.com/office/drawing/2014/main" id="{2CFD7BA6-342D-19D3-7F42-492F1127CA9E}"/>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9" name="Graphic 745">
                <a:extLst>
                  <a:ext uri="{FF2B5EF4-FFF2-40B4-BE49-F238E27FC236}">
                    <a16:creationId xmlns:a16="http://schemas.microsoft.com/office/drawing/2014/main" id="{7EB8DA7B-EF0D-5988-7C8C-870DBA6D1F6D}"/>
                  </a:ext>
                </a:extLst>
              </p:cNvPr>
              <p:cNvGrpSpPr/>
              <p:nvPr/>
            </p:nvGrpSpPr>
            <p:grpSpPr>
              <a:xfrm>
                <a:off x="4736973" y="3189350"/>
                <a:ext cx="75723" cy="75628"/>
                <a:chOff x="4736973" y="3189350"/>
                <a:chExt cx="75723" cy="75628"/>
              </a:xfrm>
            </p:grpSpPr>
            <p:sp>
              <p:nvSpPr>
                <p:cNvPr id="16176" name="Freeform: Shape 16175">
                  <a:extLst>
                    <a:ext uri="{FF2B5EF4-FFF2-40B4-BE49-F238E27FC236}">
                      <a16:creationId xmlns:a16="http://schemas.microsoft.com/office/drawing/2014/main" id="{89BDE13F-1A36-C066-D955-AEB118F08C80}"/>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7" name="Freeform: Shape 16176">
                  <a:extLst>
                    <a:ext uri="{FF2B5EF4-FFF2-40B4-BE49-F238E27FC236}">
                      <a16:creationId xmlns:a16="http://schemas.microsoft.com/office/drawing/2014/main" id="{2F4E2A15-779A-93C6-B9BE-B95E5A38A086}"/>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0" name="Graphic 745">
                <a:extLst>
                  <a:ext uri="{FF2B5EF4-FFF2-40B4-BE49-F238E27FC236}">
                    <a16:creationId xmlns:a16="http://schemas.microsoft.com/office/drawing/2014/main" id="{F13FB542-941F-ECE3-57C2-2AF487A31A6A}"/>
                  </a:ext>
                </a:extLst>
              </p:cNvPr>
              <p:cNvGrpSpPr/>
              <p:nvPr/>
            </p:nvGrpSpPr>
            <p:grpSpPr>
              <a:xfrm>
                <a:off x="4749165" y="3206305"/>
                <a:ext cx="75628" cy="75723"/>
                <a:chOff x="4749165" y="3206305"/>
                <a:chExt cx="75628" cy="75723"/>
              </a:xfrm>
            </p:grpSpPr>
            <p:sp>
              <p:nvSpPr>
                <p:cNvPr id="16174" name="Freeform: Shape 16173">
                  <a:extLst>
                    <a:ext uri="{FF2B5EF4-FFF2-40B4-BE49-F238E27FC236}">
                      <a16:creationId xmlns:a16="http://schemas.microsoft.com/office/drawing/2014/main" id="{94C03F7D-DDDE-8AEA-BF97-8B42CDA58D15}"/>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5" name="Freeform: Shape 16174">
                  <a:extLst>
                    <a:ext uri="{FF2B5EF4-FFF2-40B4-BE49-F238E27FC236}">
                      <a16:creationId xmlns:a16="http://schemas.microsoft.com/office/drawing/2014/main" id="{9443A1B6-4915-2C63-D6F4-57FA8D2040DD}"/>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1" name="Graphic 745">
                <a:extLst>
                  <a:ext uri="{FF2B5EF4-FFF2-40B4-BE49-F238E27FC236}">
                    <a16:creationId xmlns:a16="http://schemas.microsoft.com/office/drawing/2014/main" id="{ED55D428-2757-8B8D-3273-A4CF1D1C27EE}"/>
                  </a:ext>
                </a:extLst>
              </p:cNvPr>
              <p:cNvGrpSpPr/>
              <p:nvPr/>
            </p:nvGrpSpPr>
            <p:grpSpPr>
              <a:xfrm>
                <a:off x="4756308" y="3216496"/>
                <a:ext cx="75723" cy="75628"/>
                <a:chOff x="4756308" y="3216496"/>
                <a:chExt cx="75723" cy="75628"/>
              </a:xfrm>
            </p:grpSpPr>
            <p:sp>
              <p:nvSpPr>
                <p:cNvPr id="16172" name="Freeform: Shape 16171">
                  <a:extLst>
                    <a:ext uri="{FF2B5EF4-FFF2-40B4-BE49-F238E27FC236}">
                      <a16:creationId xmlns:a16="http://schemas.microsoft.com/office/drawing/2014/main" id="{5A149D11-774C-3ECF-DFEC-DCE4C12D973A}"/>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3" name="Freeform: Shape 16172">
                  <a:extLst>
                    <a:ext uri="{FF2B5EF4-FFF2-40B4-BE49-F238E27FC236}">
                      <a16:creationId xmlns:a16="http://schemas.microsoft.com/office/drawing/2014/main" id="{48E4150A-C19F-810B-1407-C840DCCC8F4B}"/>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2" name="Graphic 745">
                <a:extLst>
                  <a:ext uri="{FF2B5EF4-FFF2-40B4-BE49-F238E27FC236}">
                    <a16:creationId xmlns:a16="http://schemas.microsoft.com/office/drawing/2014/main" id="{3DD80B98-E8C2-A03D-DE55-AFEE2D8FC661}"/>
                  </a:ext>
                </a:extLst>
              </p:cNvPr>
              <p:cNvGrpSpPr/>
              <p:nvPr/>
            </p:nvGrpSpPr>
            <p:grpSpPr>
              <a:xfrm>
                <a:off x="4758880" y="3238785"/>
                <a:ext cx="75628" cy="75628"/>
                <a:chOff x="4758880" y="3238785"/>
                <a:chExt cx="75628" cy="75628"/>
              </a:xfrm>
            </p:grpSpPr>
            <p:sp>
              <p:nvSpPr>
                <p:cNvPr id="16170" name="Freeform: Shape 16169">
                  <a:extLst>
                    <a:ext uri="{FF2B5EF4-FFF2-40B4-BE49-F238E27FC236}">
                      <a16:creationId xmlns:a16="http://schemas.microsoft.com/office/drawing/2014/main" id="{FE04B003-C868-FF3B-E3C6-6805B04EAC03}"/>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1" name="Freeform: Shape 16170">
                  <a:extLst>
                    <a:ext uri="{FF2B5EF4-FFF2-40B4-BE49-F238E27FC236}">
                      <a16:creationId xmlns:a16="http://schemas.microsoft.com/office/drawing/2014/main" id="{079D590E-6D8B-CBE2-E3BB-A6F003D8B10C}"/>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3" name="Graphic 745">
                <a:extLst>
                  <a:ext uri="{FF2B5EF4-FFF2-40B4-BE49-F238E27FC236}">
                    <a16:creationId xmlns:a16="http://schemas.microsoft.com/office/drawing/2014/main" id="{71C8B8F1-1904-1CC4-DE5B-FF534D773A88}"/>
                  </a:ext>
                </a:extLst>
              </p:cNvPr>
              <p:cNvGrpSpPr/>
              <p:nvPr/>
            </p:nvGrpSpPr>
            <p:grpSpPr>
              <a:xfrm>
                <a:off x="4765643" y="3249548"/>
                <a:ext cx="75723" cy="75723"/>
                <a:chOff x="4765643" y="3249548"/>
                <a:chExt cx="75723" cy="75723"/>
              </a:xfrm>
            </p:grpSpPr>
            <p:sp>
              <p:nvSpPr>
                <p:cNvPr id="16168" name="Freeform: Shape 16167">
                  <a:extLst>
                    <a:ext uri="{FF2B5EF4-FFF2-40B4-BE49-F238E27FC236}">
                      <a16:creationId xmlns:a16="http://schemas.microsoft.com/office/drawing/2014/main" id="{A5E56897-6180-0501-37CB-BFBE6799D5D4}"/>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9" name="Freeform: Shape 16168">
                  <a:extLst>
                    <a:ext uri="{FF2B5EF4-FFF2-40B4-BE49-F238E27FC236}">
                      <a16:creationId xmlns:a16="http://schemas.microsoft.com/office/drawing/2014/main" id="{6EA968C6-9021-5363-3166-FB9F991D41B2}"/>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4" name="Graphic 745">
                <a:extLst>
                  <a:ext uri="{FF2B5EF4-FFF2-40B4-BE49-F238E27FC236}">
                    <a16:creationId xmlns:a16="http://schemas.microsoft.com/office/drawing/2014/main" id="{492C2C67-DD24-D4D7-765C-AD196E8E404F}"/>
                  </a:ext>
                </a:extLst>
              </p:cNvPr>
              <p:cNvGrpSpPr/>
              <p:nvPr/>
            </p:nvGrpSpPr>
            <p:grpSpPr>
              <a:xfrm>
                <a:off x="4768881" y="3267169"/>
                <a:ext cx="75723" cy="75628"/>
                <a:chOff x="4768881" y="3267169"/>
                <a:chExt cx="75723" cy="75628"/>
              </a:xfrm>
            </p:grpSpPr>
            <p:sp>
              <p:nvSpPr>
                <p:cNvPr id="16166" name="Freeform: Shape 16165">
                  <a:extLst>
                    <a:ext uri="{FF2B5EF4-FFF2-40B4-BE49-F238E27FC236}">
                      <a16:creationId xmlns:a16="http://schemas.microsoft.com/office/drawing/2014/main" id="{AF591464-0152-2AD0-E34E-6B9E675915F3}"/>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7" name="Freeform: Shape 16166">
                  <a:extLst>
                    <a:ext uri="{FF2B5EF4-FFF2-40B4-BE49-F238E27FC236}">
                      <a16:creationId xmlns:a16="http://schemas.microsoft.com/office/drawing/2014/main" id="{95E63CEA-ADE9-BE83-3F43-1F135B13415D}"/>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5" name="Graphic 745">
                <a:extLst>
                  <a:ext uri="{FF2B5EF4-FFF2-40B4-BE49-F238E27FC236}">
                    <a16:creationId xmlns:a16="http://schemas.microsoft.com/office/drawing/2014/main" id="{7E5D8C0E-427B-5171-032D-16B7D352967E}"/>
                  </a:ext>
                </a:extLst>
              </p:cNvPr>
              <p:cNvGrpSpPr/>
              <p:nvPr/>
            </p:nvGrpSpPr>
            <p:grpSpPr>
              <a:xfrm>
                <a:off x="4771739" y="3287458"/>
                <a:ext cx="75628" cy="75723"/>
                <a:chOff x="4771739" y="3287458"/>
                <a:chExt cx="75628" cy="75723"/>
              </a:xfrm>
            </p:grpSpPr>
            <p:sp>
              <p:nvSpPr>
                <p:cNvPr id="16164" name="Freeform: Shape 16163">
                  <a:extLst>
                    <a:ext uri="{FF2B5EF4-FFF2-40B4-BE49-F238E27FC236}">
                      <a16:creationId xmlns:a16="http://schemas.microsoft.com/office/drawing/2014/main" id="{2158598E-A1B8-51FE-A7D3-D45054C92691}"/>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5" name="Freeform: Shape 16164">
                  <a:extLst>
                    <a:ext uri="{FF2B5EF4-FFF2-40B4-BE49-F238E27FC236}">
                      <a16:creationId xmlns:a16="http://schemas.microsoft.com/office/drawing/2014/main" id="{FFD6DF2A-96A4-CD87-6DC5-11A0ACE5132D}"/>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6" name="Graphic 745">
                <a:extLst>
                  <a:ext uri="{FF2B5EF4-FFF2-40B4-BE49-F238E27FC236}">
                    <a16:creationId xmlns:a16="http://schemas.microsoft.com/office/drawing/2014/main" id="{E8082311-F41F-A2BE-9980-43325FAE21DD}"/>
                  </a:ext>
                </a:extLst>
              </p:cNvPr>
              <p:cNvGrpSpPr/>
              <p:nvPr/>
            </p:nvGrpSpPr>
            <p:grpSpPr>
              <a:xfrm>
                <a:off x="4771739" y="3299935"/>
                <a:ext cx="75628" cy="75723"/>
                <a:chOff x="4771739" y="3299935"/>
                <a:chExt cx="75628" cy="75723"/>
              </a:xfrm>
            </p:grpSpPr>
            <p:sp>
              <p:nvSpPr>
                <p:cNvPr id="16162" name="Freeform: Shape 16161">
                  <a:extLst>
                    <a:ext uri="{FF2B5EF4-FFF2-40B4-BE49-F238E27FC236}">
                      <a16:creationId xmlns:a16="http://schemas.microsoft.com/office/drawing/2014/main" id="{3C619651-6B72-4101-9B97-F783E9CC55D8}"/>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3" name="Freeform: Shape 16162">
                  <a:extLst>
                    <a:ext uri="{FF2B5EF4-FFF2-40B4-BE49-F238E27FC236}">
                      <a16:creationId xmlns:a16="http://schemas.microsoft.com/office/drawing/2014/main" id="{FD64A85F-3D7E-5BAF-1277-E7F94F3A11DA}"/>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7" name="Graphic 745">
                <a:extLst>
                  <a:ext uri="{FF2B5EF4-FFF2-40B4-BE49-F238E27FC236}">
                    <a16:creationId xmlns:a16="http://schemas.microsoft.com/office/drawing/2014/main" id="{630675E3-42D7-491C-2C5F-7BF4B3296C59}"/>
                  </a:ext>
                </a:extLst>
              </p:cNvPr>
              <p:cNvGrpSpPr/>
              <p:nvPr/>
            </p:nvGrpSpPr>
            <p:grpSpPr>
              <a:xfrm>
                <a:off x="4771739" y="3310127"/>
                <a:ext cx="75628" cy="75628"/>
                <a:chOff x="4771739" y="3310127"/>
                <a:chExt cx="75628" cy="75628"/>
              </a:xfrm>
            </p:grpSpPr>
            <p:sp>
              <p:nvSpPr>
                <p:cNvPr id="16160" name="Freeform: Shape 16159">
                  <a:extLst>
                    <a:ext uri="{FF2B5EF4-FFF2-40B4-BE49-F238E27FC236}">
                      <a16:creationId xmlns:a16="http://schemas.microsoft.com/office/drawing/2014/main" id="{CCBFE428-2BC1-C09A-8290-36C3C04EC966}"/>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1" name="Freeform: Shape 16160">
                  <a:extLst>
                    <a:ext uri="{FF2B5EF4-FFF2-40B4-BE49-F238E27FC236}">
                      <a16:creationId xmlns:a16="http://schemas.microsoft.com/office/drawing/2014/main" id="{B3AD39C6-7DCB-09A7-72AF-93FB31DD6678}"/>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8" name="Graphic 745">
                <a:extLst>
                  <a:ext uri="{FF2B5EF4-FFF2-40B4-BE49-F238E27FC236}">
                    <a16:creationId xmlns:a16="http://schemas.microsoft.com/office/drawing/2014/main" id="{957C1DB8-B906-CDC1-0868-B3F8FB5EFDD0}"/>
                  </a:ext>
                </a:extLst>
              </p:cNvPr>
              <p:cNvGrpSpPr/>
              <p:nvPr/>
            </p:nvGrpSpPr>
            <p:grpSpPr>
              <a:xfrm>
                <a:off x="4778502" y="3316604"/>
                <a:ext cx="75723" cy="75628"/>
                <a:chOff x="4778502" y="3316604"/>
                <a:chExt cx="75723" cy="75628"/>
              </a:xfrm>
            </p:grpSpPr>
            <p:sp>
              <p:nvSpPr>
                <p:cNvPr id="16158" name="Freeform: Shape 16157">
                  <a:extLst>
                    <a:ext uri="{FF2B5EF4-FFF2-40B4-BE49-F238E27FC236}">
                      <a16:creationId xmlns:a16="http://schemas.microsoft.com/office/drawing/2014/main" id="{EF5C6041-80BF-61BE-BDFC-3B5C1CDDA102}"/>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9" name="Freeform: Shape 16158">
                  <a:extLst>
                    <a:ext uri="{FF2B5EF4-FFF2-40B4-BE49-F238E27FC236}">
                      <a16:creationId xmlns:a16="http://schemas.microsoft.com/office/drawing/2014/main" id="{60E50FDF-8882-FAAD-2842-089356466A70}"/>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9" name="Graphic 745">
                <a:extLst>
                  <a:ext uri="{FF2B5EF4-FFF2-40B4-BE49-F238E27FC236}">
                    <a16:creationId xmlns:a16="http://schemas.microsoft.com/office/drawing/2014/main" id="{F86630CD-B1E4-C053-EDA2-8B98835EA503}"/>
                  </a:ext>
                </a:extLst>
              </p:cNvPr>
              <p:cNvGrpSpPr/>
              <p:nvPr/>
            </p:nvGrpSpPr>
            <p:grpSpPr>
              <a:xfrm>
                <a:off x="5163883" y="3466528"/>
                <a:ext cx="75723" cy="75723"/>
                <a:chOff x="5163883" y="3466528"/>
                <a:chExt cx="75723" cy="75723"/>
              </a:xfrm>
            </p:grpSpPr>
            <p:sp>
              <p:nvSpPr>
                <p:cNvPr id="16156" name="Freeform: Shape 16155">
                  <a:extLst>
                    <a:ext uri="{FF2B5EF4-FFF2-40B4-BE49-F238E27FC236}">
                      <a16:creationId xmlns:a16="http://schemas.microsoft.com/office/drawing/2014/main" id="{509B10F4-3DAB-854D-E0D9-3671EDB0A154}"/>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7" name="Freeform: Shape 16156">
                  <a:extLst>
                    <a:ext uri="{FF2B5EF4-FFF2-40B4-BE49-F238E27FC236}">
                      <a16:creationId xmlns:a16="http://schemas.microsoft.com/office/drawing/2014/main" id="{29F84DD3-07A5-59F3-9170-334B5A00E4C9}"/>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0" name="Graphic 745">
                <a:extLst>
                  <a:ext uri="{FF2B5EF4-FFF2-40B4-BE49-F238E27FC236}">
                    <a16:creationId xmlns:a16="http://schemas.microsoft.com/office/drawing/2014/main" id="{7DF3025C-6B69-C630-E459-02AAA1938F8C}"/>
                  </a:ext>
                </a:extLst>
              </p:cNvPr>
              <p:cNvGrpSpPr/>
              <p:nvPr/>
            </p:nvGrpSpPr>
            <p:grpSpPr>
              <a:xfrm>
                <a:off x="5180171" y="3471385"/>
                <a:ext cx="75628" cy="75723"/>
                <a:chOff x="5180171" y="3471385"/>
                <a:chExt cx="75628" cy="75723"/>
              </a:xfrm>
            </p:grpSpPr>
            <p:sp>
              <p:nvSpPr>
                <p:cNvPr id="16154" name="Freeform: Shape 16153">
                  <a:extLst>
                    <a:ext uri="{FF2B5EF4-FFF2-40B4-BE49-F238E27FC236}">
                      <a16:creationId xmlns:a16="http://schemas.microsoft.com/office/drawing/2014/main" id="{4C03F599-B8A9-64A8-7486-65980000E1D5}"/>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5" name="Freeform: Shape 16154">
                  <a:extLst>
                    <a:ext uri="{FF2B5EF4-FFF2-40B4-BE49-F238E27FC236}">
                      <a16:creationId xmlns:a16="http://schemas.microsoft.com/office/drawing/2014/main" id="{8BFE381A-07F9-4B7F-1D47-69D4F71945C2}"/>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1" name="Graphic 745">
                <a:extLst>
                  <a:ext uri="{FF2B5EF4-FFF2-40B4-BE49-F238E27FC236}">
                    <a16:creationId xmlns:a16="http://schemas.microsoft.com/office/drawing/2014/main" id="{1FA9F46E-19C6-878A-020E-8638C3D2E4E1}"/>
                  </a:ext>
                </a:extLst>
              </p:cNvPr>
              <p:cNvGrpSpPr/>
              <p:nvPr/>
            </p:nvGrpSpPr>
            <p:grpSpPr>
              <a:xfrm>
                <a:off x="5196554" y="3504342"/>
                <a:ext cx="75723" cy="75723"/>
                <a:chOff x="5196554" y="3504342"/>
                <a:chExt cx="75723" cy="75723"/>
              </a:xfrm>
            </p:grpSpPr>
            <p:sp>
              <p:nvSpPr>
                <p:cNvPr id="16152" name="Freeform: Shape 16151">
                  <a:extLst>
                    <a:ext uri="{FF2B5EF4-FFF2-40B4-BE49-F238E27FC236}">
                      <a16:creationId xmlns:a16="http://schemas.microsoft.com/office/drawing/2014/main" id="{B06D8910-61DD-9B24-DECD-34C97B57F1DB}"/>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3" name="Freeform: Shape 16152">
                  <a:extLst>
                    <a:ext uri="{FF2B5EF4-FFF2-40B4-BE49-F238E27FC236}">
                      <a16:creationId xmlns:a16="http://schemas.microsoft.com/office/drawing/2014/main" id="{2B0327C7-C0AB-8CC4-86B4-88FB98DB2EFA}"/>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2" name="Graphic 745">
                <a:extLst>
                  <a:ext uri="{FF2B5EF4-FFF2-40B4-BE49-F238E27FC236}">
                    <a16:creationId xmlns:a16="http://schemas.microsoft.com/office/drawing/2014/main" id="{985AA35F-91C8-396A-C1C3-07C773202471}"/>
                  </a:ext>
                </a:extLst>
              </p:cNvPr>
              <p:cNvGrpSpPr/>
              <p:nvPr/>
            </p:nvGrpSpPr>
            <p:grpSpPr>
              <a:xfrm>
                <a:off x="5196554" y="3535870"/>
                <a:ext cx="75723" cy="75628"/>
                <a:chOff x="5196554" y="3535870"/>
                <a:chExt cx="75723" cy="75628"/>
              </a:xfrm>
            </p:grpSpPr>
            <p:sp>
              <p:nvSpPr>
                <p:cNvPr id="16150" name="Freeform: Shape 16149">
                  <a:extLst>
                    <a:ext uri="{FF2B5EF4-FFF2-40B4-BE49-F238E27FC236}">
                      <a16:creationId xmlns:a16="http://schemas.microsoft.com/office/drawing/2014/main" id="{BA05C3D7-0F65-8CCA-E1A1-B43ACC3BAF3A}"/>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1" name="Freeform: Shape 16150">
                  <a:extLst>
                    <a:ext uri="{FF2B5EF4-FFF2-40B4-BE49-F238E27FC236}">
                      <a16:creationId xmlns:a16="http://schemas.microsoft.com/office/drawing/2014/main" id="{3B7434B3-82FD-8A37-C299-E91769C1F933}"/>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3" name="Graphic 745">
                <a:extLst>
                  <a:ext uri="{FF2B5EF4-FFF2-40B4-BE49-F238E27FC236}">
                    <a16:creationId xmlns:a16="http://schemas.microsoft.com/office/drawing/2014/main" id="{96DDCA63-9C90-7245-D947-ADC884C1E68D}"/>
                  </a:ext>
                </a:extLst>
              </p:cNvPr>
              <p:cNvGrpSpPr/>
              <p:nvPr/>
            </p:nvGrpSpPr>
            <p:grpSpPr>
              <a:xfrm>
                <a:off x="5201793" y="3560158"/>
                <a:ext cx="75628" cy="75723"/>
                <a:chOff x="5201793" y="3560158"/>
                <a:chExt cx="75628" cy="75723"/>
              </a:xfrm>
            </p:grpSpPr>
            <p:sp>
              <p:nvSpPr>
                <p:cNvPr id="16148" name="Freeform: Shape 16147">
                  <a:extLst>
                    <a:ext uri="{FF2B5EF4-FFF2-40B4-BE49-F238E27FC236}">
                      <a16:creationId xmlns:a16="http://schemas.microsoft.com/office/drawing/2014/main" id="{B6382B9A-3B61-B216-9EAA-1560C58B7350}"/>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9" name="Freeform: Shape 16148">
                  <a:extLst>
                    <a:ext uri="{FF2B5EF4-FFF2-40B4-BE49-F238E27FC236}">
                      <a16:creationId xmlns:a16="http://schemas.microsoft.com/office/drawing/2014/main" id="{AC67B5BE-DAE8-E0D4-00C9-CBB108AA29D6}"/>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4" name="Graphic 745">
                <a:extLst>
                  <a:ext uri="{FF2B5EF4-FFF2-40B4-BE49-F238E27FC236}">
                    <a16:creationId xmlns:a16="http://schemas.microsoft.com/office/drawing/2014/main" id="{45573A87-6859-147E-A69D-AF15AF2494D2}"/>
                  </a:ext>
                </a:extLst>
              </p:cNvPr>
              <p:cNvGrpSpPr/>
              <p:nvPr/>
            </p:nvGrpSpPr>
            <p:grpSpPr>
              <a:xfrm>
                <a:off x="5204174" y="3580066"/>
                <a:ext cx="75723" cy="75723"/>
                <a:chOff x="5204174" y="3580066"/>
                <a:chExt cx="75723" cy="75723"/>
              </a:xfrm>
            </p:grpSpPr>
            <p:sp>
              <p:nvSpPr>
                <p:cNvPr id="16146" name="Freeform: Shape 16145">
                  <a:extLst>
                    <a:ext uri="{FF2B5EF4-FFF2-40B4-BE49-F238E27FC236}">
                      <a16:creationId xmlns:a16="http://schemas.microsoft.com/office/drawing/2014/main" id="{B9E0AA3A-1E17-96AF-CDB9-22EA479EAA08}"/>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7" name="Freeform: Shape 16146">
                  <a:extLst>
                    <a:ext uri="{FF2B5EF4-FFF2-40B4-BE49-F238E27FC236}">
                      <a16:creationId xmlns:a16="http://schemas.microsoft.com/office/drawing/2014/main" id="{5B5B0742-3470-3BA0-10EE-742ACB01320D}"/>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5" name="Graphic 745">
                <a:extLst>
                  <a:ext uri="{FF2B5EF4-FFF2-40B4-BE49-F238E27FC236}">
                    <a16:creationId xmlns:a16="http://schemas.microsoft.com/office/drawing/2014/main" id="{D6676008-7D9C-C2D3-B832-ED0EF65A279A}"/>
                  </a:ext>
                </a:extLst>
              </p:cNvPr>
              <p:cNvGrpSpPr/>
              <p:nvPr/>
            </p:nvGrpSpPr>
            <p:grpSpPr>
              <a:xfrm>
                <a:off x="5217985" y="3580066"/>
                <a:ext cx="75723" cy="75723"/>
                <a:chOff x="5217985" y="3580066"/>
                <a:chExt cx="75723" cy="75723"/>
              </a:xfrm>
            </p:grpSpPr>
            <p:sp>
              <p:nvSpPr>
                <p:cNvPr id="16144" name="Freeform: Shape 16143">
                  <a:extLst>
                    <a:ext uri="{FF2B5EF4-FFF2-40B4-BE49-F238E27FC236}">
                      <a16:creationId xmlns:a16="http://schemas.microsoft.com/office/drawing/2014/main" id="{CCE9E7F3-E14B-8505-69CB-7AA042794544}"/>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5" name="Freeform: Shape 16144">
                  <a:extLst>
                    <a:ext uri="{FF2B5EF4-FFF2-40B4-BE49-F238E27FC236}">
                      <a16:creationId xmlns:a16="http://schemas.microsoft.com/office/drawing/2014/main" id="{2E6FAD25-9736-248E-811C-22BB2F14C60B}"/>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6" name="Graphic 745">
                <a:extLst>
                  <a:ext uri="{FF2B5EF4-FFF2-40B4-BE49-F238E27FC236}">
                    <a16:creationId xmlns:a16="http://schemas.microsoft.com/office/drawing/2014/main" id="{03AC65BA-01C8-1613-80E4-E9932AB3828E}"/>
                  </a:ext>
                </a:extLst>
              </p:cNvPr>
              <p:cNvGrpSpPr/>
              <p:nvPr/>
            </p:nvGrpSpPr>
            <p:grpSpPr>
              <a:xfrm>
                <a:off x="5196554" y="3517772"/>
                <a:ext cx="75723" cy="75723"/>
                <a:chOff x="5196554" y="3517772"/>
                <a:chExt cx="75723" cy="75723"/>
              </a:xfrm>
            </p:grpSpPr>
            <p:sp>
              <p:nvSpPr>
                <p:cNvPr id="16142" name="Freeform: Shape 16141">
                  <a:extLst>
                    <a:ext uri="{FF2B5EF4-FFF2-40B4-BE49-F238E27FC236}">
                      <a16:creationId xmlns:a16="http://schemas.microsoft.com/office/drawing/2014/main" id="{2010C9E9-E0E2-4A10-20CC-071ACD8A1AB3}"/>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3" name="Freeform: Shape 16142">
                  <a:extLst>
                    <a:ext uri="{FF2B5EF4-FFF2-40B4-BE49-F238E27FC236}">
                      <a16:creationId xmlns:a16="http://schemas.microsoft.com/office/drawing/2014/main" id="{3462AC00-854C-82F1-749B-EDEDCE661DAE}"/>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7" name="Graphic 745">
                <a:extLst>
                  <a:ext uri="{FF2B5EF4-FFF2-40B4-BE49-F238E27FC236}">
                    <a16:creationId xmlns:a16="http://schemas.microsoft.com/office/drawing/2014/main" id="{AD1DCAB4-AE3F-0B2C-F77B-7C8F5943517B}"/>
                  </a:ext>
                </a:extLst>
              </p:cNvPr>
              <p:cNvGrpSpPr/>
              <p:nvPr/>
            </p:nvGrpSpPr>
            <p:grpSpPr>
              <a:xfrm>
                <a:off x="5234463" y="3624643"/>
                <a:ext cx="75628" cy="75628"/>
                <a:chOff x="5234463" y="3624643"/>
                <a:chExt cx="75628" cy="75628"/>
              </a:xfrm>
            </p:grpSpPr>
            <p:sp>
              <p:nvSpPr>
                <p:cNvPr id="16140" name="Freeform: Shape 16139">
                  <a:extLst>
                    <a:ext uri="{FF2B5EF4-FFF2-40B4-BE49-F238E27FC236}">
                      <a16:creationId xmlns:a16="http://schemas.microsoft.com/office/drawing/2014/main" id="{CFF25995-1105-ADF2-5C85-D98869454A40}"/>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1" name="Freeform: Shape 16140">
                  <a:extLst>
                    <a:ext uri="{FF2B5EF4-FFF2-40B4-BE49-F238E27FC236}">
                      <a16:creationId xmlns:a16="http://schemas.microsoft.com/office/drawing/2014/main" id="{B2D63230-DB5F-5319-73CB-FBA79611497A}"/>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8" name="Graphic 745">
                <a:extLst>
                  <a:ext uri="{FF2B5EF4-FFF2-40B4-BE49-F238E27FC236}">
                    <a16:creationId xmlns:a16="http://schemas.microsoft.com/office/drawing/2014/main" id="{53464B93-1485-0535-63E9-69AD02C7AF61}"/>
                  </a:ext>
                </a:extLst>
              </p:cNvPr>
              <p:cNvGrpSpPr/>
              <p:nvPr/>
            </p:nvGrpSpPr>
            <p:grpSpPr>
              <a:xfrm>
                <a:off x="5591079" y="3728751"/>
                <a:ext cx="75723" cy="75723"/>
                <a:chOff x="5591079" y="3728751"/>
                <a:chExt cx="75723" cy="75723"/>
              </a:xfrm>
            </p:grpSpPr>
            <p:sp>
              <p:nvSpPr>
                <p:cNvPr id="16138" name="Freeform: Shape 16137">
                  <a:extLst>
                    <a:ext uri="{FF2B5EF4-FFF2-40B4-BE49-F238E27FC236}">
                      <a16:creationId xmlns:a16="http://schemas.microsoft.com/office/drawing/2014/main" id="{8EA099EA-463E-310D-95C8-6B028BD2BFDB}"/>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9" name="Freeform: Shape 16138">
                  <a:extLst>
                    <a:ext uri="{FF2B5EF4-FFF2-40B4-BE49-F238E27FC236}">
                      <a16:creationId xmlns:a16="http://schemas.microsoft.com/office/drawing/2014/main" id="{41EA5678-41BB-A5B5-4033-C4DCE054E27B}"/>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9" name="Graphic 745">
                <a:extLst>
                  <a:ext uri="{FF2B5EF4-FFF2-40B4-BE49-F238E27FC236}">
                    <a16:creationId xmlns:a16="http://schemas.microsoft.com/office/drawing/2014/main" id="{65C021BD-D7DE-1A58-FD7B-97FBD1D868C2}"/>
                  </a:ext>
                </a:extLst>
              </p:cNvPr>
              <p:cNvGrpSpPr/>
              <p:nvPr/>
            </p:nvGrpSpPr>
            <p:grpSpPr>
              <a:xfrm>
                <a:off x="5602509" y="3737323"/>
                <a:ext cx="75628" cy="75628"/>
                <a:chOff x="5602509" y="3737323"/>
                <a:chExt cx="75628" cy="75628"/>
              </a:xfrm>
            </p:grpSpPr>
            <p:sp>
              <p:nvSpPr>
                <p:cNvPr id="16136" name="Freeform: Shape 16135">
                  <a:extLst>
                    <a:ext uri="{FF2B5EF4-FFF2-40B4-BE49-F238E27FC236}">
                      <a16:creationId xmlns:a16="http://schemas.microsoft.com/office/drawing/2014/main" id="{1474E05A-070E-E834-88E9-0F6AB64006E3}"/>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7" name="Freeform: Shape 16136">
                  <a:extLst>
                    <a:ext uri="{FF2B5EF4-FFF2-40B4-BE49-F238E27FC236}">
                      <a16:creationId xmlns:a16="http://schemas.microsoft.com/office/drawing/2014/main" id="{98A464CB-D494-C9F5-1E56-2E7CF41062EF}"/>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0" name="Graphic 745">
                <a:extLst>
                  <a:ext uri="{FF2B5EF4-FFF2-40B4-BE49-F238E27FC236}">
                    <a16:creationId xmlns:a16="http://schemas.microsoft.com/office/drawing/2014/main" id="{405B4E1C-46B9-C391-279D-132E63F8467F}"/>
                  </a:ext>
                </a:extLst>
              </p:cNvPr>
              <p:cNvGrpSpPr/>
              <p:nvPr/>
            </p:nvGrpSpPr>
            <p:grpSpPr>
              <a:xfrm>
                <a:off x="5615844" y="3747991"/>
                <a:ext cx="75723" cy="75723"/>
                <a:chOff x="5615844" y="3747991"/>
                <a:chExt cx="75723" cy="75723"/>
              </a:xfrm>
            </p:grpSpPr>
            <p:sp>
              <p:nvSpPr>
                <p:cNvPr id="16134" name="Freeform: Shape 16133">
                  <a:extLst>
                    <a:ext uri="{FF2B5EF4-FFF2-40B4-BE49-F238E27FC236}">
                      <a16:creationId xmlns:a16="http://schemas.microsoft.com/office/drawing/2014/main" id="{9295F2DA-F490-8934-A7C4-C67AD55CF50E}"/>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5" name="Freeform: Shape 16134">
                  <a:extLst>
                    <a:ext uri="{FF2B5EF4-FFF2-40B4-BE49-F238E27FC236}">
                      <a16:creationId xmlns:a16="http://schemas.microsoft.com/office/drawing/2014/main" id="{CE667F47-84A3-EAF5-82CE-54DE8519826A}"/>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1" name="Graphic 745">
                <a:extLst>
                  <a:ext uri="{FF2B5EF4-FFF2-40B4-BE49-F238E27FC236}">
                    <a16:creationId xmlns:a16="http://schemas.microsoft.com/office/drawing/2014/main" id="{3D334782-3D64-3B49-E6A1-EAFE70025486}"/>
                  </a:ext>
                </a:extLst>
              </p:cNvPr>
              <p:cNvGrpSpPr/>
              <p:nvPr/>
            </p:nvGrpSpPr>
            <p:grpSpPr>
              <a:xfrm>
                <a:off x="5631275" y="3761803"/>
                <a:ext cx="75628" cy="75628"/>
                <a:chOff x="5631275" y="3761803"/>
                <a:chExt cx="75628" cy="75628"/>
              </a:xfrm>
            </p:grpSpPr>
            <p:sp>
              <p:nvSpPr>
                <p:cNvPr id="16132" name="Freeform: Shape 16131">
                  <a:extLst>
                    <a:ext uri="{FF2B5EF4-FFF2-40B4-BE49-F238E27FC236}">
                      <a16:creationId xmlns:a16="http://schemas.microsoft.com/office/drawing/2014/main" id="{3A0E023A-C59E-541F-938A-5D742C636A3A}"/>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3" name="Freeform: Shape 16132">
                  <a:extLst>
                    <a:ext uri="{FF2B5EF4-FFF2-40B4-BE49-F238E27FC236}">
                      <a16:creationId xmlns:a16="http://schemas.microsoft.com/office/drawing/2014/main" id="{20E498FC-CDEF-F5E9-0B4F-AD59A9BB1C1F}"/>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2" name="Graphic 745">
                <a:extLst>
                  <a:ext uri="{FF2B5EF4-FFF2-40B4-BE49-F238E27FC236}">
                    <a16:creationId xmlns:a16="http://schemas.microsoft.com/office/drawing/2014/main" id="{2410A26D-E5CB-BE82-9A53-531081E7AB75}"/>
                  </a:ext>
                </a:extLst>
              </p:cNvPr>
              <p:cNvGrpSpPr/>
              <p:nvPr/>
            </p:nvGrpSpPr>
            <p:grpSpPr>
              <a:xfrm>
                <a:off x="5642229" y="3780948"/>
                <a:ext cx="75628" cy="75723"/>
                <a:chOff x="5642229" y="3780948"/>
                <a:chExt cx="75628" cy="75723"/>
              </a:xfrm>
            </p:grpSpPr>
            <p:sp>
              <p:nvSpPr>
                <p:cNvPr id="16130" name="Freeform: Shape 16129">
                  <a:extLst>
                    <a:ext uri="{FF2B5EF4-FFF2-40B4-BE49-F238E27FC236}">
                      <a16:creationId xmlns:a16="http://schemas.microsoft.com/office/drawing/2014/main" id="{8C330B29-A1BD-1B36-F4DE-A0F3524D77E2}"/>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1" name="Freeform: Shape 16130">
                  <a:extLst>
                    <a:ext uri="{FF2B5EF4-FFF2-40B4-BE49-F238E27FC236}">
                      <a16:creationId xmlns:a16="http://schemas.microsoft.com/office/drawing/2014/main" id="{0BCC6B32-F63D-DB40-A4A9-27B09E8B0EAA}"/>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3" name="Graphic 745">
                <a:extLst>
                  <a:ext uri="{FF2B5EF4-FFF2-40B4-BE49-F238E27FC236}">
                    <a16:creationId xmlns:a16="http://schemas.microsoft.com/office/drawing/2014/main" id="{A726ADAC-B6C6-07DF-B45B-E788987619A9}"/>
                  </a:ext>
                </a:extLst>
              </p:cNvPr>
              <p:cNvGrpSpPr/>
              <p:nvPr/>
            </p:nvGrpSpPr>
            <p:grpSpPr>
              <a:xfrm>
                <a:off x="5649753" y="3792664"/>
                <a:ext cx="75723" cy="75723"/>
                <a:chOff x="5649753" y="3792664"/>
                <a:chExt cx="75723" cy="75723"/>
              </a:xfrm>
            </p:grpSpPr>
            <p:sp>
              <p:nvSpPr>
                <p:cNvPr id="16128" name="Freeform: Shape 16127">
                  <a:extLst>
                    <a:ext uri="{FF2B5EF4-FFF2-40B4-BE49-F238E27FC236}">
                      <a16:creationId xmlns:a16="http://schemas.microsoft.com/office/drawing/2014/main" id="{11DF868D-2D40-010D-D02D-4CB62663D57A}"/>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9" name="Freeform: Shape 16128">
                  <a:extLst>
                    <a:ext uri="{FF2B5EF4-FFF2-40B4-BE49-F238E27FC236}">
                      <a16:creationId xmlns:a16="http://schemas.microsoft.com/office/drawing/2014/main" id="{E6B7D19F-F241-1A27-3814-0B3BDEC99431}"/>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4" name="Graphic 745">
                <a:extLst>
                  <a:ext uri="{FF2B5EF4-FFF2-40B4-BE49-F238E27FC236}">
                    <a16:creationId xmlns:a16="http://schemas.microsoft.com/office/drawing/2014/main" id="{6AF16027-4E7B-0090-CFC6-1AC963D84B22}"/>
                  </a:ext>
                </a:extLst>
              </p:cNvPr>
              <p:cNvGrpSpPr/>
              <p:nvPr/>
            </p:nvGrpSpPr>
            <p:grpSpPr>
              <a:xfrm>
                <a:off x="5666803" y="3792664"/>
                <a:ext cx="75723" cy="75723"/>
                <a:chOff x="5666803" y="3792664"/>
                <a:chExt cx="75723" cy="75723"/>
              </a:xfrm>
            </p:grpSpPr>
            <p:sp>
              <p:nvSpPr>
                <p:cNvPr id="16126" name="Freeform: Shape 16125">
                  <a:extLst>
                    <a:ext uri="{FF2B5EF4-FFF2-40B4-BE49-F238E27FC236}">
                      <a16:creationId xmlns:a16="http://schemas.microsoft.com/office/drawing/2014/main" id="{50274EBE-A824-9CE0-D30A-C1D01FFCA3BF}"/>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7" name="Freeform: Shape 16126">
                  <a:extLst>
                    <a:ext uri="{FF2B5EF4-FFF2-40B4-BE49-F238E27FC236}">
                      <a16:creationId xmlns:a16="http://schemas.microsoft.com/office/drawing/2014/main" id="{BD40B971-E5AA-6B73-32A8-2D455020EC0E}"/>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5" name="Graphic 745">
                <a:extLst>
                  <a:ext uri="{FF2B5EF4-FFF2-40B4-BE49-F238E27FC236}">
                    <a16:creationId xmlns:a16="http://schemas.microsoft.com/office/drawing/2014/main" id="{8620772E-325C-52F0-6195-7924963FC38E}"/>
                  </a:ext>
                </a:extLst>
              </p:cNvPr>
              <p:cNvGrpSpPr/>
              <p:nvPr/>
            </p:nvGrpSpPr>
            <p:grpSpPr>
              <a:xfrm>
                <a:off x="5680043" y="3792664"/>
                <a:ext cx="75723" cy="75723"/>
                <a:chOff x="5680043" y="3792664"/>
                <a:chExt cx="75723" cy="75723"/>
              </a:xfrm>
            </p:grpSpPr>
            <p:sp>
              <p:nvSpPr>
                <p:cNvPr id="16124" name="Freeform: Shape 16123">
                  <a:extLst>
                    <a:ext uri="{FF2B5EF4-FFF2-40B4-BE49-F238E27FC236}">
                      <a16:creationId xmlns:a16="http://schemas.microsoft.com/office/drawing/2014/main" id="{7DA8C0BC-B720-9EA6-5670-E5844C65E3FF}"/>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5" name="Freeform: Shape 16124">
                  <a:extLst>
                    <a:ext uri="{FF2B5EF4-FFF2-40B4-BE49-F238E27FC236}">
                      <a16:creationId xmlns:a16="http://schemas.microsoft.com/office/drawing/2014/main" id="{ED0AAF25-56AD-F4CE-31C3-4DDCC69C255D}"/>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6" name="Graphic 745">
                <a:extLst>
                  <a:ext uri="{FF2B5EF4-FFF2-40B4-BE49-F238E27FC236}">
                    <a16:creationId xmlns:a16="http://schemas.microsoft.com/office/drawing/2014/main" id="{234603C9-6F79-EDD7-9B9C-0F93FDF5D38B}"/>
                  </a:ext>
                </a:extLst>
              </p:cNvPr>
              <p:cNvGrpSpPr/>
              <p:nvPr/>
            </p:nvGrpSpPr>
            <p:grpSpPr>
              <a:xfrm>
                <a:off x="5972937" y="3841051"/>
                <a:ext cx="75723" cy="75723"/>
                <a:chOff x="5972937" y="3841051"/>
                <a:chExt cx="75723" cy="75723"/>
              </a:xfrm>
            </p:grpSpPr>
            <p:sp>
              <p:nvSpPr>
                <p:cNvPr id="16122" name="Freeform: Shape 16121">
                  <a:extLst>
                    <a:ext uri="{FF2B5EF4-FFF2-40B4-BE49-F238E27FC236}">
                      <a16:creationId xmlns:a16="http://schemas.microsoft.com/office/drawing/2014/main" id="{21429092-28CC-83F8-87F0-7626A70E640D}"/>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3" name="Freeform: Shape 16122">
                  <a:extLst>
                    <a:ext uri="{FF2B5EF4-FFF2-40B4-BE49-F238E27FC236}">
                      <a16:creationId xmlns:a16="http://schemas.microsoft.com/office/drawing/2014/main" id="{53DD5A22-575D-B059-AF7B-6BB8C5DA4EED}"/>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7" name="Graphic 745">
                <a:extLst>
                  <a:ext uri="{FF2B5EF4-FFF2-40B4-BE49-F238E27FC236}">
                    <a16:creationId xmlns:a16="http://schemas.microsoft.com/office/drawing/2014/main" id="{5C35581C-E117-1996-C702-183F6941F3FF}"/>
                  </a:ext>
                </a:extLst>
              </p:cNvPr>
              <p:cNvGrpSpPr/>
              <p:nvPr/>
            </p:nvGrpSpPr>
            <p:grpSpPr>
              <a:xfrm>
                <a:off x="6008560" y="3841051"/>
                <a:ext cx="75723" cy="75723"/>
                <a:chOff x="6008560" y="3841051"/>
                <a:chExt cx="75723" cy="75723"/>
              </a:xfrm>
            </p:grpSpPr>
            <p:sp>
              <p:nvSpPr>
                <p:cNvPr id="16120" name="Freeform: Shape 16119">
                  <a:extLst>
                    <a:ext uri="{FF2B5EF4-FFF2-40B4-BE49-F238E27FC236}">
                      <a16:creationId xmlns:a16="http://schemas.microsoft.com/office/drawing/2014/main" id="{FD05FB52-5B81-D505-9C8A-4ABFCA64C755}"/>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1" name="Freeform: Shape 16120">
                  <a:extLst>
                    <a:ext uri="{FF2B5EF4-FFF2-40B4-BE49-F238E27FC236}">
                      <a16:creationId xmlns:a16="http://schemas.microsoft.com/office/drawing/2014/main" id="{2CE67B89-650D-3B7C-18CF-A51883AA1E40}"/>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8" name="Graphic 745">
                <a:extLst>
                  <a:ext uri="{FF2B5EF4-FFF2-40B4-BE49-F238E27FC236}">
                    <a16:creationId xmlns:a16="http://schemas.microsoft.com/office/drawing/2014/main" id="{7DFB94E6-18C1-B0E5-D864-B7963FA4BEF1}"/>
                  </a:ext>
                </a:extLst>
              </p:cNvPr>
              <p:cNvGrpSpPr/>
              <p:nvPr/>
            </p:nvGrpSpPr>
            <p:grpSpPr>
              <a:xfrm>
                <a:off x="6024848" y="3841051"/>
                <a:ext cx="75628" cy="75723"/>
                <a:chOff x="6024848" y="3841051"/>
                <a:chExt cx="75628" cy="75723"/>
              </a:xfrm>
            </p:grpSpPr>
            <p:sp>
              <p:nvSpPr>
                <p:cNvPr id="16118" name="Freeform: Shape 16117">
                  <a:extLst>
                    <a:ext uri="{FF2B5EF4-FFF2-40B4-BE49-F238E27FC236}">
                      <a16:creationId xmlns:a16="http://schemas.microsoft.com/office/drawing/2014/main" id="{E5363E0C-FEDF-2210-C361-D3F6A6BBD3AF}"/>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9" name="Freeform: Shape 16118">
                  <a:extLst>
                    <a:ext uri="{FF2B5EF4-FFF2-40B4-BE49-F238E27FC236}">
                      <a16:creationId xmlns:a16="http://schemas.microsoft.com/office/drawing/2014/main" id="{2CF695C2-79CC-5F84-626E-D27659416700}"/>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9" name="Graphic 745">
                <a:extLst>
                  <a:ext uri="{FF2B5EF4-FFF2-40B4-BE49-F238E27FC236}">
                    <a16:creationId xmlns:a16="http://schemas.microsoft.com/office/drawing/2014/main" id="{CC87C59C-8CFB-C2E7-3958-87A32FC60560}"/>
                  </a:ext>
                </a:extLst>
              </p:cNvPr>
              <p:cNvGrpSpPr/>
              <p:nvPr/>
            </p:nvGrpSpPr>
            <p:grpSpPr>
              <a:xfrm>
                <a:off x="6036564" y="3841051"/>
                <a:ext cx="75723" cy="75723"/>
                <a:chOff x="6036564" y="3841051"/>
                <a:chExt cx="75723" cy="75723"/>
              </a:xfrm>
            </p:grpSpPr>
            <p:sp>
              <p:nvSpPr>
                <p:cNvPr id="16116" name="Freeform: Shape 16115">
                  <a:extLst>
                    <a:ext uri="{FF2B5EF4-FFF2-40B4-BE49-F238E27FC236}">
                      <a16:creationId xmlns:a16="http://schemas.microsoft.com/office/drawing/2014/main" id="{6A7F6BDE-4172-6BAE-DFA7-0C313A697255}"/>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7" name="Freeform: Shape 16116">
                  <a:extLst>
                    <a:ext uri="{FF2B5EF4-FFF2-40B4-BE49-F238E27FC236}">
                      <a16:creationId xmlns:a16="http://schemas.microsoft.com/office/drawing/2014/main" id="{D77F2486-0A1A-56D9-760D-06EBA169207A}"/>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0" name="Graphic 745">
                <a:extLst>
                  <a:ext uri="{FF2B5EF4-FFF2-40B4-BE49-F238E27FC236}">
                    <a16:creationId xmlns:a16="http://schemas.microsoft.com/office/drawing/2014/main" id="{2D20CF92-3E0F-F8EC-2B3E-C22F80FD3B8D}"/>
                  </a:ext>
                </a:extLst>
              </p:cNvPr>
              <p:cNvGrpSpPr/>
              <p:nvPr/>
            </p:nvGrpSpPr>
            <p:grpSpPr>
              <a:xfrm>
                <a:off x="6052756" y="3871435"/>
                <a:ext cx="75723" cy="75723"/>
                <a:chOff x="6052756" y="3871435"/>
                <a:chExt cx="75723" cy="75723"/>
              </a:xfrm>
            </p:grpSpPr>
            <p:sp>
              <p:nvSpPr>
                <p:cNvPr id="16114" name="Freeform: Shape 16113">
                  <a:extLst>
                    <a:ext uri="{FF2B5EF4-FFF2-40B4-BE49-F238E27FC236}">
                      <a16:creationId xmlns:a16="http://schemas.microsoft.com/office/drawing/2014/main" id="{91933807-FB5E-F95E-710C-8213A58C9B1E}"/>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5" name="Freeform: Shape 16114">
                  <a:extLst>
                    <a:ext uri="{FF2B5EF4-FFF2-40B4-BE49-F238E27FC236}">
                      <a16:creationId xmlns:a16="http://schemas.microsoft.com/office/drawing/2014/main" id="{62048EB9-D28F-8F0F-963C-998CB27C1831}"/>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1" name="Graphic 745">
                <a:extLst>
                  <a:ext uri="{FF2B5EF4-FFF2-40B4-BE49-F238E27FC236}">
                    <a16:creationId xmlns:a16="http://schemas.microsoft.com/office/drawing/2014/main" id="{C44A85E3-9EE2-95EF-0ECA-8CF58E20F00E}"/>
                  </a:ext>
                </a:extLst>
              </p:cNvPr>
              <p:cNvGrpSpPr/>
              <p:nvPr/>
            </p:nvGrpSpPr>
            <p:grpSpPr>
              <a:xfrm>
                <a:off x="6066567" y="3871435"/>
                <a:ext cx="75723" cy="75723"/>
                <a:chOff x="6066567" y="3871435"/>
                <a:chExt cx="75723" cy="75723"/>
              </a:xfrm>
            </p:grpSpPr>
            <p:sp>
              <p:nvSpPr>
                <p:cNvPr id="16112" name="Freeform: Shape 16111">
                  <a:extLst>
                    <a:ext uri="{FF2B5EF4-FFF2-40B4-BE49-F238E27FC236}">
                      <a16:creationId xmlns:a16="http://schemas.microsoft.com/office/drawing/2014/main" id="{2CD06FB3-D79A-29E7-D4A8-918499F7D12D}"/>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3" name="Freeform: Shape 16112">
                  <a:extLst>
                    <a:ext uri="{FF2B5EF4-FFF2-40B4-BE49-F238E27FC236}">
                      <a16:creationId xmlns:a16="http://schemas.microsoft.com/office/drawing/2014/main" id="{BBCB191E-5CEC-7659-AD93-A335FB1D2856}"/>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2" name="Graphic 745">
                <a:extLst>
                  <a:ext uri="{FF2B5EF4-FFF2-40B4-BE49-F238E27FC236}">
                    <a16:creationId xmlns:a16="http://schemas.microsoft.com/office/drawing/2014/main" id="{CC1422EA-0281-F123-D8DD-17C6F8A585AC}"/>
                  </a:ext>
                </a:extLst>
              </p:cNvPr>
              <p:cNvGrpSpPr/>
              <p:nvPr/>
            </p:nvGrpSpPr>
            <p:grpSpPr>
              <a:xfrm>
                <a:off x="6074378" y="3888104"/>
                <a:ext cx="75723" cy="75628"/>
                <a:chOff x="6074378" y="3888104"/>
                <a:chExt cx="75723" cy="75628"/>
              </a:xfrm>
            </p:grpSpPr>
            <p:sp>
              <p:nvSpPr>
                <p:cNvPr id="16110" name="Freeform: Shape 16109">
                  <a:extLst>
                    <a:ext uri="{FF2B5EF4-FFF2-40B4-BE49-F238E27FC236}">
                      <a16:creationId xmlns:a16="http://schemas.microsoft.com/office/drawing/2014/main" id="{E1CF08DD-9D4A-4E05-5E2F-B8E3E9E13DA7}"/>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1" name="Freeform: Shape 16110">
                  <a:extLst>
                    <a:ext uri="{FF2B5EF4-FFF2-40B4-BE49-F238E27FC236}">
                      <a16:creationId xmlns:a16="http://schemas.microsoft.com/office/drawing/2014/main" id="{ED29E723-654A-8467-6FE2-0AF26C63E631}"/>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3" name="Graphic 745">
                <a:extLst>
                  <a:ext uri="{FF2B5EF4-FFF2-40B4-BE49-F238E27FC236}">
                    <a16:creationId xmlns:a16="http://schemas.microsoft.com/office/drawing/2014/main" id="{CE3A6413-00CF-209C-0472-964DFC6A5E6C}"/>
                  </a:ext>
                </a:extLst>
              </p:cNvPr>
              <p:cNvGrpSpPr/>
              <p:nvPr/>
            </p:nvGrpSpPr>
            <p:grpSpPr>
              <a:xfrm>
                <a:off x="6088856" y="3909345"/>
                <a:ext cx="75723" cy="75628"/>
                <a:chOff x="6088856" y="3909345"/>
                <a:chExt cx="75723" cy="75628"/>
              </a:xfrm>
            </p:grpSpPr>
            <p:sp>
              <p:nvSpPr>
                <p:cNvPr id="16108" name="Freeform: Shape 16107">
                  <a:extLst>
                    <a:ext uri="{FF2B5EF4-FFF2-40B4-BE49-F238E27FC236}">
                      <a16:creationId xmlns:a16="http://schemas.microsoft.com/office/drawing/2014/main" id="{A7479EE7-3197-6ABA-6425-A3E74C1F4DC1}"/>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9" name="Freeform: Shape 16108">
                  <a:extLst>
                    <a:ext uri="{FF2B5EF4-FFF2-40B4-BE49-F238E27FC236}">
                      <a16:creationId xmlns:a16="http://schemas.microsoft.com/office/drawing/2014/main" id="{C2D44F5D-0584-1995-CEE0-B9CA2F83C46A}"/>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4" name="Graphic 745">
                <a:extLst>
                  <a:ext uri="{FF2B5EF4-FFF2-40B4-BE49-F238E27FC236}">
                    <a16:creationId xmlns:a16="http://schemas.microsoft.com/office/drawing/2014/main" id="{C4F23B13-7D00-BEB7-0C73-B48F4972795A}"/>
                  </a:ext>
                </a:extLst>
              </p:cNvPr>
              <p:cNvGrpSpPr/>
              <p:nvPr/>
            </p:nvGrpSpPr>
            <p:grpSpPr>
              <a:xfrm>
                <a:off x="6112287" y="3909345"/>
                <a:ext cx="75628" cy="75628"/>
                <a:chOff x="6112287" y="3909345"/>
                <a:chExt cx="75628" cy="75628"/>
              </a:xfrm>
            </p:grpSpPr>
            <p:sp>
              <p:nvSpPr>
                <p:cNvPr id="16106" name="Freeform: Shape 16105">
                  <a:extLst>
                    <a:ext uri="{FF2B5EF4-FFF2-40B4-BE49-F238E27FC236}">
                      <a16:creationId xmlns:a16="http://schemas.microsoft.com/office/drawing/2014/main" id="{0828C7C7-97FE-8B45-311A-CC8DC667794F}"/>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7" name="Freeform: Shape 16106">
                  <a:extLst>
                    <a:ext uri="{FF2B5EF4-FFF2-40B4-BE49-F238E27FC236}">
                      <a16:creationId xmlns:a16="http://schemas.microsoft.com/office/drawing/2014/main" id="{98FFC850-8F1E-E758-1DAC-58735CE47805}"/>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5" name="Graphic 745">
                <a:extLst>
                  <a:ext uri="{FF2B5EF4-FFF2-40B4-BE49-F238E27FC236}">
                    <a16:creationId xmlns:a16="http://schemas.microsoft.com/office/drawing/2014/main" id="{1DE35E92-9373-1DEB-AD96-CC8070572EE9}"/>
                  </a:ext>
                </a:extLst>
              </p:cNvPr>
              <p:cNvGrpSpPr/>
              <p:nvPr/>
            </p:nvGrpSpPr>
            <p:grpSpPr>
              <a:xfrm>
                <a:off x="6100476" y="3909345"/>
                <a:ext cx="75723" cy="75628"/>
                <a:chOff x="6100476" y="3909345"/>
                <a:chExt cx="75723" cy="75628"/>
              </a:xfrm>
            </p:grpSpPr>
            <p:sp>
              <p:nvSpPr>
                <p:cNvPr id="16104" name="Freeform: Shape 16103">
                  <a:extLst>
                    <a:ext uri="{FF2B5EF4-FFF2-40B4-BE49-F238E27FC236}">
                      <a16:creationId xmlns:a16="http://schemas.microsoft.com/office/drawing/2014/main" id="{151E864E-3378-63E4-A13B-105506C4D1CA}"/>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5" name="Freeform: Shape 16104">
                  <a:extLst>
                    <a:ext uri="{FF2B5EF4-FFF2-40B4-BE49-F238E27FC236}">
                      <a16:creationId xmlns:a16="http://schemas.microsoft.com/office/drawing/2014/main" id="{DFAC6468-436B-1883-6B06-DE1794140FEA}"/>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6" name="Graphic 745">
                <a:extLst>
                  <a:ext uri="{FF2B5EF4-FFF2-40B4-BE49-F238E27FC236}">
                    <a16:creationId xmlns:a16="http://schemas.microsoft.com/office/drawing/2014/main" id="{CB5F3C3D-4EAE-3869-8BC8-6757BD417ABC}"/>
                  </a:ext>
                </a:extLst>
              </p:cNvPr>
              <p:cNvGrpSpPr/>
              <p:nvPr/>
            </p:nvGrpSpPr>
            <p:grpSpPr>
              <a:xfrm>
                <a:off x="6900100" y="4071937"/>
                <a:ext cx="75723" cy="75723"/>
                <a:chOff x="6900100" y="4071937"/>
                <a:chExt cx="75723" cy="75723"/>
              </a:xfrm>
            </p:grpSpPr>
            <p:sp>
              <p:nvSpPr>
                <p:cNvPr id="16102" name="Freeform: Shape 16101">
                  <a:extLst>
                    <a:ext uri="{FF2B5EF4-FFF2-40B4-BE49-F238E27FC236}">
                      <a16:creationId xmlns:a16="http://schemas.microsoft.com/office/drawing/2014/main" id="{A11F384A-ED9C-84BE-DDE6-936EDAE0EF54}"/>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3" name="Freeform: Shape 16102">
                  <a:extLst>
                    <a:ext uri="{FF2B5EF4-FFF2-40B4-BE49-F238E27FC236}">
                      <a16:creationId xmlns:a16="http://schemas.microsoft.com/office/drawing/2014/main" id="{8B2697FA-3622-D6F8-C14E-B875875F96D2}"/>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7" name="Graphic 745">
                <a:extLst>
                  <a:ext uri="{FF2B5EF4-FFF2-40B4-BE49-F238E27FC236}">
                    <a16:creationId xmlns:a16="http://schemas.microsoft.com/office/drawing/2014/main" id="{37A3112C-A1A6-F657-6348-1D67A0BCB28F}"/>
                  </a:ext>
                </a:extLst>
              </p:cNvPr>
              <p:cNvGrpSpPr/>
              <p:nvPr/>
            </p:nvGrpSpPr>
            <p:grpSpPr>
              <a:xfrm>
                <a:off x="6962298" y="4156328"/>
                <a:ext cx="75723" cy="75628"/>
                <a:chOff x="6962298" y="4156328"/>
                <a:chExt cx="75723" cy="75628"/>
              </a:xfrm>
            </p:grpSpPr>
            <p:sp>
              <p:nvSpPr>
                <p:cNvPr id="16100" name="Freeform: Shape 16099">
                  <a:extLst>
                    <a:ext uri="{FF2B5EF4-FFF2-40B4-BE49-F238E27FC236}">
                      <a16:creationId xmlns:a16="http://schemas.microsoft.com/office/drawing/2014/main" id="{27C70963-746B-D3F9-EC58-632A174DF8A0}"/>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1" name="Freeform: Shape 16100">
                  <a:extLst>
                    <a:ext uri="{FF2B5EF4-FFF2-40B4-BE49-F238E27FC236}">
                      <a16:creationId xmlns:a16="http://schemas.microsoft.com/office/drawing/2014/main" id="{66C21466-C633-3B5A-2B40-9BB58972649B}"/>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8" name="Graphic 745">
                <a:extLst>
                  <a:ext uri="{FF2B5EF4-FFF2-40B4-BE49-F238E27FC236}">
                    <a16:creationId xmlns:a16="http://schemas.microsoft.com/office/drawing/2014/main" id="{EF0B4554-10B4-40FA-AC42-161700373CC1}"/>
                  </a:ext>
                </a:extLst>
              </p:cNvPr>
              <p:cNvGrpSpPr/>
              <p:nvPr/>
            </p:nvGrpSpPr>
            <p:grpSpPr>
              <a:xfrm>
                <a:off x="6946773" y="4131087"/>
                <a:ext cx="75723" cy="75628"/>
                <a:chOff x="6946773" y="4131087"/>
                <a:chExt cx="75723" cy="75628"/>
              </a:xfrm>
            </p:grpSpPr>
            <p:sp>
              <p:nvSpPr>
                <p:cNvPr id="16098" name="Freeform: Shape 16097">
                  <a:extLst>
                    <a:ext uri="{FF2B5EF4-FFF2-40B4-BE49-F238E27FC236}">
                      <a16:creationId xmlns:a16="http://schemas.microsoft.com/office/drawing/2014/main" id="{F1E490CA-7F28-94CC-0DF2-39B3794FED60}"/>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9" name="Freeform: Shape 16098">
                  <a:extLst>
                    <a:ext uri="{FF2B5EF4-FFF2-40B4-BE49-F238E27FC236}">
                      <a16:creationId xmlns:a16="http://schemas.microsoft.com/office/drawing/2014/main" id="{BD9F9D6D-C2AA-4A9E-1E6B-6677CB272D42}"/>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9" name="Graphic 745">
                <a:extLst>
                  <a:ext uri="{FF2B5EF4-FFF2-40B4-BE49-F238E27FC236}">
                    <a16:creationId xmlns:a16="http://schemas.microsoft.com/office/drawing/2014/main" id="{CD608B6A-A3AC-E405-CD65-A256E5A8A707}"/>
                  </a:ext>
                </a:extLst>
              </p:cNvPr>
              <p:cNvGrpSpPr/>
              <p:nvPr/>
            </p:nvGrpSpPr>
            <p:grpSpPr>
              <a:xfrm>
                <a:off x="6926865" y="4104322"/>
                <a:ext cx="75723" cy="75723"/>
                <a:chOff x="6926865" y="4104322"/>
                <a:chExt cx="75723" cy="75723"/>
              </a:xfrm>
            </p:grpSpPr>
            <p:sp>
              <p:nvSpPr>
                <p:cNvPr id="16096" name="Freeform: Shape 16095">
                  <a:extLst>
                    <a:ext uri="{FF2B5EF4-FFF2-40B4-BE49-F238E27FC236}">
                      <a16:creationId xmlns:a16="http://schemas.microsoft.com/office/drawing/2014/main" id="{157FDC57-CFC4-77B6-AC66-9FE3F2F7AD0A}"/>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7" name="Freeform: Shape 16096">
                  <a:extLst>
                    <a:ext uri="{FF2B5EF4-FFF2-40B4-BE49-F238E27FC236}">
                      <a16:creationId xmlns:a16="http://schemas.microsoft.com/office/drawing/2014/main" id="{2CFA55EC-7456-D49B-7EEF-573E4A2ABC96}"/>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0" name="Graphic 745">
                <a:extLst>
                  <a:ext uri="{FF2B5EF4-FFF2-40B4-BE49-F238E27FC236}">
                    <a16:creationId xmlns:a16="http://schemas.microsoft.com/office/drawing/2014/main" id="{A071EFFE-8094-7A18-19C6-18131466EA6A}"/>
                  </a:ext>
                </a:extLst>
              </p:cNvPr>
              <p:cNvGrpSpPr/>
              <p:nvPr/>
            </p:nvGrpSpPr>
            <p:grpSpPr>
              <a:xfrm>
                <a:off x="6912864" y="4104322"/>
                <a:ext cx="75723" cy="75723"/>
                <a:chOff x="6912864" y="4104322"/>
                <a:chExt cx="75723" cy="75723"/>
              </a:xfrm>
            </p:grpSpPr>
            <p:sp>
              <p:nvSpPr>
                <p:cNvPr id="16094" name="Freeform: Shape 16093">
                  <a:extLst>
                    <a:ext uri="{FF2B5EF4-FFF2-40B4-BE49-F238E27FC236}">
                      <a16:creationId xmlns:a16="http://schemas.microsoft.com/office/drawing/2014/main" id="{BB8C6C8B-20EA-AB1B-2584-DF4DC288A84E}"/>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5" name="Freeform: Shape 16094">
                  <a:extLst>
                    <a:ext uri="{FF2B5EF4-FFF2-40B4-BE49-F238E27FC236}">
                      <a16:creationId xmlns:a16="http://schemas.microsoft.com/office/drawing/2014/main" id="{07E5A4B9-17B7-5CBA-5FDF-C461C91D1B5C}"/>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1" name="Graphic 745">
                <a:extLst>
                  <a:ext uri="{FF2B5EF4-FFF2-40B4-BE49-F238E27FC236}">
                    <a16:creationId xmlns:a16="http://schemas.microsoft.com/office/drawing/2014/main" id="{31136D0D-2280-70D8-C17F-B973EE415990}"/>
                  </a:ext>
                </a:extLst>
              </p:cNvPr>
              <p:cNvGrpSpPr/>
              <p:nvPr/>
            </p:nvGrpSpPr>
            <p:grpSpPr>
              <a:xfrm>
                <a:off x="7032117" y="4185284"/>
                <a:ext cx="75723" cy="75723"/>
                <a:chOff x="7032117" y="4185284"/>
                <a:chExt cx="75723" cy="75723"/>
              </a:xfrm>
            </p:grpSpPr>
            <p:sp>
              <p:nvSpPr>
                <p:cNvPr id="16092" name="Freeform: Shape 16091">
                  <a:extLst>
                    <a:ext uri="{FF2B5EF4-FFF2-40B4-BE49-F238E27FC236}">
                      <a16:creationId xmlns:a16="http://schemas.microsoft.com/office/drawing/2014/main" id="{5E093420-B0B4-DFE9-7A62-0FD9D1E9E340}"/>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3" name="Freeform: Shape 16092">
                  <a:extLst>
                    <a:ext uri="{FF2B5EF4-FFF2-40B4-BE49-F238E27FC236}">
                      <a16:creationId xmlns:a16="http://schemas.microsoft.com/office/drawing/2014/main" id="{243B2BB8-5C09-75DC-FF80-B3EE50D7968F}"/>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2" name="Graphic 745">
                <a:extLst>
                  <a:ext uri="{FF2B5EF4-FFF2-40B4-BE49-F238E27FC236}">
                    <a16:creationId xmlns:a16="http://schemas.microsoft.com/office/drawing/2014/main" id="{812E18AA-EE0E-C507-87F8-173D7FB79E75}"/>
                  </a:ext>
                </a:extLst>
              </p:cNvPr>
              <p:cNvGrpSpPr/>
              <p:nvPr/>
            </p:nvGrpSpPr>
            <p:grpSpPr>
              <a:xfrm>
                <a:off x="7742872" y="4275772"/>
                <a:ext cx="75723" cy="75723"/>
                <a:chOff x="7742872" y="4275772"/>
                <a:chExt cx="75723" cy="75723"/>
              </a:xfrm>
            </p:grpSpPr>
            <p:sp>
              <p:nvSpPr>
                <p:cNvPr id="16090" name="Freeform: Shape 16089">
                  <a:extLst>
                    <a:ext uri="{FF2B5EF4-FFF2-40B4-BE49-F238E27FC236}">
                      <a16:creationId xmlns:a16="http://schemas.microsoft.com/office/drawing/2014/main" id="{8A2B0131-7843-6E4D-886B-0E292A8482B4}"/>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1" name="Freeform: Shape 16090">
                  <a:extLst>
                    <a:ext uri="{FF2B5EF4-FFF2-40B4-BE49-F238E27FC236}">
                      <a16:creationId xmlns:a16="http://schemas.microsoft.com/office/drawing/2014/main" id="{02F9DDC4-364D-A63B-7DCF-D315264D5EF0}"/>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3" name="Graphic 745">
                <a:extLst>
                  <a:ext uri="{FF2B5EF4-FFF2-40B4-BE49-F238E27FC236}">
                    <a16:creationId xmlns:a16="http://schemas.microsoft.com/office/drawing/2014/main" id="{6457E79D-8A5A-716C-FDEE-881A7D1BA0CF}"/>
                  </a:ext>
                </a:extLst>
              </p:cNvPr>
              <p:cNvGrpSpPr/>
              <p:nvPr/>
            </p:nvGrpSpPr>
            <p:grpSpPr>
              <a:xfrm>
                <a:off x="7766399" y="4275772"/>
                <a:ext cx="75628" cy="75723"/>
                <a:chOff x="7766399" y="4275772"/>
                <a:chExt cx="75628" cy="75723"/>
              </a:xfrm>
            </p:grpSpPr>
            <p:sp>
              <p:nvSpPr>
                <p:cNvPr id="16088" name="Freeform: Shape 16087">
                  <a:extLst>
                    <a:ext uri="{FF2B5EF4-FFF2-40B4-BE49-F238E27FC236}">
                      <a16:creationId xmlns:a16="http://schemas.microsoft.com/office/drawing/2014/main" id="{EA8BD354-2EB4-6CAF-551A-3D20BB760CC6}"/>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9" name="Freeform: Shape 16088">
                  <a:extLst>
                    <a:ext uri="{FF2B5EF4-FFF2-40B4-BE49-F238E27FC236}">
                      <a16:creationId xmlns:a16="http://schemas.microsoft.com/office/drawing/2014/main" id="{C835682C-5CFD-915E-FBC3-556D81D74662}"/>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4" name="Graphic 745">
                <a:extLst>
                  <a:ext uri="{FF2B5EF4-FFF2-40B4-BE49-F238E27FC236}">
                    <a16:creationId xmlns:a16="http://schemas.microsoft.com/office/drawing/2014/main" id="{7C689299-1FB3-F9EC-9D1D-77CF55EAE25E}"/>
                  </a:ext>
                </a:extLst>
              </p:cNvPr>
              <p:cNvGrpSpPr/>
              <p:nvPr/>
            </p:nvGrpSpPr>
            <p:grpSpPr>
              <a:xfrm>
                <a:off x="7787449" y="4275772"/>
                <a:ext cx="75723" cy="75723"/>
                <a:chOff x="7787449" y="4275772"/>
                <a:chExt cx="75723" cy="75723"/>
              </a:xfrm>
            </p:grpSpPr>
            <p:sp>
              <p:nvSpPr>
                <p:cNvPr id="16086" name="Freeform: Shape 16085">
                  <a:extLst>
                    <a:ext uri="{FF2B5EF4-FFF2-40B4-BE49-F238E27FC236}">
                      <a16:creationId xmlns:a16="http://schemas.microsoft.com/office/drawing/2014/main" id="{A3E2E726-D4B8-D843-45F6-B444CE8D7CDD}"/>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7" name="Freeform: Shape 16086">
                  <a:extLst>
                    <a:ext uri="{FF2B5EF4-FFF2-40B4-BE49-F238E27FC236}">
                      <a16:creationId xmlns:a16="http://schemas.microsoft.com/office/drawing/2014/main" id="{03551529-4591-75E9-4330-CC05B50F5D51}"/>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5" name="Graphic 745">
                <a:extLst>
                  <a:ext uri="{FF2B5EF4-FFF2-40B4-BE49-F238E27FC236}">
                    <a16:creationId xmlns:a16="http://schemas.microsoft.com/office/drawing/2014/main" id="{5203D83B-0A94-A5F6-401B-4894E0B81E78}"/>
                  </a:ext>
                </a:extLst>
              </p:cNvPr>
              <p:cNvGrpSpPr/>
              <p:nvPr/>
            </p:nvGrpSpPr>
            <p:grpSpPr>
              <a:xfrm>
                <a:off x="7793545" y="4275772"/>
                <a:ext cx="75628" cy="75723"/>
                <a:chOff x="7793545" y="4275772"/>
                <a:chExt cx="75628" cy="75723"/>
              </a:xfrm>
            </p:grpSpPr>
            <p:sp>
              <p:nvSpPr>
                <p:cNvPr id="16084" name="Freeform: Shape 16083">
                  <a:extLst>
                    <a:ext uri="{FF2B5EF4-FFF2-40B4-BE49-F238E27FC236}">
                      <a16:creationId xmlns:a16="http://schemas.microsoft.com/office/drawing/2014/main" id="{1E6D8972-8FA9-FBD9-74D3-7B2D257C0776}"/>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5" name="Freeform: Shape 16084">
                  <a:extLst>
                    <a:ext uri="{FF2B5EF4-FFF2-40B4-BE49-F238E27FC236}">
                      <a16:creationId xmlns:a16="http://schemas.microsoft.com/office/drawing/2014/main" id="{05B00372-90E1-8016-8CA7-88996F7989C2}"/>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6" name="Graphic 745">
                <a:extLst>
                  <a:ext uri="{FF2B5EF4-FFF2-40B4-BE49-F238E27FC236}">
                    <a16:creationId xmlns:a16="http://schemas.microsoft.com/office/drawing/2014/main" id="{61E4EA26-E49E-9C69-15E0-9479A1BBFE4E}"/>
                  </a:ext>
                </a:extLst>
              </p:cNvPr>
              <p:cNvGrpSpPr/>
              <p:nvPr/>
            </p:nvGrpSpPr>
            <p:grpSpPr>
              <a:xfrm>
                <a:off x="7821453" y="4275772"/>
                <a:ext cx="75723" cy="75723"/>
                <a:chOff x="7821453" y="4275772"/>
                <a:chExt cx="75723" cy="75723"/>
              </a:xfrm>
            </p:grpSpPr>
            <p:sp>
              <p:nvSpPr>
                <p:cNvPr id="16082" name="Freeform: Shape 16081">
                  <a:extLst>
                    <a:ext uri="{FF2B5EF4-FFF2-40B4-BE49-F238E27FC236}">
                      <a16:creationId xmlns:a16="http://schemas.microsoft.com/office/drawing/2014/main" id="{BAA2CE2C-3F1A-F855-D3F5-8DBF358B20F7}"/>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3" name="Freeform: Shape 16082">
                  <a:extLst>
                    <a:ext uri="{FF2B5EF4-FFF2-40B4-BE49-F238E27FC236}">
                      <a16:creationId xmlns:a16="http://schemas.microsoft.com/office/drawing/2014/main" id="{BCBEB435-EA3D-FDA5-6850-39203D440060}"/>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7" name="Graphic 745">
                <a:extLst>
                  <a:ext uri="{FF2B5EF4-FFF2-40B4-BE49-F238E27FC236}">
                    <a16:creationId xmlns:a16="http://schemas.microsoft.com/office/drawing/2014/main" id="{4A87F83C-DE7B-C42A-F865-F8ADEA2FCED5}"/>
                  </a:ext>
                </a:extLst>
              </p:cNvPr>
              <p:cNvGrpSpPr/>
              <p:nvPr/>
            </p:nvGrpSpPr>
            <p:grpSpPr>
              <a:xfrm>
                <a:off x="7807737" y="4275772"/>
                <a:ext cx="75628" cy="75723"/>
                <a:chOff x="7807737" y="4275772"/>
                <a:chExt cx="75628" cy="75723"/>
              </a:xfrm>
            </p:grpSpPr>
            <p:sp>
              <p:nvSpPr>
                <p:cNvPr id="16080" name="Freeform: Shape 16079">
                  <a:extLst>
                    <a:ext uri="{FF2B5EF4-FFF2-40B4-BE49-F238E27FC236}">
                      <a16:creationId xmlns:a16="http://schemas.microsoft.com/office/drawing/2014/main" id="{45CE6064-782A-3C3B-515D-0DFF2128738F}"/>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1" name="Freeform: Shape 16080">
                  <a:extLst>
                    <a:ext uri="{FF2B5EF4-FFF2-40B4-BE49-F238E27FC236}">
                      <a16:creationId xmlns:a16="http://schemas.microsoft.com/office/drawing/2014/main" id="{24E141E8-AA4B-63DF-33CE-A88FAB672E2F}"/>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8" name="Graphic 745">
                <a:extLst>
                  <a:ext uri="{FF2B5EF4-FFF2-40B4-BE49-F238E27FC236}">
                    <a16:creationId xmlns:a16="http://schemas.microsoft.com/office/drawing/2014/main" id="{54B8799B-A86D-BF5B-CCB3-CD8F79A55EA4}"/>
                  </a:ext>
                </a:extLst>
              </p:cNvPr>
              <p:cNvGrpSpPr/>
              <p:nvPr/>
            </p:nvGrpSpPr>
            <p:grpSpPr>
              <a:xfrm>
                <a:off x="8174545" y="4275772"/>
                <a:ext cx="75628" cy="75723"/>
                <a:chOff x="8174545" y="4275772"/>
                <a:chExt cx="75628" cy="75723"/>
              </a:xfrm>
            </p:grpSpPr>
            <p:sp>
              <p:nvSpPr>
                <p:cNvPr id="16078" name="Freeform: Shape 16077">
                  <a:extLst>
                    <a:ext uri="{FF2B5EF4-FFF2-40B4-BE49-F238E27FC236}">
                      <a16:creationId xmlns:a16="http://schemas.microsoft.com/office/drawing/2014/main" id="{96A7CF41-8C3A-CA55-86D7-0732FCF6244C}"/>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9" name="Freeform: Shape 16078">
                  <a:extLst>
                    <a:ext uri="{FF2B5EF4-FFF2-40B4-BE49-F238E27FC236}">
                      <a16:creationId xmlns:a16="http://schemas.microsoft.com/office/drawing/2014/main" id="{E59836DD-AC19-66B3-9916-705B5569BD99}"/>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9" name="Graphic 745">
                <a:extLst>
                  <a:ext uri="{FF2B5EF4-FFF2-40B4-BE49-F238E27FC236}">
                    <a16:creationId xmlns:a16="http://schemas.microsoft.com/office/drawing/2014/main" id="{299F1DE4-D243-C206-EF5B-7AFFD863FABB}"/>
                  </a:ext>
                </a:extLst>
              </p:cNvPr>
              <p:cNvGrpSpPr/>
              <p:nvPr/>
            </p:nvGrpSpPr>
            <p:grpSpPr>
              <a:xfrm>
                <a:off x="8189118" y="4275772"/>
                <a:ext cx="75723" cy="75723"/>
                <a:chOff x="8189118" y="4275772"/>
                <a:chExt cx="75723" cy="75723"/>
              </a:xfrm>
            </p:grpSpPr>
            <p:sp>
              <p:nvSpPr>
                <p:cNvPr id="16076" name="Freeform: Shape 16075">
                  <a:extLst>
                    <a:ext uri="{FF2B5EF4-FFF2-40B4-BE49-F238E27FC236}">
                      <a16:creationId xmlns:a16="http://schemas.microsoft.com/office/drawing/2014/main" id="{6F449D77-6E7E-1005-D906-17FD617AD436}"/>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7" name="Freeform: Shape 16076">
                  <a:extLst>
                    <a:ext uri="{FF2B5EF4-FFF2-40B4-BE49-F238E27FC236}">
                      <a16:creationId xmlns:a16="http://schemas.microsoft.com/office/drawing/2014/main" id="{9CF9016F-B761-8902-42A6-E44CE1C27F01}"/>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0" name="Graphic 745">
                <a:extLst>
                  <a:ext uri="{FF2B5EF4-FFF2-40B4-BE49-F238E27FC236}">
                    <a16:creationId xmlns:a16="http://schemas.microsoft.com/office/drawing/2014/main" id="{351C24B7-455C-586D-69F7-9A563BA5DF4F}"/>
                  </a:ext>
                </a:extLst>
              </p:cNvPr>
              <p:cNvGrpSpPr/>
              <p:nvPr/>
            </p:nvGrpSpPr>
            <p:grpSpPr>
              <a:xfrm>
                <a:off x="8212359" y="4275772"/>
                <a:ext cx="75723" cy="75723"/>
                <a:chOff x="8212359" y="4275772"/>
                <a:chExt cx="75723" cy="75723"/>
              </a:xfrm>
            </p:grpSpPr>
            <p:sp>
              <p:nvSpPr>
                <p:cNvPr id="16074" name="Freeform: Shape 16073">
                  <a:extLst>
                    <a:ext uri="{FF2B5EF4-FFF2-40B4-BE49-F238E27FC236}">
                      <a16:creationId xmlns:a16="http://schemas.microsoft.com/office/drawing/2014/main" id="{39FDDF47-124A-A276-67CE-7568CB6367CF}"/>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5" name="Freeform: Shape 16074">
                  <a:extLst>
                    <a:ext uri="{FF2B5EF4-FFF2-40B4-BE49-F238E27FC236}">
                      <a16:creationId xmlns:a16="http://schemas.microsoft.com/office/drawing/2014/main" id="{29B011C6-1CCA-DF29-858C-1EC28C72F695}"/>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1" name="Graphic 745">
                <a:extLst>
                  <a:ext uri="{FF2B5EF4-FFF2-40B4-BE49-F238E27FC236}">
                    <a16:creationId xmlns:a16="http://schemas.microsoft.com/office/drawing/2014/main" id="{50C4D4D4-47FD-5A33-2293-76C06359E063}"/>
                  </a:ext>
                </a:extLst>
              </p:cNvPr>
              <p:cNvGrpSpPr/>
              <p:nvPr/>
            </p:nvGrpSpPr>
            <p:grpSpPr>
              <a:xfrm>
                <a:off x="8226933" y="4275772"/>
                <a:ext cx="75723" cy="75723"/>
                <a:chOff x="8226933" y="4275772"/>
                <a:chExt cx="75723" cy="75723"/>
              </a:xfrm>
            </p:grpSpPr>
            <p:sp>
              <p:nvSpPr>
                <p:cNvPr id="16072" name="Freeform: Shape 16071">
                  <a:extLst>
                    <a:ext uri="{FF2B5EF4-FFF2-40B4-BE49-F238E27FC236}">
                      <a16:creationId xmlns:a16="http://schemas.microsoft.com/office/drawing/2014/main" id="{014FC80C-2ABC-D228-73F4-B35CB065AD90}"/>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3" name="Freeform: Shape 16072">
                  <a:extLst>
                    <a:ext uri="{FF2B5EF4-FFF2-40B4-BE49-F238E27FC236}">
                      <a16:creationId xmlns:a16="http://schemas.microsoft.com/office/drawing/2014/main" id="{EAE7F8C2-7803-9A7D-B2E9-440B64A3F5F7}"/>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968" name="Freeform: Shape 15967">
              <a:extLst>
                <a:ext uri="{FF2B5EF4-FFF2-40B4-BE49-F238E27FC236}">
                  <a16:creationId xmlns:a16="http://schemas.microsoft.com/office/drawing/2014/main" id="{26588E67-AE49-7C48-AF5F-72A5FBDF863E}"/>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aphicFrame>
        <p:nvGraphicFramePr>
          <p:cNvPr id="5" name="Table 4">
            <a:extLst>
              <a:ext uri="{FF2B5EF4-FFF2-40B4-BE49-F238E27FC236}">
                <a16:creationId xmlns:a16="http://schemas.microsoft.com/office/drawing/2014/main" id="{78A210F8-D95F-6D98-BF32-6167E1C53193}"/>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5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8</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grpSp>
        <p:nvGrpSpPr>
          <p:cNvPr id="15321" name="Group 15320">
            <a:extLst>
              <a:ext uri="{FF2B5EF4-FFF2-40B4-BE49-F238E27FC236}">
                <a16:creationId xmlns:a16="http://schemas.microsoft.com/office/drawing/2014/main" id="{403F490C-0BD9-BFAF-195B-8E4A38B23C8E}"/>
              </a:ext>
            </a:extLst>
          </p:cNvPr>
          <p:cNvGrpSpPr/>
          <p:nvPr/>
        </p:nvGrpSpPr>
        <p:grpSpPr>
          <a:xfrm>
            <a:off x="8595610" y="1841319"/>
            <a:ext cx="3422910" cy="4317887"/>
            <a:chOff x="8095933" y="1892105"/>
            <a:chExt cx="3422910" cy="4317887"/>
          </a:xfrm>
        </p:grpSpPr>
        <p:sp>
          <p:nvSpPr>
            <p:cNvPr id="14707" name="Rectangle 14706">
              <a:extLst>
                <a:ext uri="{FF2B5EF4-FFF2-40B4-BE49-F238E27FC236}">
                  <a16:creationId xmlns:a16="http://schemas.microsoft.com/office/drawing/2014/main" id="{DD9C597C-981D-A395-0E72-D46CD3080D3E}"/>
                </a:ext>
              </a:extLst>
            </p:cNvPr>
            <p:cNvSpPr/>
            <p:nvPr/>
          </p:nvSpPr>
          <p:spPr>
            <a:xfrm>
              <a:off x="9296400" y="1893537"/>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33073706-BEC3-31B2-8E61-2BE832B37C02}"/>
                </a:ext>
              </a:extLst>
            </p:cNvPr>
            <p:cNvGrpSpPr/>
            <p:nvPr/>
          </p:nvGrpSpPr>
          <p:grpSpPr>
            <a:xfrm>
              <a:off x="8095933" y="5588589"/>
              <a:ext cx="3422910" cy="621403"/>
              <a:chOff x="6947747" y="5927550"/>
              <a:chExt cx="3422910" cy="621403"/>
            </a:xfrm>
          </p:grpSpPr>
          <p:grpSp>
            <p:nvGrpSpPr>
              <p:cNvPr id="15243" name="Group 15242">
                <a:extLst>
                  <a:ext uri="{FF2B5EF4-FFF2-40B4-BE49-F238E27FC236}">
                    <a16:creationId xmlns:a16="http://schemas.microsoft.com/office/drawing/2014/main" id="{F6F408BF-C76B-9E0A-1E54-E018466D4EBA}"/>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3C4FF460-8DBB-F678-86BF-2D27F52585FF}"/>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4B69CF1C-4CA9-C3DB-0765-906832C8AF39}"/>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DF7BC5AA-1DEE-846F-5F1A-32C910BFD743}"/>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CA14C53E-E4C4-84E0-94D6-E29011BA76D1}"/>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FF683E3D-627A-8762-CE3E-EBAD41DA22E8}"/>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C340A8BC-BDCE-58CA-CB29-251135B8AF45}"/>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A1DD73B7-07B5-EAEE-B6B8-AC55C0CA7E8F}"/>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1F06D3E9-5774-6A5B-D4F2-F587AD412B92}"/>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9772D718-90E5-4C82-C37C-8B0080C9B9F3}"/>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BCD9D3EF-7903-0938-A1C2-4C35EFBC4779}"/>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C54A183B-33CC-F010-B5C3-5F32041CE83B}"/>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1D0496BE-4BF0-5C41-0371-7C0909A06201}"/>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7861694E-0B5D-CDC0-66A4-948B718A7621}"/>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0387ABDC-C924-EB20-1078-F9C4D4D8375A}"/>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14715" name="Group 14714">
              <a:extLst>
                <a:ext uri="{FF2B5EF4-FFF2-40B4-BE49-F238E27FC236}">
                  <a16:creationId xmlns:a16="http://schemas.microsoft.com/office/drawing/2014/main" id="{2A4B59A9-4A84-8FF8-E39A-086D7EDCC180}"/>
                </a:ext>
              </a:extLst>
            </p:cNvPr>
            <p:cNvGrpSpPr>
              <a:grpSpLocks/>
            </p:cNvGrpSpPr>
            <p:nvPr/>
          </p:nvGrpSpPr>
          <p:grpSpPr>
            <a:xfrm>
              <a:off x="8995305" y="4125526"/>
              <a:ext cx="752890" cy="162000"/>
              <a:chOff x="4774830" y="5018189"/>
              <a:chExt cx="752890" cy="162000"/>
            </a:xfrm>
          </p:grpSpPr>
          <p:sp>
            <p:nvSpPr>
              <p:cNvPr id="15288" name="Oval 15287">
                <a:extLst>
                  <a:ext uri="{FF2B5EF4-FFF2-40B4-BE49-F238E27FC236}">
                    <a16:creationId xmlns:a16="http://schemas.microsoft.com/office/drawing/2014/main" id="{51759A01-1274-AF1A-6397-DA3FAE1AD3EA}"/>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89" name="Group 15288">
                <a:extLst>
                  <a:ext uri="{FF2B5EF4-FFF2-40B4-BE49-F238E27FC236}">
                    <a16:creationId xmlns:a16="http://schemas.microsoft.com/office/drawing/2014/main" id="{00802AC6-4544-D22C-B80F-03F2A4E5B138}"/>
                  </a:ext>
                </a:extLst>
              </p:cNvPr>
              <p:cNvGrpSpPr>
                <a:grpSpLocks/>
              </p:cNvGrpSpPr>
              <p:nvPr/>
            </p:nvGrpSpPr>
            <p:grpSpPr>
              <a:xfrm>
                <a:off x="4774830" y="5018189"/>
                <a:ext cx="752890" cy="162000"/>
                <a:chOff x="3115805" y="2070402"/>
                <a:chExt cx="140336" cy="162000"/>
              </a:xfrm>
            </p:grpSpPr>
            <p:cxnSp>
              <p:nvCxnSpPr>
                <p:cNvPr id="15290" name="Straight Connector 15289">
                  <a:extLst>
                    <a:ext uri="{FF2B5EF4-FFF2-40B4-BE49-F238E27FC236}">
                      <a16:creationId xmlns:a16="http://schemas.microsoft.com/office/drawing/2014/main" id="{8C0C04A7-EB4E-46FC-8B4D-951238F80A84}"/>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15291" name="Straight Connector 15290">
                  <a:extLst>
                    <a:ext uri="{FF2B5EF4-FFF2-40B4-BE49-F238E27FC236}">
                      <a16:creationId xmlns:a16="http://schemas.microsoft.com/office/drawing/2014/main" id="{CEE0BDD1-4A49-DA95-BDE6-4BE791C1D1B5}"/>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5292" name="Straight Connector 15291">
                  <a:extLst>
                    <a:ext uri="{FF2B5EF4-FFF2-40B4-BE49-F238E27FC236}">
                      <a16:creationId xmlns:a16="http://schemas.microsoft.com/office/drawing/2014/main" id="{38D5EAA0-7CD1-9C99-C10F-0AD3CA82A6BC}"/>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14718" name="Group 14717">
              <a:extLst>
                <a:ext uri="{FF2B5EF4-FFF2-40B4-BE49-F238E27FC236}">
                  <a16:creationId xmlns:a16="http://schemas.microsoft.com/office/drawing/2014/main" id="{276AF367-08C1-0691-C4BA-DA4769E39704}"/>
                </a:ext>
              </a:extLst>
            </p:cNvPr>
            <p:cNvGrpSpPr>
              <a:grpSpLocks/>
            </p:cNvGrpSpPr>
            <p:nvPr/>
          </p:nvGrpSpPr>
          <p:grpSpPr>
            <a:xfrm>
              <a:off x="8904210" y="5052014"/>
              <a:ext cx="832326" cy="162000"/>
              <a:chOff x="4829944" y="4340228"/>
              <a:chExt cx="832326" cy="162000"/>
            </a:xfrm>
          </p:grpSpPr>
          <p:sp>
            <p:nvSpPr>
              <p:cNvPr id="15273" name="Oval 15272">
                <a:extLst>
                  <a:ext uri="{FF2B5EF4-FFF2-40B4-BE49-F238E27FC236}">
                    <a16:creationId xmlns:a16="http://schemas.microsoft.com/office/drawing/2014/main" id="{D140EC1B-F275-DFEA-E745-086058BFCB5E}"/>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74" name="Group 15273">
                <a:extLst>
                  <a:ext uri="{FF2B5EF4-FFF2-40B4-BE49-F238E27FC236}">
                    <a16:creationId xmlns:a16="http://schemas.microsoft.com/office/drawing/2014/main" id="{E3EB4527-25E9-0CD9-1C6C-C8CC829FC620}"/>
                  </a:ext>
                </a:extLst>
              </p:cNvPr>
              <p:cNvGrpSpPr>
                <a:grpSpLocks/>
              </p:cNvGrpSpPr>
              <p:nvPr/>
            </p:nvGrpSpPr>
            <p:grpSpPr>
              <a:xfrm>
                <a:off x="4829944" y="4340228"/>
                <a:ext cx="832326" cy="162000"/>
                <a:chOff x="3115219" y="2070402"/>
                <a:chExt cx="108588" cy="162000"/>
              </a:xfrm>
            </p:grpSpPr>
            <p:cxnSp>
              <p:nvCxnSpPr>
                <p:cNvPr id="15277" name="Straight Connector 15276">
                  <a:extLst>
                    <a:ext uri="{FF2B5EF4-FFF2-40B4-BE49-F238E27FC236}">
                      <a16:creationId xmlns:a16="http://schemas.microsoft.com/office/drawing/2014/main" id="{C25510F3-172B-BFB6-CA3C-6E79FF336075}"/>
                    </a:ext>
                  </a:extLst>
                </p:cNvPr>
                <p:cNvCxnSpPr>
                  <a:cxnSpLocks/>
                </p:cNvCxnSpPr>
                <p:nvPr/>
              </p:nvCxnSpPr>
              <p:spPr>
                <a:xfrm flipH="1">
                  <a:off x="3115219" y="2151402"/>
                  <a:ext cx="108493" cy="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5" name="Straight Connector 15274">
                  <a:extLst>
                    <a:ext uri="{FF2B5EF4-FFF2-40B4-BE49-F238E27FC236}">
                      <a16:creationId xmlns:a16="http://schemas.microsoft.com/office/drawing/2014/main" id="{E6BF82AD-176D-BF59-0FF0-3F499A869B37}"/>
                    </a:ext>
                  </a:extLst>
                </p:cNvPr>
                <p:cNvCxnSpPr>
                  <a:cxnSpLocks/>
                </p:cNvCxnSpPr>
                <p:nvPr/>
              </p:nvCxnSpPr>
              <p:spPr>
                <a:xfrm>
                  <a:off x="3115805" y="2070402"/>
                  <a:ext cx="0" cy="16200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6" name="Straight Connector 15275">
                  <a:extLst>
                    <a:ext uri="{FF2B5EF4-FFF2-40B4-BE49-F238E27FC236}">
                      <a16:creationId xmlns:a16="http://schemas.microsoft.com/office/drawing/2014/main" id="{50A7002A-0F0A-B91E-88DD-36AF8C1EA954}"/>
                    </a:ext>
                  </a:extLst>
                </p:cNvPr>
                <p:cNvCxnSpPr>
                  <a:cxnSpLocks/>
                </p:cNvCxnSpPr>
                <p:nvPr/>
              </p:nvCxnSpPr>
              <p:spPr>
                <a:xfrm>
                  <a:off x="3223807" y="2070402"/>
                  <a:ext cx="0" cy="162000"/>
                </a:xfrm>
                <a:prstGeom prst="line">
                  <a:avLst/>
                </a:prstGeom>
                <a:solidFill>
                  <a:schemeClr val="tx2">
                    <a:lumMod val="75000"/>
                    <a:lumOff val="25000"/>
                  </a:schemeClr>
                </a:solidFill>
                <a:ln w="9525" cap="flat" cmpd="sng" algn="ctr">
                  <a:solidFill>
                    <a:srgbClr val="000000"/>
                  </a:solidFill>
                  <a:prstDash val="solid"/>
                </a:ln>
                <a:effectLst/>
              </p:spPr>
            </p:cxnSp>
          </p:grpSp>
        </p:grpSp>
        <p:grpSp>
          <p:nvGrpSpPr>
            <p:cNvPr id="15233" name="Group 15232">
              <a:extLst>
                <a:ext uri="{FF2B5EF4-FFF2-40B4-BE49-F238E27FC236}">
                  <a16:creationId xmlns:a16="http://schemas.microsoft.com/office/drawing/2014/main" id="{54C3167D-805B-ECEF-0692-79BDD381992B}"/>
                </a:ext>
              </a:extLst>
            </p:cNvPr>
            <p:cNvGrpSpPr>
              <a:grpSpLocks/>
            </p:cNvGrpSpPr>
            <p:nvPr/>
          </p:nvGrpSpPr>
          <p:grpSpPr>
            <a:xfrm>
              <a:off x="9187327" y="3180927"/>
              <a:ext cx="515622" cy="203289"/>
              <a:chOff x="4713766" y="3682352"/>
              <a:chExt cx="515622" cy="203289"/>
            </a:xfrm>
          </p:grpSpPr>
          <p:sp>
            <p:nvSpPr>
              <p:cNvPr id="15258" name="Oval 15257">
                <a:extLst>
                  <a:ext uri="{FF2B5EF4-FFF2-40B4-BE49-F238E27FC236}">
                    <a16:creationId xmlns:a16="http://schemas.microsoft.com/office/drawing/2014/main" id="{1B3002C8-4F69-BE05-4D1A-C51BD51C1B0F}"/>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59" name="Group 15258">
                <a:extLst>
                  <a:ext uri="{FF2B5EF4-FFF2-40B4-BE49-F238E27FC236}">
                    <a16:creationId xmlns:a16="http://schemas.microsoft.com/office/drawing/2014/main" id="{E09C03F1-520C-E1AE-4757-8C0A64E398E6}"/>
                  </a:ext>
                </a:extLst>
              </p:cNvPr>
              <p:cNvGrpSpPr>
                <a:grpSpLocks/>
              </p:cNvGrpSpPr>
              <p:nvPr/>
            </p:nvGrpSpPr>
            <p:grpSpPr>
              <a:xfrm>
                <a:off x="4713766" y="3702996"/>
                <a:ext cx="515622" cy="162000"/>
                <a:chOff x="3115805" y="2073465"/>
                <a:chExt cx="89927" cy="162000"/>
              </a:xfrm>
            </p:grpSpPr>
            <p:cxnSp>
              <p:nvCxnSpPr>
                <p:cNvPr id="15260" name="Straight Connector 15259">
                  <a:extLst>
                    <a:ext uri="{FF2B5EF4-FFF2-40B4-BE49-F238E27FC236}">
                      <a16:creationId xmlns:a16="http://schemas.microsoft.com/office/drawing/2014/main" id="{861E8EC1-BBBC-0112-0E5D-4C36BE61DA32}"/>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15261" name="Straight Connector 15260">
                  <a:extLst>
                    <a:ext uri="{FF2B5EF4-FFF2-40B4-BE49-F238E27FC236}">
                      <a16:creationId xmlns:a16="http://schemas.microsoft.com/office/drawing/2014/main" id="{2D9EDA04-D798-B8D6-6575-A24F14068D71}"/>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15262" name="Straight Connector 15261">
                  <a:extLst>
                    <a:ext uri="{FF2B5EF4-FFF2-40B4-BE49-F238E27FC236}">
                      <a16:creationId xmlns:a16="http://schemas.microsoft.com/office/drawing/2014/main" id="{7A8C5350-771B-01DE-A820-1F1278364BF5}"/>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15234" name="Straight Connector 15233">
              <a:extLst>
                <a:ext uri="{FF2B5EF4-FFF2-40B4-BE49-F238E27FC236}">
                  <a16:creationId xmlns:a16="http://schemas.microsoft.com/office/drawing/2014/main" id="{7DE62F2D-82C0-D8FA-D850-1B4AD722D7FC}"/>
                </a:ext>
              </a:extLst>
            </p:cNvPr>
            <p:cNvCxnSpPr>
              <a:cxnSpLocks/>
            </p:cNvCxnSpPr>
            <p:nvPr/>
          </p:nvCxnSpPr>
          <p:spPr>
            <a:xfrm>
              <a:off x="9782256" y="1892105"/>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B593DDC6-F7F3-AEFA-2AFC-2748E04466C2}"/>
                </a:ext>
              </a:extLst>
            </p:cNvPr>
            <p:cNvGrpSpPr>
              <a:grpSpLocks/>
            </p:cNvGrpSpPr>
            <p:nvPr/>
          </p:nvGrpSpPr>
          <p:grpSpPr>
            <a:xfrm>
              <a:off x="9291527" y="2236222"/>
              <a:ext cx="467997" cy="231865"/>
              <a:chOff x="4760816" y="3665683"/>
              <a:chExt cx="467997" cy="231865"/>
            </a:xfrm>
          </p:grpSpPr>
          <p:sp>
            <p:nvSpPr>
              <p:cNvPr id="15311" name="Oval 15310">
                <a:extLst>
                  <a:ext uri="{FF2B5EF4-FFF2-40B4-BE49-F238E27FC236}">
                    <a16:creationId xmlns:a16="http://schemas.microsoft.com/office/drawing/2014/main" id="{00168E95-E16C-8905-353B-CAAFF1A77758}"/>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0F3A199B-94C1-E4AF-1A1A-0A06AB1664EB}"/>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1A967ABB-2A8B-672A-0028-633E06138DFC}"/>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340857FE-C3AF-B761-CC83-BA0880FA704B}"/>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E7F40D66-3F39-1191-436E-C39F7ABCE263}"/>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sp>
        <p:nvSpPr>
          <p:cNvPr id="2" name="Text Placeholder 1">
            <a:extLst>
              <a:ext uri="{FF2B5EF4-FFF2-40B4-BE49-F238E27FC236}">
                <a16:creationId xmlns:a16="http://schemas.microsoft.com/office/drawing/2014/main" id="{DEECEF00-DF9E-9DEE-79BA-399EEE5F349F}"/>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a:p>
            <a:endParaRPr lang="en-US" noProof="0" dirty="0"/>
          </a:p>
        </p:txBody>
      </p:sp>
      <p:sp>
        <p:nvSpPr>
          <p:cNvPr id="13182" name="Rectangle 13181" hidden="1">
            <a:extLst>
              <a:ext uri="{FF2B5EF4-FFF2-40B4-BE49-F238E27FC236}">
                <a16:creationId xmlns:a16="http://schemas.microsoft.com/office/drawing/2014/main" id="{99E6D6FE-0A86-27B3-2EB8-07ECE796EA3D}"/>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66FEC926-9C0A-21B4-1AC9-834D4AE8D4EA}"/>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1730319F-F4BB-F5EE-C84D-77CC84096237}"/>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93BB7291-AB2E-37ED-EF24-5914B0643774}"/>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CC16B3A9-F7D0-B0A3-860C-D7765B8D0608}"/>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1C881DCA-C5B7-52A3-7696-85A0EE34688E}"/>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AE58264A-BF69-3D48-620B-05105705F3C8}"/>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9CF1454C-7336-3319-A640-D7F3DCDE9DEC}"/>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D04CF22E-45C7-9F98-8132-16567BB92CE5}"/>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E7A3DD43-94CC-D6C1-E486-272AA567EAAD}"/>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8D1C880A-906A-D3F8-E1C5-23928350A823}"/>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E8069F39-5F92-1810-31BA-8C818C1E6077}"/>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06AD8BEA-896F-1409-2689-E0E9E8FC0B5F}"/>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DF36C65F-0E80-CED0-F67D-3268DA79B01F}"/>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2B2F3513-A689-C3ED-4040-C72DF590DC79}"/>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4D6E6155-8C0E-9FA6-4182-12E9A50DAE8A}"/>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815AF229-294D-077A-B2E8-B27BABDF20CF}"/>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057FF87B-A5DC-6B0D-B50C-CB9ECC441944}"/>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9426E7D7-3F50-67C0-40BF-614D3F250BFF}"/>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EF3B688A-9E34-1696-585C-8E1F5B340127}"/>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5541A707-5D51-C6CC-8AB8-50D49983BCE0}"/>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71F3857F-6E5A-3FF7-A5F1-EBB3D89889AD}"/>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734B70B7-5552-5D2A-7876-FF230FEA2500}"/>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EE06142A-6888-AB4E-D6F8-9C9D69EFE59C}"/>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2E57D10F-F04B-E9CC-8DCC-34A8FE7C5E32}"/>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6A2D629C-5B7D-DF06-A73F-76138737E85F}"/>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0459975A-6383-FB25-2649-27FECECEA11E}"/>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DA9FACF6-AFA4-CE37-EDC3-6AABF4E32E7A}"/>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B5D822A2-8A45-C470-4925-FCB55A4A05A6}"/>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92E8C899-E808-441E-7F22-01F0339AEC1D}"/>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B1D7F4F2-E0D4-7DB6-0647-A60F89D4E6ED}"/>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6EA70CF6-E3AA-BFFC-96FA-E8A6779D9358}"/>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CDD8EECF-A858-EEC2-0D4B-2CECF928B49C}"/>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BAC56C22-0A51-56BA-C6BC-18DE584B2DA7}"/>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EF62E31C-6C53-E696-CD84-F20C04BA652F}"/>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4F86E439-EEC4-D5C1-CD69-2B713FE37856}"/>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E36A50E8-F0BB-17F9-ABE8-32C69EF8D73B}"/>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9723E419-5A6F-047B-7AB3-BD025B6AE70C}"/>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3A5E6BDB-5FD4-2D49-58CD-0170CE679A45}"/>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EA7F3E05-533F-833B-8607-CD8059CBB507}"/>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CAA9E646-760E-542D-FE7B-5E3A3767F387}"/>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58E8CEFB-5BD0-9207-68BA-6DCDF9965BA3}"/>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90B7324C-201B-37D9-EBED-CA91AD9211C3}"/>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F02092BF-2219-9E06-9CF5-4F7D7CCBE063}"/>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2C98514D-0B24-F5B1-1E5E-20D93BC5ABB0}"/>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71028486-0371-6280-2197-8ADC772609DE}"/>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B2EF6728-74D1-37F9-CDF7-4ADB469BA5E6}"/>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01CC262E-F885-B633-602A-8C241AD27C55}"/>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4EDD2AF3-A6CE-0627-A606-8083E073A711}"/>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2F5198AD-3C8C-DD0B-305D-7FD2A43B19F4}"/>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A3389D2A-84C8-2707-C010-4DC3D555AC31}"/>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B1776321-E60A-DF6E-5711-D6705CB86E0A}"/>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7A9243E3-EBAE-BA4E-85CD-D51B7AF28D3C}"/>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125351DD-B693-18B7-46BC-E2DF119D3FC8}"/>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33B14B57-9CEF-2946-3E58-06282B1FBA75}"/>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38BC12D1-077B-4DEE-079B-2B1CCE768CE9}"/>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04BF78DA-3EA1-EA97-993D-E1CEE8918B14}"/>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28578762-2CF3-77F3-CD76-1D82B23E0144}"/>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603E75DB-03DD-5F7F-C3AE-A705ADAE15BC}"/>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37EC97C3-4CA0-98D1-E918-25808DFC0762}"/>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3FDE30F5-FC34-B842-D125-7535CB875234}"/>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66C5E32E-233A-B45F-CAE3-8D05FF104D2E}"/>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6804AB23-B815-945D-3837-4A47ECEEAC95}"/>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70373374-15FE-B938-0FB9-40518ECC42EA}"/>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B4F71292-35E2-1FCB-2BBE-9935850A2CA1}"/>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737CEE84-5025-D6A8-0BE9-888E28A263F9}"/>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0F07B735-3FA6-7964-3B59-0CDF567DE05A}"/>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4652A074-BD80-C57A-D98A-437D621C6CE1}"/>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25A8AD54-8E38-A77C-CDC4-2CD9E2F9801E}"/>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0250B67A-BC58-2AC6-4384-67660E512697}"/>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B3348196-1B29-A472-2255-CD431C1D6ABF}"/>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2EFBFE41-0549-2135-8832-0055C4262B34}"/>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63622F2A-3488-5220-C939-FEB4DB4F3801}"/>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520D066E-FCFA-B49A-41A9-66D76F917113}"/>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BDDFF1DD-8357-0B3E-A905-C7B3BFF5880E}"/>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7823C4D8-31B3-09AA-5E8C-6686B4017FF1}"/>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092678BF-D7D7-88F7-6A16-768BC1BEE425}"/>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D6D974E8-F9EF-3D5B-E02C-73DDDADA51C7}"/>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BFD3A44F-E6B6-8133-A724-6B607C46EA92}"/>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9BB1B876-C40B-90EE-08DC-7E4F5D72734A}"/>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F9F57ACC-731E-C44A-4671-11D669B0F526}"/>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CA9280F2-165B-CF77-7510-794625187B0B}"/>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B5A83D7D-8E9F-5625-3C67-3508FB7B9193}"/>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2C210CAD-6B8A-BF2C-5E03-D1365B28AFB0}"/>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B642E003-F91D-CFA4-FB68-31E88E33BB99}"/>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4904B0B1-565E-ECCD-B914-5FCD4343D4B3}"/>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ACB072E4-0C28-FC67-5C79-D1005E3F1804}"/>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1026BBA5-F453-CAFA-E5EA-CDD6EAD6B387}"/>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621F22D3-3254-02F3-3EDA-761628370A15}"/>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AA8A8EAF-6EB6-77A5-2CC9-89D441E02809}"/>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D543E2A9-0D7F-046A-2B02-B494AC9CBEA1}"/>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3DE543F0-F766-2FF0-7BD3-74C8CF0D2AFB}"/>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77FD243B-F0F6-D189-6E17-980FB2361876}"/>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6C4DBE84-15DE-5C92-7A3A-84B806FB8B3D}"/>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68F9F7C3-9861-CC0A-6B52-D1E1F0563F34}"/>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00E39806-C2B6-78D3-C1BE-B7BA23418BD5}"/>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503B9CCC-1407-4528-1C11-7160D10C6AF5}"/>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69F754F6-DEE0-643C-E0C5-35DD635C7188}"/>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E9035627-D131-B1E7-DC98-F6CEA4B79788}"/>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BC34AB28-479B-06FF-B6BE-5C477BC2406E}"/>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8496A9B1-0265-7DF2-F81A-9F0D1A7C2F9A}"/>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EBAC2174-A2AE-D4BE-AA95-788F6ED05BEF}"/>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AE8CF09B-4E76-A020-7817-EC1707BD7775}"/>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68D5ABBB-385C-A7C5-7DF8-9A6617F4CCE1}"/>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EA0A3677-8B98-BDC4-CCF9-7755DE74B6BF}"/>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1E8C034D-6D84-49DB-FA99-06F10702C527}"/>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D1615D56-2DE8-8668-B491-2B9CD7C9F6BB}"/>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3C2D8C71-E1A5-40B3-86A5-1475742720D9}"/>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941FB373-74D5-B9E7-64C8-D8915BEC8C2D}"/>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E49FDC40-E428-F28E-7728-C57A38EE1899}"/>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BA08D6C2-2C1B-CECE-E8BD-D99FD641DB61}"/>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9D25F4EA-104F-A6DE-0D27-2B3E7748DC22}"/>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06C23052-B475-059F-F234-8FF713FACEE0}"/>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4DEAE85B-680D-A1D3-91F1-5B3F26CA3AA8}"/>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AB098A4A-6EEE-12AD-E821-FBBB2C375C6F}"/>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1C3A03C8-6A2D-2AED-021C-07602A04C67B}"/>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CA1273FB-8AEE-EB47-3044-7D666FA3A97E}"/>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0C3DECEE-BF6D-FC58-1E32-746CF443EB35}"/>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5288EFD5-CE07-0914-2028-04092BDCF94C}"/>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0317B8ED-6ED1-5763-9F18-9BF4BE00CA84}"/>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718D7CD6-1D40-ED58-16C8-EA35D8E984E0}"/>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72D8BF7A-18E2-7619-1A64-34BAF64B581A}"/>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C5009DEC-F89C-BA35-5F64-45114DEE8BDB}"/>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199436B0-5938-7A70-4288-0BCFE5FF7188}"/>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61F36087-D95D-BBC1-268E-47ED2D78BD66}"/>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14F4F042-4274-6D80-2EE7-58DCC17B2F82}"/>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B4391E5C-A1FA-F3BE-DC30-5C2668D03AC8}"/>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9938C365-905A-03A9-D4E6-EDC3880F7AAE}"/>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6CC1A9E6-0843-E1D1-764C-3CB6C2450960}"/>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6915D6A4-157A-CB6E-14E3-68DB9DF105A0}"/>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20301C5D-DFB9-50C7-371D-473C6E4995F4}"/>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33D93638-45DC-78B8-0420-0BF8C0BEAE6B}"/>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7A3F8808-F08D-1F24-0584-42CA11FB1E82}"/>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E88B6B6A-F6C4-912D-C28B-E5D397B290A3}"/>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B1A5BDD7-3944-4E18-8462-CF1B3AA71578}"/>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61241AAF-2CCD-AFAA-DA8A-E0A9D41EFE65}"/>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009500E7-EB5F-C38B-0211-0A727380FE6C}"/>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646367E9-16B8-4C5E-CEDC-7D64AB388400}"/>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57848EF6-B4E1-FF94-4D78-98BFE7BBD15D}"/>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757D6355-2002-81D4-ED3F-4B9E56EDB076}"/>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C8EDCE54-7CC0-B698-794C-DD08E570C527}"/>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5332BCA4-A457-A3E7-6955-FF2DDEB5C5A3}"/>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31E6DAF4-53E0-ECF5-43F5-E5E7EDD91835}"/>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5CF579FE-2F46-7997-49F0-F4843F497FBD}"/>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F5DC0564-B698-EEFF-349B-DC36AD49EF20}"/>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9E27C71D-9FE5-F58E-E27F-B88514C76918}"/>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D2150D1A-72E4-24B6-3A9C-CF066635EEDD}"/>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5D4DB3DA-1931-DC52-2C25-F9B40245AEA4}"/>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8A9AD039-98AC-7413-7D57-3E739070C6EC}"/>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BDA8F418-B73A-2F2A-A2C3-B8B645BA7225}"/>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824144EE-2A0D-FD2F-2317-EF4FE3F682EA}"/>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DEBDB500-3AFD-A949-5FF8-BFE73FA477BB}"/>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CD86FA06-3EFA-44A0-678F-1C717780C388}"/>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9E637B1E-A4B6-160D-33D7-E9274E157D8B}"/>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9B183878-18AE-454F-A459-201BF76F28F8}"/>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F01294B4-E6E7-660B-D3B2-641E6A5D909F}"/>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24133BBF-1952-06CF-539E-DAFCFE5B2CCB}"/>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9131C7C8-BF9C-0B09-DF3C-B597E15DEB8B}"/>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EE2C33DF-39C2-2C85-FC48-FA9B85C8E785}"/>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7FF3A0CA-A536-F5BD-0857-095D27B6768B}"/>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8FE025E7-A14E-BD82-01CB-1AF7C94FC244}"/>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5A8F1423-4E84-66F1-E106-8E3AA8CD940F}"/>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57EB1114-F721-1436-E142-25C2597CAA6B}"/>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94E9B527-986D-5F47-9B7F-30D22B83DBC7}"/>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57D94631-C75E-E008-34DC-CFE167590585}"/>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F04FC079-8007-FC21-A937-9B12A12BBF61}"/>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30531A90-D577-998F-9549-0B9F5F820D11}"/>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7C04D9BF-105A-D306-FC98-91E5CB4126F9}"/>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9FED21DC-D79D-DFE7-7F87-E343F5D8FE4E}"/>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DDD530BD-FD28-967E-4BD6-98B845B89AC7}"/>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24D2E074-F3A6-83C9-EEB1-24F356E545EF}"/>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E012283B-7FE8-86EB-5D79-F4DB699A26B5}"/>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76A9C354-CF42-8310-28F5-731587CB7B80}"/>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3401CDA6-1390-B2BF-70E2-7205BE29C511}"/>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FFC92437-44E5-3C8B-9A61-1915C9B64BAF}"/>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29AB7A51-5240-B27F-C0FD-B3A5D9D48C86}"/>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7C1D3D37-9E0D-9E5F-6DBA-1E86C0A2E166}"/>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BB81531E-EC2A-A627-29EB-6799BE78BD3D}"/>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4659A552-F28F-25F7-DE88-3636331B9F24}"/>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F299F25F-C0BE-2BF9-5E25-0FE6E84EC1FF}"/>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B8767FC4-5F59-58F1-F919-4F5AE4575B16}"/>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32BED4C7-F8B8-BD72-3A91-C0DFE085C583}"/>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36A665E8-993D-2873-B036-ED994B001E01}"/>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88195A58-EC7A-34B5-2AAE-046E97E797EE}"/>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6B19C98D-AF8F-6BC0-0DBF-6A381D413BF2}"/>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3192A6CA-A2C0-A721-E515-CE84F8602E1C}"/>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A099F74A-C222-F580-AC17-DE3C001C389E}"/>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07E90BE7-0B59-5FEE-065C-623D322E764E}"/>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CB5AC478-937E-4A61-05C3-93740113D6D9}"/>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215CA707-6376-CAEF-D2EB-A4DE3D3E910A}"/>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A5DC3D16-B072-8E5F-2FF5-751724A11105}"/>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239124FA-AE05-E6D8-7328-9835724A05E5}"/>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D4C492D2-5D51-5FAC-8CE8-D26DC3FE778F}"/>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99F65A97-B2D5-220E-E6BE-CBD1D7701B29}"/>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9AF1A5C3-4B2A-ED0B-0DFB-229675BEE2A1}"/>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A290B343-F385-E732-AE88-BBC3B7C7B9A8}"/>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A16417FD-E14C-1419-7AC5-B8542DB5ED60}"/>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8C7607D4-277C-7F5F-ADAB-28E9EFD1BFEF}"/>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9634D1B7-3172-6412-02AC-948A282CA9D3}"/>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5030C1D5-9E77-CD90-E5A8-64EA08E12D23}"/>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0E8B7A0C-FF95-AC88-9432-A6A03CEEBFCD}"/>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B72355AA-B5EB-D8CC-9E9F-2EC4F4CDF544}"/>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EF8BB4E2-420A-FDE3-8B86-D11CE9A83DC5}"/>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F18BF797-D5D7-EA16-EF8D-44E85E540DCB}"/>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A4977EC8-67D6-D2F7-4BB4-F2FCBBDD8074}"/>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3F2594D1-3501-5E65-C60D-D6907A47C16E}"/>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E7CCF2E2-C5CE-97AF-9B7A-982D625CEA95}"/>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4D15903D-EAC6-0F00-C18B-6081D57732C8}"/>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B535D7CA-74EE-66A4-5989-67D127F6E441}"/>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5F39B8CA-4D3C-4A33-7264-DC7CC2336BF5}"/>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E8F86601-2103-80DF-C7F9-08608217938F}"/>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AA97555A-BC65-7021-236E-A6B8662585F3}"/>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1554AF90-18F7-5343-1796-8665A7001458}"/>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49362A82-A394-83A5-246E-49D09B9CD54D}"/>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3C3142D3-7F49-603E-AE23-097B84150FCF}"/>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EEF09437-3CE6-ADDB-4397-CA0ED790448D}"/>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866D5814-8BB8-1BD4-6C3C-816A53764CA3}"/>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8E3AEE23-5D02-5F99-3DF3-78205BBC2C0A}"/>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52D195AD-5D41-9066-0AE5-5C4A16181F2E}"/>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D0DBEF6D-1F6A-6192-F4AF-11222FD30220}"/>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34087036-2F54-8AA6-0C29-E51F96F8E890}"/>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F79B31C8-1391-89F0-5E4E-9D094872D3EF}"/>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B07C8B41-7181-512A-5024-439BAB119E3B}"/>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8F5027D7-DFC7-3C7C-0D18-69B9E4CE1F0E}"/>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F1063610-5736-6961-1084-4DC64FCC3F30}"/>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AA131003-1809-24B5-8103-7E456C94BA00}"/>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484D371F-F9D8-D3C4-A0A5-D205F0332DB7}"/>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8C582ADF-CDD2-15D2-FB87-38DDA38A12FB}"/>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BFF7A8C9-9040-3D3C-F4DC-D20D82E3FB05}"/>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570D8314-A24A-406D-17B9-B1084406D60A}"/>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5662542C-0F3E-AADC-9842-867731B05293}"/>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39E79940-BFF6-0C43-7B53-4B169379EDFB}"/>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D42818B1-BE33-BAAF-659C-8CB6B1515672}"/>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E60EBB93-01E7-EF5D-678C-A06BC858F1CF}"/>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65E06118-7D96-AAF6-A5F0-D78997303D77}"/>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D6C3AF1B-CC41-1436-8B5C-2C67773BE7C6}"/>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9FD5CC22-8DEA-A0F5-D7BD-3A9A23980573}"/>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45BBD01A-365C-F053-4FBA-CDAE27FDF6DD}"/>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4B7EE366-A821-1FD4-D21A-B03B2184A6D5}"/>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BD35741C-B4AB-4E79-4848-B1A444F71ECD}"/>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3D18C043-9C5F-4172-F084-05FB1A1DA604}"/>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C60354BB-3610-F837-DEC8-5D91C75ADD01}"/>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5B9DC3B9-7989-060E-C513-AD254347F071}"/>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6D0A59F9-B4DF-99F0-CAA3-716FF193CEF8}"/>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C229E0FD-D49B-75F3-38C0-7339A204AAA1}"/>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1F201F8E-EED6-05F6-907B-2B1F670D43D1}"/>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FBF311E0-6EF8-7E70-14CB-AF6A18B52130}"/>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BBAB4317-BA4F-F308-2C91-917B15006962}"/>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628EC2C8-D005-DDEB-FF06-55529F75E751}"/>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F0E8240D-2FFB-283C-CE70-72C1F40A30A7}"/>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B74C2CFB-6211-62BC-C603-C0F2D3F1DF5F}"/>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D29D2C22-6F90-0D8D-B826-91A544BF3ED8}"/>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9C9132AD-0E72-2B67-8190-997B03A70736}"/>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90BACB7D-95C9-294D-2574-FA9AAC69C5E2}"/>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E28342BA-06B4-EBDE-A7F6-A4A776B5C8DA}"/>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ED257728-AD62-BCFB-7B92-18D98C8F1F06}"/>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32FD2EB9-D524-C654-1121-7070CA1D9A71}"/>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3F1CBBD2-260E-6F68-A35A-2D1AB4443464}"/>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F8948816-851B-85BD-8229-403EA35FD5B7}"/>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ACB0E9C3-310D-73AF-8843-FACD3962AB89}"/>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F75F95DE-BB8C-E333-BDA4-9BB03790456B}"/>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94AF2D41-8955-41CD-F9CD-0E91F98A9F4C}"/>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0D13DE2F-C565-BBA9-AFFC-EECECD7511B1}"/>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AB73E4F5-5490-D95E-D7C3-8532466B56F0}"/>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B6305972-FFE9-6582-EEF0-C98CCA67D63E}"/>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B34D0D02-6813-2E97-F440-73537F911845}"/>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0C0F96E5-2A72-C2A4-1AB9-4877C2EAB090}"/>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B0748ABF-ECC6-F4A4-2C93-03499F194BE5}"/>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D6A940F6-DE37-BBE9-6C0E-1926470998A6}"/>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274A42AD-44A3-15D1-E75A-AC4741FE2309}"/>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563A9083-3A21-005F-DD5E-C74C7BE90CB4}"/>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DFC25240-8C58-4C27-8302-67D24816EE90}"/>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CC855BFA-ED47-C94A-5E59-5876A7AACEE2}"/>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66523934-AB5E-4DE3-760C-9909BED34B6A}"/>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BEDABCBE-7BD9-503A-8C0E-6C584C024ECD}"/>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5FF8D608-1DF9-CBE8-8B28-8CC80E88D9D9}"/>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E385295E-F84F-0045-AAC0-730B6216939C}"/>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B6D56E60-FEAE-0096-EF03-C92A1005F178}"/>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435DFF1E-4641-BA52-F990-3D911770C7C0}"/>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6B17023E-FBF1-6ACA-8A3B-53D16DBDDB88}"/>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5E7DCFAA-1B14-ECC7-361D-D2E3772E0347}"/>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12C81507-AC15-0678-A7CE-9E60D8D3858C}"/>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A3CA0BEC-0CEC-A4BB-A923-AC84FEE7D1EA}"/>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4EF74B99-4181-E4A3-2C67-8938C8878C4D}"/>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42C99071-0CD3-CAFF-632D-019E8576C51F}"/>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39E25EC0-0C97-5062-C6A5-01E6A0A7DD1D}"/>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9C0CBCD7-F6ED-2EA4-9F56-729A51A8501C}"/>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F1390057-85FD-0B5A-89BC-3463967FE2DD}"/>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5D3698CE-F006-BA46-A1E8-5255FEB37046}"/>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28BAF459-EAAE-E3AA-7908-82B2C134CC1F}"/>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66E7A36A-CCB9-C7A3-DD7C-2DC9B44FFD68}"/>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D555131D-C563-982E-7045-310CF4B6057F}"/>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C6296BA9-8B33-66FB-044B-DDCEC11AF451}"/>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1DF4E0D3-23E7-D755-5308-5CA829F16DAC}"/>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31FA1A16-4F75-7B6F-5B77-73565C35A9BE}"/>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71D4FB6D-DA72-8247-EAF2-6A7BF69E4683}"/>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7AE4F223-81F7-41C0-5E67-3543BDCA3A67}"/>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19B609E7-9390-838E-D9B1-9C9E5455EABC}"/>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E153ED58-CB39-6CEC-8FC0-3359331D0DEB}"/>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4D31D4ED-1F3F-6CE1-04E3-014511EE35D7}"/>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B8C1315A-FDF0-68C2-0623-E9356F94753F}"/>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FE083880-2CC1-5944-FAD3-C0E9C237E4B0}"/>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970DA6ED-E5F9-EE84-610D-DD731B353588}"/>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9B1E243A-6368-9CE9-95CC-56010A227FB6}"/>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C58062E6-2256-FA49-77EF-BB12E1D33180}"/>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951CD56C-DEC9-F757-8EB0-67CF7BC7F214}"/>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D99F1883-1BEE-2CA5-6337-078D31F3243A}"/>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3A405160-142B-4677-0C08-61CC5EC52D97}"/>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C8BC298B-906A-1E5E-77C4-089FACBAA5D5}"/>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0D974E7B-EB45-216D-E5B7-C014077B7101}"/>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154ECFEB-7D3E-57A0-90FA-CD576ED574F5}"/>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FB0A1BF9-9221-14EF-A230-263FE71972F1}"/>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FDC83281-00FA-8786-D254-102393A88643}"/>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7A7395D8-4CCD-7509-C2CE-F07825DADBB4}"/>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7737BA6C-4857-4A24-A008-EBF73295EB6D}"/>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1820E1CF-1BBF-F352-918C-3216C8A7D842}"/>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9D3E9AEF-3BB3-741C-A52D-1AE7F55496D3}"/>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6B91EADC-D899-CE2A-D7BC-6B5E8BDDAD28}"/>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A363B9D9-BDF1-8FF3-8295-4E91E766D86E}"/>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B52A7CCC-19F1-0E02-9265-E665119C345D}"/>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27A07C76-B711-FDAE-B5C4-67B156FD13EC}"/>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5B4A8321-7D8A-A9F7-02C4-175022F07E93}"/>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C480AF56-A89F-4D89-480A-0C48E9588727}"/>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50685128-B005-B366-171D-3B0E45D9205E}"/>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58187FDB-5965-2A29-9857-5B61DA285E2F}"/>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9F1B8EE5-3CFD-FBF8-A8AB-C51C827341B5}"/>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26C0F140-BF37-4203-7662-350AFF0FFE5B}"/>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461D22B4-443D-F4D6-2FA3-6232ED71C186}"/>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786AF8C0-297B-3950-FBC9-E86597A326E4}"/>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1098FB65-1300-425E-C2DE-18BCBE8B3895}"/>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0E8504B2-2706-409B-5B68-B295614D3F0E}"/>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F5B7F910-CF91-6B40-E39D-46B7AE8DCE44}"/>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1A53E473-37AD-A43B-339C-F8A921748516}"/>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CD7F245F-D15A-9A91-13EE-7797EE415489}"/>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8D8E3E01-9DAB-0CCC-A4AA-07EED9AB5119}"/>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8036A7F6-A421-8226-1BAF-994D23D89440}"/>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9A1A3FF3-6D13-EA13-02E0-0A0B1E6C025B}"/>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D6E517E1-5514-46C8-AFD3-C469BBCF498A}"/>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F887F653-EAD3-65EA-F501-1FB3046606B7}"/>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84C2F1D5-8EC0-DD60-95D1-C352F74A01C0}"/>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D3CC027E-2805-F033-EBC4-64D8D056B008}"/>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3FBC7EAD-ED26-788B-B2CF-062087A5B24F}"/>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FAE92A17-3976-7582-ECFB-A65BC959E80C}"/>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4D6B04F3-2BF5-29C0-820D-E699613FED93}"/>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26341EA7-4382-2B56-922B-EEA2DC6C2976}"/>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E10FF4D0-A8F5-B118-7E34-27EB4B0732BB}"/>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66C8D45D-2D0D-8EAA-48AF-F52A96D6E81C}"/>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E91C2280-9969-5B8B-D4FE-CA5D117AE009}"/>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1D4875A1-30F1-DCC8-0989-246A21D2BF6B}"/>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6FA83C54-B42E-F0D2-DE08-88FE165DB897}"/>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10EF3772-19AF-5ED4-CE19-71F4769ED83D}"/>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757DB36D-95C0-3D9E-EE12-A775DC148313}"/>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60CBD2E0-4D75-AA5F-11ED-A97104FD0468}"/>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644298E6-D111-125C-707D-A90C35F74EE3}"/>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6A7AF99D-394E-77B6-C879-3C4B38A132B6}"/>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08BE8865-7D8E-BCD9-2447-E2D9C51EE32F}"/>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C553B28E-225B-71AA-87EA-34425B753BCE}"/>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AE7A3A50-1558-4F7E-44D9-E129387768E7}"/>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6561C1DF-2979-FB94-C383-EFFB6D71BEC7}"/>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94C28DFB-D790-A2ED-4316-EC193ED799C0}"/>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12F14A16-DC8D-E62F-6E16-64F02C38E6C5}"/>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39CA1D97-68E6-F13B-D5FB-05B14F05825F}"/>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026C5EA4-178A-8DA4-ED05-EC93956B00F4}"/>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A3F86631-FC65-9494-B169-BB1F3667CE38}"/>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297A2514-6417-0890-C1FE-EDB8C3DC1B2E}"/>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797E4B35-0162-B438-19F9-39DBC57B0BEB}"/>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EB39E5F2-FC18-6CE8-73DA-8E95F558906A}"/>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BC85B6B4-A115-BF59-42E4-70B4760CA41F}"/>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3B9A8D40-551A-619A-225A-4B54E980A0ED}"/>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0573810F-BAAC-032A-9E6D-6F95C7E780FD}"/>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13E2BFD7-CC8E-423F-39E5-CB02A77B39D6}"/>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85AE9B27-2779-2C68-4D92-89C78098E516}"/>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0EF36364-F93A-C0F3-52D2-719EBF844B8D}"/>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DDBF5071-393C-DCB8-AE51-E4EDFD2EEE95}"/>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0E34BB5D-DD50-94CC-0B49-38A3B35BBF41}"/>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882EC88A-7329-883C-050C-11C780842134}"/>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00ECD932-496E-2AD7-F8AF-1598A368CC68}"/>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146090FF-6ECF-741E-68FB-74B721B547E6}"/>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FABE8769-6875-B799-CD5D-D53775DAB5E6}"/>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205FB30D-B212-5350-052A-B481366003F3}"/>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0A57F336-0A1C-B1AB-5AAC-08D8C75126D7}"/>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19D32D1F-FEF4-7B75-8016-9E005D4ED151}"/>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7EBBBDBA-372A-2175-429D-D9EFD99A48B8}"/>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D1E99663-7428-4ED0-56E5-2B9378D04B5F}"/>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F5C1F27B-5937-6565-9204-4AB1CF19904B}"/>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22068BAE-6D5C-D6EC-8186-0C6FE3BDC84E}"/>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6D7FB14D-B2DC-77A0-9EB4-B82496F30C7A}"/>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1D5D25C0-71C9-F069-A699-11AC4EFDDBBC}"/>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FF9F8AF6-5473-CCDA-5A9D-6486117BDFAE}"/>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3330419A-5767-B9D0-88AB-970360AC472E}"/>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098E416A-E407-7166-8E3B-F5988553A36E}"/>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5749038A-B366-C66C-2A8F-41CECC1C08ED}"/>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E52BF142-D946-FD18-1B8F-60147969C38F}"/>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DDA4794A-5E9E-B685-309D-6B91C62073AE}"/>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31396F52-6CDA-FEEA-45D5-0BBB07A45304}"/>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EED79F6A-5DAE-BCF0-2082-E89D2332C681}"/>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2EB8803E-D6E4-46FA-3E4A-882F97C022FD}"/>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2A20A4E6-F9AA-6617-557E-365332879FBA}"/>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F0FC09DC-D926-D3C0-ADD6-FCB1163A2B8D}"/>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40FC7BEA-01B5-1267-E5A3-0D2E48F5B956}"/>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CB95A2BA-3137-5718-19F7-201927821678}"/>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A3A2B1A1-3A7B-0EFD-3F86-8C62FBFAF284}"/>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10ED8E09-A260-7A39-0812-00E2F4DFEC1A}"/>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AFB51720-0DB6-2F39-6F80-1ECEFCF718A7}"/>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8F8632BA-D738-756D-DDB7-1A326F0BEC12}"/>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D04A5FB9-E363-5088-3674-C7CC3E9A84BD}"/>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A7538775-56F8-7B5E-1D26-B0CA97CBA1D0}"/>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16116CF2-A0EB-6D32-B60F-589B2ED5B21A}"/>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7622698B-FBFE-B4E1-C034-3E31ACCC2623}"/>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74B2D9DD-E37F-2BF4-39BE-DEF69397874F}"/>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6E05AC2D-F078-BE7E-58A1-7A0D01217D36}"/>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F4621EBD-94B7-15D6-211E-F80FFBB0E4C5}"/>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16263B39-B3F6-43D7-DF9C-32D49E05DD28}"/>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1CC2A93B-B007-88CB-C355-9F17FDC7DFEF}"/>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65A4F9E3-DB40-BD2F-D4A7-E750F8C71B73}"/>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095752DC-A466-9E6E-789D-5A650E778229}"/>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54CE9410-0C30-4E81-0043-EB3654B054DE}"/>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76D6EE57-3328-EE4B-8AE5-F2DB8BA1CEB0}"/>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7D1084E9-DD0B-086F-2D21-E1A30BC11753}"/>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937D2BEF-F1AE-9AC2-6C41-D0AFA9B88968}"/>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198678A5-E50F-609D-CA69-D23A2308FB7A}"/>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E02589B8-B626-FCD0-756C-DBD58F050F86}"/>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10B9F5CD-B47D-56DB-DBB5-684854402B89}"/>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F074E173-C84A-5784-190C-58BADBBEC3D5}"/>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FA32AF16-0EA7-182E-4479-3FA309675194}"/>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0EDF6C2D-D9B4-AA97-382D-CF24D668F98C}"/>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91E824F8-4FB8-10EF-6FBD-A3D8932A7D26}"/>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BF8A6FEB-A22E-D68C-5E77-045C93F3D144}"/>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949994BC-057C-D7F2-CCE5-E5245329C931}"/>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68A1FA66-519A-A549-A733-D8A0DB988D1F}"/>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21AD5B54-70CB-24C7-E20A-E8D18F82E4CA}"/>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FAC135A1-B932-F543-C149-52719E98F951}"/>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41D5705F-4A11-1466-CAD4-ACF0B5AAE63C}"/>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C0C71989-177F-8EBC-5D0F-B3949FB88E0F}"/>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B99C4FF6-D468-9E56-02A4-F834CB87FA33}"/>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694BDF5F-EDB6-2F06-0DB8-E78523E89FBC}"/>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C469E124-1940-2DFD-FDF0-ED497047D49B}"/>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9002976A-DCE0-B659-B476-4D608390F335}"/>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B6DBAA3C-A254-CF84-2702-6359A39D04B7}"/>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6331DB60-A48F-A632-8FF3-A64CCBA1E830}"/>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8066A7ED-2289-F429-8D55-CA6FF33D0A38}"/>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C22CA28C-A93D-1A02-CC12-319866851675}"/>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A59B86FE-F847-0865-E645-D24E049569AB}"/>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F1736E5B-4E7E-918B-9767-1D4DCAD9A646}"/>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31EC2C08-EB39-9C6B-5CA0-B612C471A4B1}"/>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5E15DC64-84D3-8E5B-B0CA-F99FAED9F630}"/>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3B364570-38F5-E155-7192-5B07F5B35635}"/>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5A1E0B57-F46C-D323-393C-1A3FEB9EA911}"/>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A077E0A9-AE3C-A22C-BFC4-6FEF917ED394}"/>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97502C8A-8803-C5CC-3A88-9A76D6C68129}"/>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1C819B11-4A99-A7C3-317F-3898F984FAA2}"/>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E0499006-625A-F676-8C33-F91F97106DEE}"/>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39FA88BB-6ABC-E05D-8163-CA5553928F45}"/>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985C10B3-46A3-BF96-D82C-58B1D526939D}"/>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10D51523-B071-A9A1-4BF7-93B8865079BA}"/>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8E6396EC-CCB3-4D57-8F07-F1CFBAC152BF}"/>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813CFF14-F196-C2E6-7E33-8680BCB208C4}"/>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0EB3DD5D-2768-7E49-8C4E-B016A6497241}"/>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A4CCF66E-4739-3DC0-3FAC-C8C8505B9FDA}"/>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19C639AB-E388-7744-3F16-58618C73EFDE}"/>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377BDAEA-7F2D-5017-2CF4-7CDCBC23538E}"/>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DD703E6F-D8FB-B301-3F48-710EB9CFF71B}"/>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A3DD505A-6714-A47A-FF28-707D76A61974}"/>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5436DF0B-71FF-457F-01B9-0BB3EAFA5FC7}"/>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E806F2CD-79C3-771F-6AEE-AB1F532B38DA}"/>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86E6032B-64D6-0590-3E5A-2D279E7AD8AA}"/>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912B8AD8-4D36-1EB1-32B8-8BD7D43B629F}"/>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56702CBD-08CF-D783-19F1-67343F537A13}"/>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7201EDF6-377A-C6C6-29C3-6632089EEBA7}"/>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BE5E309E-C6EF-9900-D49C-6424A814DAD3}"/>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F3E394B9-8DA7-B3B8-2297-2BFFCA9AB72E}"/>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4E272C8A-CD5F-F3BF-9B14-882B64CD4626}"/>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38D38EC1-7215-4FCC-FA4A-69447A35BBFC}"/>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B6FCF43B-AB3B-A9FE-6BE0-B9AED55D42EF}"/>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2A91927F-F72E-84F9-26C7-CC7AA057C068}"/>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45DE6619-C0F6-0C62-0CB2-0CBDB6639335}"/>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0019F584-8A28-40AB-0A9F-6F40AC70F00C}"/>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F98111F6-F74F-74D5-A259-C559D3E30A32}"/>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C5643A62-1661-977C-B194-1F3F2BED9D32}"/>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6A8370D0-F5E2-9488-4BBD-3FBF8D9DF291}"/>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4F95394C-6E8F-8266-88C7-CE896D9A3BF1}"/>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96485773-6AB4-85CB-7D07-DC3D7865AD19}"/>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50C18D9E-ACE8-7BBD-30F5-2F3BA1B4803A}"/>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E454BDA0-9F9F-B6A4-247C-10F38A5F8D1C}"/>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B13A637A-5169-FBA3-1FB4-1B7FD0F3518D}"/>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077E159B-0ABA-76C5-31B2-BBA885303016}"/>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B28F585C-2DA2-959F-8AB4-CC117D1AE04C}"/>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741DC880-4A7E-8DAF-E9AE-E670FEF0EE07}"/>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2EFF8F4D-7AD2-C562-43E5-2F812D12A351}"/>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D6209FC8-49B0-F856-224F-DCE4D321B291}"/>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2902221F-14B3-7700-F834-ABD32DF604AE}"/>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B6521C23-5CD8-6265-E86A-C5CA39DEE82E}"/>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7271AC11-7C5F-1CB7-7141-0EA98ACAD204}"/>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C5C2D4F7-949B-2B34-7F81-891C694D3420}"/>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01F03970-8EBA-64D6-60DA-4F7F0E8FC104}"/>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5BA35A77-0E7A-4CD2-F781-E4B76714DE9F}"/>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790F6861-A9B0-FD23-73AC-CD399C4E02CC}"/>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0CAF34F4-25DA-970E-710E-919045964BC8}"/>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BEE01F87-805A-B273-7A09-00382DA8460B}"/>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01D189F6-9EDA-CAAE-9EF1-2B9AC35818FA}"/>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DC3063B6-37E8-F953-A824-7E47AB8BD600}"/>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01A9DCF0-E325-D277-90B4-610B3EB2A70C}"/>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4489630D-49C4-5057-EB2F-FBE5133115CC}"/>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F6A18D32-B882-D092-50B1-7D4556ABC525}"/>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8F90208E-37C2-AC0B-39A5-1CBB38D6D076}"/>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66664369-4B80-AD1B-1DD4-990D259860E4}"/>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58E44F1A-0479-C46D-A7A0-55FC85EE28D7}"/>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24AC149E-63CD-4CB5-8678-EADC26C11278}"/>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43DD3454-05FE-9E9E-5B34-74731D2AE875}"/>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193E5353-0063-011A-DD24-13E85A364864}"/>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EE53DD87-9250-899D-E3E6-E979813CFEB7}"/>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505293EE-968C-B0CE-7074-343D49167EE1}"/>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AED967A7-8708-9934-C746-3D6FB20F359E}"/>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D00483FA-C1E8-E484-AE29-70074A129119}"/>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7C5B94DD-E879-2EEE-4C01-918E139990C4}"/>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0B3E7756-E56B-F96F-6776-7718621F0FFF}"/>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458482FA-D963-9D56-5299-C818AFE4A70A}"/>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D9EF6B5B-F162-0FBD-483F-DEE179B856D0}"/>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74365F32-5565-53D6-1548-77BFD2F17B6A}"/>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424D594A-CE88-D506-91F9-87A91946191E}"/>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4367FFB1-204A-4A54-FB76-7883FC19CF9C}"/>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1E122F88-F28C-1437-63EA-14B774F18FA6}"/>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148E54DE-F8E2-D382-187E-FD3B0588DCB0}"/>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1E5555A6-F553-5C52-4741-1DDD93FBCEC8}"/>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693FA425-06C2-75CE-B670-9754AAAADA69}"/>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951D2ED9-B3B0-6427-B46F-D625ACDB8B52}"/>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742AC4A8-AF93-4F0B-C9D7-00116666F61D}"/>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D7604671-677B-6F39-61FE-BE1CE0032CB9}"/>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ADCB4C50-DA65-FE83-BB90-B312CFFEEFDD}"/>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1739CB3A-B503-0215-BDBC-A3F8C8B08DAA}"/>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F0019192-080E-FAA6-1D87-7FF7E727B8AF}"/>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EDB8CC7D-E152-0FEB-3FD3-57015F0C0196}"/>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B9286288-17F3-25A1-8480-5B7E082ED404}"/>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D7662EAF-783F-752E-8578-ADE7DF6131AC}"/>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8CAE8D2A-1B4F-C7CF-D8DD-52EC076C15E9}"/>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784B290D-B298-2AD6-8776-5EAA20594678}"/>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83A2FDCB-B24E-88DD-09EC-8562E2D92795}"/>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1D4CE1E4-BF73-9CCC-6328-B3CCFC16D933}"/>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FA90B1EF-1679-FE03-3713-C87D7546EC4A}"/>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C1C0DC9F-0B7B-0A56-DAA2-32758311FC64}"/>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F676493A-AF7D-8A9C-32BF-8D6226AA4B06}"/>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0BE9A282-5A32-D87E-8343-1148AFBE93C8}"/>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9D7EBA74-0854-A54B-F556-5ED2A8D6655A}"/>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9686FF6E-9315-0F26-71D9-78F52ECEED23}"/>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DC557919-A57B-F6AA-D6F0-8766DBDFB431}"/>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32CDABF2-1CF8-72DC-BCB7-09E29F86F614}"/>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BCA81BCF-049E-5505-7FB0-64F5F80480EA}"/>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B2810279-89FD-711F-BEFD-15C4EAAF157B}"/>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95FDCC76-3AA5-24B0-930F-F96D4BE0095C}"/>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66E3FB7F-F0F0-FC7C-3A5F-9C6CB156D1A5}"/>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BFBAB6BF-7EB5-2504-AA59-8CF89B6A5CF3}"/>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987FE9F8-5D78-899E-480F-3A02992D39CD}"/>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4FFD192A-A370-F0F6-C23A-A4BE912C15B5}"/>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A2268A15-E76F-B964-A65F-BC3D3BE640C1}"/>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6C2CDBA5-C0C2-8A9E-C5A1-AE070698FA56}"/>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CDBC4A5A-A5E8-B9E9-68CD-5F3D76B7E9F3}"/>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73B2849B-80C7-2A2F-549A-E458C260E4BC}"/>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2C7E84F2-B6C6-F603-BC5F-0B69AE7E810B}"/>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32EDE6DF-4995-5920-3EAF-F7563D1540C1}"/>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B1AD9DF5-421B-8692-A7C8-827489F36B2D}"/>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0323069D-61DD-AC54-472E-8A25FE78F348}"/>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342F7291-1C72-0A68-89C0-204C5A75EB1F}"/>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214EE44C-97A9-265C-44B5-738149476F23}"/>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71BD1C75-4300-9CAF-5E2D-C5AED4C53260}"/>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33CA8E86-215A-1C6C-0D82-DA1BAC23DF4C}"/>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270C5949-0D13-8913-7DD5-3610722D3EC4}"/>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7F748535-7958-6CD0-D516-85ED89587E3C}"/>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0C9285B0-C4DC-2DA6-94E2-2E8850254DAA}"/>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28664083-F34E-0B7F-3ACB-66ED70877A87}"/>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C24647B4-E0E5-48AE-78FF-AAD5B9B9FA43}"/>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E91E1268-FB54-4642-E466-810859DCB9CE}"/>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DB38FFB8-D64E-25AC-62C8-ABA65C953ABD}"/>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9B006B01-D120-FC5A-6735-BA12E470B838}"/>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DAC860F5-8435-9197-DEBE-6D5A1B02EF77}"/>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822C7466-DC5F-0EEB-2797-E7FF68756A5F}"/>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CD2D8BB3-56C3-402C-EA3B-7EAFBEE78974}"/>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EDB9E218-77E3-E72D-5831-866B7E5AF9A0}"/>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207AFA66-8DC6-958E-429C-7C184E7AFB7F}"/>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22B53DD7-9932-5814-9EF5-34591AA6BC4D}"/>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B478CF2A-4793-94B3-AD6F-006576719E95}"/>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7D4C1F5F-E584-325F-E5BB-CAB91988287D}"/>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51218993-A37C-A592-9EF2-34B9EE7BC857}"/>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5FB8C5EB-C37F-1EF5-5219-22A160770734}"/>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1DFC7E19-738F-7CB2-B1E1-1FC9447116E3}"/>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A484CED4-0C6F-053D-AE68-9A673AC4D5FA}"/>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1E728A10-95FA-0630-FFB0-B8CBD16B3A0C}"/>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5CB97334-CCA3-8C2E-EACF-9D4F57E725E5}"/>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D89E5413-D117-A46B-CE9B-323086DA42DA}"/>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FDF3DC29-10D0-329D-F85B-982BA826BC95}"/>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74D1629D-3520-A969-02EA-FBB3681903DA}"/>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A4B9E7C2-C1DF-E15A-4E84-72D47F72A2C4}"/>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F6702FF7-30DD-765B-286E-1AA729D39550}"/>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DB7CAA8C-5D29-0D7D-A92E-336846A1CBA5}"/>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7B85A43B-6B5E-83E3-7B0B-39C29A58B1F4}"/>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8939E7F6-3351-78D7-EC4C-1412190B3C57}"/>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717292E5-74A6-351E-B36A-D78F56FFD465}"/>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41455AE6-BADA-5C29-E442-EBEEAA06BAF5}"/>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5037054F-AFFD-318E-018F-BC8F845E7E6B}"/>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0EC8F68F-DC28-54F8-8BC6-4AB1B46D5A22}"/>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D2DC78BD-1CF9-6F07-4BC8-FA2C2F2D1B06}"/>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FAC6B4F3-2420-71A6-42E1-ACF4C07809F7}"/>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40B4A16B-4B57-BFC5-BB78-2170684C9017}"/>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F3AF525C-85BC-D435-F39F-C15E388E6D92}"/>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E21E5282-91A6-F04B-56C5-841936BA8EAF}"/>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8C53001D-D2FE-AE33-8248-D1403A6A0373}"/>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16090B3D-97E6-C1AB-8814-A20E29A6A8F8}"/>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F5372313-0021-5B9A-3319-D24AEC96FEB9}"/>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A1556395-5067-5DE4-96CF-A7E87EADE669}"/>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3A335329-9905-24EB-FC4D-6B7DF831F718}"/>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01BC6636-2AAB-09CD-0699-B81397BAAE8A}"/>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23481783-9959-27A2-1C15-1F80223E38BC}"/>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DAB2B719-27D3-FF9E-AC14-FC054F9C9F5A}"/>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2844CFBF-CFBD-D3CE-E613-408732E64930}"/>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AC1A61C7-5CFC-94A0-591F-0D665CC2BB8F}"/>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8C9C303C-4738-10CD-E911-54A16DD28334}"/>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30D7F407-0517-3042-E757-A854145A9921}"/>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8A321257-D7F2-8E0B-A20E-D3BCBCF008EE}"/>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9B9E4C77-96A1-C7FA-ADF5-1C0FCD27EF9E}"/>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8532CAEF-6D1F-890B-0F4B-474CFB475A19}"/>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C35BC847-18D5-8948-3CBE-BCCAE1E48941}"/>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614DA17D-51FB-A92B-5765-23D3CC60BDE5}"/>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E106F9CE-E966-D9B0-5D36-02786D20DE84}"/>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E51BE7B0-DFD4-B684-232F-3B58C109ED9B}"/>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789E8A21-8747-7FB3-F6FD-11F3D0D75CEA}"/>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99F3818B-E995-67BE-C47D-57B56B37A02D}"/>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D7D70BC7-79E8-89CB-820B-147A5775CF6E}"/>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8002B61C-B9E5-B4ED-4D51-D66296D0D663}"/>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AED04A5E-A6CB-6E7A-5983-412C769FB7B9}"/>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E7902F49-FE28-2EC0-F873-94A360BDADF7}"/>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089D1273-3EDA-5448-04D2-221F128506DD}"/>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B7059AC6-06F5-6FCA-3FEE-E3CD9138FD1F}"/>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6469D8FD-BC2D-170D-BCBE-FEBD47ABD7C2}"/>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119B486E-497C-9B92-F826-8DB9D33F907E}"/>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68C36821-3ED4-BF73-D0A1-0F238724790F}"/>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FF8DDDF8-D384-D14C-F932-AF7F6F326C2C}"/>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D7366DB3-32E0-E369-072C-EB9B60FEC449}"/>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CCD8B016-6C4C-2C98-CADC-03D5F6FB5DCC}"/>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726F9206-9BD8-483C-4736-CC89C990351D}"/>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7637554D-55EE-DF7B-EF6F-AF254A679C49}"/>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85EAB624-A304-6F60-8F72-A5B4B9A99D3F}"/>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6A8F6504-5AB7-5030-0D7D-CF25AE382883}"/>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46AFAF8C-F49D-0D4F-6BB4-177B34772741}"/>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079820F8-1328-7266-9B1F-35D55F354528}"/>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2028256D-E293-7801-0D80-E67A1258A9A6}"/>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C057A02B-0670-9673-5A5F-5800EA22F7D6}"/>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74B1FA6B-E9FD-ACA9-D5D6-ABD4FC4AABA3}"/>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3BBE603E-C0D2-AB2B-67F1-C9FE03460978}"/>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F6E494F9-EF9B-772A-3BCA-DF60DEE4A045}"/>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0285FE9D-D710-EF50-2486-C9077B25A739}"/>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FC4006BC-0874-E2F8-AE98-D852A546BB15}"/>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662D5012-1911-617A-C1E0-4009B868D91C}"/>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3D1D0046-B197-4F5A-DAD0-3BBEBD72CD49}"/>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C6BA6634-8B59-2A00-EB0D-1CDFC9BE16E6}"/>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CA671CB0-043C-2DA5-3F67-90A1D3342807}"/>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2A78493A-A8D9-9CA8-CB76-CA0ACEFD64A4}"/>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6CE063AF-FF4F-54D9-3A17-A6570A09DCA1}"/>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7DE06F13-731F-6DDA-68A1-F79D071A9CFE}"/>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B85FF6AF-196D-78C4-8CEC-56B06B949A8C}"/>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35DCAF86-AB2E-0955-8227-5E72DCE12779}"/>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93FF9151-324B-62C2-127D-99068FA6A2C4}"/>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EB25274C-9DD0-AC52-6E39-FAD54A012B62}"/>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C8C9ABA2-1E65-CCAC-6C58-1BEBD05DC1DC}"/>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1535F915-68B1-FF97-F17F-6631A600ED4E}"/>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F9917549-93FE-6927-28BC-24FCE1A75D17}"/>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7FF2D9DB-62AE-9B34-5A16-40E25674992B}"/>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A00A207D-1E1C-3D6D-2D26-83C4001D394D}"/>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00F3F422-2D02-A835-5A97-BF6BD9899B4C}"/>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1D2615B7-389D-63A2-2012-60637AF3C06F}"/>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26489164-B1E6-5D2A-2C20-DBA161187152}"/>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167B45AF-CA1E-5E5A-AC49-A371FBACC7B3}"/>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DA0F122A-E739-62F9-D8E2-7C9D05EC2A63}"/>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E7F6A069-BD65-D894-77EB-124D60F60CAD}"/>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8C28C55D-08DC-4174-98C7-C226A220326F}"/>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2AFE0B23-EDE6-AA25-275B-445559CA69AB}"/>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E7F4CEE0-12A8-9CAA-E4D2-1D4070FB07E6}"/>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77B6FC24-365B-0C88-9E43-85F6998995F8}"/>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082132F4-0349-3626-213D-E4966D8E1095}"/>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E3D6C324-9016-CC6F-A696-AAA3EA4D8BE2}"/>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A67DB8EA-12B1-8C4A-0400-74C3FD3846EF}"/>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09CBB167-571F-286E-FF16-AAA086A765D8}"/>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453DA548-DC42-BFA4-2E0F-12F23A220884}"/>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D642670B-71C2-CE0A-7701-789FD49AFAC8}"/>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C5332161-658A-6C12-0A4B-AC62FD43FBF7}"/>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B58D5975-AF15-128A-B63E-C857B95FDD9B}"/>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B34CADC4-4049-18CF-9BAD-CD392C2A72C4}"/>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5EE2D1E7-4BED-6B96-6A7C-4DBE62B526C3}"/>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0133DE48-1312-D6F6-C4DA-5B75148322CC}"/>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AED28515-434B-FE1E-7166-BA10AC3F2C30}"/>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C103A27A-63AB-11F1-4E33-2857072E12F8}"/>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F6BF5952-0EB2-4917-AD49-1CA25321D3C9}"/>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1863F71B-379A-7CF6-F232-F360A3E456BD}"/>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47866F1B-9DF3-857F-9D5B-D9C4F8B75D23}"/>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AE888A1F-73FE-5F63-7DBF-BB75CACFD77A}"/>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F3AB896A-F65C-4D46-109E-75483A4F48B1}"/>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6A6DF303-957C-A279-A3D2-D350E83C0003}"/>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E84F8003-94F9-7C4E-D017-16C2BFB88FE3}"/>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709225A7-1F98-A4D8-32F4-DAB9877E8A89}"/>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7F729070-4BF9-EF96-4263-2334DFACF9F2}"/>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FB807404-38F4-781B-DEC4-10393380270C}"/>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832C11D2-C688-A56C-6EC4-AEBBF5E4443E}"/>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CA8292AA-505E-B11D-C167-4A013FA2A96C}"/>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C45A449B-50DB-9FFB-5A7F-112DE84F829A}"/>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C9C7719E-D6FD-D04C-9BDC-8163B664D82A}"/>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A867FE1F-97F4-DCDF-B610-574FBF952A93}"/>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070CD86B-86F0-7A69-6647-B336703DC7B5}"/>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A4BCD6DA-7FBF-8C31-ED2B-9F565D456596}"/>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551A8BFC-FFEF-DFE5-DF7B-4BC5DC5AB630}"/>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0F8EFFC8-425D-7256-6E6A-D103D78328FD}"/>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16DF6FD3-1E0F-9409-84BD-B63F5DCFB0DC}"/>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556B91EF-0C62-A12B-AF91-A31169D2AB51}"/>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4F29F99C-62B8-1882-43BA-F97A8F319C41}"/>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F24393CD-A855-1B4D-4E37-C0D647CF6464}"/>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226DD296-8506-D4CD-C738-3F708E36E609}"/>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4C03807B-EE44-4896-B198-0F7346E2A904}"/>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66B26E90-8EE2-2017-4DCD-49422D1DFFCD}"/>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66BE4CF9-8E80-55E6-F02C-726E070C0C46}"/>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654C430E-E980-761C-0E99-948347F361DC}"/>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77B1C959-DD60-22B9-B9C0-B18109BC6DDC}"/>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9D8C7B26-350B-5176-BFFE-4A5DF6F32B1E}"/>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8C3D851C-C825-4FA7-B8F5-B55EFF75B8E0}"/>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7A5A9B2E-052E-90B0-613B-39F70669FEA3}"/>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F0D1407A-D61B-6F23-BA84-ADE9DF5F21DF}"/>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E6FCC299-F738-4F88-326C-33C2FB5D21E6}"/>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40380FF1-14CC-F910-34E7-57E96D06BBD3}"/>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1D016042-21DA-83CA-5F7F-A26BD9FA1AF3}"/>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1E5353A8-3FEC-30A4-1209-4CCAA390A05E}"/>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26B81667-F2A3-022A-1ECF-09539E719A68}"/>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0BC8D6F3-214F-5921-01DE-E926AC81CE3C}"/>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181EF285-50E7-C40E-F98B-FFC5B1BDC5C9}"/>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F074D610-A32F-ADC4-0C8B-463D7104E8A1}"/>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104D81A7-D6EB-7821-CA3A-B11349E8D1CD}"/>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2E0F80AC-3DC7-BA45-E331-E09FF2B89B1A}"/>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DFE019D6-9F60-054E-F24F-32667854C1FA}"/>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86D545E1-C969-EA1D-766B-1A5C845665F0}"/>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E54A4B4D-AEC1-9475-B139-5297763B89DB}"/>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FD55E866-0C39-B65F-3966-8AC712395833}"/>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AB4E5D94-A4CD-D662-9630-C0315989ECBF}"/>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DBB4F68A-2609-CA5F-DD6C-75ED03A61F37}"/>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D8E7CAC9-1BE6-9DE7-31CE-C6D44412004C}"/>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3D01A716-0387-6899-1580-F841CA555707}"/>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9B11EA95-0926-DC70-3556-1F9F6CFD8074}"/>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C494D5F2-E763-64FB-8B30-CD9B62C23877}"/>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27541F9D-3662-3351-9F65-29BE4CA9BC7F}"/>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D9F70280-56F8-F768-FBA3-10288330335B}"/>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11B11607-F4B3-60C6-664C-A59D022EF22A}"/>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4C9EB2DF-2FEB-3FAA-60A1-D68BC55D9F13}"/>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CA4CF957-B509-DFC8-CF01-2CBCD798D79D}"/>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0578FDF0-F674-7969-B6CD-D4136C33BC76}"/>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56F5DB87-3D39-B6E2-C85D-318A9DE4E304}"/>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D1E40E04-3F5E-49D8-C580-F82B770E6C81}"/>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CC5CDABF-5E20-5490-D53A-78B3B826E81C}"/>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02C0411D-1578-6884-5900-28087D44FF46}"/>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71C8E0D4-A40E-622C-4AF3-5CB08A427AEE}"/>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56CCD05F-0162-23BC-43FC-BFA0962B1A31}"/>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B74A2089-8FF2-85AF-348F-C52B277365CF}"/>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D88A799E-912C-E786-5EB7-7591748F866A}"/>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074978F5-F423-28A7-6F5D-496610E545A5}"/>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119C2481-CB8A-6751-2693-689377DD6A37}"/>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95F36E83-B8AB-00AA-2912-68C711AAA9B8}"/>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E51DB879-33AC-C8C1-0E76-501D9F2832F5}"/>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DF31751E-D5AB-D70A-930E-B51F3666ADFA}"/>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8B735B43-4CA4-013B-89A9-3FFA9E7AA763}"/>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1F3276F8-C2DC-72A1-ABF4-2B6AD95817BF}"/>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AAEFA3A2-BA27-56DA-5CC3-8F8D36B55746}"/>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34F1AFC4-AE6B-DD00-2DB2-EF1C7E496201}"/>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D50A4C72-9FEC-ECC7-B975-1F9E72A17E9B}"/>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F33A3D09-B6D5-CC43-D514-AFA7A2DC76A7}"/>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70406286-9153-6F74-7542-8AB38615BBD3}"/>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D8BFB5A0-5FF4-ED9D-FF49-470BE2D38C0D}"/>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214FF105-9D42-61D5-398E-DDF88C0A2FC8}"/>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1F0B49D9-A866-81F5-791F-48E886550D42}"/>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6AC8F490-B274-C472-9D69-DE1F9AB9090C}"/>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2198C121-F395-34DF-B1ED-A1ADD2982A7B}"/>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0EE3D55D-2438-B3AC-3F25-38EBF3446503}"/>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CEAF4E65-C006-24A8-292E-43B9858F75B3}"/>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6274E927-85B1-E03C-52E9-8F35D3AEADEA}"/>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DBDF4AD9-345B-056A-42CA-FD2C6908FA0F}"/>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F4539602-FB4E-80B6-8088-D5C968FCE7C7}"/>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8270F9FE-313B-06CB-A0B7-9DE3E3082D0B}"/>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C63BF21B-6B78-3F4F-0AC5-12D74BDF2A08}"/>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416C7A0C-5269-6A31-7B0C-F8FF27297B6E}"/>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3A71CC85-3590-0DA3-6FFC-917860321716}"/>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895975DB-3B29-D69A-0518-F25C195A4120}"/>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53F356D4-27B0-848F-206B-52C95EFE0B5E}"/>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A0967251-FBC9-5C81-3395-A4443184A830}"/>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B514A674-3D97-BE93-F192-048C56BB12DC}"/>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4A28507B-3FFE-F402-C33C-7847E562F0C5}"/>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87CA9987-A8B6-857A-FDB5-A9DB90011135}"/>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01854B45-1AA3-8D72-176A-C7B4687D5E08}"/>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5B6A3973-CC9D-B13D-606D-9789CEDA9CD6}"/>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AA237D3E-B152-6F26-C92D-7D701989FA2C}"/>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ED1841D5-8D27-81B8-A4AE-C1AB2922D76F}"/>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7934591C-B722-0871-FC2A-8E3633863BCA}"/>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7F205BD5-D797-18E8-7CF1-7DBDF621E076}"/>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4F7DEFE3-ECF1-D95B-865A-72F43795A808}"/>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1FDEC0FF-A7A5-4092-26F1-259FF848A616}"/>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CF3BECED-34B4-9990-703B-2F2BC6BF81EF}"/>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3175C271-13E9-C23F-9289-2656B7819EF3}"/>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F3904C70-5A0D-2CD9-F209-874880CBBC5D}"/>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E036179D-8907-FAA8-C485-11093A436133}"/>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A9A51BBE-2ADC-F924-FB7C-3F417D7288D4}"/>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958B6A79-4C94-E0E2-7222-DD1822F7090A}"/>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2A57AAAF-7D0B-C4B5-C840-49B7B8DD5028}"/>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830FB1E1-C577-6E93-F4C9-AB8CBFD0B7EF}"/>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EBF1CC10-F3EA-6786-02D2-B0DD6EB0C791}"/>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8DA00CE7-E72D-E4EC-F2CE-7DCB35E8D3E5}"/>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22939967-18B7-1A5D-FC99-39F0797CE899}"/>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72F7B082-4913-ABD0-A4A9-7429CE798D04}"/>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79BEEF57-6936-BBCD-7ECC-54E6240F1DA0}"/>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29AEBD8E-EDA0-C7D3-EC0C-C8445AA0F8E4}"/>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B6370F78-4B6D-AB95-281E-F7CECA48696D}"/>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36042C7C-9243-BBBE-3197-2E26CF3ACFF8}"/>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E5F77AFE-77FA-2C50-AAB4-B6EDF4A81FED}"/>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D955DB0D-5647-B976-1DC7-3493FB44CC33}"/>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31C9879B-4E99-4CB2-3C2A-E60438122E32}"/>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9DD35A0A-9BB5-FEFC-D1C8-5B6C687C7631}"/>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BEB98AD4-146F-CF41-CD40-5C8DFFBBC17E}"/>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48876158-48E6-C37E-6893-875D623CCE36}"/>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E78BD02C-71ED-5B04-62A5-871459ED2170}"/>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04E48DC2-5FFC-A764-E94E-5EC8273672AF}"/>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020C0ED0-E0B3-7E98-1EE5-8587D55A86F2}"/>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93031393-55B0-F405-859A-56FB4EDC2E46}"/>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7E2D23BE-1C81-25B9-0232-B31F65BAF872}"/>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BDDBAB02-5F10-C0DA-707B-651F7335DEC1}"/>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DAFDA6E5-AE3A-C191-383D-ECAE6C007AD7}"/>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9D1925AD-8E64-C1E9-E79D-691C51ECB7CA}"/>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4503D0ED-E8C8-BD3D-2987-AC3A2388AAA3}"/>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321A76B1-CDC7-4146-F780-75AE5C180227}"/>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6303E3C2-6BCB-07F0-0397-A6F8976F1A1A}"/>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98CBBA34-3061-E949-7750-B3DF992C6A0F}"/>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2946ED48-9B36-DAB8-39BB-0F5E41F601DD}"/>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261606FD-8A18-EBC1-B66F-FEE3C1112956}"/>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FEF91577-32AA-3F1F-751D-AAAB9C0C1DBC}"/>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BAEEBE6C-B83E-0CEE-BBD6-30755E621591}"/>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5672E42B-4FC8-C545-B87F-46557DAE7DC4}"/>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B205F2D2-6791-9A9B-C14A-36BD9A9A2A2C}"/>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FDEC3276-AE3A-59F3-5CF3-385BE924C0B9}"/>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B5FC0786-6CEC-7700-7BAF-B3187B3E049D}"/>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BFB36533-EC7D-67DC-EE76-A6A63A7F4552}"/>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903933E6-6707-478E-1B3D-E6CA547E5958}"/>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86E7BB0E-C04E-0563-1DB9-AE1D6B7E962B}"/>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EAAC2C9E-ECBB-3A80-E8FA-FE4948DB3169}"/>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AA887462-B004-939E-521B-2FD4D673C663}"/>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AE1B330E-DF21-9EA9-A15F-E131DD46B62E}"/>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F6506743-A415-0573-5341-A023191863E0}"/>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84C50FD7-15A1-1AF2-C3B0-F4EB7EF6F36D}"/>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0499DBCC-D948-1110-F53A-7072F52DDCE7}"/>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AC4C93BC-868C-3415-E52C-17745931ECE1}"/>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903F1D65-456F-D15C-2905-CFB8B2AC8FF5}"/>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A5B263A4-6F84-7394-3347-7BEF15A7E22D}"/>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BE83D6F5-AFBC-331D-9A2D-2763D8E68854}"/>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0D6BF682-42D4-926A-686D-38E0CA1E7832}"/>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4215A53F-5EFB-13F9-FB97-8DEF856E1020}"/>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BAB8BA15-650A-51AD-9CAD-FA88C24E8272}"/>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F2BED29F-D3AE-F908-1993-E7A6FB964BD3}"/>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BB87B3A2-F84A-D6D1-4F9B-AABE1E6871F3}"/>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32D2569F-FCE8-01EC-A056-26111DBEAF23}"/>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9BE5AD96-9F83-081E-CB06-F15EC5BEF368}"/>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6CDC93F5-D17C-B6A5-BA7A-AFB20DAEDC84}"/>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6EC2C87C-F75F-E3F0-E8B1-8CB112C8AB0C}"/>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10751663-7DFF-E378-96CA-4D8CF058686F}"/>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FD6703B7-4E47-BA9E-8248-05C0BDECCDE7}"/>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363088F7-9087-8BA9-5B9E-060B170C4D70}"/>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74648884-7DC4-4A29-17BC-4CE62E2344E4}"/>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681A032A-54EE-1619-0B60-DDAF89BEC42B}"/>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32F252D2-47C0-CE26-B431-0F42FBE3F705}"/>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EF7A7522-6ECE-13FB-06C9-A8D622EF48AF}"/>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3E24F293-B820-6A50-132D-49D6F3943DA0}"/>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471639A0-3238-CA5B-B60D-C819C63B9672}"/>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36614983-CEAE-719D-1B32-A480D74C7F86}"/>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ECC36AD3-0254-46D2-B235-9C4D77DF1CA6}"/>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82418568-5BFA-3A5C-F168-360D3ABCF234}"/>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1D8653AF-F043-8A6C-8E79-9531D268DFF7}"/>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1886BFEF-3A95-B405-0B8F-EE0A52D19CB0}"/>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69E1C3C8-7CB9-8216-A604-834F9743A7A5}"/>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75689E48-309A-6BB2-4B9C-54641B8CAD1C}"/>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B4863BDA-4E71-CDC3-0E2B-228529C92862}"/>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7CA2495F-3AF5-77C8-0A7D-70DA83AA4776}"/>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4D4B5EA8-F58D-B404-18C2-7FCEAA6C29CB}"/>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91672BDF-B862-0D9E-7F07-BBF09340540E}"/>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F2F89BFC-0C87-DC92-D5EC-48A7FEF35AB1}"/>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B60D341D-7537-263A-03FA-D3EAF5385A4F}"/>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4242DCEA-F1F7-012E-7D61-C28A7F445FA9}"/>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5953D7FA-8EE9-EA45-84EE-85E37B4FB1E3}"/>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DD5870FC-1EF0-CEB4-7130-9F4836238AC5}"/>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EEAE9047-5A11-17F9-6980-CD8D96F87C27}"/>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D8ED8011-A46A-83AF-61FF-883243036724}"/>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FA072B05-A5FA-0888-F018-338066CBCA6C}"/>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B0B15B29-DD5D-4297-C9BF-189728289AF5}"/>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9930B9B4-C0BB-A1D1-8CEF-A60DDF9B65D9}"/>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5A1071D9-048D-E0E0-E358-F8F703048AD3}"/>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3152599D-5ED1-2837-971B-62B31D433289}"/>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4DEED7B9-8C92-D46B-D41F-D68E0D41FA61}"/>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89880F1F-1848-689B-2CBF-EF6AF36963E4}"/>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AB7F1CA6-05BA-292F-275E-A89B8F45D507}"/>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4B7BC162-AC0D-E2B2-0E63-444AA132A99E}"/>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6CB36689-F6A3-FE1A-70EA-63834241C950}"/>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25778F6C-09D9-8FA4-651B-802DC66B9797}"/>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BD4519B5-316A-C966-02C7-5F2831C88BFA}"/>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5D3A55D3-CBC6-C9F7-484D-BE092FA36038}"/>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75593EE7-4EFE-6CEE-1D8F-4F671D33C541}"/>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B6A7041E-234C-870E-8331-D1A0B3CAA535}"/>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9765D24C-C517-05FE-AAAB-E288BC7F539B}"/>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EEA9FFB4-C67D-DB48-EA29-A3ECC1F4DCFE}"/>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68FE8AD5-EE03-39F3-4D88-3BDAAE7DF3D2}"/>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EADF3BAD-6BB6-DE27-A8A3-984C13EE1A42}"/>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93ADD86A-17D1-B36E-CD63-347348834ED0}"/>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AA1EB283-8D36-A0FD-E371-1B45545B389A}"/>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EC9400F8-37E8-B717-CCBF-8F167185780C}"/>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D665863E-22EA-75DB-DE62-773A1CFCD398}"/>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FC0AD141-E80E-4C21-1BE7-EFBFFFF87D1E}"/>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6BE26A70-0BD8-E5FB-D283-7F4933793250}"/>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4ADB07C5-5464-91A5-C88A-D8138EDAA27A}"/>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2BCB744A-3ED0-2E13-A5B0-E123FA663F4C}"/>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E45BE072-FCC1-C114-E9A8-B27C836AF51E}"/>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32E2DAD2-BB4E-B16C-6093-E5A7BF6CB7BD}"/>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C342205D-DC8B-5568-C3A3-9699F48C6FDD}"/>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4567851A-1B9E-F17C-7D65-23AD2876160F}"/>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6D70FCF4-318E-56D8-8B12-F15BAF6C2D75}"/>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9BD2A1AA-669E-DE9F-80F0-C268B623DC03}"/>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ACF8CF77-9683-5EBB-A81B-4C344933CE10}"/>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5506F4C3-FC35-9A76-55F2-974C6020170F}"/>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75FAF3BE-240F-4772-DE9D-42C9B8FAECCF}"/>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E0DC6D5E-DB4C-2D6A-4A48-858FD0F40E1B}"/>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E8690D53-74CE-27C9-0216-87EDA48F49E1}"/>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7FEAF00A-78D0-B235-40CD-87B1999C4016}"/>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403A29B9-1A88-127A-5526-1B0F1CBF3072}"/>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94B250E3-5796-A09B-6422-0E874B8BD5A7}"/>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BF99144F-C74D-401A-067A-08C6CD5F275E}"/>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FC9A85CE-8FFE-121D-7813-F17D152CF849}"/>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A9183EB4-9563-A930-5F22-CE04D6F5D4C6}"/>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1EA33D93-39E8-DFF1-9582-AD89B3518E38}"/>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300FE142-B087-4E3D-BFFE-426A1A84465A}"/>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B1794D52-9DC6-8F73-4A73-73BE462DC293}"/>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D28F540F-B3C9-AA94-2C59-BECF0CB7EF00}"/>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9D5F7613-FFDA-755C-D8CB-631009FAF8CA}"/>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8C96C8CB-ACE5-89D4-E20F-DC4746381491}"/>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05D3096B-0BEF-F671-2E8A-6E3EA761B010}"/>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2D81A559-DA15-9814-D366-99BF456ECF0C}"/>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B9FF41A7-6EE8-16F1-3499-22A857B47131}"/>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6CAE6E9A-2849-42B1-719E-F7C4EC76F8B5}"/>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16A5EA56-8343-18BE-62B9-5D1E270A9284}"/>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9602B889-162A-084D-34BC-0A67359485F9}"/>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0E9304D3-1D2E-7293-D7BD-EC14E9B1ED9E}"/>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CE155C18-624B-C406-D10E-3890617C92F6}"/>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0EFB8C4E-775B-FBE9-2C4E-7FBC7B2404C1}"/>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6D7ACE68-7DC8-978F-6563-466B899A855B}"/>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D44E3C57-C04A-DDAD-47E9-3218D9D49DA3}"/>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49023638-74EA-A96F-A05F-666B1797AB2D}"/>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0F4A960E-610B-9386-7109-B1D0F0040E48}"/>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26CA5F36-847B-094E-9CA3-36CA47A1F5CE}"/>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974BFB37-4D9B-0AD3-4AFB-A24ACE37A95B}"/>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4189CA82-5537-146C-CA60-9BF051F04F0A}"/>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05F27FCB-B2CD-9895-76DC-596E13248BF3}"/>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1FDD9A36-EADC-8C96-65D5-209570797C6A}"/>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9C0F7FAD-3CDE-8529-6467-FE8BC758C005}"/>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B427CB89-30A8-6813-65C6-62C0D9C6AE0F}"/>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E784E863-BEB8-A622-8422-23E846B29744}"/>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5440CCED-BA20-98BF-DDC8-E02C9496380B}"/>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A9DF3DCB-7A4D-5968-12BE-E8CC92E1968D}"/>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FADEBCDC-EC8C-8CA0-2FEC-60104B6C9E33}"/>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001884D7-29A7-7D04-13A6-D2441B65655F}"/>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E4A8EF49-8E73-64F2-8489-745928B2917E}"/>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2ACC5513-B62A-9BA8-2A32-5427E2AC9025}"/>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E9522247-D5D3-9A3A-D832-4F22F64A65F6}"/>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CAD2A67C-E8A6-2F06-24BD-DA64184FC565}"/>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36C87524-FBE7-2C67-C35A-8727328A10EB}"/>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862231E1-356F-4C45-4990-093ED9D43399}"/>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883512AE-09DA-6C8A-DFB3-4B749FE9550A}"/>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69F6809D-2B4B-0448-C411-4672724C26E0}"/>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B741F5E2-6128-CFD5-A89E-03909DFCEE2A}"/>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0D9DD899-8A91-62CE-15CD-001B4EFCF424}"/>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38D0F893-49B2-F63C-9CB2-C324A1581C2D}"/>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3ECB53B6-7A57-1059-4331-AF1E2CC67FA2}"/>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43681985-540E-5BA2-ADF2-2480AD458B24}"/>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5D8A29C1-F82B-500F-1B92-40E60EA72B65}"/>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D0D35E6E-D0FD-E734-0275-823A735EF0B6}"/>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04CF271B-339A-A4F1-7901-3FF1CFE23295}"/>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1EDEF9BC-F226-BFD9-C79E-049CB10FF143}"/>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492CFC20-7D1B-69E4-9B75-49EBE14E4A6F}"/>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25083436-48C7-6EDA-8377-0A8635F6272C}"/>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045669F8-C0AD-047E-626E-ABEF735EAA0D}"/>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A40B8267-28F5-C4F3-C29B-1627C46AD6F0}"/>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D5DA3406-CB6A-FE73-26D4-89ABF10093BD}"/>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4FC29CF0-6CBA-7D29-8656-2302A89F67D1}"/>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0AA548E6-71F4-45F1-B904-1F4DCA34D36E}"/>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ABC0FEA2-9173-6516-5884-73DF2861EE8E}"/>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EA088ADA-81D1-B75B-2CE9-498E01A43D5D}"/>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F722A9D2-7E72-68FD-7090-B60ACE8DFFFF}"/>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58585B15-E9C7-BADF-631A-79090E0AA17B}"/>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AC0E8CFB-4829-1C48-20FC-3BB801C86500}"/>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7D1FD693-CC6E-6795-0047-705F4355CEAC}"/>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7F93002B-A105-DCD9-3D89-4A2EEA19FEC8}"/>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F61264BB-8F70-F23F-277E-BA9234DE9525}"/>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4BC6B161-3C14-78BA-8947-F8D456298EEA}"/>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F6169F42-06F1-3E55-EBF9-07FC4DE38860}"/>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D61FFE8A-9960-1348-3358-382084361773}"/>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E8C9A4E0-78BF-46C4-196F-279E68B2B72D}"/>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566F76E3-3983-3DF9-5502-02CAE10913EE}"/>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FED06A8F-E828-72D3-4F62-9F1FF1B3BA9C}"/>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67CDA11B-B945-C134-50CE-C9A17EFF3F09}"/>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2DB62FBC-85CE-6C88-1276-C36046DEFD6C}"/>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783E976D-C2B0-F5AB-6D79-43DFFA103AE8}"/>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CF84881D-1D41-6867-848E-CD5E7D7A2260}"/>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8507C8C5-A753-8F50-D58C-3B948F6920C6}"/>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2FD5C37C-092C-6C0F-B473-B38B20B331EF}"/>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792AB045-1A17-5617-1F8E-6C8D6CD07C90}"/>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2559AB77-D345-CDFB-8294-A47AEE900C57}"/>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B1B87A97-5DBA-4094-2146-6B1826815FE3}"/>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DEC012CB-B9F7-D2B0-80DA-28C3F218D5CB}"/>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640E768D-00ED-209F-BCAE-29B104F3AB66}"/>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22D6C074-E12B-F153-A44C-28F60FF67A69}"/>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84A792E8-AA6E-195C-FB34-61B545FD0552}"/>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3E2DB3E8-1C68-AFC3-2096-1637102CBC9B}"/>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23335501-4482-3E49-280F-B926FF3ACB7E}"/>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5A8CA93A-D932-A286-399C-DA9F823C8BFC}"/>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CA688F37-3E9B-09AA-D179-E2FAABA500A8}"/>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5A5C851A-1465-81C8-97EC-BAD443E60996}"/>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59CC6245-8BFF-655B-6E9C-7B5C3A11F611}"/>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A763AB02-A7AA-6AFA-6AE3-C82951073CFA}"/>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D111FF07-F1BF-0A3B-6C2D-1E58543A038C}"/>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D33197FD-4259-69A8-7B4A-D6216B05E32E}"/>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DF105F5E-1439-C562-51F9-7FCB58B8145F}"/>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D2044A2B-3718-8B88-515D-40EA94A70F70}"/>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03D352D0-558F-EBB9-082A-C168E741BE43}"/>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5820677C-39F5-446F-FF38-B6B7571F896B}"/>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25B49EBF-7E10-592A-0141-451AED0A7189}"/>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245F5EE6-FBF7-924D-14FC-D84818900E38}"/>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C8757A38-6CAD-4CA8-8183-151473CDB2A1}"/>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BC93A3E5-F697-12CC-6898-62B98D9EAD2C}"/>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3949EF91-EBD9-5A6A-0EE7-016446A5BD73}"/>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9E9D5153-3343-364E-67B7-89B6466DFE31}"/>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71BE4172-D842-6FF7-39DF-CBA95B57B711}"/>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C83CC13B-F8D5-F321-DF34-2538AAE4DCF0}"/>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58591310-2D83-CB1D-3B20-F0C028C10F2C}"/>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82DC89EE-B919-0A3E-A9EF-F9BD1D8BD5AE}"/>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D2E86C48-CC1C-201A-9B8C-EDF292465247}"/>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1A001FB2-A877-9FA7-9026-6CC949130993}"/>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76A35503-3D6B-E947-9045-83F27A14CF9A}"/>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2B4CE804-DB76-88E8-EA2B-7A0C1CD7C568}"/>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A600F81A-B299-A3A3-C466-16B40AB3BE4D}"/>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7A76A590-048F-92DC-48AA-52920ED80360}"/>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cxnSp>
        <p:nvCxnSpPr>
          <p:cNvPr id="12510" name="Straight Connector 12509">
            <a:extLst>
              <a:ext uri="{FF2B5EF4-FFF2-40B4-BE49-F238E27FC236}">
                <a16:creationId xmlns:a16="http://schemas.microsoft.com/office/drawing/2014/main" id="{417F1D13-2FCB-BAEB-026E-42999FA08938}"/>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AF96BCAB-863E-0DDD-31AA-A905CBAD10C0}"/>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9785C131-BF05-2400-F418-A8176A771BAD}"/>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7B64DFF2-862A-D892-C006-E8F84A3499B7}"/>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0085CD0B-5650-71FA-CB1D-E2D78A6F4DBC}"/>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FC409ECC-8A16-E0D2-ED57-BCDF1AA3497A}"/>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D175E285-2F68-1990-C1DD-36608F3DB8F2}"/>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DC893C2E-BB2E-A257-D5A8-D69A8FAAA5E7}"/>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EC22E125-49D1-D34E-5023-E67538EC5E5F}"/>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093B3FC6-0902-9209-B1AC-08B482D6050F}"/>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38C9FF37-B973-5600-429B-838EA13E61A1}"/>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12A6C811-66A6-C86C-F6E0-53BC6829D898}"/>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92591411-C55D-DAE8-D2FC-2BC32540EF1E}"/>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5D9126F6-696A-FC43-65FC-5EE96D43597F}"/>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7605638B-AF90-8C57-3D93-CB156659451A}"/>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DDF6F759-3D35-F413-EF45-493562A2AE5E}"/>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4B8FF394-C950-640D-54A4-5D82435B79ED}"/>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4D569FCD-18B1-4A36-96F2-AFB94654191E}"/>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53E8CE48-17D1-F48E-2E87-5CD7643F3B5E}"/>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8FEEDF71-C4C9-BA95-8D5F-B4D02F3AEADE}"/>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277A6C9E-9D17-CE8D-F6BB-ED99262A20F3}"/>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209AF87D-4C2A-67BA-3E19-D64CFCC4CC7F}"/>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6DCF63A6-8731-417A-0175-06282EE238E3}"/>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8568770C-EF28-88AF-91F7-19309C46485A}"/>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BBBACBE5-EE70-C92F-28DC-E54843E7B88F}"/>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FF4DF009-A415-01C1-1440-8CB6B3F6BF1F}"/>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853A3E47-6435-0FDD-294D-596A7E1CE830}"/>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FF3DD41E-1842-C916-0F2B-38A3AD96A799}"/>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81EE1E83-5A4D-20DD-D352-5DA6FB331A38}"/>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972275B1-B878-A151-F65E-FAC688E85F39}"/>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D65A8754-18C8-D352-680B-6BA6EDDBA145}"/>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12A9E908-9705-0653-9907-1ACD02471027}"/>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927FBED9-8E58-B238-0ABC-7C25A86C28C4}"/>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01985FA7-F211-BE0A-8B86-8847703F4D49}"/>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90B05081-4AEC-D916-4C31-BB30C1D9E805}"/>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68B93BDA-A12B-8DB4-8DDB-FC28C556F46D}"/>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FD68A512-7A9C-5287-8EC0-BFE2FF0D3809}"/>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904B8122-CE8F-7358-29BB-90119A0010A7}"/>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555BB458-178C-06F8-DC03-E5B0DA65ECDD}"/>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D138FE9B-0DD6-60EC-3FE1-B5FF36FE0811}"/>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AD999F15-E6A5-5ADA-5617-2A81AA0908A8}"/>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4842FDAA-A400-B7A9-4592-D25F70DBF22B}"/>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918C7B01-ADBE-111F-6B55-C3B7DD8EC3A0}"/>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94E51DB1-5912-DFFE-1B50-3AF409A28D3B}"/>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43736EBF-36DB-C0F5-4209-5132D6F79DF5}"/>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6AF7ED36-1C9E-DF68-4402-CC203CABF839}"/>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62194E55-4E2B-8D01-CE24-EF88357CB349}"/>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2546A51C-BE95-807B-938E-7CAC9D9B1823}"/>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5AA10A1F-AACD-207F-19DC-1E8369A2412C}"/>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0D1A1A79-F2E9-CF0C-A40B-278CF74010FF}"/>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BE97EF87-A700-53A0-D9E2-6B79F9C4A9F2}"/>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cxnSp>
        <p:nvCxnSpPr>
          <p:cNvPr id="18028" name="Straight Connector 18027">
            <a:extLst>
              <a:ext uri="{FF2B5EF4-FFF2-40B4-BE49-F238E27FC236}">
                <a16:creationId xmlns:a16="http://schemas.microsoft.com/office/drawing/2014/main" id="{1715C02E-96DB-A14C-043A-1C480697F175}"/>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5722" name="Group 15721">
            <a:extLst>
              <a:ext uri="{FF2B5EF4-FFF2-40B4-BE49-F238E27FC236}">
                <a16:creationId xmlns:a16="http://schemas.microsoft.com/office/drawing/2014/main" id="{A7F66E18-26E2-4226-2E5B-FA334A8EE046}"/>
              </a:ext>
            </a:extLst>
          </p:cNvPr>
          <p:cNvGrpSpPr/>
          <p:nvPr/>
        </p:nvGrpSpPr>
        <p:grpSpPr>
          <a:xfrm>
            <a:off x="659300" y="1434330"/>
            <a:ext cx="6855505" cy="2159001"/>
            <a:chOff x="3486150" y="2509837"/>
            <a:chExt cx="5217128" cy="1841658"/>
          </a:xfrm>
        </p:grpSpPr>
        <p:grpSp>
          <p:nvGrpSpPr>
            <p:cNvPr id="15723" name="Graphic 745">
              <a:extLst>
                <a:ext uri="{FF2B5EF4-FFF2-40B4-BE49-F238E27FC236}">
                  <a16:creationId xmlns:a16="http://schemas.microsoft.com/office/drawing/2014/main" id="{412EE8A7-2CCE-C7A7-CEE8-C8A9C1FEF215}"/>
                </a:ext>
              </a:extLst>
            </p:cNvPr>
            <p:cNvGrpSpPr/>
            <p:nvPr/>
          </p:nvGrpSpPr>
          <p:grpSpPr>
            <a:xfrm>
              <a:off x="3486150" y="2509837"/>
              <a:ext cx="5217128" cy="1841658"/>
              <a:chOff x="3486150" y="2509837"/>
              <a:chExt cx="5217128" cy="1841658"/>
            </a:xfrm>
          </p:grpSpPr>
          <p:grpSp>
            <p:nvGrpSpPr>
              <p:cNvPr id="15725" name="Graphic 745">
                <a:extLst>
                  <a:ext uri="{FF2B5EF4-FFF2-40B4-BE49-F238E27FC236}">
                    <a16:creationId xmlns:a16="http://schemas.microsoft.com/office/drawing/2014/main" id="{131B8D65-CFF7-200E-45F3-89AF36EB05D0}"/>
                  </a:ext>
                </a:extLst>
              </p:cNvPr>
              <p:cNvGrpSpPr/>
              <p:nvPr/>
            </p:nvGrpSpPr>
            <p:grpSpPr>
              <a:xfrm>
                <a:off x="8627554" y="4275772"/>
                <a:ext cx="75723" cy="75723"/>
                <a:chOff x="8627554" y="4275772"/>
                <a:chExt cx="75723" cy="75723"/>
              </a:xfrm>
            </p:grpSpPr>
            <p:sp>
              <p:nvSpPr>
                <p:cNvPr id="16825" name="Freeform: Shape 16824">
                  <a:extLst>
                    <a:ext uri="{FF2B5EF4-FFF2-40B4-BE49-F238E27FC236}">
                      <a16:creationId xmlns:a16="http://schemas.microsoft.com/office/drawing/2014/main" id="{4AF8CB46-D7D7-9185-FE50-F3EDD348CF9A}"/>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6" name="Freeform: Shape 16825">
                  <a:extLst>
                    <a:ext uri="{FF2B5EF4-FFF2-40B4-BE49-F238E27FC236}">
                      <a16:creationId xmlns:a16="http://schemas.microsoft.com/office/drawing/2014/main" id="{1DECF5AA-E88D-92C0-7B29-4780B2E460C2}"/>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6" name="Graphic 745">
                <a:extLst>
                  <a:ext uri="{FF2B5EF4-FFF2-40B4-BE49-F238E27FC236}">
                    <a16:creationId xmlns:a16="http://schemas.microsoft.com/office/drawing/2014/main" id="{A608B8E0-1EE3-9DBE-4448-EA1B2DC8100D}"/>
                  </a:ext>
                </a:extLst>
              </p:cNvPr>
              <p:cNvGrpSpPr/>
              <p:nvPr/>
            </p:nvGrpSpPr>
            <p:grpSpPr>
              <a:xfrm>
                <a:off x="8617458" y="4275772"/>
                <a:ext cx="75628" cy="75723"/>
                <a:chOff x="8617458" y="4275772"/>
                <a:chExt cx="75628" cy="75723"/>
              </a:xfrm>
            </p:grpSpPr>
            <p:sp>
              <p:nvSpPr>
                <p:cNvPr id="16823" name="Freeform: Shape 16822">
                  <a:extLst>
                    <a:ext uri="{FF2B5EF4-FFF2-40B4-BE49-F238E27FC236}">
                      <a16:creationId xmlns:a16="http://schemas.microsoft.com/office/drawing/2014/main" id="{96C6A954-B935-85B3-3686-EF6BCA643037}"/>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4" name="Freeform: Shape 16823">
                  <a:extLst>
                    <a:ext uri="{FF2B5EF4-FFF2-40B4-BE49-F238E27FC236}">
                      <a16:creationId xmlns:a16="http://schemas.microsoft.com/office/drawing/2014/main" id="{4E02A00B-FB88-82D2-4D92-2D74D4B6683D}"/>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7" name="Graphic 745">
                <a:extLst>
                  <a:ext uri="{FF2B5EF4-FFF2-40B4-BE49-F238E27FC236}">
                    <a16:creationId xmlns:a16="http://schemas.microsoft.com/office/drawing/2014/main" id="{6EFE6944-AAE1-1FFE-D7D2-D9250C28CF76}"/>
                  </a:ext>
                </a:extLst>
              </p:cNvPr>
              <p:cNvGrpSpPr/>
              <p:nvPr/>
            </p:nvGrpSpPr>
            <p:grpSpPr>
              <a:xfrm>
                <a:off x="8244268" y="4275772"/>
                <a:ext cx="75628" cy="75723"/>
                <a:chOff x="8244268" y="4275772"/>
                <a:chExt cx="75628" cy="75723"/>
              </a:xfrm>
            </p:grpSpPr>
            <p:sp>
              <p:nvSpPr>
                <p:cNvPr id="16821" name="Freeform: Shape 16820">
                  <a:extLst>
                    <a:ext uri="{FF2B5EF4-FFF2-40B4-BE49-F238E27FC236}">
                      <a16:creationId xmlns:a16="http://schemas.microsoft.com/office/drawing/2014/main" id="{C27837FA-20FB-7B3B-C3C8-0E5E324608B6}"/>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2" name="Freeform: Shape 16821">
                  <a:extLst>
                    <a:ext uri="{FF2B5EF4-FFF2-40B4-BE49-F238E27FC236}">
                      <a16:creationId xmlns:a16="http://schemas.microsoft.com/office/drawing/2014/main" id="{A8657CEF-1707-165D-501B-11DBFDD0DB63}"/>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8" name="Graphic 745">
                <a:extLst>
                  <a:ext uri="{FF2B5EF4-FFF2-40B4-BE49-F238E27FC236}">
                    <a16:creationId xmlns:a16="http://schemas.microsoft.com/office/drawing/2014/main" id="{820BAE45-BD29-564B-BBA7-EF0892402D62}"/>
                  </a:ext>
                </a:extLst>
              </p:cNvPr>
              <p:cNvGrpSpPr/>
              <p:nvPr/>
            </p:nvGrpSpPr>
            <p:grpSpPr>
              <a:xfrm>
                <a:off x="8139684" y="4275772"/>
                <a:ext cx="75723" cy="75723"/>
                <a:chOff x="8139684" y="4275772"/>
                <a:chExt cx="75723" cy="75723"/>
              </a:xfrm>
            </p:grpSpPr>
            <p:sp>
              <p:nvSpPr>
                <p:cNvPr id="16819" name="Freeform: Shape 16818">
                  <a:extLst>
                    <a:ext uri="{FF2B5EF4-FFF2-40B4-BE49-F238E27FC236}">
                      <a16:creationId xmlns:a16="http://schemas.microsoft.com/office/drawing/2014/main" id="{9DAD9EE1-AFC9-1066-C41B-3A3247EE16D3}"/>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0" name="Freeform: Shape 16819">
                  <a:extLst>
                    <a:ext uri="{FF2B5EF4-FFF2-40B4-BE49-F238E27FC236}">
                      <a16:creationId xmlns:a16="http://schemas.microsoft.com/office/drawing/2014/main" id="{E93B45AC-FE82-8356-5FFE-58067BAE7E8C}"/>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9" name="Graphic 745">
                <a:extLst>
                  <a:ext uri="{FF2B5EF4-FFF2-40B4-BE49-F238E27FC236}">
                    <a16:creationId xmlns:a16="http://schemas.microsoft.com/office/drawing/2014/main" id="{855BA59A-4AC9-113A-AD02-125A1D88ADA4}"/>
                  </a:ext>
                </a:extLst>
              </p:cNvPr>
              <p:cNvGrpSpPr/>
              <p:nvPr/>
            </p:nvGrpSpPr>
            <p:grpSpPr>
              <a:xfrm>
                <a:off x="7737157" y="4275772"/>
                <a:ext cx="75723" cy="75723"/>
                <a:chOff x="7737157" y="4275772"/>
                <a:chExt cx="75723" cy="75723"/>
              </a:xfrm>
            </p:grpSpPr>
            <p:sp>
              <p:nvSpPr>
                <p:cNvPr id="16817" name="Freeform: Shape 16816">
                  <a:extLst>
                    <a:ext uri="{FF2B5EF4-FFF2-40B4-BE49-F238E27FC236}">
                      <a16:creationId xmlns:a16="http://schemas.microsoft.com/office/drawing/2014/main" id="{D6626AF4-542F-5D3E-412F-BA7EABED1D91}"/>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8" name="Freeform: Shape 16817">
                  <a:extLst>
                    <a:ext uri="{FF2B5EF4-FFF2-40B4-BE49-F238E27FC236}">
                      <a16:creationId xmlns:a16="http://schemas.microsoft.com/office/drawing/2014/main" id="{899734E8-3FBC-8E81-431B-EFC09B8006D3}"/>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0" name="Graphic 745">
                <a:extLst>
                  <a:ext uri="{FF2B5EF4-FFF2-40B4-BE49-F238E27FC236}">
                    <a16:creationId xmlns:a16="http://schemas.microsoft.com/office/drawing/2014/main" id="{3DDBFC32-5E48-92CF-23F4-7506704183BB}"/>
                  </a:ext>
                </a:extLst>
              </p:cNvPr>
              <p:cNvGrpSpPr/>
              <p:nvPr/>
            </p:nvGrpSpPr>
            <p:grpSpPr>
              <a:xfrm>
                <a:off x="7382160" y="4275772"/>
                <a:ext cx="75628" cy="75723"/>
                <a:chOff x="7382160" y="4275772"/>
                <a:chExt cx="75628" cy="75723"/>
              </a:xfrm>
            </p:grpSpPr>
            <p:sp>
              <p:nvSpPr>
                <p:cNvPr id="16815" name="Freeform: Shape 16814">
                  <a:extLst>
                    <a:ext uri="{FF2B5EF4-FFF2-40B4-BE49-F238E27FC236}">
                      <a16:creationId xmlns:a16="http://schemas.microsoft.com/office/drawing/2014/main" id="{1972C1D6-C9E0-3850-F43D-500BD75ED475}"/>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6" name="Freeform: Shape 16815">
                  <a:extLst>
                    <a:ext uri="{FF2B5EF4-FFF2-40B4-BE49-F238E27FC236}">
                      <a16:creationId xmlns:a16="http://schemas.microsoft.com/office/drawing/2014/main" id="{ADCB2871-A0A7-0757-86AF-83972ADF0B31}"/>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1" name="Graphic 745">
                <a:extLst>
                  <a:ext uri="{FF2B5EF4-FFF2-40B4-BE49-F238E27FC236}">
                    <a16:creationId xmlns:a16="http://schemas.microsoft.com/office/drawing/2014/main" id="{21DCEBA2-4524-193A-E3BD-605A56D66587}"/>
                  </a:ext>
                </a:extLst>
              </p:cNvPr>
              <p:cNvGrpSpPr/>
              <p:nvPr/>
            </p:nvGrpSpPr>
            <p:grpSpPr>
              <a:xfrm>
                <a:off x="7337964" y="4242339"/>
                <a:ext cx="75723" cy="75723"/>
                <a:chOff x="7337964" y="4242339"/>
                <a:chExt cx="75723" cy="75723"/>
              </a:xfrm>
            </p:grpSpPr>
            <p:sp>
              <p:nvSpPr>
                <p:cNvPr id="16813" name="Freeform: Shape 16812">
                  <a:extLst>
                    <a:ext uri="{FF2B5EF4-FFF2-40B4-BE49-F238E27FC236}">
                      <a16:creationId xmlns:a16="http://schemas.microsoft.com/office/drawing/2014/main" id="{A087A7CF-E97B-2550-E568-C14A9BA8597A}"/>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4" name="Freeform: Shape 16813">
                  <a:extLst>
                    <a:ext uri="{FF2B5EF4-FFF2-40B4-BE49-F238E27FC236}">
                      <a16:creationId xmlns:a16="http://schemas.microsoft.com/office/drawing/2014/main" id="{4EE56958-3877-4465-E80B-EF07FCFA1FD2}"/>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2" name="Graphic 745">
                <a:extLst>
                  <a:ext uri="{FF2B5EF4-FFF2-40B4-BE49-F238E27FC236}">
                    <a16:creationId xmlns:a16="http://schemas.microsoft.com/office/drawing/2014/main" id="{3289F3F9-912B-AB82-4C4B-B29617C430E4}"/>
                  </a:ext>
                </a:extLst>
              </p:cNvPr>
              <p:cNvGrpSpPr/>
              <p:nvPr/>
            </p:nvGrpSpPr>
            <p:grpSpPr>
              <a:xfrm>
                <a:off x="7347394" y="4242339"/>
                <a:ext cx="75628" cy="75723"/>
                <a:chOff x="7347394" y="4242339"/>
                <a:chExt cx="75628" cy="75723"/>
              </a:xfrm>
            </p:grpSpPr>
            <p:sp>
              <p:nvSpPr>
                <p:cNvPr id="16811" name="Freeform: Shape 16810">
                  <a:extLst>
                    <a:ext uri="{FF2B5EF4-FFF2-40B4-BE49-F238E27FC236}">
                      <a16:creationId xmlns:a16="http://schemas.microsoft.com/office/drawing/2014/main" id="{E20E775B-EA2E-3862-E2F8-D11C03713413}"/>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2" name="Freeform: Shape 16811">
                  <a:extLst>
                    <a:ext uri="{FF2B5EF4-FFF2-40B4-BE49-F238E27FC236}">
                      <a16:creationId xmlns:a16="http://schemas.microsoft.com/office/drawing/2014/main" id="{5E8D4A7C-9336-B257-B68F-E2F053F99FC8}"/>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3" name="Graphic 745">
                <a:extLst>
                  <a:ext uri="{FF2B5EF4-FFF2-40B4-BE49-F238E27FC236}">
                    <a16:creationId xmlns:a16="http://schemas.microsoft.com/office/drawing/2014/main" id="{D4B25BB8-FE6E-85CB-DEEF-4F8E21F91022}"/>
                  </a:ext>
                </a:extLst>
              </p:cNvPr>
              <p:cNvGrpSpPr/>
              <p:nvPr/>
            </p:nvGrpSpPr>
            <p:grpSpPr>
              <a:xfrm>
                <a:off x="7308151" y="4185284"/>
                <a:ext cx="75723" cy="75723"/>
                <a:chOff x="7308151" y="4185284"/>
                <a:chExt cx="75723" cy="75723"/>
              </a:xfrm>
            </p:grpSpPr>
            <p:sp>
              <p:nvSpPr>
                <p:cNvPr id="16809" name="Freeform: Shape 16808">
                  <a:extLst>
                    <a:ext uri="{FF2B5EF4-FFF2-40B4-BE49-F238E27FC236}">
                      <a16:creationId xmlns:a16="http://schemas.microsoft.com/office/drawing/2014/main" id="{5479F1C9-9183-4534-D4E9-2DFB2D1F160B}"/>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0" name="Freeform: Shape 16809">
                  <a:extLst>
                    <a:ext uri="{FF2B5EF4-FFF2-40B4-BE49-F238E27FC236}">
                      <a16:creationId xmlns:a16="http://schemas.microsoft.com/office/drawing/2014/main" id="{B9F0E46A-5199-32C6-7D8E-8F92215272D1}"/>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4" name="Graphic 745">
                <a:extLst>
                  <a:ext uri="{FF2B5EF4-FFF2-40B4-BE49-F238E27FC236}">
                    <a16:creationId xmlns:a16="http://schemas.microsoft.com/office/drawing/2014/main" id="{E56095B8-2CF7-BF8D-22A9-4770D1320468}"/>
                  </a:ext>
                </a:extLst>
              </p:cNvPr>
              <p:cNvGrpSpPr/>
              <p:nvPr/>
            </p:nvGrpSpPr>
            <p:grpSpPr>
              <a:xfrm>
                <a:off x="7319295" y="4185284"/>
                <a:ext cx="75628" cy="75723"/>
                <a:chOff x="7319295" y="4185284"/>
                <a:chExt cx="75628" cy="75723"/>
              </a:xfrm>
            </p:grpSpPr>
            <p:sp>
              <p:nvSpPr>
                <p:cNvPr id="16807" name="Freeform: Shape 16806">
                  <a:extLst>
                    <a:ext uri="{FF2B5EF4-FFF2-40B4-BE49-F238E27FC236}">
                      <a16:creationId xmlns:a16="http://schemas.microsoft.com/office/drawing/2014/main" id="{32D6299D-3A4B-5882-D62A-AB19BC9188B0}"/>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8" name="Freeform: Shape 16807">
                  <a:extLst>
                    <a:ext uri="{FF2B5EF4-FFF2-40B4-BE49-F238E27FC236}">
                      <a16:creationId xmlns:a16="http://schemas.microsoft.com/office/drawing/2014/main" id="{4CE68B7D-F007-64BD-10B5-3540D44BFE4E}"/>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5" name="Graphic 745">
                <a:extLst>
                  <a:ext uri="{FF2B5EF4-FFF2-40B4-BE49-F238E27FC236}">
                    <a16:creationId xmlns:a16="http://schemas.microsoft.com/office/drawing/2014/main" id="{6CF948C5-22CF-1A1D-A815-D5293242C504}"/>
                  </a:ext>
                </a:extLst>
              </p:cNvPr>
              <p:cNvGrpSpPr/>
              <p:nvPr/>
            </p:nvGrpSpPr>
            <p:grpSpPr>
              <a:xfrm>
                <a:off x="7330344" y="4185284"/>
                <a:ext cx="75723" cy="75723"/>
                <a:chOff x="7330344" y="4185284"/>
                <a:chExt cx="75723" cy="75723"/>
              </a:xfrm>
            </p:grpSpPr>
            <p:sp>
              <p:nvSpPr>
                <p:cNvPr id="16805" name="Freeform: Shape 16804">
                  <a:extLst>
                    <a:ext uri="{FF2B5EF4-FFF2-40B4-BE49-F238E27FC236}">
                      <a16:creationId xmlns:a16="http://schemas.microsoft.com/office/drawing/2014/main" id="{6ED3D330-DDF3-3896-CBC7-68C401E29DED}"/>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6" name="Freeform: Shape 16805">
                  <a:extLst>
                    <a:ext uri="{FF2B5EF4-FFF2-40B4-BE49-F238E27FC236}">
                      <a16:creationId xmlns:a16="http://schemas.microsoft.com/office/drawing/2014/main" id="{85491E0C-A7E9-3EEF-F5D9-54B19D79B189}"/>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6" name="Graphic 745">
                <a:extLst>
                  <a:ext uri="{FF2B5EF4-FFF2-40B4-BE49-F238E27FC236}">
                    <a16:creationId xmlns:a16="http://schemas.microsoft.com/office/drawing/2014/main" id="{7D784591-1BE9-268B-519D-4DDF6A052A04}"/>
                  </a:ext>
                </a:extLst>
              </p:cNvPr>
              <p:cNvGrpSpPr/>
              <p:nvPr/>
            </p:nvGrpSpPr>
            <p:grpSpPr>
              <a:xfrm>
                <a:off x="7009923" y="4185284"/>
                <a:ext cx="75723" cy="75723"/>
                <a:chOff x="7009923" y="4185284"/>
                <a:chExt cx="75723" cy="75723"/>
              </a:xfrm>
            </p:grpSpPr>
            <p:sp>
              <p:nvSpPr>
                <p:cNvPr id="16803" name="Freeform: Shape 16802">
                  <a:extLst>
                    <a:ext uri="{FF2B5EF4-FFF2-40B4-BE49-F238E27FC236}">
                      <a16:creationId xmlns:a16="http://schemas.microsoft.com/office/drawing/2014/main" id="{D68DDB6C-12D0-1CC1-3118-4B2064ADA9DF}"/>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4" name="Freeform: Shape 16803">
                  <a:extLst>
                    <a:ext uri="{FF2B5EF4-FFF2-40B4-BE49-F238E27FC236}">
                      <a16:creationId xmlns:a16="http://schemas.microsoft.com/office/drawing/2014/main" id="{82C257F2-64EF-3497-0999-41DF8FA8E493}"/>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7" name="Graphic 745">
                <a:extLst>
                  <a:ext uri="{FF2B5EF4-FFF2-40B4-BE49-F238E27FC236}">
                    <a16:creationId xmlns:a16="http://schemas.microsoft.com/office/drawing/2014/main" id="{F66C1160-E7E4-D1EE-6F37-5EFAE82D79D8}"/>
                  </a:ext>
                </a:extLst>
              </p:cNvPr>
              <p:cNvGrpSpPr/>
              <p:nvPr/>
            </p:nvGrpSpPr>
            <p:grpSpPr>
              <a:xfrm>
                <a:off x="7021068" y="4185284"/>
                <a:ext cx="75628" cy="75723"/>
                <a:chOff x="7021068" y="4185284"/>
                <a:chExt cx="75628" cy="75723"/>
              </a:xfrm>
            </p:grpSpPr>
            <p:sp>
              <p:nvSpPr>
                <p:cNvPr id="16801" name="Freeform: Shape 16800">
                  <a:extLst>
                    <a:ext uri="{FF2B5EF4-FFF2-40B4-BE49-F238E27FC236}">
                      <a16:creationId xmlns:a16="http://schemas.microsoft.com/office/drawing/2014/main" id="{4FDD12C5-2364-71A7-72A1-ADAE84FAF06F}"/>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2" name="Freeform: Shape 16801">
                  <a:extLst>
                    <a:ext uri="{FF2B5EF4-FFF2-40B4-BE49-F238E27FC236}">
                      <a16:creationId xmlns:a16="http://schemas.microsoft.com/office/drawing/2014/main" id="{996271A9-57E8-657D-BAA5-9F874C4702A1}"/>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8" name="Graphic 745">
                <a:extLst>
                  <a:ext uri="{FF2B5EF4-FFF2-40B4-BE49-F238E27FC236}">
                    <a16:creationId xmlns:a16="http://schemas.microsoft.com/office/drawing/2014/main" id="{A24D5C05-96AA-0B8A-1FD5-5AEFECA7057C}"/>
                  </a:ext>
                </a:extLst>
              </p:cNvPr>
              <p:cNvGrpSpPr/>
              <p:nvPr/>
            </p:nvGrpSpPr>
            <p:grpSpPr>
              <a:xfrm>
                <a:off x="6889051" y="4071937"/>
                <a:ext cx="75628" cy="75723"/>
                <a:chOff x="6889051" y="4071937"/>
                <a:chExt cx="75628" cy="75723"/>
              </a:xfrm>
            </p:grpSpPr>
            <p:sp>
              <p:nvSpPr>
                <p:cNvPr id="16799" name="Freeform: Shape 16798">
                  <a:extLst>
                    <a:ext uri="{FF2B5EF4-FFF2-40B4-BE49-F238E27FC236}">
                      <a16:creationId xmlns:a16="http://schemas.microsoft.com/office/drawing/2014/main" id="{2D7C1657-7E7C-E062-8F33-CB5CEBAAA539}"/>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0" name="Freeform: Shape 16799">
                  <a:extLst>
                    <a:ext uri="{FF2B5EF4-FFF2-40B4-BE49-F238E27FC236}">
                      <a16:creationId xmlns:a16="http://schemas.microsoft.com/office/drawing/2014/main" id="{B2805004-7251-C5CA-A4BF-CBED242D6A1B}"/>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9" name="Graphic 745">
                <a:extLst>
                  <a:ext uri="{FF2B5EF4-FFF2-40B4-BE49-F238E27FC236}">
                    <a16:creationId xmlns:a16="http://schemas.microsoft.com/office/drawing/2014/main" id="{255C87E5-D0D1-78BE-DB71-665488737DE3}"/>
                  </a:ext>
                </a:extLst>
              </p:cNvPr>
              <p:cNvGrpSpPr/>
              <p:nvPr/>
            </p:nvGrpSpPr>
            <p:grpSpPr>
              <a:xfrm>
                <a:off x="6786372" y="4071937"/>
                <a:ext cx="75723" cy="75723"/>
                <a:chOff x="6786372" y="4071937"/>
                <a:chExt cx="75723" cy="75723"/>
              </a:xfrm>
            </p:grpSpPr>
            <p:sp>
              <p:nvSpPr>
                <p:cNvPr id="16797" name="Freeform: Shape 16796">
                  <a:extLst>
                    <a:ext uri="{FF2B5EF4-FFF2-40B4-BE49-F238E27FC236}">
                      <a16:creationId xmlns:a16="http://schemas.microsoft.com/office/drawing/2014/main" id="{B0018C8A-9C8D-3001-584A-673BFC23424E}"/>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8" name="Freeform: Shape 16797">
                  <a:extLst>
                    <a:ext uri="{FF2B5EF4-FFF2-40B4-BE49-F238E27FC236}">
                      <a16:creationId xmlns:a16="http://schemas.microsoft.com/office/drawing/2014/main" id="{123E9A6B-49F1-DAD3-E7F5-B7E36CC60647}"/>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0" name="Graphic 745">
                <a:extLst>
                  <a:ext uri="{FF2B5EF4-FFF2-40B4-BE49-F238E27FC236}">
                    <a16:creationId xmlns:a16="http://schemas.microsoft.com/office/drawing/2014/main" id="{6D991FE6-EF16-BB6F-CCF8-C4E8B1F06302}"/>
                  </a:ext>
                </a:extLst>
              </p:cNvPr>
              <p:cNvGrpSpPr/>
              <p:nvPr/>
            </p:nvGrpSpPr>
            <p:grpSpPr>
              <a:xfrm>
                <a:off x="6533864" y="4050886"/>
                <a:ext cx="75723" cy="75628"/>
                <a:chOff x="6533864" y="4050886"/>
                <a:chExt cx="75723" cy="75628"/>
              </a:xfrm>
            </p:grpSpPr>
            <p:sp>
              <p:nvSpPr>
                <p:cNvPr id="16795" name="Freeform: Shape 16794">
                  <a:extLst>
                    <a:ext uri="{FF2B5EF4-FFF2-40B4-BE49-F238E27FC236}">
                      <a16:creationId xmlns:a16="http://schemas.microsoft.com/office/drawing/2014/main" id="{14048861-A68F-B690-9407-20EB1BB84791}"/>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6" name="Freeform: Shape 16795">
                  <a:extLst>
                    <a:ext uri="{FF2B5EF4-FFF2-40B4-BE49-F238E27FC236}">
                      <a16:creationId xmlns:a16="http://schemas.microsoft.com/office/drawing/2014/main" id="{C0BF7F31-67ED-69AA-599D-B6344BD13C2F}"/>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1" name="Graphic 745">
                <a:extLst>
                  <a:ext uri="{FF2B5EF4-FFF2-40B4-BE49-F238E27FC236}">
                    <a16:creationId xmlns:a16="http://schemas.microsoft.com/office/drawing/2014/main" id="{8D9CF8F8-BD9A-69B8-7634-C524FC8E7ED5}"/>
                  </a:ext>
                </a:extLst>
              </p:cNvPr>
              <p:cNvGrpSpPr/>
              <p:nvPr/>
            </p:nvGrpSpPr>
            <p:grpSpPr>
              <a:xfrm>
                <a:off x="6504717" y="4028598"/>
                <a:ext cx="75723" cy="75723"/>
                <a:chOff x="6504717" y="4028598"/>
                <a:chExt cx="75723" cy="75723"/>
              </a:xfrm>
            </p:grpSpPr>
            <p:sp>
              <p:nvSpPr>
                <p:cNvPr id="16793" name="Freeform: Shape 16792">
                  <a:extLst>
                    <a:ext uri="{FF2B5EF4-FFF2-40B4-BE49-F238E27FC236}">
                      <a16:creationId xmlns:a16="http://schemas.microsoft.com/office/drawing/2014/main" id="{42DB1353-DEA5-4F65-2F26-A3F79669CBF9}"/>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4" name="Freeform: Shape 16793">
                  <a:extLst>
                    <a:ext uri="{FF2B5EF4-FFF2-40B4-BE49-F238E27FC236}">
                      <a16:creationId xmlns:a16="http://schemas.microsoft.com/office/drawing/2014/main" id="{E3102F8C-134C-FCD3-3888-F89ED51F4937}"/>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2" name="Graphic 745">
                <a:extLst>
                  <a:ext uri="{FF2B5EF4-FFF2-40B4-BE49-F238E27FC236}">
                    <a16:creationId xmlns:a16="http://schemas.microsoft.com/office/drawing/2014/main" id="{C3C53498-F577-7E43-BCEE-A61674028BB3}"/>
                  </a:ext>
                </a:extLst>
              </p:cNvPr>
              <p:cNvGrpSpPr/>
              <p:nvPr/>
            </p:nvGrpSpPr>
            <p:grpSpPr>
              <a:xfrm>
                <a:off x="6477952" y="4028598"/>
                <a:ext cx="75723" cy="75723"/>
                <a:chOff x="6477952" y="4028598"/>
                <a:chExt cx="75723" cy="75723"/>
              </a:xfrm>
            </p:grpSpPr>
            <p:sp>
              <p:nvSpPr>
                <p:cNvPr id="16791" name="Freeform: Shape 16790">
                  <a:extLst>
                    <a:ext uri="{FF2B5EF4-FFF2-40B4-BE49-F238E27FC236}">
                      <a16:creationId xmlns:a16="http://schemas.microsoft.com/office/drawing/2014/main" id="{49CE7D2B-1F23-41E4-7119-2BA84AB9B546}"/>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2" name="Freeform: Shape 16791">
                  <a:extLst>
                    <a:ext uri="{FF2B5EF4-FFF2-40B4-BE49-F238E27FC236}">
                      <a16:creationId xmlns:a16="http://schemas.microsoft.com/office/drawing/2014/main" id="{FB86AB27-AB94-5BAE-C83C-571ABABC8089}"/>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3" name="Graphic 745">
                <a:extLst>
                  <a:ext uri="{FF2B5EF4-FFF2-40B4-BE49-F238E27FC236}">
                    <a16:creationId xmlns:a16="http://schemas.microsoft.com/office/drawing/2014/main" id="{DA250FC5-B2A0-45FA-5F7D-52FE887663FA}"/>
                  </a:ext>
                </a:extLst>
              </p:cNvPr>
              <p:cNvGrpSpPr/>
              <p:nvPr/>
            </p:nvGrpSpPr>
            <p:grpSpPr>
              <a:xfrm>
                <a:off x="6491382" y="4028598"/>
                <a:ext cx="75628" cy="75723"/>
                <a:chOff x="6491382" y="4028598"/>
                <a:chExt cx="75628" cy="75723"/>
              </a:xfrm>
            </p:grpSpPr>
            <p:sp>
              <p:nvSpPr>
                <p:cNvPr id="16789" name="Freeform: Shape 16788">
                  <a:extLst>
                    <a:ext uri="{FF2B5EF4-FFF2-40B4-BE49-F238E27FC236}">
                      <a16:creationId xmlns:a16="http://schemas.microsoft.com/office/drawing/2014/main" id="{9AC118B9-F64E-2A08-A44E-A496FD3EFD30}"/>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0" name="Freeform: Shape 16789">
                  <a:extLst>
                    <a:ext uri="{FF2B5EF4-FFF2-40B4-BE49-F238E27FC236}">
                      <a16:creationId xmlns:a16="http://schemas.microsoft.com/office/drawing/2014/main" id="{B58C9E6C-4A92-A748-FB5D-2893DFCCF431}"/>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0" name="Graphic 745">
                <a:extLst>
                  <a:ext uri="{FF2B5EF4-FFF2-40B4-BE49-F238E27FC236}">
                    <a16:creationId xmlns:a16="http://schemas.microsoft.com/office/drawing/2014/main" id="{74B19398-550A-7A15-942E-9123207E79F6}"/>
                  </a:ext>
                </a:extLst>
              </p:cNvPr>
              <p:cNvGrpSpPr/>
              <p:nvPr/>
            </p:nvGrpSpPr>
            <p:grpSpPr>
              <a:xfrm>
                <a:off x="6347460" y="3952969"/>
                <a:ext cx="75723" cy="75628"/>
                <a:chOff x="6347460" y="3952969"/>
                <a:chExt cx="75723" cy="75628"/>
              </a:xfrm>
            </p:grpSpPr>
            <p:sp>
              <p:nvSpPr>
                <p:cNvPr id="16787" name="Freeform: Shape 16786">
                  <a:extLst>
                    <a:ext uri="{FF2B5EF4-FFF2-40B4-BE49-F238E27FC236}">
                      <a16:creationId xmlns:a16="http://schemas.microsoft.com/office/drawing/2014/main" id="{2F9010CC-D597-053E-7F62-F296B105E815}"/>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8" name="Freeform: Shape 16787">
                  <a:extLst>
                    <a:ext uri="{FF2B5EF4-FFF2-40B4-BE49-F238E27FC236}">
                      <a16:creationId xmlns:a16="http://schemas.microsoft.com/office/drawing/2014/main" id="{29ED17F4-5B9E-31D5-27BA-E49DCE4E0EC0}"/>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1" name="Graphic 745">
                <a:extLst>
                  <a:ext uri="{FF2B5EF4-FFF2-40B4-BE49-F238E27FC236}">
                    <a16:creationId xmlns:a16="http://schemas.microsoft.com/office/drawing/2014/main" id="{1B76D823-1F05-A93C-95DC-6262C408154C}"/>
                  </a:ext>
                </a:extLst>
              </p:cNvPr>
              <p:cNvGrpSpPr/>
              <p:nvPr/>
            </p:nvGrpSpPr>
            <p:grpSpPr>
              <a:xfrm>
                <a:off x="6402228" y="3952969"/>
                <a:ext cx="75723" cy="75628"/>
                <a:chOff x="6402228" y="3952969"/>
                <a:chExt cx="75723" cy="75628"/>
              </a:xfrm>
            </p:grpSpPr>
            <p:sp>
              <p:nvSpPr>
                <p:cNvPr id="16785" name="Freeform: Shape 16784">
                  <a:extLst>
                    <a:ext uri="{FF2B5EF4-FFF2-40B4-BE49-F238E27FC236}">
                      <a16:creationId xmlns:a16="http://schemas.microsoft.com/office/drawing/2014/main" id="{CD2821B3-2D0F-E1D2-4297-C87C28518403}"/>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6" name="Freeform: Shape 16785">
                  <a:extLst>
                    <a:ext uri="{FF2B5EF4-FFF2-40B4-BE49-F238E27FC236}">
                      <a16:creationId xmlns:a16="http://schemas.microsoft.com/office/drawing/2014/main" id="{959B4A4B-87B3-03A5-232D-43ACE6EDFF59}"/>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2" name="Graphic 745">
                <a:extLst>
                  <a:ext uri="{FF2B5EF4-FFF2-40B4-BE49-F238E27FC236}">
                    <a16:creationId xmlns:a16="http://schemas.microsoft.com/office/drawing/2014/main" id="{E3B33AE8-F1D6-9D7C-3C16-0DED126E0F0B}"/>
                  </a:ext>
                </a:extLst>
              </p:cNvPr>
              <p:cNvGrpSpPr/>
              <p:nvPr/>
            </p:nvGrpSpPr>
            <p:grpSpPr>
              <a:xfrm>
                <a:off x="6437852" y="3966304"/>
                <a:ext cx="75723" cy="75723"/>
                <a:chOff x="6437852" y="3966304"/>
                <a:chExt cx="75723" cy="75723"/>
              </a:xfrm>
            </p:grpSpPr>
            <p:sp>
              <p:nvSpPr>
                <p:cNvPr id="16783" name="Freeform: Shape 16782">
                  <a:extLst>
                    <a:ext uri="{FF2B5EF4-FFF2-40B4-BE49-F238E27FC236}">
                      <a16:creationId xmlns:a16="http://schemas.microsoft.com/office/drawing/2014/main" id="{24C1CFF6-4A14-16D3-3542-5C95E911EA9D}"/>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4" name="Freeform: Shape 16783">
                  <a:extLst>
                    <a:ext uri="{FF2B5EF4-FFF2-40B4-BE49-F238E27FC236}">
                      <a16:creationId xmlns:a16="http://schemas.microsoft.com/office/drawing/2014/main" id="{35B494BD-8376-9D15-D201-3E3FE3ED861B}"/>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3" name="Graphic 745">
                <a:extLst>
                  <a:ext uri="{FF2B5EF4-FFF2-40B4-BE49-F238E27FC236}">
                    <a16:creationId xmlns:a16="http://schemas.microsoft.com/office/drawing/2014/main" id="{C614781B-6F94-61FA-F024-DC51E46B582F}"/>
                  </a:ext>
                </a:extLst>
              </p:cNvPr>
              <p:cNvGrpSpPr/>
              <p:nvPr/>
            </p:nvGrpSpPr>
            <p:grpSpPr>
              <a:xfrm>
                <a:off x="6461379" y="3976877"/>
                <a:ext cx="75628" cy="75628"/>
                <a:chOff x="6461379" y="3976877"/>
                <a:chExt cx="75628" cy="75628"/>
              </a:xfrm>
            </p:grpSpPr>
            <p:sp>
              <p:nvSpPr>
                <p:cNvPr id="16781" name="Freeform: Shape 16780">
                  <a:extLst>
                    <a:ext uri="{FF2B5EF4-FFF2-40B4-BE49-F238E27FC236}">
                      <a16:creationId xmlns:a16="http://schemas.microsoft.com/office/drawing/2014/main" id="{7F0E357D-DFA9-EB49-0565-076581060F23}"/>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2" name="Freeform: Shape 16781">
                  <a:extLst>
                    <a:ext uri="{FF2B5EF4-FFF2-40B4-BE49-F238E27FC236}">
                      <a16:creationId xmlns:a16="http://schemas.microsoft.com/office/drawing/2014/main" id="{27908842-AB87-0376-CCEA-EC9DEC2B7F48}"/>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4" name="Graphic 745">
                <a:extLst>
                  <a:ext uri="{FF2B5EF4-FFF2-40B4-BE49-F238E27FC236}">
                    <a16:creationId xmlns:a16="http://schemas.microsoft.com/office/drawing/2014/main" id="{5F0814BA-2EB8-F559-91EA-B170D5FD4322}"/>
                  </a:ext>
                </a:extLst>
              </p:cNvPr>
              <p:cNvGrpSpPr/>
              <p:nvPr/>
            </p:nvGrpSpPr>
            <p:grpSpPr>
              <a:xfrm>
                <a:off x="6475666" y="3986974"/>
                <a:ext cx="75723" cy="75723"/>
                <a:chOff x="6475666" y="3986974"/>
                <a:chExt cx="75723" cy="75723"/>
              </a:xfrm>
            </p:grpSpPr>
            <p:sp>
              <p:nvSpPr>
                <p:cNvPr id="16779" name="Freeform: Shape 16778">
                  <a:extLst>
                    <a:ext uri="{FF2B5EF4-FFF2-40B4-BE49-F238E27FC236}">
                      <a16:creationId xmlns:a16="http://schemas.microsoft.com/office/drawing/2014/main" id="{FCA2D98B-2A3E-8522-312F-012C3581F843}"/>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0" name="Freeform: Shape 16779">
                  <a:extLst>
                    <a:ext uri="{FF2B5EF4-FFF2-40B4-BE49-F238E27FC236}">
                      <a16:creationId xmlns:a16="http://schemas.microsoft.com/office/drawing/2014/main" id="{8BCA3CEE-DAAE-B899-F6A6-29896916B0D0}"/>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5" name="Graphic 745">
                <a:extLst>
                  <a:ext uri="{FF2B5EF4-FFF2-40B4-BE49-F238E27FC236}">
                    <a16:creationId xmlns:a16="http://schemas.microsoft.com/office/drawing/2014/main" id="{CAA5D832-4779-823C-BA2B-9BBC460BD1D4}"/>
                  </a:ext>
                </a:extLst>
              </p:cNvPr>
              <p:cNvGrpSpPr/>
              <p:nvPr/>
            </p:nvGrpSpPr>
            <p:grpSpPr>
              <a:xfrm>
                <a:off x="6229540" y="3936301"/>
                <a:ext cx="75628" cy="75723"/>
                <a:chOff x="6229540" y="3936301"/>
                <a:chExt cx="75628" cy="75723"/>
              </a:xfrm>
            </p:grpSpPr>
            <p:sp>
              <p:nvSpPr>
                <p:cNvPr id="16777" name="Freeform: Shape 16776">
                  <a:extLst>
                    <a:ext uri="{FF2B5EF4-FFF2-40B4-BE49-F238E27FC236}">
                      <a16:creationId xmlns:a16="http://schemas.microsoft.com/office/drawing/2014/main" id="{D74D3512-A502-5237-B4FF-DF2DCD4453DD}"/>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8" name="Freeform: Shape 16777">
                  <a:extLst>
                    <a:ext uri="{FF2B5EF4-FFF2-40B4-BE49-F238E27FC236}">
                      <a16:creationId xmlns:a16="http://schemas.microsoft.com/office/drawing/2014/main" id="{C511E01E-3760-77DB-0203-69FA5D4FD94C}"/>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6" name="Graphic 745">
                <a:extLst>
                  <a:ext uri="{FF2B5EF4-FFF2-40B4-BE49-F238E27FC236}">
                    <a16:creationId xmlns:a16="http://schemas.microsoft.com/office/drawing/2014/main" id="{90E051F8-E955-61A5-1791-438EBB165EE3}"/>
                  </a:ext>
                </a:extLst>
              </p:cNvPr>
              <p:cNvGrpSpPr/>
              <p:nvPr/>
            </p:nvGrpSpPr>
            <p:grpSpPr>
              <a:xfrm>
                <a:off x="5918644" y="3830478"/>
                <a:ext cx="75628" cy="75723"/>
                <a:chOff x="5918644" y="3830478"/>
                <a:chExt cx="75628" cy="75723"/>
              </a:xfrm>
            </p:grpSpPr>
            <p:sp>
              <p:nvSpPr>
                <p:cNvPr id="16775" name="Freeform: Shape 16774">
                  <a:extLst>
                    <a:ext uri="{FF2B5EF4-FFF2-40B4-BE49-F238E27FC236}">
                      <a16:creationId xmlns:a16="http://schemas.microsoft.com/office/drawing/2014/main" id="{904670CF-9C25-93CF-2C70-F93D0B831E6E}"/>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6" name="Freeform: Shape 16775">
                  <a:extLst>
                    <a:ext uri="{FF2B5EF4-FFF2-40B4-BE49-F238E27FC236}">
                      <a16:creationId xmlns:a16="http://schemas.microsoft.com/office/drawing/2014/main" id="{81FDAF5C-FACD-D994-4161-2FF9F7B38561}"/>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7" name="Graphic 745">
                <a:extLst>
                  <a:ext uri="{FF2B5EF4-FFF2-40B4-BE49-F238E27FC236}">
                    <a16:creationId xmlns:a16="http://schemas.microsoft.com/office/drawing/2014/main" id="{26AB8D69-EAA3-5458-D491-EDF824DA5602}"/>
                  </a:ext>
                </a:extLst>
              </p:cNvPr>
              <p:cNvGrpSpPr/>
              <p:nvPr/>
            </p:nvGrpSpPr>
            <p:grpSpPr>
              <a:xfrm>
                <a:off x="5699379" y="3807427"/>
                <a:ext cx="75628" cy="75723"/>
                <a:chOff x="5699379" y="3807427"/>
                <a:chExt cx="75628" cy="75723"/>
              </a:xfrm>
            </p:grpSpPr>
            <p:sp>
              <p:nvSpPr>
                <p:cNvPr id="16773" name="Freeform: Shape 16772">
                  <a:extLst>
                    <a:ext uri="{FF2B5EF4-FFF2-40B4-BE49-F238E27FC236}">
                      <a16:creationId xmlns:a16="http://schemas.microsoft.com/office/drawing/2014/main" id="{735F4DE2-1FA1-D181-CC51-6E40BA855928}"/>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4" name="Freeform: Shape 16773">
                  <a:extLst>
                    <a:ext uri="{FF2B5EF4-FFF2-40B4-BE49-F238E27FC236}">
                      <a16:creationId xmlns:a16="http://schemas.microsoft.com/office/drawing/2014/main" id="{10152EA3-52F0-768F-46EC-283FD3B2DAB0}"/>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8" name="Graphic 745">
                <a:extLst>
                  <a:ext uri="{FF2B5EF4-FFF2-40B4-BE49-F238E27FC236}">
                    <a16:creationId xmlns:a16="http://schemas.microsoft.com/office/drawing/2014/main" id="{646878CA-7FAB-B828-DBF4-890261C9BBD1}"/>
                  </a:ext>
                </a:extLst>
              </p:cNvPr>
              <p:cNvGrpSpPr/>
              <p:nvPr/>
            </p:nvGrpSpPr>
            <p:grpSpPr>
              <a:xfrm>
                <a:off x="5574125" y="3710177"/>
                <a:ext cx="75628" cy="75628"/>
                <a:chOff x="5574125" y="3710177"/>
                <a:chExt cx="75628" cy="75628"/>
              </a:xfrm>
            </p:grpSpPr>
            <p:sp>
              <p:nvSpPr>
                <p:cNvPr id="16771" name="Freeform: Shape 16770">
                  <a:extLst>
                    <a:ext uri="{FF2B5EF4-FFF2-40B4-BE49-F238E27FC236}">
                      <a16:creationId xmlns:a16="http://schemas.microsoft.com/office/drawing/2014/main" id="{6D9DC60B-5F1D-0DED-867D-6BF29155F56E}"/>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2" name="Freeform: Shape 16771">
                  <a:extLst>
                    <a:ext uri="{FF2B5EF4-FFF2-40B4-BE49-F238E27FC236}">
                      <a16:creationId xmlns:a16="http://schemas.microsoft.com/office/drawing/2014/main" id="{083A3543-695E-F394-C834-70926BB4EEE3}"/>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9" name="Graphic 745">
                <a:extLst>
                  <a:ext uri="{FF2B5EF4-FFF2-40B4-BE49-F238E27FC236}">
                    <a16:creationId xmlns:a16="http://schemas.microsoft.com/office/drawing/2014/main" id="{E22E2F2B-B55E-72DA-8945-49A081DFD6D8}"/>
                  </a:ext>
                </a:extLst>
              </p:cNvPr>
              <p:cNvGrpSpPr/>
              <p:nvPr/>
            </p:nvGrpSpPr>
            <p:grpSpPr>
              <a:xfrm>
                <a:off x="5244941" y="3624643"/>
                <a:ext cx="75723" cy="75628"/>
                <a:chOff x="5244941" y="3624643"/>
                <a:chExt cx="75723" cy="75628"/>
              </a:xfrm>
            </p:grpSpPr>
            <p:sp>
              <p:nvSpPr>
                <p:cNvPr id="16769" name="Freeform: Shape 16768">
                  <a:extLst>
                    <a:ext uri="{FF2B5EF4-FFF2-40B4-BE49-F238E27FC236}">
                      <a16:creationId xmlns:a16="http://schemas.microsoft.com/office/drawing/2014/main" id="{C3BDE1C9-8F96-6844-BA0B-B8B353FEF394}"/>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0" name="Freeform: Shape 16769">
                  <a:extLst>
                    <a:ext uri="{FF2B5EF4-FFF2-40B4-BE49-F238E27FC236}">
                      <a16:creationId xmlns:a16="http://schemas.microsoft.com/office/drawing/2014/main" id="{31B5D093-04EC-4AF1-663C-8D23EDB11DD7}"/>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0" name="Graphic 745">
                <a:extLst>
                  <a:ext uri="{FF2B5EF4-FFF2-40B4-BE49-F238E27FC236}">
                    <a16:creationId xmlns:a16="http://schemas.microsoft.com/office/drawing/2014/main" id="{A3E38206-F849-C415-9490-2976F037EC3D}"/>
                  </a:ext>
                </a:extLst>
              </p:cNvPr>
              <p:cNvGrpSpPr/>
              <p:nvPr/>
            </p:nvGrpSpPr>
            <p:grpSpPr>
              <a:xfrm>
                <a:off x="5150929" y="3447097"/>
                <a:ext cx="75723" cy="75723"/>
                <a:chOff x="5150929" y="3447097"/>
                <a:chExt cx="75723" cy="75723"/>
              </a:xfrm>
            </p:grpSpPr>
            <p:sp>
              <p:nvSpPr>
                <p:cNvPr id="16767" name="Freeform: Shape 16766">
                  <a:extLst>
                    <a:ext uri="{FF2B5EF4-FFF2-40B4-BE49-F238E27FC236}">
                      <a16:creationId xmlns:a16="http://schemas.microsoft.com/office/drawing/2014/main" id="{DD942FC7-0828-44E7-1E04-50738BAA542E}"/>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8" name="Freeform: Shape 16767">
                  <a:extLst>
                    <a:ext uri="{FF2B5EF4-FFF2-40B4-BE49-F238E27FC236}">
                      <a16:creationId xmlns:a16="http://schemas.microsoft.com/office/drawing/2014/main" id="{9B44B2FA-4FBE-C021-E63F-40A16F76E8FA}"/>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1" name="Graphic 745">
                <a:extLst>
                  <a:ext uri="{FF2B5EF4-FFF2-40B4-BE49-F238E27FC236}">
                    <a16:creationId xmlns:a16="http://schemas.microsoft.com/office/drawing/2014/main" id="{0559D87E-0F8A-5CE6-F5A5-1367C6C9774C}"/>
                  </a:ext>
                </a:extLst>
              </p:cNvPr>
              <p:cNvGrpSpPr/>
              <p:nvPr/>
            </p:nvGrpSpPr>
            <p:grpSpPr>
              <a:xfrm>
                <a:off x="4796694" y="3325081"/>
                <a:ext cx="75723" cy="75723"/>
                <a:chOff x="4796694" y="3325081"/>
                <a:chExt cx="75723" cy="75723"/>
              </a:xfrm>
            </p:grpSpPr>
            <p:sp>
              <p:nvSpPr>
                <p:cNvPr id="16765" name="Freeform: Shape 16764">
                  <a:extLst>
                    <a:ext uri="{FF2B5EF4-FFF2-40B4-BE49-F238E27FC236}">
                      <a16:creationId xmlns:a16="http://schemas.microsoft.com/office/drawing/2014/main" id="{91516969-888C-C2DB-1DA5-4720890B850E}"/>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6" name="Freeform: Shape 16765">
                  <a:extLst>
                    <a:ext uri="{FF2B5EF4-FFF2-40B4-BE49-F238E27FC236}">
                      <a16:creationId xmlns:a16="http://schemas.microsoft.com/office/drawing/2014/main" id="{0E7CBD06-5C67-2D2E-BE2D-370B270F0243}"/>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2" name="Graphic 745">
                <a:extLst>
                  <a:ext uri="{FF2B5EF4-FFF2-40B4-BE49-F238E27FC236}">
                    <a16:creationId xmlns:a16="http://schemas.microsoft.com/office/drawing/2014/main" id="{13682A8D-3C2C-0987-1258-259FB48FB07D}"/>
                  </a:ext>
                </a:extLst>
              </p:cNvPr>
              <p:cNvGrpSpPr/>
              <p:nvPr/>
            </p:nvGrpSpPr>
            <p:grpSpPr>
              <a:xfrm>
                <a:off x="4718494" y="3173920"/>
                <a:ext cx="75628" cy="75628"/>
                <a:chOff x="4718494" y="3173920"/>
                <a:chExt cx="75628" cy="75628"/>
              </a:xfrm>
            </p:grpSpPr>
            <p:sp>
              <p:nvSpPr>
                <p:cNvPr id="16763" name="Freeform: Shape 16762">
                  <a:extLst>
                    <a:ext uri="{FF2B5EF4-FFF2-40B4-BE49-F238E27FC236}">
                      <a16:creationId xmlns:a16="http://schemas.microsoft.com/office/drawing/2014/main" id="{D8779048-886B-9213-5BDF-B699EC07AE34}"/>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4" name="Freeform: Shape 16763">
                  <a:extLst>
                    <a:ext uri="{FF2B5EF4-FFF2-40B4-BE49-F238E27FC236}">
                      <a16:creationId xmlns:a16="http://schemas.microsoft.com/office/drawing/2014/main" id="{91DCDA44-53DD-D3A3-B86C-7D4C5D7DB59B}"/>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3" name="Graphic 745">
                <a:extLst>
                  <a:ext uri="{FF2B5EF4-FFF2-40B4-BE49-F238E27FC236}">
                    <a16:creationId xmlns:a16="http://schemas.microsoft.com/office/drawing/2014/main" id="{602E01E0-EE04-DF03-DFC5-7164C5F5ADC3}"/>
                  </a:ext>
                </a:extLst>
              </p:cNvPr>
              <p:cNvGrpSpPr/>
              <p:nvPr/>
            </p:nvGrpSpPr>
            <p:grpSpPr>
              <a:xfrm>
                <a:off x="4527994" y="3072955"/>
                <a:ext cx="75628" cy="75723"/>
                <a:chOff x="4527994" y="3072955"/>
                <a:chExt cx="75628" cy="75723"/>
              </a:xfrm>
            </p:grpSpPr>
            <p:sp>
              <p:nvSpPr>
                <p:cNvPr id="16761" name="Freeform: Shape 16760">
                  <a:extLst>
                    <a:ext uri="{FF2B5EF4-FFF2-40B4-BE49-F238E27FC236}">
                      <a16:creationId xmlns:a16="http://schemas.microsoft.com/office/drawing/2014/main" id="{D036EFAB-F51F-ACB0-EADD-05C07BCE4059}"/>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2" name="Freeform: Shape 16761">
                  <a:extLst>
                    <a:ext uri="{FF2B5EF4-FFF2-40B4-BE49-F238E27FC236}">
                      <a16:creationId xmlns:a16="http://schemas.microsoft.com/office/drawing/2014/main" id="{8CED930B-7486-CE83-EC82-40D0797A3DE5}"/>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4" name="Graphic 745">
                <a:extLst>
                  <a:ext uri="{FF2B5EF4-FFF2-40B4-BE49-F238E27FC236}">
                    <a16:creationId xmlns:a16="http://schemas.microsoft.com/office/drawing/2014/main" id="{5007DB41-37BD-D504-37B3-BBD5DC46B036}"/>
                  </a:ext>
                </a:extLst>
              </p:cNvPr>
              <p:cNvGrpSpPr/>
              <p:nvPr/>
            </p:nvGrpSpPr>
            <p:grpSpPr>
              <a:xfrm>
                <a:off x="4457414" y="3047809"/>
                <a:ext cx="75723" cy="75723"/>
                <a:chOff x="4457414" y="3047809"/>
                <a:chExt cx="75723" cy="75723"/>
              </a:xfrm>
            </p:grpSpPr>
            <p:sp>
              <p:nvSpPr>
                <p:cNvPr id="16759" name="Freeform: Shape 16758">
                  <a:extLst>
                    <a:ext uri="{FF2B5EF4-FFF2-40B4-BE49-F238E27FC236}">
                      <a16:creationId xmlns:a16="http://schemas.microsoft.com/office/drawing/2014/main" id="{F6431A30-2191-3BBF-94E6-E8672078EAC5}"/>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0" name="Freeform: Shape 16759">
                  <a:extLst>
                    <a:ext uri="{FF2B5EF4-FFF2-40B4-BE49-F238E27FC236}">
                      <a16:creationId xmlns:a16="http://schemas.microsoft.com/office/drawing/2014/main" id="{D9E12F15-559D-0DB3-5DA9-E120C7ED2BBE}"/>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5" name="Graphic 745">
                <a:extLst>
                  <a:ext uri="{FF2B5EF4-FFF2-40B4-BE49-F238E27FC236}">
                    <a16:creationId xmlns:a16="http://schemas.microsoft.com/office/drawing/2014/main" id="{4CED46F3-0AAC-846C-EFAF-55AAE1B18FB1}"/>
                  </a:ext>
                </a:extLst>
              </p:cNvPr>
              <p:cNvGrpSpPr/>
              <p:nvPr/>
            </p:nvGrpSpPr>
            <p:grpSpPr>
              <a:xfrm>
                <a:off x="4358925" y="3014471"/>
                <a:ext cx="75723" cy="75723"/>
                <a:chOff x="4358925" y="3014471"/>
                <a:chExt cx="75723" cy="75723"/>
              </a:xfrm>
            </p:grpSpPr>
            <p:sp>
              <p:nvSpPr>
                <p:cNvPr id="16757" name="Freeform: Shape 16756">
                  <a:extLst>
                    <a:ext uri="{FF2B5EF4-FFF2-40B4-BE49-F238E27FC236}">
                      <a16:creationId xmlns:a16="http://schemas.microsoft.com/office/drawing/2014/main" id="{38099F75-4AC2-9349-25AD-7B669AEFB0EA}"/>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8" name="Freeform: Shape 16757">
                  <a:extLst>
                    <a:ext uri="{FF2B5EF4-FFF2-40B4-BE49-F238E27FC236}">
                      <a16:creationId xmlns:a16="http://schemas.microsoft.com/office/drawing/2014/main" id="{D69E4B2D-0514-8DFE-4A54-812CF1FCF5BD}"/>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6" name="Graphic 745">
                <a:extLst>
                  <a:ext uri="{FF2B5EF4-FFF2-40B4-BE49-F238E27FC236}">
                    <a16:creationId xmlns:a16="http://schemas.microsoft.com/office/drawing/2014/main" id="{11584D91-BC56-6608-B65D-B056964C1F4C}"/>
                  </a:ext>
                </a:extLst>
              </p:cNvPr>
              <p:cNvGrpSpPr/>
              <p:nvPr/>
            </p:nvGrpSpPr>
            <p:grpSpPr>
              <a:xfrm>
                <a:off x="4350448" y="3001898"/>
                <a:ext cx="75723" cy="75723"/>
                <a:chOff x="4350448" y="3001898"/>
                <a:chExt cx="75723" cy="75723"/>
              </a:xfrm>
            </p:grpSpPr>
            <p:sp>
              <p:nvSpPr>
                <p:cNvPr id="16755" name="Freeform: Shape 16754">
                  <a:extLst>
                    <a:ext uri="{FF2B5EF4-FFF2-40B4-BE49-F238E27FC236}">
                      <a16:creationId xmlns:a16="http://schemas.microsoft.com/office/drawing/2014/main" id="{CC1BC06F-1025-3CB3-0B0F-E601A372692B}"/>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6" name="Freeform: Shape 16755">
                  <a:extLst>
                    <a:ext uri="{FF2B5EF4-FFF2-40B4-BE49-F238E27FC236}">
                      <a16:creationId xmlns:a16="http://schemas.microsoft.com/office/drawing/2014/main" id="{A8E1ACF4-1095-31F4-5CF7-DA73D8F079B1}"/>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7" name="Graphic 745">
                <a:extLst>
                  <a:ext uri="{FF2B5EF4-FFF2-40B4-BE49-F238E27FC236}">
                    <a16:creationId xmlns:a16="http://schemas.microsoft.com/office/drawing/2014/main" id="{4D7264CB-3ED5-2CF6-6BA9-C1B61BE14734}"/>
                  </a:ext>
                </a:extLst>
              </p:cNvPr>
              <p:cNvGrpSpPr/>
              <p:nvPr/>
            </p:nvGrpSpPr>
            <p:grpSpPr>
              <a:xfrm>
                <a:off x="4301775" y="2881883"/>
                <a:ext cx="75723" cy="75723"/>
                <a:chOff x="4301775" y="2881883"/>
                <a:chExt cx="75723" cy="75723"/>
              </a:xfrm>
            </p:grpSpPr>
            <p:sp>
              <p:nvSpPr>
                <p:cNvPr id="16753" name="Freeform: Shape 16752">
                  <a:extLst>
                    <a:ext uri="{FF2B5EF4-FFF2-40B4-BE49-F238E27FC236}">
                      <a16:creationId xmlns:a16="http://schemas.microsoft.com/office/drawing/2014/main" id="{DBC58BFC-491C-CD02-9729-2450C3D4ECB3}"/>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4" name="Freeform: Shape 16753">
                  <a:extLst>
                    <a:ext uri="{FF2B5EF4-FFF2-40B4-BE49-F238E27FC236}">
                      <a16:creationId xmlns:a16="http://schemas.microsoft.com/office/drawing/2014/main" id="{22F242F9-9AB5-A72B-8C4F-6B52DB8DFDE0}"/>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8" name="Graphic 745">
                <a:extLst>
                  <a:ext uri="{FF2B5EF4-FFF2-40B4-BE49-F238E27FC236}">
                    <a16:creationId xmlns:a16="http://schemas.microsoft.com/office/drawing/2014/main" id="{42A15005-9C8D-6006-72BA-CDB36452AF7C}"/>
                  </a:ext>
                </a:extLst>
              </p:cNvPr>
              <p:cNvGrpSpPr/>
              <p:nvPr/>
            </p:nvGrpSpPr>
            <p:grpSpPr>
              <a:xfrm>
                <a:off x="3954018" y="2741485"/>
                <a:ext cx="75723" cy="75723"/>
                <a:chOff x="3954018" y="2741485"/>
                <a:chExt cx="75723" cy="75723"/>
              </a:xfrm>
            </p:grpSpPr>
            <p:sp>
              <p:nvSpPr>
                <p:cNvPr id="16751" name="Freeform: Shape 16750">
                  <a:extLst>
                    <a:ext uri="{FF2B5EF4-FFF2-40B4-BE49-F238E27FC236}">
                      <a16:creationId xmlns:a16="http://schemas.microsoft.com/office/drawing/2014/main" id="{D5EECC73-8659-D6AF-0E3B-C6B70DBC36E9}"/>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2" name="Freeform: Shape 16751">
                  <a:extLst>
                    <a:ext uri="{FF2B5EF4-FFF2-40B4-BE49-F238E27FC236}">
                      <a16:creationId xmlns:a16="http://schemas.microsoft.com/office/drawing/2014/main" id="{B89544A7-D0CA-4E56-EBED-6B11CDD25F93}"/>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9" name="Graphic 745">
                <a:extLst>
                  <a:ext uri="{FF2B5EF4-FFF2-40B4-BE49-F238E27FC236}">
                    <a16:creationId xmlns:a16="http://schemas.microsoft.com/office/drawing/2014/main" id="{A0936A91-03B7-C1E7-3BBA-C6D66106819A}"/>
                  </a:ext>
                </a:extLst>
              </p:cNvPr>
              <p:cNvGrpSpPr/>
              <p:nvPr/>
            </p:nvGrpSpPr>
            <p:grpSpPr>
              <a:xfrm>
                <a:off x="3935825" y="2741485"/>
                <a:ext cx="75628" cy="75723"/>
                <a:chOff x="3935825" y="2741485"/>
                <a:chExt cx="75628" cy="75723"/>
              </a:xfrm>
            </p:grpSpPr>
            <p:sp>
              <p:nvSpPr>
                <p:cNvPr id="16749" name="Freeform: Shape 16748">
                  <a:extLst>
                    <a:ext uri="{FF2B5EF4-FFF2-40B4-BE49-F238E27FC236}">
                      <a16:creationId xmlns:a16="http://schemas.microsoft.com/office/drawing/2014/main" id="{81A550D8-D279-01BD-8412-C4A6CB4FAE3C}"/>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0" name="Freeform: Shape 16749">
                  <a:extLst>
                    <a:ext uri="{FF2B5EF4-FFF2-40B4-BE49-F238E27FC236}">
                      <a16:creationId xmlns:a16="http://schemas.microsoft.com/office/drawing/2014/main" id="{CDD0E2F4-C02F-E70B-932F-4B6535D3F18C}"/>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0" name="Graphic 745">
                <a:extLst>
                  <a:ext uri="{FF2B5EF4-FFF2-40B4-BE49-F238E27FC236}">
                    <a16:creationId xmlns:a16="http://schemas.microsoft.com/office/drawing/2014/main" id="{32D6479A-B1B7-2F6B-6FB6-791B6BCEDD36}"/>
                  </a:ext>
                </a:extLst>
              </p:cNvPr>
              <p:cNvGrpSpPr/>
              <p:nvPr/>
            </p:nvGrpSpPr>
            <p:grpSpPr>
              <a:xfrm>
                <a:off x="3916203" y="2706623"/>
                <a:ext cx="75723" cy="75723"/>
                <a:chOff x="3916203" y="2706623"/>
                <a:chExt cx="75723" cy="75723"/>
              </a:xfrm>
            </p:grpSpPr>
            <p:sp>
              <p:nvSpPr>
                <p:cNvPr id="16747" name="Freeform: Shape 16746">
                  <a:extLst>
                    <a:ext uri="{FF2B5EF4-FFF2-40B4-BE49-F238E27FC236}">
                      <a16:creationId xmlns:a16="http://schemas.microsoft.com/office/drawing/2014/main" id="{9A425D57-3119-74C0-8901-5B281A36E2A2}"/>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8" name="Freeform: Shape 16747">
                  <a:extLst>
                    <a:ext uri="{FF2B5EF4-FFF2-40B4-BE49-F238E27FC236}">
                      <a16:creationId xmlns:a16="http://schemas.microsoft.com/office/drawing/2014/main" id="{54DA8DD8-DA2E-906C-BF53-01DB50A6E44D}"/>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1" name="Graphic 745">
                <a:extLst>
                  <a:ext uri="{FF2B5EF4-FFF2-40B4-BE49-F238E27FC236}">
                    <a16:creationId xmlns:a16="http://schemas.microsoft.com/office/drawing/2014/main" id="{063189E8-7F52-37D5-70B3-3C27527D5B1D}"/>
                  </a:ext>
                </a:extLst>
              </p:cNvPr>
              <p:cNvGrpSpPr/>
              <p:nvPr/>
            </p:nvGrpSpPr>
            <p:grpSpPr>
              <a:xfrm>
                <a:off x="3916203" y="2733293"/>
                <a:ext cx="75723" cy="75723"/>
                <a:chOff x="3916203" y="2733293"/>
                <a:chExt cx="75723" cy="75723"/>
              </a:xfrm>
            </p:grpSpPr>
            <p:sp>
              <p:nvSpPr>
                <p:cNvPr id="16745" name="Freeform: Shape 16744">
                  <a:extLst>
                    <a:ext uri="{FF2B5EF4-FFF2-40B4-BE49-F238E27FC236}">
                      <a16:creationId xmlns:a16="http://schemas.microsoft.com/office/drawing/2014/main" id="{9ED7F4BE-CAC0-13EB-61FD-B9BB8E9D1F75}"/>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6" name="Freeform: Shape 16745">
                  <a:extLst>
                    <a:ext uri="{FF2B5EF4-FFF2-40B4-BE49-F238E27FC236}">
                      <a16:creationId xmlns:a16="http://schemas.microsoft.com/office/drawing/2014/main" id="{11387554-6164-710E-4674-30F6AA84803E}"/>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2" name="Graphic 745">
                <a:extLst>
                  <a:ext uri="{FF2B5EF4-FFF2-40B4-BE49-F238E27FC236}">
                    <a16:creationId xmlns:a16="http://schemas.microsoft.com/office/drawing/2014/main" id="{733BFBDB-C978-C905-0195-6CC86F1EF180}"/>
                  </a:ext>
                </a:extLst>
              </p:cNvPr>
              <p:cNvGrpSpPr/>
              <p:nvPr/>
            </p:nvGrpSpPr>
            <p:grpSpPr>
              <a:xfrm>
                <a:off x="3486150" y="2509837"/>
                <a:ext cx="75723" cy="75723"/>
                <a:chOff x="3486150" y="2509837"/>
                <a:chExt cx="75723" cy="75723"/>
              </a:xfrm>
            </p:grpSpPr>
            <p:sp>
              <p:nvSpPr>
                <p:cNvPr id="16743" name="Freeform: Shape 16742">
                  <a:extLst>
                    <a:ext uri="{FF2B5EF4-FFF2-40B4-BE49-F238E27FC236}">
                      <a16:creationId xmlns:a16="http://schemas.microsoft.com/office/drawing/2014/main" id="{EEF159DF-4E56-C197-96C4-701FED5D6C12}"/>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4" name="Freeform: Shape 16743">
                  <a:extLst>
                    <a:ext uri="{FF2B5EF4-FFF2-40B4-BE49-F238E27FC236}">
                      <a16:creationId xmlns:a16="http://schemas.microsoft.com/office/drawing/2014/main" id="{A2F989FA-0377-02C1-BF69-8DFD47C9F875}"/>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3" name="Graphic 745">
                <a:extLst>
                  <a:ext uri="{FF2B5EF4-FFF2-40B4-BE49-F238E27FC236}">
                    <a16:creationId xmlns:a16="http://schemas.microsoft.com/office/drawing/2014/main" id="{BA820CB9-7D17-F79D-E385-C05587EDF5BA}"/>
                  </a:ext>
                </a:extLst>
              </p:cNvPr>
              <p:cNvGrpSpPr/>
              <p:nvPr/>
            </p:nvGrpSpPr>
            <p:grpSpPr>
              <a:xfrm>
                <a:off x="4306633" y="2894932"/>
                <a:ext cx="75723" cy="75628"/>
                <a:chOff x="4306633" y="2894932"/>
                <a:chExt cx="75723" cy="75628"/>
              </a:xfrm>
            </p:grpSpPr>
            <p:sp>
              <p:nvSpPr>
                <p:cNvPr id="16741" name="Freeform: Shape 16740">
                  <a:extLst>
                    <a:ext uri="{FF2B5EF4-FFF2-40B4-BE49-F238E27FC236}">
                      <a16:creationId xmlns:a16="http://schemas.microsoft.com/office/drawing/2014/main" id="{209DF600-1AA2-4034-DBFB-3BDDCC0409A3}"/>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2" name="Freeform: Shape 16741">
                  <a:extLst>
                    <a:ext uri="{FF2B5EF4-FFF2-40B4-BE49-F238E27FC236}">
                      <a16:creationId xmlns:a16="http://schemas.microsoft.com/office/drawing/2014/main" id="{3B7618FE-A897-DF0C-9C5E-8D1BB345BB5C}"/>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4" name="Graphic 745">
                <a:extLst>
                  <a:ext uri="{FF2B5EF4-FFF2-40B4-BE49-F238E27FC236}">
                    <a16:creationId xmlns:a16="http://schemas.microsoft.com/office/drawing/2014/main" id="{F5D17358-CC13-7F27-7396-E4EC5806016C}"/>
                  </a:ext>
                </a:extLst>
              </p:cNvPr>
              <p:cNvGrpSpPr/>
              <p:nvPr/>
            </p:nvGrpSpPr>
            <p:grpSpPr>
              <a:xfrm>
                <a:off x="4312634" y="2905410"/>
                <a:ext cx="75628" cy="75723"/>
                <a:chOff x="4312634" y="2905410"/>
                <a:chExt cx="75628" cy="75723"/>
              </a:xfrm>
            </p:grpSpPr>
            <p:sp>
              <p:nvSpPr>
                <p:cNvPr id="16739" name="Freeform: Shape 16738">
                  <a:extLst>
                    <a:ext uri="{FF2B5EF4-FFF2-40B4-BE49-F238E27FC236}">
                      <a16:creationId xmlns:a16="http://schemas.microsoft.com/office/drawing/2014/main" id="{A35BF70E-0348-F0EA-3F31-A50DBEB49147}"/>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0" name="Freeform: Shape 16739">
                  <a:extLst>
                    <a:ext uri="{FF2B5EF4-FFF2-40B4-BE49-F238E27FC236}">
                      <a16:creationId xmlns:a16="http://schemas.microsoft.com/office/drawing/2014/main" id="{EC1B96FE-87BD-DAD1-51B9-BF87748B7FAB}"/>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5" name="Graphic 745">
                <a:extLst>
                  <a:ext uri="{FF2B5EF4-FFF2-40B4-BE49-F238E27FC236}">
                    <a16:creationId xmlns:a16="http://schemas.microsoft.com/office/drawing/2014/main" id="{8B190B2E-C149-BABE-7D33-2B84F3924C4F}"/>
                  </a:ext>
                </a:extLst>
              </p:cNvPr>
              <p:cNvGrpSpPr/>
              <p:nvPr/>
            </p:nvGrpSpPr>
            <p:grpSpPr>
              <a:xfrm>
                <a:off x="4321111" y="2915602"/>
                <a:ext cx="75723" cy="75628"/>
                <a:chOff x="4321111" y="2915602"/>
                <a:chExt cx="75723" cy="75628"/>
              </a:xfrm>
            </p:grpSpPr>
            <p:sp>
              <p:nvSpPr>
                <p:cNvPr id="16737" name="Freeform: Shape 16736">
                  <a:extLst>
                    <a:ext uri="{FF2B5EF4-FFF2-40B4-BE49-F238E27FC236}">
                      <a16:creationId xmlns:a16="http://schemas.microsoft.com/office/drawing/2014/main" id="{B74A9038-9911-F0EB-93F4-2159B10B07A1}"/>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8" name="Freeform: Shape 16737">
                  <a:extLst>
                    <a:ext uri="{FF2B5EF4-FFF2-40B4-BE49-F238E27FC236}">
                      <a16:creationId xmlns:a16="http://schemas.microsoft.com/office/drawing/2014/main" id="{24A7A78C-0DAE-B181-5EFE-3B39B2ECAB63}"/>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6" name="Graphic 745">
                <a:extLst>
                  <a:ext uri="{FF2B5EF4-FFF2-40B4-BE49-F238E27FC236}">
                    <a16:creationId xmlns:a16="http://schemas.microsoft.com/office/drawing/2014/main" id="{371AE7AF-478B-D2C5-57D0-2B379F377DE3}"/>
                  </a:ext>
                </a:extLst>
              </p:cNvPr>
              <p:cNvGrpSpPr/>
              <p:nvPr/>
            </p:nvGrpSpPr>
            <p:grpSpPr>
              <a:xfrm>
                <a:off x="4334256" y="2915602"/>
                <a:ext cx="75628" cy="75628"/>
                <a:chOff x="4334256" y="2915602"/>
                <a:chExt cx="75628" cy="75628"/>
              </a:xfrm>
            </p:grpSpPr>
            <p:sp>
              <p:nvSpPr>
                <p:cNvPr id="16735" name="Freeform: Shape 16734">
                  <a:extLst>
                    <a:ext uri="{FF2B5EF4-FFF2-40B4-BE49-F238E27FC236}">
                      <a16:creationId xmlns:a16="http://schemas.microsoft.com/office/drawing/2014/main" id="{AE4CDF50-7B6F-2BBD-8DEF-3D379C69D1A1}"/>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6" name="Freeform: Shape 16735">
                  <a:extLst>
                    <a:ext uri="{FF2B5EF4-FFF2-40B4-BE49-F238E27FC236}">
                      <a16:creationId xmlns:a16="http://schemas.microsoft.com/office/drawing/2014/main" id="{5DE73E1C-4CE5-AEB5-35AB-44A446146F23}"/>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7" name="Graphic 745">
                <a:extLst>
                  <a:ext uri="{FF2B5EF4-FFF2-40B4-BE49-F238E27FC236}">
                    <a16:creationId xmlns:a16="http://schemas.microsoft.com/office/drawing/2014/main" id="{E83B4CF6-41BE-8B74-73F7-E41FA434CE43}"/>
                  </a:ext>
                </a:extLst>
              </p:cNvPr>
              <p:cNvGrpSpPr/>
              <p:nvPr/>
            </p:nvGrpSpPr>
            <p:grpSpPr>
              <a:xfrm>
                <a:off x="4344543" y="2966656"/>
                <a:ext cx="75628" cy="75628"/>
                <a:chOff x="4344543" y="2966656"/>
                <a:chExt cx="75628" cy="75628"/>
              </a:xfrm>
            </p:grpSpPr>
            <p:sp>
              <p:nvSpPr>
                <p:cNvPr id="16733" name="Freeform: Shape 16732">
                  <a:extLst>
                    <a:ext uri="{FF2B5EF4-FFF2-40B4-BE49-F238E27FC236}">
                      <a16:creationId xmlns:a16="http://schemas.microsoft.com/office/drawing/2014/main" id="{152E2C42-4CAB-31F9-4DE0-0B696B30C533}"/>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4" name="Freeform: Shape 16733">
                  <a:extLst>
                    <a:ext uri="{FF2B5EF4-FFF2-40B4-BE49-F238E27FC236}">
                      <a16:creationId xmlns:a16="http://schemas.microsoft.com/office/drawing/2014/main" id="{A8860B05-E102-05F5-5D37-19F8F8B87B99}"/>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8" name="Graphic 745">
                <a:extLst>
                  <a:ext uri="{FF2B5EF4-FFF2-40B4-BE49-F238E27FC236}">
                    <a16:creationId xmlns:a16="http://schemas.microsoft.com/office/drawing/2014/main" id="{B480581B-D39F-9D67-00B6-4B7D08CC9B29}"/>
                  </a:ext>
                </a:extLst>
              </p:cNvPr>
              <p:cNvGrpSpPr/>
              <p:nvPr/>
            </p:nvGrpSpPr>
            <p:grpSpPr>
              <a:xfrm>
                <a:off x="4344543" y="2981134"/>
                <a:ext cx="75628" cy="75723"/>
                <a:chOff x="4344543" y="2981134"/>
                <a:chExt cx="75628" cy="75723"/>
              </a:xfrm>
            </p:grpSpPr>
            <p:sp>
              <p:nvSpPr>
                <p:cNvPr id="16731" name="Freeform: Shape 16730">
                  <a:extLst>
                    <a:ext uri="{FF2B5EF4-FFF2-40B4-BE49-F238E27FC236}">
                      <a16:creationId xmlns:a16="http://schemas.microsoft.com/office/drawing/2014/main" id="{B49340FB-E11B-4294-FAEA-03F59BD9FF1D}"/>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2" name="Freeform: Shape 16731">
                  <a:extLst>
                    <a:ext uri="{FF2B5EF4-FFF2-40B4-BE49-F238E27FC236}">
                      <a16:creationId xmlns:a16="http://schemas.microsoft.com/office/drawing/2014/main" id="{DC9A12EB-055B-745C-B8E6-790231739D16}"/>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9" name="Graphic 745">
                <a:extLst>
                  <a:ext uri="{FF2B5EF4-FFF2-40B4-BE49-F238E27FC236}">
                    <a16:creationId xmlns:a16="http://schemas.microsoft.com/office/drawing/2014/main" id="{276859CC-D773-C2C9-93F4-0F9749741ADE}"/>
                  </a:ext>
                </a:extLst>
              </p:cNvPr>
              <p:cNvGrpSpPr/>
              <p:nvPr/>
            </p:nvGrpSpPr>
            <p:grpSpPr>
              <a:xfrm>
                <a:off x="4350448" y="3006375"/>
                <a:ext cx="75723" cy="75723"/>
                <a:chOff x="4350448" y="3006375"/>
                <a:chExt cx="75723" cy="75723"/>
              </a:xfrm>
            </p:grpSpPr>
            <p:sp>
              <p:nvSpPr>
                <p:cNvPr id="16729" name="Freeform: Shape 16728">
                  <a:extLst>
                    <a:ext uri="{FF2B5EF4-FFF2-40B4-BE49-F238E27FC236}">
                      <a16:creationId xmlns:a16="http://schemas.microsoft.com/office/drawing/2014/main" id="{0E1567E3-4945-68A2-0C9A-55FCBC9FCD81}"/>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0" name="Freeform: Shape 16729">
                  <a:extLst>
                    <a:ext uri="{FF2B5EF4-FFF2-40B4-BE49-F238E27FC236}">
                      <a16:creationId xmlns:a16="http://schemas.microsoft.com/office/drawing/2014/main" id="{23B03B9B-9B4C-0B25-C57D-EDC8306FBDBE}"/>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0" name="Graphic 745">
                <a:extLst>
                  <a:ext uri="{FF2B5EF4-FFF2-40B4-BE49-F238E27FC236}">
                    <a16:creationId xmlns:a16="http://schemas.microsoft.com/office/drawing/2014/main" id="{494D2023-E726-0B10-1D6E-B92443EFCEDB}"/>
                  </a:ext>
                </a:extLst>
              </p:cNvPr>
              <p:cNvGrpSpPr/>
              <p:nvPr/>
            </p:nvGrpSpPr>
            <p:grpSpPr>
              <a:xfrm>
                <a:off x="4727829" y="3184397"/>
                <a:ext cx="75628" cy="75723"/>
                <a:chOff x="4727829" y="3184397"/>
                <a:chExt cx="75628" cy="75723"/>
              </a:xfrm>
            </p:grpSpPr>
            <p:sp>
              <p:nvSpPr>
                <p:cNvPr id="16727" name="Freeform: Shape 16726">
                  <a:extLst>
                    <a:ext uri="{FF2B5EF4-FFF2-40B4-BE49-F238E27FC236}">
                      <a16:creationId xmlns:a16="http://schemas.microsoft.com/office/drawing/2014/main" id="{D0036619-59C4-EC5E-1C83-FC5B335EB785}"/>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8" name="Freeform: Shape 16727">
                  <a:extLst>
                    <a:ext uri="{FF2B5EF4-FFF2-40B4-BE49-F238E27FC236}">
                      <a16:creationId xmlns:a16="http://schemas.microsoft.com/office/drawing/2014/main" id="{442CB36F-40B7-31CC-687E-CE3AA338FFF7}"/>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1" name="Graphic 745">
                <a:extLst>
                  <a:ext uri="{FF2B5EF4-FFF2-40B4-BE49-F238E27FC236}">
                    <a16:creationId xmlns:a16="http://schemas.microsoft.com/office/drawing/2014/main" id="{5411885B-F877-C39E-D8D9-1B49C061B59D}"/>
                  </a:ext>
                </a:extLst>
              </p:cNvPr>
              <p:cNvGrpSpPr/>
              <p:nvPr/>
            </p:nvGrpSpPr>
            <p:grpSpPr>
              <a:xfrm>
                <a:off x="4736973" y="3189350"/>
                <a:ext cx="75723" cy="75628"/>
                <a:chOff x="4736973" y="3189350"/>
                <a:chExt cx="75723" cy="75628"/>
              </a:xfrm>
            </p:grpSpPr>
            <p:sp>
              <p:nvSpPr>
                <p:cNvPr id="16725" name="Freeform: Shape 16724">
                  <a:extLst>
                    <a:ext uri="{FF2B5EF4-FFF2-40B4-BE49-F238E27FC236}">
                      <a16:creationId xmlns:a16="http://schemas.microsoft.com/office/drawing/2014/main" id="{498DFA44-A34C-190E-3B5A-7454B7D475D1}"/>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6" name="Freeform: Shape 16725">
                  <a:extLst>
                    <a:ext uri="{FF2B5EF4-FFF2-40B4-BE49-F238E27FC236}">
                      <a16:creationId xmlns:a16="http://schemas.microsoft.com/office/drawing/2014/main" id="{8D8702AF-6750-5A13-8051-CBF2CC83049C}"/>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2" name="Graphic 745">
                <a:extLst>
                  <a:ext uri="{FF2B5EF4-FFF2-40B4-BE49-F238E27FC236}">
                    <a16:creationId xmlns:a16="http://schemas.microsoft.com/office/drawing/2014/main" id="{5C04746E-A9B2-0EBF-30BA-B52FDB9D5266}"/>
                  </a:ext>
                </a:extLst>
              </p:cNvPr>
              <p:cNvGrpSpPr/>
              <p:nvPr/>
            </p:nvGrpSpPr>
            <p:grpSpPr>
              <a:xfrm>
                <a:off x="4749165" y="3206305"/>
                <a:ext cx="75628" cy="75723"/>
                <a:chOff x="4749165" y="3206305"/>
                <a:chExt cx="75628" cy="75723"/>
              </a:xfrm>
            </p:grpSpPr>
            <p:sp>
              <p:nvSpPr>
                <p:cNvPr id="16723" name="Freeform: Shape 16722">
                  <a:extLst>
                    <a:ext uri="{FF2B5EF4-FFF2-40B4-BE49-F238E27FC236}">
                      <a16:creationId xmlns:a16="http://schemas.microsoft.com/office/drawing/2014/main" id="{7431132B-A9B8-8B78-0853-3F329F13DCB9}"/>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4" name="Freeform: Shape 16723">
                  <a:extLst>
                    <a:ext uri="{FF2B5EF4-FFF2-40B4-BE49-F238E27FC236}">
                      <a16:creationId xmlns:a16="http://schemas.microsoft.com/office/drawing/2014/main" id="{2E4EE378-1662-AC8E-D694-644B39CEA75B}"/>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3" name="Graphic 745">
                <a:extLst>
                  <a:ext uri="{FF2B5EF4-FFF2-40B4-BE49-F238E27FC236}">
                    <a16:creationId xmlns:a16="http://schemas.microsoft.com/office/drawing/2014/main" id="{BF4D6925-186C-9280-794B-007C68D8F2FA}"/>
                  </a:ext>
                </a:extLst>
              </p:cNvPr>
              <p:cNvGrpSpPr/>
              <p:nvPr/>
            </p:nvGrpSpPr>
            <p:grpSpPr>
              <a:xfrm>
                <a:off x="4756308" y="3216496"/>
                <a:ext cx="75723" cy="75628"/>
                <a:chOff x="4756308" y="3216496"/>
                <a:chExt cx="75723" cy="75628"/>
              </a:xfrm>
            </p:grpSpPr>
            <p:sp>
              <p:nvSpPr>
                <p:cNvPr id="16721" name="Freeform: Shape 16720">
                  <a:extLst>
                    <a:ext uri="{FF2B5EF4-FFF2-40B4-BE49-F238E27FC236}">
                      <a16:creationId xmlns:a16="http://schemas.microsoft.com/office/drawing/2014/main" id="{03ED2CF3-F459-0B1A-3D22-F7516B2AFBAB}"/>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2" name="Freeform: Shape 16721">
                  <a:extLst>
                    <a:ext uri="{FF2B5EF4-FFF2-40B4-BE49-F238E27FC236}">
                      <a16:creationId xmlns:a16="http://schemas.microsoft.com/office/drawing/2014/main" id="{79562D00-DCAF-2757-83A8-F76172420036}"/>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4" name="Graphic 745">
                <a:extLst>
                  <a:ext uri="{FF2B5EF4-FFF2-40B4-BE49-F238E27FC236}">
                    <a16:creationId xmlns:a16="http://schemas.microsoft.com/office/drawing/2014/main" id="{23EEF08A-905A-CF6F-D353-07FB0362B72F}"/>
                  </a:ext>
                </a:extLst>
              </p:cNvPr>
              <p:cNvGrpSpPr/>
              <p:nvPr/>
            </p:nvGrpSpPr>
            <p:grpSpPr>
              <a:xfrm>
                <a:off x="4758880" y="3238785"/>
                <a:ext cx="75628" cy="75628"/>
                <a:chOff x="4758880" y="3238785"/>
                <a:chExt cx="75628" cy="75628"/>
              </a:xfrm>
            </p:grpSpPr>
            <p:sp>
              <p:nvSpPr>
                <p:cNvPr id="16719" name="Freeform: Shape 16718">
                  <a:extLst>
                    <a:ext uri="{FF2B5EF4-FFF2-40B4-BE49-F238E27FC236}">
                      <a16:creationId xmlns:a16="http://schemas.microsoft.com/office/drawing/2014/main" id="{5560979A-4143-9374-EFD0-48DDC03F4C43}"/>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0" name="Freeform: Shape 16719">
                  <a:extLst>
                    <a:ext uri="{FF2B5EF4-FFF2-40B4-BE49-F238E27FC236}">
                      <a16:creationId xmlns:a16="http://schemas.microsoft.com/office/drawing/2014/main" id="{5E54EACC-39A6-B833-A53D-95AD0737B55B}"/>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5" name="Graphic 745">
                <a:extLst>
                  <a:ext uri="{FF2B5EF4-FFF2-40B4-BE49-F238E27FC236}">
                    <a16:creationId xmlns:a16="http://schemas.microsoft.com/office/drawing/2014/main" id="{AECEF4BF-A639-CDA0-E495-B3147C0B8EFE}"/>
                  </a:ext>
                </a:extLst>
              </p:cNvPr>
              <p:cNvGrpSpPr/>
              <p:nvPr/>
            </p:nvGrpSpPr>
            <p:grpSpPr>
              <a:xfrm>
                <a:off x="4765643" y="3249548"/>
                <a:ext cx="75723" cy="75723"/>
                <a:chOff x="4765643" y="3249548"/>
                <a:chExt cx="75723" cy="75723"/>
              </a:xfrm>
            </p:grpSpPr>
            <p:sp>
              <p:nvSpPr>
                <p:cNvPr id="16717" name="Freeform: Shape 16716">
                  <a:extLst>
                    <a:ext uri="{FF2B5EF4-FFF2-40B4-BE49-F238E27FC236}">
                      <a16:creationId xmlns:a16="http://schemas.microsoft.com/office/drawing/2014/main" id="{633B08BC-F24F-88E1-BD94-1FC904124566}"/>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8" name="Freeform: Shape 16717">
                  <a:extLst>
                    <a:ext uri="{FF2B5EF4-FFF2-40B4-BE49-F238E27FC236}">
                      <a16:creationId xmlns:a16="http://schemas.microsoft.com/office/drawing/2014/main" id="{F904ECA6-18BB-0D19-879B-66396546232A}"/>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6" name="Graphic 745">
                <a:extLst>
                  <a:ext uri="{FF2B5EF4-FFF2-40B4-BE49-F238E27FC236}">
                    <a16:creationId xmlns:a16="http://schemas.microsoft.com/office/drawing/2014/main" id="{ACE0CA01-9858-01AD-B221-20FFC5D6112B}"/>
                  </a:ext>
                </a:extLst>
              </p:cNvPr>
              <p:cNvGrpSpPr/>
              <p:nvPr/>
            </p:nvGrpSpPr>
            <p:grpSpPr>
              <a:xfrm>
                <a:off x="4768881" y="3267169"/>
                <a:ext cx="75723" cy="75628"/>
                <a:chOff x="4768881" y="3267169"/>
                <a:chExt cx="75723" cy="75628"/>
              </a:xfrm>
            </p:grpSpPr>
            <p:sp>
              <p:nvSpPr>
                <p:cNvPr id="16715" name="Freeform: Shape 16714">
                  <a:extLst>
                    <a:ext uri="{FF2B5EF4-FFF2-40B4-BE49-F238E27FC236}">
                      <a16:creationId xmlns:a16="http://schemas.microsoft.com/office/drawing/2014/main" id="{59198BB4-166F-DB6E-4CFD-AE06240A1A44}"/>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6" name="Freeform: Shape 16715">
                  <a:extLst>
                    <a:ext uri="{FF2B5EF4-FFF2-40B4-BE49-F238E27FC236}">
                      <a16:creationId xmlns:a16="http://schemas.microsoft.com/office/drawing/2014/main" id="{1B61ACAA-BC21-F2A0-2A22-B74A97FFF5F5}"/>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7" name="Graphic 745">
                <a:extLst>
                  <a:ext uri="{FF2B5EF4-FFF2-40B4-BE49-F238E27FC236}">
                    <a16:creationId xmlns:a16="http://schemas.microsoft.com/office/drawing/2014/main" id="{98E8E926-BE63-0736-F82F-DA444551A423}"/>
                  </a:ext>
                </a:extLst>
              </p:cNvPr>
              <p:cNvGrpSpPr/>
              <p:nvPr/>
            </p:nvGrpSpPr>
            <p:grpSpPr>
              <a:xfrm>
                <a:off x="4771739" y="3287458"/>
                <a:ext cx="75628" cy="75723"/>
                <a:chOff x="4771739" y="3287458"/>
                <a:chExt cx="75628" cy="75723"/>
              </a:xfrm>
            </p:grpSpPr>
            <p:sp>
              <p:nvSpPr>
                <p:cNvPr id="16713" name="Freeform: Shape 16712">
                  <a:extLst>
                    <a:ext uri="{FF2B5EF4-FFF2-40B4-BE49-F238E27FC236}">
                      <a16:creationId xmlns:a16="http://schemas.microsoft.com/office/drawing/2014/main" id="{99ED1EDD-6E58-D93D-054F-B3D4D428B4E1}"/>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4" name="Freeform: Shape 16713">
                  <a:extLst>
                    <a:ext uri="{FF2B5EF4-FFF2-40B4-BE49-F238E27FC236}">
                      <a16:creationId xmlns:a16="http://schemas.microsoft.com/office/drawing/2014/main" id="{007C1D1E-D4B3-F228-DA27-2F55DF7E5A74}"/>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8" name="Graphic 745">
                <a:extLst>
                  <a:ext uri="{FF2B5EF4-FFF2-40B4-BE49-F238E27FC236}">
                    <a16:creationId xmlns:a16="http://schemas.microsoft.com/office/drawing/2014/main" id="{FB926603-7AC8-C260-DD6F-56D48A055AE6}"/>
                  </a:ext>
                </a:extLst>
              </p:cNvPr>
              <p:cNvGrpSpPr/>
              <p:nvPr/>
            </p:nvGrpSpPr>
            <p:grpSpPr>
              <a:xfrm>
                <a:off x="4771739" y="3299935"/>
                <a:ext cx="75628" cy="75723"/>
                <a:chOff x="4771739" y="3299935"/>
                <a:chExt cx="75628" cy="75723"/>
              </a:xfrm>
            </p:grpSpPr>
            <p:sp>
              <p:nvSpPr>
                <p:cNvPr id="16711" name="Freeform: Shape 16710">
                  <a:extLst>
                    <a:ext uri="{FF2B5EF4-FFF2-40B4-BE49-F238E27FC236}">
                      <a16:creationId xmlns:a16="http://schemas.microsoft.com/office/drawing/2014/main" id="{3428C252-0BDE-47D4-B9C2-20267B8C1308}"/>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2" name="Freeform: Shape 16711">
                  <a:extLst>
                    <a:ext uri="{FF2B5EF4-FFF2-40B4-BE49-F238E27FC236}">
                      <a16:creationId xmlns:a16="http://schemas.microsoft.com/office/drawing/2014/main" id="{F51695CE-F2DB-7511-27B7-6B87663515D8}"/>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9" name="Graphic 745">
                <a:extLst>
                  <a:ext uri="{FF2B5EF4-FFF2-40B4-BE49-F238E27FC236}">
                    <a16:creationId xmlns:a16="http://schemas.microsoft.com/office/drawing/2014/main" id="{17A2B515-9604-23C4-C207-A7EE19F9E3C9}"/>
                  </a:ext>
                </a:extLst>
              </p:cNvPr>
              <p:cNvGrpSpPr/>
              <p:nvPr/>
            </p:nvGrpSpPr>
            <p:grpSpPr>
              <a:xfrm>
                <a:off x="4771739" y="3310127"/>
                <a:ext cx="75628" cy="75628"/>
                <a:chOff x="4771739" y="3310127"/>
                <a:chExt cx="75628" cy="75628"/>
              </a:xfrm>
            </p:grpSpPr>
            <p:sp>
              <p:nvSpPr>
                <p:cNvPr id="16709" name="Freeform: Shape 16708">
                  <a:extLst>
                    <a:ext uri="{FF2B5EF4-FFF2-40B4-BE49-F238E27FC236}">
                      <a16:creationId xmlns:a16="http://schemas.microsoft.com/office/drawing/2014/main" id="{E886700B-E284-6745-760F-E75155E73095}"/>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0" name="Freeform: Shape 16709">
                  <a:extLst>
                    <a:ext uri="{FF2B5EF4-FFF2-40B4-BE49-F238E27FC236}">
                      <a16:creationId xmlns:a16="http://schemas.microsoft.com/office/drawing/2014/main" id="{E3523C3E-3AEC-C181-B2CF-694774D1A39F}"/>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0" name="Graphic 745">
                <a:extLst>
                  <a:ext uri="{FF2B5EF4-FFF2-40B4-BE49-F238E27FC236}">
                    <a16:creationId xmlns:a16="http://schemas.microsoft.com/office/drawing/2014/main" id="{705689E7-162C-36F7-DCFD-40E8790D7A6B}"/>
                  </a:ext>
                </a:extLst>
              </p:cNvPr>
              <p:cNvGrpSpPr/>
              <p:nvPr/>
            </p:nvGrpSpPr>
            <p:grpSpPr>
              <a:xfrm>
                <a:off x="4778502" y="3316604"/>
                <a:ext cx="75723" cy="75628"/>
                <a:chOff x="4778502" y="3316604"/>
                <a:chExt cx="75723" cy="75628"/>
              </a:xfrm>
            </p:grpSpPr>
            <p:sp>
              <p:nvSpPr>
                <p:cNvPr id="16707" name="Freeform: Shape 16706">
                  <a:extLst>
                    <a:ext uri="{FF2B5EF4-FFF2-40B4-BE49-F238E27FC236}">
                      <a16:creationId xmlns:a16="http://schemas.microsoft.com/office/drawing/2014/main" id="{C7EBECA7-58C2-75F8-F40C-F1B3A36F875B}"/>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8" name="Freeform: Shape 16707">
                  <a:extLst>
                    <a:ext uri="{FF2B5EF4-FFF2-40B4-BE49-F238E27FC236}">
                      <a16:creationId xmlns:a16="http://schemas.microsoft.com/office/drawing/2014/main" id="{F846D007-0687-C17D-2E15-BCD6A070D850}"/>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1" name="Graphic 745">
                <a:extLst>
                  <a:ext uri="{FF2B5EF4-FFF2-40B4-BE49-F238E27FC236}">
                    <a16:creationId xmlns:a16="http://schemas.microsoft.com/office/drawing/2014/main" id="{F19A2BB9-2610-CDF6-9F07-D86A0CAD543F}"/>
                  </a:ext>
                </a:extLst>
              </p:cNvPr>
              <p:cNvGrpSpPr/>
              <p:nvPr/>
            </p:nvGrpSpPr>
            <p:grpSpPr>
              <a:xfrm>
                <a:off x="5163883" y="3466528"/>
                <a:ext cx="75723" cy="75723"/>
                <a:chOff x="5163883" y="3466528"/>
                <a:chExt cx="75723" cy="75723"/>
              </a:xfrm>
            </p:grpSpPr>
            <p:sp>
              <p:nvSpPr>
                <p:cNvPr id="16705" name="Freeform: Shape 16704">
                  <a:extLst>
                    <a:ext uri="{FF2B5EF4-FFF2-40B4-BE49-F238E27FC236}">
                      <a16:creationId xmlns:a16="http://schemas.microsoft.com/office/drawing/2014/main" id="{33617652-DD2E-6807-7740-B29B52371BC9}"/>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6" name="Freeform: Shape 16705">
                  <a:extLst>
                    <a:ext uri="{FF2B5EF4-FFF2-40B4-BE49-F238E27FC236}">
                      <a16:creationId xmlns:a16="http://schemas.microsoft.com/office/drawing/2014/main" id="{D80AB01A-E647-D6BC-CE3C-EFDA0DE99704}"/>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2" name="Graphic 745">
                <a:extLst>
                  <a:ext uri="{FF2B5EF4-FFF2-40B4-BE49-F238E27FC236}">
                    <a16:creationId xmlns:a16="http://schemas.microsoft.com/office/drawing/2014/main" id="{CB9E0390-E353-C599-6F0F-A2342B6D1066}"/>
                  </a:ext>
                </a:extLst>
              </p:cNvPr>
              <p:cNvGrpSpPr/>
              <p:nvPr/>
            </p:nvGrpSpPr>
            <p:grpSpPr>
              <a:xfrm>
                <a:off x="5180171" y="3471385"/>
                <a:ext cx="75628" cy="75723"/>
                <a:chOff x="5180171" y="3471385"/>
                <a:chExt cx="75628" cy="75723"/>
              </a:xfrm>
            </p:grpSpPr>
            <p:sp>
              <p:nvSpPr>
                <p:cNvPr id="16480" name="Freeform: Shape 16479">
                  <a:extLst>
                    <a:ext uri="{FF2B5EF4-FFF2-40B4-BE49-F238E27FC236}">
                      <a16:creationId xmlns:a16="http://schemas.microsoft.com/office/drawing/2014/main" id="{39E4162D-2F50-58D0-9AE9-1307A7A57F5A}"/>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4" name="Freeform: Shape 16703">
                  <a:extLst>
                    <a:ext uri="{FF2B5EF4-FFF2-40B4-BE49-F238E27FC236}">
                      <a16:creationId xmlns:a16="http://schemas.microsoft.com/office/drawing/2014/main" id="{454AC344-9278-0FA7-DC90-F6D772E6048C}"/>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3" name="Graphic 745">
                <a:extLst>
                  <a:ext uri="{FF2B5EF4-FFF2-40B4-BE49-F238E27FC236}">
                    <a16:creationId xmlns:a16="http://schemas.microsoft.com/office/drawing/2014/main" id="{65331E28-57BD-7A96-CEB7-C818A8474D99}"/>
                  </a:ext>
                </a:extLst>
              </p:cNvPr>
              <p:cNvGrpSpPr/>
              <p:nvPr/>
            </p:nvGrpSpPr>
            <p:grpSpPr>
              <a:xfrm>
                <a:off x="5196554" y="3504342"/>
                <a:ext cx="75723" cy="75723"/>
                <a:chOff x="5196554" y="3504342"/>
                <a:chExt cx="75723" cy="75723"/>
              </a:xfrm>
            </p:grpSpPr>
            <p:sp>
              <p:nvSpPr>
                <p:cNvPr id="16478" name="Freeform: Shape 16477">
                  <a:extLst>
                    <a:ext uri="{FF2B5EF4-FFF2-40B4-BE49-F238E27FC236}">
                      <a16:creationId xmlns:a16="http://schemas.microsoft.com/office/drawing/2014/main" id="{05267246-41B5-2270-9ED8-1CC7955AB780}"/>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9" name="Freeform: Shape 16478">
                  <a:extLst>
                    <a:ext uri="{FF2B5EF4-FFF2-40B4-BE49-F238E27FC236}">
                      <a16:creationId xmlns:a16="http://schemas.microsoft.com/office/drawing/2014/main" id="{E7ED463D-738B-928F-00A1-8A50CD766B4D}"/>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4" name="Graphic 745">
                <a:extLst>
                  <a:ext uri="{FF2B5EF4-FFF2-40B4-BE49-F238E27FC236}">
                    <a16:creationId xmlns:a16="http://schemas.microsoft.com/office/drawing/2014/main" id="{FDA25C98-896B-0228-CCB7-323F7E030315}"/>
                  </a:ext>
                </a:extLst>
              </p:cNvPr>
              <p:cNvGrpSpPr/>
              <p:nvPr/>
            </p:nvGrpSpPr>
            <p:grpSpPr>
              <a:xfrm>
                <a:off x="5196554" y="3535870"/>
                <a:ext cx="75723" cy="75628"/>
                <a:chOff x="5196554" y="3535870"/>
                <a:chExt cx="75723" cy="75628"/>
              </a:xfrm>
            </p:grpSpPr>
            <p:sp>
              <p:nvSpPr>
                <p:cNvPr id="16476" name="Freeform: Shape 16475">
                  <a:extLst>
                    <a:ext uri="{FF2B5EF4-FFF2-40B4-BE49-F238E27FC236}">
                      <a16:creationId xmlns:a16="http://schemas.microsoft.com/office/drawing/2014/main" id="{9AF6C43B-B834-0771-CA7B-769D057FCD1C}"/>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7" name="Freeform: Shape 16476">
                  <a:extLst>
                    <a:ext uri="{FF2B5EF4-FFF2-40B4-BE49-F238E27FC236}">
                      <a16:creationId xmlns:a16="http://schemas.microsoft.com/office/drawing/2014/main" id="{F81D984E-93FE-33CC-12A9-374AC2AB6039}"/>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5" name="Graphic 745">
                <a:extLst>
                  <a:ext uri="{FF2B5EF4-FFF2-40B4-BE49-F238E27FC236}">
                    <a16:creationId xmlns:a16="http://schemas.microsoft.com/office/drawing/2014/main" id="{00D4326B-0959-943E-71E1-DC5BC6DA0D8D}"/>
                  </a:ext>
                </a:extLst>
              </p:cNvPr>
              <p:cNvGrpSpPr/>
              <p:nvPr/>
            </p:nvGrpSpPr>
            <p:grpSpPr>
              <a:xfrm>
                <a:off x="5201793" y="3560158"/>
                <a:ext cx="75628" cy="75723"/>
                <a:chOff x="5201793" y="3560158"/>
                <a:chExt cx="75628" cy="75723"/>
              </a:xfrm>
            </p:grpSpPr>
            <p:sp>
              <p:nvSpPr>
                <p:cNvPr id="16474" name="Freeform: Shape 16473">
                  <a:extLst>
                    <a:ext uri="{FF2B5EF4-FFF2-40B4-BE49-F238E27FC236}">
                      <a16:creationId xmlns:a16="http://schemas.microsoft.com/office/drawing/2014/main" id="{8AD5E03D-E7AF-D884-6039-C28BF1EB08D0}"/>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5" name="Freeform: Shape 16474">
                  <a:extLst>
                    <a:ext uri="{FF2B5EF4-FFF2-40B4-BE49-F238E27FC236}">
                      <a16:creationId xmlns:a16="http://schemas.microsoft.com/office/drawing/2014/main" id="{A48F4FEF-2CA1-85E1-6AD2-E0CED6FCA9E4}"/>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6" name="Graphic 745">
                <a:extLst>
                  <a:ext uri="{FF2B5EF4-FFF2-40B4-BE49-F238E27FC236}">
                    <a16:creationId xmlns:a16="http://schemas.microsoft.com/office/drawing/2014/main" id="{09850F76-35BE-7A88-FDC5-7D8CD47A238F}"/>
                  </a:ext>
                </a:extLst>
              </p:cNvPr>
              <p:cNvGrpSpPr/>
              <p:nvPr/>
            </p:nvGrpSpPr>
            <p:grpSpPr>
              <a:xfrm>
                <a:off x="5204174" y="3580066"/>
                <a:ext cx="75723" cy="75723"/>
                <a:chOff x="5204174" y="3580066"/>
                <a:chExt cx="75723" cy="75723"/>
              </a:xfrm>
            </p:grpSpPr>
            <p:sp>
              <p:nvSpPr>
                <p:cNvPr id="16472" name="Freeform: Shape 16471">
                  <a:extLst>
                    <a:ext uri="{FF2B5EF4-FFF2-40B4-BE49-F238E27FC236}">
                      <a16:creationId xmlns:a16="http://schemas.microsoft.com/office/drawing/2014/main" id="{1DF9913A-DCF8-D64D-3576-9C563F2460A3}"/>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3" name="Freeform: Shape 16472">
                  <a:extLst>
                    <a:ext uri="{FF2B5EF4-FFF2-40B4-BE49-F238E27FC236}">
                      <a16:creationId xmlns:a16="http://schemas.microsoft.com/office/drawing/2014/main" id="{9B4718F0-DA37-5AFD-901F-0A8A795E6FDD}"/>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7" name="Graphic 745">
                <a:extLst>
                  <a:ext uri="{FF2B5EF4-FFF2-40B4-BE49-F238E27FC236}">
                    <a16:creationId xmlns:a16="http://schemas.microsoft.com/office/drawing/2014/main" id="{33FA3805-1296-D870-C13C-0869AC7A66B3}"/>
                  </a:ext>
                </a:extLst>
              </p:cNvPr>
              <p:cNvGrpSpPr/>
              <p:nvPr/>
            </p:nvGrpSpPr>
            <p:grpSpPr>
              <a:xfrm>
                <a:off x="5217985" y="3580066"/>
                <a:ext cx="75723" cy="75723"/>
                <a:chOff x="5217985" y="3580066"/>
                <a:chExt cx="75723" cy="75723"/>
              </a:xfrm>
            </p:grpSpPr>
            <p:sp>
              <p:nvSpPr>
                <p:cNvPr id="16470" name="Freeform: Shape 16469">
                  <a:extLst>
                    <a:ext uri="{FF2B5EF4-FFF2-40B4-BE49-F238E27FC236}">
                      <a16:creationId xmlns:a16="http://schemas.microsoft.com/office/drawing/2014/main" id="{D32B397C-D2B4-F6E4-4EDA-55CC2073C46A}"/>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1" name="Freeform: Shape 16470">
                  <a:extLst>
                    <a:ext uri="{FF2B5EF4-FFF2-40B4-BE49-F238E27FC236}">
                      <a16:creationId xmlns:a16="http://schemas.microsoft.com/office/drawing/2014/main" id="{C4056DE8-E4BD-E926-97BB-BB7A482DFE9F}"/>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8" name="Graphic 745">
                <a:extLst>
                  <a:ext uri="{FF2B5EF4-FFF2-40B4-BE49-F238E27FC236}">
                    <a16:creationId xmlns:a16="http://schemas.microsoft.com/office/drawing/2014/main" id="{E440EF0E-4F50-2647-C5BC-1F4E1516BA01}"/>
                  </a:ext>
                </a:extLst>
              </p:cNvPr>
              <p:cNvGrpSpPr/>
              <p:nvPr/>
            </p:nvGrpSpPr>
            <p:grpSpPr>
              <a:xfrm>
                <a:off x="5196554" y="3517772"/>
                <a:ext cx="75723" cy="75723"/>
                <a:chOff x="5196554" y="3517772"/>
                <a:chExt cx="75723" cy="75723"/>
              </a:xfrm>
            </p:grpSpPr>
            <p:sp>
              <p:nvSpPr>
                <p:cNvPr id="16468" name="Freeform: Shape 16467">
                  <a:extLst>
                    <a:ext uri="{FF2B5EF4-FFF2-40B4-BE49-F238E27FC236}">
                      <a16:creationId xmlns:a16="http://schemas.microsoft.com/office/drawing/2014/main" id="{3C562F89-89A4-89CE-AF88-5D9E44B4E8A9}"/>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9" name="Freeform: Shape 16468">
                  <a:extLst>
                    <a:ext uri="{FF2B5EF4-FFF2-40B4-BE49-F238E27FC236}">
                      <a16:creationId xmlns:a16="http://schemas.microsoft.com/office/drawing/2014/main" id="{AB2020F8-E983-50BF-B31D-C3B828529616}"/>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9" name="Graphic 745">
                <a:extLst>
                  <a:ext uri="{FF2B5EF4-FFF2-40B4-BE49-F238E27FC236}">
                    <a16:creationId xmlns:a16="http://schemas.microsoft.com/office/drawing/2014/main" id="{074F78AA-BDED-6764-4547-A381F5AB2751}"/>
                  </a:ext>
                </a:extLst>
              </p:cNvPr>
              <p:cNvGrpSpPr/>
              <p:nvPr/>
            </p:nvGrpSpPr>
            <p:grpSpPr>
              <a:xfrm>
                <a:off x="5234463" y="3624643"/>
                <a:ext cx="75628" cy="75628"/>
                <a:chOff x="5234463" y="3624643"/>
                <a:chExt cx="75628" cy="75628"/>
              </a:xfrm>
            </p:grpSpPr>
            <p:sp>
              <p:nvSpPr>
                <p:cNvPr id="16466" name="Freeform: Shape 16465">
                  <a:extLst>
                    <a:ext uri="{FF2B5EF4-FFF2-40B4-BE49-F238E27FC236}">
                      <a16:creationId xmlns:a16="http://schemas.microsoft.com/office/drawing/2014/main" id="{86BED257-E8FF-72F8-9F36-43DB0A21402D}"/>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7" name="Freeform: Shape 16466">
                  <a:extLst>
                    <a:ext uri="{FF2B5EF4-FFF2-40B4-BE49-F238E27FC236}">
                      <a16:creationId xmlns:a16="http://schemas.microsoft.com/office/drawing/2014/main" id="{D3081B51-4846-4564-2734-B497E196811A}"/>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0" name="Graphic 745">
                <a:extLst>
                  <a:ext uri="{FF2B5EF4-FFF2-40B4-BE49-F238E27FC236}">
                    <a16:creationId xmlns:a16="http://schemas.microsoft.com/office/drawing/2014/main" id="{694687BD-68A6-B711-16A0-1346D5DEF9FB}"/>
                  </a:ext>
                </a:extLst>
              </p:cNvPr>
              <p:cNvGrpSpPr/>
              <p:nvPr/>
            </p:nvGrpSpPr>
            <p:grpSpPr>
              <a:xfrm>
                <a:off x="5591079" y="3728751"/>
                <a:ext cx="75723" cy="75723"/>
                <a:chOff x="5591079" y="3728751"/>
                <a:chExt cx="75723" cy="75723"/>
              </a:xfrm>
            </p:grpSpPr>
            <p:sp>
              <p:nvSpPr>
                <p:cNvPr id="16464" name="Freeform: Shape 16463">
                  <a:extLst>
                    <a:ext uri="{FF2B5EF4-FFF2-40B4-BE49-F238E27FC236}">
                      <a16:creationId xmlns:a16="http://schemas.microsoft.com/office/drawing/2014/main" id="{A2E7DB4C-05F9-1AB2-DC7B-CF908586AE92}"/>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5" name="Freeform: Shape 16464">
                  <a:extLst>
                    <a:ext uri="{FF2B5EF4-FFF2-40B4-BE49-F238E27FC236}">
                      <a16:creationId xmlns:a16="http://schemas.microsoft.com/office/drawing/2014/main" id="{FD84AF19-FDDA-0EBE-A9D1-74524DDE1F98}"/>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1" name="Graphic 745">
                <a:extLst>
                  <a:ext uri="{FF2B5EF4-FFF2-40B4-BE49-F238E27FC236}">
                    <a16:creationId xmlns:a16="http://schemas.microsoft.com/office/drawing/2014/main" id="{842F1B04-2FC2-ED6D-CE35-F8FE1C87E1BB}"/>
                  </a:ext>
                </a:extLst>
              </p:cNvPr>
              <p:cNvGrpSpPr/>
              <p:nvPr/>
            </p:nvGrpSpPr>
            <p:grpSpPr>
              <a:xfrm>
                <a:off x="5602509" y="3737323"/>
                <a:ext cx="75628" cy="75628"/>
                <a:chOff x="5602509" y="3737323"/>
                <a:chExt cx="75628" cy="75628"/>
              </a:xfrm>
            </p:grpSpPr>
            <p:sp>
              <p:nvSpPr>
                <p:cNvPr id="16462" name="Freeform: Shape 16461">
                  <a:extLst>
                    <a:ext uri="{FF2B5EF4-FFF2-40B4-BE49-F238E27FC236}">
                      <a16:creationId xmlns:a16="http://schemas.microsoft.com/office/drawing/2014/main" id="{2D7DCF23-3122-766E-9AF0-07162E354A35}"/>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3" name="Freeform: Shape 16462">
                  <a:extLst>
                    <a:ext uri="{FF2B5EF4-FFF2-40B4-BE49-F238E27FC236}">
                      <a16:creationId xmlns:a16="http://schemas.microsoft.com/office/drawing/2014/main" id="{40ECA349-9B1A-1A61-7D83-5582E24453CE}"/>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2" name="Graphic 745">
                <a:extLst>
                  <a:ext uri="{FF2B5EF4-FFF2-40B4-BE49-F238E27FC236}">
                    <a16:creationId xmlns:a16="http://schemas.microsoft.com/office/drawing/2014/main" id="{678C0008-9223-10AD-2210-C013E96C058A}"/>
                  </a:ext>
                </a:extLst>
              </p:cNvPr>
              <p:cNvGrpSpPr/>
              <p:nvPr/>
            </p:nvGrpSpPr>
            <p:grpSpPr>
              <a:xfrm>
                <a:off x="5615844" y="3747991"/>
                <a:ext cx="75723" cy="75723"/>
                <a:chOff x="5615844" y="3747991"/>
                <a:chExt cx="75723" cy="75723"/>
              </a:xfrm>
            </p:grpSpPr>
            <p:sp>
              <p:nvSpPr>
                <p:cNvPr id="16460" name="Freeform: Shape 16459">
                  <a:extLst>
                    <a:ext uri="{FF2B5EF4-FFF2-40B4-BE49-F238E27FC236}">
                      <a16:creationId xmlns:a16="http://schemas.microsoft.com/office/drawing/2014/main" id="{5A78C883-0987-435D-39C9-E02BE6A23B9B}"/>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1" name="Freeform: Shape 16460">
                  <a:extLst>
                    <a:ext uri="{FF2B5EF4-FFF2-40B4-BE49-F238E27FC236}">
                      <a16:creationId xmlns:a16="http://schemas.microsoft.com/office/drawing/2014/main" id="{084281EA-9877-1C66-C701-A6CE44511611}"/>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3" name="Graphic 745">
                <a:extLst>
                  <a:ext uri="{FF2B5EF4-FFF2-40B4-BE49-F238E27FC236}">
                    <a16:creationId xmlns:a16="http://schemas.microsoft.com/office/drawing/2014/main" id="{CDFDECF1-EF8A-27DB-1141-8E3C6CF531E8}"/>
                  </a:ext>
                </a:extLst>
              </p:cNvPr>
              <p:cNvGrpSpPr/>
              <p:nvPr/>
            </p:nvGrpSpPr>
            <p:grpSpPr>
              <a:xfrm>
                <a:off x="5631275" y="3761803"/>
                <a:ext cx="75628" cy="75628"/>
                <a:chOff x="5631275" y="3761803"/>
                <a:chExt cx="75628" cy="75628"/>
              </a:xfrm>
            </p:grpSpPr>
            <p:sp>
              <p:nvSpPr>
                <p:cNvPr id="16458" name="Freeform: Shape 16457">
                  <a:extLst>
                    <a:ext uri="{FF2B5EF4-FFF2-40B4-BE49-F238E27FC236}">
                      <a16:creationId xmlns:a16="http://schemas.microsoft.com/office/drawing/2014/main" id="{3DDDD2F3-6E1C-792B-DF6F-28393F199615}"/>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9" name="Freeform: Shape 16458">
                  <a:extLst>
                    <a:ext uri="{FF2B5EF4-FFF2-40B4-BE49-F238E27FC236}">
                      <a16:creationId xmlns:a16="http://schemas.microsoft.com/office/drawing/2014/main" id="{3179EF04-259F-8BAA-6E08-47E4CF0EADB1}"/>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4" name="Graphic 745">
                <a:extLst>
                  <a:ext uri="{FF2B5EF4-FFF2-40B4-BE49-F238E27FC236}">
                    <a16:creationId xmlns:a16="http://schemas.microsoft.com/office/drawing/2014/main" id="{F172D382-904E-1063-1F67-86025CEE2906}"/>
                  </a:ext>
                </a:extLst>
              </p:cNvPr>
              <p:cNvGrpSpPr/>
              <p:nvPr/>
            </p:nvGrpSpPr>
            <p:grpSpPr>
              <a:xfrm>
                <a:off x="5642229" y="3780948"/>
                <a:ext cx="75628" cy="75723"/>
                <a:chOff x="5642229" y="3780948"/>
                <a:chExt cx="75628" cy="75723"/>
              </a:xfrm>
            </p:grpSpPr>
            <p:sp>
              <p:nvSpPr>
                <p:cNvPr id="16456" name="Freeform: Shape 16455">
                  <a:extLst>
                    <a:ext uri="{FF2B5EF4-FFF2-40B4-BE49-F238E27FC236}">
                      <a16:creationId xmlns:a16="http://schemas.microsoft.com/office/drawing/2014/main" id="{08AD3D9D-9FE9-533E-8DD5-ABAF92FD128F}"/>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7" name="Freeform: Shape 16456">
                  <a:extLst>
                    <a:ext uri="{FF2B5EF4-FFF2-40B4-BE49-F238E27FC236}">
                      <a16:creationId xmlns:a16="http://schemas.microsoft.com/office/drawing/2014/main" id="{24A64113-E638-3084-B8E0-F7D7EB126DD0}"/>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5" name="Graphic 745">
                <a:extLst>
                  <a:ext uri="{FF2B5EF4-FFF2-40B4-BE49-F238E27FC236}">
                    <a16:creationId xmlns:a16="http://schemas.microsoft.com/office/drawing/2014/main" id="{27F10640-84B8-9C52-8007-2656F619703B}"/>
                  </a:ext>
                </a:extLst>
              </p:cNvPr>
              <p:cNvGrpSpPr/>
              <p:nvPr/>
            </p:nvGrpSpPr>
            <p:grpSpPr>
              <a:xfrm>
                <a:off x="5649753" y="3792664"/>
                <a:ext cx="75723" cy="75723"/>
                <a:chOff x="5649753" y="3792664"/>
                <a:chExt cx="75723" cy="75723"/>
              </a:xfrm>
            </p:grpSpPr>
            <p:sp>
              <p:nvSpPr>
                <p:cNvPr id="16454" name="Freeform: Shape 16453">
                  <a:extLst>
                    <a:ext uri="{FF2B5EF4-FFF2-40B4-BE49-F238E27FC236}">
                      <a16:creationId xmlns:a16="http://schemas.microsoft.com/office/drawing/2014/main" id="{692DFD01-D17F-1B85-686E-6B720C343976}"/>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5" name="Freeform: Shape 16454">
                  <a:extLst>
                    <a:ext uri="{FF2B5EF4-FFF2-40B4-BE49-F238E27FC236}">
                      <a16:creationId xmlns:a16="http://schemas.microsoft.com/office/drawing/2014/main" id="{D5702A4C-4099-F3E5-8213-CB1EBFEB104F}"/>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6" name="Graphic 745">
                <a:extLst>
                  <a:ext uri="{FF2B5EF4-FFF2-40B4-BE49-F238E27FC236}">
                    <a16:creationId xmlns:a16="http://schemas.microsoft.com/office/drawing/2014/main" id="{4C27EB55-E98A-9836-5165-379C02418419}"/>
                  </a:ext>
                </a:extLst>
              </p:cNvPr>
              <p:cNvGrpSpPr/>
              <p:nvPr/>
            </p:nvGrpSpPr>
            <p:grpSpPr>
              <a:xfrm>
                <a:off x="5666803" y="3792664"/>
                <a:ext cx="75723" cy="75723"/>
                <a:chOff x="5666803" y="3792664"/>
                <a:chExt cx="75723" cy="75723"/>
              </a:xfrm>
            </p:grpSpPr>
            <p:sp>
              <p:nvSpPr>
                <p:cNvPr id="16452" name="Freeform: Shape 16451">
                  <a:extLst>
                    <a:ext uri="{FF2B5EF4-FFF2-40B4-BE49-F238E27FC236}">
                      <a16:creationId xmlns:a16="http://schemas.microsoft.com/office/drawing/2014/main" id="{A7893DA4-2717-DE0A-1506-9A8A1ED31821}"/>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3" name="Freeform: Shape 16452">
                  <a:extLst>
                    <a:ext uri="{FF2B5EF4-FFF2-40B4-BE49-F238E27FC236}">
                      <a16:creationId xmlns:a16="http://schemas.microsoft.com/office/drawing/2014/main" id="{C8DFAAB3-CD35-55EB-2771-19E005538BBC}"/>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7" name="Graphic 745">
                <a:extLst>
                  <a:ext uri="{FF2B5EF4-FFF2-40B4-BE49-F238E27FC236}">
                    <a16:creationId xmlns:a16="http://schemas.microsoft.com/office/drawing/2014/main" id="{7CE91132-FF74-E998-57E1-B0873704FAE0}"/>
                  </a:ext>
                </a:extLst>
              </p:cNvPr>
              <p:cNvGrpSpPr/>
              <p:nvPr/>
            </p:nvGrpSpPr>
            <p:grpSpPr>
              <a:xfrm>
                <a:off x="5680043" y="3792664"/>
                <a:ext cx="75723" cy="75723"/>
                <a:chOff x="5680043" y="3792664"/>
                <a:chExt cx="75723" cy="75723"/>
              </a:xfrm>
            </p:grpSpPr>
            <p:sp>
              <p:nvSpPr>
                <p:cNvPr id="16450" name="Freeform: Shape 16449">
                  <a:extLst>
                    <a:ext uri="{FF2B5EF4-FFF2-40B4-BE49-F238E27FC236}">
                      <a16:creationId xmlns:a16="http://schemas.microsoft.com/office/drawing/2014/main" id="{DB18B910-5C17-1DCD-253B-0A29C0907277}"/>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1" name="Freeform: Shape 16450">
                  <a:extLst>
                    <a:ext uri="{FF2B5EF4-FFF2-40B4-BE49-F238E27FC236}">
                      <a16:creationId xmlns:a16="http://schemas.microsoft.com/office/drawing/2014/main" id="{F60E83F2-16A5-7FF6-9A5A-85FBB4385E25}"/>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8" name="Graphic 745">
                <a:extLst>
                  <a:ext uri="{FF2B5EF4-FFF2-40B4-BE49-F238E27FC236}">
                    <a16:creationId xmlns:a16="http://schemas.microsoft.com/office/drawing/2014/main" id="{101FFA84-5FFC-B018-34E1-DD9D9D693A4D}"/>
                  </a:ext>
                </a:extLst>
              </p:cNvPr>
              <p:cNvGrpSpPr/>
              <p:nvPr/>
            </p:nvGrpSpPr>
            <p:grpSpPr>
              <a:xfrm>
                <a:off x="5972937" y="3841051"/>
                <a:ext cx="75723" cy="75723"/>
                <a:chOff x="5972937" y="3841051"/>
                <a:chExt cx="75723" cy="75723"/>
              </a:xfrm>
            </p:grpSpPr>
            <p:sp>
              <p:nvSpPr>
                <p:cNvPr id="16448" name="Freeform: Shape 16447">
                  <a:extLst>
                    <a:ext uri="{FF2B5EF4-FFF2-40B4-BE49-F238E27FC236}">
                      <a16:creationId xmlns:a16="http://schemas.microsoft.com/office/drawing/2014/main" id="{7A9E2211-D79F-487F-49E2-C521D1E09C33}"/>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9" name="Freeform: Shape 16448">
                  <a:extLst>
                    <a:ext uri="{FF2B5EF4-FFF2-40B4-BE49-F238E27FC236}">
                      <a16:creationId xmlns:a16="http://schemas.microsoft.com/office/drawing/2014/main" id="{4BD2B411-94E9-CAD0-C5AB-7C6F541E8E40}"/>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9" name="Graphic 745">
                <a:extLst>
                  <a:ext uri="{FF2B5EF4-FFF2-40B4-BE49-F238E27FC236}">
                    <a16:creationId xmlns:a16="http://schemas.microsoft.com/office/drawing/2014/main" id="{9AA10DFB-81C8-9F5D-5D34-BCD3BA69FEE8}"/>
                  </a:ext>
                </a:extLst>
              </p:cNvPr>
              <p:cNvGrpSpPr/>
              <p:nvPr/>
            </p:nvGrpSpPr>
            <p:grpSpPr>
              <a:xfrm>
                <a:off x="6008560" y="3841051"/>
                <a:ext cx="75723" cy="75723"/>
                <a:chOff x="6008560" y="3841051"/>
                <a:chExt cx="75723" cy="75723"/>
              </a:xfrm>
            </p:grpSpPr>
            <p:sp>
              <p:nvSpPr>
                <p:cNvPr id="16318" name="Freeform: Shape 16317">
                  <a:extLst>
                    <a:ext uri="{FF2B5EF4-FFF2-40B4-BE49-F238E27FC236}">
                      <a16:creationId xmlns:a16="http://schemas.microsoft.com/office/drawing/2014/main" id="{DE186865-D39D-C0DC-08CD-76FC8B0929E5}"/>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9" name="Freeform: Shape 16318">
                  <a:extLst>
                    <a:ext uri="{FF2B5EF4-FFF2-40B4-BE49-F238E27FC236}">
                      <a16:creationId xmlns:a16="http://schemas.microsoft.com/office/drawing/2014/main" id="{998DA076-F486-D733-FB70-7D6F343189F4}"/>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0" name="Graphic 745">
                <a:extLst>
                  <a:ext uri="{FF2B5EF4-FFF2-40B4-BE49-F238E27FC236}">
                    <a16:creationId xmlns:a16="http://schemas.microsoft.com/office/drawing/2014/main" id="{08E119E5-41EF-7E43-562C-65B3C1316BD7}"/>
                  </a:ext>
                </a:extLst>
              </p:cNvPr>
              <p:cNvGrpSpPr/>
              <p:nvPr/>
            </p:nvGrpSpPr>
            <p:grpSpPr>
              <a:xfrm>
                <a:off x="6024848" y="3841051"/>
                <a:ext cx="75628" cy="75723"/>
                <a:chOff x="6024848" y="3841051"/>
                <a:chExt cx="75628" cy="75723"/>
              </a:xfrm>
            </p:grpSpPr>
            <p:sp>
              <p:nvSpPr>
                <p:cNvPr id="16316" name="Freeform: Shape 16315">
                  <a:extLst>
                    <a:ext uri="{FF2B5EF4-FFF2-40B4-BE49-F238E27FC236}">
                      <a16:creationId xmlns:a16="http://schemas.microsoft.com/office/drawing/2014/main" id="{E75DB952-5E9F-4D00-7EF3-35BE4CCC1E67}"/>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7" name="Freeform: Shape 16316">
                  <a:extLst>
                    <a:ext uri="{FF2B5EF4-FFF2-40B4-BE49-F238E27FC236}">
                      <a16:creationId xmlns:a16="http://schemas.microsoft.com/office/drawing/2014/main" id="{92DCF1EF-F7BC-5F88-7733-8366AF46A1A1}"/>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1" name="Graphic 745">
                <a:extLst>
                  <a:ext uri="{FF2B5EF4-FFF2-40B4-BE49-F238E27FC236}">
                    <a16:creationId xmlns:a16="http://schemas.microsoft.com/office/drawing/2014/main" id="{D7E00FC5-4FB3-3909-00F4-7A6E5F356D00}"/>
                  </a:ext>
                </a:extLst>
              </p:cNvPr>
              <p:cNvGrpSpPr/>
              <p:nvPr/>
            </p:nvGrpSpPr>
            <p:grpSpPr>
              <a:xfrm>
                <a:off x="6036564" y="3841051"/>
                <a:ext cx="75723" cy="75723"/>
                <a:chOff x="6036564" y="3841051"/>
                <a:chExt cx="75723" cy="75723"/>
              </a:xfrm>
            </p:grpSpPr>
            <p:sp>
              <p:nvSpPr>
                <p:cNvPr id="16314" name="Freeform: Shape 16313">
                  <a:extLst>
                    <a:ext uri="{FF2B5EF4-FFF2-40B4-BE49-F238E27FC236}">
                      <a16:creationId xmlns:a16="http://schemas.microsoft.com/office/drawing/2014/main" id="{064F0674-31DF-B652-1F6E-C85F0A57ADDD}"/>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5" name="Freeform: Shape 16314">
                  <a:extLst>
                    <a:ext uri="{FF2B5EF4-FFF2-40B4-BE49-F238E27FC236}">
                      <a16:creationId xmlns:a16="http://schemas.microsoft.com/office/drawing/2014/main" id="{5612DF10-7948-F41C-470F-2A6FD0B7B13A}"/>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6" name="Graphic 745">
                <a:extLst>
                  <a:ext uri="{FF2B5EF4-FFF2-40B4-BE49-F238E27FC236}">
                    <a16:creationId xmlns:a16="http://schemas.microsoft.com/office/drawing/2014/main" id="{2ED78D82-5CE1-BE3D-98C9-E833AE1AA744}"/>
                  </a:ext>
                </a:extLst>
              </p:cNvPr>
              <p:cNvGrpSpPr/>
              <p:nvPr/>
            </p:nvGrpSpPr>
            <p:grpSpPr>
              <a:xfrm>
                <a:off x="6052756" y="3871435"/>
                <a:ext cx="75723" cy="75723"/>
                <a:chOff x="6052756" y="3871435"/>
                <a:chExt cx="75723" cy="75723"/>
              </a:xfrm>
            </p:grpSpPr>
            <p:sp>
              <p:nvSpPr>
                <p:cNvPr id="16312" name="Freeform: Shape 16311">
                  <a:extLst>
                    <a:ext uri="{FF2B5EF4-FFF2-40B4-BE49-F238E27FC236}">
                      <a16:creationId xmlns:a16="http://schemas.microsoft.com/office/drawing/2014/main" id="{532339F4-D2E6-4149-5170-38F61B2B954B}"/>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3" name="Freeform: Shape 16312">
                  <a:extLst>
                    <a:ext uri="{FF2B5EF4-FFF2-40B4-BE49-F238E27FC236}">
                      <a16:creationId xmlns:a16="http://schemas.microsoft.com/office/drawing/2014/main" id="{DCA0E1A1-26D0-C4B8-0D37-9FA77EB5912E}"/>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7" name="Graphic 745">
                <a:extLst>
                  <a:ext uri="{FF2B5EF4-FFF2-40B4-BE49-F238E27FC236}">
                    <a16:creationId xmlns:a16="http://schemas.microsoft.com/office/drawing/2014/main" id="{B6A04E26-F3BF-4A2B-58C0-43C1AE37AFAE}"/>
                  </a:ext>
                </a:extLst>
              </p:cNvPr>
              <p:cNvGrpSpPr/>
              <p:nvPr/>
            </p:nvGrpSpPr>
            <p:grpSpPr>
              <a:xfrm>
                <a:off x="6066567" y="3871435"/>
                <a:ext cx="75723" cy="75723"/>
                <a:chOff x="6066567" y="3871435"/>
                <a:chExt cx="75723" cy="75723"/>
              </a:xfrm>
            </p:grpSpPr>
            <p:sp>
              <p:nvSpPr>
                <p:cNvPr id="16310" name="Freeform: Shape 16309">
                  <a:extLst>
                    <a:ext uri="{FF2B5EF4-FFF2-40B4-BE49-F238E27FC236}">
                      <a16:creationId xmlns:a16="http://schemas.microsoft.com/office/drawing/2014/main" id="{1E40F28D-2EC3-00CE-9649-CB580FEC69B6}"/>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1" name="Freeform: Shape 16310">
                  <a:extLst>
                    <a:ext uri="{FF2B5EF4-FFF2-40B4-BE49-F238E27FC236}">
                      <a16:creationId xmlns:a16="http://schemas.microsoft.com/office/drawing/2014/main" id="{8F7FC22C-29F5-1504-03DC-117A33AA59C9}"/>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8" name="Graphic 745">
                <a:extLst>
                  <a:ext uri="{FF2B5EF4-FFF2-40B4-BE49-F238E27FC236}">
                    <a16:creationId xmlns:a16="http://schemas.microsoft.com/office/drawing/2014/main" id="{7DBDDC98-E01A-E388-3C0E-D11ABA3DCFBA}"/>
                  </a:ext>
                </a:extLst>
              </p:cNvPr>
              <p:cNvGrpSpPr/>
              <p:nvPr/>
            </p:nvGrpSpPr>
            <p:grpSpPr>
              <a:xfrm>
                <a:off x="6074378" y="3888104"/>
                <a:ext cx="75723" cy="75628"/>
                <a:chOff x="6074378" y="3888104"/>
                <a:chExt cx="75723" cy="75628"/>
              </a:xfrm>
            </p:grpSpPr>
            <p:sp>
              <p:nvSpPr>
                <p:cNvPr id="16308" name="Freeform: Shape 16307">
                  <a:extLst>
                    <a:ext uri="{FF2B5EF4-FFF2-40B4-BE49-F238E27FC236}">
                      <a16:creationId xmlns:a16="http://schemas.microsoft.com/office/drawing/2014/main" id="{1612827A-715C-723B-7D9F-0A9ABF21DA49}"/>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9" name="Freeform: Shape 16308">
                  <a:extLst>
                    <a:ext uri="{FF2B5EF4-FFF2-40B4-BE49-F238E27FC236}">
                      <a16:creationId xmlns:a16="http://schemas.microsoft.com/office/drawing/2014/main" id="{0C8F53C2-FA77-5C65-B42D-C2FCA13490A2}"/>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9" name="Graphic 745">
                <a:extLst>
                  <a:ext uri="{FF2B5EF4-FFF2-40B4-BE49-F238E27FC236}">
                    <a16:creationId xmlns:a16="http://schemas.microsoft.com/office/drawing/2014/main" id="{42476D24-1780-6D62-8396-7C9231B3B17F}"/>
                  </a:ext>
                </a:extLst>
              </p:cNvPr>
              <p:cNvGrpSpPr/>
              <p:nvPr/>
            </p:nvGrpSpPr>
            <p:grpSpPr>
              <a:xfrm>
                <a:off x="6088856" y="3909345"/>
                <a:ext cx="75723" cy="75628"/>
                <a:chOff x="6088856" y="3909345"/>
                <a:chExt cx="75723" cy="75628"/>
              </a:xfrm>
            </p:grpSpPr>
            <p:sp>
              <p:nvSpPr>
                <p:cNvPr id="16306" name="Freeform: Shape 16305">
                  <a:extLst>
                    <a:ext uri="{FF2B5EF4-FFF2-40B4-BE49-F238E27FC236}">
                      <a16:creationId xmlns:a16="http://schemas.microsoft.com/office/drawing/2014/main" id="{51AD810D-AF4D-BCA2-B6E5-20881B8AE33D}"/>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7" name="Freeform: Shape 16306">
                  <a:extLst>
                    <a:ext uri="{FF2B5EF4-FFF2-40B4-BE49-F238E27FC236}">
                      <a16:creationId xmlns:a16="http://schemas.microsoft.com/office/drawing/2014/main" id="{48266427-B423-72C5-DBDE-4D8E81C2A2A9}"/>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0" name="Graphic 745">
                <a:extLst>
                  <a:ext uri="{FF2B5EF4-FFF2-40B4-BE49-F238E27FC236}">
                    <a16:creationId xmlns:a16="http://schemas.microsoft.com/office/drawing/2014/main" id="{8F78062D-9E62-C247-1B0F-D900103AC954}"/>
                  </a:ext>
                </a:extLst>
              </p:cNvPr>
              <p:cNvGrpSpPr/>
              <p:nvPr/>
            </p:nvGrpSpPr>
            <p:grpSpPr>
              <a:xfrm>
                <a:off x="6112287" y="3909345"/>
                <a:ext cx="75628" cy="75628"/>
                <a:chOff x="6112287" y="3909345"/>
                <a:chExt cx="75628" cy="75628"/>
              </a:xfrm>
            </p:grpSpPr>
            <p:sp>
              <p:nvSpPr>
                <p:cNvPr id="16304" name="Freeform: Shape 16303">
                  <a:extLst>
                    <a:ext uri="{FF2B5EF4-FFF2-40B4-BE49-F238E27FC236}">
                      <a16:creationId xmlns:a16="http://schemas.microsoft.com/office/drawing/2014/main" id="{FA581779-9E87-7A6F-4AD5-22D1ADF1E8F4}"/>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5" name="Freeform: Shape 16304">
                  <a:extLst>
                    <a:ext uri="{FF2B5EF4-FFF2-40B4-BE49-F238E27FC236}">
                      <a16:creationId xmlns:a16="http://schemas.microsoft.com/office/drawing/2014/main" id="{32E2A9EA-359A-F939-7661-BBDFBD6DD9B8}"/>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1" name="Graphic 745">
                <a:extLst>
                  <a:ext uri="{FF2B5EF4-FFF2-40B4-BE49-F238E27FC236}">
                    <a16:creationId xmlns:a16="http://schemas.microsoft.com/office/drawing/2014/main" id="{B384521C-CAFE-173B-0B77-75539796313C}"/>
                  </a:ext>
                </a:extLst>
              </p:cNvPr>
              <p:cNvGrpSpPr/>
              <p:nvPr/>
            </p:nvGrpSpPr>
            <p:grpSpPr>
              <a:xfrm>
                <a:off x="6100476" y="3909345"/>
                <a:ext cx="75723" cy="75628"/>
                <a:chOff x="6100476" y="3909345"/>
                <a:chExt cx="75723" cy="75628"/>
              </a:xfrm>
            </p:grpSpPr>
            <p:sp>
              <p:nvSpPr>
                <p:cNvPr id="16302" name="Freeform: Shape 16301">
                  <a:extLst>
                    <a:ext uri="{FF2B5EF4-FFF2-40B4-BE49-F238E27FC236}">
                      <a16:creationId xmlns:a16="http://schemas.microsoft.com/office/drawing/2014/main" id="{C6886AAA-F264-0AD4-AE34-90250E205694}"/>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3" name="Freeform: Shape 16302">
                  <a:extLst>
                    <a:ext uri="{FF2B5EF4-FFF2-40B4-BE49-F238E27FC236}">
                      <a16:creationId xmlns:a16="http://schemas.microsoft.com/office/drawing/2014/main" id="{3D2CB63D-ADCA-012B-3670-68B70FEE1BF9}"/>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2" name="Graphic 745">
                <a:extLst>
                  <a:ext uri="{FF2B5EF4-FFF2-40B4-BE49-F238E27FC236}">
                    <a16:creationId xmlns:a16="http://schemas.microsoft.com/office/drawing/2014/main" id="{9E4251F7-1699-6163-8154-0835802C7862}"/>
                  </a:ext>
                </a:extLst>
              </p:cNvPr>
              <p:cNvGrpSpPr/>
              <p:nvPr/>
            </p:nvGrpSpPr>
            <p:grpSpPr>
              <a:xfrm>
                <a:off x="6900100" y="4071937"/>
                <a:ext cx="75723" cy="75723"/>
                <a:chOff x="6900100" y="4071937"/>
                <a:chExt cx="75723" cy="75723"/>
              </a:xfrm>
            </p:grpSpPr>
            <p:sp>
              <p:nvSpPr>
                <p:cNvPr id="16300" name="Freeform: Shape 16299">
                  <a:extLst>
                    <a:ext uri="{FF2B5EF4-FFF2-40B4-BE49-F238E27FC236}">
                      <a16:creationId xmlns:a16="http://schemas.microsoft.com/office/drawing/2014/main" id="{7AEDB3A5-F08C-5E0F-BF56-CB5307BC6672}"/>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1" name="Freeform: Shape 16300">
                  <a:extLst>
                    <a:ext uri="{FF2B5EF4-FFF2-40B4-BE49-F238E27FC236}">
                      <a16:creationId xmlns:a16="http://schemas.microsoft.com/office/drawing/2014/main" id="{7AEE53FA-6F3F-B11B-F53B-291E0084D703}"/>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3" name="Graphic 745">
                <a:extLst>
                  <a:ext uri="{FF2B5EF4-FFF2-40B4-BE49-F238E27FC236}">
                    <a16:creationId xmlns:a16="http://schemas.microsoft.com/office/drawing/2014/main" id="{9EB62D5C-76E2-75CD-5C75-AE42AD03213A}"/>
                  </a:ext>
                </a:extLst>
              </p:cNvPr>
              <p:cNvGrpSpPr/>
              <p:nvPr/>
            </p:nvGrpSpPr>
            <p:grpSpPr>
              <a:xfrm>
                <a:off x="6962298" y="4156328"/>
                <a:ext cx="75723" cy="75628"/>
                <a:chOff x="6962298" y="4156328"/>
                <a:chExt cx="75723" cy="75628"/>
              </a:xfrm>
            </p:grpSpPr>
            <p:sp>
              <p:nvSpPr>
                <p:cNvPr id="16298" name="Freeform: Shape 16297">
                  <a:extLst>
                    <a:ext uri="{FF2B5EF4-FFF2-40B4-BE49-F238E27FC236}">
                      <a16:creationId xmlns:a16="http://schemas.microsoft.com/office/drawing/2014/main" id="{6FD23637-DB16-A026-1F8D-3A6EC902788D}"/>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9" name="Freeform: Shape 16298">
                  <a:extLst>
                    <a:ext uri="{FF2B5EF4-FFF2-40B4-BE49-F238E27FC236}">
                      <a16:creationId xmlns:a16="http://schemas.microsoft.com/office/drawing/2014/main" id="{5060A4F6-916C-543D-3C58-8ACC964C2A63}"/>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4" name="Graphic 745">
                <a:extLst>
                  <a:ext uri="{FF2B5EF4-FFF2-40B4-BE49-F238E27FC236}">
                    <a16:creationId xmlns:a16="http://schemas.microsoft.com/office/drawing/2014/main" id="{7884E470-1713-5F44-2D91-8E43E99EA039}"/>
                  </a:ext>
                </a:extLst>
              </p:cNvPr>
              <p:cNvGrpSpPr/>
              <p:nvPr/>
            </p:nvGrpSpPr>
            <p:grpSpPr>
              <a:xfrm>
                <a:off x="6946773" y="4131087"/>
                <a:ext cx="75723" cy="75628"/>
                <a:chOff x="6946773" y="4131087"/>
                <a:chExt cx="75723" cy="75628"/>
              </a:xfrm>
            </p:grpSpPr>
            <p:sp>
              <p:nvSpPr>
                <p:cNvPr id="16296" name="Freeform: Shape 16295">
                  <a:extLst>
                    <a:ext uri="{FF2B5EF4-FFF2-40B4-BE49-F238E27FC236}">
                      <a16:creationId xmlns:a16="http://schemas.microsoft.com/office/drawing/2014/main" id="{58EE3099-18BD-5725-A71A-5E3EF535DD2D}"/>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7" name="Freeform: Shape 16296">
                  <a:extLst>
                    <a:ext uri="{FF2B5EF4-FFF2-40B4-BE49-F238E27FC236}">
                      <a16:creationId xmlns:a16="http://schemas.microsoft.com/office/drawing/2014/main" id="{3633BAC8-96CB-AE6D-9F8F-D3822C77318D}"/>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5" name="Graphic 745">
                <a:extLst>
                  <a:ext uri="{FF2B5EF4-FFF2-40B4-BE49-F238E27FC236}">
                    <a16:creationId xmlns:a16="http://schemas.microsoft.com/office/drawing/2014/main" id="{DFE11A03-8908-1BEE-01F5-928BEAA3ECF0}"/>
                  </a:ext>
                </a:extLst>
              </p:cNvPr>
              <p:cNvGrpSpPr/>
              <p:nvPr/>
            </p:nvGrpSpPr>
            <p:grpSpPr>
              <a:xfrm>
                <a:off x="6926865" y="4104322"/>
                <a:ext cx="75723" cy="75723"/>
                <a:chOff x="6926865" y="4104322"/>
                <a:chExt cx="75723" cy="75723"/>
              </a:xfrm>
            </p:grpSpPr>
            <p:sp>
              <p:nvSpPr>
                <p:cNvPr id="16294" name="Freeform: Shape 16293">
                  <a:extLst>
                    <a:ext uri="{FF2B5EF4-FFF2-40B4-BE49-F238E27FC236}">
                      <a16:creationId xmlns:a16="http://schemas.microsoft.com/office/drawing/2014/main" id="{B95E33BA-F826-7728-9772-3FFB64D32868}"/>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5" name="Freeform: Shape 16294">
                  <a:extLst>
                    <a:ext uri="{FF2B5EF4-FFF2-40B4-BE49-F238E27FC236}">
                      <a16:creationId xmlns:a16="http://schemas.microsoft.com/office/drawing/2014/main" id="{2C0D681F-16A8-4A8B-3A26-FF49A656A36A}"/>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6" name="Graphic 745">
                <a:extLst>
                  <a:ext uri="{FF2B5EF4-FFF2-40B4-BE49-F238E27FC236}">
                    <a16:creationId xmlns:a16="http://schemas.microsoft.com/office/drawing/2014/main" id="{E483D18F-E663-9919-5863-EC0A599DAAEB}"/>
                  </a:ext>
                </a:extLst>
              </p:cNvPr>
              <p:cNvGrpSpPr/>
              <p:nvPr/>
            </p:nvGrpSpPr>
            <p:grpSpPr>
              <a:xfrm>
                <a:off x="6912864" y="4104322"/>
                <a:ext cx="75723" cy="75723"/>
                <a:chOff x="6912864" y="4104322"/>
                <a:chExt cx="75723" cy="75723"/>
              </a:xfrm>
            </p:grpSpPr>
            <p:sp>
              <p:nvSpPr>
                <p:cNvPr id="16292" name="Freeform: Shape 16291">
                  <a:extLst>
                    <a:ext uri="{FF2B5EF4-FFF2-40B4-BE49-F238E27FC236}">
                      <a16:creationId xmlns:a16="http://schemas.microsoft.com/office/drawing/2014/main" id="{CE4FDC3C-F8AB-B4DE-C120-BDE665100FD2}"/>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3" name="Freeform: Shape 16292">
                  <a:extLst>
                    <a:ext uri="{FF2B5EF4-FFF2-40B4-BE49-F238E27FC236}">
                      <a16:creationId xmlns:a16="http://schemas.microsoft.com/office/drawing/2014/main" id="{541464B2-92AF-62E8-CAD6-D5CF8F2CBE18}"/>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7" name="Graphic 745">
                <a:extLst>
                  <a:ext uri="{FF2B5EF4-FFF2-40B4-BE49-F238E27FC236}">
                    <a16:creationId xmlns:a16="http://schemas.microsoft.com/office/drawing/2014/main" id="{007A4D05-6240-C866-0549-8A281B1D2110}"/>
                  </a:ext>
                </a:extLst>
              </p:cNvPr>
              <p:cNvGrpSpPr/>
              <p:nvPr/>
            </p:nvGrpSpPr>
            <p:grpSpPr>
              <a:xfrm>
                <a:off x="7032117" y="4185284"/>
                <a:ext cx="75723" cy="75723"/>
                <a:chOff x="7032117" y="4185284"/>
                <a:chExt cx="75723" cy="75723"/>
              </a:xfrm>
            </p:grpSpPr>
            <p:sp>
              <p:nvSpPr>
                <p:cNvPr id="16290" name="Freeform: Shape 16289">
                  <a:extLst>
                    <a:ext uri="{FF2B5EF4-FFF2-40B4-BE49-F238E27FC236}">
                      <a16:creationId xmlns:a16="http://schemas.microsoft.com/office/drawing/2014/main" id="{ABDC609D-0757-5259-8CD4-A525F817BFED}"/>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1" name="Freeform: Shape 16290">
                  <a:extLst>
                    <a:ext uri="{FF2B5EF4-FFF2-40B4-BE49-F238E27FC236}">
                      <a16:creationId xmlns:a16="http://schemas.microsoft.com/office/drawing/2014/main" id="{6F62EB5E-82E8-52D2-BBC2-A3986403A6B7}"/>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8" name="Graphic 745">
                <a:extLst>
                  <a:ext uri="{FF2B5EF4-FFF2-40B4-BE49-F238E27FC236}">
                    <a16:creationId xmlns:a16="http://schemas.microsoft.com/office/drawing/2014/main" id="{10E25953-B598-DB3F-17AF-13F5F6662217}"/>
                  </a:ext>
                </a:extLst>
              </p:cNvPr>
              <p:cNvGrpSpPr/>
              <p:nvPr/>
            </p:nvGrpSpPr>
            <p:grpSpPr>
              <a:xfrm>
                <a:off x="7742872" y="4275772"/>
                <a:ext cx="75723" cy="75723"/>
                <a:chOff x="7742872" y="4275772"/>
                <a:chExt cx="75723" cy="75723"/>
              </a:xfrm>
            </p:grpSpPr>
            <p:sp>
              <p:nvSpPr>
                <p:cNvPr id="16288" name="Freeform: Shape 16287">
                  <a:extLst>
                    <a:ext uri="{FF2B5EF4-FFF2-40B4-BE49-F238E27FC236}">
                      <a16:creationId xmlns:a16="http://schemas.microsoft.com/office/drawing/2014/main" id="{EA814F40-04EC-24B3-C1DA-D28FF4C27E8C}"/>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9" name="Freeform: Shape 16288">
                  <a:extLst>
                    <a:ext uri="{FF2B5EF4-FFF2-40B4-BE49-F238E27FC236}">
                      <a16:creationId xmlns:a16="http://schemas.microsoft.com/office/drawing/2014/main" id="{0447901D-197A-ED53-2AB0-EE0AD7F5D24D}"/>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9" name="Graphic 745">
                <a:extLst>
                  <a:ext uri="{FF2B5EF4-FFF2-40B4-BE49-F238E27FC236}">
                    <a16:creationId xmlns:a16="http://schemas.microsoft.com/office/drawing/2014/main" id="{DF2FD067-D21F-D69B-A941-8BA9E793529B}"/>
                  </a:ext>
                </a:extLst>
              </p:cNvPr>
              <p:cNvGrpSpPr/>
              <p:nvPr/>
            </p:nvGrpSpPr>
            <p:grpSpPr>
              <a:xfrm>
                <a:off x="7766399" y="4275772"/>
                <a:ext cx="75628" cy="75723"/>
                <a:chOff x="7766399" y="4275772"/>
                <a:chExt cx="75628" cy="75723"/>
              </a:xfrm>
            </p:grpSpPr>
            <p:sp>
              <p:nvSpPr>
                <p:cNvPr id="16286" name="Freeform: Shape 16285">
                  <a:extLst>
                    <a:ext uri="{FF2B5EF4-FFF2-40B4-BE49-F238E27FC236}">
                      <a16:creationId xmlns:a16="http://schemas.microsoft.com/office/drawing/2014/main" id="{A8BB8867-1104-9529-D135-4B7E3AE56763}"/>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7" name="Freeform: Shape 16286">
                  <a:extLst>
                    <a:ext uri="{FF2B5EF4-FFF2-40B4-BE49-F238E27FC236}">
                      <a16:creationId xmlns:a16="http://schemas.microsoft.com/office/drawing/2014/main" id="{376DADD9-3E54-EF71-D819-DD44BCB6DEF7}"/>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0" name="Graphic 745">
                <a:extLst>
                  <a:ext uri="{FF2B5EF4-FFF2-40B4-BE49-F238E27FC236}">
                    <a16:creationId xmlns:a16="http://schemas.microsoft.com/office/drawing/2014/main" id="{91F9BB02-FEB6-6400-747E-D9227782B10D}"/>
                  </a:ext>
                </a:extLst>
              </p:cNvPr>
              <p:cNvGrpSpPr/>
              <p:nvPr/>
            </p:nvGrpSpPr>
            <p:grpSpPr>
              <a:xfrm>
                <a:off x="7787449" y="4275772"/>
                <a:ext cx="75723" cy="75723"/>
                <a:chOff x="7787449" y="4275772"/>
                <a:chExt cx="75723" cy="75723"/>
              </a:xfrm>
            </p:grpSpPr>
            <p:sp>
              <p:nvSpPr>
                <p:cNvPr id="16284" name="Freeform: Shape 16283">
                  <a:extLst>
                    <a:ext uri="{FF2B5EF4-FFF2-40B4-BE49-F238E27FC236}">
                      <a16:creationId xmlns:a16="http://schemas.microsoft.com/office/drawing/2014/main" id="{05E97943-1624-41A2-ACB2-47F624A9F1B6}"/>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5" name="Freeform: Shape 16284">
                  <a:extLst>
                    <a:ext uri="{FF2B5EF4-FFF2-40B4-BE49-F238E27FC236}">
                      <a16:creationId xmlns:a16="http://schemas.microsoft.com/office/drawing/2014/main" id="{156D41C7-39F4-AB64-C5AB-036ADB7D9455}"/>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1" name="Graphic 745">
                <a:extLst>
                  <a:ext uri="{FF2B5EF4-FFF2-40B4-BE49-F238E27FC236}">
                    <a16:creationId xmlns:a16="http://schemas.microsoft.com/office/drawing/2014/main" id="{72BA88A6-B787-2D4D-B2D8-CF198EE8D83C}"/>
                  </a:ext>
                </a:extLst>
              </p:cNvPr>
              <p:cNvGrpSpPr/>
              <p:nvPr/>
            </p:nvGrpSpPr>
            <p:grpSpPr>
              <a:xfrm>
                <a:off x="7793545" y="4275772"/>
                <a:ext cx="75628" cy="75723"/>
                <a:chOff x="7793545" y="4275772"/>
                <a:chExt cx="75628" cy="75723"/>
              </a:xfrm>
            </p:grpSpPr>
            <p:sp>
              <p:nvSpPr>
                <p:cNvPr id="16282" name="Freeform: Shape 16281">
                  <a:extLst>
                    <a:ext uri="{FF2B5EF4-FFF2-40B4-BE49-F238E27FC236}">
                      <a16:creationId xmlns:a16="http://schemas.microsoft.com/office/drawing/2014/main" id="{31A9A91A-B13A-3192-35F6-A24DC61AC7AB}"/>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3" name="Freeform: Shape 16282">
                  <a:extLst>
                    <a:ext uri="{FF2B5EF4-FFF2-40B4-BE49-F238E27FC236}">
                      <a16:creationId xmlns:a16="http://schemas.microsoft.com/office/drawing/2014/main" id="{F738D39D-D65C-8F03-2881-628F94E2375A}"/>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2" name="Graphic 745">
                <a:extLst>
                  <a:ext uri="{FF2B5EF4-FFF2-40B4-BE49-F238E27FC236}">
                    <a16:creationId xmlns:a16="http://schemas.microsoft.com/office/drawing/2014/main" id="{9760C7D2-16C3-640B-1A88-0EB82139C1D5}"/>
                  </a:ext>
                </a:extLst>
              </p:cNvPr>
              <p:cNvGrpSpPr/>
              <p:nvPr/>
            </p:nvGrpSpPr>
            <p:grpSpPr>
              <a:xfrm>
                <a:off x="7821453" y="4275772"/>
                <a:ext cx="75723" cy="75723"/>
                <a:chOff x="7821453" y="4275772"/>
                <a:chExt cx="75723" cy="75723"/>
              </a:xfrm>
            </p:grpSpPr>
            <p:sp>
              <p:nvSpPr>
                <p:cNvPr id="16280" name="Freeform: Shape 16279">
                  <a:extLst>
                    <a:ext uri="{FF2B5EF4-FFF2-40B4-BE49-F238E27FC236}">
                      <a16:creationId xmlns:a16="http://schemas.microsoft.com/office/drawing/2014/main" id="{2F8C4E03-9861-1F79-E9A4-C921807DE7BD}"/>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1" name="Freeform: Shape 16280">
                  <a:extLst>
                    <a:ext uri="{FF2B5EF4-FFF2-40B4-BE49-F238E27FC236}">
                      <a16:creationId xmlns:a16="http://schemas.microsoft.com/office/drawing/2014/main" id="{A954FFEA-393B-6ACD-2E18-6D2F65B690F8}"/>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3" name="Graphic 745">
                <a:extLst>
                  <a:ext uri="{FF2B5EF4-FFF2-40B4-BE49-F238E27FC236}">
                    <a16:creationId xmlns:a16="http://schemas.microsoft.com/office/drawing/2014/main" id="{A377FA2D-AA4E-F391-F82A-C97131AA45EC}"/>
                  </a:ext>
                </a:extLst>
              </p:cNvPr>
              <p:cNvGrpSpPr/>
              <p:nvPr/>
            </p:nvGrpSpPr>
            <p:grpSpPr>
              <a:xfrm>
                <a:off x="7807737" y="4275772"/>
                <a:ext cx="75628" cy="75723"/>
                <a:chOff x="7807737" y="4275772"/>
                <a:chExt cx="75628" cy="75723"/>
              </a:xfrm>
            </p:grpSpPr>
            <p:sp>
              <p:nvSpPr>
                <p:cNvPr id="15966" name="Freeform: Shape 15965">
                  <a:extLst>
                    <a:ext uri="{FF2B5EF4-FFF2-40B4-BE49-F238E27FC236}">
                      <a16:creationId xmlns:a16="http://schemas.microsoft.com/office/drawing/2014/main" id="{50E3B44E-BCCA-E7CF-55D6-713BDD32BFB1}"/>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8" name="Freeform: Shape 16277">
                  <a:extLst>
                    <a:ext uri="{FF2B5EF4-FFF2-40B4-BE49-F238E27FC236}">
                      <a16:creationId xmlns:a16="http://schemas.microsoft.com/office/drawing/2014/main" id="{50C4A7E0-3021-02E6-BC93-940E612C50EE}"/>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4" name="Graphic 745">
                <a:extLst>
                  <a:ext uri="{FF2B5EF4-FFF2-40B4-BE49-F238E27FC236}">
                    <a16:creationId xmlns:a16="http://schemas.microsoft.com/office/drawing/2014/main" id="{4275759B-49CD-173A-A0C2-BFB61187ED95}"/>
                  </a:ext>
                </a:extLst>
              </p:cNvPr>
              <p:cNvGrpSpPr/>
              <p:nvPr/>
            </p:nvGrpSpPr>
            <p:grpSpPr>
              <a:xfrm>
                <a:off x="8174545" y="4275772"/>
                <a:ext cx="75628" cy="75723"/>
                <a:chOff x="8174545" y="4275772"/>
                <a:chExt cx="75628" cy="75723"/>
              </a:xfrm>
            </p:grpSpPr>
            <p:sp>
              <p:nvSpPr>
                <p:cNvPr id="15964" name="Freeform: Shape 15963">
                  <a:extLst>
                    <a:ext uri="{FF2B5EF4-FFF2-40B4-BE49-F238E27FC236}">
                      <a16:creationId xmlns:a16="http://schemas.microsoft.com/office/drawing/2014/main" id="{E23ABCFB-450E-C412-EB15-B6A73F576335}"/>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5" name="Freeform: Shape 15964">
                  <a:extLst>
                    <a:ext uri="{FF2B5EF4-FFF2-40B4-BE49-F238E27FC236}">
                      <a16:creationId xmlns:a16="http://schemas.microsoft.com/office/drawing/2014/main" id="{702F3A2E-97B2-857A-9957-44D91D8D0910}"/>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5" name="Graphic 745">
                <a:extLst>
                  <a:ext uri="{FF2B5EF4-FFF2-40B4-BE49-F238E27FC236}">
                    <a16:creationId xmlns:a16="http://schemas.microsoft.com/office/drawing/2014/main" id="{28706B83-D4D5-2F60-D409-462E2CAE1BC0}"/>
                  </a:ext>
                </a:extLst>
              </p:cNvPr>
              <p:cNvGrpSpPr/>
              <p:nvPr/>
            </p:nvGrpSpPr>
            <p:grpSpPr>
              <a:xfrm>
                <a:off x="8189118" y="4275772"/>
                <a:ext cx="75723" cy="75723"/>
                <a:chOff x="8189118" y="4275772"/>
                <a:chExt cx="75723" cy="75723"/>
              </a:xfrm>
            </p:grpSpPr>
            <p:sp>
              <p:nvSpPr>
                <p:cNvPr id="15962" name="Freeform: Shape 15961">
                  <a:extLst>
                    <a:ext uri="{FF2B5EF4-FFF2-40B4-BE49-F238E27FC236}">
                      <a16:creationId xmlns:a16="http://schemas.microsoft.com/office/drawing/2014/main" id="{EBF9C33B-3306-E70B-14BF-079649C4EE05}"/>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3" name="Freeform: Shape 15962">
                  <a:extLst>
                    <a:ext uri="{FF2B5EF4-FFF2-40B4-BE49-F238E27FC236}">
                      <a16:creationId xmlns:a16="http://schemas.microsoft.com/office/drawing/2014/main" id="{F3C298CC-C47C-D496-E910-B581E2435484}"/>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6" name="Graphic 745">
                <a:extLst>
                  <a:ext uri="{FF2B5EF4-FFF2-40B4-BE49-F238E27FC236}">
                    <a16:creationId xmlns:a16="http://schemas.microsoft.com/office/drawing/2014/main" id="{39CC749A-7F07-7810-71EE-46DDB8845576}"/>
                  </a:ext>
                </a:extLst>
              </p:cNvPr>
              <p:cNvGrpSpPr/>
              <p:nvPr/>
            </p:nvGrpSpPr>
            <p:grpSpPr>
              <a:xfrm>
                <a:off x="8212359" y="4275772"/>
                <a:ext cx="75723" cy="75723"/>
                <a:chOff x="8212359" y="4275772"/>
                <a:chExt cx="75723" cy="75723"/>
              </a:xfrm>
            </p:grpSpPr>
            <p:sp>
              <p:nvSpPr>
                <p:cNvPr id="15960" name="Freeform: Shape 15959">
                  <a:extLst>
                    <a:ext uri="{FF2B5EF4-FFF2-40B4-BE49-F238E27FC236}">
                      <a16:creationId xmlns:a16="http://schemas.microsoft.com/office/drawing/2014/main" id="{C952F1C7-CF58-CCD5-C3DD-6A187286B4A5}"/>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1" name="Freeform: Shape 15960">
                  <a:extLst>
                    <a:ext uri="{FF2B5EF4-FFF2-40B4-BE49-F238E27FC236}">
                      <a16:creationId xmlns:a16="http://schemas.microsoft.com/office/drawing/2014/main" id="{8C4EAE38-D2D3-B03F-B62C-4B7462B31163}"/>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7" name="Graphic 745">
                <a:extLst>
                  <a:ext uri="{FF2B5EF4-FFF2-40B4-BE49-F238E27FC236}">
                    <a16:creationId xmlns:a16="http://schemas.microsoft.com/office/drawing/2014/main" id="{A50E1ED7-312D-5435-9296-43AB6F166CFF}"/>
                  </a:ext>
                </a:extLst>
              </p:cNvPr>
              <p:cNvGrpSpPr/>
              <p:nvPr/>
            </p:nvGrpSpPr>
            <p:grpSpPr>
              <a:xfrm>
                <a:off x="8226933" y="4275772"/>
                <a:ext cx="75723" cy="75723"/>
                <a:chOff x="8226933" y="4275772"/>
                <a:chExt cx="75723" cy="75723"/>
              </a:xfrm>
            </p:grpSpPr>
            <p:sp>
              <p:nvSpPr>
                <p:cNvPr id="15958" name="Freeform: Shape 15957">
                  <a:extLst>
                    <a:ext uri="{FF2B5EF4-FFF2-40B4-BE49-F238E27FC236}">
                      <a16:creationId xmlns:a16="http://schemas.microsoft.com/office/drawing/2014/main" id="{36889731-6AD7-3E7D-3F42-FE759B312C79}"/>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9" name="Freeform: Shape 15958">
                  <a:extLst>
                    <a:ext uri="{FF2B5EF4-FFF2-40B4-BE49-F238E27FC236}">
                      <a16:creationId xmlns:a16="http://schemas.microsoft.com/office/drawing/2014/main" id="{1B7E9497-83E6-494C-89EF-ED3A31AE6138}"/>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724" name="Freeform: Shape 15723">
              <a:extLst>
                <a:ext uri="{FF2B5EF4-FFF2-40B4-BE49-F238E27FC236}">
                  <a16:creationId xmlns:a16="http://schemas.microsoft.com/office/drawing/2014/main" id="{C92E5652-E815-080A-E1E4-60E70570B77B}"/>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46" name="Group 14645">
            <a:extLst>
              <a:ext uri="{FF2B5EF4-FFF2-40B4-BE49-F238E27FC236}">
                <a16:creationId xmlns:a16="http://schemas.microsoft.com/office/drawing/2014/main" id="{802BF001-078F-66E7-C7D6-D3986D9682C6}"/>
              </a:ext>
            </a:extLst>
          </p:cNvPr>
          <p:cNvGrpSpPr/>
          <p:nvPr/>
        </p:nvGrpSpPr>
        <p:grpSpPr>
          <a:xfrm>
            <a:off x="712999" y="1488358"/>
            <a:ext cx="6801804" cy="2364808"/>
            <a:chOff x="3500437" y="2424112"/>
            <a:chExt cx="5189696" cy="2012441"/>
          </a:xfrm>
        </p:grpSpPr>
        <p:grpSp>
          <p:nvGrpSpPr>
            <p:cNvPr id="14647" name="Graphic 1393">
              <a:extLst>
                <a:ext uri="{FF2B5EF4-FFF2-40B4-BE49-F238E27FC236}">
                  <a16:creationId xmlns:a16="http://schemas.microsoft.com/office/drawing/2014/main" id="{DA957824-DE32-9575-B98D-594B1AC77EF8}"/>
                </a:ext>
              </a:extLst>
            </p:cNvPr>
            <p:cNvGrpSpPr/>
            <p:nvPr/>
          </p:nvGrpSpPr>
          <p:grpSpPr>
            <a:xfrm>
              <a:off x="3868102" y="2496216"/>
              <a:ext cx="4822031" cy="1940337"/>
              <a:chOff x="3868102" y="2496216"/>
              <a:chExt cx="4822031" cy="1940337"/>
            </a:xfrm>
          </p:grpSpPr>
          <p:grpSp>
            <p:nvGrpSpPr>
              <p:cNvPr id="14649" name="Graphic 1393">
                <a:extLst>
                  <a:ext uri="{FF2B5EF4-FFF2-40B4-BE49-F238E27FC236}">
                    <a16:creationId xmlns:a16="http://schemas.microsoft.com/office/drawing/2014/main" id="{A096E7B2-FF15-89C7-F629-5219E1EC4F21}"/>
                  </a:ext>
                </a:extLst>
              </p:cNvPr>
              <p:cNvGrpSpPr/>
              <p:nvPr/>
            </p:nvGrpSpPr>
            <p:grpSpPr>
              <a:xfrm>
                <a:off x="8614409" y="4360830"/>
                <a:ext cx="75723" cy="75723"/>
                <a:chOff x="8614409" y="4360830"/>
                <a:chExt cx="75723" cy="75723"/>
              </a:xfrm>
            </p:grpSpPr>
            <p:sp>
              <p:nvSpPr>
                <p:cNvPr id="18271" name="Freeform: Shape 18270">
                  <a:extLst>
                    <a:ext uri="{FF2B5EF4-FFF2-40B4-BE49-F238E27FC236}">
                      <a16:creationId xmlns:a16="http://schemas.microsoft.com/office/drawing/2014/main" id="{90AEE01F-02B7-59CD-D9C4-3DAF948EFB39}"/>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2" name="Freeform: Shape 18271">
                  <a:extLst>
                    <a:ext uri="{FF2B5EF4-FFF2-40B4-BE49-F238E27FC236}">
                      <a16:creationId xmlns:a16="http://schemas.microsoft.com/office/drawing/2014/main" id="{8AFB567E-8D6C-9AC8-20F4-900C29139BDB}"/>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0" name="Graphic 1393">
                <a:extLst>
                  <a:ext uri="{FF2B5EF4-FFF2-40B4-BE49-F238E27FC236}">
                    <a16:creationId xmlns:a16="http://schemas.microsoft.com/office/drawing/2014/main" id="{D6333F58-FAA3-E623-9779-8AFD69F8AB21}"/>
                  </a:ext>
                </a:extLst>
              </p:cNvPr>
              <p:cNvGrpSpPr/>
              <p:nvPr/>
            </p:nvGrpSpPr>
            <p:grpSpPr>
              <a:xfrm>
                <a:off x="8599264" y="4360830"/>
                <a:ext cx="75723" cy="75723"/>
                <a:chOff x="8599264" y="4360830"/>
                <a:chExt cx="75723" cy="75723"/>
              </a:xfrm>
            </p:grpSpPr>
            <p:sp>
              <p:nvSpPr>
                <p:cNvPr id="18269" name="Freeform: Shape 18268">
                  <a:extLst>
                    <a:ext uri="{FF2B5EF4-FFF2-40B4-BE49-F238E27FC236}">
                      <a16:creationId xmlns:a16="http://schemas.microsoft.com/office/drawing/2014/main" id="{701FABF2-78AD-DB22-9BB5-B42AF783687A}"/>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0" name="Freeform: Shape 18269">
                  <a:extLst>
                    <a:ext uri="{FF2B5EF4-FFF2-40B4-BE49-F238E27FC236}">
                      <a16:creationId xmlns:a16="http://schemas.microsoft.com/office/drawing/2014/main" id="{B926A176-C8F2-8FC8-2BA5-ADF3EDFAD2A3}"/>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1" name="Graphic 1393">
                <a:extLst>
                  <a:ext uri="{FF2B5EF4-FFF2-40B4-BE49-F238E27FC236}">
                    <a16:creationId xmlns:a16="http://schemas.microsoft.com/office/drawing/2014/main" id="{9E64E626-E6E2-35FE-17FE-9AC5F04B22B9}"/>
                  </a:ext>
                </a:extLst>
              </p:cNvPr>
              <p:cNvGrpSpPr/>
              <p:nvPr/>
            </p:nvGrpSpPr>
            <p:grpSpPr>
              <a:xfrm>
                <a:off x="8461819" y="3949446"/>
                <a:ext cx="75723" cy="75723"/>
                <a:chOff x="8461819" y="3949446"/>
                <a:chExt cx="75723" cy="75723"/>
              </a:xfrm>
            </p:grpSpPr>
            <p:sp>
              <p:nvSpPr>
                <p:cNvPr id="18267" name="Freeform: Shape 18266">
                  <a:extLst>
                    <a:ext uri="{FF2B5EF4-FFF2-40B4-BE49-F238E27FC236}">
                      <a16:creationId xmlns:a16="http://schemas.microsoft.com/office/drawing/2014/main" id="{7874EEC7-738D-AA17-2043-B5E646D72F46}"/>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8" name="Freeform: Shape 18267">
                  <a:extLst>
                    <a:ext uri="{FF2B5EF4-FFF2-40B4-BE49-F238E27FC236}">
                      <a16:creationId xmlns:a16="http://schemas.microsoft.com/office/drawing/2014/main" id="{8EAF1D75-494F-7D64-DB3C-182F93E30774}"/>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2" name="Graphic 1393">
                <a:extLst>
                  <a:ext uri="{FF2B5EF4-FFF2-40B4-BE49-F238E27FC236}">
                    <a16:creationId xmlns:a16="http://schemas.microsoft.com/office/drawing/2014/main" id="{8130BD9F-8FF1-0190-83CF-E3ADC2ED943C}"/>
                  </a:ext>
                </a:extLst>
              </p:cNvPr>
              <p:cNvGrpSpPr/>
              <p:nvPr/>
            </p:nvGrpSpPr>
            <p:grpSpPr>
              <a:xfrm>
                <a:off x="8232933" y="3949446"/>
                <a:ext cx="75723" cy="75723"/>
                <a:chOff x="8232933" y="3949446"/>
                <a:chExt cx="75723" cy="75723"/>
              </a:xfrm>
            </p:grpSpPr>
            <p:sp>
              <p:nvSpPr>
                <p:cNvPr id="18265" name="Freeform: Shape 18264">
                  <a:extLst>
                    <a:ext uri="{FF2B5EF4-FFF2-40B4-BE49-F238E27FC236}">
                      <a16:creationId xmlns:a16="http://schemas.microsoft.com/office/drawing/2014/main" id="{D74A37E4-7084-87FC-3518-6AB71B37EB23}"/>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6" name="Freeform: Shape 18265">
                  <a:extLst>
                    <a:ext uri="{FF2B5EF4-FFF2-40B4-BE49-F238E27FC236}">
                      <a16:creationId xmlns:a16="http://schemas.microsoft.com/office/drawing/2014/main" id="{78351FCE-9AD9-0883-D6FF-5B902B907FAE}"/>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3" name="Graphic 1393">
                <a:extLst>
                  <a:ext uri="{FF2B5EF4-FFF2-40B4-BE49-F238E27FC236}">
                    <a16:creationId xmlns:a16="http://schemas.microsoft.com/office/drawing/2014/main" id="{F842970E-FEDC-D76F-E716-EE0A1B8B615C}"/>
                  </a:ext>
                </a:extLst>
              </p:cNvPr>
              <p:cNvGrpSpPr/>
              <p:nvPr/>
            </p:nvGrpSpPr>
            <p:grpSpPr>
              <a:xfrm>
                <a:off x="8210454" y="3949446"/>
                <a:ext cx="75723" cy="75723"/>
                <a:chOff x="8210454" y="3949446"/>
                <a:chExt cx="75723" cy="75723"/>
              </a:xfrm>
            </p:grpSpPr>
            <p:sp>
              <p:nvSpPr>
                <p:cNvPr id="18263" name="Freeform: Shape 18262">
                  <a:extLst>
                    <a:ext uri="{FF2B5EF4-FFF2-40B4-BE49-F238E27FC236}">
                      <a16:creationId xmlns:a16="http://schemas.microsoft.com/office/drawing/2014/main" id="{8770DC44-285F-C9D9-1EC8-A5F2825D5D2C}"/>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4" name="Freeform: Shape 18263">
                  <a:extLst>
                    <a:ext uri="{FF2B5EF4-FFF2-40B4-BE49-F238E27FC236}">
                      <a16:creationId xmlns:a16="http://schemas.microsoft.com/office/drawing/2014/main" id="{8E74990B-4F7A-F0A1-AF44-220E939F25DC}"/>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4" name="Graphic 1393">
                <a:extLst>
                  <a:ext uri="{FF2B5EF4-FFF2-40B4-BE49-F238E27FC236}">
                    <a16:creationId xmlns:a16="http://schemas.microsoft.com/office/drawing/2014/main" id="{832A50DF-B3EC-863E-90D2-D224B4FD992A}"/>
                  </a:ext>
                </a:extLst>
              </p:cNvPr>
              <p:cNvGrpSpPr/>
              <p:nvPr/>
            </p:nvGrpSpPr>
            <p:grpSpPr>
              <a:xfrm>
                <a:off x="8183689" y="3949446"/>
                <a:ext cx="75723" cy="75723"/>
                <a:chOff x="8183689" y="3949446"/>
                <a:chExt cx="75723" cy="75723"/>
              </a:xfrm>
            </p:grpSpPr>
            <p:sp>
              <p:nvSpPr>
                <p:cNvPr id="18261" name="Freeform: Shape 18260">
                  <a:extLst>
                    <a:ext uri="{FF2B5EF4-FFF2-40B4-BE49-F238E27FC236}">
                      <a16:creationId xmlns:a16="http://schemas.microsoft.com/office/drawing/2014/main" id="{2BC2A074-2E53-5D6F-F194-8E283E9E1B84}"/>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2" name="Freeform: Shape 18261">
                  <a:extLst>
                    <a:ext uri="{FF2B5EF4-FFF2-40B4-BE49-F238E27FC236}">
                      <a16:creationId xmlns:a16="http://schemas.microsoft.com/office/drawing/2014/main" id="{FA34E03B-1C5F-1BB4-0DA5-57C52817ACBB}"/>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5" name="Graphic 1393">
                <a:extLst>
                  <a:ext uri="{FF2B5EF4-FFF2-40B4-BE49-F238E27FC236}">
                    <a16:creationId xmlns:a16="http://schemas.microsoft.com/office/drawing/2014/main" id="{C55BF2FF-0F0F-48E7-B1ED-3A4841795DBB}"/>
                  </a:ext>
                </a:extLst>
              </p:cNvPr>
              <p:cNvGrpSpPr/>
              <p:nvPr/>
            </p:nvGrpSpPr>
            <p:grpSpPr>
              <a:xfrm>
                <a:off x="8161495" y="3949446"/>
                <a:ext cx="75723" cy="75723"/>
                <a:chOff x="8161495" y="3949446"/>
                <a:chExt cx="75723" cy="75723"/>
              </a:xfrm>
            </p:grpSpPr>
            <p:sp>
              <p:nvSpPr>
                <p:cNvPr id="18259" name="Freeform: Shape 18258">
                  <a:extLst>
                    <a:ext uri="{FF2B5EF4-FFF2-40B4-BE49-F238E27FC236}">
                      <a16:creationId xmlns:a16="http://schemas.microsoft.com/office/drawing/2014/main" id="{6E78CDD6-578C-D195-0FA3-777B51722C17}"/>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0" name="Freeform: Shape 18259">
                  <a:extLst>
                    <a:ext uri="{FF2B5EF4-FFF2-40B4-BE49-F238E27FC236}">
                      <a16:creationId xmlns:a16="http://schemas.microsoft.com/office/drawing/2014/main" id="{D60362B6-9AA0-3ED9-BF9B-44F35FDE0B41}"/>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6" name="Graphic 1393">
                <a:extLst>
                  <a:ext uri="{FF2B5EF4-FFF2-40B4-BE49-F238E27FC236}">
                    <a16:creationId xmlns:a16="http://schemas.microsoft.com/office/drawing/2014/main" id="{00F481C5-5D62-4BCF-B188-72DFDF76711E}"/>
                  </a:ext>
                </a:extLst>
              </p:cNvPr>
              <p:cNvGrpSpPr/>
              <p:nvPr/>
            </p:nvGrpSpPr>
            <p:grpSpPr>
              <a:xfrm>
                <a:off x="8065769" y="3949446"/>
                <a:ext cx="75628" cy="75723"/>
                <a:chOff x="8065769" y="3949446"/>
                <a:chExt cx="75628" cy="75723"/>
              </a:xfrm>
            </p:grpSpPr>
            <p:sp>
              <p:nvSpPr>
                <p:cNvPr id="18257" name="Freeform: Shape 18256">
                  <a:extLst>
                    <a:ext uri="{FF2B5EF4-FFF2-40B4-BE49-F238E27FC236}">
                      <a16:creationId xmlns:a16="http://schemas.microsoft.com/office/drawing/2014/main" id="{0F0717F6-E011-364B-F854-7E85F7A3171F}"/>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8" name="Freeform: Shape 18257">
                  <a:extLst>
                    <a:ext uri="{FF2B5EF4-FFF2-40B4-BE49-F238E27FC236}">
                      <a16:creationId xmlns:a16="http://schemas.microsoft.com/office/drawing/2014/main" id="{78002DF3-2D50-85CA-0C4D-46308875AF43}"/>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7" name="Graphic 1393">
                <a:extLst>
                  <a:ext uri="{FF2B5EF4-FFF2-40B4-BE49-F238E27FC236}">
                    <a16:creationId xmlns:a16="http://schemas.microsoft.com/office/drawing/2014/main" id="{73DCD18B-0113-64A2-5DCD-C7AFA083BA22}"/>
                  </a:ext>
                </a:extLst>
              </p:cNvPr>
              <p:cNvGrpSpPr/>
              <p:nvPr/>
            </p:nvGrpSpPr>
            <p:grpSpPr>
              <a:xfrm>
                <a:off x="7829263" y="3949446"/>
                <a:ext cx="75628" cy="75723"/>
                <a:chOff x="7829263" y="3949446"/>
                <a:chExt cx="75628" cy="75723"/>
              </a:xfrm>
            </p:grpSpPr>
            <p:sp>
              <p:nvSpPr>
                <p:cNvPr id="18255" name="Freeform: Shape 18254">
                  <a:extLst>
                    <a:ext uri="{FF2B5EF4-FFF2-40B4-BE49-F238E27FC236}">
                      <a16:creationId xmlns:a16="http://schemas.microsoft.com/office/drawing/2014/main" id="{6266F83E-0126-BE8C-75B2-8AC0F6E8C702}"/>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6" name="Freeform: Shape 18255">
                  <a:extLst>
                    <a:ext uri="{FF2B5EF4-FFF2-40B4-BE49-F238E27FC236}">
                      <a16:creationId xmlns:a16="http://schemas.microsoft.com/office/drawing/2014/main" id="{75CBB091-8B47-BD5F-5C5A-97F40E8AFFE5}"/>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8" name="Graphic 1393">
                <a:extLst>
                  <a:ext uri="{FF2B5EF4-FFF2-40B4-BE49-F238E27FC236}">
                    <a16:creationId xmlns:a16="http://schemas.microsoft.com/office/drawing/2014/main" id="{B28A8DEE-A5F4-CBA0-9E6E-6C943B44E042}"/>
                  </a:ext>
                </a:extLst>
              </p:cNvPr>
              <p:cNvGrpSpPr/>
              <p:nvPr/>
            </p:nvGrpSpPr>
            <p:grpSpPr>
              <a:xfrm>
                <a:off x="7784115" y="3949446"/>
                <a:ext cx="75723" cy="75723"/>
                <a:chOff x="7784115" y="3949446"/>
                <a:chExt cx="75723" cy="75723"/>
              </a:xfrm>
            </p:grpSpPr>
            <p:sp>
              <p:nvSpPr>
                <p:cNvPr id="18253" name="Freeform: Shape 18252">
                  <a:extLst>
                    <a:ext uri="{FF2B5EF4-FFF2-40B4-BE49-F238E27FC236}">
                      <a16:creationId xmlns:a16="http://schemas.microsoft.com/office/drawing/2014/main" id="{CD06A9F4-AA0D-DDC5-8A27-0B6137B6E3C2}"/>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4" name="Freeform: Shape 18253">
                  <a:extLst>
                    <a:ext uri="{FF2B5EF4-FFF2-40B4-BE49-F238E27FC236}">
                      <a16:creationId xmlns:a16="http://schemas.microsoft.com/office/drawing/2014/main" id="{E665102F-3A72-C0E4-28FD-8BEF7E002AC3}"/>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9" name="Graphic 1393">
                <a:extLst>
                  <a:ext uri="{FF2B5EF4-FFF2-40B4-BE49-F238E27FC236}">
                    <a16:creationId xmlns:a16="http://schemas.microsoft.com/office/drawing/2014/main" id="{6EFB3ED2-0DF5-CF69-12BC-74918A09E779}"/>
                  </a:ext>
                </a:extLst>
              </p:cNvPr>
              <p:cNvGrpSpPr/>
              <p:nvPr/>
            </p:nvGrpSpPr>
            <p:grpSpPr>
              <a:xfrm>
                <a:off x="7746301" y="3949446"/>
                <a:ext cx="75723" cy="75723"/>
                <a:chOff x="7746301" y="3949446"/>
                <a:chExt cx="75723" cy="75723"/>
              </a:xfrm>
            </p:grpSpPr>
            <p:sp>
              <p:nvSpPr>
                <p:cNvPr id="18251" name="Freeform: Shape 18250">
                  <a:extLst>
                    <a:ext uri="{FF2B5EF4-FFF2-40B4-BE49-F238E27FC236}">
                      <a16:creationId xmlns:a16="http://schemas.microsoft.com/office/drawing/2014/main" id="{B2F0848F-BF5C-C129-9575-78B47A5216F1}"/>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2" name="Freeform: Shape 18251">
                  <a:extLst>
                    <a:ext uri="{FF2B5EF4-FFF2-40B4-BE49-F238E27FC236}">
                      <a16:creationId xmlns:a16="http://schemas.microsoft.com/office/drawing/2014/main" id="{C48B0B96-B2A4-AC2F-9E7C-F7323E7C8606}"/>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0" name="Graphic 1393">
                <a:extLst>
                  <a:ext uri="{FF2B5EF4-FFF2-40B4-BE49-F238E27FC236}">
                    <a16:creationId xmlns:a16="http://schemas.microsoft.com/office/drawing/2014/main" id="{8DD48D46-2692-E72B-FF5B-F5829858F5D7}"/>
                  </a:ext>
                </a:extLst>
              </p:cNvPr>
              <p:cNvGrpSpPr/>
              <p:nvPr/>
            </p:nvGrpSpPr>
            <p:grpSpPr>
              <a:xfrm>
                <a:off x="7757159" y="3949446"/>
                <a:ext cx="75723" cy="75723"/>
                <a:chOff x="7757159" y="3949446"/>
                <a:chExt cx="75723" cy="75723"/>
              </a:xfrm>
            </p:grpSpPr>
            <p:sp>
              <p:nvSpPr>
                <p:cNvPr id="18249" name="Freeform: Shape 18248">
                  <a:extLst>
                    <a:ext uri="{FF2B5EF4-FFF2-40B4-BE49-F238E27FC236}">
                      <a16:creationId xmlns:a16="http://schemas.microsoft.com/office/drawing/2014/main" id="{C7995DC9-C490-2EAC-4298-F8C7B6D4DCD7}"/>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0" name="Freeform: Shape 18249">
                  <a:extLst>
                    <a:ext uri="{FF2B5EF4-FFF2-40B4-BE49-F238E27FC236}">
                      <a16:creationId xmlns:a16="http://schemas.microsoft.com/office/drawing/2014/main" id="{A40C535A-699E-2AB4-DF7D-0DC00AE36B47}"/>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1" name="Graphic 1393">
                <a:extLst>
                  <a:ext uri="{FF2B5EF4-FFF2-40B4-BE49-F238E27FC236}">
                    <a16:creationId xmlns:a16="http://schemas.microsoft.com/office/drawing/2014/main" id="{339BB86A-603F-EC47-FA74-7F7C08A49EFF}"/>
                  </a:ext>
                </a:extLst>
              </p:cNvPr>
              <p:cNvGrpSpPr/>
              <p:nvPr/>
            </p:nvGrpSpPr>
            <p:grpSpPr>
              <a:xfrm>
                <a:off x="7769923" y="3949446"/>
                <a:ext cx="75723" cy="75723"/>
                <a:chOff x="7769923" y="3949446"/>
                <a:chExt cx="75723" cy="75723"/>
              </a:xfrm>
            </p:grpSpPr>
            <p:sp>
              <p:nvSpPr>
                <p:cNvPr id="18247" name="Freeform: Shape 18246">
                  <a:extLst>
                    <a:ext uri="{FF2B5EF4-FFF2-40B4-BE49-F238E27FC236}">
                      <a16:creationId xmlns:a16="http://schemas.microsoft.com/office/drawing/2014/main" id="{B0978527-4588-7100-6343-B45C06254590}"/>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8" name="Freeform: Shape 18247">
                  <a:extLst>
                    <a:ext uri="{FF2B5EF4-FFF2-40B4-BE49-F238E27FC236}">
                      <a16:creationId xmlns:a16="http://schemas.microsoft.com/office/drawing/2014/main" id="{FC5F8CFF-23B8-38B3-0FB3-BF7B6271B937}"/>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2" name="Graphic 1393">
                <a:extLst>
                  <a:ext uri="{FF2B5EF4-FFF2-40B4-BE49-F238E27FC236}">
                    <a16:creationId xmlns:a16="http://schemas.microsoft.com/office/drawing/2014/main" id="{0BFB163F-7A16-E566-54B8-CE84081258E5}"/>
                  </a:ext>
                </a:extLst>
              </p:cNvPr>
              <p:cNvGrpSpPr/>
              <p:nvPr/>
            </p:nvGrpSpPr>
            <p:grpSpPr>
              <a:xfrm>
                <a:off x="7732108" y="3897153"/>
                <a:ext cx="75723" cy="75723"/>
                <a:chOff x="7732108" y="3897153"/>
                <a:chExt cx="75723" cy="75723"/>
              </a:xfrm>
            </p:grpSpPr>
            <p:sp>
              <p:nvSpPr>
                <p:cNvPr id="18245" name="Freeform: Shape 18244">
                  <a:extLst>
                    <a:ext uri="{FF2B5EF4-FFF2-40B4-BE49-F238E27FC236}">
                      <a16:creationId xmlns:a16="http://schemas.microsoft.com/office/drawing/2014/main" id="{E5D62F3A-F692-32A9-3675-BB1C3E4AA1C0}"/>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6" name="Freeform: Shape 18245">
                  <a:extLst>
                    <a:ext uri="{FF2B5EF4-FFF2-40B4-BE49-F238E27FC236}">
                      <a16:creationId xmlns:a16="http://schemas.microsoft.com/office/drawing/2014/main" id="{9F303089-1648-1A63-AAF5-5AD11961EDD7}"/>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3" name="Graphic 1393">
                <a:extLst>
                  <a:ext uri="{FF2B5EF4-FFF2-40B4-BE49-F238E27FC236}">
                    <a16:creationId xmlns:a16="http://schemas.microsoft.com/office/drawing/2014/main" id="{5EE0BA83-C1BE-3BCB-BF01-844704F371AD}"/>
                  </a:ext>
                </a:extLst>
              </p:cNvPr>
              <p:cNvGrpSpPr/>
              <p:nvPr/>
            </p:nvGrpSpPr>
            <p:grpSpPr>
              <a:xfrm>
                <a:off x="7708486" y="3897153"/>
                <a:ext cx="75628" cy="75723"/>
                <a:chOff x="7708486" y="3897153"/>
                <a:chExt cx="75628" cy="75723"/>
              </a:xfrm>
            </p:grpSpPr>
            <p:sp>
              <p:nvSpPr>
                <p:cNvPr id="18243" name="Freeform: Shape 18242">
                  <a:extLst>
                    <a:ext uri="{FF2B5EF4-FFF2-40B4-BE49-F238E27FC236}">
                      <a16:creationId xmlns:a16="http://schemas.microsoft.com/office/drawing/2014/main" id="{BF8C2FC3-5308-D564-DD7E-3E60FFF365F0}"/>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4" name="Freeform: Shape 18243">
                  <a:extLst>
                    <a:ext uri="{FF2B5EF4-FFF2-40B4-BE49-F238E27FC236}">
                      <a16:creationId xmlns:a16="http://schemas.microsoft.com/office/drawing/2014/main" id="{D297B113-6D02-8DC5-3677-47401F2F2B30}"/>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4" name="Graphic 1393">
                <a:extLst>
                  <a:ext uri="{FF2B5EF4-FFF2-40B4-BE49-F238E27FC236}">
                    <a16:creationId xmlns:a16="http://schemas.microsoft.com/office/drawing/2014/main" id="{08CEAD40-1233-49E1-964C-10D7D54B34A7}"/>
                  </a:ext>
                </a:extLst>
              </p:cNvPr>
              <p:cNvGrpSpPr/>
              <p:nvPr/>
            </p:nvGrpSpPr>
            <p:grpSpPr>
              <a:xfrm>
                <a:off x="7427213" y="3851719"/>
                <a:ext cx="75628" cy="75723"/>
                <a:chOff x="7427213" y="3851719"/>
                <a:chExt cx="75628" cy="75723"/>
              </a:xfrm>
            </p:grpSpPr>
            <p:sp>
              <p:nvSpPr>
                <p:cNvPr id="18241" name="Freeform: Shape 18240">
                  <a:extLst>
                    <a:ext uri="{FF2B5EF4-FFF2-40B4-BE49-F238E27FC236}">
                      <a16:creationId xmlns:a16="http://schemas.microsoft.com/office/drawing/2014/main" id="{8EB898BB-8769-E7F2-B15F-8849BE7951A9}"/>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2" name="Freeform: Shape 18241">
                  <a:extLst>
                    <a:ext uri="{FF2B5EF4-FFF2-40B4-BE49-F238E27FC236}">
                      <a16:creationId xmlns:a16="http://schemas.microsoft.com/office/drawing/2014/main" id="{4BF3A728-993A-5F7A-40F0-752D284DDD0B}"/>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5" name="Graphic 1393">
                <a:extLst>
                  <a:ext uri="{FF2B5EF4-FFF2-40B4-BE49-F238E27FC236}">
                    <a16:creationId xmlns:a16="http://schemas.microsoft.com/office/drawing/2014/main" id="{2CE351C6-0E82-703C-1A62-74EAEE684D67}"/>
                  </a:ext>
                </a:extLst>
              </p:cNvPr>
              <p:cNvGrpSpPr/>
              <p:nvPr/>
            </p:nvGrpSpPr>
            <p:grpSpPr>
              <a:xfrm>
                <a:off x="7367968" y="3813905"/>
                <a:ext cx="75723" cy="75723"/>
                <a:chOff x="7367968" y="3813905"/>
                <a:chExt cx="75723" cy="75723"/>
              </a:xfrm>
            </p:grpSpPr>
            <p:sp>
              <p:nvSpPr>
                <p:cNvPr id="12543" name="Freeform: Shape 12542">
                  <a:extLst>
                    <a:ext uri="{FF2B5EF4-FFF2-40B4-BE49-F238E27FC236}">
                      <a16:creationId xmlns:a16="http://schemas.microsoft.com/office/drawing/2014/main" id="{8DC2D078-1C37-D823-DB16-D16557BE6C86}"/>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0" name="Freeform: Shape 18239">
                  <a:extLst>
                    <a:ext uri="{FF2B5EF4-FFF2-40B4-BE49-F238E27FC236}">
                      <a16:creationId xmlns:a16="http://schemas.microsoft.com/office/drawing/2014/main" id="{734A2E41-1224-EB1D-F464-4334BA2EFAAB}"/>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6" name="Graphic 1393">
                <a:extLst>
                  <a:ext uri="{FF2B5EF4-FFF2-40B4-BE49-F238E27FC236}">
                    <a16:creationId xmlns:a16="http://schemas.microsoft.com/office/drawing/2014/main" id="{B421CCC8-915F-6EAB-F22B-552138AA2316}"/>
                  </a:ext>
                </a:extLst>
              </p:cNvPr>
              <p:cNvGrpSpPr/>
              <p:nvPr/>
            </p:nvGrpSpPr>
            <p:grpSpPr>
              <a:xfrm>
                <a:off x="7235475" y="3748659"/>
                <a:ext cx="75628" cy="75723"/>
                <a:chOff x="7235475" y="3748659"/>
                <a:chExt cx="75628" cy="75723"/>
              </a:xfrm>
            </p:grpSpPr>
            <p:sp>
              <p:nvSpPr>
                <p:cNvPr id="12541" name="Freeform: Shape 12540">
                  <a:extLst>
                    <a:ext uri="{FF2B5EF4-FFF2-40B4-BE49-F238E27FC236}">
                      <a16:creationId xmlns:a16="http://schemas.microsoft.com/office/drawing/2014/main" id="{576A182C-EBCE-BAD4-876D-6B6D77F38898}"/>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2" name="Freeform: Shape 12541">
                  <a:extLst>
                    <a:ext uri="{FF2B5EF4-FFF2-40B4-BE49-F238E27FC236}">
                      <a16:creationId xmlns:a16="http://schemas.microsoft.com/office/drawing/2014/main" id="{1835BC01-7D3F-F26D-E1FB-D94394ADFA8A}"/>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7" name="Graphic 1393">
                <a:extLst>
                  <a:ext uri="{FF2B5EF4-FFF2-40B4-BE49-F238E27FC236}">
                    <a16:creationId xmlns:a16="http://schemas.microsoft.com/office/drawing/2014/main" id="{E7ACD85A-3327-0F32-E87A-4331C19E8437}"/>
                  </a:ext>
                </a:extLst>
              </p:cNvPr>
              <p:cNvGrpSpPr/>
              <p:nvPr/>
            </p:nvGrpSpPr>
            <p:grpSpPr>
              <a:xfrm>
                <a:off x="7284624" y="3748659"/>
                <a:ext cx="75628" cy="75723"/>
                <a:chOff x="7284624" y="3748659"/>
                <a:chExt cx="75628" cy="75723"/>
              </a:xfrm>
            </p:grpSpPr>
            <p:sp>
              <p:nvSpPr>
                <p:cNvPr id="12539" name="Freeform: Shape 12538">
                  <a:extLst>
                    <a:ext uri="{FF2B5EF4-FFF2-40B4-BE49-F238E27FC236}">
                      <a16:creationId xmlns:a16="http://schemas.microsoft.com/office/drawing/2014/main" id="{E0C03F52-C7DC-E2CC-A8C0-6901AAD4EF5B}"/>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0" name="Freeform: Shape 12539">
                  <a:extLst>
                    <a:ext uri="{FF2B5EF4-FFF2-40B4-BE49-F238E27FC236}">
                      <a16:creationId xmlns:a16="http://schemas.microsoft.com/office/drawing/2014/main" id="{BEFA6B1B-ECDC-A9F8-11B8-8F2061EE9E1E}"/>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8" name="Graphic 1393">
                <a:extLst>
                  <a:ext uri="{FF2B5EF4-FFF2-40B4-BE49-F238E27FC236}">
                    <a16:creationId xmlns:a16="http://schemas.microsoft.com/office/drawing/2014/main" id="{D7DECE2F-7A99-0815-BE1D-6446744DCCA5}"/>
                  </a:ext>
                </a:extLst>
              </p:cNvPr>
              <p:cNvGrpSpPr/>
              <p:nvPr/>
            </p:nvGrpSpPr>
            <p:grpSpPr>
              <a:xfrm>
                <a:off x="7023163" y="3695128"/>
                <a:ext cx="75723" cy="75723"/>
                <a:chOff x="7023163" y="3695128"/>
                <a:chExt cx="75723" cy="75723"/>
              </a:xfrm>
            </p:grpSpPr>
            <p:sp>
              <p:nvSpPr>
                <p:cNvPr id="12537" name="Freeform: Shape 12536">
                  <a:extLst>
                    <a:ext uri="{FF2B5EF4-FFF2-40B4-BE49-F238E27FC236}">
                      <a16:creationId xmlns:a16="http://schemas.microsoft.com/office/drawing/2014/main" id="{8C8E50EE-500E-503B-1FBE-48986D45E2EB}"/>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8" name="Freeform: Shape 12537">
                  <a:extLst>
                    <a:ext uri="{FF2B5EF4-FFF2-40B4-BE49-F238E27FC236}">
                      <a16:creationId xmlns:a16="http://schemas.microsoft.com/office/drawing/2014/main" id="{3E698740-F47A-A7B3-91ED-4F3C984A7C1A}"/>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9" name="Graphic 1393">
                <a:extLst>
                  <a:ext uri="{FF2B5EF4-FFF2-40B4-BE49-F238E27FC236}">
                    <a16:creationId xmlns:a16="http://schemas.microsoft.com/office/drawing/2014/main" id="{A7E3E2FF-1D2A-D81D-558D-E7DC7E1DC977}"/>
                  </a:ext>
                </a:extLst>
              </p:cNvPr>
              <p:cNvGrpSpPr/>
              <p:nvPr/>
            </p:nvGrpSpPr>
            <p:grpSpPr>
              <a:xfrm>
                <a:off x="6927532" y="3695128"/>
                <a:ext cx="75628" cy="75723"/>
                <a:chOff x="6927532" y="3695128"/>
                <a:chExt cx="75628" cy="75723"/>
              </a:xfrm>
            </p:grpSpPr>
            <p:sp>
              <p:nvSpPr>
                <p:cNvPr id="12535" name="Freeform: Shape 12534">
                  <a:extLst>
                    <a:ext uri="{FF2B5EF4-FFF2-40B4-BE49-F238E27FC236}">
                      <a16:creationId xmlns:a16="http://schemas.microsoft.com/office/drawing/2014/main" id="{76AB308C-79A1-C82B-1B80-3F2B0642B42C}"/>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6" name="Freeform: Shape 12535">
                  <a:extLst>
                    <a:ext uri="{FF2B5EF4-FFF2-40B4-BE49-F238E27FC236}">
                      <a16:creationId xmlns:a16="http://schemas.microsoft.com/office/drawing/2014/main" id="{2DFE12D1-F959-F110-AD5A-99A41787E249}"/>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0" name="Graphic 1393">
                <a:extLst>
                  <a:ext uri="{FF2B5EF4-FFF2-40B4-BE49-F238E27FC236}">
                    <a16:creationId xmlns:a16="http://schemas.microsoft.com/office/drawing/2014/main" id="{AD7988C8-3A05-85C1-8DC2-F32490F3FF56}"/>
                  </a:ext>
                </a:extLst>
              </p:cNvPr>
              <p:cNvGrpSpPr/>
              <p:nvPr/>
            </p:nvGrpSpPr>
            <p:grpSpPr>
              <a:xfrm>
                <a:off x="6911720" y="3695128"/>
                <a:ext cx="75723" cy="75723"/>
                <a:chOff x="6911720" y="3695128"/>
                <a:chExt cx="75723" cy="75723"/>
              </a:xfrm>
            </p:grpSpPr>
            <p:sp>
              <p:nvSpPr>
                <p:cNvPr id="12533" name="Freeform: Shape 12532">
                  <a:extLst>
                    <a:ext uri="{FF2B5EF4-FFF2-40B4-BE49-F238E27FC236}">
                      <a16:creationId xmlns:a16="http://schemas.microsoft.com/office/drawing/2014/main" id="{0F1D64FB-7BBB-C263-84AA-66EC8CCF1B16}"/>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4" name="Freeform: Shape 12533">
                  <a:extLst>
                    <a:ext uri="{FF2B5EF4-FFF2-40B4-BE49-F238E27FC236}">
                      <a16:creationId xmlns:a16="http://schemas.microsoft.com/office/drawing/2014/main" id="{FBB361FA-02E7-4762-93A3-94CDC8689751}"/>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1" name="Graphic 1393">
                <a:extLst>
                  <a:ext uri="{FF2B5EF4-FFF2-40B4-BE49-F238E27FC236}">
                    <a16:creationId xmlns:a16="http://schemas.microsoft.com/office/drawing/2014/main" id="{1A521748-03DC-8E8D-4DED-58730FDB75D1}"/>
                  </a:ext>
                </a:extLst>
              </p:cNvPr>
              <p:cNvGrpSpPr/>
              <p:nvPr/>
            </p:nvGrpSpPr>
            <p:grpSpPr>
              <a:xfrm>
                <a:off x="6839330" y="3669220"/>
                <a:ext cx="75723" cy="75723"/>
                <a:chOff x="6839330" y="3669220"/>
                <a:chExt cx="75723" cy="75723"/>
              </a:xfrm>
            </p:grpSpPr>
            <p:sp>
              <p:nvSpPr>
                <p:cNvPr id="12531" name="Freeform: Shape 12530">
                  <a:extLst>
                    <a:ext uri="{FF2B5EF4-FFF2-40B4-BE49-F238E27FC236}">
                      <a16:creationId xmlns:a16="http://schemas.microsoft.com/office/drawing/2014/main" id="{0BD1687F-745D-9B0B-8395-4829D7E01160}"/>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2" name="Freeform: Shape 12531">
                  <a:extLst>
                    <a:ext uri="{FF2B5EF4-FFF2-40B4-BE49-F238E27FC236}">
                      <a16:creationId xmlns:a16="http://schemas.microsoft.com/office/drawing/2014/main" id="{75DE2225-3D41-147F-EC30-91B7E87A9F47}"/>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2" name="Graphic 1393">
                <a:extLst>
                  <a:ext uri="{FF2B5EF4-FFF2-40B4-BE49-F238E27FC236}">
                    <a16:creationId xmlns:a16="http://schemas.microsoft.com/office/drawing/2014/main" id="{3D1EA521-4E5B-DB44-8F51-69F1E7C0C903}"/>
                  </a:ext>
                </a:extLst>
              </p:cNvPr>
              <p:cNvGrpSpPr/>
              <p:nvPr/>
            </p:nvGrpSpPr>
            <p:grpSpPr>
              <a:xfrm>
                <a:off x="6510337" y="3646170"/>
                <a:ext cx="75723" cy="75628"/>
                <a:chOff x="6510337" y="3646170"/>
                <a:chExt cx="75723" cy="75628"/>
              </a:xfrm>
            </p:grpSpPr>
            <p:sp>
              <p:nvSpPr>
                <p:cNvPr id="12529" name="Freeform: Shape 12528">
                  <a:extLst>
                    <a:ext uri="{FF2B5EF4-FFF2-40B4-BE49-F238E27FC236}">
                      <a16:creationId xmlns:a16="http://schemas.microsoft.com/office/drawing/2014/main" id="{4A266914-5D96-B2D4-E140-61B4CF83AA52}"/>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0" name="Freeform: Shape 12529">
                  <a:extLst>
                    <a:ext uri="{FF2B5EF4-FFF2-40B4-BE49-F238E27FC236}">
                      <a16:creationId xmlns:a16="http://schemas.microsoft.com/office/drawing/2014/main" id="{0B826F7E-6234-2653-C495-B64CD53A503F}"/>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3" name="Graphic 1393">
                <a:extLst>
                  <a:ext uri="{FF2B5EF4-FFF2-40B4-BE49-F238E27FC236}">
                    <a16:creationId xmlns:a16="http://schemas.microsoft.com/office/drawing/2014/main" id="{025329E2-6968-9CF7-E5BF-68BBDCF90D3A}"/>
                  </a:ext>
                </a:extLst>
              </p:cNvPr>
              <p:cNvGrpSpPr/>
              <p:nvPr/>
            </p:nvGrpSpPr>
            <p:grpSpPr>
              <a:xfrm>
                <a:off x="6460902" y="3646170"/>
                <a:ext cx="75723" cy="75628"/>
                <a:chOff x="6460902" y="3646170"/>
                <a:chExt cx="75723" cy="75628"/>
              </a:xfrm>
            </p:grpSpPr>
            <p:sp>
              <p:nvSpPr>
                <p:cNvPr id="12527" name="Freeform: Shape 12526">
                  <a:extLst>
                    <a:ext uri="{FF2B5EF4-FFF2-40B4-BE49-F238E27FC236}">
                      <a16:creationId xmlns:a16="http://schemas.microsoft.com/office/drawing/2014/main" id="{E29967DC-2C6D-D5AF-2544-D1A3688106C4}"/>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8" name="Freeform: Shape 12527">
                  <a:extLst>
                    <a:ext uri="{FF2B5EF4-FFF2-40B4-BE49-F238E27FC236}">
                      <a16:creationId xmlns:a16="http://schemas.microsoft.com/office/drawing/2014/main" id="{51034BCF-9760-D35F-6060-3FAD27036852}"/>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4" name="Graphic 1393">
                <a:extLst>
                  <a:ext uri="{FF2B5EF4-FFF2-40B4-BE49-F238E27FC236}">
                    <a16:creationId xmlns:a16="http://schemas.microsoft.com/office/drawing/2014/main" id="{5CFEC15C-5EA9-DB3E-5220-F7EF680485BB}"/>
                  </a:ext>
                </a:extLst>
              </p:cNvPr>
              <p:cNvGrpSpPr/>
              <p:nvPr/>
            </p:nvGrpSpPr>
            <p:grpSpPr>
              <a:xfrm>
                <a:off x="6470808" y="3646170"/>
                <a:ext cx="75723" cy="75628"/>
                <a:chOff x="6470808" y="3646170"/>
                <a:chExt cx="75723" cy="75628"/>
              </a:xfrm>
            </p:grpSpPr>
            <p:sp>
              <p:nvSpPr>
                <p:cNvPr id="12525" name="Freeform: Shape 12524">
                  <a:extLst>
                    <a:ext uri="{FF2B5EF4-FFF2-40B4-BE49-F238E27FC236}">
                      <a16:creationId xmlns:a16="http://schemas.microsoft.com/office/drawing/2014/main" id="{9902A065-83AE-3634-4C6F-5DD4B44396D4}"/>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6" name="Freeform: Shape 12525">
                  <a:extLst>
                    <a:ext uri="{FF2B5EF4-FFF2-40B4-BE49-F238E27FC236}">
                      <a16:creationId xmlns:a16="http://schemas.microsoft.com/office/drawing/2014/main" id="{6AEF2B94-CE4A-76F8-9A1C-C977B9EC1786}"/>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5" name="Graphic 1393">
                <a:extLst>
                  <a:ext uri="{FF2B5EF4-FFF2-40B4-BE49-F238E27FC236}">
                    <a16:creationId xmlns:a16="http://schemas.microsoft.com/office/drawing/2014/main" id="{723AE78D-72F1-0924-44A2-4A1A94867CC8}"/>
                  </a:ext>
                </a:extLst>
              </p:cNvPr>
              <p:cNvGrpSpPr/>
              <p:nvPr/>
            </p:nvGrpSpPr>
            <p:grpSpPr>
              <a:xfrm>
                <a:off x="6480714" y="3646170"/>
                <a:ext cx="75723" cy="75628"/>
                <a:chOff x="6480714" y="3646170"/>
                <a:chExt cx="75723" cy="75628"/>
              </a:xfrm>
            </p:grpSpPr>
            <p:sp>
              <p:nvSpPr>
                <p:cNvPr id="12523" name="Freeform: Shape 12522">
                  <a:extLst>
                    <a:ext uri="{FF2B5EF4-FFF2-40B4-BE49-F238E27FC236}">
                      <a16:creationId xmlns:a16="http://schemas.microsoft.com/office/drawing/2014/main" id="{0F22AC83-654E-898A-C516-049DC105DE5A}"/>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4" name="Freeform: Shape 12523">
                  <a:extLst>
                    <a:ext uri="{FF2B5EF4-FFF2-40B4-BE49-F238E27FC236}">
                      <a16:creationId xmlns:a16="http://schemas.microsoft.com/office/drawing/2014/main" id="{D724EC90-050F-D1EB-E4D9-51822079034E}"/>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6" name="Graphic 1393">
                <a:extLst>
                  <a:ext uri="{FF2B5EF4-FFF2-40B4-BE49-F238E27FC236}">
                    <a16:creationId xmlns:a16="http://schemas.microsoft.com/office/drawing/2014/main" id="{7141D3F0-766D-5211-48FF-EE8643F3B1E0}"/>
                  </a:ext>
                </a:extLst>
              </p:cNvPr>
              <p:cNvGrpSpPr/>
              <p:nvPr/>
            </p:nvGrpSpPr>
            <p:grpSpPr>
              <a:xfrm>
                <a:off x="6490620" y="3646170"/>
                <a:ext cx="75628" cy="75628"/>
                <a:chOff x="6490620" y="3646170"/>
                <a:chExt cx="75628" cy="75628"/>
              </a:xfrm>
            </p:grpSpPr>
            <p:sp>
              <p:nvSpPr>
                <p:cNvPr id="12521" name="Freeform: Shape 12520">
                  <a:extLst>
                    <a:ext uri="{FF2B5EF4-FFF2-40B4-BE49-F238E27FC236}">
                      <a16:creationId xmlns:a16="http://schemas.microsoft.com/office/drawing/2014/main" id="{2F2A0D83-D690-C145-8AC3-ABB0FEAF4722}"/>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2" name="Freeform: Shape 12521">
                  <a:extLst>
                    <a:ext uri="{FF2B5EF4-FFF2-40B4-BE49-F238E27FC236}">
                      <a16:creationId xmlns:a16="http://schemas.microsoft.com/office/drawing/2014/main" id="{74DB2DDC-16EE-C437-69EA-25DE0A26F50E}"/>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7" name="Graphic 1393">
                <a:extLst>
                  <a:ext uri="{FF2B5EF4-FFF2-40B4-BE49-F238E27FC236}">
                    <a16:creationId xmlns:a16="http://schemas.microsoft.com/office/drawing/2014/main" id="{D2A5AAD0-2192-DDDB-8D5B-50F448269722}"/>
                  </a:ext>
                </a:extLst>
              </p:cNvPr>
              <p:cNvGrpSpPr/>
              <p:nvPr/>
            </p:nvGrpSpPr>
            <p:grpSpPr>
              <a:xfrm>
                <a:off x="6500431" y="3646170"/>
                <a:ext cx="75723" cy="75628"/>
                <a:chOff x="6500431" y="3646170"/>
                <a:chExt cx="75723" cy="75628"/>
              </a:xfrm>
            </p:grpSpPr>
            <p:sp>
              <p:nvSpPr>
                <p:cNvPr id="12519" name="Freeform: Shape 12518">
                  <a:extLst>
                    <a:ext uri="{FF2B5EF4-FFF2-40B4-BE49-F238E27FC236}">
                      <a16:creationId xmlns:a16="http://schemas.microsoft.com/office/drawing/2014/main" id="{F53DFFB8-99B7-F9B2-2541-1A86A72E488D}"/>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0" name="Freeform: Shape 12519">
                  <a:extLst>
                    <a:ext uri="{FF2B5EF4-FFF2-40B4-BE49-F238E27FC236}">
                      <a16:creationId xmlns:a16="http://schemas.microsoft.com/office/drawing/2014/main" id="{731BAFAB-6D6F-C7ED-9255-E430ABCA4930}"/>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8" name="Graphic 1393">
                <a:extLst>
                  <a:ext uri="{FF2B5EF4-FFF2-40B4-BE49-F238E27FC236}">
                    <a16:creationId xmlns:a16="http://schemas.microsoft.com/office/drawing/2014/main" id="{304D80F9-F9EA-C0E9-9B2B-2EFC07F74E09}"/>
                  </a:ext>
                </a:extLst>
              </p:cNvPr>
              <p:cNvGrpSpPr/>
              <p:nvPr/>
            </p:nvGrpSpPr>
            <p:grpSpPr>
              <a:xfrm>
                <a:off x="6452139" y="3598449"/>
                <a:ext cx="75723" cy="75628"/>
                <a:chOff x="6452139" y="3598449"/>
                <a:chExt cx="75723" cy="75628"/>
              </a:xfrm>
            </p:grpSpPr>
            <p:sp>
              <p:nvSpPr>
                <p:cNvPr id="12517" name="Freeform: Shape 12516">
                  <a:extLst>
                    <a:ext uri="{FF2B5EF4-FFF2-40B4-BE49-F238E27FC236}">
                      <a16:creationId xmlns:a16="http://schemas.microsoft.com/office/drawing/2014/main" id="{90836947-C4CB-C967-725E-6A036944E328}"/>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8" name="Freeform: Shape 12517">
                  <a:extLst>
                    <a:ext uri="{FF2B5EF4-FFF2-40B4-BE49-F238E27FC236}">
                      <a16:creationId xmlns:a16="http://schemas.microsoft.com/office/drawing/2014/main" id="{6AA757F8-82C7-5103-3B9D-03FBD7DD6649}"/>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9" name="Graphic 1393">
                <a:extLst>
                  <a:ext uri="{FF2B5EF4-FFF2-40B4-BE49-F238E27FC236}">
                    <a16:creationId xmlns:a16="http://schemas.microsoft.com/office/drawing/2014/main" id="{60732AD5-F256-EB0A-E4A9-3DEFE9B0D7C4}"/>
                  </a:ext>
                </a:extLst>
              </p:cNvPr>
              <p:cNvGrpSpPr/>
              <p:nvPr/>
            </p:nvGrpSpPr>
            <p:grpSpPr>
              <a:xfrm>
                <a:off x="6402704" y="3598449"/>
                <a:ext cx="75723" cy="75628"/>
                <a:chOff x="6402704" y="3598449"/>
                <a:chExt cx="75723" cy="75628"/>
              </a:xfrm>
            </p:grpSpPr>
            <p:sp>
              <p:nvSpPr>
                <p:cNvPr id="12515" name="Freeform: Shape 12514">
                  <a:extLst>
                    <a:ext uri="{FF2B5EF4-FFF2-40B4-BE49-F238E27FC236}">
                      <a16:creationId xmlns:a16="http://schemas.microsoft.com/office/drawing/2014/main" id="{793C6632-FA50-4E9F-F591-B2E8D5B7C97E}"/>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6" name="Freeform: Shape 12515">
                  <a:extLst>
                    <a:ext uri="{FF2B5EF4-FFF2-40B4-BE49-F238E27FC236}">
                      <a16:creationId xmlns:a16="http://schemas.microsoft.com/office/drawing/2014/main" id="{5136E131-D3A0-CDF5-21DD-526A0DC5F75A}"/>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0" name="Graphic 1393">
                <a:extLst>
                  <a:ext uri="{FF2B5EF4-FFF2-40B4-BE49-F238E27FC236}">
                    <a16:creationId xmlns:a16="http://schemas.microsoft.com/office/drawing/2014/main" id="{72E4FE59-7EE5-87B4-76FE-0D86CBDAC686}"/>
                  </a:ext>
                </a:extLst>
              </p:cNvPr>
              <p:cNvGrpSpPr/>
              <p:nvPr/>
            </p:nvGrpSpPr>
            <p:grpSpPr>
              <a:xfrm>
                <a:off x="6256876" y="3598449"/>
                <a:ext cx="75723" cy="75628"/>
                <a:chOff x="6256876" y="3598449"/>
                <a:chExt cx="75723" cy="75628"/>
              </a:xfrm>
            </p:grpSpPr>
            <p:sp>
              <p:nvSpPr>
                <p:cNvPr id="12513" name="Freeform: Shape 12512">
                  <a:extLst>
                    <a:ext uri="{FF2B5EF4-FFF2-40B4-BE49-F238E27FC236}">
                      <a16:creationId xmlns:a16="http://schemas.microsoft.com/office/drawing/2014/main" id="{04A5BD7B-7798-F1D3-BDF7-BD23CA232F64}"/>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4" name="Freeform: Shape 12513">
                  <a:extLst>
                    <a:ext uri="{FF2B5EF4-FFF2-40B4-BE49-F238E27FC236}">
                      <a16:creationId xmlns:a16="http://schemas.microsoft.com/office/drawing/2014/main" id="{A4BFCF50-126C-158C-E6D9-2DE5B27D2927}"/>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1" name="Graphic 1393">
                <a:extLst>
                  <a:ext uri="{FF2B5EF4-FFF2-40B4-BE49-F238E27FC236}">
                    <a16:creationId xmlns:a16="http://schemas.microsoft.com/office/drawing/2014/main" id="{74B920C5-C46D-EE52-56F0-95C901995C36}"/>
                  </a:ext>
                </a:extLst>
              </p:cNvPr>
              <p:cNvGrpSpPr/>
              <p:nvPr/>
            </p:nvGrpSpPr>
            <p:grpSpPr>
              <a:xfrm>
                <a:off x="6239827" y="3598449"/>
                <a:ext cx="75723" cy="75628"/>
                <a:chOff x="6239827" y="3598449"/>
                <a:chExt cx="75723" cy="75628"/>
              </a:xfrm>
            </p:grpSpPr>
            <p:sp>
              <p:nvSpPr>
                <p:cNvPr id="12511" name="Freeform: Shape 12510">
                  <a:extLst>
                    <a:ext uri="{FF2B5EF4-FFF2-40B4-BE49-F238E27FC236}">
                      <a16:creationId xmlns:a16="http://schemas.microsoft.com/office/drawing/2014/main" id="{D00EA07B-FEDF-0683-B497-77A4C6B7E52A}"/>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2" name="Freeform: Shape 12511">
                  <a:extLst>
                    <a:ext uri="{FF2B5EF4-FFF2-40B4-BE49-F238E27FC236}">
                      <a16:creationId xmlns:a16="http://schemas.microsoft.com/office/drawing/2014/main" id="{58CCBB2E-36B2-784A-A100-4248420C718C}"/>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2" name="Graphic 1393">
                <a:extLst>
                  <a:ext uri="{FF2B5EF4-FFF2-40B4-BE49-F238E27FC236}">
                    <a16:creationId xmlns:a16="http://schemas.microsoft.com/office/drawing/2014/main" id="{69766716-06E9-4FF2-A9F6-287D6E795468}"/>
                  </a:ext>
                </a:extLst>
              </p:cNvPr>
              <p:cNvGrpSpPr/>
              <p:nvPr/>
            </p:nvGrpSpPr>
            <p:grpSpPr>
              <a:xfrm>
                <a:off x="6193059" y="3598449"/>
                <a:ext cx="75628" cy="75628"/>
                <a:chOff x="6193059" y="3598449"/>
                <a:chExt cx="75628" cy="75628"/>
              </a:xfrm>
            </p:grpSpPr>
            <p:sp>
              <p:nvSpPr>
                <p:cNvPr id="12508" name="Freeform: Shape 12507">
                  <a:extLst>
                    <a:ext uri="{FF2B5EF4-FFF2-40B4-BE49-F238E27FC236}">
                      <a16:creationId xmlns:a16="http://schemas.microsoft.com/office/drawing/2014/main" id="{E4A2C6C5-552D-A51D-20D5-AD6DF42E779D}"/>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9" name="Freeform: Shape 12508">
                  <a:extLst>
                    <a:ext uri="{FF2B5EF4-FFF2-40B4-BE49-F238E27FC236}">
                      <a16:creationId xmlns:a16="http://schemas.microsoft.com/office/drawing/2014/main" id="{324091A1-872E-6E74-9EFB-FB13B7F34D68}"/>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3" name="Graphic 1393">
                <a:extLst>
                  <a:ext uri="{FF2B5EF4-FFF2-40B4-BE49-F238E27FC236}">
                    <a16:creationId xmlns:a16="http://schemas.microsoft.com/office/drawing/2014/main" id="{9F8EAC29-200A-9BAF-5B02-CCC49F09C7F9}"/>
                  </a:ext>
                </a:extLst>
              </p:cNvPr>
              <p:cNvGrpSpPr/>
              <p:nvPr/>
            </p:nvGrpSpPr>
            <p:grpSpPr>
              <a:xfrm>
                <a:off x="6090284" y="3598449"/>
                <a:ext cx="75723" cy="75628"/>
                <a:chOff x="6090284" y="3598449"/>
                <a:chExt cx="75723" cy="75628"/>
              </a:xfrm>
            </p:grpSpPr>
            <p:sp>
              <p:nvSpPr>
                <p:cNvPr id="12506" name="Freeform: Shape 12505">
                  <a:extLst>
                    <a:ext uri="{FF2B5EF4-FFF2-40B4-BE49-F238E27FC236}">
                      <a16:creationId xmlns:a16="http://schemas.microsoft.com/office/drawing/2014/main" id="{CF7D0240-2A8F-A54D-CFD4-61E3D290BD9C}"/>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7" name="Freeform: Shape 12506">
                  <a:extLst>
                    <a:ext uri="{FF2B5EF4-FFF2-40B4-BE49-F238E27FC236}">
                      <a16:creationId xmlns:a16="http://schemas.microsoft.com/office/drawing/2014/main" id="{BD308E60-5681-B9CB-C0F1-550756D47DF9}"/>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4" name="Graphic 1393">
                <a:extLst>
                  <a:ext uri="{FF2B5EF4-FFF2-40B4-BE49-F238E27FC236}">
                    <a16:creationId xmlns:a16="http://schemas.microsoft.com/office/drawing/2014/main" id="{1ABBA34A-A32F-49DC-FEA5-171007F1931A}"/>
                  </a:ext>
                </a:extLst>
              </p:cNvPr>
              <p:cNvGrpSpPr/>
              <p:nvPr/>
            </p:nvGrpSpPr>
            <p:grpSpPr>
              <a:xfrm>
                <a:off x="6076949" y="3598449"/>
                <a:ext cx="75723" cy="75628"/>
                <a:chOff x="6076949" y="3598449"/>
                <a:chExt cx="75723" cy="75628"/>
              </a:xfrm>
            </p:grpSpPr>
            <p:sp>
              <p:nvSpPr>
                <p:cNvPr id="12504" name="Freeform: Shape 12503">
                  <a:extLst>
                    <a:ext uri="{FF2B5EF4-FFF2-40B4-BE49-F238E27FC236}">
                      <a16:creationId xmlns:a16="http://schemas.microsoft.com/office/drawing/2014/main" id="{D41562D4-3F2E-EAA0-690F-A5B8F940B2EA}"/>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5" name="Freeform: Shape 12504">
                  <a:extLst>
                    <a:ext uri="{FF2B5EF4-FFF2-40B4-BE49-F238E27FC236}">
                      <a16:creationId xmlns:a16="http://schemas.microsoft.com/office/drawing/2014/main" id="{A82EA919-DF77-6F6C-6735-24230C60538E}"/>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5" name="Graphic 1393">
                <a:extLst>
                  <a:ext uri="{FF2B5EF4-FFF2-40B4-BE49-F238E27FC236}">
                    <a16:creationId xmlns:a16="http://schemas.microsoft.com/office/drawing/2014/main" id="{F1F2CA78-CC21-9351-D457-FC7269FDA968}"/>
                  </a:ext>
                </a:extLst>
              </p:cNvPr>
              <p:cNvGrpSpPr/>
              <p:nvPr/>
            </p:nvGrpSpPr>
            <p:grpSpPr>
              <a:xfrm>
                <a:off x="5979032" y="3475291"/>
                <a:ext cx="75628" cy="75723"/>
                <a:chOff x="5979032" y="3475291"/>
                <a:chExt cx="75628" cy="75723"/>
              </a:xfrm>
            </p:grpSpPr>
            <p:sp>
              <p:nvSpPr>
                <p:cNvPr id="12502" name="Freeform: Shape 12501">
                  <a:extLst>
                    <a:ext uri="{FF2B5EF4-FFF2-40B4-BE49-F238E27FC236}">
                      <a16:creationId xmlns:a16="http://schemas.microsoft.com/office/drawing/2014/main" id="{A35D1080-DA03-36BE-4734-892DF9CCCE6F}"/>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3" name="Freeform: Shape 12502">
                  <a:extLst>
                    <a:ext uri="{FF2B5EF4-FFF2-40B4-BE49-F238E27FC236}">
                      <a16:creationId xmlns:a16="http://schemas.microsoft.com/office/drawing/2014/main" id="{0616BC7E-05CE-B607-31B8-9E699876BFBA}"/>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6" name="Graphic 1393">
                <a:extLst>
                  <a:ext uri="{FF2B5EF4-FFF2-40B4-BE49-F238E27FC236}">
                    <a16:creationId xmlns:a16="http://schemas.microsoft.com/office/drawing/2014/main" id="{CF796C86-558C-297B-B861-261BCA21881D}"/>
                  </a:ext>
                </a:extLst>
              </p:cNvPr>
              <p:cNvGrpSpPr/>
              <p:nvPr/>
            </p:nvGrpSpPr>
            <p:grpSpPr>
              <a:xfrm>
                <a:off x="5727953" y="3446907"/>
                <a:ext cx="75628" cy="75628"/>
                <a:chOff x="5727953" y="3446907"/>
                <a:chExt cx="75628" cy="75628"/>
              </a:xfrm>
            </p:grpSpPr>
            <p:sp>
              <p:nvSpPr>
                <p:cNvPr id="12500" name="Freeform: Shape 12499">
                  <a:extLst>
                    <a:ext uri="{FF2B5EF4-FFF2-40B4-BE49-F238E27FC236}">
                      <a16:creationId xmlns:a16="http://schemas.microsoft.com/office/drawing/2014/main" id="{69DBDFA5-783C-6F4C-5A30-31AFDCD5723E}"/>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1" name="Freeform: Shape 12500">
                  <a:extLst>
                    <a:ext uri="{FF2B5EF4-FFF2-40B4-BE49-F238E27FC236}">
                      <a16:creationId xmlns:a16="http://schemas.microsoft.com/office/drawing/2014/main" id="{3F591344-7605-62E9-0190-EDBCDC812F99}"/>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7" name="Graphic 1393">
                <a:extLst>
                  <a:ext uri="{FF2B5EF4-FFF2-40B4-BE49-F238E27FC236}">
                    <a16:creationId xmlns:a16="http://schemas.microsoft.com/office/drawing/2014/main" id="{B7D0C406-3DED-E2BF-A425-5D6A531AE3AE}"/>
                  </a:ext>
                </a:extLst>
              </p:cNvPr>
              <p:cNvGrpSpPr/>
              <p:nvPr/>
            </p:nvGrpSpPr>
            <p:grpSpPr>
              <a:xfrm>
                <a:off x="5503544" y="3315557"/>
                <a:ext cx="75723" cy="75723"/>
                <a:chOff x="5503544" y="3315557"/>
                <a:chExt cx="75723" cy="75723"/>
              </a:xfrm>
            </p:grpSpPr>
            <p:sp>
              <p:nvSpPr>
                <p:cNvPr id="12498" name="Freeform: Shape 12497">
                  <a:extLst>
                    <a:ext uri="{FF2B5EF4-FFF2-40B4-BE49-F238E27FC236}">
                      <a16:creationId xmlns:a16="http://schemas.microsoft.com/office/drawing/2014/main" id="{9BDC5B17-5112-D3BE-989A-178B5C4C5721}"/>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9" name="Freeform: Shape 12498">
                  <a:extLst>
                    <a:ext uri="{FF2B5EF4-FFF2-40B4-BE49-F238E27FC236}">
                      <a16:creationId xmlns:a16="http://schemas.microsoft.com/office/drawing/2014/main" id="{F7DFBA36-2ACB-976D-8CBD-7C8CB1D330D7}"/>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8" name="Graphic 1393">
                <a:extLst>
                  <a:ext uri="{FF2B5EF4-FFF2-40B4-BE49-F238E27FC236}">
                    <a16:creationId xmlns:a16="http://schemas.microsoft.com/office/drawing/2014/main" id="{0A74ECA9-E0C8-CF62-F791-661ADD300858}"/>
                  </a:ext>
                </a:extLst>
              </p:cNvPr>
              <p:cNvGrpSpPr/>
              <p:nvPr/>
            </p:nvGrpSpPr>
            <p:grpSpPr>
              <a:xfrm>
                <a:off x="5335428" y="3264884"/>
                <a:ext cx="75723" cy="75628"/>
                <a:chOff x="5335428" y="3264884"/>
                <a:chExt cx="75723" cy="75628"/>
              </a:xfrm>
            </p:grpSpPr>
            <p:sp>
              <p:nvSpPr>
                <p:cNvPr id="12496" name="Freeform: Shape 12495">
                  <a:extLst>
                    <a:ext uri="{FF2B5EF4-FFF2-40B4-BE49-F238E27FC236}">
                      <a16:creationId xmlns:a16="http://schemas.microsoft.com/office/drawing/2014/main" id="{78AB526C-416F-653A-AE3F-A41535C15EAF}"/>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7" name="Freeform: Shape 12496">
                  <a:extLst>
                    <a:ext uri="{FF2B5EF4-FFF2-40B4-BE49-F238E27FC236}">
                      <a16:creationId xmlns:a16="http://schemas.microsoft.com/office/drawing/2014/main" id="{8664983E-CC46-DA4F-4AE3-6240F7447D1A}"/>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9" name="Graphic 1393">
                <a:extLst>
                  <a:ext uri="{FF2B5EF4-FFF2-40B4-BE49-F238E27FC236}">
                    <a16:creationId xmlns:a16="http://schemas.microsoft.com/office/drawing/2014/main" id="{8BDEB45C-D88A-E8F8-3BD9-EDEF874569AC}"/>
                  </a:ext>
                </a:extLst>
              </p:cNvPr>
              <p:cNvGrpSpPr/>
              <p:nvPr/>
            </p:nvGrpSpPr>
            <p:grpSpPr>
              <a:xfrm>
                <a:off x="5266181" y="3264884"/>
                <a:ext cx="75628" cy="75628"/>
                <a:chOff x="5266181" y="3264884"/>
                <a:chExt cx="75628" cy="75628"/>
              </a:xfrm>
            </p:grpSpPr>
            <p:sp>
              <p:nvSpPr>
                <p:cNvPr id="12494" name="Freeform: Shape 12493">
                  <a:extLst>
                    <a:ext uri="{FF2B5EF4-FFF2-40B4-BE49-F238E27FC236}">
                      <a16:creationId xmlns:a16="http://schemas.microsoft.com/office/drawing/2014/main" id="{D9A6440F-D7B7-A71B-283E-71D2A2354376}"/>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5" name="Freeform: Shape 12494">
                  <a:extLst>
                    <a:ext uri="{FF2B5EF4-FFF2-40B4-BE49-F238E27FC236}">
                      <a16:creationId xmlns:a16="http://schemas.microsoft.com/office/drawing/2014/main" id="{0519FFBF-D46B-1FC8-9A80-86AF35502CB2}"/>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0" name="Graphic 1393">
                <a:extLst>
                  <a:ext uri="{FF2B5EF4-FFF2-40B4-BE49-F238E27FC236}">
                    <a16:creationId xmlns:a16="http://schemas.microsoft.com/office/drawing/2014/main" id="{8F0E3816-1BC3-D5CC-FFA6-EADA57AF39C0}"/>
                  </a:ext>
                </a:extLst>
              </p:cNvPr>
              <p:cNvGrpSpPr/>
              <p:nvPr/>
            </p:nvGrpSpPr>
            <p:grpSpPr>
              <a:xfrm>
                <a:off x="5051678" y="3139916"/>
                <a:ext cx="75723" cy="75723"/>
                <a:chOff x="5051678" y="3139916"/>
                <a:chExt cx="75723" cy="75723"/>
              </a:xfrm>
            </p:grpSpPr>
            <p:sp>
              <p:nvSpPr>
                <p:cNvPr id="12492" name="Freeform: Shape 12491">
                  <a:extLst>
                    <a:ext uri="{FF2B5EF4-FFF2-40B4-BE49-F238E27FC236}">
                      <a16:creationId xmlns:a16="http://schemas.microsoft.com/office/drawing/2014/main" id="{7C9DAD99-83AD-EFA9-001C-51360B7E43BD}"/>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3" name="Freeform: Shape 12492">
                  <a:extLst>
                    <a:ext uri="{FF2B5EF4-FFF2-40B4-BE49-F238E27FC236}">
                      <a16:creationId xmlns:a16="http://schemas.microsoft.com/office/drawing/2014/main" id="{FE04CCAD-3184-223F-4B6B-21E856D77C22}"/>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1" name="Graphic 1393">
                <a:extLst>
                  <a:ext uri="{FF2B5EF4-FFF2-40B4-BE49-F238E27FC236}">
                    <a16:creationId xmlns:a16="http://schemas.microsoft.com/office/drawing/2014/main" id="{BBFFD35F-8A94-CC0B-3D99-A3B79CE73055}"/>
                  </a:ext>
                </a:extLst>
              </p:cNvPr>
              <p:cNvGrpSpPr/>
              <p:nvPr/>
            </p:nvGrpSpPr>
            <p:grpSpPr>
              <a:xfrm>
                <a:off x="4771834" y="3080289"/>
                <a:ext cx="75723" cy="75723"/>
                <a:chOff x="4771834" y="3080289"/>
                <a:chExt cx="75723" cy="75723"/>
              </a:xfrm>
            </p:grpSpPr>
            <p:sp>
              <p:nvSpPr>
                <p:cNvPr id="12490" name="Freeform: Shape 12489">
                  <a:extLst>
                    <a:ext uri="{FF2B5EF4-FFF2-40B4-BE49-F238E27FC236}">
                      <a16:creationId xmlns:a16="http://schemas.microsoft.com/office/drawing/2014/main" id="{E757A4F6-1681-BD3A-F20D-13CF1A6686E6}"/>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1" name="Freeform: Shape 12490">
                  <a:extLst>
                    <a:ext uri="{FF2B5EF4-FFF2-40B4-BE49-F238E27FC236}">
                      <a16:creationId xmlns:a16="http://schemas.microsoft.com/office/drawing/2014/main" id="{E4BEC8B5-DEAA-780C-04F6-47472679E0E4}"/>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2" name="Graphic 1393">
                <a:extLst>
                  <a:ext uri="{FF2B5EF4-FFF2-40B4-BE49-F238E27FC236}">
                    <a16:creationId xmlns:a16="http://schemas.microsoft.com/office/drawing/2014/main" id="{59116B2E-5531-199B-47E2-C706D18F5BED}"/>
                  </a:ext>
                </a:extLst>
              </p:cNvPr>
              <p:cNvGrpSpPr/>
              <p:nvPr/>
            </p:nvGrpSpPr>
            <p:grpSpPr>
              <a:xfrm>
                <a:off x="4719256" y="2926461"/>
                <a:ext cx="75723" cy="75723"/>
                <a:chOff x="4719256" y="2926461"/>
                <a:chExt cx="75723" cy="75723"/>
              </a:xfrm>
            </p:grpSpPr>
            <p:sp>
              <p:nvSpPr>
                <p:cNvPr id="12488" name="Freeform: Shape 12487">
                  <a:extLst>
                    <a:ext uri="{FF2B5EF4-FFF2-40B4-BE49-F238E27FC236}">
                      <a16:creationId xmlns:a16="http://schemas.microsoft.com/office/drawing/2014/main" id="{52211A0B-A239-9144-2CD2-44437A0A30D1}"/>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9" name="Freeform: Shape 12488">
                  <a:extLst>
                    <a:ext uri="{FF2B5EF4-FFF2-40B4-BE49-F238E27FC236}">
                      <a16:creationId xmlns:a16="http://schemas.microsoft.com/office/drawing/2014/main" id="{F9FD8C17-9522-D5B8-7D8E-CA645EE39901}"/>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3" name="Graphic 1393">
                <a:extLst>
                  <a:ext uri="{FF2B5EF4-FFF2-40B4-BE49-F238E27FC236}">
                    <a16:creationId xmlns:a16="http://schemas.microsoft.com/office/drawing/2014/main" id="{3C057E69-6AD0-8817-FD75-E895A3F57E0C}"/>
                  </a:ext>
                </a:extLst>
              </p:cNvPr>
              <p:cNvGrpSpPr/>
              <p:nvPr/>
            </p:nvGrpSpPr>
            <p:grpSpPr>
              <a:xfrm>
                <a:off x="4684299" y="2858357"/>
                <a:ext cx="75723" cy="75628"/>
                <a:chOff x="4684299" y="2858357"/>
                <a:chExt cx="75723" cy="75628"/>
              </a:xfrm>
            </p:grpSpPr>
            <p:sp>
              <p:nvSpPr>
                <p:cNvPr id="12486" name="Freeform: Shape 12485">
                  <a:extLst>
                    <a:ext uri="{FF2B5EF4-FFF2-40B4-BE49-F238E27FC236}">
                      <a16:creationId xmlns:a16="http://schemas.microsoft.com/office/drawing/2014/main" id="{6FD7CCDA-355B-91E2-ED07-410136D70B20}"/>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7" name="Freeform: Shape 12486">
                  <a:extLst>
                    <a:ext uri="{FF2B5EF4-FFF2-40B4-BE49-F238E27FC236}">
                      <a16:creationId xmlns:a16="http://schemas.microsoft.com/office/drawing/2014/main" id="{3F7CBE2E-A73F-F612-9296-545AEF53B9EB}"/>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4" name="Graphic 1393">
                <a:extLst>
                  <a:ext uri="{FF2B5EF4-FFF2-40B4-BE49-F238E27FC236}">
                    <a16:creationId xmlns:a16="http://schemas.microsoft.com/office/drawing/2014/main" id="{8B7E3628-B7E9-C773-CE36-0FAF2273557A}"/>
                  </a:ext>
                </a:extLst>
              </p:cNvPr>
              <p:cNvGrpSpPr/>
              <p:nvPr/>
            </p:nvGrpSpPr>
            <p:grpSpPr>
              <a:xfrm>
                <a:off x="4659439" y="2844641"/>
                <a:ext cx="75628" cy="75723"/>
                <a:chOff x="4659439" y="2844641"/>
                <a:chExt cx="75628" cy="75723"/>
              </a:xfrm>
            </p:grpSpPr>
            <p:sp>
              <p:nvSpPr>
                <p:cNvPr id="12484" name="Freeform: Shape 12483">
                  <a:extLst>
                    <a:ext uri="{FF2B5EF4-FFF2-40B4-BE49-F238E27FC236}">
                      <a16:creationId xmlns:a16="http://schemas.microsoft.com/office/drawing/2014/main" id="{1FB69914-A444-598A-848C-97CEB1067456}"/>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5" name="Freeform: Shape 12484">
                  <a:extLst>
                    <a:ext uri="{FF2B5EF4-FFF2-40B4-BE49-F238E27FC236}">
                      <a16:creationId xmlns:a16="http://schemas.microsoft.com/office/drawing/2014/main" id="{8C4C8BF1-D8EE-E88F-DB05-46F032E9EB3F}"/>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5" name="Graphic 1393">
                <a:extLst>
                  <a:ext uri="{FF2B5EF4-FFF2-40B4-BE49-F238E27FC236}">
                    <a16:creationId xmlns:a16="http://schemas.microsoft.com/office/drawing/2014/main" id="{5A96F1F5-0400-43F9-3643-3B2872B26489}"/>
                  </a:ext>
                </a:extLst>
              </p:cNvPr>
              <p:cNvGrpSpPr/>
              <p:nvPr/>
            </p:nvGrpSpPr>
            <p:grpSpPr>
              <a:xfrm>
                <a:off x="4633531" y="2834925"/>
                <a:ext cx="75723" cy="75628"/>
                <a:chOff x="4633531" y="2834925"/>
                <a:chExt cx="75723" cy="75628"/>
              </a:xfrm>
            </p:grpSpPr>
            <p:sp>
              <p:nvSpPr>
                <p:cNvPr id="12482" name="Freeform: Shape 12481">
                  <a:extLst>
                    <a:ext uri="{FF2B5EF4-FFF2-40B4-BE49-F238E27FC236}">
                      <a16:creationId xmlns:a16="http://schemas.microsoft.com/office/drawing/2014/main" id="{32EBC09A-8E88-0877-82CE-E6E3C4D58D64}"/>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3" name="Freeform: Shape 12482">
                  <a:extLst>
                    <a:ext uri="{FF2B5EF4-FFF2-40B4-BE49-F238E27FC236}">
                      <a16:creationId xmlns:a16="http://schemas.microsoft.com/office/drawing/2014/main" id="{BC3A9C52-8770-5480-07B4-2572A9F4899B}"/>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6" name="Graphic 1393">
                <a:extLst>
                  <a:ext uri="{FF2B5EF4-FFF2-40B4-BE49-F238E27FC236}">
                    <a16:creationId xmlns:a16="http://schemas.microsoft.com/office/drawing/2014/main" id="{18FF568E-D7BD-A3CD-83E7-068C2E5981C8}"/>
                  </a:ext>
                </a:extLst>
              </p:cNvPr>
              <p:cNvGrpSpPr/>
              <p:nvPr/>
            </p:nvGrpSpPr>
            <p:grpSpPr>
              <a:xfrm>
                <a:off x="4496180" y="2802350"/>
                <a:ext cx="75628" cy="75723"/>
                <a:chOff x="4496180" y="2802350"/>
                <a:chExt cx="75628" cy="75723"/>
              </a:xfrm>
            </p:grpSpPr>
            <p:sp>
              <p:nvSpPr>
                <p:cNvPr id="12480" name="Freeform: Shape 12479">
                  <a:extLst>
                    <a:ext uri="{FF2B5EF4-FFF2-40B4-BE49-F238E27FC236}">
                      <a16:creationId xmlns:a16="http://schemas.microsoft.com/office/drawing/2014/main" id="{E70306C4-9FB9-8D72-BC46-77B25C9D1DFD}"/>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1" name="Freeform: Shape 12480">
                  <a:extLst>
                    <a:ext uri="{FF2B5EF4-FFF2-40B4-BE49-F238E27FC236}">
                      <a16:creationId xmlns:a16="http://schemas.microsoft.com/office/drawing/2014/main" id="{75C363DD-3C98-2150-81FB-6445D3637995}"/>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7" name="Graphic 1393">
                <a:extLst>
                  <a:ext uri="{FF2B5EF4-FFF2-40B4-BE49-F238E27FC236}">
                    <a16:creationId xmlns:a16="http://schemas.microsoft.com/office/drawing/2014/main" id="{A093C14F-E8AB-A59F-1AEB-2D96E63DF280}"/>
                  </a:ext>
                </a:extLst>
              </p:cNvPr>
              <p:cNvGrpSpPr/>
              <p:nvPr/>
            </p:nvGrpSpPr>
            <p:grpSpPr>
              <a:xfrm>
                <a:off x="4423504" y="2802350"/>
                <a:ext cx="75723" cy="75723"/>
                <a:chOff x="4423504" y="2802350"/>
                <a:chExt cx="75723" cy="75723"/>
              </a:xfrm>
            </p:grpSpPr>
            <p:sp>
              <p:nvSpPr>
                <p:cNvPr id="16702" name="Freeform: Shape 16701">
                  <a:extLst>
                    <a:ext uri="{FF2B5EF4-FFF2-40B4-BE49-F238E27FC236}">
                      <a16:creationId xmlns:a16="http://schemas.microsoft.com/office/drawing/2014/main" id="{001EEA22-0554-1B49-C809-3BABC2538A4D}"/>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3" name="Freeform: Shape 16702">
                  <a:extLst>
                    <a:ext uri="{FF2B5EF4-FFF2-40B4-BE49-F238E27FC236}">
                      <a16:creationId xmlns:a16="http://schemas.microsoft.com/office/drawing/2014/main" id="{7141A431-075F-020A-F40C-1B2540EAE1B0}"/>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8" name="Graphic 1393">
                <a:extLst>
                  <a:ext uri="{FF2B5EF4-FFF2-40B4-BE49-F238E27FC236}">
                    <a16:creationId xmlns:a16="http://schemas.microsoft.com/office/drawing/2014/main" id="{95FD6BE8-DE42-B448-C040-2E436C5EF4D6}"/>
                  </a:ext>
                </a:extLst>
              </p:cNvPr>
              <p:cNvGrpSpPr/>
              <p:nvPr/>
            </p:nvGrpSpPr>
            <p:grpSpPr>
              <a:xfrm>
                <a:off x="4200048" y="2591085"/>
                <a:ext cx="75723" cy="75723"/>
                <a:chOff x="4200048" y="2591085"/>
                <a:chExt cx="75723" cy="75723"/>
              </a:xfrm>
            </p:grpSpPr>
            <p:sp>
              <p:nvSpPr>
                <p:cNvPr id="16700" name="Freeform: Shape 16699">
                  <a:extLst>
                    <a:ext uri="{FF2B5EF4-FFF2-40B4-BE49-F238E27FC236}">
                      <a16:creationId xmlns:a16="http://schemas.microsoft.com/office/drawing/2014/main" id="{A987D9FC-1620-5CD8-104D-2E1FD23C1438}"/>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1" name="Freeform: Shape 16700">
                  <a:extLst>
                    <a:ext uri="{FF2B5EF4-FFF2-40B4-BE49-F238E27FC236}">
                      <a16:creationId xmlns:a16="http://schemas.microsoft.com/office/drawing/2014/main" id="{94A76EDD-FEF4-08B1-2646-8ABFB35C44F4}"/>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9" name="Graphic 1393">
                <a:extLst>
                  <a:ext uri="{FF2B5EF4-FFF2-40B4-BE49-F238E27FC236}">
                    <a16:creationId xmlns:a16="http://schemas.microsoft.com/office/drawing/2014/main" id="{1FF9DCD9-3C42-17B5-88A9-255B1CF7C57B}"/>
                  </a:ext>
                </a:extLst>
              </p:cNvPr>
              <p:cNvGrpSpPr/>
              <p:nvPr/>
            </p:nvGrpSpPr>
            <p:grpSpPr>
              <a:xfrm>
                <a:off x="4130801" y="2566130"/>
                <a:ext cx="75628" cy="75723"/>
                <a:chOff x="4130801" y="2566130"/>
                <a:chExt cx="75628" cy="75723"/>
              </a:xfrm>
            </p:grpSpPr>
            <p:sp>
              <p:nvSpPr>
                <p:cNvPr id="16698" name="Freeform: Shape 16697">
                  <a:extLst>
                    <a:ext uri="{FF2B5EF4-FFF2-40B4-BE49-F238E27FC236}">
                      <a16:creationId xmlns:a16="http://schemas.microsoft.com/office/drawing/2014/main" id="{5917BCF8-A3E4-461A-A1C2-1A28B933C2E5}"/>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99" name="Freeform: Shape 16698">
                  <a:extLst>
                    <a:ext uri="{FF2B5EF4-FFF2-40B4-BE49-F238E27FC236}">
                      <a16:creationId xmlns:a16="http://schemas.microsoft.com/office/drawing/2014/main" id="{C438BE22-9B2B-03BB-BBED-C1A49652EE85}"/>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0" name="Graphic 1393">
                <a:extLst>
                  <a:ext uri="{FF2B5EF4-FFF2-40B4-BE49-F238E27FC236}">
                    <a16:creationId xmlns:a16="http://schemas.microsoft.com/office/drawing/2014/main" id="{D72CBAA5-1ED5-CB79-E5DA-697A201F3A2C}"/>
                  </a:ext>
                </a:extLst>
              </p:cNvPr>
              <p:cNvGrpSpPr/>
              <p:nvPr/>
            </p:nvGrpSpPr>
            <p:grpSpPr>
              <a:xfrm>
                <a:off x="3892676" y="2527268"/>
                <a:ext cx="75628" cy="75723"/>
                <a:chOff x="3892676" y="2527268"/>
                <a:chExt cx="75628" cy="75723"/>
              </a:xfrm>
            </p:grpSpPr>
            <p:sp>
              <p:nvSpPr>
                <p:cNvPr id="16696" name="Freeform: Shape 16695">
                  <a:extLst>
                    <a:ext uri="{FF2B5EF4-FFF2-40B4-BE49-F238E27FC236}">
                      <a16:creationId xmlns:a16="http://schemas.microsoft.com/office/drawing/2014/main" id="{3038165B-1478-2E7A-4224-F7F170E1EDAB}"/>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97" name="Freeform: Shape 16696">
                  <a:extLst>
                    <a:ext uri="{FF2B5EF4-FFF2-40B4-BE49-F238E27FC236}">
                      <a16:creationId xmlns:a16="http://schemas.microsoft.com/office/drawing/2014/main" id="{B03A6CA0-B5B1-624E-0678-EB01B69AAFAE}"/>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1" name="Graphic 1393">
                <a:extLst>
                  <a:ext uri="{FF2B5EF4-FFF2-40B4-BE49-F238E27FC236}">
                    <a16:creationId xmlns:a16="http://schemas.microsoft.com/office/drawing/2014/main" id="{BD819AE4-DD24-E496-4504-69D418D56D64}"/>
                  </a:ext>
                </a:extLst>
              </p:cNvPr>
              <p:cNvGrpSpPr/>
              <p:nvPr/>
            </p:nvGrpSpPr>
            <p:grpSpPr>
              <a:xfrm>
                <a:off x="3868102" y="2496216"/>
                <a:ext cx="75723" cy="75723"/>
                <a:chOff x="3868102" y="2496216"/>
                <a:chExt cx="75723" cy="75723"/>
              </a:xfrm>
            </p:grpSpPr>
            <p:sp>
              <p:nvSpPr>
                <p:cNvPr id="16694" name="Freeform: Shape 16693">
                  <a:extLst>
                    <a:ext uri="{FF2B5EF4-FFF2-40B4-BE49-F238E27FC236}">
                      <a16:creationId xmlns:a16="http://schemas.microsoft.com/office/drawing/2014/main" id="{F5AB8A99-719C-5C0F-C38C-6270D7AF329A}"/>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95" name="Freeform: Shape 16694">
                  <a:extLst>
                    <a:ext uri="{FF2B5EF4-FFF2-40B4-BE49-F238E27FC236}">
                      <a16:creationId xmlns:a16="http://schemas.microsoft.com/office/drawing/2014/main" id="{E3FE28DD-9D0F-6FAB-8CC6-4E3BDBF77D47}"/>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2" name="Graphic 1393">
                <a:extLst>
                  <a:ext uri="{FF2B5EF4-FFF2-40B4-BE49-F238E27FC236}">
                    <a16:creationId xmlns:a16="http://schemas.microsoft.com/office/drawing/2014/main" id="{71C58081-B7B3-7779-7B09-2FE8505C1AA1}"/>
                  </a:ext>
                </a:extLst>
              </p:cNvPr>
              <p:cNvGrpSpPr/>
              <p:nvPr/>
            </p:nvGrpSpPr>
            <p:grpSpPr>
              <a:xfrm>
                <a:off x="4228623" y="2608135"/>
                <a:ext cx="75723" cy="75723"/>
                <a:chOff x="4228623" y="2608135"/>
                <a:chExt cx="75723" cy="75723"/>
              </a:xfrm>
            </p:grpSpPr>
            <p:sp>
              <p:nvSpPr>
                <p:cNvPr id="16692" name="Freeform: Shape 16691">
                  <a:extLst>
                    <a:ext uri="{FF2B5EF4-FFF2-40B4-BE49-F238E27FC236}">
                      <a16:creationId xmlns:a16="http://schemas.microsoft.com/office/drawing/2014/main" id="{9BF11357-36B2-FC1F-3D6C-BA129E55A60F}"/>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93" name="Freeform: Shape 16692">
                  <a:extLst>
                    <a:ext uri="{FF2B5EF4-FFF2-40B4-BE49-F238E27FC236}">
                      <a16:creationId xmlns:a16="http://schemas.microsoft.com/office/drawing/2014/main" id="{16EBECC9-4E94-E343-1FB0-1E96F9B07144}"/>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3" name="Graphic 1393">
                <a:extLst>
                  <a:ext uri="{FF2B5EF4-FFF2-40B4-BE49-F238E27FC236}">
                    <a16:creationId xmlns:a16="http://schemas.microsoft.com/office/drawing/2014/main" id="{ACCA9F69-8972-A565-766B-13CC75B0323C}"/>
                  </a:ext>
                </a:extLst>
              </p:cNvPr>
              <p:cNvGrpSpPr/>
              <p:nvPr/>
            </p:nvGrpSpPr>
            <p:grpSpPr>
              <a:xfrm>
                <a:off x="4281868" y="2633948"/>
                <a:ext cx="75628" cy="75723"/>
                <a:chOff x="4281868" y="2633948"/>
                <a:chExt cx="75628" cy="75723"/>
              </a:xfrm>
            </p:grpSpPr>
            <p:sp>
              <p:nvSpPr>
                <p:cNvPr id="16690" name="Freeform: Shape 16689">
                  <a:extLst>
                    <a:ext uri="{FF2B5EF4-FFF2-40B4-BE49-F238E27FC236}">
                      <a16:creationId xmlns:a16="http://schemas.microsoft.com/office/drawing/2014/main" id="{B72443B9-7087-75FB-9D2B-6F8C41916593}"/>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91" name="Freeform: Shape 16690">
                  <a:extLst>
                    <a:ext uri="{FF2B5EF4-FFF2-40B4-BE49-F238E27FC236}">
                      <a16:creationId xmlns:a16="http://schemas.microsoft.com/office/drawing/2014/main" id="{9C40A8F2-2B55-B909-95B4-0D2987CC6378}"/>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4" name="Graphic 1393">
                <a:extLst>
                  <a:ext uri="{FF2B5EF4-FFF2-40B4-BE49-F238E27FC236}">
                    <a16:creationId xmlns:a16="http://schemas.microsoft.com/office/drawing/2014/main" id="{60BC76B0-D0B1-515D-558F-9891BB5A994C}"/>
                  </a:ext>
                </a:extLst>
              </p:cNvPr>
              <p:cNvGrpSpPr/>
              <p:nvPr/>
            </p:nvGrpSpPr>
            <p:grpSpPr>
              <a:xfrm>
                <a:off x="4289011" y="2656427"/>
                <a:ext cx="75723" cy="75723"/>
                <a:chOff x="4289011" y="2656427"/>
                <a:chExt cx="75723" cy="75723"/>
              </a:xfrm>
            </p:grpSpPr>
            <p:sp>
              <p:nvSpPr>
                <p:cNvPr id="16688" name="Freeform: Shape 16687">
                  <a:extLst>
                    <a:ext uri="{FF2B5EF4-FFF2-40B4-BE49-F238E27FC236}">
                      <a16:creationId xmlns:a16="http://schemas.microsoft.com/office/drawing/2014/main" id="{60A3DA7C-3F6F-6758-A5B4-E89E868964CE}"/>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9" name="Freeform: Shape 16688">
                  <a:extLst>
                    <a:ext uri="{FF2B5EF4-FFF2-40B4-BE49-F238E27FC236}">
                      <a16:creationId xmlns:a16="http://schemas.microsoft.com/office/drawing/2014/main" id="{1CC3E31F-CD02-BED4-73A2-C86C774C4135}"/>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5" name="Graphic 1393">
                <a:extLst>
                  <a:ext uri="{FF2B5EF4-FFF2-40B4-BE49-F238E27FC236}">
                    <a16:creationId xmlns:a16="http://schemas.microsoft.com/office/drawing/2014/main" id="{525AFD87-5513-6EE7-A5F3-B26E1140F1B5}"/>
                  </a:ext>
                </a:extLst>
              </p:cNvPr>
              <p:cNvGrpSpPr/>
              <p:nvPr/>
            </p:nvGrpSpPr>
            <p:grpSpPr>
              <a:xfrm>
                <a:off x="4297584" y="2656427"/>
                <a:ext cx="75628" cy="75723"/>
                <a:chOff x="4297584" y="2656427"/>
                <a:chExt cx="75628" cy="75723"/>
              </a:xfrm>
            </p:grpSpPr>
            <p:sp>
              <p:nvSpPr>
                <p:cNvPr id="16686" name="Freeform: Shape 16685">
                  <a:extLst>
                    <a:ext uri="{FF2B5EF4-FFF2-40B4-BE49-F238E27FC236}">
                      <a16:creationId xmlns:a16="http://schemas.microsoft.com/office/drawing/2014/main" id="{1DA79C95-E808-652E-A2BB-26DD5AE61E72}"/>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7" name="Freeform: Shape 16686">
                  <a:extLst>
                    <a:ext uri="{FF2B5EF4-FFF2-40B4-BE49-F238E27FC236}">
                      <a16:creationId xmlns:a16="http://schemas.microsoft.com/office/drawing/2014/main" id="{E3618601-C720-6344-D6D7-22F4C7574BB8}"/>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6" name="Graphic 1393">
                <a:extLst>
                  <a:ext uri="{FF2B5EF4-FFF2-40B4-BE49-F238E27FC236}">
                    <a16:creationId xmlns:a16="http://schemas.microsoft.com/office/drawing/2014/main" id="{87B32A38-78C9-005F-2616-B065BAB2B694}"/>
                  </a:ext>
                </a:extLst>
              </p:cNvPr>
              <p:cNvGrpSpPr/>
              <p:nvPr/>
            </p:nvGrpSpPr>
            <p:grpSpPr>
              <a:xfrm>
                <a:off x="4301584" y="2676810"/>
                <a:ext cx="75628" cy="75723"/>
                <a:chOff x="4301584" y="2676810"/>
                <a:chExt cx="75628" cy="75723"/>
              </a:xfrm>
            </p:grpSpPr>
            <p:sp>
              <p:nvSpPr>
                <p:cNvPr id="16684" name="Freeform: Shape 16683">
                  <a:extLst>
                    <a:ext uri="{FF2B5EF4-FFF2-40B4-BE49-F238E27FC236}">
                      <a16:creationId xmlns:a16="http://schemas.microsoft.com/office/drawing/2014/main" id="{23AD58F1-D766-3308-A245-B45D75D1296E}"/>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5" name="Freeform: Shape 16684">
                  <a:extLst>
                    <a:ext uri="{FF2B5EF4-FFF2-40B4-BE49-F238E27FC236}">
                      <a16:creationId xmlns:a16="http://schemas.microsoft.com/office/drawing/2014/main" id="{D5824628-044D-2DEC-FE28-F542B0165D5A}"/>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8" name="Graphic 1393">
                <a:extLst>
                  <a:ext uri="{FF2B5EF4-FFF2-40B4-BE49-F238E27FC236}">
                    <a16:creationId xmlns:a16="http://schemas.microsoft.com/office/drawing/2014/main" id="{F97BC45E-6CAD-0BC3-906D-755FF43E6A49}"/>
                  </a:ext>
                </a:extLst>
              </p:cNvPr>
              <p:cNvGrpSpPr/>
              <p:nvPr/>
            </p:nvGrpSpPr>
            <p:grpSpPr>
              <a:xfrm>
                <a:off x="4307299" y="2683859"/>
                <a:ext cx="75723" cy="75628"/>
                <a:chOff x="4307299" y="2683859"/>
                <a:chExt cx="75723" cy="75628"/>
              </a:xfrm>
            </p:grpSpPr>
            <p:sp>
              <p:nvSpPr>
                <p:cNvPr id="16682" name="Freeform: Shape 16681">
                  <a:extLst>
                    <a:ext uri="{FF2B5EF4-FFF2-40B4-BE49-F238E27FC236}">
                      <a16:creationId xmlns:a16="http://schemas.microsoft.com/office/drawing/2014/main" id="{1DBE51E9-A1A5-3462-7D92-2A4348C171DC}"/>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3" name="Freeform: Shape 16682">
                  <a:extLst>
                    <a:ext uri="{FF2B5EF4-FFF2-40B4-BE49-F238E27FC236}">
                      <a16:creationId xmlns:a16="http://schemas.microsoft.com/office/drawing/2014/main" id="{EB6730F1-54F8-5BF3-F10C-F09F98F9E3CF}"/>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9" name="Graphic 1393">
                <a:extLst>
                  <a:ext uri="{FF2B5EF4-FFF2-40B4-BE49-F238E27FC236}">
                    <a16:creationId xmlns:a16="http://schemas.microsoft.com/office/drawing/2014/main" id="{E5AE3DDF-81B6-07D3-CAB5-DCA8791CAEEF}"/>
                  </a:ext>
                </a:extLst>
              </p:cNvPr>
              <p:cNvGrpSpPr/>
              <p:nvPr/>
            </p:nvGrpSpPr>
            <p:grpSpPr>
              <a:xfrm>
                <a:off x="4313681" y="2694336"/>
                <a:ext cx="75723" cy="75628"/>
                <a:chOff x="4313681" y="2694336"/>
                <a:chExt cx="75723" cy="75628"/>
              </a:xfrm>
            </p:grpSpPr>
            <p:sp>
              <p:nvSpPr>
                <p:cNvPr id="16680" name="Freeform: Shape 16679">
                  <a:extLst>
                    <a:ext uri="{FF2B5EF4-FFF2-40B4-BE49-F238E27FC236}">
                      <a16:creationId xmlns:a16="http://schemas.microsoft.com/office/drawing/2014/main" id="{11C9240C-569D-60D4-D600-DE1224DDD3F7}"/>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81" name="Freeform: Shape 16680">
                  <a:extLst>
                    <a:ext uri="{FF2B5EF4-FFF2-40B4-BE49-F238E27FC236}">
                      <a16:creationId xmlns:a16="http://schemas.microsoft.com/office/drawing/2014/main" id="{4750F6FE-8CC9-C61A-4F58-C40B3AF43880}"/>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0" name="Graphic 1393">
                <a:extLst>
                  <a:ext uri="{FF2B5EF4-FFF2-40B4-BE49-F238E27FC236}">
                    <a16:creationId xmlns:a16="http://schemas.microsoft.com/office/drawing/2014/main" id="{ECF5608A-B7B9-DADE-98BA-E9726065ED99}"/>
                  </a:ext>
                </a:extLst>
              </p:cNvPr>
              <p:cNvGrpSpPr/>
              <p:nvPr/>
            </p:nvGrpSpPr>
            <p:grpSpPr>
              <a:xfrm>
                <a:off x="4322539" y="2703766"/>
                <a:ext cx="75723" cy="75628"/>
                <a:chOff x="4322539" y="2703766"/>
                <a:chExt cx="75723" cy="75628"/>
              </a:xfrm>
            </p:grpSpPr>
            <p:sp>
              <p:nvSpPr>
                <p:cNvPr id="16678" name="Freeform: Shape 16677">
                  <a:extLst>
                    <a:ext uri="{FF2B5EF4-FFF2-40B4-BE49-F238E27FC236}">
                      <a16:creationId xmlns:a16="http://schemas.microsoft.com/office/drawing/2014/main" id="{070F8C0F-1503-60DC-D32B-CBBA69501B71}"/>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9" name="Freeform: Shape 16678">
                  <a:extLst>
                    <a:ext uri="{FF2B5EF4-FFF2-40B4-BE49-F238E27FC236}">
                      <a16:creationId xmlns:a16="http://schemas.microsoft.com/office/drawing/2014/main" id="{64BB8D71-B7DE-A786-E9BE-FE536A0718BA}"/>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1" name="Graphic 1393">
                <a:extLst>
                  <a:ext uri="{FF2B5EF4-FFF2-40B4-BE49-F238E27FC236}">
                    <a16:creationId xmlns:a16="http://schemas.microsoft.com/office/drawing/2014/main" id="{A618603F-1532-76F4-279F-C37302BA3D2C}"/>
                  </a:ext>
                </a:extLst>
              </p:cNvPr>
              <p:cNvGrpSpPr/>
              <p:nvPr/>
            </p:nvGrpSpPr>
            <p:grpSpPr>
              <a:xfrm>
                <a:off x="4331302" y="2718054"/>
                <a:ext cx="75723" cy="75723"/>
                <a:chOff x="4331302" y="2718054"/>
                <a:chExt cx="75723" cy="75723"/>
              </a:xfrm>
            </p:grpSpPr>
            <p:sp>
              <p:nvSpPr>
                <p:cNvPr id="16676" name="Freeform: Shape 16675">
                  <a:extLst>
                    <a:ext uri="{FF2B5EF4-FFF2-40B4-BE49-F238E27FC236}">
                      <a16:creationId xmlns:a16="http://schemas.microsoft.com/office/drawing/2014/main" id="{94C2C038-DF20-B3D7-1A36-509D7CB504B2}"/>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7" name="Freeform: Shape 16676">
                  <a:extLst>
                    <a:ext uri="{FF2B5EF4-FFF2-40B4-BE49-F238E27FC236}">
                      <a16:creationId xmlns:a16="http://schemas.microsoft.com/office/drawing/2014/main" id="{B8882F4A-5A38-F89B-64D2-4B26E568DF7A}"/>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2" name="Graphic 1393">
                <a:extLst>
                  <a:ext uri="{FF2B5EF4-FFF2-40B4-BE49-F238E27FC236}">
                    <a16:creationId xmlns:a16="http://schemas.microsoft.com/office/drawing/2014/main" id="{ECF68C94-E066-657A-5D95-EB985539789A}"/>
                  </a:ext>
                </a:extLst>
              </p:cNvPr>
              <p:cNvGrpSpPr/>
              <p:nvPr/>
            </p:nvGrpSpPr>
            <p:grpSpPr>
              <a:xfrm>
                <a:off x="4340732" y="2734246"/>
                <a:ext cx="75723" cy="75723"/>
                <a:chOff x="4340732" y="2734246"/>
                <a:chExt cx="75723" cy="75723"/>
              </a:xfrm>
            </p:grpSpPr>
            <p:sp>
              <p:nvSpPr>
                <p:cNvPr id="16674" name="Freeform: Shape 16673">
                  <a:extLst>
                    <a:ext uri="{FF2B5EF4-FFF2-40B4-BE49-F238E27FC236}">
                      <a16:creationId xmlns:a16="http://schemas.microsoft.com/office/drawing/2014/main" id="{6D53B01B-C89B-43AA-358B-37B80BD48259}"/>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5" name="Freeform: Shape 16674">
                  <a:extLst>
                    <a:ext uri="{FF2B5EF4-FFF2-40B4-BE49-F238E27FC236}">
                      <a16:creationId xmlns:a16="http://schemas.microsoft.com/office/drawing/2014/main" id="{C52C6028-A288-46FD-DED3-C2B3FBBCBF25}"/>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3" name="Graphic 1393">
                <a:extLst>
                  <a:ext uri="{FF2B5EF4-FFF2-40B4-BE49-F238E27FC236}">
                    <a16:creationId xmlns:a16="http://schemas.microsoft.com/office/drawing/2014/main" id="{8CA787CD-75F7-F960-4FD5-0D9193E6B135}"/>
                  </a:ext>
                </a:extLst>
              </p:cNvPr>
              <p:cNvGrpSpPr/>
              <p:nvPr/>
            </p:nvGrpSpPr>
            <p:grpSpPr>
              <a:xfrm>
                <a:off x="4348543" y="2742819"/>
                <a:ext cx="75628" cy="75628"/>
                <a:chOff x="4348543" y="2742819"/>
                <a:chExt cx="75628" cy="75628"/>
              </a:xfrm>
            </p:grpSpPr>
            <p:sp>
              <p:nvSpPr>
                <p:cNvPr id="16672" name="Freeform: Shape 16671">
                  <a:extLst>
                    <a:ext uri="{FF2B5EF4-FFF2-40B4-BE49-F238E27FC236}">
                      <a16:creationId xmlns:a16="http://schemas.microsoft.com/office/drawing/2014/main" id="{9A90795E-7082-2618-FCAE-2C6CE7A9E199}"/>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3" name="Freeform: Shape 16672">
                  <a:extLst>
                    <a:ext uri="{FF2B5EF4-FFF2-40B4-BE49-F238E27FC236}">
                      <a16:creationId xmlns:a16="http://schemas.microsoft.com/office/drawing/2014/main" id="{FA004A80-20E5-186E-C382-AE0A0A996DFB}"/>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4" name="Graphic 1393">
                <a:extLst>
                  <a:ext uri="{FF2B5EF4-FFF2-40B4-BE49-F238E27FC236}">
                    <a16:creationId xmlns:a16="http://schemas.microsoft.com/office/drawing/2014/main" id="{91F24057-AAE3-79DC-D628-D98D68283104}"/>
                  </a:ext>
                </a:extLst>
              </p:cNvPr>
              <p:cNvGrpSpPr/>
              <p:nvPr/>
            </p:nvGrpSpPr>
            <p:grpSpPr>
              <a:xfrm>
                <a:off x="4360354" y="2759487"/>
                <a:ext cx="75723" cy="75723"/>
                <a:chOff x="4360354" y="2759487"/>
                <a:chExt cx="75723" cy="75723"/>
              </a:xfrm>
            </p:grpSpPr>
            <p:sp>
              <p:nvSpPr>
                <p:cNvPr id="16670" name="Freeform: Shape 16669">
                  <a:extLst>
                    <a:ext uri="{FF2B5EF4-FFF2-40B4-BE49-F238E27FC236}">
                      <a16:creationId xmlns:a16="http://schemas.microsoft.com/office/drawing/2014/main" id="{2549C309-D4B5-A9A5-B1F4-22AD652BE492}"/>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71" name="Freeform: Shape 16670">
                  <a:extLst>
                    <a:ext uri="{FF2B5EF4-FFF2-40B4-BE49-F238E27FC236}">
                      <a16:creationId xmlns:a16="http://schemas.microsoft.com/office/drawing/2014/main" id="{3E8AD4E3-CDE9-66D9-299F-FD1B16315386}"/>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6" name="Graphic 1393">
                <a:extLst>
                  <a:ext uri="{FF2B5EF4-FFF2-40B4-BE49-F238E27FC236}">
                    <a16:creationId xmlns:a16="http://schemas.microsoft.com/office/drawing/2014/main" id="{DB49084C-7422-B003-6A25-041BB801D799}"/>
                  </a:ext>
                </a:extLst>
              </p:cNvPr>
              <p:cNvGrpSpPr/>
              <p:nvPr/>
            </p:nvGrpSpPr>
            <p:grpSpPr>
              <a:xfrm>
                <a:off x="4725542" y="2957988"/>
                <a:ext cx="75723" cy="75723"/>
                <a:chOff x="4725542" y="2957988"/>
                <a:chExt cx="75723" cy="75723"/>
              </a:xfrm>
            </p:grpSpPr>
            <p:sp>
              <p:nvSpPr>
                <p:cNvPr id="15721" name="Freeform: Shape 15720">
                  <a:extLst>
                    <a:ext uri="{FF2B5EF4-FFF2-40B4-BE49-F238E27FC236}">
                      <a16:creationId xmlns:a16="http://schemas.microsoft.com/office/drawing/2014/main" id="{7B1DED4F-7314-2B86-8876-F03E464A7BC0}"/>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9" name="Freeform: Shape 16668">
                  <a:extLst>
                    <a:ext uri="{FF2B5EF4-FFF2-40B4-BE49-F238E27FC236}">
                      <a16:creationId xmlns:a16="http://schemas.microsoft.com/office/drawing/2014/main" id="{2090D052-5E78-3F9F-1E0D-20BBE302CE36}"/>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7" name="Graphic 1393">
                <a:extLst>
                  <a:ext uri="{FF2B5EF4-FFF2-40B4-BE49-F238E27FC236}">
                    <a16:creationId xmlns:a16="http://schemas.microsoft.com/office/drawing/2014/main" id="{134D465E-9583-7A15-E09D-8D863CF0EAE0}"/>
                  </a:ext>
                </a:extLst>
              </p:cNvPr>
              <p:cNvGrpSpPr/>
              <p:nvPr/>
            </p:nvGrpSpPr>
            <p:grpSpPr>
              <a:xfrm>
                <a:off x="4737734" y="2997803"/>
                <a:ext cx="75723" cy="75723"/>
                <a:chOff x="4737734" y="2997803"/>
                <a:chExt cx="75723" cy="75723"/>
              </a:xfrm>
            </p:grpSpPr>
            <p:sp>
              <p:nvSpPr>
                <p:cNvPr id="15719" name="Freeform: Shape 15718">
                  <a:extLst>
                    <a:ext uri="{FF2B5EF4-FFF2-40B4-BE49-F238E27FC236}">
                      <a16:creationId xmlns:a16="http://schemas.microsoft.com/office/drawing/2014/main" id="{FBD41DCB-F5EE-9D13-A79D-46454E8322F2}"/>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0" name="Freeform: Shape 15719">
                  <a:extLst>
                    <a:ext uri="{FF2B5EF4-FFF2-40B4-BE49-F238E27FC236}">
                      <a16:creationId xmlns:a16="http://schemas.microsoft.com/office/drawing/2014/main" id="{19EEC825-C76B-0A27-C49E-1291CB287CA9}"/>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9" name="Graphic 1393">
                <a:extLst>
                  <a:ext uri="{FF2B5EF4-FFF2-40B4-BE49-F238E27FC236}">
                    <a16:creationId xmlns:a16="http://schemas.microsoft.com/office/drawing/2014/main" id="{76B82D43-08D9-2E1D-2A9B-E183E86E87DC}"/>
                  </a:ext>
                </a:extLst>
              </p:cNvPr>
              <p:cNvGrpSpPr/>
              <p:nvPr/>
            </p:nvGrpSpPr>
            <p:grpSpPr>
              <a:xfrm>
                <a:off x="4748116" y="3035712"/>
                <a:ext cx="75723" cy="75628"/>
                <a:chOff x="4748116" y="3035712"/>
                <a:chExt cx="75723" cy="75628"/>
              </a:xfrm>
            </p:grpSpPr>
            <p:sp>
              <p:nvSpPr>
                <p:cNvPr id="15717" name="Freeform: Shape 15716">
                  <a:extLst>
                    <a:ext uri="{FF2B5EF4-FFF2-40B4-BE49-F238E27FC236}">
                      <a16:creationId xmlns:a16="http://schemas.microsoft.com/office/drawing/2014/main" id="{29BC7B9A-130D-6052-46A5-4B65BEA18C5D}"/>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8" name="Freeform: Shape 15717">
                  <a:extLst>
                    <a:ext uri="{FF2B5EF4-FFF2-40B4-BE49-F238E27FC236}">
                      <a16:creationId xmlns:a16="http://schemas.microsoft.com/office/drawing/2014/main" id="{F4DA0A11-9FC0-592E-BF99-5649D2A8BB4A}"/>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2" name="Graphic 1393">
                <a:extLst>
                  <a:ext uri="{FF2B5EF4-FFF2-40B4-BE49-F238E27FC236}">
                    <a16:creationId xmlns:a16="http://schemas.microsoft.com/office/drawing/2014/main" id="{08F43748-0C43-6B45-F668-C732CF0676E8}"/>
                  </a:ext>
                </a:extLst>
              </p:cNvPr>
              <p:cNvGrpSpPr/>
              <p:nvPr/>
            </p:nvGrpSpPr>
            <p:grpSpPr>
              <a:xfrm>
                <a:off x="4760023" y="3035712"/>
                <a:ext cx="75723" cy="75628"/>
                <a:chOff x="4760023" y="3035712"/>
                <a:chExt cx="75723" cy="75628"/>
              </a:xfrm>
            </p:grpSpPr>
            <p:sp>
              <p:nvSpPr>
                <p:cNvPr id="15715" name="Freeform: Shape 15714">
                  <a:extLst>
                    <a:ext uri="{FF2B5EF4-FFF2-40B4-BE49-F238E27FC236}">
                      <a16:creationId xmlns:a16="http://schemas.microsoft.com/office/drawing/2014/main" id="{3642DE86-0BF9-3F36-DB74-9C8A7DDE4153}"/>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6" name="Freeform: Shape 15715">
                  <a:extLst>
                    <a:ext uri="{FF2B5EF4-FFF2-40B4-BE49-F238E27FC236}">
                      <a16:creationId xmlns:a16="http://schemas.microsoft.com/office/drawing/2014/main" id="{97E6F325-B497-A962-1186-79FDF8D86B73}"/>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6" name="Graphic 1393">
                <a:extLst>
                  <a:ext uri="{FF2B5EF4-FFF2-40B4-BE49-F238E27FC236}">
                    <a16:creationId xmlns:a16="http://schemas.microsoft.com/office/drawing/2014/main" id="{EA00890C-FABD-1E24-4D9F-EC8B92AF79EB}"/>
                  </a:ext>
                </a:extLst>
              </p:cNvPr>
              <p:cNvGrpSpPr/>
              <p:nvPr/>
            </p:nvGrpSpPr>
            <p:grpSpPr>
              <a:xfrm>
                <a:off x="5101113" y="3149536"/>
                <a:ext cx="75628" cy="75723"/>
                <a:chOff x="5101113" y="3149536"/>
                <a:chExt cx="75628" cy="75723"/>
              </a:xfrm>
            </p:grpSpPr>
            <p:sp>
              <p:nvSpPr>
                <p:cNvPr id="15713" name="Freeform: Shape 15712">
                  <a:extLst>
                    <a:ext uri="{FF2B5EF4-FFF2-40B4-BE49-F238E27FC236}">
                      <a16:creationId xmlns:a16="http://schemas.microsoft.com/office/drawing/2014/main" id="{56B4C437-89A0-D9C1-F608-1AB412414F0D}"/>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4" name="Freeform: Shape 15713">
                  <a:extLst>
                    <a:ext uri="{FF2B5EF4-FFF2-40B4-BE49-F238E27FC236}">
                      <a16:creationId xmlns:a16="http://schemas.microsoft.com/office/drawing/2014/main" id="{605F0D5B-A4FB-E936-CE2C-F53E1F39DCA7}"/>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7" name="Graphic 1393">
                <a:extLst>
                  <a:ext uri="{FF2B5EF4-FFF2-40B4-BE49-F238E27FC236}">
                    <a16:creationId xmlns:a16="http://schemas.microsoft.com/office/drawing/2014/main" id="{15AD076B-BFBB-D88B-D670-B72D50035F88}"/>
                  </a:ext>
                </a:extLst>
              </p:cNvPr>
              <p:cNvGrpSpPr/>
              <p:nvPr/>
            </p:nvGrpSpPr>
            <p:grpSpPr>
              <a:xfrm>
                <a:off x="5127402" y="3149536"/>
                <a:ext cx="75723" cy="75723"/>
                <a:chOff x="5127402" y="3149536"/>
                <a:chExt cx="75723" cy="75723"/>
              </a:xfrm>
            </p:grpSpPr>
            <p:sp>
              <p:nvSpPr>
                <p:cNvPr id="15711" name="Freeform: Shape 15710">
                  <a:extLst>
                    <a:ext uri="{FF2B5EF4-FFF2-40B4-BE49-F238E27FC236}">
                      <a16:creationId xmlns:a16="http://schemas.microsoft.com/office/drawing/2014/main" id="{B6C8ECEF-B081-B44C-EB24-777084ABA5EC}"/>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2" name="Freeform: Shape 15711">
                  <a:extLst>
                    <a:ext uri="{FF2B5EF4-FFF2-40B4-BE49-F238E27FC236}">
                      <a16:creationId xmlns:a16="http://schemas.microsoft.com/office/drawing/2014/main" id="{AFFF92E2-5B6A-ACFA-FAE2-FE179C5C7C35}"/>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8" name="Graphic 1393">
                <a:extLst>
                  <a:ext uri="{FF2B5EF4-FFF2-40B4-BE49-F238E27FC236}">
                    <a16:creationId xmlns:a16="http://schemas.microsoft.com/office/drawing/2014/main" id="{F42B8526-1497-AF57-34B1-66CF95D1B8D0}"/>
                  </a:ext>
                </a:extLst>
              </p:cNvPr>
              <p:cNvGrpSpPr/>
              <p:nvPr/>
            </p:nvGrpSpPr>
            <p:grpSpPr>
              <a:xfrm>
                <a:off x="5144833" y="3157061"/>
                <a:ext cx="75723" cy="75723"/>
                <a:chOff x="5144833" y="3157061"/>
                <a:chExt cx="75723" cy="75723"/>
              </a:xfrm>
            </p:grpSpPr>
            <p:sp>
              <p:nvSpPr>
                <p:cNvPr id="15709" name="Freeform: Shape 15708">
                  <a:extLst>
                    <a:ext uri="{FF2B5EF4-FFF2-40B4-BE49-F238E27FC236}">
                      <a16:creationId xmlns:a16="http://schemas.microsoft.com/office/drawing/2014/main" id="{FB0853C9-8C10-6BA6-465A-EC44331C0BBA}"/>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0" name="Freeform: Shape 15709">
                  <a:extLst>
                    <a:ext uri="{FF2B5EF4-FFF2-40B4-BE49-F238E27FC236}">
                      <a16:creationId xmlns:a16="http://schemas.microsoft.com/office/drawing/2014/main" id="{B6A43362-E512-DB71-0180-B5C94D2FE8A3}"/>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9" name="Graphic 1393">
                <a:extLst>
                  <a:ext uri="{FF2B5EF4-FFF2-40B4-BE49-F238E27FC236}">
                    <a16:creationId xmlns:a16="http://schemas.microsoft.com/office/drawing/2014/main" id="{9C0EDF37-74C6-CB3E-5346-B310FC1AF06A}"/>
                  </a:ext>
                </a:extLst>
              </p:cNvPr>
              <p:cNvGrpSpPr/>
              <p:nvPr/>
            </p:nvGrpSpPr>
            <p:grpSpPr>
              <a:xfrm>
                <a:off x="5158263" y="3164776"/>
                <a:ext cx="75628" cy="75723"/>
                <a:chOff x="5158263" y="3164776"/>
                <a:chExt cx="75628" cy="75723"/>
              </a:xfrm>
            </p:grpSpPr>
            <p:sp>
              <p:nvSpPr>
                <p:cNvPr id="15707" name="Freeform: Shape 15706">
                  <a:extLst>
                    <a:ext uri="{FF2B5EF4-FFF2-40B4-BE49-F238E27FC236}">
                      <a16:creationId xmlns:a16="http://schemas.microsoft.com/office/drawing/2014/main" id="{CF1E2CF0-C131-4BFA-B324-9416422815E1}"/>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8" name="Freeform: Shape 15707">
                  <a:extLst>
                    <a:ext uri="{FF2B5EF4-FFF2-40B4-BE49-F238E27FC236}">
                      <a16:creationId xmlns:a16="http://schemas.microsoft.com/office/drawing/2014/main" id="{5AA4C89F-031F-11D2-B7B0-138DCF755AB0}"/>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0" name="Graphic 1393">
                <a:extLst>
                  <a:ext uri="{FF2B5EF4-FFF2-40B4-BE49-F238E27FC236}">
                    <a16:creationId xmlns:a16="http://schemas.microsoft.com/office/drawing/2014/main" id="{5417E8D1-6F57-2A4F-452D-8F2F0C63537E}"/>
                  </a:ext>
                </a:extLst>
              </p:cNvPr>
              <p:cNvGrpSpPr/>
              <p:nvPr/>
            </p:nvGrpSpPr>
            <p:grpSpPr>
              <a:xfrm>
                <a:off x="5163216" y="3173158"/>
                <a:ext cx="75723" cy="75723"/>
                <a:chOff x="5163216" y="3173158"/>
                <a:chExt cx="75723" cy="75723"/>
              </a:xfrm>
            </p:grpSpPr>
            <p:sp>
              <p:nvSpPr>
                <p:cNvPr id="15705" name="Freeform: Shape 15704">
                  <a:extLst>
                    <a:ext uri="{FF2B5EF4-FFF2-40B4-BE49-F238E27FC236}">
                      <a16:creationId xmlns:a16="http://schemas.microsoft.com/office/drawing/2014/main" id="{D544C971-F479-BD35-1FFA-B264A93D54B8}"/>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6" name="Freeform: Shape 15705">
                  <a:extLst>
                    <a:ext uri="{FF2B5EF4-FFF2-40B4-BE49-F238E27FC236}">
                      <a16:creationId xmlns:a16="http://schemas.microsoft.com/office/drawing/2014/main" id="{42FFF554-E283-87B9-01BF-42335854C4B1}"/>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1" name="Graphic 1393">
                <a:extLst>
                  <a:ext uri="{FF2B5EF4-FFF2-40B4-BE49-F238E27FC236}">
                    <a16:creationId xmlns:a16="http://schemas.microsoft.com/office/drawing/2014/main" id="{15B5B178-EE27-9C8B-88B8-BD23E4908422}"/>
                  </a:ext>
                </a:extLst>
              </p:cNvPr>
              <p:cNvGrpSpPr/>
              <p:nvPr/>
            </p:nvGrpSpPr>
            <p:grpSpPr>
              <a:xfrm>
                <a:off x="5169312" y="3185636"/>
                <a:ext cx="75723" cy="75723"/>
                <a:chOff x="5169312" y="3185636"/>
                <a:chExt cx="75723" cy="75723"/>
              </a:xfrm>
            </p:grpSpPr>
            <p:sp>
              <p:nvSpPr>
                <p:cNvPr id="15703" name="Freeform: Shape 15702">
                  <a:extLst>
                    <a:ext uri="{FF2B5EF4-FFF2-40B4-BE49-F238E27FC236}">
                      <a16:creationId xmlns:a16="http://schemas.microsoft.com/office/drawing/2014/main" id="{914272A1-9779-F111-9553-42525EE7AC7C}"/>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4" name="Freeform: Shape 15703">
                  <a:extLst>
                    <a:ext uri="{FF2B5EF4-FFF2-40B4-BE49-F238E27FC236}">
                      <a16:creationId xmlns:a16="http://schemas.microsoft.com/office/drawing/2014/main" id="{908C44DB-6498-4124-1384-FA1419F8DC6E}"/>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2" name="Graphic 1393">
                <a:extLst>
                  <a:ext uri="{FF2B5EF4-FFF2-40B4-BE49-F238E27FC236}">
                    <a16:creationId xmlns:a16="http://schemas.microsoft.com/office/drawing/2014/main" id="{EC669215-751B-4792-274C-B8C9D124ECF4}"/>
                  </a:ext>
                </a:extLst>
              </p:cNvPr>
              <p:cNvGrpSpPr/>
              <p:nvPr/>
            </p:nvGrpSpPr>
            <p:grpSpPr>
              <a:xfrm>
                <a:off x="5176741" y="3223545"/>
                <a:ext cx="75723" cy="75628"/>
                <a:chOff x="5176741" y="3223545"/>
                <a:chExt cx="75723" cy="75628"/>
              </a:xfrm>
            </p:grpSpPr>
            <p:sp>
              <p:nvSpPr>
                <p:cNvPr id="15701" name="Freeform: Shape 15700">
                  <a:extLst>
                    <a:ext uri="{FF2B5EF4-FFF2-40B4-BE49-F238E27FC236}">
                      <a16:creationId xmlns:a16="http://schemas.microsoft.com/office/drawing/2014/main" id="{95869521-DE88-E363-E63F-553112D53868}"/>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2" name="Freeform: Shape 15701">
                  <a:extLst>
                    <a:ext uri="{FF2B5EF4-FFF2-40B4-BE49-F238E27FC236}">
                      <a16:creationId xmlns:a16="http://schemas.microsoft.com/office/drawing/2014/main" id="{216DC5CB-B2FB-8CF0-DBD0-57FA62AD73B5}"/>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3" name="Graphic 1393">
                <a:extLst>
                  <a:ext uri="{FF2B5EF4-FFF2-40B4-BE49-F238E27FC236}">
                    <a16:creationId xmlns:a16="http://schemas.microsoft.com/office/drawing/2014/main" id="{9A96395D-EE35-9C19-3871-3C20C6908E0D}"/>
                  </a:ext>
                </a:extLst>
              </p:cNvPr>
              <p:cNvGrpSpPr/>
              <p:nvPr/>
            </p:nvGrpSpPr>
            <p:grpSpPr>
              <a:xfrm>
                <a:off x="5182742" y="3234785"/>
                <a:ext cx="75628" cy="75628"/>
                <a:chOff x="5182742" y="3234785"/>
                <a:chExt cx="75628" cy="75628"/>
              </a:xfrm>
            </p:grpSpPr>
            <p:sp>
              <p:nvSpPr>
                <p:cNvPr id="15699" name="Freeform: Shape 15698">
                  <a:extLst>
                    <a:ext uri="{FF2B5EF4-FFF2-40B4-BE49-F238E27FC236}">
                      <a16:creationId xmlns:a16="http://schemas.microsoft.com/office/drawing/2014/main" id="{189DF441-EEA1-CDAA-5566-6A122D363EC4}"/>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0" name="Freeform: Shape 15699">
                  <a:extLst>
                    <a:ext uri="{FF2B5EF4-FFF2-40B4-BE49-F238E27FC236}">
                      <a16:creationId xmlns:a16="http://schemas.microsoft.com/office/drawing/2014/main" id="{957ED988-8714-01D6-067B-04A7E9CA5FDA}"/>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4" name="Graphic 1393">
                <a:extLst>
                  <a:ext uri="{FF2B5EF4-FFF2-40B4-BE49-F238E27FC236}">
                    <a16:creationId xmlns:a16="http://schemas.microsoft.com/office/drawing/2014/main" id="{660E0E85-204E-6527-BF3C-F4D69212DBDB}"/>
                  </a:ext>
                </a:extLst>
              </p:cNvPr>
              <p:cNvGrpSpPr/>
              <p:nvPr/>
            </p:nvGrpSpPr>
            <p:grpSpPr>
              <a:xfrm>
                <a:off x="5193220" y="3242595"/>
                <a:ext cx="75628" cy="75723"/>
                <a:chOff x="5193220" y="3242595"/>
                <a:chExt cx="75628" cy="75723"/>
              </a:xfrm>
            </p:grpSpPr>
            <p:sp>
              <p:nvSpPr>
                <p:cNvPr id="15696" name="Freeform: Shape 15695">
                  <a:extLst>
                    <a:ext uri="{FF2B5EF4-FFF2-40B4-BE49-F238E27FC236}">
                      <a16:creationId xmlns:a16="http://schemas.microsoft.com/office/drawing/2014/main" id="{DF640CB9-B1D0-A72F-2ED2-6F85314777F9}"/>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8" name="Freeform: Shape 15697">
                  <a:extLst>
                    <a:ext uri="{FF2B5EF4-FFF2-40B4-BE49-F238E27FC236}">
                      <a16:creationId xmlns:a16="http://schemas.microsoft.com/office/drawing/2014/main" id="{F89684B1-B866-C06C-6BC6-0BDDA7A3F44D}"/>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5" name="Graphic 1393">
                <a:extLst>
                  <a:ext uri="{FF2B5EF4-FFF2-40B4-BE49-F238E27FC236}">
                    <a16:creationId xmlns:a16="http://schemas.microsoft.com/office/drawing/2014/main" id="{C4AB4F49-912C-221F-D763-628B1EA7B296}"/>
                  </a:ext>
                </a:extLst>
              </p:cNvPr>
              <p:cNvGrpSpPr/>
              <p:nvPr/>
            </p:nvGrpSpPr>
            <p:grpSpPr>
              <a:xfrm>
                <a:off x="5203126" y="3252597"/>
                <a:ext cx="75628" cy="75723"/>
                <a:chOff x="5203126" y="3252597"/>
                <a:chExt cx="75628" cy="75723"/>
              </a:xfrm>
            </p:grpSpPr>
            <p:sp>
              <p:nvSpPr>
                <p:cNvPr id="15694" name="Freeform: Shape 15693">
                  <a:extLst>
                    <a:ext uri="{FF2B5EF4-FFF2-40B4-BE49-F238E27FC236}">
                      <a16:creationId xmlns:a16="http://schemas.microsoft.com/office/drawing/2014/main" id="{36BFF479-8608-7C8B-96A0-DF860F081F2B}"/>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5" name="Freeform: Shape 15694">
                  <a:extLst>
                    <a:ext uri="{FF2B5EF4-FFF2-40B4-BE49-F238E27FC236}">
                      <a16:creationId xmlns:a16="http://schemas.microsoft.com/office/drawing/2014/main" id="{FAE450F2-315B-E7DF-1900-44A8E7A81440}"/>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6" name="Graphic 1393">
                <a:extLst>
                  <a:ext uri="{FF2B5EF4-FFF2-40B4-BE49-F238E27FC236}">
                    <a16:creationId xmlns:a16="http://schemas.microsoft.com/office/drawing/2014/main" id="{C4840563-4FC5-A24E-7D86-50B258378141}"/>
                  </a:ext>
                </a:extLst>
              </p:cNvPr>
              <p:cNvGrpSpPr/>
              <p:nvPr/>
            </p:nvGrpSpPr>
            <p:grpSpPr>
              <a:xfrm>
                <a:off x="5209317" y="3256883"/>
                <a:ext cx="75723" cy="75723"/>
                <a:chOff x="5209317" y="3256883"/>
                <a:chExt cx="75723" cy="75723"/>
              </a:xfrm>
            </p:grpSpPr>
            <p:sp>
              <p:nvSpPr>
                <p:cNvPr id="15692" name="Freeform: Shape 15691">
                  <a:extLst>
                    <a:ext uri="{FF2B5EF4-FFF2-40B4-BE49-F238E27FC236}">
                      <a16:creationId xmlns:a16="http://schemas.microsoft.com/office/drawing/2014/main" id="{D2BD4157-EE71-E20C-C4C4-06B137BC3C17}"/>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3" name="Freeform: Shape 15692">
                  <a:extLst>
                    <a:ext uri="{FF2B5EF4-FFF2-40B4-BE49-F238E27FC236}">
                      <a16:creationId xmlns:a16="http://schemas.microsoft.com/office/drawing/2014/main" id="{99742C4A-D291-460A-D542-249B059457E5}"/>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7" name="Graphic 1393">
                <a:extLst>
                  <a:ext uri="{FF2B5EF4-FFF2-40B4-BE49-F238E27FC236}">
                    <a16:creationId xmlns:a16="http://schemas.microsoft.com/office/drawing/2014/main" id="{A4C9D30E-E088-35E7-587E-398F90CDC9D6}"/>
                  </a:ext>
                </a:extLst>
              </p:cNvPr>
              <p:cNvGrpSpPr/>
              <p:nvPr/>
            </p:nvGrpSpPr>
            <p:grpSpPr>
              <a:xfrm>
                <a:off x="5565552" y="3315557"/>
                <a:ext cx="75723" cy="75723"/>
                <a:chOff x="5565552" y="3315557"/>
                <a:chExt cx="75723" cy="75723"/>
              </a:xfrm>
            </p:grpSpPr>
            <p:sp>
              <p:nvSpPr>
                <p:cNvPr id="15690" name="Freeform: Shape 15689">
                  <a:extLst>
                    <a:ext uri="{FF2B5EF4-FFF2-40B4-BE49-F238E27FC236}">
                      <a16:creationId xmlns:a16="http://schemas.microsoft.com/office/drawing/2014/main" id="{C5549A4B-994C-16B1-178D-C8DAFD8AD034}"/>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1" name="Freeform: Shape 15690">
                  <a:extLst>
                    <a:ext uri="{FF2B5EF4-FFF2-40B4-BE49-F238E27FC236}">
                      <a16:creationId xmlns:a16="http://schemas.microsoft.com/office/drawing/2014/main" id="{683AF01C-2AFB-C422-6B5D-81CF88BE94D0}"/>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8" name="Graphic 1393">
                <a:extLst>
                  <a:ext uri="{FF2B5EF4-FFF2-40B4-BE49-F238E27FC236}">
                    <a16:creationId xmlns:a16="http://schemas.microsoft.com/office/drawing/2014/main" id="{2C332EB0-09DA-FD1F-D8C1-CD31CCDCB01B}"/>
                  </a:ext>
                </a:extLst>
              </p:cNvPr>
              <p:cNvGrpSpPr/>
              <p:nvPr/>
            </p:nvGrpSpPr>
            <p:grpSpPr>
              <a:xfrm>
                <a:off x="5579268" y="3321653"/>
                <a:ext cx="75723" cy="75723"/>
                <a:chOff x="5579268" y="3321653"/>
                <a:chExt cx="75723" cy="75723"/>
              </a:xfrm>
            </p:grpSpPr>
            <p:sp>
              <p:nvSpPr>
                <p:cNvPr id="15688" name="Freeform: Shape 15687">
                  <a:extLst>
                    <a:ext uri="{FF2B5EF4-FFF2-40B4-BE49-F238E27FC236}">
                      <a16:creationId xmlns:a16="http://schemas.microsoft.com/office/drawing/2014/main" id="{8AB71F25-BB44-C69D-D261-650DD1C67291}"/>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9" name="Freeform: Shape 15688">
                  <a:extLst>
                    <a:ext uri="{FF2B5EF4-FFF2-40B4-BE49-F238E27FC236}">
                      <a16:creationId xmlns:a16="http://schemas.microsoft.com/office/drawing/2014/main" id="{8B3C8E79-2FAA-D626-A1D1-FFC7B3BE93E5}"/>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9" name="Graphic 1393">
                <a:extLst>
                  <a:ext uri="{FF2B5EF4-FFF2-40B4-BE49-F238E27FC236}">
                    <a16:creationId xmlns:a16="http://schemas.microsoft.com/office/drawing/2014/main" id="{6EB1A035-C902-5A03-E315-2026284502BC}"/>
                  </a:ext>
                </a:extLst>
              </p:cNvPr>
              <p:cNvGrpSpPr/>
              <p:nvPr/>
            </p:nvGrpSpPr>
            <p:grpSpPr>
              <a:xfrm>
                <a:off x="5583554" y="3338703"/>
                <a:ext cx="75628" cy="75628"/>
                <a:chOff x="5583554" y="3338703"/>
                <a:chExt cx="75628" cy="75628"/>
              </a:xfrm>
            </p:grpSpPr>
            <p:sp>
              <p:nvSpPr>
                <p:cNvPr id="15686" name="Freeform: Shape 15685">
                  <a:extLst>
                    <a:ext uri="{FF2B5EF4-FFF2-40B4-BE49-F238E27FC236}">
                      <a16:creationId xmlns:a16="http://schemas.microsoft.com/office/drawing/2014/main" id="{B55F26A4-AA81-045B-97C1-8F4B18DCD0A6}"/>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7" name="Freeform: Shape 15686">
                  <a:extLst>
                    <a:ext uri="{FF2B5EF4-FFF2-40B4-BE49-F238E27FC236}">
                      <a16:creationId xmlns:a16="http://schemas.microsoft.com/office/drawing/2014/main" id="{BF02A80A-7D55-99A2-7F9A-F74410ED122C}"/>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0" name="Graphic 1393">
                <a:extLst>
                  <a:ext uri="{FF2B5EF4-FFF2-40B4-BE49-F238E27FC236}">
                    <a16:creationId xmlns:a16="http://schemas.microsoft.com/office/drawing/2014/main" id="{E784350C-DB5C-6BC8-28F3-A13764513E93}"/>
                  </a:ext>
                </a:extLst>
              </p:cNvPr>
              <p:cNvGrpSpPr/>
              <p:nvPr/>
            </p:nvGrpSpPr>
            <p:grpSpPr>
              <a:xfrm>
                <a:off x="5593270" y="3338703"/>
                <a:ext cx="75628" cy="75628"/>
                <a:chOff x="5593270" y="3338703"/>
                <a:chExt cx="75628" cy="75628"/>
              </a:xfrm>
            </p:grpSpPr>
            <p:sp>
              <p:nvSpPr>
                <p:cNvPr id="15684" name="Freeform: Shape 15683">
                  <a:extLst>
                    <a:ext uri="{FF2B5EF4-FFF2-40B4-BE49-F238E27FC236}">
                      <a16:creationId xmlns:a16="http://schemas.microsoft.com/office/drawing/2014/main" id="{C187DCD3-8A7E-4934-D9F9-8E361D16442C}"/>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5" name="Freeform: Shape 15684">
                  <a:extLst>
                    <a:ext uri="{FF2B5EF4-FFF2-40B4-BE49-F238E27FC236}">
                      <a16:creationId xmlns:a16="http://schemas.microsoft.com/office/drawing/2014/main" id="{13495EFB-ADD3-3259-C6D9-93A54768B3F9}"/>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1" name="Graphic 1393">
                <a:extLst>
                  <a:ext uri="{FF2B5EF4-FFF2-40B4-BE49-F238E27FC236}">
                    <a16:creationId xmlns:a16="http://schemas.microsoft.com/office/drawing/2014/main" id="{2DB03E88-7B8B-18D5-26C6-4E1A60D05022}"/>
                  </a:ext>
                </a:extLst>
              </p:cNvPr>
              <p:cNvGrpSpPr/>
              <p:nvPr/>
            </p:nvGrpSpPr>
            <p:grpSpPr>
              <a:xfrm>
                <a:off x="5603461" y="3338703"/>
                <a:ext cx="75628" cy="75628"/>
                <a:chOff x="5603461" y="3338703"/>
                <a:chExt cx="75628" cy="75628"/>
              </a:xfrm>
            </p:grpSpPr>
            <p:sp>
              <p:nvSpPr>
                <p:cNvPr id="15682" name="Freeform: Shape 15681">
                  <a:extLst>
                    <a:ext uri="{FF2B5EF4-FFF2-40B4-BE49-F238E27FC236}">
                      <a16:creationId xmlns:a16="http://schemas.microsoft.com/office/drawing/2014/main" id="{9877E104-1181-C003-6E74-736E96FF9C3F}"/>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3" name="Freeform: Shape 15682">
                  <a:extLst>
                    <a:ext uri="{FF2B5EF4-FFF2-40B4-BE49-F238E27FC236}">
                      <a16:creationId xmlns:a16="http://schemas.microsoft.com/office/drawing/2014/main" id="{4E57E42C-F69F-577D-107F-A1D58158DD5A}"/>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2" name="Graphic 1393">
                <a:extLst>
                  <a:ext uri="{FF2B5EF4-FFF2-40B4-BE49-F238E27FC236}">
                    <a16:creationId xmlns:a16="http://schemas.microsoft.com/office/drawing/2014/main" id="{F22ED11F-A1A0-5D96-4286-9DF0FC063298}"/>
                  </a:ext>
                </a:extLst>
              </p:cNvPr>
              <p:cNvGrpSpPr/>
              <p:nvPr/>
            </p:nvGrpSpPr>
            <p:grpSpPr>
              <a:xfrm>
                <a:off x="5600985" y="3383946"/>
                <a:ext cx="75723" cy="75628"/>
                <a:chOff x="5600985" y="3383946"/>
                <a:chExt cx="75723" cy="75628"/>
              </a:xfrm>
            </p:grpSpPr>
            <p:sp>
              <p:nvSpPr>
                <p:cNvPr id="15680" name="Freeform: Shape 15679">
                  <a:extLst>
                    <a:ext uri="{FF2B5EF4-FFF2-40B4-BE49-F238E27FC236}">
                      <a16:creationId xmlns:a16="http://schemas.microsoft.com/office/drawing/2014/main" id="{DC5F3EE9-A2C0-C1C9-9E01-662572145CEE}"/>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1" name="Freeform: Shape 15680">
                  <a:extLst>
                    <a:ext uri="{FF2B5EF4-FFF2-40B4-BE49-F238E27FC236}">
                      <a16:creationId xmlns:a16="http://schemas.microsoft.com/office/drawing/2014/main" id="{3BBB107C-FC81-CB89-5778-203A4AB9EAAA}"/>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8" name="Graphic 1393">
                <a:extLst>
                  <a:ext uri="{FF2B5EF4-FFF2-40B4-BE49-F238E27FC236}">
                    <a16:creationId xmlns:a16="http://schemas.microsoft.com/office/drawing/2014/main" id="{123BE17D-7C2C-C205-EAD2-67C2C3548D1E}"/>
                  </a:ext>
                </a:extLst>
              </p:cNvPr>
              <p:cNvGrpSpPr/>
              <p:nvPr/>
            </p:nvGrpSpPr>
            <p:grpSpPr>
              <a:xfrm>
                <a:off x="5611367" y="3391281"/>
                <a:ext cx="75628" cy="75628"/>
                <a:chOff x="5611367" y="3391281"/>
                <a:chExt cx="75628" cy="75628"/>
              </a:xfrm>
            </p:grpSpPr>
            <p:sp>
              <p:nvSpPr>
                <p:cNvPr id="15358" name="Freeform: Shape 15357">
                  <a:extLst>
                    <a:ext uri="{FF2B5EF4-FFF2-40B4-BE49-F238E27FC236}">
                      <a16:creationId xmlns:a16="http://schemas.microsoft.com/office/drawing/2014/main" id="{532CFAB0-F172-A00D-E1FE-308757C328F6}"/>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9" name="Freeform: Shape 15358">
                  <a:extLst>
                    <a:ext uri="{FF2B5EF4-FFF2-40B4-BE49-F238E27FC236}">
                      <a16:creationId xmlns:a16="http://schemas.microsoft.com/office/drawing/2014/main" id="{D7174301-3028-5221-AB00-3C01DDC60032}"/>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9" name="Graphic 1393">
                <a:extLst>
                  <a:ext uri="{FF2B5EF4-FFF2-40B4-BE49-F238E27FC236}">
                    <a16:creationId xmlns:a16="http://schemas.microsoft.com/office/drawing/2014/main" id="{1A123745-1CD6-2C11-7953-588789E1C72D}"/>
                  </a:ext>
                </a:extLst>
              </p:cNvPr>
              <p:cNvGrpSpPr/>
              <p:nvPr/>
            </p:nvGrpSpPr>
            <p:grpSpPr>
              <a:xfrm>
                <a:off x="5621368" y="3398805"/>
                <a:ext cx="75723" cy="75723"/>
                <a:chOff x="5621368" y="3398805"/>
                <a:chExt cx="75723" cy="75723"/>
              </a:xfrm>
            </p:grpSpPr>
            <p:sp>
              <p:nvSpPr>
                <p:cNvPr id="15356" name="Freeform: Shape 15355">
                  <a:extLst>
                    <a:ext uri="{FF2B5EF4-FFF2-40B4-BE49-F238E27FC236}">
                      <a16:creationId xmlns:a16="http://schemas.microsoft.com/office/drawing/2014/main" id="{013AA8E4-BB82-24F2-BD05-11ED9FAF6D03}"/>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7" name="Freeform: Shape 15356">
                  <a:extLst>
                    <a:ext uri="{FF2B5EF4-FFF2-40B4-BE49-F238E27FC236}">
                      <a16:creationId xmlns:a16="http://schemas.microsoft.com/office/drawing/2014/main" id="{5207B4A6-D2DE-ED42-084B-23F724687CA0}"/>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0" name="Graphic 1393">
                <a:extLst>
                  <a:ext uri="{FF2B5EF4-FFF2-40B4-BE49-F238E27FC236}">
                    <a16:creationId xmlns:a16="http://schemas.microsoft.com/office/drawing/2014/main" id="{CF91B4A9-79D6-B830-7C6D-91272A71982E}"/>
                  </a:ext>
                </a:extLst>
              </p:cNvPr>
              <p:cNvGrpSpPr/>
              <p:nvPr/>
            </p:nvGrpSpPr>
            <p:grpSpPr>
              <a:xfrm>
                <a:off x="5633179" y="3404235"/>
                <a:ext cx="75723" cy="75723"/>
                <a:chOff x="5633179" y="3404235"/>
                <a:chExt cx="75723" cy="75723"/>
              </a:xfrm>
            </p:grpSpPr>
            <p:sp>
              <p:nvSpPr>
                <p:cNvPr id="15354" name="Freeform: Shape 15353">
                  <a:extLst>
                    <a:ext uri="{FF2B5EF4-FFF2-40B4-BE49-F238E27FC236}">
                      <a16:creationId xmlns:a16="http://schemas.microsoft.com/office/drawing/2014/main" id="{18A82890-4D56-BD01-3611-7478B20C56E5}"/>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5" name="Freeform: Shape 15354">
                  <a:extLst>
                    <a:ext uri="{FF2B5EF4-FFF2-40B4-BE49-F238E27FC236}">
                      <a16:creationId xmlns:a16="http://schemas.microsoft.com/office/drawing/2014/main" id="{D4E2F1EB-FBF7-E92F-67F3-08902BD73E39}"/>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1" name="Graphic 1393">
                <a:extLst>
                  <a:ext uri="{FF2B5EF4-FFF2-40B4-BE49-F238E27FC236}">
                    <a16:creationId xmlns:a16="http://schemas.microsoft.com/office/drawing/2014/main" id="{04D26CD4-BA62-60B3-C6A6-74F466597860}"/>
                  </a:ext>
                </a:extLst>
              </p:cNvPr>
              <p:cNvGrpSpPr/>
              <p:nvPr/>
            </p:nvGrpSpPr>
            <p:grpSpPr>
              <a:xfrm>
                <a:off x="5642990" y="3418046"/>
                <a:ext cx="75628" cy="75723"/>
                <a:chOff x="5642990" y="3418046"/>
                <a:chExt cx="75628" cy="75723"/>
              </a:xfrm>
            </p:grpSpPr>
            <p:sp>
              <p:nvSpPr>
                <p:cNvPr id="15352" name="Freeform: Shape 15351">
                  <a:extLst>
                    <a:ext uri="{FF2B5EF4-FFF2-40B4-BE49-F238E27FC236}">
                      <a16:creationId xmlns:a16="http://schemas.microsoft.com/office/drawing/2014/main" id="{4FD5611C-6E6E-D409-E77D-D44A0AB3FE54}"/>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3" name="Freeform: Shape 15352">
                  <a:extLst>
                    <a:ext uri="{FF2B5EF4-FFF2-40B4-BE49-F238E27FC236}">
                      <a16:creationId xmlns:a16="http://schemas.microsoft.com/office/drawing/2014/main" id="{2EECB778-4561-E15B-0324-337D62604519}"/>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2" name="Graphic 1393">
                <a:extLst>
                  <a:ext uri="{FF2B5EF4-FFF2-40B4-BE49-F238E27FC236}">
                    <a16:creationId xmlns:a16="http://schemas.microsoft.com/office/drawing/2014/main" id="{56DB6F7D-143E-C552-CCA6-7996B50D9C52}"/>
                  </a:ext>
                </a:extLst>
              </p:cNvPr>
              <p:cNvGrpSpPr/>
              <p:nvPr/>
            </p:nvGrpSpPr>
            <p:grpSpPr>
              <a:xfrm>
                <a:off x="6005131" y="3484721"/>
                <a:ext cx="75723" cy="75723"/>
                <a:chOff x="6005131" y="3484721"/>
                <a:chExt cx="75723" cy="75723"/>
              </a:xfrm>
            </p:grpSpPr>
            <p:sp>
              <p:nvSpPr>
                <p:cNvPr id="15350" name="Freeform: Shape 15349">
                  <a:extLst>
                    <a:ext uri="{FF2B5EF4-FFF2-40B4-BE49-F238E27FC236}">
                      <a16:creationId xmlns:a16="http://schemas.microsoft.com/office/drawing/2014/main" id="{B12BDCAB-D707-53BC-832B-D55FC407D816}"/>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1" name="Freeform: Shape 15350">
                  <a:extLst>
                    <a:ext uri="{FF2B5EF4-FFF2-40B4-BE49-F238E27FC236}">
                      <a16:creationId xmlns:a16="http://schemas.microsoft.com/office/drawing/2014/main" id="{672094C2-E291-F994-6948-AE6601DAB35D}"/>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3" name="Graphic 1393">
                <a:extLst>
                  <a:ext uri="{FF2B5EF4-FFF2-40B4-BE49-F238E27FC236}">
                    <a16:creationId xmlns:a16="http://schemas.microsoft.com/office/drawing/2014/main" id="{BC1F6136-54EF-76BB-8A68-015EBB17EECE}"/>
                  </a:ext>
                </a:extLst>
              </p:cNvPr>
              <p:cNvGrpSpPr/>
              <p:nvPr/>
            </p:nvGrpSpPr>
            <p:grpSpPr>
              <a:xfrm>
                <a:off x="6021609" y="3484721"/>
                <a:ext cx="75628" cy="75723"/>
                <a:chOff x="6021609" y="3484721"/>
                <a:chExt cx="75628" cy="75723"/>
              </a:xfrm>
            </p:grpSpPr>
            <p:sp>
              <p:nvSpPr>
                <p:cNvPr id="15348" name="Freeform: Shape 15347">
                  <a:extLst>
                    <a:ext uri="{FF2B5EF4-FFF2-40B4-BE49-F238E27FC236}">
                      <a16:creationId xmlns:a16="http://schemas.microsoft.com/office/drawing/2014/main" id="{63B991F2-E1D0-4C1F-B950-E0718FAAF540}"/>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9" name="Freeform: Shape 15348">
                  <a:extLst>
                    <a:ext uri="{FF2B5EF4-FFF2-40B4-BE49-F238E27FC236}">
                      <a16:creationId xmlns:a16="http://schemas.microsoft.com/office/drawing/2014/main" id="{C4CBBB72-C8F5-6DD5-DD30-8B64C837846E}"/>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4" name="Graphic 1393">
                <a:extLst>
                  <a:ext uri="{FF2B5EF4-FFF2-40B4-BE49-F238E27FC236}">
                    <a16:creationId xmlns:a16="http://schemas.microsoft.com/office/drawing/2014/main" id="{769853B1-EE2E-0C3D-3026-E08A4AEAFE0F}"/>
                  </a:ext>
                </a:extLst>
              </p:cNvPr>
              <p:cNvGrpSpPr/>
              <p:nvPr/>
            </p:nvGrpSpPr>
            <p:grpSpPr>
              <a:xfrm>
                <a:off x="6029229" y="3535299"/>
                <a:ext cx="75723" cy="75723"/>
                <a:chOff x="6029229" y="3535299"/>
                <a:chExt cx="75723" cy="75723"/>
              </a:xfrm>
            </p:grpSpPr>
            <p:sp>
              <p:nvSpPr>
                <p:cNvPr id="15346" name="Freeform: Shape 15345">
                  <a:extLst>
                    <a:ext uri="{FF2B5EF4-FFF2-40B4-BE49-F238E27FC236}">
                      <a16:creationId xmlns:a16="http://schemas.microsoft.com/office/drawing/2014/main" id="{A35291DE-AAEE-018B-D82F-B28AE26BD6A2}"/>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7" name="Freeform: Shape 15346">
                  <a:extLst>
                    <a:ext uri="{FF2B5EF4-FFF2-40B4-BE49-F238E27FC236}">
                      <a16:creationId xmlns:a16="http://schemas.microsoft.com/office/drawing/2014/main" id="{BEC4D9A0-B31C-F0EE-B523-9A6521D05D4A}"/>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5" name="Graphic 1393">
                <a:extLst>
                  <a:ext uri="{FF2B5EF4-FFF2-40B4-BE49-F238E27FC236}">
                    <a16:creationId xmlns:a16="http://schemas.microsoft.com/office/drawing/2014/main" id="{9727800B-665B-6400-9923-F1513BE8A459}"/>
                  </a:ext>
                </a:extLst>
              </p:cNvPr>
              <p:cNvGrpSpPr/>
              <p:nvPr/>
            </p:nvGrpSpPr>
            <p:grpSpPr>
              <a:xfrm>
                <a:off x="6034658" y="3551015"/>
                <a:ext cx="75723" cy="75723"/>
                <a:chOff x="6034658" y="3551015"/>
                <a:chExt cx="75723" cy="75723"/>
              </a:xfrm>
            </p:grpSpPr>
            <p:sp>
              <p:nvSpPr>
                <p:cNvPr id="15344" name="Freeform: Shape 15343">
                  <a:extLst>
                    <a:ext uri="{FF2B5EF4-FFF2-40B4-BE49-F238E27FC236}">
                      <a16:creationId xmlns:a16="http://schemas.microsoft.com/office/drawing/2014/main" id="{4445D6E6-9829-DEB4-8240-2EB1B40ACE97}"/>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5" name="Freeform: Shape 15344">
                  <a:extLst>
                    <a:ext uri="{FF2B5EF4-FFF2-40B4-BE49-F238E27FC236}">
                      <a16:creationId xmlns:a16="http://schemas.microsoft.com/office/drawing/2014/main" id="{81C8ED38-3D4F-7363-8CA2-82ECA332D886}"/>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6" name="Graphic 1393">
                <a:extLst>
                  <a:ext uri="{FF2B5EF4-FFF2-40B4-BE49-F238E27FC236}">
                    <a16:creationId xmlns:a16="http://schemas.microsoft.com/office/drawing/2014/main" id="{76CD72E9-4C77-D6A8-42E0-B9258502528F}"/>
                  </a:ext>
                </a:extLst>
              </p:cNvPr>
              <p:cNvGrpSpPr/>
              <p:nvPr/>
            </p:nvGrpSpPr>
            <p:grpSpPr>
              <a:xfrm>
                <a:off x="6041040" y="3551015"/>
                <a:ext cx="75723" cy="75723"/>
                <a:chOff x="6041040" y="3551015"/>
                <a:chExt cx="75723" cy="75723"/>
              </a:xfrm>
            </p:grpSpPr>
            <p:sp>
              <p:nvSpPr>
                <p:cNvPr id="15342" name="Freeform: Shape 15341">
                  <a:extLst>
                    <a:ext uri="{FF2B5EF4-FFF2-40B4-BE49-F238E27FC236}">
                      <a16:creationId xmlns:a16="http://schemas.microsoft.com/office/drawing/2014/main" id="{8DC68C71-83A8-C996-A58C-2C8DF806FE73}"/>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3" name="Freeform: Shape 15342">
                  <a:extLst>
                    <a:ext uri="{FF2B5EF4-FFF2-40B4-BE49-F238E27FC236}">
                      <a16:creationId xmlns:a16="http://schemas.microsoft.com/office/drawing/2014/main" id="{B3DF7B9E-68CD-4CD6-C30A-954A8439DB79}"/>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7" name="Graphic 1393">
                <a:extLst>
                  <a:ext uri="{FF2B5EF4-FFF2-40B4-BE49-F238E27FC236}">
                    <a16:creationId xmlns:a16="http://schemas.microsoft.com/office/drawing/2014/main" id="{B3A25204-80B0-A8D3-E425-34300F6ECA7F}"/>
                  </a:ext>
                </a:extLst>
              </p:cNvPr>
              <p:cNvGrpSpPr/>
              <p:nvPr/>
            </p:nvGrpSpPr>
            <p:grpSpPr>
              <a:xfrm>
                <a:off x="6060757" y="3598449"/>
                <a:ext cx="75628" cy="75628"/>
                <a:chOff x="6060757" y="3598449"/>
                <a:chExt cx="75628" cy="75628"/>
              </a:xfrm>
            </p:grpSpPr>
            <p:sp>
              <p:nvSpPr>
                <p:cNvPr id="15340" name="Freeform: Shape 15339">
                  <a:extLst>
                    <a:ext uri="{FF2B5EF4-FFF2-40B4-BE49-F238E27FC236}">
                      <a16:creationId xmlns:a16="http://schemas.microsoft.com/office/drawing/2014/main" id="{173C08A3-CBBA-520E-F101-DEB90FFA1BCD}"/>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1" name="Freeform: Shape 15340">
                  <a:extLst>
                    <a:ext uri="{FF2B5EF4-FFF2-40B4-BE49-F238E27FC236}">
                      <a16:creationId xmlns:a16="http://schemas.microsoft.com/office/drawing/2014/main" id="{0CEC3902-F0A1-4807-165D-B982CAD85E7C}"/>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3" name="Graphic 1393">
                <a:extLst>
                  <a:ext uri="{FF2B5EF4-FFF2-40B4-BE49-F238E27FC236}">
                    <a16:creationId xmlns:a16="http://schemas.microsoft.com/office/drawing/2014/main" id="{02BA2B29-4AF1-0F44-7995-E6B12A7006A6}"/>
                  </a:ext>
                </a:extLst>
              </p:cNvPr>
              <p:cNvGrpSpPr/>
              <p:nvPr/>
            </p:nvGrpSpPr>
            <p:grpSpPr>
              <a:xfrm>
                <a:off x="6415087" y="3598449"/>
                <a:ext cx="75723" cy="75628"/>
                <a:chOff x="6415087" y="3598449"/>
                <a:chExt cx="75723" cy="75628"/>
              </a:xfrm>
            </p:grpSpPr>
            <p:sp>
              <p:nvSpPr>
                <p:cNvPr id="15338" name="Freeform: Shape 15337">
                  <a:extLst>
                    <a:ext uri="{FF2B5EF4-FFF2-40B4-BE49-F238E27FC236}">
                      <a16:creationId xmlns:a16="http://schemas.microsoft.com/office/drawing/2014/main" id="{FCC012FA-26FF-F328-925B-B20C1A118156}"/>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9" name="Freeform: Shape 15338">
                  <a:extLst>
                    <a:ext uri="{FF2B5EF4-FFF2-40B4-BE49-F238E27FC236}">
                      <a16:creationId xmlns:a16="http://schemas.microsoft.com/office/drawing/2014/main" id="{4692914A-E2C7-E92C-AA4D-314ADED9AABD}"/>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4" name="Graphic 1393">
                <a:extLst>
                  <a:ext uri="{FF2B5EF4-FFF2-40B4-BE49-F238E27FC236}">
                    <a16:creationId xmlns:a16="http://schemas.microsoft.com/office/drawing/2014/main" id="{827E75BE-3026-0E0E-BB7B-ABC2954826D9}"/>
                  </a:ext>
                </a:extLst>
              </p:cNvPr>
              <p:cNvGrpSpPr/>
              <p:nvPr/>
            </p:nvGrpSpPr>
            <p:grpSpPr>
              <a:xfrm>
                <a:off x="6427469" y="3598449"/>
                <a:ext cx="75628" cy="75628"/>
                <a:chOff x="6427469" y="3598449"/>
                <a:chExt cx="75628" cy="75628"/>
              </a:xfrm>
            </p:grpSpPr>
            <p:sp>
              <p:nvSpPr>
                <p:cNvPr id="15336" name="Freeform: Shape 15335">
                  <a:extLst>
                    <a:ext uri="{FF2B5EF4-FFF2-40B4-BE49-F238E27FC236}">
                      <a16:creationId xmlns:a16="http://schemas.microsoft.com/office/drawing/2014/main" id="{B4933792-439C-F6D5-68E6-9E515396845A}"/>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7" name="Freeform: Shape 15336">
                  <a:extLst>
                    <a:ext uri="{FF2B5EF4-FFF2-40B4-BE49-F238E27FC236}">
                      <a16:creationId xmlns:a16="http://schemas.microsoft.com/office/drawing/2014/main" id="{90DC81FA-6F73-C105-5B2E-A2D755E1FC37}"/>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5" name="Graphic 1393">
                <a:extLst>
                  <a:ext uri="{FF2B5EF4-FFF2-40B4-BE49-F238E27FC236}">
                    <a16:creationId xmlns:a16="http://schemas.microsoft.com/office/drawing/2014/main" id="{077753E1-DFA3-8F0D-268F-5716506F601E}"/>
                  </a:ext>
                </a:extLst>
              </p:cNvPr>
              <p:cNvGrpSpPr/>
              <p:nvPr/>
            </p:nvGrpSpPr>
            <p:grpSpPr>
              <a:xfrm>
                <a:off x="6439756" y="3598449"/>
                <a:ext cx="75723" cy="75628"/>
                <a:chOff x="6439756" y="3598449"/>
                <a:chExt cx="75723" cy="75628"/>
              </a:xfrm>
            </p:grpSpPr>
            <p:sp>
              <p:nvSpPr>
                <p:cNvPr id="15334" name="Freeform: Shape 15333">
                  <a:extLst>
                    <a:ext uri="{FF2B5EF4-FFF2-40B4-BE49-F238E27FC236}">
                      <a16:creationId xmlns:a16="http://schemas.microsoft.com/office/drawing/2014/main" id="{FEB553C7-B6B9-D89F-F8C1-CF82A70AF1C9}"/>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5" name="Freeform: Shape 15334">
                  <a:extLst>
                    <a:ext uri="{FF2B5EF4-FFF2-40B4-BE49-F238E27FC236}">
                      <a16:creationId xmlns:a16="http://schemas.microsoft.com/office/drawing/2014/main" id="{17A15C0C-A1FA-73F3-2E3E-26C373FEA24A}"/>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6" name="Graphic 1393">
                <a:extLst>
                  <a:ext uri="{FF2B5EF4-FFF2-40B4-BE49-F238E27FC236}">
                    <a16:creationId xmlns:a16="http://schemas.microsoft.com/office/drawing/2014/main" id="{A9AF7B1F-98AE-8D63-5044-C409B1F11F3A}"/>
                  </a:ext>
                </a:extLst>
              </p:cNvPr>
              <p:cNvGrpSpPr/>
              <p:nvPr/>
            </p:nvGrpSpPr>
            <p:grpSpPr>
              <a:xfrm>
                <a:off x="6899528" y="3669220"/>
                <a:ext cx="75723" cy="75723"/>
                <a:chOff x="6899528" y="3669220"/>
                <a:chExt cx="75723" cy="75723"/>
              </a:xfrm>
            </p:grpSpPr>
            <p:sp>
              <p:nvSpPr>
                <p:cNvPr id="15332" name="Freeform: Shape 15331">
                  <a:extLst>
                    <a:ext uri="{FF2B5EF4-FFF2-40B4-BE49-F238E27FC236}">
                      <a16:creationId xmlns:a16="http://schemas.microsoft.com/office/drawing/2014/main" id="{EDC7E707-685E-EA5A-4298-78BE68B7C278}"/>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3" name="Freeform: Shape 15332">
                  <a:extLst>
                    <a:ext uri="{FF2B5EF4-FFF2-40B4-BE49-F238E27FC236}">
                      <a16:creationId xmlns:a16="http://schemas.microsoft.com/office/drawing/2014/main" id="{EBC1C857-7151-6197-D65D-E4DA3774CEDB}"/>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7" name="Graphic 1393">
                <a:extLst>
                  <a:ext uri="{FF2B5EF4-FFF2-40B4-BE49-F238E27FC236}">
                    <a16:creationId xmlns:a16="http://schemas.microsoft.com/office/drawing/2014/main" id="{AEE7AE08-504B-189B-9308-BF0A381D21B6}"/>
                  </a:ext>
                </a:extLst>
              </p:cNvPr>
              <p:cNvGrpSpPr/>
              <p:nvPr/>
            </p:nvGrpSpPr>
            <p:grpSpPr>
              <a:xfrm>
                <a:off x="6884479" y="3669220"/>
                <a:ext cx="75723" cy="75723"/>
                <a:chOff x="6884479" y="3669220"/>
                <a:chExt cx="75723" cy="75723"/>
              </a:xfrm>
            </p:grpSpPr>
            <p:sp>
              <p:nvSpPr>
                <p:cNvPr id="15330" name="Freeform: Shape 15329">
                  <a:extLst>
                    <a:ext uri="{FF2B5EF4-FFF2-40B4-BE49-F238E27FC236}">
                      <a16:creationId xmlns:a16="http://schemas.microsoft.com/office/drawing/2014/main" id="{486DC29F-1B7A-4E0F-D74A-7DE05EFE6E5A}"/>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1" name="Freeform: Shape 15330">
                  <a:extLst>
                    <a:ext uri="{FF2B5EF4-FFF2-40B4-BE49-F238E27FC236}">
                      <a16:creationId xmlns:a16="http://schemas.microsoft.com/office/drawing/2014/main" id="{65BED683-CC75-87F7-1DE0-66C1A66CF06E}"/>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8" name="Graphic 1393">
                <a:extLst>
                  <a:ext uri="{FF2B5EF4-FFF2-40B4-BE49-F238E27FC236}">
                    <a16:creationId xmlns:a16="http://schemas.microsoft.com/office/drawing/2014/main" id="{2128BECB-37EA-CF7F-8419-92E5B7E1CA2D}"/>
                  </a:ext>
                </a:extLst>
              </p:cNvPr>
              <p:cNvGrpSpPr/>
              <p:nvPr/>
            </p:nvGrpSpPr>
            <p:grpSpPr>
              <a:xfrm>
                <a:off x="6869429" y="3669220"/>
                <a:ext cx="75723" cy="75723"/>
                <a:chOff x="6869429" y="3669220"/>
                <a:chExt cx="75723" cy="75723"/>
              </a:xfrm>
            </p:grpSpPr>
            <p:sp>
              <p:nvSpPr>
                <p:cNvPr id="15328" name="Freeform: Shape 15327">
                  <a:extLst>
                    <a:ext uri="{FF2B5EF4-FFF2-40B4-BE49-F238E27FC236}">
                      <a16:creationId xmlns:a16="http://schemas.microsoft.com/office/drawing/2014/main" id="{B50FD7DC-35DE-E709-F7A4-F2920F79E4E6}"/>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9" name="Freeform: Shape 15328">
                  <a:extLst>
                    <a:ext uri="{FF2B5EF4-FFF2-40B4-BE49-F238E27FC236}">
                      <a16:creationId xmlns:a16="http://schemas.microsoft.com/office/drawing/2014/main" id="{6349D13A-1E4D-BD8C-C22F-2E51FD20B697}"/>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9" name="Graphic 1393">
                <a:extLst>
                  <a:ext uri="{FF2B5EF4-FFF2-40B4-BE49-F238E27FC236}">
                    <a16:creationId xmlns:a16="http://schemas.microsoft.com/office/drawing/2014/main" id="{8FA699F3-47A9-30D1-EE07-1E25062E9198}"/>
                  </a:ext>
                </a:extLst>
              </p:cNvPr>
              <p:cNvGrpSpPr/>
              <p:nvPr/>
            </p:nvGrpSpPr>
            <p:grpSpPr>
              <a:xfrm>
                <a:off x="6854380" y="3669220"/>
                <a:ext cx="75723" cy="75723"/>
                <a:chOff x="6854380" y="3669220"/>
                <a:chExt cx="75723" cy="75723"/>
              </a:xfrm>
            </p:grpSpPr>
            <p:sp>
              <p:nvSpPr>
                <p:cNvPr id="15326" name="Freeform: Shape 15325">
                  <a:extLst>
                    <a:ext uri="{FF2B5EF4-FFF2-40B4-BE49-F238E27FC236}">
                      <a16:creationId xmlns:a16="http://schemas.microsoft.com/office/drawing/2014/main" id="{77BF54FC-47E0-6B72-24B4-6B72AB565C2B}"/>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7" name="Freeform: Shape 15326">
                  <a:extLst>
                    <a:ext uri="{FF2B5EF4-FFF2-40B4-BE49-F238E27FC236}">
                      <a16:creationId xmlns:a16="http://schemas.microsoft.com/office/drawing/2014/main" id="{3A5972B2-B034-3D7C-9733-07ABE2AF764D}"/>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0" name="Graphic 1393">
                <a:extLst>
                  <a:ext uri="{FF2B5EF4-FFF2-40B4-BE49-F238E27FC236}">
                    <a16:creationId xmlns:a16="http://schemas.microsoft.com/office/drawing/2014/main" id="{F0A2526B-0421-5B2C-EF26-AB35B1F94BCC}"/>
                  </a:ext>
                </a:extLst>
              </p:cNvPr>
              <p:cNvGrpSpPr/>
              <p:nvPr/>
            </p:nvGrpSpPr>
            <p:grpSpPr>
              <a:xfrm>
                <a:off x="7311103" y="3748659"/>
                <a:ext cx="75723" cy="75723"/>
                <a:chOff x="7311103" y="3748659"/>
                <a:chExt cx="75723" cy="75723"/>
              </a:xfrm>
            </p:grpSpPr>
            <p:sp>
              <p:nvSpPr>
                <p:cNvPr id="15324" name="Freeform: Shape 15323">
                  <a:extLst>
                    <a:ext uri="{FF2B5EF4-FFF2-40B4-BE49-F238E27FC236}">
                      <a16:creationId xmlns:a16="http://schemas.microsoft.com/office/drawing/2014/main" id="{6DD89E99-B331-1E32-5DCC-CDC5BBD743CC}"/>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5" name="Freeform: Shape 15324">
                  <a:extLst>
                    <a:ext uri="{FF2B5EF4-FFF2-40B4-BE49-F238E27FC236}">
                      <a16:creationId xmlns:a16="http://schemas.microsoft.com/office/drawing/2014/main" id="{B1D6EFB3-3FD8-6E3E-EC1A-9AB5164DD60F}"/>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1" name="Graphic 1393">
                <a:extLst>
                  <a:ext uri="{FF2B5EF4-FFF2-40B4-BE49-F238E27FC236}">
                    <a16:creationId xmlns:a16="http://schemas.microsoft.com/office/drawing/2014/main" id="{5041885D-0F4A-6756-B9A8-68458E7BB9D5}"/>
                  </a:ext>
                </a:extLst>
              </p:cNvPr>
              <p:cNvGrpSpPr/>
              <p:nvPr/>
            </p:nvGrpSpPr>
            <p:grpSpPr>
              <a:xfrm>
                <a:off x="7318057" y="3782568"/>
                <a:ext cx="75723" cy="75628"/>
                <a:chOff x="7318057" y="3782568"/>
                <a:chExt cx="75723" cy="75628"/>
              </a:xfrm>
            </p:grpSpPr>
            <p:sp>
              <p:nvSpPr>
                <p:cNvPr id="15320" name="Freeform: Shape 15319">
                  <a:extLst>
                    <a:ext uri="{FF2B5EF4-FFF2-40B4-BE49-F238E27FC236}">
                      <a16:creationId xmlns:a16="http://schemas.microsoft.com/office/drawing/2014/main" id="{B40D03D1-2C51-FB94-B1B4-409EB762A87B}"/>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3" name="Freeform: Shape 15322">
                  <a:extLst>
                    <a:ext uri="{FF2B5EF4-FFF2-40B4-BE49-F238E27FC236}">
                      <a16:creationId xmlns:a16="http://schemas.microsoft.com/office/drawing/2014/main" id="{D3FBE9B6-F970-8D1E-E74B-B8A215423CF7}"/>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2" name="Graphic 1393">
                <a:extLst>
                  <a:ext uri="{FF2B5EF4-FFF2-40B4-BE49-F238E27FC236}">
                    <a16:creationId xmlns:a16="http://schemas.microsoft.com/office/drawing/2014/main" id="{BD8CEC61-D366-7633-2851-E970070E98F4}"/>
                  </a:ext>
                </a:extLst>
              </p:cNvPr>
              <p:cNvGrpSpPr/>
              <p:nvPr/>
            </p:nvGrpSpPr>
            <p:grpSpPr>
              <a:xfrm>
                <a:off x="7338821" y="3813905"/>
                <a:ext cx="75723" cy="75723"/>
                <a:chOff x="7338821" y="3813905"/>
                <a:chExt cx="75723" cy="75723"/>
              </a:xfrm>
            </p:grpSpPr>
            <p:sp>
              <p:nvSpPr>
                <p:cNvPr id="15318" name="Freeform: Shape 15317">
                  <a:extLst>
                    <a:ext uri="{FF2B5EF4-FFF2-40B4-BE49-F238E27FC236}">
                      <a16:creationId xmlns:a16="http://schemas.microsoft.com/office/drawing/2014/main" id="{44486FB1-FC32-3ED2-3D97-FB0603D7434A}"/>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9" name="Freeform: Shape 15318">
                  <a:extLst>
                    <a:ext uri="{FF2B5EF4-FFF2-40B4-BE49-F238E27FC236}">
                      <a16:creationId xmlns:a16="http://schemas.microsoft.com/office/drawing/2014/main" id="{D9460312-6D27-7B44-C85C-6B0F11862778}"/>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3" name="Graphic 1393">
                <a:extLst>
                  <a:ext uri="{FF2B5EF4-FFF2-40B4-BE49-F238E27FC236}">
                    <a16:creationId xmlns:a16="http://schemas.microsoft.com/office/drawing/2014/main" id="{073FF619-0869-6C76-5DAF-4A9EF032F681}"/>
                  </a:ext>
                </a:extLst>
              </p:cNvPr>
              <p:cNvGrpSpPr/>
              <p:nvPr/>
            </p:nvGrpSpPr>
            <p:grpSpPr>
              <a:xfrm>
                <a:off x="7322438" y="3813905"/>
                <a:ext cx="75723" cy="75723"/>
                <a:chOff x="7322438" y="3813905"/>
                <a:chExt cx="75723" cy="75723"/>
              </a:xfrm>
            </p:grpSpPr>
            <p:sp>
              <p:nvSpPr>
                <p:cNvPr id="15316" name="Freeform: Shape 15315">
                  <a:extLst>
                    <a:ext uri="{FF2B5EF4-FFF2-40B4-BE49-F238E27FC236}">
                      <a16:creationId xmlns:a16="http://schemas.microsoft.com/office/drawing/2014/main" id="{FE83D110-F782-C80C-C743-238498B38093}"/>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7" name="Freeform: Shape 15316">
                  <a:extLst>
                    <a:ext uri="{FF2B5EF4-FFF2-40B4-BE49-F238E27FC236}">
                      <a16:creationId xmlns:a16="http://schemas.microsoft.com/office/drawing/2014/main" id="{ADC14DC9-D167-E5F7-D90D-96F291203EA9}"/>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4" name="Graphic 1393">
                <a:extLst>
                  <a:ext uri="{FF2B5EF4-FFF2-40B4-BE49-F238E27FC236}">
                    <a16:creationId xmlns:a16="http://schemas.microsoft.com/office/drawing/2014/main" id="{242B110C-7500-6402-A32B-4925082CC890}"/>
                  </a:ext>
                </a:extLst>
              </p:cNvPr>
              <p:cNvGrpSpPr/>
              <p:nvPr/>
            </p:nvGrpSpPr>
            <p:grpSpPr>
              <a:xfrm>
                <a:off x="7719345" y="3897153"/>
                <a:ext cx="75628" cy="75723"/>
                <a:chOff x="7719345" y="3897153"/>
                <a:chExt cx="75628" cy="75723"/>
              </a:xfrm>
            </p:grpSpPr>
            <p:sp>
              <p:nvSpPr>
                <p:cNvPr id="15308" name="Freeform: Shape 15307">
                  <a:extLst>
                    <a:ext uri="{FF2B5EF4-FFF2-40B4-BE49-F238E27FC236}">
                      <a16:creationId xmlns:a16="http://schemas.microsoft.com/office/drawing/2014/main" id="{7FEB2572-AD77-8C5E-FC6B-7DB8532BD833}"/>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9" name="Freeform: Shape 15308">
                  <a:extLst>
                    <a:ext uri="{FF2B5EF4-FFF2-40B4-BE49-F238E27FC236}">
                      <a16:creationId xmlns:a16="http://schemas.microsoft.com/office/drawing/2014/main" id="{C11A665C-2854-100C-B788-3427F5B1E2C4}"/>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5" name="Graphic 1393">
                <a:extLst>
                  <a:ext uri="{FF2B5EF4-FFF2-40B4-BE49-F238E27FC236}">
                    <a16:creationId xmlns:a16="http://schemas.microsoft.com/office/drawing/2014/main" id="{28E55FC9-82A8-B09C-A40C-D386429649B2}"/>
                  </a:ext>
                </a:extLst>
              </p:cNvPr>
              <p:cNvGrpSpPr/>
              <p:nvPr/>
            </p:nvGrpSpPr>
            <p:grpSpPr>
              <a:xfrm>
                <a:off x="8172640" y="3949446"/>
                <a:ext cx="75628" cy="75723"/>
                <a:chOff x="8172640" y="3949446"/>
                <a:chExt cx="75628" cy="75723"/>
              </a:xfrm>
            </p:grpSpPr>
            <p:sp>
              <p:nvSpPr>
                <p:cNvPr id="15306" name="Freeform: Shape 15305">
                  <a:extLst>
                    <a:ext uri="{FF2B5EF4-FFF2-40B4-BE49-F238E27FC236}">
                      <a16:creationId xmlns:a16="http://schemas.microsoft.com/office/drawing/2014/main" id="{76D588C7-EC8B-5258-6729-D42F862B0C8A}"/>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7" name="Freeform: Shape 15306">
                  <a:extLst>
                    <a:ext uri="{FF2B5EF4-FFF2-40B4-BE49-F238E27FC236}">
                      <a16:creationId xmlns:a16="http://schemas.microsoft.com/office/drawing/2014/main" id="{B1F5B424-CFD4-ACEA-E45E-92AF254F1673}"/>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648" name="Freeform: Shape 14647">
              <a:extLst>
                <a:ext uri="{FF2B5EF4-FFF2-40B4-BE49-F238E27FC236}">
                  <a16:creationId xmlns:a16="http://schemas.microsoft.com/office/drawing/2014/main" id="{85843B98-CF85-9D7D-4234-C5EEADCE5FA9}"/>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794" name="Group 18793">
            <a:extLst>
              <a:ext uri="{FF2B5EF4-FFF2-40B4-BE49-F238E27FC236}">
                <a16:creationId xmlns:a16="http://schemas.microsoft.com/office/drawing/2014/main" id="{14E9E18D-558D-6563-8600-1ACBC8B05FDA}"/>
              </a:ext>
            </a:extLst>
          </p:cNvPr>
          <p:cNvGrpSpPr/>
          <p:nvPr/>
        </p:nvGrpSpPr>
        <p:grpSpPr>
          <a:xfrm>
            <a:off x="834913" y="4133989"/>
            <a:ext cx="2385787" cy="523220"/>
            <a:chOff x="1283828" y="4129371"/>
            <a:chExt cx="2090677" cy="523220"/>
          </a:xfrm>
        </p:grpSpPr>
        <p:sp>
          <p:nvSpPr>
            <p:cNvPr id="18795" name="TextBox 18794">
              <a:extLst>
                <a:ext uri="{FF2B5EF4-FFF2-40B4-BE49-F238E27FC236}">
                  <a16:creationId xmlns:a16="http://schemas.microsoft.com/office/drawing/2014/main" id="{40FB0A6B-B89B-E82C-7997-3A814C1CEE6B}"/>
                </a:ext>
              </a:extLst>
            </p:cNvPr>
            <p:cNvSpPr txBox="1"/>
            <p:nvPr/>
          </p:nvSpPr>
          <p:spPr>
            <a:xfrm>
              <a:off x="1680132" y="4129371"/>
              <a:ext cx="169437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18796" name="Group 18795">
              <a:extLst>
                <a:ext uri="{FF2B5EF4-FFF2-40B4-BE49-F238E27FC236}">
                  <a16:creationId xmlns:a16="http://schemas.microsoft.com/office/drawing/2014/main" id="{1CB99329-65F7-E4EA-E922-C4E4407A269E}"/>
                </a:ext>
              </a:extLst>
            </p:cNvPr>
            <p:cNvGrpSpPr/>
            <p:nvPr/>
          </p:nvGrpSpPr>
          <p:grpSpPr>
            <a:xfrm>
              <a:off x="1289304" y="4278446"/>
              <a:ext cx="334470" cy="72000"/>
              <a:chOff x="2459420" y="3626363"/>
              <a:chExt cx="313728" cy="72000"/>
            </a:xfrm>
          </p:grpSpPr>
          <p:cxnSp>
            <p:nvCxnSpPr>
              <p:cNvPr id="18800" name="Straight Connector 18799">
                <a:extLst>
                  <a:ext uri="{FF2B5EF4-FFF2-40B4-BE49-F238E27FC236}">
                    <a16:creationId xmlns:a16="http://schemas.microsoft.com/office/drawing/2014/main" id="{F4E37623-37E4-0703-B23A-5DA7372B740C}"/>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8801" name="Straight Connector 18800">
                <a:extLst>
                  <a:ext uri="{FF2B5EF4-FFF2-40B4-BE49-F238E27FC236}">
                    <a16:creationId xmlns:a16="http://schemas.microsoft.com/office/drawing/2014/main" id="{159B6388-BE24-6086-F95B-A027FB518C4D}"/>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8797" name="Group 18796">
              <a:extLst>
                <a:ext uri="{FF2B5EF4-FFF2-40B4-BE49-F238E27FC236}">
                  <a16:creationId xmlns:a16="http://schemas.microsoft.com/office/drawing/2014/main" id="{38558D2C-8EEF-94CF-7EB0-DBFF08FC33FC}"/>
                </a:ext>
              </a:extLst>
            </p:cNvPr>
            <p:cNvGrpSpPr/>
            <p:nvPr/>
          </p:nvGrpSpPr>
          <p:grpSpPr>
            <a:xfrm>
              <a:off x="1283828" y="4464183"/>
              <a:ext cx="345421" cy="72000"/>
              <a:chOff x="2454284" y="3812100"/>
              <a:chExt cx="324000" cy="72000"/>
            </a:xfrm>
          </p:grpSpPr>
          <p:cxnSp>
            <p:nvCxnSpPr>
              <p:cNvPr id="18798" name="Straight Connector 18797">
                <a:extLst>
                  <a:ext uri="{FF2B5EF4-FFF2-40B4-BE49-F238E27FC236}">
                    <a16:creationId xmlns:a16="http://schemas.microsoft.com/office/drawing/2014/main" id="{54E44A9A-D058-F1ED-F64D-5D07F8DE8250}"/>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8799" name="Straight Connector 18798">
                <a:extLst>
                  <a:ext uri="{FF2B5EF4-FFF2-40B4-BE49-F238E27FC236}">
                    <a16:creationId xmlns:a16="http://schemas.microsoft.com/office/drawing/2014/main" id="{1E77311C-F28C-5DCD-192D-4083F0CA3EDE}"/>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
        <p:nvSpPr>
          <p:cNvPr id="4" name="TextBox 3">
            <a:extLst>
              <a:ext uri="{FF2B5EF4-FFF2-40B4-BE49-F238E27FC236}">
                <a16:creationId xmlns:a16="http://schemas.microsoft.com/office/drawing/2014/main" id="{750BF3C9-6384-CBDD-AB45-B9EAABE874B2}"/>
              </a:ext>
            </a:extLst>
          </p:cNvPr>
          <p:cNvSpPr txBox="1"/>
          <p:nvPr/>
        </p:nvSpPr>
        <p:spPr>
          <a:xfrm>
            <a:off x="4826643" y="3641066"/>
            <a:ext cx="21422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PTEN cut-off: ≥95%</a:t>
            </a:r>
          </a:p>
        </p:txBody>
      </p:sp>
    </p:spTree>
    <p:extLst>
      <p:ext uri="{BB962C8B-B14F-4D97-AF65-F5344CB8AC3E}">
        <p14:creationId xmlns:p14="http://schemas.microsoft.com/office/powerpoint/2010/main" val="6132832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F1558-BA57-2375-1496-C468C2450BEA}"/>
            </a:ext>
          </a:extLst>
        </p:cNvPr>
        <p:cNvGrpSpPr/>
        <p:nvPr/>
      </p:nvGrpSpPr>
      <p:grpSpPr>
        <a:xfrm>
          <a:off x="0" y="0"/>
          <a:ext cx="0" cy="0"/>
          <a:chOff x="0" y="0"/>
          <a:chExt cx="0" cy="0"/>
        </a:xfrm>
      </p:grpSpPr>
      <p:grpSp>
        <p:nvGrpSpPr>
          <p:cNvPr id="14646" name="Group 14645">
            <a:extLst>
              <a:ext uri="{FF2B5EF4-FFF2-40B4-BE49-F238E27FC236}">
                <a16:creationId xmlns:a16="http://schemas.microsoft.com/office/drawing/2014/main" id="{911A44A8-2E6C-5AB3-83CA-084ED12659F7}"/>
              </a:ext>
            </a:extLst>
          </p:cNvPr>
          <p:cNvGrpSpPr/>
          <p:nvPr/>
        </p:nvGrpSpPr>
        <p:grpSpPr>
          <a:xfrm>
            <a:off x="712999" y="1488358"/>
            <a:ext cx="6801804" cy="2364808"/>
            <a:chOff x="3500437" y="2424112"/>
            <a:chExt cx="5189696" cy="2012441"/>
          </a:xfrm>
        </p:grpSpPr>
        <p:grpSp>
          <p:nvGrpSpPr>
            <p:cNvPr id="14647" name="Graphic 1393">
              <a:extLst>
                <a:ext uri="{FF2B5EF4-FFF2-40B4-BE49-F238E27FC236}">
                  <a16:creationId xmlns:a16="http://schemas.microsoft.com/office/drawing/2014/main" id="{5EF99668-5005-3669-8003-974C174E728E}"/>
                </a:ext>
              </a:extLst>
            </p:cNvPr>
            <p:cNvGrpSpPr/>
            <p:nvPr/>
          </p:nvGrpSpPr>
          <p:grpSpPr>
            <a:xfrm>
              <a:off x="3868102" y="2496216"/>
              <a:ext cx="4822031" cy="1940337"/>
              <a:chOff x="3868102" y="2496216"/>
              <a:chExt cx="4822031" cy="1940337"/>
            </a:xfrm>
          </p:grpSpPr>
          <p:grpSp>
            <p:nvGrpSpPr>
              <p:cNvPr id="14649" name="Graphic 1393">
                <a:extLst>
                  <a:ext uri="{FF2B5EF4-FFF2-40B4-BE49-F238E27FC236}">
                    <a16:creationId xmlns:a16="http://schemas.microsoft.com/office/drawing/2014/main" id="{19D09F04-38C3-F0DD-DFBF-DB35E73333C3}"/>
                  </a:ext>
                </a:extLst>
              </p:cNvPr>
              <p:cNvGrpSpPr/>
              <p:nvPr/>
            </p:nvGrpSpPr>
            <p:grpSpPr>
              <a:xfrm>
                <a:off x="8614409" y="4360830"/>
                <a:ext cx="75723" cy="75723"/>
                <a:chOff x="8614409" y="4360830"/>
                <a:chExt cx="75723" cy="75723"/>
              </a:xfrm>
            </p:grpSpPr>
            <p:sp>
              <p:nvSpPr>
                <p:cNvPr id="18460" name="Freeform: Shape 18459">
                  <a:extLst>
                    <a:ext uri="{FF2B5EF4-FFF2-40B4-BE49-F238E27FC236}">
                      <a16:creationId xmlns:a16="http://schemas.microsoft.com/office/drawing/2014/main" id="{BE865103-B7DC-1853-3597-514668E79E4D}"/>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1" name="Freeform: Shape 18460">
                  <a:extLst>
                    <a:ext uri="{FF2B5EF4-FFF2-40B4-BE49-F238E27FC236}">
                      <a16:creationId xmlns:a16="http://schemas.microsoft.com/office/drawing/2014/main" id="{08CED448-CD0F-86C6-AC04-99A5FA5A8DD4}"/>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0" name="Graphic 1393">
                <a:extLst>
                  <a:ext uri="{FF2B5EF4-FFF2-40B4-BE49-F238E27FC236}">
                    <a16:creationId xmlns:a16="http://schemas.microsoft.com/office/drawing/2014/main" id="{E91F5444-6BD1-49A4-F13C-E5B54B68B6FF}"/>
                  </a:ext>
                </a:extLst>
              </p:cNvPr>
              <p:cNvGrpSpPr/>
              <p:nvPr/>
            </p:nvGrpSpPr>
            <p:grpSpPr>
              <a:xfrm>
                <a:off x="8599264" y="4360830"/>
                <a:ext cx="75723" cy="75723"/>
                <a:chOff x="8599264" y="4360830"/>
                <a:chExt cx="75723" cy="75723"/>
              </a:xfrm>
            </p:grpSpPr>
            <p:sp>
              <p:nvSpPr>
                <p:cNvPr id="18458" name="Freeform: Shape 18457">
                  <a:extLst>
                    <a:ext uri="{FF2B5EF4-FFF2-40B4-BE49-F238E27FC236}">
                      <a16:creationId xmlns:a16="http://schemas.microsoft.com/office/drawing/2014/main" id="{92BD3B00-9040-AD62-1259-1E4CC66C0BE8}"/>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9" name="Freeform: Shape 18458">
                  <a:extLst>
                    <a:ext uri="{FF2B5EF4-FFF2-40B4-BE49-F238E27FC236}">
                      <a16:creationId xmlns:a16="http://schemas.microsoft.com/office/drawing/2014/main" id="{FC88123E-7284-D061-C646-6A9D155830B0}"/>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1" name="Graphic 1393">
                <a:extLst>
                  <a:ext uri="{FF2B5EF4-FFF2-40B4-BE49-F238E27FC236}">
                    <a16:creationId xmlns:a16="http://schemas.microsoft.com/office/drawing/2014/main" id="{B912BA21-448E-DE91-BECF-B6F2400EE859}"/>
                  </a:ext>
                </a:extLst>
              </p:cNvPr>
              <p:cNvGrpSpPr/>
              <p:nvPr/>
            </p:nvGrpSpPr>
            <p:grpSpPr>
              <a:xfrm>
                <a:off x="8461819" y="3949446"/>
                <a:ext cx="75723" cy="75723"/>
                <a:chOff x="8461819" y="3949446"/>
                <a:chExt cx="75723" cy="75723"/>
              </a:xfrm>
            </p:grpSpPr>
            <p:sp>
              <p:nvSpPr>
                <p:cNvPr id="18456" name="Freeform: Shape 18455">
                  <a:extLst>
                    <a:ext uri="{FF2B5EF4-FFF2-40B4-BE49-F238E27FC236}">
                      <a16:creationId xmlns:a16="http://schemas.microsoft.com/office/drawing/2014/main" id="{2B971699-7183-E553-F654-D87B085DB672}"/>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7" name="Freeform: Shape 18456">
                  <a:extLst>
                    <a:ext uri="{FF2B5EF4-FFF2-40B4-BE49-F238E27FC236}">
                      <a16:creationId xmlns:a16="http://schemas.microsoft.com/office/drawing/2014/main" id="{0D6432CE-4C6F-F189-910D-198C19C8498D}"/>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2" name="Graphic 1393">
                <a:extLst>
                  <a:ext uri="{FF2B5EF4-FFF2-40B4-BE49-F238E27FC236}">
                    <a16:creationId xmlns:a16="http://schemas.microsoft.com/office/drawing/2014/main" id="{8BD0CEBC-C5B9-C280-E2DE-169A81F7E4AF}"/>
                  </a:ext>
                </a:extLst>
              </p:cNvPr>
              <p:cNvGrpSpPr/>
              <p:nvPr/>
            </p:nvGrpSpPr>
            <p:grpSpPr>
              <a:xfrm>
                <a:off x="8232933" y="3949446"/>
                <a:ext cx="75723" cy="75723"/>
                <a:chOff x="8232933" y="3949446"/>
                <a:chExt cx="75723" cy="75723"/>
              </a:xfrm>
            </p:grpSpPr>
            <p:sp>
              <p:nvSpPr>
                <p:cNvPr id="18454" name="Freeform: Shape 18453">
                  <a:extLst>
                    <a:ext uri="{FF2B5EF4-FFF2-40B4-BE49-F238E27FC236}">
                      <a16:creationId xmlns:a16="http://schemas.microsoft.com/office/drawing/2014/main" id="{AC441C98-1218-050F-C4F6-8ABE4A75FDAF}"/>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5" name="Freeform: Shape 18454">
                  <a:extLst>
                    <a:ext uri="{FF2B5EF4-FFF2-40B4-BE49-F238E27FC236}">
                      <a16:creationId xmlns:a16="http://schemas.microsoft.com/office/drawing/2014/main" id="{FCC0FEDC-3B44-B274-816A-77955296766D}"/>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3" name="Graphic 1393">
                <a:extLst>
                  <a:ext uri="{FF2B5EF4-FFF2-40B4-BE49-F238E27FC236}">
                    <a16:creationId xmlns:a16="http://schemas.microsoft.com/office/drawing/2014/main" id="{8F5F2E23-400C-E1E6-889A-38DC7D266147}"/>
                  </a:ext>
                </a:extLst>
              </p:cNvPr>
              <p:cNvGrpSpPr/>
              <p:nvPr/>
            </p:nvGrpSpPr>
            <p:grpSpPr>
              <a:xfrm>
                <a:off x="8210454" y="3949446"/>
                <a:ext cx="75723" cy="75723"/>
                <a:chOff x="8210454" y="3949446"/>
                <a:chExt cx="75723" cy="75723"/>
              </a:xfrm>
            </p:grpSpPr>
            <p:sp>
              <p:nvSpPr>
                <p:cNvPr id="18452" name="Freeform: Shape 18451">
                  <a:extLst>
                    <a:ext uri="{FF2B5EF4-FFF2-40B4-BE49-F238E27FC236}">
                      <a16:creationId xmlns:a16="http://schemas.microsoft.com/office/drawing/2014/main" id="{A07AF58C-E1BC-DB74-0BC3-0B6646FD94AF}"/>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3" name="Freeform: Shape 18452">
                  <a:extLst>
                    <a:ext uri="{FF2B5EF4-FFF2-40B4-BE49-F238E27FC236}">
                      <a16:creationId xmlns:a16="http://schemas.microsoft.com/office/drawing/2014/main" id="{D16341EA-6526-4726-6E3B-ECCF0F847AE2}"/>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4" name="Graphic 1393">
                <a:extLst>
                  <a:ext uri="{FF2B5EF4-FFF2-40B4-BE49-F238E27FC236}">
                    <a16:creationId xmlns:a16="http://schemas.microsoft.com/office/drawing/2014/main" id="{DBFE44B3-A079-B536-9844-D31355663B4A}"/>
                  </a:ext>
                </a:extLst>
              </p:cNvPr>
              <p:cNvGrpSpPr/>
              <p:nvPr/>
            </p:nvGrpSpPr>
            <p:grpSpPr>
              <a:xfrm>
                <a:off x="8183689" y="3949446"/>
                <a:ext cx="75723" cy="75723"/>
                <a:chOff x="8183689" y="3949446"/>
                <a:chExt cx="75723" cy="75723"/>
              </a:xfrm>
            </p:grpSpPr>
            <p:sp>
              <p:nvSpPr>
                <p:cNvPr id="18450" name="Freeform: Shape 18449">
                  <a:extLst>
                    <a:ext uri="{FF2B5EF4-FFF2-40B4-BE49-F238E27FC236}">
                      <a16:creationId xmlns:a16="http://schemas.microsoft.com/office/drawing/2014/main" id="{70398FE3-ED13-D5BE-7D9D-8F8EB0FE9F01}"/>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1" name="Freeform: Shape 18450">
                  <a:extLst>
                    <a:ext uri="{FF2B5EF4-FFF2-40B4-BE49-F238E27FC236}">
                      <a16:creationId xmlns:a16="http://schemas.microsoft.com/office/drawing/2014/main" id="{BB275192-347E-F33D-3F47-5B2AD25DE253}"/>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5" name="Graphic 1393">
                <a:extLst>
                  <a:ext uri="{FF2B5EF4-FFF2-40B4-BE49-F238E27FC236}">
                    <a16:creationId xmlns:a16="http://schemas.microsoft.com/office/drawing/2014/main" id="{E2A7A462-7C00-F64C-BDD8-1F3851D76695}"/>
                  </a:ext>
                </a:extLst>
              </p:cNvPr>
              <p:cNvGrpSpPr/>
              <p:nvPr/>
            </p:nvGrpSpPr>
            <p:grpSpPr>
              <a:xfrm>
                <a:off x="8161495" y="3949446"/>
                <a:ext cx="75723" cy="75723"/>
                <a:chOff x="8161495" y="3949446"/>
                <a:chExt cx="75723" cy="75723"/>
              </a:xfrm>
            </p:grpSpPr>
            <p:sp>
              <p:nvSpPr>
                <p:cNvPr id="18448" name="Freeform: Shape 18447">
                  <a:extLst>
                    <a:ext uri="{FF2B5EF4-FFF2-40B4-BE49-F238E27FC236}">
                      <a16:creationId xmlns:a16="http://schemas.microsoft.com/office/drawing/2014/main" id="{86023151-C40D-4972-00F7-F4A8C1BFB232}"/>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9" name="Freeform: Shape 18448">
                  <a:extLst>
                    <a:ext uri="{FF2B5EF4-FFF2-40B4-BE49-F238E27FC236}">
                      <a16:creationId xmlns:a16="http://schemas.microsoft.com/office/drawing/2014/main" id="{8111F6A6-6537-58AF-5DD4-9D75343BC403}"/>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6" name="Graphic 1393">
                <a:extLst>
                  <a:ext uri="{FF2B5EF4-FFF2-40B4-BE49-F238E27FC236}">
                    <a16:creationId xmlns:a16="http://schemas.microsoft.com/office/drawing/2014/main" id="{DFCB0E38-4E91-CEAE-B048-03CD588DA19F}"/>
                  </a:ext>
                </a:extLst>
              </p:cNvPr>
              <p:cNvGrpSpPr/>
              <p:nvPr/>
            </p:nvGrpSpPr>
            <p:grpSpPr>
              <a:xfrm>
                <a:off x="8065769" y="3949446"/>
                <a:ext cx="75628" cy="75723"/>
                <a:chOff x="8065769" y="3949446"/>
                <a:chExt cx="75628" cy="75723"/>
              </a:xfrm>
            </p:grpSpPr>
            <p:sp>
              <p:nvSpPr>
                <p:cNvPr id="18446" name="Freeform: Shape 18445">
                  <a:extLst>
                    <a:ext uri="{FF2B5EF4-FFF2-40B4-BE49-F238E27FC236}">
                      <a16:creationId xmlns:a16="http://schemas.microsoft.com/office/drawing/2014/main" id="{5F55FDF2-AA76-1931-476F-0481C5646491}"/>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7" name="Freeform: Shape 18446">
                  <a:extLst>
                    <a:ext uri="{FF2B5EF4-FFF2-40B4-BE49-F238E27FC236}">
                      <a16:creationId xmlns:a16="http://schemas.microsoft.com/office/drawing/2014/main" id="{E8430718-E95F-BC9C-21F6-C97F753FEB1B}"/>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7" name="Graphic 1393">
                <a:extLst>
                  <a:ext uri="{FF2B5EF4-FFF2-40B4-BE49-F238E27FC236}">
                    <a16:creationId xmlns:a16="http://schemas.microsoft.com/office/drawing/2014/main" id="{EAFEA411-9731-659B-F02A-6845868B01F6}"/>
                  </a:ext>
                </a:extLst>
              </p:cNvPr>
              <p:cNvGrpSpPr/>
              <p:nvPr/>
            </p:nvGrpSpPr>
            <p:grpSpPr>
              <a:xfrm>
                <a:off x="7829263" y="3949446"/>
                <a:ext cx="75628" cy="75723"/>
                <a:chOff x="7829263" y="3949446"/>
                <a:chExt cx="75628" cy="75723"/>
              </a:xfrm>
            </p:grpSpPr>
            <p:sp>
              <p:nvSpPr>
                <p:cNvPr id="18444" name="Freeform: Shape 18443">
                  <a:extLst>
                    <a:ext uri="{FF2B5EF4-FFF2-40B4-BE49-F238E27FC236}">
                      <a16:creationId xmlns:a16="http://schemas.microsoft.com/office/drawing/2014/main" id="{E069A591-DF8F-5B09-81FF-5F0D9FB1BA9C}"/>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5" name="Freeform: Shape 18444">
                  <a:extLst>
                    <a:ext uri="{FF2B5EF4-FFF2-40B4-BE49-F238E27FC236}">
                      <a16:creationId xmlns:a16="http://schemas.microsoft.com/office/drawing/2014/main" id="{E1DFEE94-1C06-CE70-245B-30883FFE901F}"/>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8" name="Graphic 1393">
                <a:extLst>
                  <a:ext uri="{FF2B5EF4-FFF2-40B4-BE49-F238E27FC236}">
                    <a16:creationId xmlns:a16="http://schemas.microsoft.com/office/drawing/2014/main" id="{E25A1509-95D5-462F-0FB9-4857F5604472}"/>
                  </a:ext>
                </a:extLst>
              </p:cNvPr>
              <p:cNvGrpSpPr/>
              <p:nvPr/>
            </p:nvGrpSpPr>
            <p:grpSpPr>
              <a:xfrm>
                <a:off x="7784115" y="3949446"/>
                <a:ext cx="75723" cy="75723"/>
                <a:chOff x="7784115" y="3949446"/>
                <a:chExt cx="75723" cy="75723"/>
              </a:xfrm>
            </p:grpSpPr>
            <p:sp>
              <p:nvSpPr>
                <p:cNvPr id="18442" name="Freeform: Shape 18441">
                  <a:extLst>
                    <a:ext uri="{FF2B5EF4-FFF2-40B4-BE49-F238E27FC236}">
                      <a16:creationId xmlns:a16="http://schemas.microsoft.com/office/drawing/2014/main" id="{6659B275-4A95-47FA-0D22-873D043CB348}"/>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3" name="Freeform: Shape 18442">
                  <a:extLst>
                    <a:ext uri="{FF2B5EF4-FFF2-40B4-BE49-F238E27FC236}">
                      <a16:creationId xmlns:a16="http://schemas.microsoft.com/office/drawing/2014/main" id="{31C02BE8-2B5C-D848-DEE5-51E7F54A8310}"/>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59" name="Graphic 1393">
                <a:extLst>
                  <a:ext uri="{FF2B5EF4-FFF2-40B4-BE49-F238E27FC236}">
                    <a16:creationId xmlns:a16="http://schemas.microsoft.com/office/drawing/2014/main" id="{BA3EB65F-8C6F-FFBA-C6A3-09F1C22149A8}"/>
                  </a:ext>
                </a:extLst>
              </p:cNvPr>
              <p:cNvGrpSpPr/>
              <p:nvPr/>
            </p:nvGrpSpPr>
            <p:grpSpPr>
              <a:xfrm>
                <a:off x="7746301" y="3949446"/>
                <a:ext cx="75723" cy="75723"/>
                <a:chOff x="7746301" y="3949446"/>
                <a:chExt cx="75723" cy="75723"/>
              </a:xfrm>
            </p:grpSpPr>
            <p:sp>
              <p:nvSpPr>
                <p:cNvPr id="18440" name="Freeform: Shape 18439">
                  <a:extLst>
                    <a:ext uri="{FF2B5EF4-FFF2-40B4-BE49-F238E27FC236}">
                      <a16:creationId xmlns:a16="http://schemas.microsoft.com/office/drawing/2014/main" id="{AE86735D-7C56-5B65-4A4C-476E4D50234F}"/>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1" name="Freeform: Shape 18440">
                  <a:extLst>
                    <a:ext uri="{FF2B5EF4-FFF2-40B4-BE49-F238E27FC236}">
                      <a16:creationId xmlns:a16="http://schemas.microsoft.com/office/drawing/2014/main" id="{3F11338E-AA31-E0AA-5BB6-7939391C72DE}"/>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0" name="Graphic 1393">
                <a:extLst>
                  <a:ext uri="{FF2B5EF4-FFF2-40B4-BE49-F238E27FC236}">
                    <a16:creationId xmlns:a16="http://schemas.microsoft.com/office/drawing/2014/main" id="{BF3EE473-B922-D8E9-EA00-66423C4364DD}"/>
                  </a:ext>
                </a:extLst>
              </p:cNvPr>
              <p:cNvGrpSpPr/>
              <p:nvPr/>
            </p:nvGrpSpPr>
            <p:grpSpPr>
              <a:xfrm>
                <a:off x="7757159" y="3949446"/>
                <a:ext cx="75723" cy="75723"/>
                <a:chOff x="7757159" y="3949446"/>
                <a:chExt cx="75723" cy="75723"/>
              </a:xfrm>
            </p:grpSpPr>
            <p:sp>
              <p:nvSpPr>
                <p:cNvPr id="18438" name="Freeform: Shape 18437">
                  <a:extLst>
                    <a:ext uri="{FF2B5EF4-FFF2-40B4-BE49-F238E27FC236}">
                      <a16:creationId xmlns:a16="http://schemas.microsoft.com/office/drawing/2014/main" id="{10908B31-1793-41D8-2142-C9A580A43B3D}"/>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9" name="Freeform: Shape 18438">
                  <a:extLst>
                    <a:ext uri="{FF2B5EF4-FFF2-40B4-BE49-F238E27FC236}">
                      <a16:creationId xmlns:a16="http://schemas.microsoft.com/office/drawing/2014/main" id="{FF60B8E1-55FF-F0FA-8436-90B1D53906E3}"/>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1" name="Graphic 1393">
                <a:extLst>
                  <a:ext uri="{FF2B5EF4-FFF2-40B4-BE49-F238E27FC236}">
                    <a16:creationId xmlns:a16="http://schemas.microsoft.com/office/drawing/2014/main" id="{E2F21DF3-AD45-C7B4-B4C5-B7C6D0D6EBF3}"/>
                  </a:ext>
                </a:extLst>
              </p:cNvPr>
              <p:cNvGrpSpPr/>
              <p:nvPr/>
            </p:nvGrpSpPr>
            <p:grpSpPr>
              <a:xfrm>
                <a:off x="7769923" y="3949446"/>
                <a:ext cx="75723" cy="75723"/>
                <a:chOff x="7769923" y="3949446"/>
                <a:chExt cx="75723" cy="75723"/>
              </a:xfrm>
            </p:grpSpPr>
            <p:sp>
              <p:nvSpPr>
                <p:cNvPr id="18436" name="Freeform: Shape 18435">
                  <a:extLst>
                    <a:ext uri="{FF2B5EF4-FFF2-40B4-BE49-F238E27FC236}">
                      <a16:creationId xmlns:a16="http://schemas.microsoft.com/office/drawing/2014/main" id="{FAF13D0D-AF38-70FF-1733-3CA8BA64CDEF}"/>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7" name="Freeform: Shape 18436">
                  <a:extLst>
                    <a:ext uri="{FF2B5EF4-FFF2-40B4-BE49-F238E27FC236}">
                      <a16:creationId xmlns:a16="http://schemas.microsoft.com/office/drawing/2014/main" id="{B4F66868-4B35-E57E-B829-95F0A99111DF}"/>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2" name="Graphic 1393">
                <a:extLst>
                  <a:ext uri="{FF2B5EF4-FFF2-40B4-BE49-F238E27FC236}">
                    <a16:creationId xmlns:a16="http://schemas.microsoft.com/office/drawing/2014/main" id="{3E535572-677D-3945-0084-B893432B1AAD}"/>
                  </a:ext>
                </a:extLst>
              </p:cNvPr>
              <p:cNvGrpSpPr/>
              <p:nvPr/>
            </p:nvGrpSpPr>
            <p:grpSpPr>
              <a:xfrm>
                <a:off x="7732108" y="3897153"/>
                <a:ext cx="75723" cy="75723"/>
                <a:chOff x="7732108" y="3897153"/>
                <a:chExt cx="75723" cy="75723"/>
              </a:xfrm>
            </p:grpSpPr>
            <p:sp>
              <p:nvSpPr>
                <p:cNvPr id="18434" name="Freeform: Shape 18433">
                  <a:extLst>
                    <a:ext uri="{FF2B5EF4-FFF2-40B4-BE49-F238E27FC236}">
                      <a16:creationId xmlns:a16="http://schemas.microsoft.com/office/drawing/2014/main" id="{B20C46A8-6C86-7036-0130-BF815D202D3D}"/>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5" name="Freeform: Shape 18434">
                  <a:extLst>
                    <a:ext uri="{FF2B5EF4-FFF2-40B4-BE49-F238E27FC236}">
                      <a16:creationId xmlns:a16="http://schemas.microsoft.com/office/drawing/2014/main" id="{6E1FF053-9E00-1E1A-95EE-9AF878D64CDC}"/>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3" name="Graphic 1393">
                <a:extLst>
                  <a:ext uri="{FF2B5EF4-FFF2-40B4-BE49-F238E27FC236}">
                    <a16:creationId xmlns:a16="http://schemas.microsoft.com/office/drawing/2014/main" id="{785530CB-8668-59E4-4DC0-EC4B744DD144}"/>
                  </a:ext>
                </a:extLst>
              </p:cNvPr>
              <p:cNvGrpSpPr/>
              <p:nvPr/>
            </p:nvGrpSpPr>
            <p:grpSpPr>
              <a:xfrm>
                <a:off x="7708486" y="3897153"/>
                <a:ext cx="75628" cy="75723"/>
                <a:chOff x="7708486" y="3897153"/>
                <a:chExt cx="75628" cy="75723"/>
              </a:xfrm>
            </p:grpSpPr>
            <p:sp>
              <p:nvSpPr>
                <p:cNvPr id="18432" name="Freeform: Shape 18431">
                  <a:extLst>
                    <a:ext uri="{FF2B5EF4-FFF2-40B4-BE49-F238E27FC236}">
                      <a16:creationId xmlns:a16="http://schemas.microsoft.com/office/drawing/2014/main" id="{52411AE8-C37F-4D11-2BC9-3F4FB1F41F10}"/>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3" name="Freeform: Shape 18432">
                  <a:extLst>
                    <a:ext uri="{FF2B5EF4-FFF2-40B4-BE49-F238E27FC236}">
                      <a16:creationId xmlns:a16="http://schemas.microsoft.com/office/drawing/2014/main" id="{7ACA6307-C5E7-2416-A59E-F2D28EED4DC4}"/>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4" name="Graphic 1393">
                <a:extLst>
                  <a:ext uri="{FF2B5EF4-FFF2-40B4-BE49-F238E27FC236}">
                    <a16:creationId xmlns:a16="http://schemas.microsoft.com/office/drawing/2014/main" id="{5E2A0B89-E3D2-B638-1CF0-BD204C9C2033}"/>
                  </a:ext>
                </a:extLst>
              </p:cNvPr>
              <p:cNvGrpSpPr/>
              <p:nvPr/>
            </p:nvGrpSpPr>
            <p:grpSpPr>
              <a:xfrm>
                <a:off x="7427213" y="3851719"/>
                <a:ext cx="75628" cy="75723"/>
                <a:chOff x="7427213" y="3851719"/>
                <a:chExt cx="75628" cy="75723"/>
              </a:xfrm>
            </p:grpSpPr>
            <p:sp>
              <p:nvSpPr>
                <p:cNvPr id="18430" name="Freeform: Shape 18429">
                  <a:extLst>
                    <a:ext uri="{FF2B5EF4-FFF2-40B4-BE49-F238E27FC236}">
                      <a16:creationId xmlns:a16="http://schemas.microsoft.com/office/drawing/2014/main" id="{DFD1A217-E89F-3196-60F6-84C24562C708}"/>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1" name="Freeform: Shape 18430">
                  <a:extLst>
                    <a:ext uri="{FF2B5EF4-FFF2-40B4-BE49-F238E27FC236}">
                      <a16:creationId xmlns:a16="http://schemas.microsoft.com/office/drawing/2014/main" id="{4081E3D0-E045-A78B-8111-597F38F3D446}"/>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5" name="Graphic 1393">
                <a:extLst>
                  <a:ext uri="{FF2B5EF4-FFF2-40B4-BE49-F238E27FC236}">
                    <a16:creationId xmlns:a16="http://schemas.microsoft.com/office/drawing/2014/main" id="{30707965-6A2D-87BD-B1B9-89C0F1F5D1AE}"/>
                  </a:ext>
                </a:extLst>
              </p:cNvPr>
              <p:cNvGrpSpPr/>
              <p:nvPr/>
            </p:nvGrpSpPr>
            <p:grpSpPr>
              <a:xfrm>
                <a:off x="7367968" y="3813905"/>
                <a:ext cx="75723" cy="75723"/>
                <a:chOff x="7367968" y="3813905"/>
                <a:chExt cx="75723" cy="75723"/>
              </a:xfrm>
            </p:grpSpPr>
            <p:sp>
              <p:nvSpPr>
                <p:cNvPr id="18428" name="Freeform: Shape 18427">
                  <a:extLst>
                    <a:ext uri="{FF2B5EF4-FFF2-40B4-BE49-F238E27FC236}">
                      <a16:creationId xmlns:a16="http://schemas.microsoft.com/office/drawing/2014/main" id="{0F630F4A-64D7-9DA9-0C73-AE6DA6184219}"/>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9" name="Freeform: Shape 18428">
                  <a:extLst>
                    <a:ext uri="{FF2B5EF4-FFF2-40B4-BE49-F238E27FC236}">
                      <a16:creationId xmlns:a16="http://schemas.microsoft.com/office/drawing/2014/main" id="{96DB8CCD-5D14-E5FD-0D75-5800F9DF185B}"/>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6" name="Graphic 1393">
                <a:extLst>
                  <a:ext uri="{FF2B5EF4-FFF2-40B4-BE49-F238E27FC236}">
                    <a16:creationId xmlns:a16="http://schemas.microsoft.com/office/drawing/2014/main" id="{97932B66-2221-601F-CF8D-18D0344DC383}"/>
                  </a:ext>
                </a:extLst>
              </p:cNvPr>
              <p:cNvGrpSpPr/>
              <p:nvPr/>
            </p:nvGrpSpPr>
            <p:grpSpPr>
              <a:xfrm>
                <a:off x="7235475" y="3748659"/>
                <a:ext cx="75628" cy="75723"/>
                <a:chOff x="7235475" y="3748659"/>
                <a:chExt cx="75628" cy="75723"/>
              </a:xfrm>
            </p:grpSpPr>
            <p:sp>
              <p:nvSpPr>
                <p:cNvPr id="18426" name="Freeform: Shape 18425">
                  <a:extLst>
                    <a:ext uri="{FF2B5EF4-FFF2-40B4-BE49-F238E27FC236}">
                      <a16:creationId xmlns:a16="http://schemas.microsoft.com/office/drawing/2014/main" id="{108A6F0A-68F4-3D84-A1D2-7F77845FF553}"/>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7" name="Freeform: Shape 18426">
                  <a:extLst>
                    <a:ext uri="{FF2B5EF4-FFF2-40B4-BE49-F238E27FC236}">
                      <a16:creationId xmlns:a16="http://schemas.microsoft.com/office/drawing/2014/main" id="{D2F67BD4-DC8C-5BCB-CE6A-76F1EE1FA261}"/>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7" name="Graphic 1393">
                <a:extLst>
                  <a:ext uri="{FF2B5EF4-FFF2-40B4-BE49-F238E27FC236}">
                    <a16:creationId xmlns:a16="http://schemas.microsoft.com/office/drawing/2014/main" id="{B1F1A814-201E-61B2-DEA4-7CBF6D895C3B}"/>
                  </a:ext>
                </a:extLst>
              </p:cNvPr>
              <p:cNvGrpSpPr/>
              <p:nvPr/>
            </p:nvGrpSpPr>
            <p:grpSpPr>
              <a:xfrm>
                <a:off x="7284624" y="3748659"/>
                <a:ext cx="75628" cy="75723"/>
                <a:chOff x="7284624" y="3748659"/>
                <a:chExt cx="75628" cy="75723"/>
              </a:xfrm>
            </p:grpSpPr>
            <p:sp>
              <p:nvSpPr>
                <p:cNvPr id="18424" name="Freeform: Shape 18423">
                  <a:extLst>
                    <a:ext uri="{FF2B5EF4-FFF2-40B4-BE49-F238E27FC236}">
                      <a16:creationId xmlns:a16="http://schemas.microsoft.com/office/drawing/2014/main" id="{8165F70D-0C7F-535D-2814-F435CA177E2F}"/>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5" name="Freeform: Shape 18424">
                  <a:extLst>
                    <a:ext uri="{FF2B5EF4-FFF2-40B4-BE49-F238E27FC236}">
                      <a16:creationId xmlns:a16="http://schemas.microsoft.com/office/drawing/2014/main" id="{A87D8051-5E11-B715-081E-80983E76D82E}"/>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8" name="Graphic 1393">
                <a:extLst>
                  <a:ext uri="{FF2B5EF4-FFF2-40B4-BE49-F238E27FC236}">
                    <a16:creationId xmlns:a16="http://schemas.microsoft.com/office/drawing/2014/main" id="{87E13368-9B88-983D-77AA-369CD2F11465}"/>
                  </a:ext>
                </a:extLst>
              </p:cNvPr>
              <p:cNvGrpSpPr/>
              <p:nvPr/>
            </p:nvGrpSpPr>
            <p:grpSpPr>
              <a:xfrm>
                <a:off x="7023163" y="3695128"/>
                <a:ext cx="75723" cy="75723"/>
                <a:chOff x="7023163" y="3695128"/>
                <a:chExt cx="75723" cy="75723"/>
              </a:xfrm>
            </p:grpSpPr>
            <p:sp>
              <p:nvSpPr>
                <p:cNvPr id="18422" name="Freeform: Shape 18421">
                  <a:extLst>
                    <a:ext uri="{FF2B5EF4-FFF2-40B4-BE49-F238E27FC236}">
                      <a16:creationId xmlns:a16="http://schemas.microsoft.com/office/drawing/2014/main" id="{3BB5ACE0-A027-3395-94FF-4BE9B1F0699A}"/>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3" name="Freeform: Shape 18422">
                  <a:extLst>
                    <a:ext uri="{FF2B5EF4-FFF2-40B4-BE49-F238E27FC236}">
                      <a16:creationId xmlns:a16="http://schemas.microsoft.com/office/drawing/2014/main" id="{BA511599-1095-EB1B-FD88-8E47AB961EA1}"/>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69" name="Graphic 1393">
                <a:extLst>
                  <a:ext uri="{FF2B5EF4-FFF2-40B4-BE49-F238E27FC236}">
                    <a16:creationId xmlns:a16="http://schemas.microsoft.com/office/drawing/2014/main" id="{768AA53B-751E-F2B0-83EF-B70EAEFE1285}"/>
                  </a:ext>
                </a:extLst>
              </p:cNvPr>
              <p:cNvGrpSpPr/>
              <p:nvPr/>
            </p:nvGrpSpPr>
            <p:grpSpPr>
              <a:xfrm>
                <a:off x="6927532" y="3695128"/>
                <a:ext cx="75628" cy="75723"/>
                <a:chOff x="6927532" y="3695128"/>
                <a:chExt cx="75628" cy="75723"/>
              </a:xfrm>
            </p:grpSpPr>
            <p:sp>
              <p:nvSpPr>
                <p:cNvPr id="18420" name="Freeform: Shape 18419">
                  <a:extLst>
                    <a:ext uri="{FF2B5EF4-FFF2-40B4-BE49-F238E27FC236}">
                      <a16:creationId xmlns:a16="http://schemas.microsoft.com/office/drawing/2014/main" id="{FE970BB3-6F3F-9393-14F5-BF4D19AD1E9D}"/>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1" name="Freeform: Shape 18420">
                  <a:extLst>
                    <a:ext uri="{FF2B5EF4-FFF2-40B4-BE49-F238E27FC236}">
                      <a16:creationId xmlns:a16="http://schemas.microsoft.com/office/drawing/2014/main" id="{F3BC7DBC-7B8B-477D-6BD3-9F5F03258F6D}"/>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0" name="Graphic 1393">
                <a:extLst>
                  <a:ext uri="{FF2B5EF4-FFF2-40B4-BE49-F238E27FC236}">
                    <a16:creationId xmlns:a16="http://schemas.microsoft.com/office/drawing/2014/main" id="{0AF0CCFD-8F63-B9CE-4FE8-35F5F4DD09CF}"/>
                  </a:ext>
                </a:extLst>
              </p:cNvPr>
              <p:cNvGrpSpPr/>
              <p:nvPr/>
            </p:nvGrpSpPr>
            <p:grpSpPr>
              <a:xfrm>
                <a:off x="6911720" y="3695128"/>
                <a:ext cx="75723" cy="75723"/>
                <a:chOff x="6911720" y="3695128"/>
                <a:chExt cx="75723" cy="75723"/>
              </a:xfrm>
            </p:grpSpPr>
            <p:sp>
              <p:nvSpPr>
                <p:cNvPr id="18418" name="Freeform: Shape 18417">
                  <a:extLst>
                    <a:ext uri="{FF2B5EF4-FFF2-40B4-BE49-F238E27FC236}">
                      <a16:creationId xmlns:a16="http://schemas.microsoft.com/office/drawing/2014/main" id="{9077106E-E032-3B7F-7603-2B5A95E68AA1}"/>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19" name="Freeform: Shape 18418">
                  <a:extLst>
                    <a:ext uri="{FF2B5EF4-FFF2-40B4-BE49-F238E27FC236}">
                      <a16:creationId xmlns:a16="http://schemas.microsoft.com/office/drawing/2014/main" id="{AE704236-B897-AB26-CA02-EC4294F728DF}"/>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1" name="Graphic 1393">
                <a:extLst>
                  <a:ext uri="{FF2B5EF4-FFF2-40B4-BE49-F238E27FC236}">
                    <a16:creationId xmlns:a16="http://schemas.microsoft.com/office/drawing/2014/main" id="{19352A09-E2C5-514B-3B42-CA0BD0098458}"/>
                  </a:ext>
                </a:extLst>
              </p:cNvPr>
              <p:cNvGrpSpPr/>
              <p:nvPr/>
            </p:nvGrpSpPr>
            <p:grpSpPr>
              <a:xfrm>
                <a:off x="6839330" y="3669220"/>
                <a:ext cx="75723" cy="75723"/>
                <a:chOff x="6839330" y="3669220"/>
                <a:chExt cx="75723" cy="75723"/>
              </a:xfrm>
            </p:grpSpPr>
            <p:sp>
              <p:nvSpPr>
                <p:cNvPr id="18416" name="Freeform: Shape 18415">
                  <a:extLst>
                    <a:ext uri="{FF2B5EF4-FFF2-40B4-BE49-F238E27FC236}">
                      <a16:creationId xmlns:a16="http://schemas.microsoft.com/office/drawing/2014/main" id="{DD70678A-298C-FDD2-FF6B-AE45F760E36E}"/>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17" name="Freeform: Shape 18416">
                  <a:extLst>
                    <a:ext uri="{FF2B5EF4-FFF2-40B4-BE49-F238E27FC236}">
                      <a16:creationId xmlns:a16="http://schemas.microsoft.com/office/drawing/2014/main" id="{28D01B06-3AF3-7B84-DF51-834495AB63E8}"/>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2" name="Graphic 1393">
                <a:extLst>
                  <a:ext uri="{FF2B5EF4-FFF2-40B4-BE49-F238E27FC236}">
                    <a16:creationId xmlns:a16="http://schemas.microsoft.com/office/drawing/2014/main" id="{930B6F56-C21D-58B1-2818-29DD65A19DA4}"/>
                  </a:ext>
                </a:extLst>
              </p:cNvPr>
              <p:cNvGrpSpPr/>
              <p:nvPr/>
            </p:nvGrpSpPr>
            <p:grpSpPr>
              <a:xfrm>
                <a:off x="6510337" y="3646170"/>
                <a:ext cx="75723" cy="75628"/>
                <a:chOff x="6510337" y="3646170"/>
                <a:chExt cx="75723" cy="75628"/>
              </a:xfrm>
            </p:grpSpPr>
            <p:sp>
              <p:nvSpPr>
                <p:cNvPr id="18414" name="Freeform: Shape 18413">
                  <a:extLst>
                    <a:ext uri="{FF2B5EF4-FFF2-40B4-BE49-F238E27FC236}">
                      <a16:creationId xmlns:a16="http://schemas.microsoft.com/office/drawing/2014/main" id="{0E5D7AE2-A28E-2361-FCC3-505A6C956542}"/>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15" name="Freeform: Shape 18414">
                  <a:extLst>
                    <a:ext uri="{FF2B5EF4-FFF2-40B4-BE49-F238E27FC236}">
                      <a16:creationId xmlns:a16="http://schemas.microsoft.com/office/drawing/2014/main" id="{BA0FCEE6-346B-79D5-1F99-3296E31B6E77}"/>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3" name="Graphic 1393">
                <a:extLst>
                  <a:ext uri="{FF2B5EF4-FFF2-40B4-BE49-F238E27FC236}">
                    <a16:creationId xmlns:a16="http://schemas.microsoft.com/office/drawing/2014/main" id="{E92A1B01-258B-C1B2-34D7-E91C1A92FD2F}"/>
                  </a:ext>
                </a:extLst>
              </p:cNvPr>
              <p:cNvGrpSpPr/>
              <p:nvPr/>
            </p:nvGrpSpPr>
            <p:grpSpPr>
              <a:xfrm>
                <a:off x="6460902" y="3646170"/>
                <a:ext cx="75723" cy="75628"/>
                <a:chOff x="6460902" y="3646170"/>
                <a:chExt cx="75723" cy="75628"/>
              </a:xfrm>
            </p:grpSpPr>
            <p:sp>
              <p:nvSpPr>
                <p:cNvPr id="18412" name="Freeform: Shape 18411">
                  <a:extLst>
                    <a:ext uri="{FF2B5EF4-FFF2-40B4-BE49-F238E27FC236}">
                      <a16:creationId xmlns:a16="http://schemas.microsoft.com/office/drawing/2014/main" id="{6D4E1A67-A53A-4297-FC56-7F51D80BF379}"/>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13" name="Freeform: Shape 18412">
                  <a:extLst>
                    <a:ext uri="{FF2B5EF4-FFF2-40B4-BE49-F238E27FC236}">
                      <a16:creationId xmlns:a16="http://schemas.microsoft.com/office/drawing/2014/main" id="{273ECE81-CB9E-81E4-3134-EC0D8B8DE100}"/>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4" name="Graphic 1393">
                <a:extLst>
                  <a:ext uri="{FF2B5EF4-FFF2-40B4-BE49-F238E27FC236}">
                    <a16:creationId xmlns:a16="http://schemas.microsoft.com/office/drawing/2014/main" id="{D76BE33B-3025-87C2-88A9-30CC51BE1BE9}"/>
                  </a:ext>
                </a:extLst>
              </p:cNvPr>
              <p:cNvGrpSpPr/>
              <p:nvPr/>
            </p:nvGrpSpPr>
            <p:grpSpPr>
              <a:xfrm>
                <a:off x="6470808" y="3646170"/>
                <a:ext cx="75723" cy="75628"/>
                <a:chOff x="6470808" y="3646170"/>
                <a:chExt cx="75723" cy="75628"/>
              </a:xfrm>
            </p:grpSpPr>
            <p:sp>
              <p:nvSpPr>
                <p:cNvPr id="18410" name="Freeform: Shape 18409">
                  <a:extLst>
                    <a:ext uri="{FF2B5EF4-FFF2-40B4-BE49-F238E27FC236}">
                      <a16:creationId xmlns:a16="http://schemas.microsoft.com/office/drawing/2014/main" id="{7D9F84D7-E2C8-2F9C-9148-C128B06E2263}"/>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11" name="Freeform: Shape 18410">
                  <a:extLst>
                    <a:ext uri="{FF2B5EF4-FFF2-40B4-BE49-F238E27FC236}">
                      <a16:creationId xmlns:a16="http://schemas.microsoft.com/office/drawing/2014/main" id="{37D6CBC0-F38D-B6CB-0C01-4771B8E5CCDE}"/>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5" name="Graphic 1393">
                <a:extLst>
                  <a:ext uri="{FF2B5EF4-FFF2-40B4-BE49-F238E27FC236}">
                    <a16:creationId xmlns:a16="http://schemas.microsoft.com/office/drawing/2014/main" id="{8E497452-6EB2-D953-8BA1-1B6AEAED2F07}"/>
                  </a:ext>
                </a:extLst>
              </p:cNvPr>
              <p:cNvGrpSpPr/>
              <p:nvPr/>
            </p:nvGrpSpPr>
            <p:grpSpPr>
              <a:xfrm>
                <a:off x="6480714" y="3646170"/>
                <a:ext cx="75723" cy="75628"/>
                <a:chOff x="6480714" y="3646170"/>
                <a:chExt cx="75723" cy="75628"/>
              </a:xfrm>
            </p:grpSpPr>
            <p:sp>
              <p:nvSpPr>
                <p:cNvPr id="18408" name="Freeform: Shape 18407">
                  <a:extLst>
                    <a:ext uri="{FF2B5EF4-FFF2-40B4-BE49-F238E27FC236}">
                      <a16:creationId xmlns:a16="http://schemas.microsoft.com/office/drawing/2014/main" id="{7AE31989-C39B-813E-911F-2A2E6673C69E}"/>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9" name="Freeform: Shape 18408">
                  <a:extLst>
                    <a:ext uri="{FF2B5EF4-FFF2-40B4-BE49-F238E27FC236}">
                      <a16:creationId xmlns:a16="http://schemas.microsoft.com/office/drawing/2014/main" id="{4675C8FE-C5F1-41E3-90C9-EE3D114A45A8}"/>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6" name="Graphic 1393">
                <a:extLst>
                  <a:ext uri="{FF2B5EF4-FFF2-40B4-BE49-F238E27FC236}">
                    <a16:creationId xmlns:a16="http://schemas.microsoft.com/office/drawing/2014/main" id="{A58F5906-8A3D-A5FA-A5F2-A24E1D548C8B}"/>
                  </a:ext>
                </a:extLst>
              </p:cNvPr>
              <p:cNvGrpSpPr/>
              <p:nvPr/>
            </p:nvGrpSpPr>
            <p:grpSpPr>
              <a:xfrm>
                <a:off x="6490620" y="3646170"/>
                <a:ext cx="75628" cy="75628"/>
                <a:chOff x="6490620" y="3646170"/>
                <a:chExt cx="75628" cy="75628"/>
              </a:xfrm>
            </p:grpSpPr>
            <p:sp>
              <p:nvSpPr>
                <p:cNvPr id="18406" name="Freeform: Shape 18405">
                  <a:extLst>
                    <a:ext uri="{FF2B5EF4-FFF2-40B4-BE49-F238E27FC236}">
                      <a16:creationId xmlns:a16="http://schemas.microsoft.com/office/drawing/2014/main" id="{193B05B0-3A92-2E0F-A3C9-7B61CA5E0B3A}"/>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7" name="Freeform: Shape 18406">
                  <a:extLst>
                    <a:ext uri="{FF2B5EF4-FFF2-40B4-BE49-F238E27FC236}">
                      <a16:creationId xmlns:a16="http://schemas.microsoft.com/office/drawing/2014/main" id="{3ED682B7-1055-71B8-9781-87ECE0B6B6EE}"/>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7" name="Graphic 1393">
                <a:extLst>
                  <a:ext uri="{FF2B5EF4-FFF2-40B4-BE49-F238E27FC236}">
                    <a16:creationId xmlns:a16="http://schemas.microsoft.com/office/drawing/2014/main" id="{D662BD8F-3FED-835F-3024-4BB01BADFAE3}"/>
                  </a:ext>
                </a:extLst>
              </p:cNvPr>
              <p:cNvGrpSpPr/>
              <p:nvPr/>
            </p:nvGrpSpPr>
            <p:grpSpPr>
              <a:xfrm>
                <a:off x="6500431" y="3646170"/>
                <a:ext cx="75723" cy="75628"/>
                <a:chOff x="6500431" y="3646170"/>
                <a:chExt cx="75723" cy="75628"/>
              </a:xfrm>
            </p:grpSpPr>
            <p:sp>
              <p:nvSpPr>
                <p:cNvPr id="18404" name="Freeform: Shape 18403">
                  <a:extLst>
                    <a:ext uri="{FF2B5EF4-FFF2-40B4-BE49-F238E27FC236}">
                      <a16:creationId xmlns:a16="http://schemas.microsoft.com/office/drawing/2014/main" id="{6A89300A-AFEB-96BE-E317-49B1F7B0BEBD}"/>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5" name="Freeform: Shape 18404">
                  <a:extLst>
                    <a:ext uri="{FF2B5EF4-FFF2-40B4-BE49-F238E27FC236}">
                      <a16:creationId xmlns:a16="http://schemas.microsoft.com/office/drawing/2014/main" id="{F910F592-B4D2-03D6-1D66-342C61F21878}"/>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8" name="Graphic 1393">
                <a:extLst>
                  <a:ext uri="{FF2B5EF4-FFF2-40B4-BE49-F238E27FC236}">
                    <a16:creationId xmlns:a16="http://schemas.microsoft.com/office/drawing/2014/main" id="{11279081-417D-4037-1A7F-3C4E8FF56EEC}"/>
                  </a:ext>
                </a:extLst>
              </p:cNvPr>
              <p:cNvGrpSpPr/>
              <p:nvPr/>
            </p:nvGrpSpPr>
            <p:grpSpPr>
              <a:xfrm>
                <a:off x="6452139" y="3598449"/>
                <a:ext cx="75723" cy="75628"/>
                <a:chOff x="6452139" y="3598449"/>
                <a:chExt cx="75723" cy="75628"/>
              </a:xfrm>
            </p:grpSpPr>
            <p:sp>
              <p:nvSpPr>
                <p:cNvPr id="18402" name="Freeform: Shape 18401">
                  <a:extLst>
                    <a:ext uri="{FF2B5EF4-FFF2-40B4-BE49-F238E27FC236}">
                      <a16:creationId xmlns:a16="http://schemas.microsoft.com/office/drawing/2014/main" id="{4003079E-829B-A000-5BE1-10AE78B9609F}"/>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3" name="Freeform: Shape 18402">
                  <a:extLst>
                    <a:ext uri="{FF2B5EF4-FFF2-40B4-BE49-F238E27FC236}">
                      <a16:creationId xmlns:a16="http://schemas.microsoft.com/office/drawing/2014/main" id="{3D6BA981-AA15-DC42-FF7E-7394FE47F2C0}"/>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79" name="Graphic 1393">
                <a:extLst>
                  <a:ext uri="{FF2B5EF4-FFF2-40B4-BE49-F238E27FC236}">
                    <a16:creationId xmlns:a16="http://schemas.microsoft.com/office/drawing/2014/main" id="{600005EF-8E6B-BBC6-98D0-481541A0CC98}"/>
                  </a:ext>
                </a:extLst>
              </p:cNvPr>
              <p:cNvGrpSpPr/>
              <p:nvPr/>
            </p:nvGrpSpPr>
            <p:grpSpPr>
              <a:xfrm>
                <a:off x="6402704" y="3598449"/>
                <a:ext cx="75723" cy="75628"/>
                <a:chOff x="6402704" y="3598449"/>
                <a:chExt cx="75723" cy="75628"/>
              </a:xfrm>
            </p:grpSpPr>
            <p:sp>
              <p:nvSpPr>
                <p:cNvPr id="18400" name="Freeform: Shape 18399">
                  <a:extLst>
                    <a:ext uri="{FF2B5EF4-FFF2-40B4-BE49-F238E27FC236}">
                      <a16:creationId xmlns:a16="http://schemas.microsoft.com/office/drawing/2014/main" id="{D14573F5-6986-5D06-BF85-3E2CEF71A89C}"/>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1" name="Freeform: Shape 18400">
                  <a:extLst>
                    <a:ext uri="{FF2B5EF4-FFF2-40B4-BE49-F238E27FC236}">
                      <a16:creationId xmlns:a16="http://schemas.microsoft.com/office/drawing/2014/main" id="{652325B4-A89D-12F5-8236-7789B1E280B3}"/>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0" name="Graphic 1393">
                <a:extLst>
                  <a:ext uri="{FF2B5EF4-FFF2-40B4-BE49-F238E27FC236}">
                    <a16:creationId xmlns:a16="http://schemas.microsoft.com/office/drawing/2014/main" id="{D695AE2E-83BB-5FCC-23E3-DB7FAFC9CF3E}"/>
                  </a:ext>
                </a:extLst>
              </p:cNvPr>
              <p:cNvGrpSpPr/>
              <p:nvPr/>
            </p:nvGrpSpPr>
            <p:grpSpPr>
              <a:xfrm>
                <a:off x="6256876" y="3598449"/>
                <a:ext cx="75723" cy="75628"/>
                <a:chOff x="6256876" y="3598449"/>
                <a:chExt cx="75723" cy="75628"/>
              </a:xfrm>
            </p:grpSpPr>
            <p:sp>
              <p:nvSpPr>
                <p:cNvPr id="18398" name="Freeform: Shape 18397">
                  <a:extLst>
                    <a:ext uri="{FF2B5EF4-FFF2-40B4-BE49-F238E27FC236}">
                      <a16:creationId xmlns:a16="http://schemas.microsoft.com/office/drawing/2014/main" id="{40066BFA-11F3-9731-7F9E-DF8BA48518F0}"/>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99" name="Freeform: Shape 18398">
                  <a:extLst>
                    <a:ext uri="{FF2B5EF4-FFF2-40B4-BE49-F238E27FC236}">
                      <a16:creationId xmlns:a16="http://schemas.microsoft.com/office/drawing/2014/main" id="{E5DFC194-3FD4-670D-DD2E-2506544E81AE}"/>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1" name="Graphic 1393">
                <a:extLst>
                  <a:ext uri="{FF2B5EF4-FFF2-40B4-BE49-F238E27FC236}">
                    <a16:creationId xmlns:a16="http://schemas.microsoft.com/office/drawing/2014/main" id="{76ADDE75-EB98-E057-9219-23C3770886EF}"/>
                  </a:ext>
                </a:extLst>
              </p:cNvPr>
              <p:cNvGrpSpPr/>
              <p:nvPr/>
            </p:nvGrpSpPr>
            <p:grpSpPr>
              <a:xfrm>
                <a:off x="6239827" y="3598449"/>
                <a:ext cx="75723" cy="75628"/>
                <a:chOff x="6239827" y="3598449"/>
                <a:chExt cx="75723" cy="75628"/>
              </a:xfrm>
            </p:grpSpPr>
            <p:sp>
              <p:nvSpPr>
                <p:cNvPr id="18396" name="Freeform: Shape 18395">
                  <a:extLst>
                    <a:ext uri="{FF2B5EF4-FFF2-40B4-BE49-F238E27FC236}">
                      <a16:creationId xmlns:a16="http://schemas.microsoft.com/office/drawing/2014/main" id="{58002B55-0277-30FF-718E-94085BAD37F4}"/>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97" name="Freeform: Shape 18396">
                  <a:extLst>
                    <a:ext uri="{FF2B5EF4-FFF2-40B4-BE49-F238E27FC236}">
                      <a16:creationId xmlns:a16="http://schemas.microsoft.com/office/drawing/2014/main" id="{31ED94CB-CE01-40A8-058E-C37CC9B3A5F3}"/>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2" name="Graphic 1393">
                <a:extLst>
                  <a:ext uri="{FF2B5EF4-FFF2-40B4-BE49-F238E27FC236}">
                    <a16:creationId xmlns:a16="http://schemas.microsoft.com/office/drawing/2014/main" id="{DEEAEE65-8368-6137-9B99-8670C013D05E}"/>
                  </a:ext>
                </a:extLst>
              </p:cNvPr>
              <p:cNvGrpSpPr/>
              <p:nvPr/>
            </p:nvGrpSpPr>
            <p:grpSpPr>
              <a:xfrm>
                <a:off x="6193059" y="3598449"/>
                <a:ext cx="75628" cy="75628"/>
                <a:chOff x="6193059" y="3598449"/>
                <a:chExt cx="75628" cy="75628"/>
              </a:xfrm>
            </p:grpSpPr>
            <p:sp>
              <p:nvSpPr>
                <p:cNvPr id="18394" name="Freeform: Shape 18393">
                  <a:extLst>
                    <a:ext uri="{FF2B5EF4-FFF2-40B4-BE49-F238E27FC236}">
                      <a16:creationId xmlns:a16="http://schemas.microsoft.com/office/drawing/2014/main" id="{4A14D21F-0815-FBAA-B252-9860E6FE0A43}"/>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95" name="Freeform: Shape 18394">
                  <a:extLst>
                    <a:ext uri="{FF2B5EF4-FFF2-40B4-BE49-F238E27FC236}">
                      <a16:creationId xmlns:a16="http://schemas.microsoft.com/office/drawing/2014/main" id="{12495EBE-24DE-5A75-30E9-1CF078BAFE66}"/>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3" name="Graphic 1393">
                <a:extLst>
                  <a:ext uri="{FF2B5EF4-FFF2-40B4-BE49-F238E27FC236}">
                    <a16:creationId xmlns:a16="http://schemas.microsoft.com/office/drawing/2014/main" id="{791987F0-C93B-B0B7-4723-3A37AC6446DD}"/>
                  </a:ext>
                </a:extLst>
              </p:cNvPr>
              <p:cNvGrpSpPr/>
              <p:nvPr/>
            </p:nvGrpSpPr>
            <p:grpSpPr>
              <a:xfrm>
                <a:off x="6090284" y="3598449"/>
                <a:ext cx="75723" cy="75628"/>
                <a:chOff x="6090284" y="3598449"/>
                <a:chExt cx="75723" cy="75628"/>
              </a:xfrm>
            </p:grpSpPr>
            <p:sp>
              <p:nvSpPr>
                <p:cNvPr id="18392" name="Freeform: Shape 18391">
                  <a:extLst>
                    <a:ext uri="{FF2B5EF4-FFF2-40B4-BE49-F238E27FC236}">
                      <a16:creationId xmlns:a16="http://schemas.microsoft.com/office/drawing/2014/main" id="{76FBB9AA-7EA5-1930-CE15-AF00444FB495}"/>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93" name="Freeform: Shape 18392">
                  <a:extLst>
                    <a:ext uri="{FF2B5EF4-FFF2-40B4-BE49-F238E27FC236}">
                      <a16:creationId xmlns:a16="http://schemas.microsoft.com/office/drawing/2014/main" id="{871A2069-71ED-01A3-159E-C8393653614F}"/>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4" name="Graphic 1393">
                <a:extLst>
                  <a:ext uri="{FF2B5EF4-FFF2-40B4-BE49-F238E27FC236}">
                    <a16:creationId xmlns:a16="http://schemas.microsoft.com/office/drawing/2014/main" id="{233866AF-9978-0A51-CE7A-462F6DD01BE5}"/>
                  </a:ext>
                </a:extLst>
              </p:cNvPr>
              <p:cNvGrpSpPr/>
              <p:nvPr/>
            </p:nvGrpSpPr>
            <p:grpSpPr>
              <a:xfrm>
                <a:off x="6076949" y="3598449"/>
                <a:ext cx="75723" cy="75628"/>
                <a:chOff x="6076949" y="3598449"/>
                <a:chExt cx="75723" cy="75628"/>
              </a:xfrm>
            </p:grpSpPr>
            <p:sp>
              <p:nvSpPr>
                <p:cNvPr id="18390" name="Freeform: Shape 18389">
                  <a:extLst>
                    <a:ext uri="{FF2B5EF4-FFF2-40B4-BE49-F238E27FC236}">
                      <a16:creationId xmlns:a16="http://schemas.microsoft.com/office/drawing/2014/main" id="{FAA51A7D-5748-E1B5-666C-A2F771C489B1}"/>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91" name="Freeform: Shape 18390">
                  <a:extLst>
                    <a:ext uri="{FF2B5EF4-FFF2-40B4-BE49-F238E27FC236}">
                      <a16:creationId xmlns:a16="http://schemas.microsoft.com/office/drawing/2014/main" id="{9673C98A-5D5C-85B1-3B97-06DAB0D59FFC}"/>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5" name="Graphic 1393">
                <a:extLst>
                  <a:ext uri="{FF2B5EF4-FFF2-40B4-BE49-F238E27FC236}">
                    <a16:creationId xmlns:a16="http://schemas.microsoft.com/office/drawing/2014/main" id="{690AA1AD-DEC8-5ED2-0E15-AD03FC7EECBA}"/>
                  </a:ext>
                </a:extLst>
              </p:cNvPr>
              <p:cNvGrpSpPr/>
              <p:nvPr/>
            </p:nvGrpSpPr>
            <p:grpSpPr>
              <a:xfrm>
                <a:off x="5979032" y="3475291"/>
                <a:ext cx="75628" cy="75723"/>
                <a:chOff x="5979032" y="3475291"/>
                <a:chExt cx="75628" cy="75723"/>
              </a:xfrm>
            </p:grpSpPr>
            <p:sp>
              <p:nvSpPr>
                <p:cNvPr id="18388" name="Freeform: Shape 18387">
                  <a:extLst>
                    <a:ext uri="{FF2B5EF4-FFF2-40B4-BE49-F238E27FC236}">
                      <a16:creationId xmlns:a16="http://schemas.microsoft.com/office/drawing/2014/main" id="{ECCC5EB8-6328-361A-3E51-354E18CD2293}"/>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9" name="Freeform: Shape 18388">
                  <a:extLst>
                    <a:ext uri="{FF2B5EF4-FFF2-40B4-BE49-F238E27FC236}">
                      <a16:creationId xmlns:a16="http://schemas.microsoft.com/office/drawing/2014/main" id="{8560AC3B-DA1D-B152-51C0-C075F2B58BFC}"/>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6" name="Graphic 1393">
                <a:extLst>
                  <a:ext uri="{FF2B5EF4-FFF2-40B4-BE49-F238E27FC236}">
                    <a16:creationId xmlns:a16="http://schemas.microsoft.com/office/drawing/2014/main" id="{C945D910-334E-063A-368F-58A4A03B2DC9}"/>
                  </a:ext>
                </a:extLst>
              </p:cNvPr>
              <p:cNvGrpSpPr/>
              <p:nvPr/>
            </p:nvGrpSpPr>
            <p:grpSpPr>
              <a:xfrm>
                <a:off x="5727953" y="3446907"/>
                <a:ext cx="75628" cy="75628"/>
                <a:chOff x="5727953" y="3446907"/>
                <a:chExt cx="75628" cy="75628"/>
              </a:xfrm>
            </p:grpSpPr>
            <p:sp>
              <p:nvSpPr>
                <p:cNvPr id="18386" name="Freeform: Shape 18385">
                  <a:extLst>
                    <a:ext uri="{FF2B5EF4-FFF2-40B4-BE49-F238E27FC236}">
                      <a16:creationId xmlns:a16="http://schemas.microsoft.com/office/drawing/2014/main" id="{96E0130C-E6FD-2559-9DED-8E727610CF3D}"/>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7" name="Freeform: Shape 18386">
                  <a:extLst>
                    <a:ext uri="{FF2B5EF4-FFF2-40B4-BE49-F238E27FC236}">
                      <a16:creationId xmlns:a16="http://schemas.microsoft.com/office/drawing/2014/main" id="{70DC5138-D16B-710C-358C-CAD0E55EC752}"/>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7" name="Graphic 1393">
                <a:extLst>
                  <a:ext uri="{FF2B5EF4-FFF2-40B4-BE49-F238E27FC236}">
                    <a16:creationId xmlns:a16="http://schemas.microsoft.com/office/drawing/2014/main" id="{92EB4830-9628-1F18-9495-F48DCF044C01}"/>
                  </a:ext>
                </a:extLst>
              </p:cNvPr>
              <p:cNvGrpSpPr/>
              <p:nvPr/>
            </p:nvGrpSpPr>
            <p:grpSpPr>
              <a:xfrm>
                <a:off x="5503544" y="3315557"/>
                <a:ext cx="75723" cy="75723"/>
                <a:chOff x="5503544" y="3315557"/>
                <a:chExt cx="75723" cy="75723"/>
              </a:xfrm>
            </p:grpSpPr>
            <p:sp>
              <p:nvSpPr>
                <p:cNvPr id="18384" name="Freeform: Shape 18383">
                  <a:extLst>
                    <a:ext uri="{FF2B5EF4-FFF2-40B4-BE49-F238E27FC236}">
                      <a16:creationId xmlns:a16="http://schemas.microsoft.com/office/drawing/2014/main" id="{11EAD5B9-9E87-C7A3-4353-F2A91693161E}"/>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5" name="Freeform: Shape 18384">
                  <a:extLst>
                    <a:ext uri="{FF2B5EF4-FFF2-40B4-BE49-F238E27FC236}">
                      <a16:creationId xmlns:a16="http://schemas.microsoft.com/office/drawing/2014/main" id="{7D7C7B3E-4712-02BA-DAD4-0A6D6052A841}"/>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8" name="Graphic 1393">
                <a:extLst>
                  <a:ext uri="{FF2B5EF4-FFF2-40B4-BE49-F238E27FC236}">
                    <a16:creationId xmlns:a16="http://schemas.microsoft.com/office/drawing/2014/main" id="{703A87A2-FF25-F0C1-B026-DF44E0B85016}"/>
                  </a:ext>
                </a:extLst>
              </p:cNvPr>
              <p:cNvGrpSpPr/>
              <p:nvPr/>
            </p:nvGrpSpPr>
            <p:grpSpPr>
              <a:xfrm>
                <a:off x="5335428" y="3264884"/>
                <a:ext cx="75723" cy="75628"/>
                <a:chOff x="5335428" y="3264884"/>
                <a:chExt cx="75723" cy="75628"/>
              </a:xfrm>
            </p:grpSpPr>
            <p:sp>
              <p:nvSpPr>
                <p:cNvPr id="18382" name="Freeform: Shape 18381">
                  <a:extLst>
                    <a:ext uri="{FF2B5EF4-FFF2-40B4-BE49-F238E27FC236}">
                      <a16:creationId xmlns:a16="http://schemas.microsoft.com/office/drawing/2014/main" id="{93911937-1BA7-E137-41AE-ECA71B9C8A25}"/>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3" name="Freeform: Shape 18382">
                  <a:extLst>
                    <a:ext uri="{FF2B5EF4-FFF2-40B4-BE49-F238E27FC236}">
                      <a16:creationId xmlns:a16="http://schemas.microsoft.com/office/drawing/2014/main" id="{DEE2A8B6-259C-C9E0-DAFF-1E5D4AB83C9A}"/>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89" name="Graphic 1393">
                <a:extLst>
                  <a:ext uri="{FF2B5EF4-FFF2-40B4-BE49-F238E27FC236}">
                    <a16:creationId xmlns:a16="http://schemas.microsoft.com/office/drawing/2014/main" id="{D0471BDA-D85E-CEC9-636C-DBC313EBE78F}"/>
                  </a:ext>
                </a:extLst>
              </p:cNvPr>
              <p:cNvGrpSpPr/>
              <p:nvPr/>
            </p:nvGrpSpPr>
            <p:grpSpPr>
              <a:xfrm>
                <a:off x="5266181" y="3264884"/>
                <a:ext cx="75628" cy="75628"/>
                <a:chOff x="5266181" y="3264884"/>
                <a:chExt cx="75628" cy="75628"/>
              </a:xfrm>
            </p:grpSpPr>
            <p:sp>
              <p:nvSpPr>
                <p:cNvPr id="18380" name="Freeform: Shape 18379">
                  <a:extLst>
                    <a:ext uri="{FF2B5EF4-FFF2-40B4-BE49-F238E27FC236}">
                      <a16:creationId xmlns:a16="http://schemas.microsoft.com/office/drawing/2014/main" id="{2DF7E485-A2B3-99D5-4E51-E5E1FA725911}"/>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1" name="Freeform: Shape 18380">
                  <a:extLst>
                    <a:ext uri="{FF2B5EF4-FFF2-40B4-BE49-F238E27FC236}">
                      <a16:creationId xmlns:a16="http://schemas.microsoft.com/office/drawing/2014/main" id="{A172693C-A910-A182-F78E-E475C55512C5}"/>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0" name="Graphic 1393">
                <a:extLst>
                  <a:ext uri="{FF2B5EF4-FFF2-40B4-BE49-F238E27FC236}">
                    <a16:creationId xmlns:a16="http://schemas.microsoft.com/office/drawing/2014/main" id="{CA3DA743-AC0F-A169-0413-DFF3BC74BD54}"/>
                  </a:ext>
                </a:extLst>
              </p:cNvPr>
              <p:cNvGrpSpPr/>
              <p:nvPr/>
            </p:nvGrpSpPr>
            <p:grpSpPr>
              <a:xfrm>
                <a:off x="5051678" y="3139916"/>
                <a:ext cx="75723" cy="75723"/>
                <a:chOff x="5051678" y="3139916"/>
                <a:chExt cx="75723" cy="75723"/>
              </a:xfrm>
            </p:grpSpPr>
            <p:sp>
              <p:nvSpPr>
                <p:cNvPr id="18378" name="Freeform: Shape 18377">
                  <a:extLst>
                    <a:ext uri="{FF2B5EF4-FFF2-40B4-BE49-F238E27FC236}">
                      <a16:creationId xmlns:a16="http://schemas.microsoft.com/office/drawing/2014/main" id="{3FCCDDAC-4209-FAED-07A3-BF6A2BB05967}"/>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79" name="Freeform: Shape 18378">
                  <a:extLst>
                    <a:ext uri="{FF2B5EF4-FFF2-40B4-BE49-F238E27FC236}">
                      <a16:creationId xmlns:a16="http://schemas.microsoft.com/office/drawing/2014/main" id="{D1554039-ED41-E23A-CBCF-C48F567629FD}"/>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1" name="Graphic 1393">
                <a:extLst>
                  <a:ext uri="{FF2B5EF4-FFF2-40B4-BE49-F238E27FC236}">
                    <a16:creationId xmlns:a16="http://schemas.microsoft.com/office/drawing/2014/main" id="{881CD702-090D-E523-54A6-4F7DBBB52F10}"/>
                  </a:ext>
                </a:extLst>
              </p:cNvPr>
              <p:cNvGrpSpPr/>
              <p:nvPr/>
            </p:nvGrpSpPr>
            <p:grpSpPr>
              <a:xfrm>
                <a:off x="4771834" y="3080289"/>
                <a:ext cx="75723" cy="75723"/>
                <a:chOff x="4771834" y="3080289"/>
                <a:chExt cx="75723" cy="75723"/>
              </a:xfrm>
            </p:grpSpPr>
            <p:sp>
              <p:nvSpPr>
                <p:cNvPr id="18376" name="Freeform: Shape 18375">
                  <a:extLst>
                    <a:ext uri="{FF2B5EF4-FFF2-40B4-BE49-F238E27FC236}">
                      <a16:creationId xmlns:a16="http://schemas.microsoft.com/office/drawing/2014/main" id="{371A59EA-9574-94E4-5A22-6FC00E924FAC}"/>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77" name="Freeform: Shape 18376">
                  <a:extLst>
                    <a:ext uri="{FF2B5EF4-FFF2-40B4-BE49-F238E27FC236}">
                      <a16:creationId xmlns:a16="http://schemas.microsoft.com/office/drawing/2014/main" id="{90B31D37-597B-1781-EAC9-9B09FA59C2BB}"/>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2" name="Graphic 1393">
                <a:extLst>
                  <a:ext uri="{FF2B5EF4-FFF2-40B4-BE49-F238E27FC236}">
                    <a16:creationId xmlns:a16="http://schemas.microsoft.com/office/drawing/2014/main" id="{AAE9767C-F723-B3ED-A843-0AB1131E89BC}"/>
                  </a:ext>
                </a:extLst>
              </p:cNvPr>
              <p:cNvGrpSpPr/>
              <p:nvPr/>
            </p:nvGrpSpPr>
            <p:grpSpPr>
              <a:xfrm>
                <a:off x="4719256" y="2926461"/>
                <a:ext cx="75723" cy="75723"/>
                <a:chOff x="4719256" y="2926461"/>
                <a:chExt cx="75723" cy="75723"/>
              </a:xfrm>
            </p:grpSpPr>
            <p:sp>
              <p:nvSpPr>
                <p:cNvPr id="18374" name="Freeform: Shape 18373">
                  <a:extLst>
                    <a:ext uri="{FF2B5EF4-FFF2-40B4-BE49-F238E27FC236}">
                      <a16:creationId xmlns:a16="http://schemas.microsoft.com/office/drawing/2014/main" id="{C5F5BE68-C5D2-055E-884E-5AD0A1FF372B}"/>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75" name="Freeform: Shape 18374">
                  <a:extLst>
                    <a:ext uri="{FF2B5EF4-FFF2-40B4-BE49-F238E27FC236}">
                      <a16:creationId xmlns:a16="http://schemas.microsoft.com/office/drawing/2014/main" id="{372D9FA7-49D0-F078-D6B0-65EA20322116}"/>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3" name="Graphic 1393">
                <a:extLst>
                  <a:ext uri="{FF2B5EF4-FFF2-40B4-BE49-F238E27FC236}">
                    <a16:creationId xmlns:a16="http://schemas.microsoft.com/office/drawing/2014/main" id="{C35EEC2D-DD65-0346-1324-5BC62297BCCE}"/>
                  </a:ext>
                </a:extLst>
              </p:cNvPr>
              <p:cNvGrpSpPr/>
              <p:nvPr/>
            </p:nvGrpSpPr>
            <p:grpSpPr>
              <a:xfrm>
                <a:off x="4684299" y="2858357"/>
                <a:ext cx="75723" cy="75628"/>
                <a:chOff x="4684299" y="2858357"/>
                <a:chExt cx="75723" cy="75628"/>
              </a:xfrm>
            </p:grpSpPr>
            <p:sp>
              <p:nvSpPr>
                <p:cNvPr id="18372" name="Freeform: Shape 18371">
                  <a:extLst>
                    <a:ext uri="{FF2B5EF4-FFF2-40B4-BE49-F238E27FC236}">
                      <a16:creationId xmlns:a16="http://schemas.microsoft.com/office/drawing/2014/main" id="{33C45237-AA36-DCC6-FC9F-C488D472788A}"/>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73" name="Freeform: Shape 18372">
                  <a:extLst>
                    <a:ext uri="{FF2B5EF4-FFF2-40B4-BE49-F238E27FC236}">
                      <a16:creationId xmlns:a16="http://schemas.microsoft.com/office/drawing/2014/main" id="{6892B70C-B316-83DC-012A-18289832E957}"/>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4" name="Graphic 1393">
                <a:extLst>
                  <a:ext uri="{FF2B5EF4-FFF2-40B4-BE49-F238E27FC236}">
                    <a16:creationId xmlns:a16="http://schemas.microsoft.com/office/drawing/2014/main" id="{2DBAE969-0EB5-2B80-1C2E-DA9EC1D903F6}"/>
                  </a:ext>
                </a:extLst>
              </p:cNvPr>
              <p:cNvGrpSpPr/>
              <p:nvPr/>
            </p:nvGrpSpPr>
            <p:grpSpPr>
              <a:xfrm>
                <a:off x="4659439" y="2844641"/>
                <a:ext cx="75628" cy="75723"/>
                <a:chOff x="4659439" y="2844641"/>
                <a:chExt cx="75628" cy="75723"/>
              </a:xfrm>
            </p:grpSpPr>
            <p:sp>
              <p:nvSpPr>
                <p:cNvPr id="18370" name="Freeform: Shape 18369">
                  <a:extLst>
                    <a:ext uri="{FF2B5EF4-FFF2-40B4-BE49-F238E27FC236}">
                      <a16:creationId xmlns:a16="http://schemas.microsoft.com/office/drawing/2014/main" id="{34688A02-A6A9-34F5-3857-2E40B7849262}"/>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71" name="Freeform: Shape 18370">
                  <a:extLst>
                    <a:ext uri="{FF2B5EF4-FFF2-40B4-BE49-F238E27FC236}">
                      <a16:creationId xmlns:a16="http://schemas.microsoft.com/office/drawing/2014/main" id="{A809098D-11BD-427C-058C-BD8A3D15E440}"/>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5" name="Graphic 1393">
                <a:extLst>
                  <a:ext uri="{FF2B5EF4-FFF2-40B4-BE49-F238E27FC236}">
                    <a16:creationId xmlns:a16="http://schemas.microsoft.com/office/drawing/2014/main" id="{A64E6128-9039-F4EF-BC20-4C4273926E9F}"/>
                  </a:ext>
                </a:extLst>
              </p:cNvPr>
              <p:cNvGrpSpPr/>
              <p:nvPr/>
            </p:nvGrpSpPr>
            <p:grpSpPr>
              <a:xfrm>
                <a:off x="4633531" y="2834925"/>
                <a:ext cx="75723" cy="75628"/>
                <a:chOff x="4633531" y="2834925"/>
                <a:chExt cx="75723" cy="75628"/>
              </a:xfrm>
            </p:grpSpPr>
            <p:sp>
              <p:nvSpPr>
                <p:cNvPr id="18368" name="Freeform: Shape 18367">
                  <a:extLst>
                    <a:ext uri="{FF2B5EF4-FFF2-40B4-BE49-F238E27FC236}">
                      <a16:creationId xmlns:a16="http://schemas.microsoft.com/office/drawing/2014/main" id="{A60FFCEC-C7B8-0A77-4525-57D51DAC7B2E}"/>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9" name="Freeform: Shape 18368">
                  <a:extLst>
                    <a:ext uri="{FF2B5EF4-FFF2-40B4-BE49-F238E27FC236}">
                      <a16:creationId xmlns:a16="http://schemas.microsoft.com/office/drawing/2014/main" id="{6B1A1B8F-CC16-809B-A81D-A2AF117C45EE}"/>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6" name="Graphic 1393">
                <a:extLst>
                  <a:ext uri="{FF2B5EF4-FFF2-40B4-BE49-F238E27FC236}">
                    <a16:creationId xmlns:a16="http://schemas.microsoft.com/office/drawing/2014/main" id="{46014C17-2EF4-0C7A-DF1D-5BCAAC5C70C2}"/>
                  </a:ext>
                </a:extLst>
              </p:cNvPr>
              <p:cNvGrpSpPr/>
              <p:nvPr/>
            </p:nvGrpSpPr>
            <p:grpSpPr>
              <a:xfrm>
                <a:off x="4496180" y="2802350"/>
                <a:ext cx="75628" cy="75723"/>
                <a:chOff x="4496180" y="2802350"/>
                <a:chExt cx="75628" cy="75723"/>
              </a:xfrm>
            </p:grpSpPr>
            <p:sp>
              <p:nvSpPr>
                <p:cNvPr id="18366" name="Freeform: Shape 18365">
                  <a:extLst>
                    <a:ext uri="{FF2B5EF4-FFF2-40B4-BE49-F238E27FC236}">
                      <a16:creationId xmlns:a16="http://schemas.microsoft.com/office/drawing/2014/main" id="{0C49B833-AB9B-EA4D-C547-FD2B713E70C2}"/>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7" name="Freeform: Shape 18366">
                  <a:extLst>
                    <a:ext uri="{FF2B5EF4-FFF2-40B4-BE49-F238E27FC236}">
                      <a16:creationId xmlns:a16="http://schemas.microsoft.com/office/drawing/2014/main" id="{07E14263-709E-4A8F-5271-9131A6D580AA}"/>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7" name="Graphic 1393">
                <a:extLst>
                  <a:ext uri="{FF2B5EF4-FFF2-40B4-BE49-F238E27FC236}">
                    <a16:creationId xmlns:a16="http://schemas.microsoft.com/office/drawing/2014/main" id="{42541BE2-B4D2-D3A8-387C-55722C9CE696}"/>
                  </a:ext>
                </a:extLst>
              </p:cNvPr>
              <p:cNvGrpSpPr/>
              <p:nvPr/>
            </p:nvGrpSpPr>
            <p:grpSpPr>
              <a:xfrm>
                <a:off x="4423504" y="2802350"/>
                <a:ext cx="75723" cy="75723"/>
                <a:chOff x="4423504" y="2802350"/>
                <a:chExt cx="75723" cy="75723"/>
              </a:xfrm>
            </p:grpSpPr>
            <p:sp>
              <p:nvSpPr>
                <p:cNvPr id="18364" name="Freeform: Shape 18363">
                  <a:extLst>
                    <a:ext uri="{FF2B5EF4-FFF2-40B4-BE49-F238E27FC236}">
                      <a16:creationId xmlns:a16="http://schemas.microsoft.com/office/drawing/2014/main" id="{EFB0D524-5874-1837-3360-D6FBD227362C}"/>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5" name="Freeform: Shape 18364">
                  <a:extLst>
                    <a:ext uri="{FF2B5EF4-FFF2-40B4-BE49-F238E27FC236}">
                      <a16:creationId xmlns:a16="http://schemas.microsoft.com/office/drawing/2014/main" id="{1F3ED642-0DEE-477E-1896-BE6BCADA2ED9}"/>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8" name="Graphic 1393">
                <a:extLst>
                  <a:ext uri="{FF2B5EF4-FFF2-40B4-BE49-F238E27FC236}">
                    <a16:creationId xmlns:a16="http://schemas.microsoft.com/office/drawing/2014/main" id="{E16046DE-C868-4E94-B01B-3591A3927CCE}"/>
                  </a:ext>
                </a:extLst>
              </p:cNvPr>
              <p:cNvGrpSpPr/>
              <p:nvPr/>
            </p:nvGrpSpPr>
            <p:grpSpPr>
              <a:xfrm>
                <a:off x="4200048" y="2591085"/>
                <a:ext cx="75723" cy="75723"/>
                <a:chOff x="4200048" y="2591085"/>
                <a:chExt cx="75723" cy="75723"/>
              </a:xfrm>
            </p:grpSpPr>
            <p:sp>
              <p:nvSpPr>
                <p:cNvPr id="18362" name="Freeform: Shape 18361">
                  <a:extLst>
                    <a:ext uri="{FF2B5EF4-FFF2-40B4-BE49-F238E27FC236}">
                      <a16:creationId xmlns:a16="http://schemas.microsoft.com/office/drawing/2014/main" id="{59B281C7-1360-08A3-BA61-72830D6652AB}"/>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3" name="Freeform: Shape 18362">
                  <a:extLst>
                    <a:ext uri="{FF2B5EF4-FFF2-40B4-BE49-F238E27FC236}">
                      <a16:creationId xmlns:a16="http://schemas.microsoft.com/office/drawing/2014/main" id="{7D82E019-A8E3-C204-8FA7-8C61D4998172}"/>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699" name="Graphic 1393">
                <a:extLst>
                  <a:ext uri="{FF2B5EF4-FFF2-40B4-BE49-F238E27FC236}">
                    <a16:creationId xmlns:a16="http://schemas.microsoft.com/office/drawing/2014/main" id="{B9F99898-A26D-E856-7FCA-13E7B0AD0CF9}"/>
                  </a:ext>
                </a:extLst>
              </p:cNvPr>
              <p:cNvGrpSpPr/>
              <p:nvPr/>
            </p:nvGrpSpPr>
            <p:grpSpPr>
              <a:xfrm>
                <a:off x="4130801" y="2566130"/>
                <a:ext cx="75628" cy="75723"/>
                <a:chOff x="4130801" y="2566130"/>
                <a:chExt cx="75628" cy="75723"/>
              </a:xfrm>
            </p:grpSpPr>
            <p:sp>
              <p:nvSpPr>
                <p:cNvPr id="18360" name="Freeform: Shape 18359">
                  <a:extLst>
                    <a:ext uri="{FF2B5EF4-FFF2-40B4-BE49-F238E27FC236}">
                      <a16:creationId xmlns:a16="http://schemas.microsoft.com/office/drawing/2014/main" id="{615A30D8-2CE3-054A-1A0D-A37DCF9E2FB8}"/>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1" name="Freeform: Shape 18360">
                  <a:extLst>
                    <a:ext uri="{FF2B5EF4-FFF2-40B4-BE49-F238E27FC236}">
                      <a16:creationId xmlns:a16="http://schemas.microsoft.com/office/drawing/2014/main" id="{EA4F7258-F18F-93C6-19B2-792418A7ACB3}"/>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0" name="Graphic 1393">
                <a:extLst>
                  <a:ext uri="{FF2B5EF4-FFF2-40B4-BE49-F238E27FC236}">
                    <a16:creationId xmlns:a16="http://schemas.microsoft.com/office/drawing/2014/main" id="{66013CA3-8456-D951-F292-745A62336340}"/>
                  </a:ext>
                </a:extLst>
              </p:cNvPr>
              <p:cNvGrpSpPr/>
              <p:nvPr/>
            </p:nvGrpSpPr>
            <p:grpSpPr>
              <a:xfrm>
                <a:off x="3892676" y="2527268"/>
                <a:ext cx="75628" cy="75723"/>
                <a:chOff x="3892676" y="2527268"/>
                <a:chExt cx="75628" cy="75723"/>
              </a:xfrm>
            </p:grpSpPr>
            <p:sp>
              <p:nvSpPr>
                <p:cNvPr id="18358" name="Freeform: Shape 18357">
                  <a:extLst>
                    <a:ext uri="{FF2B5EF4-FFF2-40B4-BE49-F238E27FC236}">
                      <a16:creationId xmlns:a16="http://schemas.microsoft.com/office/drawing/2014/main" id="{E3E3F912-F0DD-8CE1-9F0E-3DC07ADA86FE}"/>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59" name="Freeform: Shape 18358">
                  <a:extLst>
                    <a:ext uri="{FF2B5EF4-FFF2-40B4-BE49-F238E27FC236}">
                      <a16:creationId xmlns:a16="http://schemas.microsoft.com/office/drawing/2014/main" id="{7C62B8C1-19FE-92E9-2C7E-08E6FA19B498}"/>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1" name="Graphic 1393">
                <a:extLst>
                  <a:ext uri="{FF2B5EF4-FFF2-40B4-BE49-F238E27FC236}">
                    <a16:creationId xmlns:a16="http://schemas.microsoft.com/office/drawing/2014/main" id="{F046CC21-0BBC-0F47-972F-12BFF5C5848A}"/>
                  </a:ext>
                </a:extLst>
              </p:cNvPr>
              <p:cNvGrpSpPr/>
              <p:nvPr/>
            </p:nvGrpSpPr>
            <p:grpSpPr>
              <a:xfrm>
                <a:off x="3868102" y="2496216"/>
                <a:ext cx="75723" cy="75723"/>
                <a:chOff x="3868102" y="2496216"/>
                <a:chExt cx="75723" cy="75723"/>
              </a:xfrm>
            </p:grpSpPr>
            <p:sp>
              <p:nvSpPr>
                <p:cNvPr id="18356" name="Freeform: Shape 18355">
                  <a:extLst>
                    <a:ext uri="{FF2B5EF4-FFF2-40B4-BE49-F238E27FC236}">
                      <a16:creationId xmlns:a16="http://schemas.microsoft.com/office/drawing/2014/main" id="{78F31548-5E75-890C-4362-4F7572A9FA20}"/>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57" name="Freeform: Shape 18356">
                  <a:extLst>
                    <a:ext uri="{FF2B5EF4-FFF2-40B4-BE49-F238E27FC236}">
                      <a16:creationId xmlns:a16="http://schemas.microsoft.com/office/drawing/2014/main" id="{13F757ED-D090-DD31-3854-1B006128CF9D}"/>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2" name="Graphic 1393">
                <a:extLst>
                  <a:ext uri="{FF2B5EF4-FFF2-40B4-BE49-F238E27FC236}">
                    <a16:creationId xmlns:a16="http://schemas.microsoft.com/office/drawing/2014/main" id="{5C54E004-68EC-24E1-4BB1-826398161A93}"/>
                  </a:ext>
                </a:extLst>
              </p:cNvPr>
              <p:cNvGrpSpPr/>
              <p:nvPr/>
            </p:nvGrpSpPr>
            <p:grpSpPr>
              <a:xfrm>
                <a:off x="4228623" y="2608135"/>
                <a:ext cx="75723" cy="75723"/>
                <a:chOff x="4228623" y="2608135"/>
                <a:chExt cx="75723" cy="75723"/>
              </a:xfrm>
            </p:grpSpPr>
            <p:sp>
              <p:nvSpPr>
                <p:cNvPr id="18354" name="Freeform: Shape 18353">
                  <a:extLst>
                    <a:ext uri="{FF2B5EF4-FFF2-40B4-BE49-F238E27FC236}">
                      <a16:creationId xmlns:a16="http://schemas.microsoft.com/office/drawing/2014/main" id="{DA6785DD-23D5-46F7-C180-483CD3AD2684}"/>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55" name="Freeform: Shape 18354">
                  <a:extLst>
                    <a:ext uri="{FF2B5EF4-FFF2-40B4-BE49-F238E27FC236}">
                      <a16:creationId xmlns:a16="http://schemas.microsoft.com/office/drawing/2014/main" id="{B168E815-538C-D780-71CB-BE10EC35C018}"/>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3" name="Graphic 1393">
                <a:extLst>
                  <a:ext uri="{FF2B5EF4-FFF2-40B4-BE49-F238E27FC236}">
                    <a16:creationId xmlns:a16="http://schemas.microsoft.com/office/drawing/2014/main" id="{700326DF-A216-5FD8-E2E1-B73DDCCA0090}"/>
                  </a:ext>
                </a:extLst>
              </p:cNvPr>
              <p:cNvGrpSpPr/>
              <p:nvPr/>
            </p:nvGrpSpPr>
            <p:grpSpPr>
              <a:xfrm>
                <a:off x="4281868" y="2633948"/>
                <a:ext cx="75628" cy="75723"/>
                <a:chOff x="4281868" y="2633948"/>
                <a:chExt cx="75628" cy="75723"/>
              </a:xfrm>
            </p:grpSpPr>
            <p:sp>
              <p:nvSpPr>
                <p:cNvPr id="18352" name="Freeform: Shape 18351">
                  <a:extLst>
                    <a:ext uri="{FF2B5EF4-FFF2-40B4-BE49-F238E27FC236}">
                      <a16:creationId xmlns:a16="http://schemas.microsoft.com/office/drawing/2014/main" id="{A0CF439D-45CA-4292-1C74-6FF3A4CF6256}"/>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53" name="Freeform: Shape 18352">
                  <a:extLst>
                    <a:ext uri="{FF2B5EF4-FFF2-40B4-BE49-F238E27FC236}">
                      <a16:creationId xmlns:a16="http://schemas.microsoft.com/office/drawing/2014/main" id="{A878733E-86A0-B55E-27C6-713CCC6A6C68}"/>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4" name="Graphic 1393">
                <a:extLst>
                  <a:ext uri="{FF2B5EF4-FFF2-40B4-BE49-F238E27FC236}">
                    <a16:creationId xmlns:a16="http://schemas.microsoft.com/office/drawing/2014/main" id="{F46DD97A-C970-09B2-663E-519B4E9C18A2}"/>
                  </a:ext>
                </a:extLst>
              </p:cNvPr>
              <p:cNvGrpSpPr/>
              <p:nvPr/>
            </p:nvGrpSpPr>
            <p:grpSpPr>
              <a:xfrm>
                <a:off x="4289011" y="2656427"/>
                <a:ext cx="75723" cy="75723"/>
                <a:chOff x="4289011" y="2656427"/>
                <a:chExt cx="75723" cy="75723"/>
              </a:xfrm>
            </p:grpSpPr>
            <p:sp>
              <p:nvSpPr>
                <p:cNvPr id="18350" name="Freeform: Shape 18349">
                  <a:extLst>
                    <a:ext uri="{FF2B5EF4-FFF2-40B4-BE49-F238E27FC236}">
                      <a16:creationId xmlns:a16="http://schemas.microsoft.com/office/drawing/2014/main" id="{89BDBFB1-AAA4-EF7C-9D9B-C4BE52BDFA76}"/>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51" name="Freeform: Shape 18350">
                  <a:extLst>
                    <a:ext uri="{FF2B5EF4-FFF2-40B4-BE49-F238E27FC236}">
                      <a16:creationId xmlns:a16="http://schemas.microsoft.com/office/drawing/2014/main" id="{3651C313-172D-41CD-C7A0-1C8405062E3B}"/>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5" name="Graphic 1393">
                <a:extLst>
                  <a:ext uri="{FF2B5EF4-FFF2-40B4-BE49-F238E27FC236}">
                    <a16:creationId xmlns:a16="http://schemas.microsoft.com/office/drawing/2014/main" id="{A45C819D-0900-4628-1A42-E08CE1421C4F}"/>
                  </a:ext>
                </a:extLst>
              </p:cNvPr>
              <p:cNvGrpSpPr/>
              <p:nvPr/>
            </p:nvGrpSpPr>
            <p:grpSpPr>
              <a:xfrm>
                <a:off x="4297584" y="2656427"/>
                <a:ext cx="75628" cy="75723"/>
                <a:chOff x="4297584" y="2656427"/>
                <a:chExt cx="75628" cy="75723"/>
              </a:xfrm>
            </p:grpSpPr>
            <p:sp>
              <p:nvSpPr>
                <p:cNvPr id="18348" name="Freeform: Shape 18347">
                  <a:extLst>
                    <a:ext uri="{FF2B5EF4-FFF2-40B4-BE49-F238E27FC236}">
                      <a16:creationId xmlns:a16="http://schemas.microsoft.com/office/drawing/2014/main" id="{C6B9B123-6B3A-B399-C9F8-6B1FDAF0EAFF}"/>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9" name="Freeform: Shape 18348">
                  <a:extLst>
                    <a:ext uri="{FF2B5EF4-FFF2-40B4-BE49-F238E27FC236}">
                      <a16:creationId xmlns:a16="http://schemas.microsoft.com/office/drawing/2014/main" id="{49C4AA1F-3BA1-1E1C-5267-CD473A74AC9E}"/>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6" name="Graphic 1393">
                <a:extLst>
                  <a:ext uri="{FF2B5EF4-FFF2-40B4-BE49-F238E27FC236}">
                    <a16:creationId xmlns:a16="http://schemas.microsoft.com/office/drawing/2014/main" id="{76C8BC7A-E3F9-600B-4EB7-BFFDC3EE410C}"/>
                  </a:ext>
                </a:extLst>
              </p:cNvPr>
              <p:cNvGrpSpPr/>
              <p:nvPr/>
            </p:nvGrpSpPr>
            <p:grpSpPr>
              <a:xfrm>
                <a:off x="4301584" y="2676810"/>
                <a:ext cx="75628" cy="75723"/>
                <a:chOff x="4301584" y="2676810"/>
                <a:chExt cx="75628" cy="75723"/>
              </a:xfrm>
            </p:grpSpPr>
            <p:sp>
              <p:nvSpPr>
                <p:cNvPr id="18346" name="Freeform: Shape 18345">
                  <a:extLst>
                    <a:ext uri="{FF2B5EF4-FFF2-40B4-BE49-F238E27FC236}">
                      <a16:creationId xmlns:a16="http://schemas.microsoft.com/office/drawing/2014/main" id="{80462B34-C3DD-AA09-14B9-48182246AF60}"/>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7" name="Freeform: Shape 18346">
                  <a:extLst>
                    <a:ext uri="{FF2B5EF4-FFF2-40B4-BE49-F238E27FC236}">
                      <a16:creationId xmlns:a16="http://schemas.microsoft.com/office/drawing/2014/main" id="{C38F8B50-3B70-495C-446A-AFF055FB3E1A}"/>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8" name="Graphic 1393">
                <a:extLst>
                  <a:ext uri="{FF2B5EF4-FFF2-40B4-BE49-F238E27FC236}">
                    <a16:creationId xmlns:a16="http://schemas.microsoft.com/office/drawing/2014/main" id="{A01FC14F-C241-C4DE-83EE-14F4E5D41D08}"/>
                  </a:ext>
                </a:extLst>
              </p:cNvPr>
              <p:cNvGrpSpPr/>
              <p:nvPr/>
            </p:nvGrpSpPr>
            <p:grpSpPr>
              <a:xfrm>
                <a:off x="4307299" y="2683859"/>
                <a:ext cx="75723" cy="75628"/>
                <a:chOff x="4307299" y="2683859"/>
                <a:chExt cx="75723" cy="75628"/>
              </a:xfrm>
            </p:grpSpPr>
            <p:sp>
              <p:nvSpPr>
                <p:cNvPr id="18344" name="Freeform: Shape 18343">
                  <a:extLst>
                    <a:ext uri="{FF2B5EF4-FFF2-40B4-BE49-F238E27FC236}">
                      <a16:creationId xmlns:a16="http://schemas.microsoft.com/office/drawing/2014/main" id="{38D5378D-CD78-0ACC-6F44-3E8D0D13C94D}"/>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5" name="Freeform: Shape 18344">
                  <a:extLst>
                    <a:ext uri="{FF2B5EF4-FFF2-40B4-BE49-F238E27FC236}">
                      <a16:creationId xmlns:a16="http://schemas.microsoft.com/office/drawing/2014/main" id="{570AFE9D-97A2-792D-058A-781CADB59A70}"/>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09" name="Graphic 1393">
                <a:extLst>
                  <a:ext uri="{FF2B5EF4-FFF2-40B4-BE49-F238E27FC236}">
                    <a16:creationId xmlns:a16="http://schemas.microsoft.com/office/drawing/2014/main" id="{67A3E59B-42EB-9287-81DF-B027D343C79C}"/>
                  </a:ext>
                </a:extLst>
              </p:cNvPr>
              <p:cNvGrpSpPr/>
              <p:nvPr/>
            </p:nvGrpSpPr>
            <p:grpSpPr>
              <a:xfrm>
                <a:off x="4313681" y="2694336"/>
                <a:ext cx="75723" cy="75628"/>
                <a:chOff x="4313681" y="2694336"/>
                <a:chExt cx="75723" cy="75628"/>
              </a:xfrm>
            </p:grpSpPr>
            <p:sp>
              <p:nvSpPr>
                <p:cNvPr id="18342" name="Freeform: Shape 18341">
                  <a:extLst>
                    <a:ext uri="{FF2B5EF4-FFF2-40B4-BE49-F238E27FC236}">
                      <a16:creationId xmlns:a16="http://schemas.microsoft.com/office/drawing/2014/main" id="{BCECE174-7D7A-1AF9-2239-05EFA899DF8C}"/>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3" name="Freeform: Shape 18342">
                  <a:extLst>
                    <a:ext uri="{FF2B5EF4-FFF2-40B4-BE49-F238E27FC236}">
                      <a16:creationId xmlns:a16="http://schemas.microsoft.com/office/drawing/2014/main" id="{D85FBB7C-CCA8-A9AE-D026-269BB8083C81}"/>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0" name="Graphic 1393">
                <a:extLst>
                  <a:ext uri="{FF2B5EF4-FFF2-40B4-BE49-F238E27FC236}">
                    <a16:creationId xmlns:a16="http://schemas.microsoft.com/office/drawing/2014/main" id="{5B66D4CB-9593-A75C-021A-5C6131BDF0BC}"/>
                  </a:ext>
                </a:extLst>
              </p:cNvPr>
              <p:cNvGrpSpPr/>
              <p:nvPr/>
            </p:nvGrpSpPr>
            <p:grpSpPr>
              <a:xfrm>
                <a:off x="4322539" y="2703766"/>
                <a:ext cx="75723" cy="75628"/>
                <a:chOff x="4322539" y="2703766"/>
                <a:chExt cx="75723" cy="75628"/>
              </a:xfrm>
            </p:grpSpPr>
            <p:sp>
              <p:nvSpPr>
                <p:cNvPr id="18340" name="Freeform: Shape 18339">
                  <a:extLst>
                    <a:ext uri="{FF2B5EF4-FFF2-40B4-BE49-F238E27FC236}">
                      <a16:creationId xmlns:a16="http://schemas.microsoft.com/office/drawing/2014/main" id="{75A2BB4A-B843-B9C3-A2A0-48995C60FB28}"/>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1" name="Freeform: Shape 18340">
                  <a:extLst>
                    <a:ext uri="{FF2B5EF4-FFF2-40B4-BE49-F238E27FC236}">
                      <a16:creationId xmlns:a16="http://schemas.microsoft.com/office/drawing/2014/main" id="{62F8D631-5554-0CE6-5AB6-6D1BA597AAFA}"/>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1" name="Graphic 1393">
                <a:extLst>
                  <a:ext uri="{FF2B5EF4-FFF2-40B4-BE49-F238E27FC236}">
                    <a16:creationId xmlns:a16="http://schemas.microsoft.com/office/drawing/2014/main" id="{E366BF26-7A5A-804A-1163-891B86A5AED0}"/>
                  </a:ext>
                </a:extLst>
              </p:cNvPr>
              <p:cNvGrpSpPr/>
              <p:nvPr/>
            </p:nvGrpSpPr>
            <p:grpSpPr>
              <a:xfrm>
                <a:off x="4331302" y="2718054"/>
                <a:ext cx="75723" cy="75723"/>
                <a:chOff x="4331302" y="2718054"/>
                <a:chExt cx="75723" cy="75723"/>
              </a:xfrm>
            </p:grpSpPr>
            <p:sp>
              <p:nvSpPr>
                <p:cNvPr id="18338" name="Freeform: Shape 18337">
                  <a:extLst>
                    <a:ext uri="{FF2B5EF4-FFF2-40B4-BE49-F238E27FC236}">
                      <a16:creationId xmlns:a16="http://schemas.microsoft.com/office/drawing/2014/main" id="{BBFF89F5-D800-6F54-8328-B6EBE0B8B807}"/>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39" name="Freeform: Shape 18338">
                  <a:extLst>
                    <a:ext uri="{FF2B5EF4-FFF2-40B4-BE49-F238E27FC236}">
                      <a16:creationId xmlns:a16="http://schemas.microsoft.com/office/drawing/2014/main" id="{F016033C-1419-33A5-526D-4C138EB22484}"/>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2" name="Graphic 1393">
                <a:extLst>
                  <a:ext uri="{FF2B5EF4-FFF2-40B4-BE49-F238E27FC236}">
                    <a16:creationId xmlns:a16="http://schemas.microsoft.com/office/drawing/2014/main" id="{6CAA2647-D179-329F-3B3B-1446BBA197B2}"/>
                  </a:ext>
                </a:extLst>
              </p:cNvPr>
              <p:cNvGrpSpPr/>
              <p:nvPr/>
            </p:nvGrpSpPr>
            <p:grpSpPr>
              <a:xfrm>
                <a:off x="4340732" y="2734246"/>
                <a:ext cx="75723" cy="75723"/>
                <a:chOff x="4340732" y="2734246"/>
                <a:chExt cx="75723" cy="75723"/>
              </a:xfrm>
            </p:grpSpPr>
            <p:sp>
              <p:nvSpPr>
                <p:cNvPr id="18336" name="Freeform: Shape 18335">
                  <a:extLst>
                    <a:ext uri="{FF2B5EF4-FFF2-40B4-BE49-F238E27FC236}">
                      <a16:creationId xmlns:a16="http://schemas.microsoft.com/office/drawing/2014/main" id="{8FBAC954-E943-4903-BD3E-6BAB245BF72A}"/>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37" name="Freeform: Shape 18336">
                  <a:extLst>
                    <a:ext uri="{FF2B5EF4-FFF2-40B4-BE49-F238E27FC236}">
                      <a16:creationId xmlns:a16="http://schemas.microsoft.com/office/drawing/2014/main" id="{5F23A649-464A-FE81-4019-6E838F1B1882}"/>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3" name="Graphic 1393">
                <a:extLst>
                  <a:ext uri="{FF2B5EF4-FFF2-40B4-BE49-F238E27FC236}">
                    <a16:creationId xmlns:a16="http://schemas.microsoft.com/office/drawing/2014/main" id="{7DA25360-7464-D729-01FD-D274A394BA67}"/>
                  </a:ext>
                </a:extLst>
              </p:cNvPr>
              <p:cNvGrpSpPr/>
              <p:nvPr/>
            </p:nvGrpSpPr>
            <p:grpSpPr>
              <a:xfrm>
                <a:off x="4348543" y="2742819"/>
                <a:ext cx="75628" cy="75628"/>
                <a:chOff x="4348543" y="2742819"/>
                <a:chExt cx="75628" cy="75628"/>
              </a:xfrm>
            </p:grpSpPr>
            <p:sp>
              <p:nvSpPr>
                <p:cNvPr id="18334" name="Freeform: Shape 18333">
                  <a:extLst>
                    <a:ext uri="{FF2B5EF4-FFF2-40B4-BE49-F238E27FC236}">
                      <a16:creationId xmlns:a16="http://schemas.microsoft.com/office/drawing/2014/main" id="{B8CB9692-5A37-E1B0-84C5-92F2152A2EE9}"/>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35" name="Freeform: Shape 18334">
                  <a:extLst>
                    <a:ext uri="{FF2B5EF4-FFF2-40B4-BE49-F238E27FC236}">
                      <a16:creationId xmlns:a16="http://schemas.microsoft.com/office/drawing/2014/main" id="{FF2B663B-8AD3-084E-1E6A-D2D8BC6EC7AC}"/>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4" name="Graphic 1393">
                <a:extLst>
                  <a:ext uri="{FF2B5EF4-FFF2-40B4-BE49-F238E27FC236}">
                    <a16:creationId xmlns:a16="http://schemas.microsoft.com/office/drawing/2014/main" id="{54E3DFDA-E6C4-2B76-DB95-FD6CDDC57F7E}"/>
                  </a:ext>
                </a:extLst>
              </p:cNvPr>
              <p:cNvGrpSpPr/>
              <p:nvPr/>
            </p:nvGrpSpPr>
            <p:grpSpPr>
              <a:xfrm>
                <a:off x="4360354" y="2759487"/>
                <a:ext cx="75723" cy="75723"/>
                <a:chOff x="4360354" y="2759487"/>
                <a:chExt cx="75723" cy="75723"/>
              </a:xfrm>
            </p:grpSpPr>
            <p:sp>
              <p:nvSpPr>
                <p:cNvPr id="18332" name="Freeform: Shape 18331">
                  <a:extLst>
                    <a:ext uri="{FF2B5EF4-FFF2-40B4-BE49-F238E27FC236}">
                      <a16:creationId xmlns:a16="http://schemas.microsoft.com/office/drawing/2014/main" id="{7F78E36E-34F2-4493-14FB-8D7741CC70C6}"/>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33" name="Freeform: Shape 18332">
                  <a:extLst>
                    <a:ext uri="{FF2B5EF4-FFF2-40B4-BE49-F238E27FC236}">
                      <a16:creationId xmlns:a16="http://schemas.microsoft.com/office/drawing/2014/main" id="{E7EED546-05A6-B9DC-4AF4-474DC0EFD757}"/>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6" name="Graphic 1393">
                <a:extLst>
                  <a:ext uri="{FF2B5EF4-FFF2-40B4-BE49-F238E27FC236}">
                    <a16:creationId xmlns:a16="http://schemas.microsoft.com/office/drawing/2014/main" id="{5990DDD5-AA5E-D146-20D5-04A373D169B6}"/>
                  </a:ext>
                </a:extLst>
              </p:cNvPr>
              <p:cNvGrpSpPr/>
              <p:nvPr/>
            </p:nvGrpSpPr>
            <p:grpSpPr>
              <a:xfrm>
                <a:off x="4725542" y="2957988"/>
                <a:ext cx="75723" cy="75723"/>
                <a:chOff x="4725542" y="2957988"/>
                <a:chExt cx="75723" cy="75723"/>
              </a:xfrm>
            </p:grpSpPr>
            <p:sp>
              <p:nvSpPr>
                <p:cNvPr id="18330" name="Freeform: Shape 18329">
                  <a:extLst>
                    <a:ext uri="{FF2B5EF4-FFF2-40B4-BE49-F238E27FC236}">
                      <a16:creationId xmlns:a16="http://schemas.microsoft.com/office/drawing/2014/main" id="{C5F773B4-7923-B10C-8805-F4C4B7C24D32}"/>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31" name="Freeform: Shape 18330">
                  <a:extLst>
                    <a:ext uri="{FF2B5EF4-FFF2-40B4-BE49-F238E27FC236}">
                      <a16:creationId xmlns:a16="http://schemas.microsoft.com/office/drawing/2014/main" id="{D978240B-2196-AE00-2E9C-10A8A41C94BF}"/>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7" name="Graphic 1393">
                <a:extLst>
                  <a:ext uri="{FF2B5EF4-FFF2-40B4-BE49-F238E27FC236}">
                    <a16:creationId xmlns:a16="http://schemas.microsoft.com/office/drawing/2014/main" id="{6BFC6EE5-B1B2-DDA6-B2AE-85E83FF598F5}"/>
                  </a:ext>
                </a:extLst>
              </p:cNvPr>
              <p:cNvGrpSpPr/>
              <p:nvPr/>
            </p:nvGrpSpPr>
            <p:grpSpPr>
              <a:xfrm>
                <a:off x="4737734" y="2997803"/>
                <a:ext cx="75723" cy="75723"/>
                <a:chOff x="4737734" y="2997803"/>
                <a:chExt cx="75723" cy="75723"/>
              </a:xfrm>
            </p:grpSpPr>
            <p:sp>
              <p:nvSpPr>
                <p:cNvPr id="18328" name="Freeform: Shape 18327">
                  <a:extLst>
                    <a:ext uri="{FF2B5EF4-FFF2-40B4-BE49-F238E27FC236}">
                      <a16:creationId xmlns:a16="http://schemas.microsoft.com/office/drawing/2014/main" id="{34964260-5147-26F3-C716-ABF17C14BE38}"/>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9" name="Freeform: Shape 18328">
                  <a:extLst>
                    <a:ext uri="{FF2B5EF4-FFF2-40B4-BE49-F238E27FC236}">
                      <a16:creationId xmlns:a16="http://schemas.microsoft.com/office/drawing/2014/main" id="{62EBE1AB-EEC0-6B78-E30F-5DD2DBB5993C}"/>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719" name="Graphic 1393">
                <a:extLst>
                  <a:ext uri="{FF2B5EF4-FFF2-40B4-BE49-F238E27FC236}">
                    <a16:creationId xmlns:a16="http://schemas.microsoft.com/office/drawing/2014/main" id="{FAE1F7C5-EECF-E17A-EDEF-A0578590A82E}"/>
                  </a:ext>
                </a:extLst>
              </p:cNvPr>
              <p:cNvGrpSpPr/>
              <p:nvPr/>
            </p:nvGrpSpPr>
            <p:grpSpPr>
              <a:xfrm>
                <a:off x="4748116" y="3035712"/>
                <a:ext cx="75723" cy="75628"/>
                <a:chOff x="4748116" y="3035712"/>
                <a:chExt cx="75723" cy="75628"/>
              </a:xfrm>
            </p:grpSpPr>
            <p:sp>
              <p:nvSpPr>
                <p:cNvPr id="18326" name="Freeform: Shape 18325">
                  <a:extLst>
                    <a:ext uri="{FF2B5EF4-FFF2-40B4-BE49-F238E27FC236}">
                      <a16:creationId xmlns:a16="http://schemas.microsoft.com/office/drawing/2014/main" id="{0F16AE7A-E721-3325-CB75-806C9C57389A}"/>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7" name="Freeform: Shape 18326">
                  <a:extLst>
                    <a:ext uri="{FF2B5EF4-FFF2-40B4-BE49-F238E27FC236}">
                      <a16:creationId xmlns:a16="http://schemas.microsoft.com/office/drawing/2014/main" id="{D5E0FA18-3B12-49F6-157E-BB730C115B16}"/>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2" name="Graphic 1393">
                <a:extLst>
                  <a:ext uri="{FF2B5EF4-FFF2-40B4-BE49-F238E27FC236}">
                    <a16:creationId xmlns:a16="http://schemas.microsoft.com/office/drawing/2014/main" id="{145476F0-13F1-CC5E-844E-B9A833BFF70C}"/>
                  </a:ext>
                </a:extLst>
              </p:cNvPr>
              <p:cNvGrpSpPr/>
              <p:nvPr/>
            </p:nvGrpSpPr>
            <p:grpSpPr>
              <a:xfrm>
                <a:off x="4760023" y="3035712"/>
                <a:ext cx="75723" cy="75628"/>
                <a:chOff x="4760023" y="3035712"/>
                <a:chExt cx="75723" cy="75628"/>
              </a:xfrm>
            </p:grpSpPr>
            <p:sp>
              <p:nvSpPr>
                <p:cNvPr id="18324" name="Freeform: Shape 18323">
                  <a:extLst>
                    <a:ext uri="{FF2B5EF4-FFF2-40B4-BE49-F238E27FC236}">
                      <a16:creationId xmlns:a16="http://schemas.microsoft.com/office/drawing/2014/main" id="{C3FEE717-089A-3234-9750-8F5DC7181358}"/>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5" name="Freeform: Shape 18324">
                  <a:extLst>
                    <a:ext uri="{FF2B5EF4-FFF2-40B4-BE49-F238E27FC236}">
                      <a16:creationId xmlns:a16="http://schemas.microsoft.com/office/drawing/2014/main" id="{25943154-F615-69E5-B8FF-5A54FE20F2EF}"/>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6" name="Graphic 1393">
                <a:extLst>
                  <a:ext uri="{FF2B5EF4-FFF2-40B4-BE49-F238E27FC236}">
                    <a16:creationId xmlns:a16="http://schemas.microsoft.com/office/drawing/2014/main" id="{CA174A84-7B82-FAAD-668E-358D5618EC99}"/>
                  </a:ext>
                </a:extLst>
              </p:cNvPr>
              <p:cNvGrpSpPr/>
              <p:nvPr/>
            </p:nvGrpSpPr>
            <p:grpSpPr>
              <a:xfrm>
                <a:off x="5101113" y="3149536"/>
                <a:ext cx="75628" cy="75723"/>
                <a:chOff x="5101113" y="3149536"/>
                <a:chExt cx="75628" cy="75723"/>
              </a:xfrm>
            </p:grpSpPr>
            <p:sp>
              <p:nvSpPr>
                <p:cNvPr id="18322" name="Freeform: Shape 18321">
                  <a:extLst>
                    <a:ext uri="{FF2B5EF4-FFF2-40B4-BE49-F238E27FC236}">
                      <a16:creationId xmlns:a16="http://schemas.microsoft.com/office/drawing/2014/main" id="{AAC3AD2C-8885-ED57-63E4-E8F62AE1259A}"/>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3" name="Freeform: Shape 18322">
                  <a:extLst>
                    <a:ext uri="{FF2B5EF4-FFF2-40B4-BE49-F238E27FC236}">
                      <a16:creationId xmlns:a16="http://schemas.microsoft.com/office/drawing/2014/main" id="{D82C8ED5-70C8-F38D-17FF-000BAC569834}"/>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69" name="Graphic 1393">
                <a:extLst>
                  <a:ext uri="{FF2B5EF4-FFF2-40B4-BE49-F238E27FC236}">
                    <a16:creationId xmlns:a16="http://schemas.microsoft.com/office/drawing/2014/main" id="{C7B25707-1074-E88D-3BA5-3C1581E6C00C}"/>
                  </a:ext>
                </a:extLst>
              </p:cNvPr>
              <p:cNvGrpSpPr/>
              <p:nvPr/>
            </p:nvGrpSpPr>
            <p:grpSpPr>
              <a:xfrm>
                <a:off x="5127402" y="3149536"/>
                <a:ext cx="75723" cy="75723"/>
                <a:chOff x="5127402" y="3149536"/>
                <a:chExt cx="75723" cy="75723"/>
              </a:xfrm>
            </p:grpSpPr>
            <p:sp>
              <p:nvSpPr>
                <p:cNvPr id="18320" name="Freeform: Shape 18319">
                  <a:extLst>
                    <a:ext uri="{FF2B5EF4-FFF2-40B4-BE49-F238E27FC236}">
                      <a16:creationId xmlns:a16="http://schemas.microsoft.com/office/drawing/2014/main" id="{346413A1-9CE0-4A71-A603-AAC7499D58EE}"/>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1" name="Freeform: Shape 18320">
                  <a:extLst>
                    <a:ext uri="{FF2B5EF4-FFF2-40B4-BE49-F238E27FC236}">
                      <a16:creationId xmlns:a16="http://schemas.microsoft.com/office/drawing/2014/main" id="{F8E0B630-4979-75D6-348A-983413CFF751}"/>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0" name="Graphic 1393">
                <a:extLst>
                  <a:ext uri="{FF2B5EF4-FFF2-40B4-BE49-F238E27FC236}">
                    <a16:creationId xmlns:a16="http://schemas.microsoft.com/office/drawing/2014/main" id="{36C47A83-378B-D9C2-763F-2E98FE9F64EC}"/>
                  </a:ext>
                </a:extLst>
              </p:cNvPr>
              <p:cNvGrpSpPr/>
              <p:nvPr/>
            </p:nvGrpSpPr>
            <p:grpSpPr>
              <a:xfrm>
                <a:off x="5144833" y="3157061"/>
                <a:ext cx="75723" cy="75723"/>
                <a:chOff x="5144833" y="3157061"/>
                <a:chExt cx="75723" cy="75723"/>
              </a:xfrm>
            </p:grpSpPr>
            <p:sp>
              <p:nvSpPr>
                <p:cNvPr id="18318" name="Freeform: Shape 18317">
                  <a:extLst>
                    <a:ext uri="{FF2B5EF4-FFF2-40B4-BE49-F238E27FC236}">
                      <a16:creationId xmlns:a16="http://schemas.microsoft.com/office/drawing/2014/main" id="{3CD7EC9D-65A6-8CB6-11AC-FE1AB0C95122}"/>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19" name="Freeform: Shape 18318">
                  <a:extLst>
                    <a:ext uri="{FF2B5EF4-FFF2-40B4-BE49-F238E27FC236}">
                      <a16:creationId xmlns:a16="http://schemas.microsoft.com/office/drawing/2014/main" id="{C039FA03-0A6B-0A78-239B-F849AA1ED4CB}"/>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1" name="Graphic 1393">
                <a:extLst>
                  <a:ext uri="{FF2B5EF4-FFF2-40B4-BE49-F238E27FC236}">
                    <a16:creationId xmlns:a16="http://schemas.microsoft.com/office/drawing/2014/main" id="{D0107658-A920-20CF-5BB5-6BE145EE0BEF}"/>
                  </a:ext>
                </a:extLst>
              </p:cNvPr>
              <p:cNvGrpSpPr/>
              <p:nvPr/>
            </p:nvGrpSpPr>
            <p:grpSpPr>
              <a:xfrm>
                <a:off x="5158263" y="3164776"/>
                <a:ext cx="75628" cy="75723"/>
                <a:chOff x="5158263" y="3164776"/>
                <a:chExt cx="75628" cy="75723"/>
              </a:xfrm>
            </p:grpSpPr>
            <p:sp>
              <p:nvSpPr>
                <p:cNvPr id="18316" name="Freeform: Shape 18315">
                  <a:extLst>
                    <a:ext uri="{FF2B5EF4-FFF2-40B4-BE49-F238E27FC236}">
                      <a16:creationId xmlns:a16="http://schemas.microsoft.com/office/drawing/2014/main" id="{FF6C595A-02DA-020B-E353-6263F76F9F3B}"/>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17" name="Freeform: Shape 18316">
                  <a:extLst>
                    <a:ext uri="{FF2B5EF4-FFF2-40B4-BE49-F238E27FC236}">
                      <a16:creationId xmlns:a16="http://schemas.microsoft.com/office/drawing/2014/main" id="{790A18AF-D7A5-0936-7419-2AE41B9C8552}"/>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2" name="Graphic 1393">
                <a:extLst>
                  <a:ext uri="{FF2B5EF4-FFF2-40B4-BE49-F238E27FC236}">
                    <a16:creationId xmlns:a16="http://schemas.microsoft.com/office/drawing/2014/main" id="{29B402DB-5F0F-4E63-9D4F-50D8B0808B5F}"/>
                  </a:ext>
                </a:extLst>
              </p:cNvPr>
              <p:cNvGrpSpPr/>
              <p:nvPr/>
            </p:nvGrpSpPr>
            <p:grpSpPr>
              <a:xfrm>
                <a:off x="5163216" y="3173158"/>
                <a:ext cx="75723" cy="75723"/>
                <a:chOff x="5163216" y="3173158"/>
                <a:chExt cx="75723" cy="75723"/>
              </a:xfrm>
            </p:grpSpPr>
            <p:sp>
              <p:nvSpPr>
                <p:cNvPr id="18314" name="Freeform: Shape 18313">
                  <a:extLst>
                    <a:ext uri="{FF2B5EF4-FFF2-40B4-BE49-F238E27FC236}">
                      <a16:creationId xmlns:a16="http://schemas.microsoft.com/office/drawing/2014/main" id="{F492B8B4-BAB7-696A-716D-13E9F479B013}"/>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15" name="Freeform: Shape 18314">
                  <a:extLst>
                    <a:ext uri="{FF2B5EF4-FFF2-40B4-BE49-F238E27FC236}">
                      <a16:creationId xmlns:a16="http://schemas.microsoft.com/office/drawing/2014/main" id="{7E74FBC5-B87C-50E3-0C4B-CB330F245F4D}"/>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3" name="Graphic 1393">
                <a:extLst>
                  <a:ext uri="{FF2B5EF4-FFF2-40B4-BE49-F238E27FC236}">
                    <a16:creationId xmlns:a16="http://schemas.microsoft.com/office/drawing/2014/main" id="{40287A96-064D-C472-7E3D-F306738D43B4}"/>
                  </a:ext>
                </a:extLst>
              </p:cNvPr>
              <p:cNvGrpSpPr/>
              <p:nvPr/>
            </p:nvGrpSpPr>
            <p:grpSpPr>
              <a:xfrm>
                <a:off x="5169312" y="3185636"/>
                <a:ext cx="75723" cy="75723"/>
                <a:chOff x="5169312" y="3185636"/>
                <a:chExt cx="75723" cy="75723"/>
              </a:xfrm>
            </p:grpSpPr>
            <p:sp>
              <p:nvSpPr>
                <p:cNvPr id="18312" name="Freeform: Shape 18311">
                  <a:extLst>
                    <a:ext uri="{FF2B5EF4-FFF2-40B4-BE49-F238E27FC236}">
                      <a16:creationId xmlns:a16="http://schemas.microsoft.com/office/drawing/2014/main" id="{4903EF8F-7E09-29FC-0109-8CC82223CCC7}"/>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13" name="Freeform: Shape 18312">
                  <a:extLst>
                    <a:ext uri="{FF2B5EF4-FFF2-40B4-BE49-F238E27FC236}">
                      <a16:creationId xmlns:a16="http://schemas.microsoft.com/office/drawing/2014/main" id="{9BF57476-2782-D9BF-D1C7-2A5A6E09DEF6}"/>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4" name="Graphic 1393">
                <a:extLst>
                  <a:ext uri="{FF2B5EF4-FFF2-40B4-BE49-F238E27FC236}">
                    <a16:creationId xmlns:a16="http://schemas.microsoft.com/office/drawing/2014/main" id="{3E1401DE-3DE1-F856-881A-648494AD234A}"/>
                  </a:ext>
                </a:extLst>
              </p:cNvPr>
              <p:cNvGrpSpPr/>
              <p:nvPr/>
            </p:nvGrpSpPr>
            <p:grpSpPr>
              <a:xfrm>
                <a:off x="5176741" y="3223545"/>
                <a:ext cx="75723" cy="75628"/>
                <a:chOff x="5176741" y="3223545"/>
                <a:chExt cx="75723" cy="75628"/>
              </a:xfrm>
            </p:grpSpPr>
            <p:sp>
              <p:nvSpPr>
                <p:cNvPr id="18310" name="Freeform: Shape 18309">
                  <a:extLst>
                    <a:ext uri="{FF2B5EF4-FFF2-40B4-BE49-F238E27FC236}">
                      <a16:creationId xmlns:a16="http://schemas.microsoft.com/office/drawing/2014/main" id="{107E18D8-203B-A9AB-279F-0229252089CA}"/>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11" name="Freeform: Shape 18310">
                  <a:extLst>
                    <a:ext uri="{FF2B5EF4-FFF2-40B4-BE49-F238E27FC236}">
                      <a16:creationId xmlns:a16="http://schemas.microsoft.com/office/drawing/2014/main" id="{5E32D77D-A46D-2F2A-EF5F-1A5F10B3CE76}"/>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5" name="Graphic 1393">
                <a:extLst>
                  <a:ext uri="{FF2B5EF4-FFF2-40B4-BE49-F238E27FC236}">
                    <a16:creationId xmlns:a16="http://schemas.microsoft.com/office/drawing/2014/main" id="{5CEE403E-4EF0-5C43-64C0-12BEB3D63571}"/>
                  </a:ext>
                </a:extLst>
              </p:cNvPr>
              <p:cNvGrpSpPr/>
              <p:nvPr/>
            </p:nvGrpSpPr>
            <p:grpSpPr>
              <a:xfrm>
                <a:off x="5182742" y="3234785"/>
                <a:ext cx="75628" cy="75628"/>
                <a:chOff x="5182742" y="3234785"/>
                <a:chExt cx="75628" cy="75628"/>
              </a:xfrm>
            </p:grpSpPr>
            <p:sp>
              <p:nvSpPr>
                <p:cNvPr id="18308" name="Freeform: Shape 18307">
                  <a:extLst>
                    <a:ext uri="{FF2B5EF4-FFF2-40B4-BE49-F238E27FC236}">
                      <a16:creationId xmlns:a16="http://schemas.microsoft.com/office/drawing/2014/main" id="{66271EAE-2A85-29FE-D63A-2C0EB8EADF1D}"/>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9" name="Freeform: Shape 18308">
                  <a:extLst>
                    <a:ext uri="{FF2B5EF4-FFF2-40B4-BE49-F238E27FC236}">
                      <a16:creationId xmlns:a16="http://schemas.microsoft.com/office/drawing/2014/main" id="{F5B82C20-4F4A-5C06-4EEB-D37901858474}"/>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6" name="Graphic 1393">
                <a:extLst>
                  <a:ext uri="{FF2B5EF4-FFF2-40B4-BE49-F238E27FC236}">
                    <a16:creationId xmlns:a16="http://schemas.microsoft.com/office/drawing/2014/main" id="{53807F90-8E8A-4562-037F-B399EF16B826}"/>
                  </a:ext>
                </a:extLst>
              </p:cNvPr>
              <p:cNvGrpSpPr/>
              <p:nvPr/>
            </p:nvGrpSpPr>
            <p:grpSpPr>
              <a:xfrm>
                <a:off x="5193220" y="3242595"/>
                <a:ext cx="75628" cy="75723"/>
                <a:chOff x="5193220" y="3242595"/>
                <a:chExt cx="75628" cy="75723"/>
              </a:xfrm>
            </p:grpSpPr>
            <p:sp>
              <p:nvSpPr>
                <p:cNvPr id="18306" name="Freeform: Shape 18305">
                  <a:extLst>
                    <a:ext uri="{FF2B5EF4-FFF2-40B4-BE49-F238E27FC236}">
                      <a16:creationId xmlns:a16="http://schemas.microsoft.com/office/drawing/2014/main" id="{C3F3997B-E260-118B-CDB9-261DFD90980C}"/>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7" name="Freeform: Shape 18306">
                  <a:extLst>
                    <a:ext uri="{FF2B5EF4-FFF2-40B4-BE49-F238E27FC236}">
                      <a16:creationId xmlns:a16="http://schemas.microsoft.com/office/drawing/2014/main" id="{57BB22E4-FC30-6662-D92A-12B57FD85A21}"/>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7" name="Graphic 1393">
                <a:extLst>
                  <a:ext uri="{FF2B5EF4-FFF2-40B4-BE49-F238E27FC236}">
                    <a16:creationId xmlns:a16="http://schemas.microsoft.com/office/drawing/2014/main" id="{F0CD05BB-58C3-F357-48B0-E11EF55A4274}"/>
                  </a:ext>
                </a:extLst>
              </p:cNvPr>
              <p:cNvGrpSpPr/>
              <p:nvPr/>
            </p:nvGrpSpPr>
            <p:grpSpPr>
              <a:xfrm>
                <a:off x="5203126" y="3252597"/>
                <a:ext cx="75628" cy="75723"/>
                <a:chOff x="5203126" y="3252597"/>
                <a:chExt cx="75628" cy="75723"/>
              </a:xfrm>
            </p:grpSpPr>
            <p:sp>
              <p:nvSpPr>
                <p:cNvPr id="18304" name="Freeform: Shape 18303">
                  <a:extLst>
                    <a:ext uri="{FF2B5EF4-FFF2-40B4-BE49-F238E27FC236}">
                      <a16:creationId xmlns:a16="http://schemas.microsoft.com/office/drawing/2014/main" id="{BC13D597-CF39-42BD-4FB1-DA8A2335511D}"/>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5" name="Freeform: Shape 18304">
                  <a:extLst>
                    <a:ext uri="{FF2B5EF4-FFF2-40B4-BE49-F238E27FC236}">
                      <a16:creationId xmlns:a16="http://schemas.microsoft.com/office/drawing/2014/main" id="{773B16BE-395C-7023-067B-5A9D39AB51A5}"/>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8" name="Graphic 1393">
                <a:extLst>
                  <a:ext uri="{FF2B5EF4-FFF2-40B4-BE49-F238E27FC236}">
                    <a16:creationId xmlns:a16="http://schemas.microsoft.com/office/drawing/2014/main" id="{1E4EEA2B-A890-2AA9-A9A8-C943C5E6E6EE}"/>
                  </a:ext>
                </a:extLst>
              </p:cNvPr>
              <p:cNvGrpSpPr/>
              <p:nvPr/>
            </p:nvGrpSpPr>
            <p:grpSpPr>
              <a:xfrm>
                <a:off x="5209317" y="3256883"/>
                <a:ext cx="75723" cy="75723"/>
                <a:chOff x="5209317" y="3256883"/>
                <a:chExt cx="75723" cy="75723"/>
              </a:xfrm>
            </p:grpSpPr>
            <p:sp>
              <p:nvSpPr>
                <p:cNvPr id="18302" name="Freeform: Shape 18301">
                  <a:extLst>
                    <a:ext uri="{FF2B5EF4-FFF2-40B4-BE49-F238E27FC236}">
                      <a16:creationId xmlns:a16="http://schemas.microsoft.com/office/drawing/2014/main" id="{284C0D69-71F1-8C8E-A5B4-63AB824985F8}"/>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3" name="Freeform: Shape 18302">
                  <a:extLst>
                    <a:ext uri="{FF2B5EF4-FFF2-40B4-BE49-F238E27FC236}">
                      <a16:creationId xmlns:a16="http://schemas.microsoft.com/office/drawing/2014/main" id="{FA2B0DB9-9956-7594-62AA-802DE8CCEB5C}"/>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9" name="Graphic 1393">
                <a:extLst>
                  <a:ext uri="{FF2B5EF4-FFF2-40B4-BE49-F238E27FC236}">
                    <a16:creationId xmlns:a16="http://schemas.microsoft.com/office/drawing/2014/main" id="{09E0C52E-3952-3CF9-0B54-FDD90A7D7575}"/>
                  </a:ext>
                </a:extLst>
              </p:cNvPr>
              <p:cNvGrpSpPr/>
              <p:nvPr/>
            </p:nvGrpSpPr>
            <p:grpSpPr>
              <a:xfrm>
                <a:off x="5565552" y="3315557"/>
                <a:ext cx="75723" cy="75723"/>
                <a:chOff x="5565552" y="3315557"/>
                <a:chExt cx="75723" cy="75723"/>
              </a:xfrm>
            </p:grpSpPr>
            <p:sp>
              <p:nvSpPr>
                <p:cNvPr id="18300" name="Freeform: Shape 18299">
                  <a:extLst>
                    <a:ext uri="{FF2B5EF4-FFF2-40B4-BE49-F238E27FC236}">
                      <a16:creationId xmlns:a16="http://schemas.microsoft.com/office/drawing/2014/main" id="{E3DE28A8-021F-45A8-F107-072BCCA4D20F}"/>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1" name="Freeform: Shape 18300">
                  <a:extLst>
                    <a:ext uri="{FF2B5EF4-FFF2-40B4-BE49-F238E27FC236}">
                      <a16:creationId xmlns:a16="http://schemas.microsoft.com/office/drawing/2014/main" id="{C9D7FC9C-AA8B-CDED-DAF3-7F8A9574FE39}"/>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0" name="Graphic 1393">
                <a:extLst>
                  <a:ext uri="{FF2B5EF4-FFF2-40B4-BE49-F238E27FC236}">
                    <a16:creationId xmlns:a16="http://schemas.microsoft.com/office/drawing/2014/main" id="{2087A329-B77D-8549-BA70-80AC83A7464B}"/>
                  </a:ext>
                </a:extLst>
              </p:cNvPr>
              <p:cNvGrpSpPr/>
              <p:nvPr/>
            </p:nvGrpSpPr>
            <p:grpSpPr>
              <a:xfrm>
                <a:off x="5579268" y="3321653"/>
                <a:ext cx="75723" cy="75723"/>
                <a:chOff x="5579268" y="3321653"/>
                <a:chExt cx="75723" cy="75723"/>
              </a:xfrm>
            </p:grpSpPr>
            <p:sp>
              <p:nvSpPr>
                <p:cNvPr id="18298" name="Freeform: Shape 18297">
                  <a:extLst>
                    <a:ext uri="{FF2B5EF4-FFF2-40B4-BE49-F238E27FC236}">
                      <a16:creationId xmlns:a16="http://schemas.microsoft.com/office/drawing/2014/main" id="{50A5BC16-0FDA-FEEE-8B5C-A3A4FA459CFE}"/>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9" name="Freeform: Shape 18298">
                  <a:extLst>
                    <a:ext uri="{FF2B5EF4-FFF2-40B4-BE49-F238E27FC236}">
                      <a16:creationId xmlns:a16="http://schemas.microsoft.com/office/drawing/2014/main" id="{F662BE6F-ABDD-1B43-6027-7C45A3CD3B4F}"/>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1" name="Graphic 1393">
                <a:extLst>
                  <a:ext uri="{FF2B5EF4-FFF2-40B4-BE49-F238E27FC236}">
                    <a16:creationId xmlns:a16="http://schemas.microsoft.com/office/drawing/2014/main" id="{8FE80ECB-5E52-09BF-6301-71B609ED5348}"/>
                  </a:ext>
                </a:extLst>
              </p:cNvPr>
              <p:cNvGrpSpPr/>
              <p:nvPr/>
            </p:nvGrpSpPr>
            <p:grpSpPr>
              <a:xfrm>
                <a:off x="5583554" y="3338703"/>
                <a:ext cx="75628" cy="75628"/>
                <a:chOff x="5583554" y="3338703"/>
                <a:chExt cx="75628" cy="75628"/>
              </a:xfrm>
            </p:grpSpPr>
            <p:sp>
              <p:nvSpPr>
                <p:cNvPr id="18296" name="Freeform: Shape 18295">
                  <a:extLst>
                    <a:ext uri="{FF2B5EF4-FFF2-40B4-BE49-F238E27FC236}">
                      <a16:creationId xmlns:a16="http://schemas.microsoft.com/office/drawing/2014/main" id="{2900E783-54E6-8F94-CD18-E73D721E7466}"/>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7" name="Freeform: Shape 18296">
                  <a:extLst>
                    <a:ext uri="{FF2B5EF4-FFF2-40B4-BE49-F238E27FC236}">
                      <a16:creationId xmlns:a16="http://schemas.microsoft.com/office/drawing/2014/main" id="{E8266007-3C1F-AE7E-E2C6-00B4250A1C77}"/>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2" name="Graphic 1393">
                <a:extLst>
                  <a:ext uri="{FF2B5EF4-FFF2-40B4-BE49-F238E27FC236}">
                    <a16:creationId xmlns:a16="http://schemas.microsoft.com/office/drawing/2014/main" id="{FC715E9A-6B8E-BD5F-7053-BA26256D03AF}"/>
                  </a:ext>
                </a:extLst>
              </p:cNvPr>
              <p:cNvGrpSpPr/>
              <p:nvPr/>
            </p:nvGrpSpPr>
            <p:grpSpPr>
              <a:xfrm>
                <a:off x="5593270" y="3338703"/>
                <a:ext cx="75628" cy="75628"/>
                <a:chOff x="5593270" y="3338703"/>
                <a:chExt cx="75628" cy="75628"/>
              </a:xfrm>
            </p:grpSpPr>
            <p:sp>
              <p:nvSpPr>
                <p:cNvPr id="18294" name="Freeform: Shape 18293">
                  <a:extLst>
                    <a:ext uri="{FF2B5EF4-FFF2-40B4-BE49-F238E27FC236}">
                      <a16:creationId xmlns:a16="http://schemas.microsoft.com/office/drawing/2014/main" id="{08B45BF8-FCB4-93AA-03F0-A8941ABA3608}"/>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5" name="Freeform: Shape 18294">
                  <a:extLst>
                    <a:ext uri="{FF2B5EF4-FFF2-40B4-BE49-F238E27FC236}">
                      <a16:creationId xmlns:a16="http://schemas.microsoft.com/office/drawing/2014/main" id="{B4F44949-11C3-E0E9-94BD-AB025D8F95EF}"/>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3" name="Graphic 1393">
                <a:extLst>
                  <a:ext uri="{FF2B5EF4-FFF2-40B4-BE49-F238E27FC236}">
                    <a16:creationId xmlns:a16="http://schemas.microsoft.com/office/drawing/2014/main" id="{F80887B2-1DB1-0235-EAE1-0AF908A17277}"/>
                  </a:ext>
                </a:extLst>
              </p:cNvPr>
              <p:cNvGrpSpPr/>
              <p:nvPr/>
            </p:nvGrpSpPr>
            <p:grpSpPr>
              <a:xfrm>
                <a:off x="5603461" y="3338703"/>
                <a:ext cx="75628" cy="75628"/>
                <a:chOff x="5603461" y="3338703"/>
                <a:chExt cx="75628" cy="75628"/>
              </a:xfrm>
            </p:grpSpPr>
            <p:sp>
              <p:nvSpPr>
                <p:cNvPr id="18292" name="Freeform: Shape 18291">
                  <a:extLst>
                    <a:ext uri="{FF2B5EF4-FFF2-40B4-BE49-F238E27FC236}">
                      <a16:creationId xmlns:a16="http://schemas.microsoft.com/office/drawing/2014/main" id="{A58AAB35-12E7-5C8B-803F-77DFC9290D14}"/>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3" name="Freeform: Shape 18292">
                  <a:extLst>
                    <a:ext uri="{FF2B5EF4-FFF2-40B4-BE49-F238E27FC236}">
                      <a16:creationId xmlns:a16="http://schemas.microsoft.com/office/drawing/2014/main" id="{76A50CAE-DCF3-A589-8907-4A970C6BA16A}"/>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4" name="Graphic 1393">
                <a:extLst>
                  <a:ext uri="{FF2B5EF4-FFF2-40B4-BE49-F238E27FC236}">
                    <a16:creationId xmlns:a16="http://schemas.microsoft.com/office/drawing/2014/main" id="{0EC23154-381E-47E0-A00F-C33C58E1339C}"/>
                  </a:ext>
                </a:extLst>
              </p:cNvPr>
              <p:cNvGrpSpPr/>
              <p:nvPr/>
            </p:nvGrpSpPr>
            <p:grpSpPr>
              <a:xfrm>
                <a:off x="5600985" y="3383946"/>
                <a:ext cx="75723" cy="75628"/>
                <a:chOff x="5600985" y="3383946"/>
                <a:chExt cx="75723" cy="75628"/>
              </a:xfrm>
            </p:grpSpPr>
            <p:sp>
              <p:nvSpPr>
                <p:cNvPr id="18290" name="Freeform: Shape 18289">
                  <a:extLst>
                    <a:ext uri="{FF2B5EF4-FFF2-40B4-BE49-F238E27FC236}">
                      <a16:creationId xmlns:a16="http://schemas.microsoft.com/office/drawing/2014/main" id="{3F9CF008-4134-885B-AFD7-F8EDF6B5F6D2}"/>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1" name="Freeform: Shape 18290">
                  <a:extLst>
                    <a:ext uri="{FF2B5EF4-FFF2-40B4-BE49-F238E27FC236}">
                      <a16:creationId xmlns:a16="http://schemas.microsoft.com/office/drawing/2014/main" id="{0D24F6CF-D281-E9D7-7F30-D7B0BF78D515}"/>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5" name="Graphic 1393">
                <a:extLst>
                  <a:ext uri="{FF2B5EF4-FFF2-40B4-BE49-F238E27FC236}">
                    <a16:creationId xmlns:a16="http://schemas.microsoft.com/office/drawing/2014/main" id="{3A3E372C-4C55-2EB0-7FD6-51EC2449472B}"/>
                  </a:ext>
                </a:extLst>
              </p:cNvPr>
              <p:cNvGrpSpPr/>
              <p:nvPr/>
            </p:nvGrpSpPr>
            <p:grpSpPr>
              <a:xfrm>
                <a:off x="5611367" y="3391281"/>
                <a:ext cx="75628" cy="75628"/>
                <a:chOff x="5611367" y="3391281"/>
                <a:chExt cx="75628" cy="75628"/>
              </a:xfrm>
            </p:grpSpPr>
            <p:sp>
              <p:nvSpPr>
                <p:cNvPr id="18288" name="Freeform: Shape 18287">
                  <a:extLst>
                    <a:ext uri="{FF2B5EF4-FFF2-40B4-BE49-F238E27FC236}">
                      <a16:creationId xmlns:a16="http://schemas.microsoft.com/office/drawing/2014/main" id="{4542B7FC-8C91-FB7E-5669-0A146115D4F0}"/>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9" name="Freeform: Shape 18288">
                  <a:extLst>
                    <a:ext uri="{FF2B5EF4-FFF2-40B4-BE49-F238E27FC236}">
                      <a16:creationId xmlns:a16="http://schemas.microsoft.com/office/drawing/2014/main" id="{D46AB708-6ED7-2D79-E90F-C96C80AE3ACE}"/>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6" name="Graphic 1393">
                <a:extLst>
                  <a:ext uri="{FF2B5EF4-FFF2-40B4-BE49-F238E27FC236}">
                    <a16:creationId xmlns:a16="http://schemas.microsoft.com/office/drawing/2014/main" id="{AAF5ADE5-5DDA-FFD2-6EDC-400A21692809}"/>
                  </a:ext>
                </a:extLst>
              </p:cNvPr>
              <p:cNvGrpSpPr/>
              <p:nvPr/>
            </p:nvGrpSpPr>
            <p:grpSpPr>
              <a:xfrm>
                <a:off x="5621368" y="3398805"/>
                <a:ext cx="75723" cy="75723"/>
                <a:chOff x="5621368" y="3398805"/>
                <a:chExt cx="75723" cy="75723"/>
              </a:xfrm>
            </p:grpSpPr>
            <p:sp>
              <p:nvSpPr>
                <p:cNvPr id="18286" name="Freeform: Shape 18285">
                  <a:extLst>
                    <a:ext uri="{FF2B5EF4-FFF2-40B4-BE49-F238E27FC236}">
                      <a16:creationId xmlns:a16="http://schemas.microsoft.com/office/drawing/2014/main" id="{F82A83E6-D06E-1BA6-B671-3F05697E469D}"/>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7" name="Freeform: Shape 18286">
                  <a:extLst>
                    <a:ext uri="{FF2B5EF4-FFF2-40B4-BE49-F238E27FC236}">
                      <a16:creationId xmlns:a16="http://schemas.microsoft.com/office/drawing/2014/main" id="{E50C5713-6A88-B6EA-0A6D-4796B624954B}"/>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7" name="Graphic 1393">
                <a:extLst>
                  <a:ext uri="{FF2B5EF4-FFF2-40B4-BE49-F238E27FC236}">
                    <a16:creationId xmlns:a16="http://schemas.microsoft.com/office/drawing/2014/main" id="{4BF249B5-1A39-D61A-8D3E-0057F6785D92}"/>
                  </a:ext>
                </a:extLst>
              </p:cNvPr>
              <p:cNvGrpSpPr/>
              <p:nvPr/>
            </p:nvGrpSpPr>
            <p:grpSpPr>
              <a:xfrm>
                <a:off x="5633179" y="3404235"/>
                <a:ext cx="75723" cy="75723"/>
                <a:chOff x="5633179" y="3404235"/>
                <a:chExt cx="75723" cy="75723"/>
              </a:xfrm>
            </p:grpSpPr>
            <p:sp>
              <p:nvSpPr>
                <p:cNvPr id="18284" name="Freeform: Shape 18283">
                  <a:extLst>
                    <a:ext uri="{FF2B5EF4-FFF2-40B4-BE49-F238E27FC236}">
                      <a16:creationId xmlns:a16="http://schemas.microsoft.com/office/drawing/2014/main" id="{FE190E9D-466B-1C7B-EFEE-7514FC736C5F}"/>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5" name="Freeform: Shape 18284">
                  <a:extLst>
                    <a:ext uri="{FF2B5EF4-FFF2-40B4-BE49-F238E27FC236}">
                      <a16:creationId xmlns:a16="http://schemas.microsoft.com/office/drawing/2014/main" id="{FD5596C3-2120-5F0A-568C-5E451D32AA2D}"/>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8" name="Graphic 1393">
                <a:extLst>
                  <a:ext uri="{FF2B5EF4-FFF2-40B4-BE49-F238E27FC236}">
                    <a16:creationId xmlns:a16="http://schemas.microsoft.com/office/drawing/2014/main" id="{3852CAF7-9849-2F8C-1ADF-E65BC0C8B7B5}"/>
                  </a:ext>
                </a:extLst>
              </p:cNvPr>
              <p:cNvGrpSpPr/>
              <p:nvPr/>
            </p:nvGrpSpPr>
            <p:grpSpPr>
              <a:xfrm>
                <a:off x="5642990" y="3418046"/>
                <a:ext cx="75628" cy="75723"/>
                <a:chOff x="5642990" y="3418046"/>
                <a:chExt cx="75628" cy="75723"/>
              </a:xfrm>
            </p:grpSpPr>
            <p:sp>
              <p:nvSpPr>
                <p:cNvPr id="18282" name="Freeform: Shape 18281">
                  <a:extLst>
                    <a:ext uri="{FF2B5EF4-FFF2-40B4-BE49-F238E27FC236}">
                      <a16:creationId xmlns:a16="http://schemas.microsoft.com/office/drawing/2014/main" id="{FC2E3EF4-6467-4D5E-F4D2-D9EA5A478846}"/>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3" name="Freeform: Shape 18282">
                  <a:extLst>
                    <a:ext uri="{FF2B5EF4-FFF2-40B4-BE49-F238E27FC236}">
                      <a16:creationId xmlns:a16="http://schemas.microsoft.com/office/drawing/2014/main" id="{CDC2B93C-5222-7669-78E6-88C7CB5748CC}"/>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9" name="Graphic 1393">
                <a:extLst>
                  <a:ext uri="{FF2B5EF4-FFF2-40B4-BE49-F238E27FC236}">
                    <a16:creationId xmlns:a16="http://schemas.microsoft.com/office/drawing/2014/main" id="{5944006F-B458-D98A-3450-81E3ECC935F1}"/>
                  </a:ext>
                </a:extLst>
              </p:cNvPr>
              <p:cNvGrpSpPr/>
              <p:nvPr/>
            </p:nvGrpSpPr>
            <p:grpSpPr>
              <a:xfrm>
                <a:off x="6005131" y="3484721"/>
                <a:ext cx="75723" cy="75723"/>
                <a:chOff x="6005131" y="3484721"/>
                <a:chExt cx="75723" cy="75723"/>
              </a:xfrm>
            </p:grpSpPr>
            <p:sp>
              <p:nvSpPr>
                <p:cNvPr id="18280" name="Freeform: Shape 18279">
                  <a:extLst>
                    <a:ext uri="{FF2B5EF4-FFF2-40B4-BE49-F238E27FC236}">
                      <a16:creationId xmlns:a16="http://schemas.microsoft.com/office/drawing/2014/main" id="{1730724E-2FD8-07E5-9725-769AC4BC962C}"/>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1" name="Freeform: Shape 18280">
                  <a:extLst>
                    <a:ext uri="{FF2B5EF4-FFF2-40B4-BE49-F238E27FC236}">
                      <a16:creationId xmlns:a16="http://schemas.microsoft.com/office/drawing/2014/main" id="{F4C79357-2D09-96B0-105C-07661CE2DA9E}"/>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0" name="Graphic 1393">
                <a:extLst>
                  <a:ext uri="{FF2B5EF4-FFF2-40B4-BE49-F238E27FC236}">
                    <a16:creationId xmlns:a16="http://schemas.microsoft.com/office/drawing/2014/main" id="{B21A57F0-4564-C631-1FE7-EAC15F3243F1}"/>
                  </a:ext>
                </a:extLst>
              </p:cNvPr>
              <p:cNvGrpSpPr/>
              <p:nvPr/>
            </p:nvGrpSpPr>
            <p:grpSpPr>
              <a:xfrm>
                <a:off x="6021609" y="3484721"/>
                <a:ext cx="75628" cy="75723"/>
                <a:chOff x="6021609" y="3484721"/>
                <a:chExt cx="75628" cy="75723"/>
              </a:xfrm>
            </p:grpSpPr>
            <p:sp>
              <p:nvSpPr>
                <p:cNvPr id="18278" name="Freeform: Shape 18277">
                  <a:extLst>
                    <a:ext uri="{FF2B5EF4-FFF2-40B4-BE49-F238E27FC236}">
                      <a16:creationId xmlns:a16="http://schemas.microsoft.com/office/drawing/2014/main" id="{8139DCEE-82EC-8ABE-60EE-44DE930CE615}"/>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9" name="Freeform: Shape 18278">
                  <a:extLst>
                    <a:ext uri="{FF2B5EF4-FFF2-40B4-BE49-F238E27FC236}">
                      <a16:creationId xmlns:a16="http://schemas.microsoft.com/office/drawing/2014/main" id="{9E0832AB-4C27-F781-63F7-514FFFECB37A}"/>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1" name="Graphic 1393">
                <a:extLst>
                  <a:ext uri="{FF2B5EF4-FFF2-40B4-BE49-F238E27FC236}">
                    <a16:creationId xmlns:a16="http://schemas.microsoft.com/office/drawing/2014/main" id="{73A5AFBC-A85C-D06B-B136-F2D8C5D987CA}"/>
                  </a:ext>
                </a:extLst>
              </p:cNvPr>
              <p:cNvGrpSpPr/>
              <p:nvPr/>
            </p:nvGrpSpPr>
            <p:grpSpPr>
              <a:xfrm>
                <a:off x="6029229" y="3535299"/>
                <a:ext cx="75723" cy="75723"/>
                <a:chOff x="6029229" y="3535299"/>
                <a:chExt cx="75723" cy="75723"/>
              </a:xfrm>
            </p:grpSpPr>
            <p:sp>
              <p:nvSpPr>
                <p:cNvPr id="18276" name="Freeform: Shape 18275">
                  <a:extLst>
                    <a:ext uri="{FF2B5EF4-FFF2-40B4-BE49-F238E27FC236}">
                      <a16:creationId xmlns:a16="http://schemas.microsoft.com/office/drawing/2014/main" id="{04F2B8AC-8B30-054B-1AB3-8BDBA9B5C927}"/>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7" name="Freeform: Shape 18276">
                  <a:extLst>
                    <a:ext uri="{FF2B5EF4-FFF2-40B4-BE49-F238E27FC236}">
                      <a16:creationId xmlns:a16="http://schemas.microsoft.com/office/drawing/2014/main" id="{F7EB5607-F6E9-A105-92E2-7E9AD3726E25}"/>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2" name="Graphic 1393">
                <a:extLst>
                  <a:ext uri="{FF2B5EF4-FFF2-40B4-BE49-F238E27FC236}">
                    <a16:creationId xmlns:a16="http://schemas.microsoft.com/office/drawing/2014/main" id="{0078988E-DBFD-5907-B188-1618F66F7F93}"/>
                  </a:ext>
                </a:extLst>
              </p:cNvPr>
              <p:cNvGrpSpPr/>
              <p:nvPr/>
            </p:nvGrpSpPr>
            <p:grpSpPr>
              <a:xfrm>
                <a:off x="6034658" y="3551015"/>
                <a:ext cx="75723" cy="75723"/>
                <a:chOff x="6034658" y="3551015"/>
                <a:chExt cx="75723" cy="75723"/>
              </a:xfrm>
            </p:grpSpPr>
            <p:sp>
              <p:nvSpPr>
                <p:cNvPr id="18274" name="Freeform: Shape 18273">
                  <a:extLst>
                    <a:ext uri="{FF2B5EF4-FFF2-40B4-BE49-F238E27FC236}">
                      <a16:creationId xmlns:a16="http://schemas.microsoft.com/office/drawing/2014/main" id="{86790E58-2D42-F813-D9F8-0DAF9ECD6ED3}"/>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5" name="Freeform: Shape 18274">
                  <a:extLst>
                    <a:ext uri="{FF2B5EF4-FFF2-40B4-BE49-F238E27FC236}">
                      <a16:creationId xmlns:a16="http://schemas.microsoft.com/office/drawing/2014/main" id="{4988BBEA-A0A0-2362-C110-D44EFA655BDC}"/>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3" name="Graphic 1393">
                <a:extLst>
                  <a:ext uri="{FF2B5EF4-FFF2-40B4-BE49-F238E27FC236}">
                    <a16:creationId xmlns:a16="http://schemas.microsoft.com/office/drawing/2014/main" id="{86004B80-A883-D404-3719-F4997D080C2E}"/>
                  </a:ext>
                </a:extLst>
              </p:cNvPr>
              <p:cNvGrpSpPr/>
              <p:nvPr/>
            </p:nvGrpSpPr>
            <p:grpSpPr>
              <a:xfrm>
                <a:off x="6041040" y="3551015"/>
                <a:ext cx="75723" cy="75723"/>
                <a:chOff x="6041040" y="3551015"/>
                <a:chExt cx="75723" cy="75723"/>
              </a:xfrm>
            </p:grpSpPr>
            <p:sp>
              <p:nvSpPr>
                <p:cNvPr id="18272" name="Freeform: Shape 18271">
                  <a:extLst>
                    <a:ext uri="{FF2B5EF4-FFF2-40B4-BE49-F238E27FC236}">
                      <a16:creationId xmlns:a16="http://schemas.microsoft.com/office/drawing/2014/main" id="{4FFE3904-0E44-2DEF-1DA8-7689BFEA6E76}"/>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3" name="Freeform: Shape 18272">
                  <a:extLst>
                    <a:ext uri="{FF2B5EF4-FFF2-40B4-BE49-F238E27FC236}">
                      <a16:creationId xmlns:a16="http://schemas.microsoft.com/office/drawing/2014/main" id="{3FB25928-C1D6-9D2A-2861-3561995B2D83}"/>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4" name="Graphic 1393">
                <a:extLst>
                  <a:ext uri="{FF2B5EF4-FFF2-40B4-BE49-F238E27FC236}">
                    <a16:creationId xmlns:a16="http://schemas.microsoft.com/office/drawing/2014/main" id="{6EBDFF4E-FCDC-2FE8-FFFD-EAAF3B5249C8}"/>
                  </a:ext>
                </a:extLst>
              </p:cNvPr>
              <p:cNvGrpSpPr/>
              <p:nvPr/>
            </p:nvGrpSpPr>
            <p:grpSpPr>
              <a:xfrm>
                <a:off x="6060757" y="3598449"/>
                <a:ext cx="75628" cy="75628"/>
                <a:chOff x="6060757" y="3598449"/>
                <a:chExt cx="75628" cy="75628"/>
              </a:xfrm>
            </p:grpSpPr>
            <p:sp>
              <p:nvSpPr>
                <p:cNvPr id="18270" name="Freeform: Shape 18269">
                  <a:extLst>
                    <a:ext uri="{FF2B5EF4-FFF2-40B4-BE49-F238E27FC236}">
                      <a16:creationId xmlns:a16="http://schemas.microsoft.com/office/drawing/2014/main" id="{76DE1ABF-BEDD-E15C-6D74-E7085A6681D3}"/>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1" name="Freeform: Shape 18270">
                  <a:extLst>
                    <a:ext uri="{FF2B5EF4-FFF2-40B4-BE49-F238E27FC236}">
                      <a16:creationId xmlns:a16="http://schemas.microsoft.com/office/drawing/2014/main" id="{83EAC783-7CD1-6679-7640-B7AA76307A36}"/>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5" name="Graphic 1393">
                <a:extLst>
                  <a:ext uri="{FF2B5EF4-FFF2-40B4-BE49-F238E27FC236}">
                    <a16:creationId xmlns:a16="http://schemas.microsoft.com/office/drawing/2014/main" id="{4A4F458D-AA85-6056-5602-7847DD340A93}"/>
                  </a:ext>
                </a:extLst>
              </p:cNvPr>
              <p:cNvGrpSpPr/>
              <p:nvPr/>
            </p:nvGrpSpPr>
            <p:grpSpPr>
              <a:xfrm>
                <a:off x="6415087" y="3598449"/>
                <a:ext cx="75723" cy="75628"/>
                <a:chOff x="6415087" y="3598449"/>
                <a:chExt cx="75723" cy="75628"/>
              </a:xfrm>
            </p:grpSpPr>
            <p:sp>
              <p:nvSpPr>
                <p:cNvPr id="18268" name="Freeform: Shape 18267">
                  <a:extLst>
                    <a:ext uri="{FF2B5EF4-FFF2-40B4-BE49-F238E27FC236}">
                      <a16:creationId xmlns:a16="http://schemas.microsoft.com/office/drawing/2014/main" id="{C5181D37-DDA1-2CD0-E897-3A1C6C4E4834}"/>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9" name="Freeform: Shape 18268">
                  <a:extLst>
                    <a:ext uri="{FF2B5EF4-FFF2-40B4-BE49-F238E27FC236}">
                      <a16:creationId xmlns:a16="http://schemas.microsoft.com/office/drawing/2014/main" id="{E978B195-E71C-FD34-67D3-0A445F76FED4}"/>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6" name="Graphic 1393">
                <a:extLst>
                  <a:ext uri="{FF2B5EF4-FFF2-40B4-BE49-F238E27FC236}">
                    <a16:creationId xmlns:a16="http://schemas.microsoft.com/office/drawing/2014/main" id="{C388F9A7-47C7-128A-074F-975C737ECE4C}"/>
                  </a:ext>
                </a:extLst>
              </p:cNvPr>
              <p:cNvGrpSpPr/>
              <p:nvPr/>
            </p:nvGrpSpPr>
            <p:grpSpPr>
              <a:xfrm>
                <a:off x="6427469" y="3598449"/>
                <a:ext cx="75628" cy="75628"/>
                <a:chOff x="6427469" y="3598449"/>
                <a:chExt cx="75628" cy="75628"/>
              </a:xfrm>
            </p:grpSpPr>
            <p:sp>
              <p:nvSpPr>
                <p:cNvPr id="18266" name="Freeform: Shape 18265">
                  <a:extLst>
                    <a:ext uri="{FF2B5EF4-FFF2-40B4-BE49-F238E27FC236}">
                      <a16:creationId xmlns:a16="http://schemas.microsoft.com/office/drawing/2014/main" id="{E32416AA-0F51-2A2F-0B1C-B22F37913891}"/>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7" name="Freeform: Shape 18266">
                  <a:extLst>
                    <a:ext uri="{FF2B5EF4-FFF2-40B4-BE49-F238E27FC236}">
                      <a16:creationId xmlns:a16="http://schemas.microsoft.com/office/drawing/2014/main" id="{E6347493-35AE-1CC2-4B1E-9D1EC0040743}"/>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7" name="Graphic 1393">
                <a:extLst>
                  <a:ext uri="{FF2B5EF4-FFF2-40B4-BE49-F238E27FC236}">
                    <a16:creationId xmlns:a16="http://schemas.microsoft.com/office/drawing/2014/main" id="{37677B67-27F6-2976-6C0E-51B58C7F8601}"/>
                  </a:ext>
                </a:extLst>
              </p:cNvPr>
              <p:cNvGrpSpPr/>
              <p:nvPr/>
            </p:nvGrpSpPr>
            <p:grpSpPr>
              <a:xfrm>
                <a:off x="6439756" y="3598449"/>
                <a:ext cx="75723" cy="75628"/>
                <a:chOff x="6439756" y="3598449"/>
                <a:chExt cx="75723" cy="75628"/>
              </a:xfrm>
            </p:grpSpPr>
            <p:sp>
              <p:nvSpPr>
                <p:cNvPr id="18264" name="Freeform: Shape 18263">
                  <a:extLst>
                    <a:ext uri="{FF2B5EF4-FFF2-40B4-BE49-F238E27FC236}">
                      <a16:creationId xmlns:a16="http://schemas.microsoft.com/office/drawing/2014/main" id="{274A1DC2-89B1-0299-B70D-461061B7B69D}"/>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5" name="Freeform: Shape 18264">
                  <a:extLst>
                    <a:ext uri="{FF2B5EF4-FFF2-40B4-BE49-F238E27FC236}">
                      <a16:creationId xmlns:a16="http://schemas.microsoft.com/office/drawing/2014/main" id="{024D192D-B900-99B7-02DC-1B5758BCFA64}"/>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8" name="Graphic 1393">
                <a:extLst>
                  <a:ext uri="{FF2B5EF4-FFF2-40B4-BE49-F238E27FC236}">
                    <a16:creationId xmlns:a16="http://schemas.microsoft.com/office/drawing/2014/main" id="{347048E8-5700-7E70-2894-0F8BBDB892A6}"/>
                  </a:ext>
                </a:extLst>
              </p:cNvPr>
              <p:cNvGrpSpPr/>
              <p:nvPr/>
            </p:nvGrpSpPr>
            <p:grpSpPr>
              <a:xfrm>
                <a:off x="6899528" y="3669220"/>
                <a:ext cx="75723" cy="75723"/>
                <a:chOff x="6899528" y="3669220"/>
                <a:chExt cx="75723" cy="75723"/>
              </a:xfrm>
            </p:grpSpPr>
            <p:sp>
              <p:nvSpPr>
                <p:cNvPr id="18262" name="Freeform: Shape 18261">
                  <a:extLst>
                    <a:ext uri="{FF2B5EF4-FFF2-40B4-BE49-F238E27FC236}">
                      <a16:creationId xmlns:a16="http://schemas.microsoft.com/office/drawing/2014/main" id="{CA95966C-1E67-F852-08B1-9C7FFCF92DAF}"/>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3" name="Freeform: Shape 18262">
                  <a:extLst>
                    <a:ext uri="{FF2B5EF4-FFF2-40B4-BE49-F238E27FC236}">
                      <a16:creationId xmlns:a16="http://schemas.microsoft.com/office/drawing/2014/main" id="{9C50AF29-3826-E874-8E7B-29931E2A42B6}"/>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9" name="Graphic 1393">
                <a:extLst>
                  <a:ext uri="{FF2B5EF4-FFF2-40B4-BE49-F238E27FC236}">
                    <a16:creationId xmlns:a16="http://schemas.microsoft.com/office/drawing/2014/main" id="{A398FE71-A111-85B9-C062-1408D6855E59}"/>
                  </a:ext>
                </a:extLst>
              </p:cNvPr>
              <p:cNvGrpSpPr/>
              <p:nvPr/>
            </p:nvGrpSpPr>
            <p:grpSpPr>
              <a:xfrm>
                <a:off x="6884479" y="3669220"/>
                <a:ext cx="75723" cy="75723"/>
                <a:chOff x="6884479" y="3669220"/>
                <a:chExt cx="75723" cy="75723"/>
              </a:xfrm>
            </p:grpSpPr>
            <p:sp>
              <p:nvSpPr>
                <p:cNvPr id="18260" name="Freeform: Shape 18259">
                  <a:extLst>
                    <a:ext uri="{FF2B5EF4-FFF2-40B4-BE49-F238E27FC236}">
                      <a16:creationId xmlns:a16="http://schemas.microsoft.com/office/drawing/2014/main" id="{CCE5410D-DCAB-5CF0-2A0C-4C5989EEBCDA}"/>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1" name="Freeform: Shape 18260">
                  <a:extLst>
                    <a:ext uri="{FF2B5EF4-FFF2-40B4-BE49-F238E27FC236}">
                      <a16:creationId xmlns:a16="http://schemas.microsoft.com/office/drawing/2014/main" id="{91D69B27-F6A5-E558-4C80-4457A456F0B2}"/>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00" name="Graphic 1393">
                <a:extLst>
                  <a:ext uri="{FF2B5EF4-FFF2-40B4-BE49-F238E27FC236}">
                    <a16:creationId xmlns:a16="http://schemas.microsoft.com/office/drawing/2014/main" id="{CEF2B9D0-FE1C-3EA8-197E-CC8F607FD223}"/>
                  </a:ext>
                </a:extLst>
              </p:cNvPr>
              <p:cNvGrpSpPr/>
              <p:nvPr/>
            </p:nvGrpSpPr>
            <p:grpSpPr>
              <a:xfrm>
                <a:off x="6869429" y="3669220"/>
                <a:ext cx="75723" cy="75723"/>
                <a:chOff x="6869429" y="3669220"/>
                <a:chExt cx="75723" cy="75723"/>
              </a:xfrm>
            </p:grpSpPr>
            <p:sp>
              <p:nvSpPr>
                <p:cNvPr id="18258" name="Freeform: Shape 18257">
                  <a:extLst>
                    <a:ext uri="{FF2B5EF4-FFF2-40B4-BE49-F238E27FC236}">
                      <a16:creationId xmlns:a16="http://schemas.microsoft.com/office/drawing/2014/main" id="{4A7DA95F-D7C7-A725-5A7D-1F81E0D63B05}"/>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9" name="Freeform: Shape 18258">
                  <a:extLst>
                    <a:ext uri="{FF2B5EF4-FFF2-40B4-BE49-F238E27FC236}">
                      <a16:creationId xmlns:a16="http://schemas.microsoft.com/office/drawing/2014/main" id="{A1BB4DE6-5766-8907-55B3-FF4F146ACFA0}"/>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01" name="Graphic 1393">
                <a:extLst>
                  <a:ext uri="{FF2B5EF4-FFF2-40B4-BE49-F238E27FC236}">
                    <a16:creationId xmlns:a16="http://schemas.microsoft.com/office/drawing/2014/main" id="{01DA34CD-2888-AB04-0E1D-19F79ED648DF}"/>
                  </a:ext>
                </a:extLst>
              </p:cNvPr>
              <p:cNvGrpSpPr/>
              <p:nvPr/>
            </p:nvGrpSpPr>
            <p:grpSpPr>
              <a:xfrm>
                <a:off x="6854380" y="3669220"/>
                <a:ext cx="75723" cy="75723"/>
                <a:chOff x="6854380" y="3669220"/>
                <a:chExt cx="75723" cy="75723"/>
              </a:xfrm>
            </p:grpSpPr>
            <p:sp>
              <p:nvSpPr>
                <p:cNvPr id="18256" name="Freeform: Shape 18255">
                  <a:extLst>
                    <a:ext uri="{FF2B5EF4-FFF2-40B4-BE49-F238E27FC236}">
                      <a16:creationId xmlns:a16="http://schemas.microsoft.com/office/drawing/2014/main" id="{FF4247E9-DE45-6B7F-519F-870FAFD320AE}"/>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7" name="Freeform: Shape 18256">
                  <a:extLst>
                    <a:ext uri="{FF2B5EF4-FFF2-40B4-BE49-F238E27FC236}">
                      <a16:creationId xmlns:a16="http://schemas.microsoft.com/office/drawing/2014/main" id="{EB5FAF02-3264-82DA-AB17-4FAC3957E6B3}"/>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02" name="Graphic 1393">
                <a:extLst>
                  <a:ext uri="{FF2B5EF4-FFF2-40B4-BE49-F238E27FC236}">
                    <a16:creationId xmlns:a16="http://schemas.microsoft.com/office/drawing/2014/main" id="{A9049B81-9C8A-83AC-44C1-78379244316C}"/>
                  </a:ext>
                </a:extLst>
              </p:cNvPr>
              <p:cNvGrpSpPr/>
              <p:nvPr/>
            </p:nvGrpSpPr>
            <p:grpSpPr>
              <a:xfrm>
                <a:off x="7311103" y="3748659"/>
                <a:ext cx="75723" cy="75723"/>
                <a:chOff x="7311103" y="3748659"/>
                <a:chExt cx="75723" cy="75723"/>
              </a:xfrm>
            </p:grpSpPr>
            <p:sp>
              <p:nvSpPr>
                <p:cNvPr id="18254" name="Freeform: Shape 18253">
                  <a:extLst>
                    <a:ext uri="{FF2B5EF4-FFF2-40B4-BE49-F238E27FC236}">
                      <a16:creationId xmlns:a16="http://schemas.microsoft.com/office/drawing/2014/main" id="{E18A855C-0EFE-7F65-93C0-5BB0D6544998}"/>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5" name="Freeform: Shape 18254">
                  <a:extLst>
                    <a:ext uri="{FF2B5EF4-FFF2-40B4-BE49-F238E27FC236}">
                      <a16:creationId xmlns:a16="http://schemas.microsoft.com/office/drawing/2014/main" id="{6AAB171B-DFAD-D867-90D6-089B3CD4BA9E}"/>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03" name="Graphic 1393">
                <a:extLst>
                  <a:ext uri="{FF2B5EF4-FFF2-40B4-BE49-F238E27FC236}">
                    <a16:creationId xmlns:a16="http://schemas.microsoft.com/office/drawing/2014/main" id="{69015F11-A4FC-6104-D9F6-293AB0F53F97}"/>
                  </a:ext>
                </a:extLst>
              </p:cNvPr>
              <p:cNvGrpSpPr/>
              <p:nvPr/>
            </p:nvGrpSpPr>
            <p:grpSpPr>
              <a:xfrm>
                <a:off x="7318057" y="3782568"/>
                <a:ext cx="75723" cy="75628"/>
                <a:chOff x="7318057" y="3782568"/>
                <a:chExt cx="75723" cy="75628"/>
              </a:xfrm>
            </p:grpSpPr>
            <p:sp>
              <p:nvSpPr>
                <p:cNvPr id="18252" name="Freeform: Shape 18251">
                  <a:extLst>
                    <a:ext uri="{FF2B5EF4-FFF2-40B4-BE49-F238E27FC236}">
                      <a16:creationId xmlns:a16="http://schemas.microsoft.com/office/drawing/2014/main" id="{34C4A704-8606-41E5-4D6E-0318B2ADE6E5}"/>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3" name="Freeform: Shape 18252">
                  <a:extLst>
                    <a:ext uri="{FF2B5EF4-FFF2-40B4-BE49-F238E27FC236}">
                      <a16:creationId xmlns:a16="http://schemas.microsoft.com/office/drawing/2014/main" id="{E0678998-EA3A-9506-75C3-781FF15FC2CC}"/>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40" name="Graphic 1393">
                <a:extLst>
                  <a:ext uri="{FF2B5EF4-FFF2-40B4-BE49-F238E27FC236}">
                    <a16:creationId xmlns:a16="http://schemas.microsoft.com/office/drawing/2014/main" id="{9CBA9405-C870-54F1-00D5-2D6E1FDC95B9}"/>
                  </a:ext>
                </a:extLst>
              </p:cNvPr>
              <p:cNvGrpSpPr/>
              <p:nvPr/>
            </p:nvGrpSpPr>
            <p:grpSpPr>
              <a:xfrm>
                <a:off x="7338821" y="3813905"/>
                <a:ext cx="75723" cy="75723"/>
                <a:chOff x="7338821" y="3813905"/>
                <a:chExt cx="75723" cy="75723"/>
              </a:xfrm>
            </p:grpSpPr>
            <p:sp>
              <p:nvSpPr>
                <p:cNvPr id="18250" name="Freeform: Shape 18249">
                  <a:extLst>
                    <a:ext uri="{FF2B5EF4-FFF2-40B4-BE49-F238E27FC236}">
                      <a16:creationId xmlns:a16="http://schemas.microsoft.com/office/drawing/2014/main" id="{916263E4-5A83-5962-5280-9C3A1CE5F899}"/>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1" name="Freeform: Shape 18250">
                  <a:extLst>
                    <a:ext uri="{FF2B5EF4-FFF2-40B4-BE49-F238E27FC236}">
                      <a16:creationId xmlns:a16="http://schemas.microsoft.com/office/drawing/2014/main" id="{2866D46F-73D2-AE7A-6E43-E25AB12F2C8C}"/>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41" name="Graphic 1393">
                <a:extLst>
                  <a:ext uri="{FF2B5EF4-FFF2-40B4-BE49-F238E27FC236}">
                    <a16:creationId xmlns:a16="http://schemas.microsoft.com/office/drawing/2014/main" id="{E3F15375-7953-3BD7-EBEF-18D56EA8E624}"/>
                  </a:ext>
                </a:extLst>
              </p:cNvPr>
              <p:cNvGrpSpPr/>
              <p:nvPr/>
            </p:nvGrpSpPr>
            <p:grpSpPr>
              <a:xfrm>
                <a:off x="7322438" y="3813905"/>
                <a:ext cx="75723" cy="75723"/>
                <a:chOff x="7322438" y="3813905"/>
                <a:chExt cx="75723" cy="75723"/>
              </a:xfrm>
            </p:grpSpPr>
            <p:sp>
              <p:nvSpPr>
                <p:cNvPr id="18248" name="Freeform: Shape 18247">
                  <a:extLst>
                    <a:ext uri="{FF2B5EF4-FFF2-40B4-BE49-F238E27FC236}">
                      <a16:creationId xmlns:a16="http://schemas.microsoft.com/office/drawing/2014/main" id="{0F2E0850-099B-1AEF-D17A-45CECFA4183D}"/>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9" name="Freeform: Shape 18248">
                  <a:extLst>
                    <a:ext uri="{FF2B5EF4-FFF2-40B4-BE49-F238E27FC236}">
                      <a16:creationId xmlns:a16="http://schemas.microsoft.com/office/drawing/2014/main" id="{99AA3AEF-EA64-5DFC-B76B-D4D073CCAB9A}"/>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42" name="Graphic 1393">
                <a:extLst>
                  <a:ext uri="{FF2B5EF4-FFF2-40B4-BE49-F238E27FC236}">
                    <a16:creationId xmlns:a16="http://schemas.microsoft.com/office/drawing/2014/main" id="{4C31BD7A-ECA6-C4D0-FCC9-9E2D1067C689}"/>
                  </a:ext>
                </a:extLst>
              </p:cNvPr>
              <p:cNvGrpSpPr/>
              <p:nvPr/>
            </p:nvGrpSpPr>
            <p:grpSpPr>
              <a:xfrm>
                <a:off x="7719345" y="3897153"/>
                <a:ext cx="75628" cy="75723"/>
                <a:chOff x="7719345" y="3897153"/>
                <a:chExt cx="75628" cy="75723"/>
              </a:xfrm>
            </p:grpSpPr>
            <p:sp>
              <p:nvSpPr>
                <p:cNvPr id="18246" name="Freeform: Shape 18245">
                  <a:extLst>
                    <a:ext uri="{FF2B5EF4-FFF2-40B4-BE49-F238E27FC236}">
                      <a16:creationId xmlns:a16="http://schemas.microsoft.com/office/drawing/2014/main" id="{73B3F0E5-9DCB-A596-7FF8-FF671A20E020}"/>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7" name="Freeform: Shape 18246">
                  <a:extLst>
                    <a:ext uri="{FF2B5EF4-FFF2-40B4-BE49-F238E27FC236}">
                      <a16:creationId xmlns:a16="http://schemas.microsoft.com/office/drawing/2014/main" id="{20EFDDD7-FFA2-7BB7-7BA1-797B50747CF0}"/>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43" name="Graphic 1393">
                <a:extLst>
                  <a:ext uri="{FF2B5EF4-FFF2-40B4-BE49-F238E27FC236}">
                    <a16:creationId xmlns:a16="http://schemas.microsoft.com/office/drawing/2014/main" id="{550CA7F3-3116-1891-CB41-BB728AF82EA6}"/>
                  </a:ext>
                </a:extLst>
              </p:cNvPr>
              <p:cNvGrpSpPr/>
              <p:nvPr/>
            </p:nvGrpSpPr>
            <p:grpSpPr>
              <a:xfrm>
                <a:off x="8172640" y="3949446"/>
                <a:ext cx="75628" cy="75723"/>
                <a:chOff x="8172640" y="3949446"/>
                <a:chExt cx="75628" cy="75723"/>
              </a:xfrm>
            </p:grpSpPr>
            <p:sp>
              <p:nvSpPr>
                <p:cNvPr id="18244" name="Freeform: Shape 18243">
                  <a:extLst>
                    <a:ext uri="{FF2B5EF4-FFF2-40B4-BE49-F238E27FC236}">
                      <a16:creationId xmlns:a16="http://schemas.microsoft.com/office/drawing/2014/main" id="{09638AFA-CB81-2DE5-F508-3430112FC447}"/>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5" name="Freeform: Shape 18244">
                  <a:extLst>
                    <a:ext uri="{FF2B5EF4-FFF2-40B4-BE49-F238E27FC236}">
                      <a16:creationId xmlns:a16="http://schemas.microsoft.com/office/drawing/2014/main" id="{AA18B086-EC14-10D2-9E91-945CA3D80698}"/>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648" name="Freeform: Shape 14647">
              <a:extLst>
                <a:ext uri="{FF2B5EF4-FFF2-40B4-BE49-F238E27FC236}">
                  <a16:creationId xmlns:a16="http://schemas.microsoft.com/office/drawing/2014/main" id="{B7066B3D-398E-347A-B84E-9B36A5D9D7A3}"/>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62" name="Group 18461">
            <a:extLst>
              <a:ext uri="{FF2B5EF4-FFF2-40B4-BE49-F238E27FC236}">
                <a16:creationId xmlns:a16="http://schemas.microsoft.com/office/drawing/2014/main" id="{852F9071-048F-65E5-1D1B-39950FB75CB6}"/>
              </a:ext>
            </a:extLst>
          </p:cNvPr>
          <p:cNvGrpSpPr/>
          <p:nvPr/>
        </p:nvGrpSpPr>
        <p:grpSpPr>
          <a:xfrm>
            <a:off x="696239" y="1479868"/>
            <a:ext cx="6806199" cy="2148615"/>
            <a:chOff x="3509962" y="2519361"/>
            <a:chExt cx="5175122" cy="1828324"/>
          </a:xfrm>
        </p:grpSpPr>
        <p:grpSp>
          <p:nvGrpSpPr>
            <p:cNvPr id="18463" name="Graphic 2151">
              <a:extLst>
                <a:ext uri="{FF2B5EF4-FFF2-40B4-BE49-F238E27FC236}">
                  <a16:creationId xmlns:a16="http://schemas.microsoft.com/office/drawing/2014/main" id="{15700F8C-FBA5-516A-72DF-EC0D91DBBFB1}"/>
                </a:ext>
              </a:extLst>
            </p:cNvPr>
            <p:cNvGrpSpPr/>
            <p:nvPr/>
          </p:nvGrpSpPr>
          <p:grpSpPr>
            <a:xfrm>
              <a:off x="3876674" y="2674810"/>
              <a:ext cx="4808410" cy="1672875"/>
              <a:chOff x="3876674" y="2674810"/>
              <a:chExt cx="4808410" cy="1672875"/>
            </a:xfrm>
          </p:grpSpPr>
          <p:grpSp>
            <p:nvGrpSpPr>
              <p:cNvPr id="18465" name="Graphic 2151">
                <a:extLst>
                  <a:ext uri="{FF2B5EF4-FFF2-40B4-BE49-F238E27FC236}">
                    <a16:creationId xmlns:a16="http://schemas.microsoft.com/office/drawing/2014/main" id="{2A9DD0EA-2381-BD2E-D330-8E561D83A072}"/>
                  </a:ext>
                </a:extLst>
              </p:cNvPr>
              <p:cNvGrpSpPr/>
              <p:nvPr/>
            </p:nvGrpSpPr>
            <p:grpSpPr>
              <a:xfrm>
                <a:off x="8609361" y="4272057"/>
                <a:ext cx="75723" cy="75628"/>
                <a:chOff x="8609361" y="4272057"/>
                <a:chExt cx="75723" cy="75628"/>
              </a:xfrm>
            </p:grpSpPr>
            <p:sp>
              <p:nvSpPr>
                <p:cNvPr id="18637" name="Freeform: Shape 18636">
                  <a:extLst>
                    <a:ext uri="{FF2B5EF4-FFF2-40B4-BE49-F238E27FC236}">
                      <a16:creationId xmlns:a16="http://schemas.microsoft.com/office/drawing/2014/main" id="{3BF0DFB9-7353-5824-638F-EE0EE9621BC4}"/>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8" name="Freeform: Shape 18637">
                  <a:extLst>
                    <a:ext uri="{FF2B5EF4-FFF2-40B4-BE49-F238E27FC236}">
                      <a16:creationId xmlns:a16="http://schemas.microsoft.com/office/drawing/2014/main" id="{6AFB211A-B70E-1EF2-12E3-4D9D0F9A8B53}"/>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6" name="Graphic 2151">
                <a:extLst>
                  <a:ext uri="{FF2B5EF4-FFF2-40B4-BE49-F238E27FC236}">
                    <a16:creationId xmlns:a16="http://schemas.microsoft.com/office/drawing/2014/main" id="{1111BCD3-28DD-0B1A-E637-3F7157399BAE}"/>
                  </a:ext>
                </a:extLst>
              </p:cNvPr>
              <p:cNvGrpSpPr/>
              <p:nvPr/>
            </p:nvGrpSpPr>
            <p:grpSpPr>
              <a:xfrm>
                <a:off x="8189975" y="4272057"/>
                <a:ext cx="75628" cy="75628"/>
                <a:chOff x="8189975" y="4272057"/>
                <a:chExt cx="75628" cy="75628"/>
              </a:xfrm>
            </p:grpSpPr>
            <p:sp>
              <p:nvSpPr>
                <p:cNvPr id="18635" name="Freeform: Shape 18634">
                  <a:extLst>
                    <a:ext uri="{FF2B5EF4-FFF2-40B4-BE49-F238E27FC236}">
                      <a16:creationId xmlns:a16="http://schemas.microsoft.com/office/drawing/2014/main" id="{B9FCF885-DCBB-BD20-B7EF-AF1387EE0369}"/>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6" name="Freeform: Shape 18635">
                  <a:extLst>
                    <a:ext uri="{FF2B5EF4-FFF2-40B4-BE49-F238E27FC236}">
                      <a16:creationId xmlns:a16="http://schemas.microsoft.com/office/drawing/2014/main" id="{719AECE9-7536-3E1A-C1A2-D36B2FC97B1E}"/>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7" name="Graphic 2151">
                <a:extLst>
                  <a:ext uri="{FF2B5EF4-FFF2-40B4-BE49-F238E27FC236}">
                    <a16:creationId xmlns:a16="http://schemas.microsoft.com/office/drawing/2014/main" id="{CC68FA39-CDB9-6373-CCF2-6987CA60D2F0}"/>
                  </a:ext>
                </a:extLst>
              </p:cNvPr>
              <p:cNvGrpSpPr/>
              <p:nvPr/>
            </p:nvGrpSpPr>
            <p:grpSpPr>
              <a:xfrm>
                <a:off x="7798402" y="4272057"/>
                <a:ext cx="75723" cy="75628"/>
                <a:chOff x="7798402" y="4272057"/>
                <a:chExt cx="75723" cy="75628"/>
              </a:xfrm>
            </p:grpSpPr>
            <p:sp>
              <p:nvSpPr>
                <p:cNvPr id="18633" name="Freeform: Shape 18632">
                  <a:extLst>
                    <a:ext uri="{FF2B5EF4-FFF2-40B4-BE49-F238E27FC236}">
                      <a16:creationId xmlns:a16="http://schemas.microsoft.com/office/drawing/2014/main" id="{EFC4A81C-86D4-F3E5-2F39-24309B9D55FB}"/>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4" name="Freeform: Shape 18633">
                  <a:extLst>
                    <a:ext uri="{FF2B5EF4-FFF2-40B4-BE49-F238E27FC236}">
                      <a16:creationId xmlns:a16="http://schemas.microsoft.com/office/drawing/2014/main" id="{A0BF3122-4618-2890-C1EB-299AB171D77C}"/>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8" name="Graphic 2151">
                <a:extLst>
                  <a:ext uri="{FF2B5EF4-FFF2-40B4-BE49-F238E27FC236}">
                    <a16:creationId xmlns:a16="http://schemas.microsoft.com/office/drawing/2014/main" id="{9B8844BB-3036-11AC-1AA5-432A3873F1C2}"/>
                  </a:ext>
                </a:extLst>
              </p:cNvPr>
              <p:cNvGrpSpPr/>
              <p:nvPr/>
            </p:nvGrpSpPr>
            <p:grpSpPr>
              <a:xfrm>
                <a:off x="7744491" y="4023169"/>
                <a:ext cx="75723" cy="75628"/>
                <a:chOff x="7744491" y="4023169"/>
                <a:chExt cx="75723" cy="75628"/>
              </a:xfrm>
            </p:grpSpPr>
            <p:sp>
              <p:nvSpPr>
                <p:cNvPr id="18631" name="Freeform: Shape 18630">
                  <a:extLst>
                    <a:ext uri="{FF2B5EF4-FFF2-40B4-BE49-F238E27FC236}">
                      <a16:creationId xmlns:a16="http://schemas.microsoft.com/office/drawing/2014/main" id="{FED0779A-0C7E-2502-4EB9-CF4C4691C8F3}"/>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2" name="Freeform: Shape 18631">
                  <a:extLst>
                    <a:ext uri="{FF2B5EF4-FFF2-40B4-BE49-F238E27FC236}">
                      <a16:creationId xmlns:a16="http://schemas.microsoft.com/office/drawing/2014/main" id="{3C9C6F82-D113-C19B-21F9-D971978B31EB}"/>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69" name="Graphic 2151">
                <a:extLst>
                  <a:ext uri="{FF2B5EF4-FFF2-40B4-BE49-F238E27FC236}">
                    <a16:creationId xmlns:a16="http://schemas.microsoft.com/office/drawing/2014/main" id="{1C3FC4EA-C1E8-7E40-9EA7-62FFBE1595E0}"/>
                  </a:ext>
                </a:extLst>
              </p:cNvPr>
              <p:cNvGrpSpPr/>
              <p:nvPr/>
            </p:nvGrpSpPr>
            <p:grpSpPr>
              <a:xfrm>
                <a:off x="7378445" y="3841337"/>
                <a:ext cx="75723" cy="75723"/>
                <a:chOff x="7378445" y="3841337"/>
                <a:chExt cx="75723" cy="75723"/>
              </a:xfrm>
            </p:grpSpPr>
            <p:sp>
              <p:nvSpPr>
                <p:cNvPr id="18629" name="Freeform: Shape 18628">
                  <a:extLst>
                    <a:ext uri="{FF2B5EF4-FFF2-40B4-BE49-F238E27FC236}">
                      <a16:creationId xmlns:a16="http://schemas.microsoft.com/office/drawing/2014/main" id="{AD074E66-17BD-0153-5398-7A4556059265}"/>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30" name="Freeform: Shape 18629">
                  <a:extLst>
                    <a:ext uri="{FF2B5EF4-FFF2-40B4-BE49-F238E27FC236}">
                      <a16:creationId xmlns:a16="http://schemas.microsoft.com/office/drawing/2014/main" id="{ADFD6558-22EC-BC37-2561-E1CC82B9F0C2}"/>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0" name="Graphic 2151">
                <a:extLst>
                  <a:ext uri="{FF2B5EF4-FFF2-40B4-BE49-F238E27FC236}">
                    <a16:creationId xmlns:a16="http://schemas.microsoft.com/office/drawing/2014/main" id="{C6088E3F-EF0B-0211-39D4-136CB742B366}"/>
                  </a:ext>
                </a:extLst>
              </p:cNvPr>
              <p:cNvGrpSpPr/>
              <p:nvPr/>
            </p:nvGrpSpPr>
            <p:grpSpPr>
              <a:xfrm>
                <a:off x="7326724" y="3841337"/>
                <a:ext cx="75628" cy="75723"/>
                <a:chOff x="7326724" y="3841337"/>
                <a:chExt cx="75628" cy="75723"/>
              </a:xfrm>
            </p:grpSpPr>
            <p:sp>
              <p:nvSpPr>
                <p:cNvPr id="18627" name="Freeform: Shape 18626">
                  <a:extLst>
                    <a:ext uri="{FF2B5EF4-FFF2-40B4-BE49-F238E27FC236}">
                      <a16:creationId xmlns:a16="http://schemas.microsoft.com/office/drawing/2014/main" id="{4033E0C7-51B1-B836-AA5A-400A706081C7}"/>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8" name="Freeform: Shape 18627">
                  <a:extLst>
                    <a:ext uri="{FF2B5EF4-FFF2-40B4-BE49-F238E27FC236}">
                      <a16:creationId xmlns:a16="http://schemas.microsoft.com/office/drawing/2014/main" id="{2DF1CA09-801A-BAD7-3079-818484688353}"/>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1" name="Graphic 2151">
                <a:extLst>
                  <a:ext uri="{FF2B5EF4-FFF2-40B4-BE49-F238E27FC236}">
                    <a16:creationId xmlns:a16="http://schemas.microsoft.com/office/drawing/2014/main" id="{541ACF56-8A08-A1A6-7EF8-C9FA82231725}"/>
                  </a:ext>
                </a:extLst>
              </p:cNvPr>
              <p:cNvGrpSpPr/>
              <p:nvPr/>
            </p:nvGrpSpPr>
            <p:grpSpPr>
              <a:xfrm>
                <a:off x="6939438" y="3743515"/>
                <a:ext cx="75628" cy="75628"/>
                <a:chOff x="6939438" y="3743515"/>
                <a:chExt cx="75628" cy="75628"/>
              </a:xfrm>
            </p:grpSpPr>
            <p:sp>
              <p:nvSpPr>
                <p:cNvPr id="18625" name="Freeform: Shape 18624">
                  <a:extLst>
                    <a:ext uri="{FF2B5EF4-FFF2-40B4-BE49-F238E27FC236}">
                      <a16:creationId xmlns:a16="http://schemas.microsoft.com/office/drawing/2014/main" id="{18CB54C1-B9FF-F4B0-0584-A110ECD708EB}"/>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6" name="Freeform: Shape 18625">
                  <a:extLst>
                    <a:ext uri="{FF2B5EF4-FFF2-40B4-BE49-F238E27FC236}">
                      <a16:creationId xmlns:a16="http://schemas.microsoft.com/office/drawing/2014/main" id="{5771B1DA-5038-9B2F-5604-E4B46F6625E0}"/>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2" name="Graphic 2151">
                <a:extLst>
                  <a:ext uri="{FF2B5EF4-FFF2-40B4-BE49-F238E27FC236}">
                    <a16:creationId xmlns:a16="http://schemas.microsoft.com/office/drawing/2014/main" id="{9345EA00-1E7E-896E-4C1B-D32FD03E7715}"/>
                  </a:ext>
                </a:extLst>
              </p:cNvPr>
              <p:cNvGrpSpPr/>
              <p:nvPr/>
            </p:nvGrpSpPr>
            <p:grpSpPr>
              <a:xfrm>
                <a:off x="6926008" y="3743515"/>
                <a:ext cx="75723" cy="75628"/>
                <a:chOff x="6926008" y="3743515"/>
                <a:chExt cx="75723" cy="75628"/>
              </a:xfrm>
            </p:grpSpPr>
            <p:sp>
              <p:nvSpPr>
                <p:cNvPr id="18623" name="Freeform: Shape 18622">
                  <a:extLst>
                    <a:ext uri="{FF2B5EF4-FFF2-40B4-BE49-F238E27FC236}">
                      <a16:creationId xmlns:a16="http://schemas.microsoft.com/office/drawing/2014/main" id="{9E456168-9926-B6D9-F325-269A0205C8F0}"/>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4" name="Freeform: Shape 18623">
                  <a:extLst>
                    <a:ext uri="{FF2B5EF4-FFF2-40B4-BE49-F238E27FC236}">
                      <a16:creationId xmlns:a16="http://schemas.microsoft.com/office/drawing/2014/main" id="{FC2EE99E-D1F4-4F35-92C7-F9F6D5191129}"/>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3" name="Graphic 2151">
                <a:extLst>
                  <a:ext uri="{FF2B5EF4-FFF2-40B4-BE49-F238E27FC236}">
                    <a16:creationId xmlns:a16="http://schemas.microsoft.com/office/drawing/2014/main" id="{2C0959E2-CF27-1C20-A709-43B8702BF84C}"/>
                  </a:ext>
                </a:extLst>
              </p:cNvPr>
              <p:cNvGrpSpPr/>
              <p:nvPr/>
            </p:nvGrpSpPr>
            <p:grpSpPr>
              <a:xfrm>
                <a:off x="6898671" y="3743515"/>
                <a:ext cx="75723" cy="75628"/>
                <a:chOff x="6898671" y="3743515"/>
                <a:chExt cx="75723" cy="75628"/>
              </a:xfrm>
            </p:grpSpPr>
            <p:sp>
              <p:nvSpPr>
                <p:cNvPr id="18621" name="Freeform: Shape 18620">
                  <a:extLst>
                    <a:ext uri="{FF2B5EF4-FFF2-40B4-BE49-F238E27FC236}">
                      <a16:creationId xmlns:a16="http://schemas.microsoft.com/office/drawing/2014/main" id="{183A4287-8C3B-2557-4C36-D9FB115E2AA4}"/>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2" name="Freeform: Shape 18621">
                  <a:extLst>
                    <a:ext uri="{FF2B5EF4-FFF2-40B4-BE49-F238E27FC236}">
                      <a16:creationId xmlns:a16="http://schemas.microsoft.com/office/drawing/2014/main" id="{DA51F333-1E22-8CCF-3733-0BDAA97AE754}"/>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4" name="Graphic 2151">
                <a:extLst>
                  <a:ext uri="{FF2B5EF4-FFF2-40B4-BE49-F238E27FC236}">
                    <a16:creationId xmlns:a16="http://schemas.microsoft.com/office/drawing/2014/main" id="{39B7516F-2BE8-BB99-260D-F765E5591B43}"/>
                  </a:ext>
                </a:extLst>
              </p:cNvPr>
              <p:cNvGrpSpPr/>
              <p:nvPr/>
            </p:nvGrpSpPr>
            <p:grpSpPr>
              <a:xfrm>
                <a:off x="6882288" y="3743515"/>
                <a:ext cx="75628" cy="75628"/>
                <a:chOff x="6882288" y="3743515"/>
                <a:chExt cx="75628" cy="75628"/>
              </a:xfrm>
            </p:grpSpPr>
            <p:sp>
              <p:nvSpPr>
                <p:cNvPr id="18619" name="Freeform: Shape 18618">
                  <a:extLst>
                    <a:ext uri="{FF2B5EF4-FFF2-40B4-BE49-F238E27FC236}">
                      <a16:creationId xmlns:a16="http://schemas.microsoft.com/office/drawing/2014/main" id="{D633B5AB-EC23-9D5A-6C99-E0A33C655CB2}"/>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20" name="Freeform: Shape 18619">
                  <a:extLst>
                    <a:ext uri="{FF2B5EF4-FFF2-40B4-BE49-F238E27FC236}">
                      <a16:creationId xmlns:a16="http://schemas.microsoft.com/office/drawing/2014/main" id="{D2FE40A5-D10E-66AA-93F9-B328555F5AFD}"/>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5" name="Graphic 2151">
                <a:extLst>
                  <a:ext uri="{FF2B5EF4-FFF2-40B4-BE49-F238E27FC236}">
                    <a16:creationId xmlns:a16="http://schemas.microsoft.com/office/drawing/2014/main" id="{302E0D62-0F15-8F07-D961-0B7755A99B37}"/>
                  </a:ext>
                </a:extLst>
              </p:cNvPr>
              <p:cNvGrpSpPr/>
              <p:nvPr/>
            </p:nvGrpSpPr>
            <p:grpSpPr>
              <a:xfrm>
                <a:off x="6867715" y="3743515"/>
                <a:ext cx="75628" cy="75628"/>
                <a:chOff x="6867715" y="3743515"/>
                <a:chExt cx="75628" cy="75628"/>
              </a:xfrm>
            </p:grpSpPr>
            <p:sp>
              <p:nvSpPr>
                <p:cNvPr id="18617" name="Freeform: Shape 18616">
                  <a:extLst>
                    <a:ext uri="{FF2B5EF4-FFF2-40B4-BE49-F238E27FC236}">
                      <a16:creationId xmlns:a16="http://schemas.microsoft.com/office/drawing/2014/main" id="{1B50BD95-430A-BA2F-3368-00DFCBC511B6}"/>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8" name="Freeform: Shape 18617">
                  <a:extLst>
                    <a:ext uri="{FF2B5EF4-FFF2-40B4-BE49-F238E27FC236}">
                      <a16:creationId xmlns:a16="http://schemas.microsoft.com/office/drawing/2014/main" id="{300DF8C3-5F1B-EA34-8352-28FA8164B247}"/>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6" name="Graphic 2151">
                <a:extLst>
                  <a:ext uri="{FF2B5EF4-FFF2-40B4-BE49-F238E27FC236}">
                    <a16:creationId xmlns:a16="http://schemas.microsoft.com/office/drawing/2014/main" id="{DCD14F5B-29C9-2F2A-6140-FDFA6C5DF195}"/>
                  </a:ext>
                </a:extLst>
              </p:cNvPr>
              <p:cNvGrpSpPr/>
              <p:nvPr/>
            </p:nvGrpSpPr>
            <p:grpSpPr>
              <a:xfrm>
                <a:off x="6496240" y="3743515"/>
                <a:ext cx="75628" cy="75628"/>
                <a:chOff x="6496240" y="3743515"/>
                <a:chExt cx="75628" cy="75628"/>
              </a:xfrm>
            </p:grpSpPr>
            <p:sp>
              <p:nvSpPr>
                <p:cNvPr id="18615" name="Freeform: Shape 18614">
                  <a:extLst>
                    <a:ext uri="{FF2B5EF4-FFF2-40B4-BE49-F238E27FC236}">
                      <a16:creationId xmlns:a16="http://schemas.microsoft.com/office/drawing/2014/main" id="{A939F686-1BD6-020D-912F-4548ABD9C385}"/>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6" name="Freeform: Shape 18615">
                  <a:extLst>
                    <a:ext uri="{FF2B5EF4-FFF2-40B4-BE49-F238E27FC236}">
                      <a16:creationId xmlns:a16="http://schemas.microsoft.com/office/drawing/2014/main" id="{8D8B590D-8FC8-6415-4450-4191777A72FA}"/>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7" name="Graphic 2151">
                <a:extLst>
                  <a:ext uri="{FF2B5EF4-FFF2-40B4-BE49-F238E27FC236}">
                    <a16:creationId xmlns:a16="http://schemas.microsoft.com/office/drawing/2014/main" id="{263D1589-5614-7DF6-4DA4-B95F420E1FB3}"/>
                  </a:ext>
                </a:extLst>
              </p:cNvPr>
              <p:cNvGrpSpPr/>
              <p:nvPr/>
            </p:nvGrpSpPr>
            <p:grpSpPr>
              <a:xfrm>
                <a:off x="6447853" y="3692747"/>
                <a:ext cx="75628" cy="75628"/>
                <a:chOff x="6447853" y="3692747"/>
                <a:chExt cx="75628" cy="75628"/>
              </a:xfrm>
            </p:grpSpPr>
            <p:sp>
              <p:nvSpPr>
                <p:cNvPr id="18613" name="Freeform: Shape 18612">
                  <a:extLst>
                    <a:ext uri="{FF2B5EF4-FFF2-40B4-BE49-F238E27FC236}">
                      <a16:creationId xmlns:a16="http://schemas.microsoft.com/office/drawing/2014/main" id="{460DA9F8-1D82-0D9F-F219-EA3AEC0249DC}"/>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4" name="Freeform: Shape 18613">
                  <a:extLst>
                    <a:ext uri="{FF2B5EF4-FFF2-40B4-BE49-F238E27FC236}">
                      <a16:creationId xmlns:a16="http://schemas.microsoft.com/office/drawing/2014/main" id="{36ED1FA0-F624-55A3-40A6-DCBE21FEC671}"/>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8" name="Graphic 2151">
                <a:extLst>
                  <a:ext uri="{FF2B5EF4-FFF2-40B4-BE49-F238E27FC236}">
                    <a16:creationId xmlns:a16="http://schemas.microsoft.com/office/drawing/2014/main" id="{C67C215D-57C0-B8BE-5560-0F980AC8FD77}"/>
                  </a:ext>
                </a:extLst>
              </p:cNvPr>
              <p:cNvGrpSpPr/>
              <p:nvPr/>
            </p:nvGrpSpPr>
            <p:grpSpPr>
              <a:xfrm>
                <a:off x="6418039" y="3692747"/>
                <a:ext cx="75723" cy="75628"/>
                <a:chOff x="6418039" y="3692747"/>
                <a:chExt cx="75723" cy="75628"/>
              </a:xfrm>
            </p:grpSpPr>
            <p:sp>
              <p:nvSpPr>
                <p:cNvPr id="18611" name="Freeform: Shape 18610">
                  <a:extLst>
                    <a:ext uri="{FF2B5EF4-FFF2-40B4-BE49-F238E27FC236}">
                      <a16:creationId xmlns:a16="http://schemas.microsoft.com/office/drawing/2014/main" id="{71C17544-3747-A0D4-7521-013D218F1EF2}"/>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2" name="Freeform: Shape 18611">
                  <a:extLst>
                    <a:ext uri="{FF2B5EF4-FFF2-40B4-BE49-F238E27FC236}">
                      <a16:creationId xmlns:a16="http://schemas.microsoft.com/office/drawing/2014/main" id="{B17C235F-69BC-063A-AF29-D56D7A498A71}"/>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79" name="Graphic 2151">
                <a:extLst>
                  <a:ext uri="{FF2B5EF4-FFF2-40B4-BE49-F238E27FC236}">
                    <a16:creationId xmlns:a16="http://schemas.microsoft.com/office/drawing/2014/main" id="{51AC7681-446A-A2DE-3367-ED7EC92FB435}"/>
                  </a:ext>
                </a:extLst>
              </p:cNvPr>
              <p:cNvGrpSpPr/>
              <p:nvPr/>
            </p:nvGrpSpPr>
            <p:grpSpPr>
              <a:xfrm>
                <a:off x="6092475" y="3692747"/>
                <a:ext cx="75723" cy="75628"/>
                <a:chOff x="6092475" y="3692747"/>
                <a:chExt cx="75723" cy="75628"/>
              </a:xfrm>
            </p:grpSpPr>
            <p:sp>
              <p:nvSpPr>
                <p:cNvPr id="18609" name="Freeform: Shape 18608">
                  <a:extLst>
                    <a:ext uri="{FF2B5EF4-FFF2-40B4-BE49-F238E27FC236}">
                      <a16:creationId xmlns:a16="http://schemas.microsoft.com/office/drawing/2014/main" id="{193924C3-4F8D-1F99-8AE8-F998251C6D55}"/>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10" name="Freeform: Shape 18609">
                  <a:extLst>
                    <a:ext uri="{FF2B5EF4-FFF2-40B4-BE49-F238E27FC236}">
                      <a16:creationId xmlns:a16="http://schemas.microsoft.com/office/drawing/2014/main" id="{8B8FEB19-E191-83BC-7936-B2CE155F25AD}"/>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0" name="Graphic 2151">
                <a:extLst>
                  <a:ext uri="{FF2B5EF4-FFF2-40B4-BE49-F238E27FC236}">
                    <a16:creationId xmlns:a16="http://schemas.microsoft.com/office/drawing/2014/main" id="{955CAE41-F537-1710-3380-8942508D25BE}"/>
                  </a:ext>
                </a:extLst>
              </p:cNvPr>
              <p:cNvGrpSpPr/>
              <p:nvPr/>
            </p:nvGrpSpPr>
            <p:grpSpPr>
              <a:xfrm>
                <a:off x="6103714" y="3692747"/>
                <a:ext cx="75723" cy="75628"/>
                <a:chOff x="6103714" y="3692747"/>
                <a:chExt cx="75723" cy="75628"/>
              </a:xfrm>
            </p:grpSpPr>
            <p:sp>
              <p:nvSpPr>
                <p:cNvPr id="18607" name="Freeform: Shape 18606">
                  <a:extLst>
                    <a:ext uri="{FF2B5EF4-FFF2-40B4-BE49-F238E27FC236}">
                      <a16:creationId xmlns:a16="http://schemas.microsoft.com/office/drawing/2014/main" id="{1E6240B2-693B-AB1D-B490-1DEF5985B73A}"/>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8" name="Freeform: Shape 18607">
                  <a:extLst>
                    <a:ext uri="{FF2B5EF4-FFF2-40B4-BE49-F238E27FC236}">
                      <a16:creationId xmlns:a16="http://schemas.microsoft.com/office/drawing/2014/main" id="{A0DE114B-A0E3-3D45-2C60-A776F7FE96E6}"/>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1" name="Graphic 2151">
                <a:extLst>
                  <a:ext uri="{FF2B5EF4-FFF2-40B4-BE49-F238E27FC236}">
                    <a16:creationId xmlns:a16="http://schemas.microsoft.com/office/drawing/2014/main" id="{ECF56C5B-D1CF-618C-0388-ABDC1E6CE781}"/>
                  </a:ext>
                </a:extLst>
              </p:cNvPr>
              <p:cNvGrpSpPr/>
              <p:nvPr/>
            </p:nvGrpSpPr>
            <p:grpSpPr>
              <a:xfrm>
                <a:off x="6202870" y="3692747"/>
                <a:ext cx="75628" cy="75628"/>
                <a:chOff x="6202870" y="3692747"/>
                <a:chExt cx="75628" cy="75628"/>
              </a:xfrm>
            </p:grpSpPr>
            <p:sp>
              <p:nvSpPr>
                <p:cNvPr id="18605" name="Freeform: Shape 18604">
                  <a:extLst>
                    <a:ext uri="{FF2B5EF4-FFF2-40B4-BE49-F238E27FC236}">
                      <a16:creationId xmlns:a16="http://schemas.microsoft.com/office/drawing/2014/main" id="{07AF760D-B888-F36F-A9E2-F2FD1589D890}"/>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6" name="Freeform: Shape 18605">
                  <a:extLst>
                    <a:ext uri="{FF2B5EF4-FFF2-40B4-BE49-F238E27FC236}">
                      <a16:creationId xmlns:a16="http://schemas.microsoft.com/office/drawing/2014/main" id="{F77261F4-3115-493B-55CB-7F619C8ECFEA}"/>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2" name="Graphic 2151">
                <a:extLst>
                  <a:ext uri="{FF2B5EF4-FFF2-40B4-BE49-F238E27FC236}">
                    <a16:creationId xmlns:a16="http://schemas.microsoft.com/office/drawing/2014/main" id="{826C8A1D-63A1-BAE3-DA7C-6FC8FC271250}"/>
                  </a:ext>
                </a:extLst>
              </p:cNvPr>
              <p:cNvGrpSpPr/>
              <p:nvPr/>
            </p:nvGrpSpPr>
            <p:grpSpPr>
              <a:xfrm>
                <a:off x="6046279" y="3606736"/>
                <a:ext cx="75723" cy="75628"/>
                <a:chOff x="6046279" y="3606736"/>
                <a:chExt cx="75723" cy="75628"/>
              </a:xfrm>
            </p:grpSpPr>
            <p:sp>
              <p:nvSpPr>
                <p:cNvPr id="18603" name="Freeform: Shape 18602">
                  <a:extLst>
                    <a:ext uri="{FF2B5EF4-FFF2-40B4-BE49-F238E27FC236}">
                      <a16:creationId xmlns:a16="http://schemas.microsoft.com/office/drawing/2014/main" id="{714A3D3A-CECA-97AA-40AA-A5A15FE67CF7}"/>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4" name="Freeform: Shape 18603">
                  <a:extLst>
                    <a:ext uri="{FF2B5EF4-FFF2-40B4-BE49-F238E27FC236}">
                      <a16:creationId xmlns:a16="http://schemas.microsoft.com/office/drawing/2014/main" id="{623D71A2-CF3D-9D8C-5ECC-E9BD6A2CA966}"/>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3" name="Graphic 2151">
                <a:extLst>
                  <a:ext uri="{FF2B5EF4-FFF2-40B4-BE49-F238E27FC236}">
                    <a16:creationId xmlns:a16="http://schemas.microsoft.com/office/drawing/2014/main" id="{1EEE520A-EB18-C9DA-D8BF-B66CBE7AAAF4}"/>
                  </a:ext>
                </a:extLst>
              </p:cNvPr>
              <p:cNvGrpSpPr/>
              <p:nvPr/>
            </p:nvGrpSpPr>
            <p:grpSpPr>
              <a:xfrm>
                <a:off x="6038659" y="3570541"/>
                <a:ext cx="75723" cy="75723"/>
                <a:chOff x="6038659" y="3570541"/>
                <a:chExt cx="75723" cy="75723"/>
              </a:xfrm>
            </p:grpSpPr>
            <p:sp>
              <p:nvSpPr>
                <p:cNvPr id="18601" name="Freeform: Shape 18600">
                  <a:extLst>
                    <a:ext uri="{FF2B5EF4-FFF2-40B4-BE49-F238E27FC236}">
                      <a16:creationId xmlns:a16="http://schemas.microsoft.com/office/drawing/2014/main" id="{CE77FA64-C7F5-BBD2-A543-64C1813E7D7E}"/>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2" name="Freeform: Shape 18601">
                  <a:extLst>
                    <a:ext uri="{FF2B5EF4-FFF2-40B4-BE49-F238E27FC236}">
                      <a16:creationId xmlns:a16="http://schemas.microsoft.com/office/drawing/2014/main" id="{0A9E2A52-3F94-C9B5-2A06-AD95B0B65194}"/>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4" name="Graphic 2151">
                <a:extLst>
                  <a:ext uri="{FF2B5EF4-FFF2-40B4-BE49-F238E27FC236}">
                    <a16:creationId xmlns:a16="http://schemas.microsoft.com/office/drawing/2014/main" id="{69E230EB-84C2-98B4-F451-1F29F0E80A67}"/>
                  </a:ext>
                </a:extLst>
              </p:cNvPr>
              <p:cNvGrpSpPr/>
              <p:nvPr/>
            </p:nvGrpSpPr>
            <p:grpSpPr>
              <a:xfrm>
                <a:off x="6038659" y="3527012"/>
                <a:ext cx="75723" cy="75723"/>
                <a:chOff x="6038659" y="3527012"/>
                <a:chExt cx="75723" cy="75723"/>
              </a:xfrm>
            </p:grpSpPr>
            <p:sp>
              <p:nvSpPr>
                <p:cNvPr id="18599" name="Freeform: Shape 18598">
                  <a:extLst>
                    <a:ext uri="{FF2B5EF4-FFF2-40B4-BE49-F238E27FC236}">
                      <a16:creationId xmlns:a16="http://schemas.microsoft.com/office/drawing/2014/main" id="{7B0C099A-1E79-2026-0BBF-3863B2D5CD3E}"/>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600" name="Freeform: Shape 18599">
                  <a:extLst>
                    <a:ext uri="{FF2B5EF4-FFF2-40B4-BE49-F238E27FC236}">
                      <a16:creationId xmlns:a16="http://schemas.microsoft.com/office/drawing/2014/main" id="{414D07F2-E151-CA50-B75E-BA2DB5269FEF}"/>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5" name="Graphic 2151">
                <a:extLst>
                  <a:ext uri="{FF2B5EF4-FFF2-40B4-BE49-F238E27FC236}">
                    <a16:creationId xmlns:a16="http://schemas.microsoft.com/office/drawing/2014/main" id="{45840C9E-E249-2BA8-77F2-EF36516A0F8A}"/>
                  </a:ext>
                </a:extLst>
              </p:cNvPr>
              <p:cNvGrpSpPr/>
              <p:nvPr/>
            </p:nvGrpSpPr>
            <p:grpSpPr>
              <a:xfrm>
                <a:off x="6031991" y="3491769"/>
                <a:ext cx="75723" cy="75723"/>
                <a:chOff x="6031991" y="3491769"/>
                <a:chExt cx="75723" cy="75723"/>
              </a:xfrm>
            </p:grpSpPr>
            <p:sp>
              <p:nvSpPr>
                <p:cNvPr id="18597" name="Freeform: Shape 18596">
                  <a:extLst>
                    <a:ext uri="{FF2B5EF4-FFF2-40B4-BE49-F238E27FC236}">
                      <a16:creationId xmlns:a16="http://schemas.microsoft.com/office/drawing/2014/main" id="{F663E276-7FC7-C8E9-7851-7B0265EB1230}"/>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8" name="Freeform: Shape 18597">
                  <a:extLst>
                    <a:ext uri="{FF2B5EF4-FFF2-40B4-BE49-F238E27FC236}">
                      <a16:creationId xmlns:a16="http://schemas.microsoft.com/office/drawing/2014/main" id="{B882C5FC-56C5-5FD7-36F3-5E7BC00BD50C}"/>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6" name="Graphic 2151">
                <a:extLst>
                  <a:ext uri="{FF2B5EF4-FFF2-40B4-BE49-F238E27FC236}">
                    <a16:creationId xmlns:a16="http://schemas.microsoft.com/office/drawing/2014/main" id="{CD376BB6-DA31-C26A-6314-F4CE1F8A46A2}"/>
                  </a:ext>
                </a:extLst>
              </p:cNvPr>
              <p:cNvGrpSpPr/>
              <p:nvPr/>
            </p:nvGrpSpPr>
            <p:grpSpPr>
              <a:xfrm>
                <a:off x="6018942" y="3491769"/>
                <a:ext cx="75628" cy="75723"/>
                <a:chOff x="6018942" y="3491769"/>
                <a:chExt cx="75628" cy="75723"/>
              </a:xfrm>
            </p:grpSpPr>
            <p:sp>
              <p:nvSpPr>
                <p:cNvPr id="18595" name="Freeform: Shape 18594">
                  <a:extLst>
                    <a:ext uri="{FF2B5EF4-FFF2-40B4-BE49-F238E27FC236}">
                      <a16:creationId xmlns:a16="http://schemas.microsoft.com/office/drawing/2014/main" id="{8FE468C3-5317-72E2-EAB4-00F15B059042}"/>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6" name="Freeform: Shape 18595">
                  <a:extLst>
                    <a:ext uri="{FF2B5EF4-FFF2-40B4-BE49-F238E27FC236}">
                      <a16:creationId xmlns:a16="http://schemas.microsoft.com/office/drawing/2014/main" id="{5EBD7DBB-FCE2-DBFB-E4EE-B6C7E75B1699}"/>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7" name="Graphic 2151">
                <a:extLst>
                  <a:ext uri="{FF2B5EF4-FFF2-40B4-BE49-F238E27FC236}">
                    <a16:creationId xmlns:a16="http://schemas.microsoft.com/office/drawing/2014/main" id="{3929D70A-8829-FCA0-E91D-01C21E13D51A}"/>
                  </a:ext>
                </a:extLst>
              </p:cNvPr>
              <p:cNvGrpSpPr/>
              <p:nvPr/>
            </p:nvGrpSpPr>
            <p:grpSpPr>
              <a:xfrm>
                <a:off x="5642895" y="3463194"/>
                <a:ext cx="75723" cy="75723"/>
                <a:chOff x="5642895" y="3463194"/>
                <a:chExt cx="75723" cy="75723"/>
              </a:xfrm>
            </p:grpSpPr>
            <p:sp>
              <p:nvSpPr>
                <p:cNvPr id="18593" name="Freeform: Shape 18592">
                  <a:extLst>
                    <a:ext uri="{FF2B5EF4-FFF2-40B4-BE49-F238E27FC236}">
                      <a16:creationId xmlns:a16="http://schemas.microsoft.com/office/drawing/2014/main" id="{581E39A7-1B2A-A792-AD90-0518BA88A2BE}"/>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4" name="Freeform: Shape 18593">
                  <a:extLst>
                    <a:ext uri="{FF2B5EF4-FFF2-40B4-BE49-F238E27FC236}">
                      <a16:creationId xmlns:a16="http://schemas.microsoft.com/office/drawing/2014/main" id="{6C0E7807-EF38-9151-DF5F-D819C8ACF443}"/>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8" name="Graphic 2151">
                <a:extLst>
                  <a:ext uri="{FF2B5EF4-FFF2-40B4-BE49-F238E27FC236}">
                    <a16:creationId xmlns:a16="http://schemas.microsoft.com/office/drawing/2014/main" id="{EBF80003-8BF3-B01F-38CE-E981BBC454D8}"/>
                  </a:ext>
                </a:extLst>
              </p:cNvPr>
              <p:cNvGrpSpPr/>
              <p:nvPr/>
            </p:nvGrpSpPr>
            <p:grpSpPr>
              <a:xfrm>
                <a:off x="5591174" y="3463194"/>
                <a:ext cx="75723" cy="75723"/>
                <a:chOff x="5591174" y="3463194"/>
                <a:chExt cx="75723" cy="75723"/>
              </a:xfrm>
            </p:grpSpPr>
            <p:sp>
              <p:nvSpPr>
                <p:cNvPr id="18591" name="Freeform: Shape 18590">
                  <a:extLst>
                    <a:ext uri="{FF2B5EF4-FFF2-40B4-BE49-F238E27FC236}">
                      <a16:creationId xmlns:a16="http://schemas.microsoft.com/office/drawing/2014/main" id="{C95C7387-F0D7-1CEB-17DB-E411E6CE6BE0}"/>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2" name="Freeform: Shape 18591">
                  <a:extLst>
                    <a:ext uri="{FF2B5EF4-FFF2-40B4-BE49-F238E27FC236}">
                      <a16:creationId xmlns:a16="http://schemas.microsoft.com/office/drawing/2014/main" id="{F9BB29DE-B1AA-8292-527F-CB3B32529274}"/>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89" name="Graphic 2151">
                <a:extLst>
                  <a:ext uri="{FF2B5EF4-FFF2-40B4-BE49-F238E27FC236}">
                    <a16:creationId xmlns:a16="http://schemas.microsoft.com/office/drawing/2014/main" id="{7ECA669B-F479-AA46-12A9-A1BAC8D3AF71}"/>
                  </a:ext>
                </a:extLst>
              </p:cNvPr>
              <p:cNvGrpSpPr/>
              <p:nvPr/>
            </p:nvGrpSpPr>
            <p:grpSpPr>
              <a:xfrm>
                <a:off x="5601556" y="3463194"/>
                <a:ext cx="75723" cy="75723"/>
                <a:chOff x="5601556" y="3463194"/>
                <a:chExt cx="75723" cy="75723"/>
              </a:xfrm>
            </p:grpSpPr>
            <p:sp>
              <p:nvSpPr>
                <p:cNvPr id="18589" name="Freeform: Shape 18588">
                  <a:extLst>
                    <a:ext uri="{FF2B5EF4-FFF2-40B4-BE49-F238E27FC236}">
                      <a16:creationId xmlns:a16="http://schemas.microsoft.com/office/drawing/2014/main" id="{E17523CD-E912-79C8-ED56-6064526C9ADF}"/>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90" name="Freeform: Shape 18589">
                  <a:extLst>
                    <a:ext uri="{FF2B5EF4-FFF2-40B4-BE49-F238E27FC236}">
                      <a16:creationId xmlns:a16="http://schemas.microsoft.com/office/drawing/2014/main" id="{1926FFFA-9552-F70F-4EBA-72B473B8635D}"/>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0" name="Graphic 2151">
                <a:extLst>
                  <a:ext uri="{FF2B5EF4-FFF2-40B4-BE49-F238E27FC236}">
                    <a16:creationId xmlns:a16="http://schemas.microsoft.com/office/drawing/2014/main" id="{143394AD-948D-4699-2537-954DF293EA3B}"/>
                  </a:ext>
                </a:extLst>
              </p:cNvPr>
              <p:cNvGrpSpPr/>
              <p:nvPr/>
            </p:nvGrpSpPr>
            <p:grpSpPr>
              <a:xfrm>
                <a:off x="5346191" y="3324129"/>
                <a:ext cx="75723" cy="75723"/>
                <a:chOff x="5346191" y="3324129"/>
                <a:chExt cx="75723" cy="75723"/>
              </a:xfrm>
            </p:grpSpPr>
            <p:sp>
              <p:nvSpPr>
                <p:cNvPr id="18587" name="Freeform: Shape 18586">
                  <a:extLst>
                    <a:ext uri="{FF2B5EF4-FFF2-40B4-BE49-F238E27FC236}">
                      <a16:creationId xmlns:a16="http://schemas.microsoft.com/office/drawing/2014/main" id="{E72D9D6A-648F-42A4-ADDC-F3AA378682A3}"/>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8" name="Freeform: Shape 18587">
                  <a:extLst>
                    <a:ext uri="{FF2B5EF4-FFF2-40B4-BE49-F238E27FC236}">
                      <a16:creationId xmlns:a16="http://schemas.microsoft.com/office/drawing/2014/main" id="{0B55C725-7602-C759-C834-3A3947AAB801}"/>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1" name="Graphic 2151">
                <a:extLst>
                  <a:ext uri="{FF2B5EF4-FFF2-40B4-BE49-F238E27FC236}">
                    <a16:creationId xmlns:a16="http://schemas.microsoft.com/office/drawing/2014/main" id="{C0E56A84-6E95-8291-9697-7CF9B884D4BE}"/>
                  </a:ext>
                </a:extLst>
              </p:cNvPr>
              <p:cNvGrpSpPr/>
              <p:nvPr/>
            </p:nvGrpSpPr>
            <p:grpSpPr>
              <a:xfrm>
                <a:off x="5213889" y="3295078"/>
                <a:ext cx="75628" cy="75723"/>
                <a:chOff x="5213889" y="3295078"/>
                <a:chExt cx="75628" cy="75723"/>
              </a:xfrm>
            </p:grpSpPr>
            <p:sp>
              <p:nvSpPr>
                <p:cNvPr id="18585" name="Freeform: Shape 18584">
                  <a:extLst>
                    <a:ext uri="{FF2B5EF4-FFF2-40B4-BE49-F238E27FC236}">
                      <a16:creationId xmlns:a16="http://schemas.microsoft.com/office/drawing/2014/main" id="{5B8DE28A-DC09-9AB0-E39C-863C25936197}"/>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6" name="Freeform: Shape 18585">
                  <a:extLst>
                    <a:ext uri="{FF2B5EF4-FFF2-40B4-BE49-F238E27FC236}">
                      <a16:creationId xmlns:a16="http://schemas.microsoft.com/office/drawing/2014/main" id="{A77B547B-DFAE-FD90-89ED-D25D5BDB83E4}"/>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2" name="Graphic 2151">
                <a:extLst>
                  <a:ext uri="{FF2B5EF4-FFF2-40B4-BE49-F238E27FC236}">
                    <a16:creationId xmlns:a16="http://schemas.microsoft.com/office/drawing/2014/main" id="{952997A6-0386-32FC-0F33-77532E2E3F3B}"/>
                  </a:ext>
                </a:extLst>
              </p:cNvPr>
              <p:cNvGrpSpPr/>
              <p:nvPr/>
            </p:nvGrpSpPr>
            <p:grpSpPr>
              <a:xfrm>
                <a:off x="5184361" y="3295078"/>
                <a:ext cx="75723" cy="75723"/>
                <a:chOff x="5184361" y="3295078"/>
                <a:chExt cx="75723" cy="75723"/>
              </a:xfrm>
            </p:grpSpPr>
            <p:sp>
              <p:nvSpPr>
                <p:cNvPr id="18583" name="Freeform: Shape 18582">
                  <a:extLst>
                    <a:ext uri="{FF2B5EF4-FFF2-40B4-BE49-F238E27FC236}">
                      <a16:creationId xmlns:a16="http://schemas.microsoft.com/office/drawing/2014/main" id="{635B8001-9BFA-D978-7843-ED0C5418979B}"/>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4" name="Freeform: Shape 18583">
                  <a:extLst>
                    <a:ext uri="{FF2B5EF4-FFF2-40B4-BE49-F238E27FC236}">
                      <a16:creationId xmlns:a16="http://schemas.microsoft.com/office/drawing/2014/main" id="{1A82820C-9188-5144-AD0B-44E8FF35EDE3}"/>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3" name="Graphic 2151">
                <a:extLst>
                  <a:ext uri="{FF2B5EF4-FFF2-40B4-BE49-F238E27FC236}">
                    <a16:creationId xmlns:a16="http://schemas.microsoft.com/office/drawing/2014/main" id="{AF241529-37BB-2387-BE09-3B66769E3D04}"/>
                  </a:ext>
                </a:extLst>
              </p:cNvPr>
              <p:cNvGrpSpPr/>
              <p:nvPr/>
            </p:nvGrpSpPr>
            <p:grpSpPr>
              <a:xfrm>
                <a:off x="5136736" y="3247072"/>
                <a:ext cx="75723" cy="75628"/>
                <a:chOff x="5136736" y="3247072"/>
                <a:chExt cx="75723" cy="75628"/>
              </a:xfrm>
            </p:grpSpPr>
            <p:sp>
              <p:nvSpPr>
                <p:cNvPr id="18581" name="Freeform: Shape 18580">
                  <a:extLst>
                    <a:ext uri="{FF2B5EF4-FFF2-40B4-BE49-F238E27FC236}">
                      <a16:creationId xmlns:a16="http://schemas.microsoft.com/office/drawing/2014/main" id="{BFB4FB99-10B1-3632-D7F5-780FF9FFBBDE}"/>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2" name="Freeform: Shape 18581">
                  <a:extLst>
                    <a:ext uri="{FF2B5EF4-FFF2-40B4-BE49-F238E27FC236}">
                      <a16:creationId xmlns:a16="http://schemas.microsoft.com/office/drawing/2014/main" id="{0F27EBBE-6288-DE83-BB30-B506AC49D7C6}"/>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4" name="Graphic 2151">
                <a:extLst>
                  <a:ext uri="{FF2B5EF4-FFF2-40B4-BE49-F238E27FC236}">
                    <a16:creationId xmlns:a16="http://schemas.microsoft.com/office/drawing/2014/main" id="{262944BB-DAF3-4D24-2659-A76C7F217235}"/>
                  </a:ext>
                </a:extLst>
              </p:cNvPr>
              <p:cNvGrpSpPr/>
              <p:nvPr/>
            </p:nvGrpSpPr>
            <p:grpSpPr>
              <a:xfrm>
                <a:off x="5062537" y="3222688"/>
                <a:ext cx="75723" cy="75723"/>
                <a:chOff x="5062537" y="3222688"/>
                <a:chExt cx="75723" cy="75723"/>
              </a:xfrm>
            </p:grpSpPr>
            <p:sp>
              <p:nvSpPr>
                <p:cNvPr id="18579" name="Freeform: Shape 18578">
                  <a:extLst>
                    <a:ext uri="{FF2B5EF4-FFF2-40B4-BE49-F238E27FC236}">
                      <a16:creationId xmlns:a16="http://schemas.microsoft.com/office/drawing/2014/main" id="{2A5650F8-C2D0-1A4B-B6F8-B4AF00B4DEF0}"/>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80" name="Freeform: Shape 18579">
                  <a:extLst>
                    <a:ext uri="{FF2B5EF4-FFF2-40B4-BE49-F238E27FC236}">
                      <a16:creationId xmlns:a16="http://schemas.microsoft.com/office/drawing/2014/main" id="{21DD3BAC-8CE7-91C9-E2C5-B10469EF5C8E}"/>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5" name="Graphic 2151">
                <a:extLst>
                  <a:ext uri="{FF2B5EF4-FFF2-40B4-BE49-F238E27FC236}">
                    <a16:creationId xmlns:a16="http://schemas.microsoft.com/office/drawing/2014/main" id="{F0F0106D-7331-11B9-AF98-E4F6C925098A}"/>
                  </a:ext>
                </a:extLst>
              </p:cNvPr>
              <p:cNvGrpSpPr/>
              <p:nvPr/>
            </p:nvGrpSpPr>
            <p:grpSpPr>
              <a:xfrm>
                <a:off x="4760975" y="3149346"/>
                <a:ext cx="75723" cy="75723"/>
                <a:chOff x="4760975" y="3149346"/>
                <a:chExt cx="75723" cy="75723"/>
              </a:xfrm>
            </p:grpSpPr>
            <p:sp>
              <p:nvSpPr>
                <p:cNvPr id="18577" name="Freeform: Shape 18576">
                  <a:extLst>
                    <a:ext uri="{FF2B5EF4-FFF2-40B4-BE49-F238E27FC236}">
                      <a16:creationId xmlns:a16="http://schemas.microsoft.com/office/drawing/2014/main" id="{88605140-AAE8-FE87-7EBE-E04FE61C2618}"/>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8" name="Freeform: Shape 18577">
                  <a:extLst>
                    <a:ext uri="{FF2B5EF4-FFF2-40B4-BE49-F238E27FC236}">
                      <a16:creationId xmlns:a16="http://schemas.microsoft.com/office/drawing/2014/main" id="{7516CAEE-BCBF-DF53-94CD-E13A5B244BD3}"/>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6" name="Graphic 2151">
                <a:extLst>
                  <a:ext uri="{FF2B5EF4-FFF2-40B4-BE49-F238E27FC236}">
                    <a16:creationId xmlns:a16="http://schemas.microsoft.com/office/drawing/2014/main" id="{9AEBCD37-D366-69C5-5B22-E8490A2DE10C}"/>
                  </a:ext>
                </a:extLst>
              </p:cNvPr>
              <p:cNvGrpSpPr/>
              <p:nvPr/>
            </p:nvGrpSpPr>
            <p:grpSpPr>
              <a:xfrm>
                <a:off x="4757927" y="3127438"/>
                <a:ext cx="75723" cy="75628"/>
                <a:chOff x="4757927" y="3127438"/>
                <a:chExt cx="75723" cy="75628"/>
              </a:xfrm>
            </p:grpSpPr>
            <p:sp>
              <p:nvSpPr>
                <p:cNvPr id="18575" name="Freeform: Shape 18574">
                  <a:extLst>
                    <a:ext uri="{FF2B5EF4-FFF2-40B4-BE49-F238E27FC236}">
                      <a16:creationId xmlns:a16="http://schemas.microsoft.com/office/drawing/2014/main" id="{9DBAD74D-C76D-0996-E595-17995C4F53B3}"/>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6" name="Freeform: Shape 18575">
                  <a:extLst>
                    <a:ext uri="{FF2B5EF4-FFF2-40B4-BE49-F238E27FC236}">
                      <a16:creationId xmlns:a16="http://schemas.microsoft.com/office/drawing/2014/main" id="{CF18E993-E0EC-4AB7-D3F5-C998827063B3}"/>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7" name="Graphic 2151">
                <a:extLst>
                  <a:ext uri="{FF2B5EF4-FFF2-40B4-BE49-F238E27FC236}">
                    <a16:creationId xmlns:a16="http://schemas.microsoft.com/office/drawing/2014/main" id="{ED74AC71-A4D0-4F01-704A-9E7BB562CFEC}"/>
                  </a:ext>
                </a:extLst>
              </p:cNvPr>
              <p:cNvGrpSpPr/>
              <p:nvPr/>
            </p:nvGrpSpPr>
            <p:grpSpPr>
              <a:xfrm>
                <a:off x="4746116" y="3127438"/>
                <a:ext cx="75723" cy="75628"/>
                <a:chOff x="4746116" y="3127438"/>
                <a:chExt cx="75723" cy="75628"/>
              </a:xfrm>
            </p:grpSpPr>
            <p:sp>
              <p:nvSpPr>
                <p:cNvPr id="18573" name="Freeform: Shape 18572">
                  <a:extLst>
                    <a:ext uri="{FF2B5EF4-FFF2-40B4-BE49-F238E27FC236}">
                      <a16:creationId xmlns:a16="http://schemas.microsoft.com/office/drawing/2014/main" id="{0A3C79E7-4581-A630-69AE-E6E604BB7AA9}"/>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4" name="Freeform: Shape 18573">
                  <a:extLst>
                    <a:ext uri="{FF2B5EF4-FFF2-40B4-BE49-F238E27FC236}">
                      <a16:creationId xmlns:a16="http://schemas.microsoft.com/office/drawing/2014/main" id="{F4FDCC20-710F-E78C-1291-AEFC8614477B}"/>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8" name="Graphic 2151">
                <a:extLst>
                  <a:ext uri="{FF2B5EF4-FFF2-40B4-BE49-F238E27FC236}">
                    <a16:creationId xmlns:a16="http://schemas.microsoft.com/office/drawing/2014/main" id="{2C0649A2-1B51-9A06-9E96-1A41A5FC4208}"/>
                  </a:ext>
                </a:extLst>
              </p:cNvPr>
              <p:cNvGrpSpPr/>
              <p:nvPr/>
            </p:nvGrpSpPr>
            <p:grpSpPr>
              <a:xfrm>
                <a:off x="4693538" y="3060192"/>
                <a:ext cx="75723" cy="75723"/>
                <a:chOff x="4693538" y="3060192"/>
                <a:chExt cx="75723" cy="75723"/>
              </a:xfrm>
            </p:grpSpPr>
            <p:sp>
              <p:nvSpPr>
                <p:cNvPr id="18571" name="Freeform: Shape 18570">
                  <a:extLst>
                    <a:ext uri="{FF2B5EF4-FFF2-40B4-BE49-F238E27FC236}">
                      <a16:creationId xmlns:a16="http://schemas.microsoft.com/office/drawing/2014/main" id="{443874E9-0992-5039-EC0E-F584E8EE524C}"/>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2" name="Freeform: Shape 18571">
                  <a:extLst>
                    <a:ext uri="{FF2B5EF4-FFF2-40B4-BE49-F238E27FC236}">
                      <a16:creationId xmlns:a16="http://schemas.microsoft.com/office/drawing/2014/main" id="{374DA9D7-893A-D427-F579-6D510B8B282E}"/>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499" name="Graphic 2151">
                <a:extLst>
                  <a:ext uri="{FF2B5EF4-FFF2-40B4-BE49-F238E27FC236}">
                    <a16:creationId xmlns:a16="http://schemas.microsoft.com/office/drawing/2014/main" id="{622EDB22-CD80-90B6-500C-B6D05E82FE04}"/>
                  </a:ext>
                </a:extLst>
              </p:cNvPr>
              <p:cNvGrpSpPr/>
              <p:nvPr/>
            </p:nvGrpSpPr>
            <p:grpSpPr>
              <a:xfrm>
                <a:off x="4670392" y="3019806"/>
                <a:ext cx="75723" cy="75628"/>
                <a:chOff x="4670392" y="3019806"/>
                <a:chExt cx="75723" cy="75628"/>
              </a:xfrm>
            </p:grpSpPr>
            <p:sp>
              <p:nvSpPr>
                <p:cNvPr id="18569" name="Freeform: Shape 18568">
                  <a:extLst>
                    <a:ext uri="{FF2B5EF4-FFF2-40B4-BE49-F238E27FC236}">
                      <a16:creationId xmlns:a16="http://schemas.microsoft.com/office/drawing/2014/main" id="{2A049598-E2C1-84B2-9233-69FF0F4E6C65}"/>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70" name="Freeform: Shape 18569">
                  <a:extLst>
                    <a:ext uri="{FF2B5EF4-FFF2-40B4-BE49-F238E27FC236}">
                      <a16:creationId xmlns:a16="http://schemas.microsoft.com/office/drawing/2014/main" id="{2691B6C1-2735-4228-84F9-26815A22B075}"/>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0" name="Graphic 2151">
                <a:extLst>
                  <a:ext uri="{FF2B5EF4-FFF2-40B4-BE49-F238E27FC236}">
                    <a16:creationId xmlns:a16="http://schemas.microsoft.com/office/drawing/2014/main" id="{3AD1DB57-D9AE-A6BB-CC5B-F4B130E98D01}"/>
                  </a:ext>
                </a:extLst>
              </p:cNvPr>
              <p:cNvGrpSpPr/>
              <p:nvPr/>
            </p:nvGrpSpPr>
            <p:grpSpPr>
              <a:xfrm>
                <a:off x="4433029" y="3019806"/>
                <a:ext cx="75628" cy="75628"/>
                <a:chOff x="4433029" y="3019806"/>
                <a:chExt cx="75628" cy="75628"/>
              </a:xfrm>
            </p:grpSpPr>
            <p:sp>
              <p:nvSpPr>
                <p:cNvPr id="18567" name="Freeform: Shape 18566">
                  <a:extLst>
                    <a:ext uri="{FF2B5EF4-FFF2-40B4-BE49-F238E27FC236}">
                      <a16:creationId xmlns:a16="http://schemas.microsoft.com/office/drawing/2014/main" id="{D8CCC052-F417-8854-DAF8-F83CD96FC179}"/>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8" name="Freeform: Shape 18567">
                  <a:extLst>
                    <a:ext uri="{FF2B5EF4-FFF2-40B4-BE49-F238E27FC236}">
                      <a16:creationId xmlns:a16="http://schemas.microsoft.com/office/drawing/2014/main" id="{653B35ED-493D-21C9-D6CD-F5DFD30622AE}"/>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1" name="Graphic 2151">
                <a:extLst>
                  <a:ext uri="{FF2B5EF4-FFF2-40B4-BE49-F238E27FC236}">
                    <a16:creationId xmlns:a16="http://schemas.microsoft.com/office/drawing/2014/main" id="{FF54DEE8-EA78-7B44-B2B7-681C6BE2D640}"/>
                  </a:ext>
                </a:extLst>
              </p:cNvPr>
              <p:cNvGrpSpPr/>
              <p:nvPr/>
            </p:nvGrpSpPr>
            <p:grpSpPr>
              <a:xfrm>
                <a:off x="4353019" y="2954083"/>
                <a:ext cx="75723" cy="75723"/>
                <a:chOff x="4353019" y="2954083"/>
                <a:chExt cx="75723" cy="75723"/>
              </a:xfrm>
            </p:grpSpPr>
            <p:sp>
              <p:nvSpPr>
                <p:cNvPr id="18565" name="Freeform: Shape 18564">
                  <a:extLst>
                    <a:ext uri="{FF2B5EF4-FFF2-40B4-BE49-F238E27FC236}">
                      <a16:creationId xmlns:a16="http://schemas.microsoft.com/office/drawing/2014/main" id="{74D66AB5-CFA8-5E1C-6D43-AC7B94F62B2D}"/>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6" name="Freeform: Shape 18565">
                  <a:extLst>
                    <a:ext uri="{FF2B5EF4-FFF2-40B4-BE49-F238E27FC236}">
                      <a16:creationId xmlns:a16="http://schemas.microsoft.com/office/drawing/2014/main" id="{8AD96725-A900-32A4-FA0A-9ECE9B9F7377}"/>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2" name="Graphic 2151">
                <a:extLst>
                  <a:ext uri="{FF2B5EF4-FFF2-40B4-BE49-F238E27FC236}">
                    <a16:creationId xmlns:a16="http://schemas.microsoft.com/office/drawing/2014/main" id="{545F202B-3F8E-ECDB-6C7D-57E78A9709EF}"/>
                  </a:ext>
                </a:extLst>
              </p:cNvPr>
              <p:cNvGrpSpPr/>
              <p:nvPr/>
            </p:nvGrpSpPr>
            <p:grpSpPr>
              <a:xfrm>
                <a:off x="4349686" y="2911983"/>
                <a:ext cx="75723" cy="75628"/>
                <a:chOff x="4349686" y="2911983"/>
                <a:chExt cx="75723" cy="75628"/>
              </a:xfrm>
            </p:grpSpPr>
            <p:sp>
              <p:nvSpPr>
                <p:cNvPr id="18563" name="Freeform: Shape 18562">
                  <a:extLst>
                    <a:ext uri="{FF2B5EF4-FFF2-40B4-BE49-F238E27FC236}">
                      <a16:creationId xmlns:a16="http://schemas.microsoft.com/office/drawing/2014/main" id="{C753E690-6687-5B40-1228-103D72D222ED}"/>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4" name="Freeform: Shape 18563">
                  <a:extLst>
                    <a:ext uri="{FF2B5EF4-FFF2-40B4-BE49-F238E27FC236}">
                      <a16:creationId xmlns:a16="http://schemas.microsoft.com/office/drawing/2014/main" id="{D6F0C905-7E37-C787-984E-DB1D821B766A}"/>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3" name="Graphic 2151">
                <a:extLst>
                  <a:ext uri="{FF2B5EF4-FFF2-40B4-BE49-F238E27FC236}">
                    <a16:creationId xmlns:a16="http://schemas.microsoft.com/office/drawing/2014/main" id="{55C79E31-BFFE-E350-B0E8-20F8E62CBACB}"/>
                  </a:ext>
                </a:extLst>
              </p:cNvPr>
              <p:cNvGrpSpPr/>
              <p:nvPr/>
            </p:nvGrpSpPr>
            <p:grpSpPr>
              <a:xfrm>
                <a:off x="4341208" y="2892742"/>
                <a:ext cx="75723" cy="75723"/>
                <a:chOff x="4341208" y="2892742"/>
                <a:chExt cx="75723" cy="75723"/>
              </a:xfrm>
            </p:grpSpPr>
            <p:sp>
              <p:nvSpPr>
                <p:cNvPr id="18561" name="Freeform: Shape 18560">
                  <a:extLst>
                    <a:ext uri="{FF2B5EF4-FFF2-40B4-BE49-F238E27FC236}">
                      <a16:creationId xmlns:a16="http://schemas.microsoft.com/office/drawing/2014/main" id="{6335A107-5EBD-950F-3EAD-872339BF1178}"/>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2" name="Freeform: Shape 18561">
                  <a:extLst>
                    <a:ext uri="{FF2B5EF4-FFF2-40B4-BE49-F238E27FC236}">
                      <a16:creationId xmlns:a16="http://schemas.microsoft.com/office/drawing/2014/main" id="{AC8B92DC-9584-19BF-8DEE-7808D65470C1}"/>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4" name="Graphic 2151">
                <a:extLst>
                  <a:ext uri="{FF2B5EF4-FFF2-40B4-BE49-F238E27FC236}">
                    <a16:creationId xmlns:a16="http://schemas.microsoft.com/office/drawing/2014/main" id="{C0AC19C5-5D2C-2D02-23B8-F072158D593E}"/>
                  </a:ext>
                </a:extLst>
              </p:cNvPr>
              <p:cNvGrpSpPr/>
              <p:nvPr/>
            </p:nvGrpSpPr>
            <p:grpSpPr>
              <a:xfrm>
                <a:off x="4326635" y="2882169"/>
                <a:ext cx="75628" cy="75628"/>
                <a:chOff x="4326635" y="2882169"/>
                <a:chExt cx="75628" cy="75628"/>
              </a:xfrm>
            </p:grpSpPr>
            <p:sp>
              <p:nvSpPr>
                <p:cNvPr id="18559" name="Freeform: Shape 18558">
                  <a:extLst>
                    <a:ext uri="{FF2B5EF4-FFF2-40B4-BE49-F238E27FC236}">
                      <a16:creationId xmlns:a16="http://schemas.microsoft.com/office/drawing/2014/main" id="{734A6753-A08B-F12C-6B65-38581A2BB038}"/>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60" name="Freeform: Shape 18559">
                  <a:extLst>
                    <a:ext uri="{FF2B5EF4-FFF2-40B4-BE49-F238E27FC236}">
                      <a16:creationId xmlns:a16="http://schemas.microsoft.com/office/drawing/2014/main" id="{83CB2B1D-0D35-F20D-0E71-51CB5335B128}"/>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5" name="Graphic 2151">
                <a:extLst>
                  <a:ext uri="{FF2B5EF4-FFF2-40B4-BE49-F238E27FC236}">
                    <a16:creationId xmlns:a16="http://schemas.microsoft.com/office/drawing/2014/main" id="{8FBB52E5-7B5E-8EA3-D0FD-272BF611ED5F}"/>
                  </a:ext>
                </a:extLst>
              </p:cNvPr>
              <p:cNvGrpSpPr/>
              <p:nvPr/>
            </p:nvGrpSpPr>
            <p:grpSpPr>
              <a:xfrm>
                <a:off x="4317682" y="2869692"/>
                <a:ext cx="75628" cy="75723"/>
                <a:chOff x="4317682" y="2869692"/>
                <a:chExt cx="75628" cy="75723"/>
              </a:xfrm>
            </p:grpSpPr>
            <p:sp>
              <p:nvSpPr>
                <p:cNvPr id="18557" name="Freeform: Shape 18556">
                  <a:extLst>
                    <a:ext uri="{FF2B5EF4-FFF2-40B4-BE49-F238E27FC236}">
                      <a16:creationId xmlns:a16="http://schemas.microsoft.com/office/drawing/2014/main" id="{3C957D5F-730B-FDF7-DCEE-7BD19EC99B3E}"/>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58" name="Freeform: Shape 18557">
                  <a:extLst>
                    <a:ext uri="{FF2B5EF4-FFF2-40B4-BE49-F238E27FC236}">
                      <a16:creationId xmlns:a16="http://schemas.microsoft.com/office/drawing/2014/main" id="{8894C3B3-B024-5A45-A909-AB3E878BCB46}"/>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6" name="Graphic 2151">
                <a:extLst>
                  <a:ext uri="{FF2B5EF4-FFF2-40B4-BE49-F238E27FC236}">
                    <a16:creationId xmlns:a16="http://schemas.microsoft.com/office/drawing/2014/main" id="{0821EE0C-630E-724F-43E9-C7FAF64B8709}"/>
                  </a:ext>
                </a:extLst>
              </p:cNvPr>
              <p:cNvGrpSpPr/>
              <p:nvPr/>
            </p:nvGrpSpPr>
            <p:grpSpPr>
              <a:xfrm>
                <a:off x="4310633" y="2854928"/>
                <a:ext cx="75723" cy="75723"/>
                <a:chOff x="4310633" y="2854928"/>
                <a:chExt cx="75723" cy="75723"/>
              </a:xfrm>
            </p:grpSpPr>
            <p:sp>
              <p:nvSpPr>
                <p:cNvPr id="18555" name="Freeform: Shape 18554">
                  <a:extLst>
                    <a:ext uri="{FF2B5EF4-FFF2-40B4-BE49-F238E27FC236}">
                      <a16:creationId xmlns:a16="http://schemas.microsoft.com/office/drawing/2014/main" id="{1FB8306D-7F5C-4C51-2960-0F0A041DBD5D}"/>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56" name="Freeform: Shape 18555">
                  <a:extLst>
                    <a:ext uri="{FF2B5EF4-FFF2-40B4-BE49-F238E27FC236}">
                      <a16:creationId xmlns:a16="http://schemas.microsoft.com/office/drawing/2014/main" id="{90A4F1D4-6300-F09C-57A0-0960E8D406EB}"/>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7" name="Graphic 2151">
                <a:extLst>
                  <a:ext uri="{FF2B5EF4-FFF2-40B4-BE49-F238E27FC236}">
                    <a16:creationId xmlns:a16="http://schemas.microsoft.com/office/drawing/2014/main" id="{167C7939-434D-E62B-B53E-C6E1C4C6138F}"/>
                  </a:ext>
                </a:extLst>
              </p:cNvPr>
              <p:cNvGrpSpPr/>
              <p:nvPr/>
            </p:nvGrpSpPr>
            <p:grpSpPr>
              <a:xfrm>
                <a:off x="4295488" y="2838069"/>
                <a:ext cx="75628" cy="75723"/>
                <a:chOff x="4295488" y="2838069"/>
                <a:chExt cx="75628" cy="75723"/>
              </a:xfrm>
            </p:grpSpPr>
            <p:sp>
              <p:nvSpPr>
                <p:cNvPr id="18553" name="Freeform: Shape 18552">
                  <a:extLst>
                    <a:ext uri="{FF2B5EF4-FFF2-40B4-BE49-F238E27FC236}">
                      <a16:creationId xmlns:a16="http://schemas.microsoft.com/office/drawing/2014/main" id="{9ACA5061-4AC3-F74F-BC40-12D946FA46FF}"/>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54" name="Freeform: Shape 18553">
                  <a:extLst>
                    <a:ext uri="{FF2B5EF4-FFF2-40B4-BE49-F238E27FC236}">
                      <a16:creationId xmlns:a16="http://schemas.microsoft.com/office/drawing/2014/main" id="{E15876A4-F0E1-9E64-BF5E-36ABAEE9F6E3}"/>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8" name="Graphic 2151">
                <a:extLst>
                  <a:ext uri="{FF2B5EF4-FFF2-40B4-BE49-F238E27FC236}">
                    <a16:creationId xmlns:a16="http://schemas.microsoft.com/office/drawing/2014/main" id="{146DE14F-597E-1CC7-0786-D59760D157C4}"/>
                  </a:ext>
                </a:extLst>
              </p:cNvPr>
              <p:cNvGrpSpPr/>
              <p:nvPr/>
            </p:nvGrpSpPr>
            <p:grpSpPr>
              <a:xfrm>
                <a:off x="4141374" y="2725959"/>
                <a:ext cx="75628" cy="75628"/>
                <a:chOff x="4141374" y="2725959"/>
                <a:chExt cx="75628" cy="75628"/>
              </a:xfrm>
            </p:grpSpPr>
            <p:sp>
              <p:nvSpPr>
                <p:cNvPr id="18551" name="Freeform: Shape 18550">
                  <a:extLst>
                    <a:ext uri="{FF2B5EF4-FFF2-40B4-BE49-F238E27FC236}">
                      <a16:creationId xmlns:a16="http://schemas.microsoft.com/office/drawing/2014/main" id="{1F97FFAC-C4CB-DA23-51FA-304F3067BF21}"/>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52" name="Freeform: Shape 18551">
                  <a:extLst>
                    <a:ext uri="{FF2B5EF4-FFF2-40B4-BE49-F238E27FC236}">
                      <a16:creationId xmlns:a16="http://schemas.microsoft.com/office/drawing/2014/main" id="{A1A923C7-CCBF-BE99-6ABB-6367B1304CE0}"/>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09" name="Graphic 2151">
                <a:extLst>
                  <a:ext uri="{FF2B5EF4-FFF2-40B4-BE49-F238E27FC236}">
                    <a16:creationId xmlns:a16="http://schemas.microsoft.com/office/drawing/2014/main" id="{C0DBC246-3D22-2C44-AB2D-84B4DF6ED44F}"/>
                  </a:ext>
                </a:extLst>
              </p:cNvPr>
              <p:cNvGrpSpPr/>
              <p:nvPr/>
            </p:nvGrpSpPr>
            <p:grpSpPr>
              <a:xfrm>
                <a:off x="3900677" y="2674810"/>
                <a:ext cx="75723" cy="75723"/>
                <a:chOff x="3900677" y="2674810"/>
                <a:chExt cx="75723" cy="75723"/>
              </a:xfrm>
            </p:grpSpPr>
            <p:sp>
              <p:nvSpPr>
                <p:cNvPr id="18549" name="Freeform: Shape 18548">
                  <a:extLst>
                    <a:ext uri="{FF2B5EF4-FFF2-40B4-BE49-F238E27FC236}">
                      <a16:creationId xmlns:a16="http://schemas.microsoft.com/office/drawing/2014/main" id="{C2453C88-5E41-7E81-1B33-188D80FA078E}"/>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50" name="Freeform: Shape 18549">
                  <a:extLst>
                    <a:ext uri="{FF2B5EF4-FFF2-40B4-BE49-F238E27FC236}">
                      <a16:creationId xmlns:a16="http://schemas.microsoft.com/office/drawing/2014/main" id="{91E3FA36-643C-7C63-A5A2-E465272D3CEC}"/>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0" name="Graphic 2151">
                <a:extLst>
                  <a:ext uri="{FF2B5EF4-FFF2-40B4-BE49-F238E27FC236}">
                    <a16:creationId xmlns:a16="http://schemas.microsoft.com/office/drawing/2014/main" id="{779F99CC-31E1-F02B-B821-E8EBAFC6DC14}"/>
                  </a:ext>
                </a:extLst>
              </p:cNvPr>
              <p:cNvGrpSpPr/>
              <p:nvPr/>
            </p:nvGrpSpPr>
            <p:grpSpPr>
              <a:xfrm>
                <a:off x="3876674" y="2674810"/>
                <a:ext cx="75723" cy="75723"/>
                <a:chOff x="3876674" y="2674810"/>
                <a:chExt cx="75723" cy="75723"/>
              </a:xfrm>
            </p:grpSpPr>
            <p:sp>
              <p:nvSpPr>
                <p:cNvPr id="18547" name="Freeform: Shape 18546">
                  <a:extLst>
                    <a:ext uri="{FF2B5EF4-FFF2-40B4-BE49-F238E27FC236}">
                      <a16:creationId xmlns:a16="http://schemas.microsoft.com/office/drawing/2014/main" id="{D5E3E67B-2E52-DF57-C2D3-9A2DA9192E94}"/>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8" name="Freeform: Shape 18547">
                  <a:extLst>
                    <a:ext uri="{FF2B5EF4-FFF2-40B4-BE49-F238E27FC236}">
                      <a16:creationId xmlns:a16="http://schemas.microsoft.com/office/drawing/2014/main" id="{5CED538C-C710-9F44-2104-E677661558D4}"/>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1" name="Graphic 2151">
                <a:extLst>
                  <a:ext uri="{FF2B5EF4-FFF2-40B4-BE49-F238E27FC236}">
                    <a16:creationId xmlns:a16="http://schemas.microsoft.com/office/drawing/2014/main" id="{2C69D8CC-B971-2B32-7D93-DBCFC2C706B8}"/>
                  </a:ext>
                </a:extLst>
              </p:cNvPr>
              <p:cNvGrpSpPr/>
              <p:nvPr/>
            </p:nvGrpSpPr>
            <p:grpSpPr>
              <a:xfrm>
                <a:off x="4353019" y="2937129"/>
                <a:ext cx="75723" cy="75628"/>
                <a:chOff x="4353019" y="2937129"/>
                <a:chExt cx="75723" cy="75628"/>
              </a:xfrm>
            </p:grpSpPr>
            <p:sp>
              <p:nvSpPr>
                <p:cNvPr id="18545" name="Freeform: Shape 18544">
                  <a:extLst>
                    <a:ext uri="{FF2B5EF4-FFF2-40B4-BE49-F238E27FC236}">
                      <a16:creationId xmlns:a16="http://schemas.microsoft.com/office/drawing/2014/main" id="{2B6B76AE-AAB4-864E-6E62-635FB2B58229}"/>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6" name="Freeform: Shape 18545">
                  <a:extLst>
                    <a:ext uri="{FF2B5EF4-FFF2-40B4-BE49-F238E27FC236}">
                      <a16:creationId xmlns:a16="http://schemas.microsoft.com/office/drawing/2014/main" id="{E8CC9750-7E05-D85D-A08A-CEBF31C0A64C}"/>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2" name="Graphic 2151">
                <a:extLst>
                  <a:ext uri="{FF2B5EF4-FFF2-40B4-BE49-F238E27FC236}">
                    <a16:creationId xmlns:a16="http://schemas.microsoft.com/office/drawing/2014/main" id="{52A66A05-3669-CC4F-C9E0-0EB000312024}"/>
                  </a:ext>
                </a:extLst>
              </p:cNvPr>
              <p:cNvGrpSpPr/>
              <p:nvPr/>
            </p:nvGrpSpPr>
            <p:grpSpPr>
              <a:xfrm>
                <a:off x="5159501" y="3247072"/>
                <a:ext cx="75723" cy="75628"/>
                <a:chOff x="5159501" y="3247072"/>
                <a:chExt cx="75723" cy="75628"/>
              </a:xfrm>
            </p:grpSpPr>
            <p:sp>
              <p:nvSpPr>
                <p:cNvPr id="18543" name="Freeform: Shape 18542">
                  <a:extLst>
                    <a:ext uri="{FF2B5EF4-FFF2-40B4-BE49-F238E27FC236}">
                      <a16:creationId xmlns:a16="http://schemas.microsoft.com/office/drawing/2014/main" id="{1B40F0F2-4E79-423F-8FB4-BC0D71FDA80C}"/>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4" name="Freeform: Shape 18543">
                  <a:extLst>
                    <a:ext uri="{FF2B5EF4-FFF2-40B4-BE49-F238E27FC236}">
                      <a16:creationId xmlns:a16="http://schemas.microsoft.com/office/drawing/2014/main" id="{05DBC843-83B1-D6E0-E24A-EC383F08F9AD}"/>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3" name="Graphic 2151">
                <a:extLst>
                  <a:ext uri="{FF2B5EF4-FFF2-40B4-BE49-F238E27FC236}">
                    <a16:creationId xmlns:a16="http://schemas.microsoft.com/office/drawing/2014/main" id="{CD800CD3-A9CC-9E31-6D2D-F66326DAE179}"/>
                  </a:ext>
                </a:extLst>
              </p:cNvPr>
              <p:cNvGrpSpPr/>
              <p:nvPr/>
            </p:nvGrpSpPr>
            <p:grpSpPr>
              <a:xfrm>
                <a:off x="5179123" y="3264027"/>
                <a:ext cx="75723" cy="75723"/>
                <a:chOff x="5179123" y="3264027"/>
                <a:chExt cx="75723" cy="75723"/>
              </a:xfrm>
            </p:grpSpPr>
            <p:sp>
              <p:nvSpPr>
                <p:cNvPr id="18541" name="Freeform: Shape 18540">
                  <a:extLst>
                    <a:ext uri="{FF2B5EF4-FFF2-40B4-BE49-F238E27FC236}">
                      <a16:creationId xmlns:a16="http://schemas.microsoft.com/office/drawing/2014/main" id="{8FF14A67-644E-A06F-CF55-E4602BB28089}"/>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2" name="Freeform: Shape 18541">
                  <a:extLst>
                    <a:ext uri="{FF2B5EF4-FFF2-40B4-BE49-F238E27FC236}">
                      <a16:creationId xmlns:a16="http://schemas.microsoft.com/office/drawing/2014/main" id="{68DB7E6E-50E8-339F-D958-5A749B983D48}"/>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4" name="Graphic 2151">
                <a:extLst>
                  <a:ext uri="{FF2B5EF4-FFF2-40B4-BE49-F238E27FC236}">
                    <a16:creationId xmlns:a16="http://schemas.microsoft.com/office/drawing/2014/main" id="{29988149-14A4-16F3-2278-39FB8B53362D}"/>
                  </a:ext>
                </a:extLst>
              </p:cNvPr>
              <p:cNvGrpSpPr/>
              <p:nvPr/>
            </p:nvGrpSpPr>
            <p:grpSpPr>
              <a:xfrm>
                <a:off x="5611843" y="3463194"/>
                <a:ext cx="75723" cy="75723"/>
                <a:chOff x="5611843" y="3463194"/>
                <a:chExt cx="75723" cy="75723"/>
              </a:xfrm>
            </p:grpSpPr>
            <p:sp>
              <p:nvSpPr>
                <p:cNvPr id="18539" name="Freeform: Shape 18538">
                  <a:extLst>
                    <a:ext uri="{FF2B5EF4-FFF2-40B4-BE49-F238E27FC236}">
                      <a16:creationId xmlns:a16="http://schemas.microsoft.com/office/drawing/2014/main" id="{2C3E5310-A177-35B0-9E52-1523E2D9FBA7}"/>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40" name="Freeform: Shape 18539">
                  <a:extLst>
                    <a:ext uri="{FF2B5EF4-FFF2-40B4-BE49-F238E27FC236}">
                      <a16:creationId xmlns:a16="http://schemas.microsoft.com/office/drawing/2014/main" id="{630524BF-1D91-ADDE-1DBB-8BAE2A2487B5}"/>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5" name="Graphic 2151">
                <a:extLst>
                  <a:ext uri="{FF2B5EF4-FFF2-40B4-BE49-F238E27FC236}">
                    <a16:creationId xmlns:a16="http://schemas.microsoft.com/office/drawing/2014/main" id="{EB87B7E4-0F42-6AB4-4532-4974D2D88289}"/>
                  </a:ext>
                </a:extLst>
              </p:cNvPr>
              <p:cNvGrpSpPr/>
              <p:nvPr/>
            </p:nvGrpSpPr>
            <p:grpSpPr>
              <a:xfrm>
                <a:off x="5622226" y="3463194"/>
                <a:ext cx="75723" cy="75723"/>
                <a:chOff x="5622226" y="3463194"/>
                <a:chExt cx="75723" cy="75723"/>
              </a:xfrm>
            </p:grpSpPr>
            <p:sp>
              <p:nvSpPr>
                <p:cNvPr id="18537" name="Freeform: Shape 18536">
                  <a:extLst>
                    <a:ext uri="{FF2B5EF4-FFF2-40B4-BE49-F238E27FC236}">
                      <a16:creationId xmlns:a16="http://schemas.microsoft.com/office/drawing/2014/main" id="{297ED2ED-5ACF-B76C-5864-FFD972CCF83F}"/>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8" name="Freeform: Shape 18537">
                  <a:extLst>
                    <a:ext uri="{FF2B5EF4-FFF2-40B4-BE49-F238E27FC236}">
                      <a16:creationId xmlns:a16="http://schemas.microsoft.com/office/drawing/2014/main" id="{DDF96625-65AC-BE51-AACC-4C64BD8EFAD1}"/>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6" name="Graphic 2151">
                <a:extLst>
                  <a:ext uri="{FF2B5EF4-FFF2-40B4-BE49-F238E27FC236}">
                    <a16:creationId xmlns:a16="http://schemas.microsoft.com/office/drawing/2014/main" id="{2266E224-8A41-5AE3-9D6B-8FDA2C05A756}"/>
                  </a:ext>
                </a:extLst>
              </p:cNvPr>
              <p:cNvGrpSpPr/>
              <p:nvPr/>
            </p:nvGrpSpPr>
            <p:grpSpPr>
              <a:xfrm>
                <a:off x="5632513" y="3463194"/>
                <a:ext cx="75723" cy="75723"/>
                <a:chOff x="5632513" y="3463194"/>
                <a:chExt cx="75723" cy="75723"/>
              </a:xfrm>
            </p:grpSpPr>
            <p:sp>
              <p:nvSpPr>
                <p:cNvPr id="18535" name="Freeform: Shape 18534">
                  <a:extLst>
                    <a:ext uri="{FF2B5EF4-FFF2-40B4-BE49-F238E27FC236}">
                      <a16:creationId xmlns:a16="http://schemas.microsoft.com/office/drawing/2014/main" id="{A0129A39-0829-9C5E-F72D-55B70835F6E8}"/>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6" name="Freeform: Shape 18535">
                  <a:extLst>
                    <a:ext uri="{FF2B5EF4-FFF2-40B4-BE49-F238E27FC236}">
                      <a16:creationId xmlns:a16="http://schemas.microsoft.com/office/drawing/2014/main" id="{4BC4E621-9975-E627-753A-A18911338D07}"/>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7" name="Graphic 2151">
                <a:extLst>
                  <a:ext uri="{FF2B5EF4-FFF2-40B4-BE49-F238E27FC236}">
                    <a16:creationId xmlns:a16="http://schemas.microsoft.com/office/drawing/2014/main" id="{6047AF50-3148-2B1C-57DF-2129AA657746}"/>
                  </a:ext>
                </a:extLst>
              </p:cNvPr>
              <p:cNvGrpSpPr/>
              <p:nvPr/>
            </p:nvGrpSpPr>
            <p:grpSpPr>
              <a:xfrm>
                <a:off x="6254781" y="3692747"/>
                <a:ext cx="75723" cy="75628"/>
                <a:chOff x="6254781" y="3692747"/>
                <a:chExt cx="75723" cy="75628"/>
              </a:xfrm>
            </p:grpSpPr>
            <p:sp>
              <p:nvSpPr>
                <p:cNvPr id="18533" name="Freeform: Shape 18532">
                  <a:extLst>
                    <a:ext uri="{FF2B5EF4-FFF2-40B4-BE49-F238E27FC236}">
                      <a16:creationId xmlns:a16="http://schemas.microsoft.com/office/drawing/2014/main" id="{74FBCEE7-27DE-12E0-3855-56A09916DCC4}"/>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4" name="Freeform: Shape 18533">
                  <a:extLst>
                    <a:ext uri="{FF2B5EF4-FFF2-40B4-BE49-F238E27FC236}">
                      <a16:creationId xmlns:a16="http://schemas.microsoft.com/office/drawing/2014/main" id="{80678DCE-33E7-BFA3-CB99-C2FC4D84004B}"/>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8" name="Graphic 2151">
                <a:extLst>
                  <a:ext uri="{FF2B5EF4-FFF2-40B4-BE49-F238E27FC236}">
                    <a16:creationId xmlns:a16="http://schemas.microsoft.com/office/drawing/2014/main" id="{B699B31F-AD95-B2E6-9B4A-64769A9B552D}"/>
                  </a:ext>
                </a:extLst>
              </p:cNvPr>
              <p:cNvGrpSpPr/>
              <p:nvPr/>
            </p:nvGrpSpPr>
            <p:grpSpPr>
              <a:xfrm>
                <a:off x="6272116" y="3692747"/>
                <a:ext cx="75723" cy="75628"/>
                <a:chOff x="6272116" y="3692747"/>
                <a:chExt cx="75723" cy="75628"/>
              </a:xfrm>
            </p:grpSpPr>
            <p:sp>
              <p:nvSpPr>
                <p:cNvPr id="18531" name="Freeform: Shape 18530">
                  <a:extLst>
                    <a:ext uri="{FF2B5EF4-FFF2-40B4-BE49-F238E27FC236}">
                      <a16:creationId xmlns:a16="http://schemas.microsoft.com/office/drawing/2014/main" id="{6A72E849-F6B7-BE56-EFBF-14CC8F2F2CBF}"/>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2" name="Freeform: Shape 18531">
                  <a:extLst>
                    <a:ext uri="{FF2B5EF4-FFF2-40B4-BE49-F238E27FC236}">
                      <a16:creationId xmlns:a16="http://schemas.microsoft.com/office/drawing/2014/main" id="{49C756D0-46F7-8126-C39A-A5A7F846503E}"/>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19" name="Graphic 2151">
                <a:extLst>
                  <a:ext uri="{FF2B5EF4-FFF2-40B4-BE49-F238E27FC236}">
                    <a16:creationId xmlns:a16="http://schemas.microsoft.com/office/drawing/2014/main" id="{61894B69-EAD6-63D4-BB56-C6BA8A253D70}"/>
                  </a:ext>
                </a:extLst>
              </p:cNvPr>
              <p:cNvGrpSpPr/>
              <p:nvPr/>
            </p:nvGrpSpPr>
            <p:grpSpPr>
              <a:xfrm>
                <a:off x="6479761" y="3743515"/>
                <a:ext cx="75723" cy="75628"/>
                <a:chOff x="6479761" y="3743515"/>
                <a:chExt cx="75723" cy="75628"/>
              </a:xfrm>
            </p:grpSpPr>
            <p:sp>
              <p:nvSpPr>
                <p:cNvPr id="18529" name="Freeform: Shape 18528">
                  <a:extLst>
                    <a:ext uri="{FF2B5EF4-FFF2-40B4-BE49-F238E27FC236}">
                      <a16:creationId xmlns:a16="http://schemas.microsoft.com/office/drawing/2014/main" id="{5C9D343A-9FE2-8007-312D-9A923599598E}"/>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30" name="Freeform: Shape 18529">
                  <a:extLst>
                    <a:ext uri="{FF2B5EF4-FFF2-40B4-BE49-F238E27FC236}">
                      <a16:creationId xmlns:a16="http://schemas.microsoft.com/office/drawing/2014/main" id="{CE30E6A1-8993-EA6A-F78A-B129BB62A316}"/>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0" name="Graphic 2151">
                <a:extLst>
                  <a:ext uri="{FF2B5EF4-FFF2-40B4-BE49-F238E27FC236}">
                    <a16:creationId xmlns:a16="http://schemas.microsoft.com/office/drawing/2014/main" id="{865FEF7D-7821-98A2-E33E-07B3D07AA3D1}"/>
                  </a:ext>
                </a:extLst>
              </p:cNvPr>
              <p:cNvGrpSpPr/>
              <p:nvPr/>
            </p:nvGrpSpPr>
            <p:grpSpPr>
              <a:xfrm>
                <a:off x="6465188" y="3743515"/>
                <a:ext cx="75723" cy="75628"/>
                <a:chOff x="6465188" y="3743515"/>
                <a:chExt cx="75723" cy="75628"/>
              </a:xfrm>
            </p:grpSpPr>
            <p:sp>
              <p:nvSpPr>
                <p:cNvPr id="18527" name="Freeform: Shape 18526">
                  <a:extLst>
                    <a:ext uri="{FF2B5EF4-FFF2-40B4-BE49-F238E27FC236}">
                      <a16:creationId xmlns:a16="http://schemas.microsoft.com/office/drawing/2014/main" id="{C9146CF0-9C99-0F33-D820-67AF9EDFF0E6}"/>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8" name="Freeform: Shape 18527">
                  <a:extLst>
                    <a:ext uri="{FF2B5EF4-FFF2-40B4-BE49-F238E27FC236}">
                      <a16:creationId xmlns:a16="http://schemas.microsoft.com/office/drawing/2014/main" id="{52985541-B718-30DD-1B91-51E26A1B3F7C}"/>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1" name="Graphic 2151">
                <a:extLst>
                  <a:ext uri="{FF2B5EF4-FFF2-40B4-BE49-F238E27FC236}">
                    <a16:creationId xmlns:a16="http://schemas.microsoft.com/office/drawing/2014/main" id="{C1C77CE0-27CC-42A2-17FD-D4838B23A655}"/>
                  </a:ext>
                </a:extLst>
              </p:cNvPr>
              <p:cNvGrpSpPr/>
              <p:nvPr/>
            </p:nvGrpSpPr>
            <p:grpSpPr>
              <a:xfrm>
                <a:off x="7340059" y="3841337"/>
                <a:ext cx="75723" cy="75723"/>
                <a:chOff x="7340059" y="3841337"/>
                <a:chExt cx="75723" cy="75723"/>
              </a:xfrm>
            </p:grpSpPr>
            <p:sp>
              <p:nvSpPr>
                <p:cNvPr id="18525" name="Freeform: Shape 18524">
                  <a:extLst>
                    <a:ext uri="{FF2B5EF4-FFF2-40B4-BE49-F238E27FC236}">
                      <a16:creationId xmlns:a16="http://schemas.microsoft.com/office/drawing/2014/main" id="{91D133A9-230B-C309-7F41-13B9E5A03CC7}"/>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6" name="Freeform: Shape 18525">
                  <a:extLst>
                    <a:ext uri="{FF2B5EF4-FFF2-40B4-BE49-F238E27FC236}">
                      <a16:creationId xmlns:a16="http://schemas.microsoft.com/office/drawing/2014/main" id="{733A1BBC-C0E7-74C0-9FA8-18B5600464FB}"/>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522" name="Graphic 2151">
                <a:extLst>
                  <a:ext uri="{FF2B5EF4-FFF2-40B4-BE49-F238E27FC236}">
                    <a16:creationId xmlns:a16="http://schemas.microsoft.com/office/drawing/2014/main" id="{216E9C16-F8AB-0CE4-38E0-1347BB9DB837}"/>
                  </a:ext>
                </a:extLst>
              </p:cNvPr>
              <p:cNvGrpSpPr/>
              <p:nvPr/>
            </p:nvGrpSpPr>
            <p:grpSpPr>
              <a:xfrm>
                <a:off x="7353490" y="3841337"/>
                <a:ext cx="75628" cy="75723"/>
                <a:chOff x="7353490" y="3841337"/>
                <a:chExt cx="75628" cy="75723"/>
              </a:xfrm>
            </p:grpSpPr>
            <p:sp>
              <p:nvSpPr>
                <p:cNvPr id="18523" name="Freeform: Shape 18522">
                  <a:extLst>
                    <a:ext uri="{FF2B5EF4-FFF2-40B4-BE49-F238E27FC236}">
                      <a16:creationId xmlns:a16="http://schemas.microsoft.com/office/drawing/2014/main" id="{6E453CD9-FC36-EAC3-FA1B-23079EF224E7}"/>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524" name="Freeform: Shape 18523">
                  <a:extLst>
                    <a:ext uri="{FF2B5EF4-FFF2-40B4-BE49-F238E27FC236}">
                      <a16:creationId xmlns:a16="http://schemas.microsoft.com/office/drawing/2014/main" id="{1B2E6D4C-486C-CE09-2680-D3D3CAB9EBAB}"/>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464" name="Freeform: Shape 18463">
              <a:extLst>
                <a:ext uri="{FF2B5EF4-FFF2-40B4-BE49-F238E27FC236}">
                  <a16:creationId xmlns:a16="http://schemas.microsoft.com/office/drawing/2014/main" id="{2033100B-34D0-2C58-6DF9-9E1DBA5CDAA9}"/>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39" name="Group 18638">
            <a:extLst>
              <a:ext uri="{FF2B5EF4-FFF2-40B4-BE49-F238E27FC236}">
                <a16:creationId xmlns:a16="http://schemas.microsoft.com/office/drawing/2014/main" id="{D1D004C9-8BBA-4383-1418-B0BD42B95E79}"/>
              </a:ext>
            </a:extLst>
          </p:cNvPr>
          <p:cNvGrpSpPr/>
          <p:nvPr/>
        </p:nvGrpSpPr>
        <p:grpSpPr>
          <a:xfrm>
            <a:off x="677822" y="1468806"/>
            <a:ext cx="6832931" cy="2404800"/>
            <a:chOff x="3500437" y="2409824"/>
            <a:chExt cx="5186648" cy="2042255"/>
          </a:xfrm>
        </p:grpSpPr>
        <p:grpSp>
          <p:nvGrpSpPr>
            <p:cNvPr id="18640" name="Graphic 790">
              <a:extLst>
                <a:ext uri="{FF2B5EF4-FFF2-40B4-BE49-F238E27FC236}">
                  <a16:creationId xmlns:a16="http://schemas.microsoft.com/office/drawing/2014/main" id="{B87D5073-0C80-6622-F85E-29CED951AE41}"/>
                </a:ext>
              </a:extLst>
            </p:cNvPr>
            <p:cNvGrpSpPr/>
            <p:nvPr/>
          </p:nvGrpSpPr>
          <p:grpSpPr>
            <a:xfrm>
              <a:off x="3865530" y="2479547"/>
              <a:ext cx="4821555" cy="1972532"/>
              <a:chOff x="3865530" y="2479547"/>
              <a:chExt cx="4821555" cy="1972532"/>
            </a:xfrm>
          </p:grpSpPr>
          <p:grpSp>
            <p:nvGrpSpPr>
              <p:cNvPr id="18642" name="Graphic 790">
                <a:extLst>
                  <a:ext uri="{FF2B5EF4-FFF2-40B4-BE49-F238E27FC236}">
                    <a16:creationId xmlns:a16="http://schemas.microsoft.com/office/drawing/2014/main" id="{693AF567-731C-A6BA-E32C-3D9E64F7FD57}"/>
                  </a:ext>
                </a:extLst>
              </p:cNvPr>
              <p:cNvGrpSpPr/>
              <p:nvPr/>
            </p:nvGrpSpPr>
            <p:grpSpPr>
              <a:xfrm>
                <a:off x="8601169" y="4376356"/>
                <a:ext cx="75723" cy="75723"/>
                <a:chOff x="8601169" y="4376356"/>
                <a:chExt cx="75723" cy="75723"/>
              </a:xfrm>
            </p:grpSpPr>
            <p:sp>
              <p:nvSpPr>
                <p:cNvPr id="18981" name="Freeform: Shape 18980">
                  <a:extLst>
                    <a:ext uri="{FF2B5EF4-FFF2-40B4-BE49-F238E27FC236}">
                      <a16:creationId xmlns:a16="http://schemas.microsoft.com/office/drawing/2014/main" id="{C6CE22C9-034C-1D71-8CA6-083DACE75B40}"/>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2" name="Freeform: Shape 18981">
                  <a:extLst>
                    <a:ext uri="{FF2B5EF4-FFF2-40B4-BE49-F238E27FC236}">
                      <a16:creationId xmlns:a16="http://schemas.microsoft.com/office/drawing/2014/main" id="{807F2DCB-CCF5-69DB-3C4E-78013B9B2AE4}"/>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3" name="Graphic 790">
                <a:extLst>
                  <a:ext uri="{FF2B5EF4-FFF2-40B4-BE49-F238E27FC236}">
                    <a16:creationId xmlns:a16="http://schemas.microsoft.com/office/drawing/2014/main" id="{09E6AA64-2B35-113C-7CDB-5CCC3AE3E257}"/>
                  </a:ext>
                </a:extLst>
              </p:cNvPr>
              <p:cNvGrpSpPr/>
              <p:nvPr/>
            </p:nvGrpSpPr>
            <p:grpSpPr>
              <a:xfrm>
                <a:off x="8611456" y="4376356"/>
                <a:ext cx="75628" cy="75723"/>
                <a:chOff x="8611456" y="4376356"/>
                <a:chExt cx="75628" cy="75723"/>
              </a:xfrm>
            </p:grpSpPr>
            <p:sp>
              <p:nvSpPr>
                <p:cNvPr id="18979" name="Freeform: Shape 18978">
                  <a:extLst>
                    <a:ext uri="{FF2B5EF4-FFF2-40B4-BE49-F238E27FC236}">
                      <a16:creationId xmlns:a16="http://schemas.microsoft.com/office/drawing/2014/main" id="{B7FACE44-2852-3F2C-B8FE-7211E58EA2C3}"/>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0" name="Freeform: Shape 18979">
                  <a:extLst>
                    <a:ext uri="{FF2B5EF4-FFF2-40B4-BE49-F238E27FC236}">
                      <a16:creationId xmlns:a16="http://schemas.microsoft.com/office/drawing/2014/main" id="{C72447D8-904D-3843-EB13-23EDDDAD5DB3}"/>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4" name="Graphic 790">
                <a:extLst>
                  <a:ext uri="{FF2B5EF4-FFF2-40B4-BE49-F238E27FC236}">
                    <a16:creationId xmlns:a16="http://schemas.microsoft.com/office/drawing/2014/main" id="{C9FC0C80-4B87-5717-0AB5-C22A39D5DAC4}"/>
                  </a:ext>
                </a:extLst>
              </p:cNvPr>
              <p:cNvGrpSpPr/>
              <p:nvPr/>
            </p:nvGrpSpPr>
            <p:grpSpPr>
              <a:xfrm>
                <a:off x="8583453" y="4106989"/>
                <a:ext cx="75723" cy="75723"/>
                <a:chOff x="8583453" y="4106989"/>
                <a:chExt cx="75723" cy="75723"/>
              </a:xfrm>
            </p:grpSpPr>
            <p:sp>
              <p:nvSpPr>
                <p:cNvPr id="18977" name="Freeform: Shape 18976">
                  <a:extLst>
                    <a:ext uri="{FF2B5EF4-FFF2-40B4-BE49-F238E27FC236}">
                      <a16:creationId xmlns:a16="http://schemas.microsoft.com/office/drawing/2014/main" id="{EC98F504-A703-2317-4FC3-8C203A917A7C}"/>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8" name="Freeform: Shape 18977">
                  <a:extLst>
                    <a:ext uri="{FF2B5EF4-FFF2-40B4-BE49-F238E27FC236}">
                      <a16:creationId xmlns:a16="http://schemas.microsoft.com/office/drawing/2014/main" id="{0BB47470-954E-CC78-5ACA-952F728F33CB}"/>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5" name="Graphic 790">
                <a:extLst>
                  <a:ext uri="{FF2B5EF4-FFF2-40B4-BE49-F238E27FC236}">
                    <a16:creationId xmlns:a16="http://schemas.microsoft.com/office/drawing/2014/main" id="{820D50BA-E976-883B-9B11-2FE96497350A}"/>
                  </a:ext>
                </a:extLst>
              </p:cNvPr>
              <p:cNvGrpSpPr/>
              <p:nvPr/>
            </p:nvGrpSpPr>
            <p:grpSpPr>
              <a:xfrm>
                <a:off x="8465057" y="4106989"/>
                <a:ext cx="75723" cy="75723"/>
                <a:chOff x="8465057" y="4106989"/>
                <a:chExt cx="75723" cy="75723"/>
              </a:xfrm>
            </p:grpSpPr>
            <p:sp>
              <p:nvSpPr>
                <p:cNvPr id="18975" name="Freeform: Shape 18974">
                  <a:extLst>
                    <a:ext uri="{FF2B5EF4-FFF2-40B4-BE49-F238E27FC236}">
                      <a16:creationId xmlns:a16="http://schemas.microsoft.com/office/drawing/2014/main" id="{C5D515E6-6AB2-3034-1941-52419A7C60FC}"/>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6" name="Freeform: Shape 18975">
                  <a:extLst>
                    <a:ext uri="{FF2B5EF4-FFF2-40B4-BE49-F238E27FC236}">
                      <a16:creationId xmlns:a16="http://schemas.microsoft.com/office/drawing/2014/main" id="{6FA3F27F-13C2-A921-9A8E-FCB155E0A5AB}"/>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6" name="Graphic 790">
                <a:extLst>
                  <a:ext uri="{FF2B5EF4-FFF2-40B4-BE49-F238E27FC236}">
                    <a16:creationId xmlns:a16="http://schemas.microsoft.com/office/drawing/2014/main" id="{27D786A1-39AA-0642-36A0-C7D4BA455745}"/>
                  </a:ext>
                </a:extLst>
              </p:cNvPr>
              <p:cNvGrpSpPr/>
              <p:nvPr/>
            </p:nvGrpSpPr>
            <p:grpSpPr>
              <a:xfrm>
                <a:off x="8070817" y="3932491"/>
                <a:ext cx="75723" cy="75628"/>
                <a:chOff x="8070817" y="3932491"/>
                <a:chExt cx="75723" cy="75628"/>
              </a:xfrm>
            </p:grpSpPr>
            <p:sp>
              <p:nvSpPr>
                <p:cNvPr id="18973" name="Freeform: Shape 18972">
                  <a:extLst>
                    <a:ext uri="{FF2B5EF4-FFF2-40B4-BE49-F238E27FC236}">
                      <a16:creationId xmlns:a16="http://schemas.microsoft.com/office/drawing/2014/main" id="{AB0E1F74-7BE5-1E44-01D4-54170CC39B9F}"/>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4" name="Freeform: Shape 18973">
                  <a:extLst>
                    <a:ext uri="{FF2B5EF4-FFF2-40B4-BE49-F238E27FC236}">
                      <a16:creationId xmlns:a16="http://schemas.microsoft.com/office/drawing/2014/main" id="{C4C2C17F-37E7-FC00-F3C9-801E509EA5DB}"/>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7" name="Graphic 790">
                <a:extLst>
                  <a:ext uri="{FF2B5EF4-FFF2-40B4-BE49-F238E27FC236}">
                    <a16:creationId xmlns:a16="http://schemas.microsoft.com/office/drawing/2014/main" id="{B7B9CF7E-8991-1E89-655D-77C721809E68}"/>
                  </a:ext>
                </a:extLst>
              </p:cNvPr>
              <p:cNvGrpSpPr/>
              <p:nvPr/>
            </p:nvGrpSpPr>
            <p:grpSpPr>
              <a:xfrm>
                <a:off x="7717726" y="3838193"/>
                <a:ext cx="75628" cy="75628"/>
                <a:chOff x="7717726" y="3838193"/>
                <a:chExt cx="75628" cy="75628"/>
              </a:xfrm>
            </p:grpSpPr>
            <p:sp>
              <p:nvSpPr>
                <p:cNvPr id="18971" name="Freeform: Shape 18970">
                  <a:extLst>
                    <a:ext uri="{FF2B5EF4-FFF2-40B4-BE49-F238E27FC236}">
                      <a16:creationId xmlns:a16="http://schemas.microsoft.com/office/drawing/2014/main" id="{5A49FF8A-C8FF-90AE-7F3F-654D8D29967E}"/>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2" name="Freeform: Shape 18971">
                  <a:extLst>
                    <a:ext uri="{FF2B5EF4-FFF2-40B4-BE49-F238E27FC236}">
                      <a16:creationId xmlns:a16="http://schemas.microsoft.com/office/drawing/2014/main" id="{6CE489DA-5010-509A-C6FB-1D8C933A5E35}"/>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8" name="Graphic 790">
                <a:extLst>
                  <a:ext uri="{FF2B5EF4-FFF2-40B4-BE49-F238E27FC236}">
                    <a16:creationId xmlns:a16="http://schemas.microsoft.com/office/drawing/2014/main" id="{C00DCA3A-B4FE-AA2A-40BC-88DFBE565F97}"/>
                  </a:ext>
                </a:extLst>
              </p:cNvPr>
              <p:cNvGrpSpPr/>
              <p:nvPr/>
            </p:nvGrpSpPr>
            <p:grpSpPr>
              <a:xfrm>
                <a:off x="7431499" y="3801712"/>
                <a:ext cx="75723" cy="75723"/>
                <a:chOff x="7431499" y="3801712"/>
                <a:chExt cx="75723" cy="75723"/>
              </a:xfrm>
            </p:grpSpPr>
            <p:sp>
              <p:nvSpPr>
                <p:cNvPr id="18969" name="Freeform: Shape 18968">
                  <a:extLst>
                    <a:ext uri="{FF2B5EF4-FFF2-40B4-BE49-F238E27FC236}">
                      <a16:creationId xmlns:a16="http://schemas.microsoft.com/office/drawing/2014/main" id="{6DC9B116-A34F-3D7D-2448-AD2389F1FAC3}"/>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0" name="Freeform: Shape 18969">
                  <a:extLst>
                    <a:ext uri="{FF2B5EF4-FFF2-40B4-BE49-F238E27FC236}">
                      <a16:creationId xmlns:a16="http://schemas.microsoft.com/office/drawing/2014/main" id="{1D9529F9-A873-10EC-9BA2-94210420149C}"/>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9" name="Graphic 790">
                <a:extLst>
                  <a:ext uri="{FF2B5EF4-FFF2-40B4-BE49-F238E27FC236}">
                    <a16:creationId xmlns:a16="http://schemas.microsoft.com/office/drawing/2014/main" id="{301E6DAC-EB04-6F60-4935-051E1BAD7F21}"/>
                  </a:ext>
                </a:extLst>
              </p:cNvPr>
              <p:cNvGrpSpPr/>
              <p:nvPr/>
            </p:nvGrpSpPr>
            <p:grpSpPr>
              <a:xfrm>
                <a:off x="7239380" y="3719226"/>
                <a:ext cx="75723" cy="75723"/>
                <a:chOff x="7239380" y="3719226"/>
                <a:chExt cx="75723" cy="75723"/>
              </a:xfrm>
            </p:grpSpPr>
            <p:sp>
              <p:nvSpPr>
                <p:cNvPr id="18967" name="Freeform: Shape 18966">
                  <a:extLst>
                    <a:ext uri="{FF2B5EF4-FFF2-40B4-BE49-F238E27FC236}">
                      <a16:creationId xmlns:a16="http://schemas.microsoft.com/office/drawing/2014/main" id="{B3578450-8480-78BE-05BA-BED491F12647}"/>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8" name="Freeform: Shape 18967">
                  <a:extLst>
                    <a:ext uri="{FF2B5EF4-FFF2-40B4-BE49-F238E27FC236}">
                      <a16:creationId xmlns:a16="http://schemas.microsoft.com/office/drawing/2014/main" id="{AECEF3F9-760E-E0D0-C31B-96262DBCCDEC}"/>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0" name="Graphic 790">
                <a:extLst>
                  <a:ext uri="{FF2B5EF4-FFF2-40B4-BE49-F238E27FC236}">
                    <a16:creationId xmlns:a16="http://schemas.microsoft.com/office/drawing/2014/main" id="{0B22D2AF-0372-F7AA-19BA-6C59D563F0E2}"/>
                  </a:ext>
                </a:extLst>
              </p:cNvPr>
              <p:cNvGrpSpPr/>
              <p:nvPr/>
            </p:nvGrpSpPr>
            <p:grpSpPr>
              <a:xfrm>
                <a:off x="7024401" y="3677030"/>
                <a:ext cx="75723" cy="75628"/>
                <a:chOff x="7024401" y="3677030"/>
                <a:chExt cx="75723" cy="75628"/>
              </a:xfrm>
            </p:grpSpPr>
            <p:sp>
              <p:nvSpPr>
                <p:cNvPr id="18965" name="Freeform: Shape 18964">
                  <a:extLst>
                    <a:ext uri="{FF2B5EF4-FFF2-40B4-BE49-F238E27FC236}">
                      <a16:creationId xmlns:a16="http://schemas.microsoft.com/office/drawing/2014/main" id="{A21C8996-6330-ACED-B9A4-F32429F1DAF7}"/>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6" name="Freeform: Shape 18965">
                  <a:extLst>
                    <a:ext uri="{FF2B5EF4-FFF2-40B4-BE49-F238E27FC236}">
                      <a16:creationId xmlns:a16="http://schemas.microsoft.com/office/drawing/2014/main" id="{C4478C2D-8DED-3C17-A3B0-20E92AE82B9F}"/>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1" name="Graphic 790">
                <a:extLst>
                  <a:ext uri="{FF2B5EF4-FFF2-40B4-BE49-F238E27FC236}">
                    <a16:creationId xmlns:a16="http://schemas.microsoft.com/office/drawing/2014/main" id="{F50BC0D9-E8E4-9248-FB4B-06A26D75AC69}"/>
                  </a:ext>
                </a:extLst>
              </p:cNvPr>
              <p:cNvGrpSpPr/>
              <p:nvPr/>
            </p:nvGrpSpPr>
            <p:grpSpPr>
              <a:xfrm>
                <a:off x="6938104" y="3677030"/>
                <a:ext cx="75723" cy="75628"/>
                <a:chOff x="6938104" y="3677030"/>
                <a:chExt cx="75723" cy="75628"/>
              </a:xfrm>
            </p:grpSpPr>
            <p:sp>
              <p:nvSpPr>
                <p:cNvPr id="18963" name="Freeform: Shape 18962">
                  <a:extLst>
                    <a:ext uri="{FF2B5EF4-FFF2-40B4-BE49-F238E27FC236}">
                      <a16:creationId xmlns:a16="http://schemas.microsoft.com/office/drawing/2014/main" id="{5A8E1285-D1B1-77CB-ECC4-E8F2E9D1423B}"/>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4" name="Freeform: Shape 18963">
                  <a:extLst>
                    <a:ext uri="{FF2B5EF4-FFF2-40B4-BE49-F238E27FC236}">
                      <a16:creationId xmlns:a16="http://schemas.microsoft.com/office/drawing/2014/main" id="{94C8E422-EF82-C536-0D41-D11DB0C3F984}"/>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2" name="Graphic 790">
                <a:extLst>
                  <a:ext uri="{FF2B5EF4-FFF2-40B4-BE49-F238E27FC236}">
                    <a16:creationId xmlns:a16="http://schemas.microsoft.com/office/drawing/2014/main" id="{2B6C89BA-D2C8-8801-E8F8-A5B81E02FAB9}"/>
                  </a:ext>
                </a:extLst>
              </p:cNvPr>
              <p:cNvGrpSpPr/>
              <p:nvPr/>
            </p:nvGrpSpPr>
            <p:grpSpPr>
              <a:xfrm>
                <a:off x="6838092" y="3652646"/>
                <a:ext cx="75723" cy="75723"/>
                <a:chOff x="6838092" y="3652646"/>
                <a:chExt cx="75723" cy="75723"/>
              </a:xfrm>
            </p:grpSpPr>
            <p:sp>
              <p:nvSpPr>
                <p:cNvPr id="18961" name="Freeform: Shape 18960">
                  <a:extLst>
                    <a:ext uri="{FF2B5EF4-FFF2-40B4-BE49-F238E27FC236}">
                      <a16:creationId xmlns:a16="http://schemas.microsoft.com/office/drawing/2014/main" id="{9AA997BA-B3C9-2CA4-23CF-A30A7C174386}"/>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2" name="Freeform: Shape 18961">
                  <a:extLst>
                    <a:ext uri="{FF2B5EF4-FFF2-40B4-BE49-F238E27FC236}">
                      <a16:creationId xmlns:a16="http://schemas.microsoft.com/office/drawing/2014/main" id="{84073804-5221-B4F5-C8EB-4E36A3A5F5C4}"/>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3" name="Graphic 790">
                <a:extLst>
                  <a:ext uri="{FF2B5EF4-FFF2-40B4-BE49-F238E27FC236}">
                    <a16:creationId xmlns:a16="http://schemas.microsoft.com/office/drawing/2014/main" id="{DFAC2BB0-4FD4-EB6C-A199-43CB0BF59AD9}"/>
                  </a:ext>
                </a:extLst>
              </p:cNvPr>
              <p:cNvGrpSpPr/>
              <p:nvPr/>
            </p:nvGrpSpPr>
            <p:grpSpPr>
              <a:xfrm>
                <a:off x="6516337" y="3639883"/>
                <a:ext cx="75723" cy="75723"/>
                <a:chOff x="6516337" y="3639883"/>
                <a:chExt cx="75723" cy="75723"/>
              </a:xfrm>
            </p:grpSpPr>
            <p:sp>
              <p:nvSpPr>
                <p:cNvPr id="18959" name="Freeform: Shape 18958">
                  <a:extLst>
                    <a:ext uri="{FF2B5EF4-FFF2-40B4-BE49-F238E27FC236}">
                      <a16:creationId xmlns:a16="http://schemas.microsoft.com/office/drawing/2014/main" id="{BE693833-DDD0-B01D-6873-9B09F2929237}"/>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0" name="Freeform: Shape 18959">
                  <a:extLst>
                    <a:ext uri="{FF2B5EF4-FFF2-40B4-BE49-F238E27FC236}">
                      <a16:creationId xmlns:a16="http://schemas.microsoft.com/office/drawing/2014/main" id="{A8C1780C-7EA1-95B9-C296-1FCED8EFC77D}"/>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4" name="Graphic 790">
                <a:extLst>
                  <a:ext uri="{FF2B5EF4-FFF2-40B4-BE49-F238E27FC236}">
                    <a16:creationId xmlns:a16="http://schemas.microsoft.com/office/drawing/2014/main" id="{3D26F874-ED8E-A119-8014-351DF1C69682}"/>
                  </a:ext>
                </a:extLst>
              </p:cNvPr>
              <p:cNvGrpSpPr/>
              <p:nvPr/>
            </p:nvGrpSpPr>
            <p:grpSpPr>
              <a:xfrm>
                <a:off x="6461950" y="3639883"/>
                <a:ext cx="75628" cy="75723"/>
                <a:chOff x="6461950" y="3639883"/>
                <a:chExt cx="75628" cy="75723"/>
              </a:xfrm>
            </p:grpSpPr>
            <p:sp>
              <p:nvSpPr>
                <p:cNvPr id="18957" name="Freeform: Shape 18956">
                  <a:extLst>
                    <a:ext uri="{FF2B5EF4-FFF2-40B4-BE49-F238E27FC236}">
                      <a16:creationId xmlns:a16="http://schemas.microsoft.com/office/drawing/2014/main" id="{C385F691-4618-D739-9A9D-8B3EEC1360DC}"/>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8" name="Freeform: Shape 18957">
                  <a:extLst>
                    <a:ext uri="{FF2B5EF4-FFF2-40B4-BE49-F238E27FC236}">
                      <a16:creationId xmlns:a16="http://schemas.microsoft.com/office/drawing/2014/main" id="{8F9A9F57-2DBB-AA47-16FC-E3BE7D7511F2}"/>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5" name="Graphic 790">
                <a:extLst>
                  <a:ext uri="{FF2B5EF4-FFF2-40B4-BE49-F238E27FC236}">
                    <a16:creationId xmlns:a16="http://schemas.microsoft.com/office/drawing/2014/main" id="{99CE19EC-5AEA-BF2D-458C-CD917B5696C6}"/>
                  </a:ext>
                </a:extLst>
              </p:cNvPr>
              <p:cNvGrpSpPr/>
              <p:nvPr/>
            </p:nvGrpSpPr>
            <p:grpSpPr>
              <a:xfrm>
                <a:off x="6475475" y="3639883"/>
                <a:ext cx="75723" cy="75723"/>
                <a:chOff x="6475475" y="3639883"/>
                <a:chExt cx="75723" cy="75723"/>
              </a:xfrm>
            </p:grpSpPr>
            <p:sp>
              <p:nvSpPr>
                <p:cNvPr id="18955" name="Freeform: Shape 18954">
                  <a:extLst>
                    <a:ext uri="{FF2B5EF4-FFF2-40B4-BE49-F238E27FC236}">
                      <a16:creationId xmlns:a16="http://schemas.microsoft.com/office/drawing/2014/main" id="{C6AAF7E4-3502-86A2-A461-1A521EA02137}"/>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6" name="Freeform: Shape 18955">
                  <a:extLst>
                    <a:ext uri="{FF2B5EF4-FFF2-40B4-BE49-F238E27FC236}">
                      <a16:creationId xmlns:a16="http://schemas.microsoft.com/office/drawing/2014/main" id="{0CE86650-B318-13DD-9AA8-FDC9B4ED7829}"/>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6" name="Graphic 790">
                <a:extLst>
                  <a:ext uri="{FF2B5EF4-FFF2-40B4-BE49-F238E27FC236}">
                    <a16:creationId xmlns:a16="http://schemas.microsoft.com/office/drawing/2014/main" id="{2E14B518-7E05-8C86-ED5E-0DE811D4C6C8}"/>
                  </a:ext>
                </a:extLst>
              </p:cNvPr>
              <p:cNvGrpSpPr/>
              <p:nvPr/>
            </p:nvGrpSpPr>
            <p:grpSpPr>
              <a:xfrm>
                <a:off x="6489096" y="3639883"/>
                <a:ext cx="75723" cy="75723"/>
                <a:chOff x="6489096" y="3639883"/>
                <a:chExt cx="75723" cy="75723"/>
              </a:xfrm>
            </p:grpSpPr>
            <p:sp>
              <p:nvSpPr>
                <p:cNvPr id="18953" name="Freeform: Shape 18952">
                  <a:extLst>
                    <a:ext uri="{FF2B5EF4-FFF2-40B4-BE49-F238E27FC236}">
                      <a16:creationId xmlns:a16="http://schemas.microsoft.com/office/drawing/2014/main" id="{9853AFD2-DCEC-26C0-FA73-9E2642E88B5C}"/>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4" name="Freeform: Shape 18953">
                  <a:extLst>
                    <a:ext uri="{FF2B5EF4-FFF2-40B4-BE49-F238E27FC236}">
                      <a16:creationId xmlns:a16="http://schemas.microsoft.com/office/drawing/2014/main" id="{BCB091F0-8FF5-BA2D-6789-CF0135E3DE0C}"/>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7" name="Graphic 790">
                <a:extLst>
                  <a:ext uri="{FF2B5EF4-FFF2-40B4-BE49-F238E27FC236}">
                    <a16:creationId xmlns:a16="http://schemas.microsoft.com/office/drawing/2014/main" id="{6E9E35DF-95D0-A404-DF93-6B2A66509D02}"/>
                  </a:ext>
                </a:extLst>
              </p:cNvPr>
              <p:cNvGrpSpPr/>
              <p:nvPr/>
            </p:nvGrpSpPr>
            <p:grpSpPr>
              <a:xfrm>
                <a:off x="6399847" y="3598449"/>
                <a:ext cx="75628" cy="75723"/>
                <a:chOff x="6399847" y="3598449"/>
                <a:chExt cx="75628" cy="75723"/>
              </a:xfrm>
            </p:grpSpPr>
            <p:sp>
              <p:nvSpPr>
                <p:cNvPr id="18951" name="Freeform: Shape 18950">
                  <a:extLst>
                    <a:ext uri="{FF2B5EF4-FFF2-40B4-BE49-F238E27FC236}">
                      <a16:creationId xmlns:a16="http://schemas.microsoft.com/office/drawing/2014/main" id="{AB3D506F-DE1C-C8CE-0777-15B657D4914B}"/>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2" name="Freeform: Shape 18951">
                  <a:extLst>
                    <a:ext uri="{FF2B5EF4-FFF2-40B4-BE49-F238E27FC236}">
                      <a16:creationId xmlns:a16="http://schemas.microsoft.com/office/drawing/2014/main" id="{197F3D3A-48F1-DB26-89F1-18F428C76F8E}"/>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8" name="Graphic 790">
                <a:extLst>
                  <a:ext uri="{FF2B5EF4-FFF2-40B4-BE49-F238E27FC236}">
                    <a16:creationId xmlns:a16="http://schemas.microsoft.com/office/drawing/2014/main" id="{27F4BC10-AAE1-9CF6-B3AE-9F4DE999F986}"/>
                  </a:ext>
                </a:extLst>
              </p:cNvPr>
              <p:cNvGrpSpPr/>
              <p:nvPr/>
            </p:nvGrpSpPr>
            <p:grpSpPr>
              <a:xfrm>
                <a:off x="6254590" y="3598449"/>
                <a:ext cx="75723" cy="75723"/>
                <a:chOff x="6254590" y="3598449"/>
                <a:chExt cx="75723" cy="75723"/>
              </a:xfrm>
            </p:grpSpPr>
            <p:sp>
              <p:nvSpPr>
                <p:cNvPr id="18949" name="Freeform: Shape 18948">
                  <a:extLst>
                    <a:ext uri="{FF2B5EF4-FFF2-40B4-BE49-F238E27FC236}">
                      <a16:creationId xmlns:a16="http://schemas.microsoft.com/office/drawing/2014/main" id="{D9623A05-EDD9-9F72-CC3C-B22A0A3EE032}"/>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0" name="Freeform: Shape 18949">
                  <a:extLst>
                    <a:ext uri="{FF2B5EF4-FFF2-40B4-BE49-F238E27FC236}">
                      <a16:creationId xmlns:a16="http://schemas.microsoft.com/office/drawing/2014/main" id="{9065702B-49EC-D611-5699-6AA474B1A8E3}"/>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9" name="Graphic 790">
                <a:extLst>
                  <a:ext uri="{FF2B5EF4-FFF2-40B4-BE49-F238E27FC236}">
                    <a16:creationId xmlns:a16="http://schemas.microsoft.com/office/drawing/2014/main" id="{8EC376D2-22F4-CF91-F4FC-6CEAA5D7316D}"/>
                  </a:ext>
                </a:extLst>
              </p:cNvPr>
              <p:cNvGrpSpPr/>
              <p:nvPr/>
            </p:nvGrpSpPr>
            <p:grpSpPr>
              <a:xfrm>
                <a:off x="6192773" y="3598449"/>
                <a:ext cx="75723" cy="75723"/>
                <a:chOff x="6192773" y="3598449"/>
                <a:chExt cx="75723" cy="75723"/>
              </a:xfrm>
            </p:grpSpPr>
            <p:sp>
              <p:nvSpPr>
                <p:cNvPr id="18947" name="Freeform: Shape 18946">
                  <a:extLst>
                    <a:ext uri="{FF2B5EF4-FFF2-40B4-BE49-F238E27FC236}">
                      <a16:creationId xmlns:a16="http://schemas.microsoft.com/office/drawing/2014/main" id="{F1F26569-F503-3E1F-CF43-525BBAFAAA72}"/>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8" name="Freeform: Shape 18947">
                  <a:extLst>
                    <a:ext uri="{FF2B5EF4-FFF2-40B4-BE49-F238E27FC236}">
                      <a16:creationId xmlns:a16="http://schemas.microsoft.com/office/drawing/2014/main" id="{9045A56C-0C66-55A8-3722-3904EA9C12C3}"/>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0" name="Graphic 790">
                <a:extLst>
                  <a:ext uri="{FF2B5EF4-FFF2-40B4-BE49-F238E27FC236}">
                    <a16:creationId xmlns:a16="http://schemas.microsoft.com/office/drawing/2014/main" id="{0DB54BA9-09F4-41D6-C553-0E5BCA9B0B25}"/>
                  </a:ext>
                </a:extLst>
              </p:cNvPr>
              <p:cNvGrpSpPr/>
              <p:nvPr/>
            </p:nvGrpSpPr>
            <p:grpSpPr>
              <a:xfrm>
                <a:off x="6174104" y="3598449"/>
                <a:ext cx="75723" cy="75723"/>
                <a:chOff x="6174104" y="3598449"/>
                <a:chExt cx="75723" cy="75723"/>
              </a:xfrm>
            </p:grpSpPr>
            <p:sp>
              <p:nvSpPr>
                <p:cNvPr id="18945" name="Freeform: Shape 18944">
                  <a:extLst>
                    <a:ext uri="{FF2B5EF4-FFF2-40B4-BE49-F238E27FC236}">
                      <a16:creationId xmlns:a16="http://schemas.microsoft.com/office/drawing/2014/main" id="{58ECB802-A1AF-45AC-2ACE-D72F89A1AC32}"/>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6" name="Freeform: Shape 18945">
                  <a:extLst>
                    <a:ext uri="{FF2B5EF4-FFF2-40B4-BE49-F238E27FC236}">
                      <a16:creationId xmlns:a16="http://schemas.microsoft.com/office/drawing/2014/main" id="{3EFCB35A-CCE7-19EA-B651-0CBFC70505D7}"/>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1" name="Graphic 790">
                <a:extLst>
                  <a:ext uri="{FF2B5EF4-FFF2-40B4-BE49-F238E27FC236}">
                    <a16:creationId xmlns:a16="http://schemas.microsoft.com/office/drawing/2014/main" id="{A0773D79-DDFB-0420-BF83-3F1AE53CE8CC}"/>
                  </a:ext>
                </a:extLst>
              </p:cNvPr>
              <p:cNvGrpSpPr/>
              <p:nvPr/>
            </p:nvGrpSpPr>
            <p:grpSpPr>
              <a:xfrm>
                <a:off x="6096475" y="3598449"/>
                <a:ext cx="75723" cy="75723"/>
                <a:chOff x="6096475" y="3598449"/>
                <a:chExt cx="75723" cy="75723"/>
              </a:xfrm>
            </p:grpSpPr>
            <p:sp>
              <p:nvSpPr>
                <p:cNvPr id="18943" name="Freeform: Shape 18942">
                  <a:extLst>
                    <a:ext uri="{FF2B5EF4-FFF2-40B4-BE49-F238E27FC236}">
                      <a16:creationId xmlns:a16="http://schemas.microsoft.com/office/drawing/2014/main" id="{A77ED7A6-9883-7336-2528-0F821C977F3D}"/>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4" name="Freeform: Shape 18943">
                  <a:extLst>
                    <a:ext uri="{FF2B5EF4-FFF2-40B4-BE49-F238E27FC236}">
                      <a16:creationId xmlns:a16="http://schemas.microsoft.com/office/drawing/2014/main" id="{56E8E6C8-E7A1-D104-A334-758E1C93F5C8}"/>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2" name="Graphic 790">
                <a:extLst>
                  <a:ext uri="{FF2B5EF4-FFF2-40B4-BE49-F238E27FC236}">
                    <a16:creationId xmlns:a16="http://schemas.microsoft.com/office/drawing/2014/main" id="{A2AD7220-084B-63AF-D5EE-7C49119386AB}"/>
                  </a:ext>
                </a:extLst>
              </p:cNvPr>
              <p:cNvGrpSpPr/>
              <p:nvPr/>
            </p:nvGrpSpPr>
            <p:grpSpPr>
              <a:xfrm>
                <a:off x="6078759" y="3598449"/>
                <a:ext cx="75628" cy="75723"/>
                <a:chOff x="6078759" y="3598449"/>
                <a:chExt cx="75628" cy="75723"/>
              </a:xfrm>
            </p:grpSpPr>
            <p:sp>
              <p:nvSpPr>
                <p:cNvPr id="18941" name="Freeform: Shape 18940">
                  <a:extLst>
                    <a:ext uri="{FF2B5EF4-FFF2-40B4-BE49-F238E27FC236}">
                      <a16:creationId xmlns:a16="http://schemas.microsoft.com/office/drawing/2014/main" id="{19AAD6BD-FE06-408F-2E7D-B71B91E2A07F}"/>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2" name="Freeform: Shape 18941">
                  <a:extLst>
                    <a:ext uri="{FF2B5EF4-FFF2-40B4-BE49-F238E27FC236}">
                      <a16:creationId xmlns:a16="http://schemas.microsoft.com/office/drawing/2014/main" id="{193B264A-5DBD-AC1F-88C2-159242DD1BDC}"/>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3" name="Graphic 790">
                <a:extLst>
                  <a:ext uri="{FF2B5EF4-FFF2-40B4-BE49-F238E27FC236}">
                    <a16:creationId xmlns:a16="http://schemas.microsoft.com/office/drawing/2014/main" id="{56EFF155-CFFC-4DE7-CEF2-52582485A5D3}"/>
                  </a:ext>
                </a:extLst>
              </p:cNvPr>
              <p:cNvGrpSpPr/>
              <p:nvPr/>
            </p:nvGrpSpPr>
            <p:grpSpPr>
              <a:xfrm>
                <a:off x="6039135" y="3546442"/>
                <a:ext cx="75723" cy="75628"/>
                <a:chOff x="6039135" y="3546442"/>
                <a:chExt cx="75723" cy="75628"/>
              </a:xfrm>
            </p:grpSpPr>
            <p:sp>
              <p:nvSpPr>
                <p:cNvPr id="18939" name="Freeform: Shape 18938">
                  <a:extLst>
                    <a:ext uri="{FF2B5EF4-FFF2-40B4-BE49-F238E27FC236}">
                      <a16:creationId xmlns:a16="http://schemas.microsoft.com/office/drawing/2014/main" id="{4B68A755-3D3F-5DB9-DA27-1A4158CAFD99}"/>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0" name="Freeform: Shape 18939">
                  <a:extLst>
                    <a:ext uri="{FF2B5EF4-FFF2-40B4-BE49-F238E27FC236}">
                      <a16:creationId xmlns:a16="http://schemas.microsoft.com/office/drawing/2014/main" id="{4FF907E7-90FE-85F1-ED5F-96FFC6852F34}"/>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4" name="Graphic 790">
                <a:extLst>
                  <a:ext uri="{FF2B5EF4-FFF2-40B4-BE49-F238E27FC236}">
                    <a16:creationId xmlns:a16="http://schemas.microsoft.com/office/drawing/2014/main" id="{1CCAEC34-56BA-9F39-05A4-691DE57A1894}"/>
                  </a:ext>
                </a:extLst>
              </p:cNvPr>
              <p:cNvGrpSpPr/>
              <p:nvPr/>
            </p:nvGrpSpPr>
            <p:grpSpPr>
              <a:xfrm>
                <a:off x="5977984" y="3472814"/>
                <a:ext cx="75628" cy="75723"/>
                <a:chOff x="5977984" y="3472814"/>
                <a:chExt cx="75628" cy="75723"/>
              </a:xfrm>
            </p:grpSpPr>
            <p:sp>
              <p:nvSpPr>
                <p:cNvPr id="18937" name="Freeform: Shape 18936">
                  <a:extLst>
                    <a:ext uri="{FF2B5EF4-FFF2-40B4-BE49-F238E27FC236}">
                      <a16:creationId xmlns:a16="http://schemas.microsoft.com/office/drawing/2014/main" id="{26DBED42-7A92-1874-209A-ABA284D6CF7D}"/>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8" name="Freeform: Shape 18937">
                  <a:extLst>
                    <a:ext uri="{FF2B5EF4-FFF2-40B4-BE49-F238E27FC236}">
                      <a16:creationId xmlns:a16="http://schemas.microsoft.com/office/drawing/2014/main" id="{FE547FCE-3E8E-BBB4-982D-740B0BFB18E4}"/>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5" name="Graphic 790">
                <a:extLst>
                  <a:ext uri="{FF2B5EF4-FFF2-40B4-BE49-F238E27FC236}">
                    <a16:creationId xmlns:a16="http://schemas.microsoft.com/office/drawing/2014/main" id="{4876617D-DD42-0934-A640-2F4974B45BBF}"/>
                  </a:ext>
                </a:extLst>
              </p:cNvPr>
              <p:cNvGrpSpPr/>
              <p:nvPr/>
            </p:nvGrpSpPr>
            <p:grpSpPr>
              <a:xfrm>
                <a:off x="5730715" y="3443096"/>
                <a:ext cx="75723" cy="75723"/>
                <a:chOff x="5730715" y="3443096"/>
                <a:chExt cx="75723" cy="75723"/>
              </a:xfrm>
            </p:grpSpPr>
            <p:sp>
              <p:nvSpPr>
                <p:cNvPr id="18935" name="Freeform: Shape 18934">
                  <a:extLst>
                    <a:ext uri="{FF2B5EF4-FFF2-40B4-BE49-F238E27FC236}">
                      <a16:creationId xmlns:a16="http://schemas.microsoft.com/office/drawing/2014/main" id="{431D3DD7-2B27-8ACB-B6B4-E795B43ADB5C}"/>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6" name="Freeform: Shape 18935">
                  <a:extLst>
                    <a:ext uri="{FF2B5EF4-FFF2-40B4-BE49-F238E27FC236}">
                      <a16:creationId xmlns:a16="http://schemas.microsoft.com/office/drawing/2014/main" id="{F6FF02F3-87BA-1DB9-41BC-CD74B5ACB10A}"/>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6" name="Graphic 790">
                <a:extLst>
                  <a:ext uri="{FF2B5EF4-FFF2-40B4-BE49-F238E27FC236}">
                    <a16:creationId xmlns:a16="http://schemas.microsoft.com/office/drawing/2014/main" id="{53E7308B-04F7-7A8B-5AF4-CF5832C0EAA1}"/>
                  </a:ext>
                </a:extLst>
              </p:cNvPr>
              <p:cNvGrpSpPr/>
              <p:nvPr/>
            </p:nvGrpSpPr>
            <p:grpSpPr>
              <a:xfrm>
                <a:off x="5503449" y="3300793"/>
                <a:ext cx="75723" cy="75723"/>
                <a:chOff x="5503449" y="3300793"/>
                <a:chExt cx="75723" cy="75723"/>
              </a:xfrm>
            </p:grpSpPr>
            <p:sp>
              <p:nvSpPr>
                <p:cNvPr id="18933" name="Freeform: Shape 18932">
                  <a:extLst>
                    <a:ext uri="{FF2B5EF4-FFF2-40B4-BE49-F238E27FC236}">
                      <a16:creationId xmlns:a16="http://schemas.microsoft.com/office/drawing/2014/main" id="{3D33D312-4B26-D5DF-F646-8D54079F470C}"/>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4" name="Freeform: Shape 18933">
                  <a:extLst>
                    <a:ext uri="{FF2B5EF4-FFF2-40B4-BE49-F238E27FC236}">
                      <a16:creationId xmlns:a16="http://schemas.microsoft.com/office/drawing/2014/main" id="{FE3A7E10-7489-DCC7-70A6-E1F40998CAD4}"/>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7" name="Graphic 790">
                <a:extLst>
                  <a:ext uri="{FF2B5EF4-FFF2-40B4-BE49-F238E27FC236}">
                    <a16:creationId xmlns:a16="http://schemas.microsoft.com/office/drawing/2014/main" id="{EC314698-A8DA-E363-9BF2-BF7CA6F956E9}"/>
                  </a:ext>
                </a:extLst>
              </p:cNvPr>
              <p:cNvGrpSpPr/>
              <p:nvPr/>
            </p:nvGrpSpPr>
            <p:grpSpPr>
              <a:xfrm>
                <a:off x="5338095" y="3244786"/>
                <a:ext cx="75628" cy="75723"/>
                <a:chOff x="5338095" y="3244786"/>
                <a:chExt cx="75628" cy="75723"/>
              </a:xfrm>
            </p:grpSpPr>
            <p:sp>
              <p:nvSpPr>
                <p:cNvPr id="18931" name="Freeform: Shape 18930">
                  <a:extLst>
                    <a:ext uri="{FF2B5EF4-FFF2-40B4-BE49-F238E27FC236}">
                      <a16:creationId xmlns:a16="http://schemas.microsoft.com/office/drawing/2014/main" id="{3D9A2BE8-D833-EB0F-EFBE-A5328E7DACA7}"/>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2" name="Freeform: Shape 18931">
                  <a:extLst>
                    <a:ext uri="{FF2B5EF4-FFF2-40B4-BE49-F238E27FC236}">
                      <a16:creationId xmlns:a16="http://schemas.microsoft.com/office/drawing/2014/main" id="{D76F3239-1584-A72B-0F8F-811A36895B7A}"/>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8" name="Graphic 790">
                <a:extLst>
                  <a:ext uri="{FF2B5EF4-FFF2-40B4-BE49-F238E27FC236}">
                    <a16:creationId xmlns:a16="http://schemas.microsoft.com/office/drawing/2014/main" id="{4B8DA4FE-40D6-9676-F31C-183E415FE530}"/>
                  </a:ext>
                </a:extLst>
              </p:cNvPr>
              <p:cNvGrpSpPr/>
              <p:nvPr/>
            </p:nvGrpSpPr>
            <p:grpSpPr>
              <a:xfrm>
                <a:off x="5268753" y="3244786"/>
                <a:ext cx="75723" cy="75723"/>
                <a:chOff x="5268753" y="3244786"/>
                <a:chExt cx="75723" cy="75723"/>
              </a:xfrm>
            </p:grpSpPr>
            <p:sp>
              <p:nvSpPr>
                <p:cNvPr id="18929" name="Freeform: Shape 18928">
                  <a:extLst>
                    <a:ext uri="{FF2B5EF4-FFF2-40B4-BE49-F238E27FC236}">
                      <a16:creationId xmlns:a16="http://schemas.microsoft.com/office/drawing/2014/main" id="{B0160BD5-DA5C-34F8-F08C-A70BEC90B70F}"/>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0" name="Freeform: Shape 18929">
                  <a:extLst>
                    <a:ext uri="{FF2B5EF4-FFF2-40B4-BE49-F238E27FC236}">
                      <a16:creationId xmlns:a16="http://schemas.microsoft.com/office/drawing/2014/main" id="{891DAAB3-8E01-4CC1-7CE0-120DF6EC75DD}"/>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9" name="Graphic 790">
                <a:extLst>
                  <a:ext uri="{FF2B5EF4-FFF2-40B4-BE49-F238E27FC236}">
                    <a16:creationId xmlns:a16="http://schemas.microsoft.com/office/drawing/2014/main" id="{986C79D3-C8D0-0CAF-0D1A-93F7EDB78ADD}"/>
                  </a:ext>
                </a:extLst>
              </p:cNvPr>
              <p:cNvGrpSpPr/>
              <p:nvPr/>
            </p:nvGrpSpPr>
            <p:grpSpPr>
              <a:xfrm>
                <a:off x="5234082" y="3244786"/>
                <a:ext cx="75723" cy="75723"/>
                <a:chOff x="5234082" y="3244786"/>
                <a:chExt cx="75723" cy="75723"/>
              </a:xfrm>
            </p:grpSpPr>
            <p:sp>
              <p:nvSpPr>
                <p:cNvPr id="18927" name="Freeform: Shape 18926">
                  <a:extLst>
                    <a:ext uri="{FF2B5EF4-FFF2-40B4-BE49-F238E27FC236}">
                      <a16:creationId xmlns:a16="http://schemas.microsoft.com/office/drawing/2014/main" id="{1D3C9285-6688-68CA-EED5-0A5C7E8329F9}"/>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28" name="Freeform: Shape 18927">
                  <a:extLst>
                    <a:ext uri="{FF2B5EF4-FFF2-40B4-BE49-F238E27FC236}">
                      <a16:creationId xmlns:a16="http://schemas.microsoft.com/office/drawing/2014/main" id="{08AA40EE-8D68-ED2A-700A-1673B8FDD87F}"/>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0" name="Graphic 790">
                <a:extLst>
                  <a:ext uri="{FF2B5EF4-FFF2-40B4-BE49-F238E27FC236}">
                    <a16:creationId xmlns:a16="http://schemas.microsoft.com/office/drawing/2014/main" id="{4D3FA02C-B502-D049-D669-E2242BB23631}"/>
                  </a:ext>
                </a:extLst>
              </p:cNvPr>
              <p:cNvGrpSpPr/>
              <p:nvPr/>
            </p:nvGrpSpPr>
            <p:grpSpPr>
              <a:xfrm>
                <a:off x="5211603" y="3234689"/>
                <a:ext cx="75723" cy="75723"/>
                <a:chOff x="5211603" y="3234689"/>
                <a:chExt cx="75723" cy="75723"/>
              </a:xfrm>
            </p:grpSpPr>
            <p:sp>
              <p:nvSpPr>
                <p:cNvPr id="18925" name="Freeform: Shape 18924">
                  <a:extLst>
                    <a:ext uri="{FF2B5EF4-FFF2-40B4-BE49-F238E27FC236}">
                      <a16:creationId xmlns:a16="http://schemas.microsoft.com/office/drawing/2014/main" id="{1632047F-74AC-087F-37FD-5C4EBACE9A9A}"/>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26" name="Freeform: Shape 18925">
                  <a:extLst>
                    <a:ext uri="{FF2B5EF4-FFF2-40B4-BE49-F238E27FC236}">
                      <a16:creationId xmlns:a16="http://schemas.microsoft.com/office/drawing/2014/main" id="{D0DB3C8D-5115-4AFD-A57D-EDD2D75B6313}"/>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1" name="Graphic 790">
                <a:extLst>
                  <a:ext uri="{FF2B5EF4-FFF2-40B4-BE49-F238E27FC236}">
                    <a16:creationId xmlns:a16="http://schemas.microsoft.com/office/drawing/2014/main" id="{A745916C-06BA-77F3-01C1-63A213E7F377}"/>
                  </a:ext>
                </a:extLst>
              </p:cNvPr>
              <p:cNvGrpSpPr/>
              <p:nvPr/>
            </p:nvGrpSpPr>
            <p:grpSpPr>
              <a:xfrm>
                <a:off x="5196268" y="3222116"/>
                <a:ext cx="75723" cy="75723"/>
                <a:chOff x="5196268" y="3222116"/>
                <a:chExt cx="75723" cy="75723"/>
              </a:xfrm>
            </p:grpSpPr>
            <p:sp>
              <p:nvSpPr>
                <p:cNvPr id="18923" name="Freeform: Shape 18922">
                  <a:extLst>
                    <a:ext uri="{FF2B5EF4-FFF2-40B4-BE49-F238E27FC236}">
                      <a16:creationId xmlns:a16="http://schemas.microsoft.com/office/drawing/2014/main" id="{90C4853B-DAA1-667C-6E46-DC814E0E778A}"/>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24" name="Freeform: Shape 18923">
                  <a:extLst>
                    <a:ext uri="{FF2B5EF4-FFF2-40B4-BE49-F238E27FC236}">
                      <a16:creationId xmlns:a16="http://schemas.microsoft.com/office/drawing/2014/main" id="{A8ECE482-F3C9-8F04-46E4-FA90EFBD7549}"/>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2" name="Graphic 790">
                <a:extLst>
                  <a:ext uri="{FF2B5EF4-FFF2-40B4-BE49-F238E27FC236}">
                    <a16:creationId xmlns:a16="http://schemas.microsoft.com/office/drawing/2014/main" id="{9BBC6238-DADD-651F-1B14-CFA4B7CDE1F6}"/>
                  </a:ext>
                </a:extLst>
              </p:cNvPr>
              <p:cNvGrpSpPr/>
              <p:nvPr/>
            </p:nvGrpSpPr>
            <p:grpSpPr>
              <a:xfrm>
                <a:off x="5183599" y="3206971"/>
                <a:ext cx="75723" cy="75723"/>
                <a:chOff x="5183599" y="3206971"/>
                <a:chExt cx="75723" cy="75723"/>
              </a:xfrm>
            </p:grpSpPr>
            <p:sp>
              <p:nvSpPr>
                <p:cNvPr id="18921" name="Freeform: Shape 18920">
                  <a:extLst>
                    <a:ext uri="{FF2B5EF4-FFF2-40B4-BE49-F238E27FC236}">
                      <a16:creationId xmlns:a16="http://schemas.microsoft.com/office/drawing/2014/main" id="{36354A0A-30C8-1F72-7EB8-4D1C3237D410}"/>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22" name="Freeform: Shape 18921">
                  <a:extLst>
                    <a:ext uri="{FF2B5EF4-FFF2-40B4-BE49-F238E27FC236}">
                      <a16:creationId xmlns:a16="http://schemas.microsoft.com/office/drawing/2014/main" id="{93C3A3BC-DA85-81CA-F65B-D198291EEA02}"/>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3" name="Graphic 790">
                <a:extLst>
                  <a:ext uri="{FF2B5EF4-FFF2-40B4-BE49-F238E27FC236}">
                    <a16:creationId xmlns:a16="http://schemas.microsoft.com/office/drawing/2014/main" id="{0D29FA3B-E0A9-AD15-47FE-B07EAE6B5F7D}"/>
                  </a:ext>
                </a:extLst>
              </p:cNvPr>
              <p:cNvGrpSpPr/>
              <p:nvPr/>
            </p:nvGrpSpPr>
            <p:grpSpPr>
              <a:xfrm>
                <a:off x="5171217" y="3173729"/>
                <a:ext cx="75628" cy="75723"/>
                <a:chOff x="5171217" y="3173729"/>
                <a:chExt cx="75628" cy="75723"/>
              </a:xfrm>
            </p:grpSpPr>
            <p:sp>
              <p:nvSpPr>
                <p:cNvPr id="18919" name="Freeform: Shape 18918">
                  <a:extLst>
                    <a:ext uri="{FF2B5EF4-FFF2-40B4-BE49-F238E27FC236}">
                      <a16:creationId xmlns:a16="http://schemas.microsoft.com/office/drawing/2014/main" id="{62E1466B-84F3-0CE2-5CCF-F2C4034BA712}"/>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20" name="Freeform: Shape 18919">
                  <a:extLst>
                    <a:ext uri="{FF2B5EF4-FFF2-40B4-BE49-F238E27FC236}">
                      <a16:creationId xmlns:a16="http://schemas.microsoft.com/office/drawing/2014/main" id="{CAFF3E86-29B9-55DF-EFDF-F934E883F44E}"/>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4" name="Graphic 790">
                <a:extLst>
                  <a:ext uri="{FF2B5EF4-FFF2-40B4-BE49-F238E27FC236}">
                    <a16:creationId xmlns:a16="http://schemas.microsoft.com/office/drawing/2014/main" id="{8D2ACD6F-A9C0-C6DF-993B-B1689AA1DDD9}"/>
                  </a:ext>
                </a:extLst>
              </p:cNvPr>
              <p:cNvGrpSpPr/>
              <p:nvPr/>
            </p:nvGrpSpPr>
            <p:grpSpPr>
              <a:xfrm>
                <a:off x="5158453" y="3158965"/>
                <a:ext cx="75628" cy="75723"/>
                <a:chOff x="5158453" y="3158965"/>
                <a:chExt cx="75628" cy="75723"/>
              </a:xfrm>
            </p:grpSpPr>
            <p:sp>
              <p:nvSpPr>
                <p:cNvPr id="18917" name="Freeform: Shape 18916">
                  <a:extLst>
                    <a:ext uri="{FF2B5EF4-FFF2-40B4-BE49-F238E27FC236}">
                      <a16:creationId xmlns:a16="http://schemas.microsoft.com/office/drawing/2014/main" id="{C9FAFCDC-5B85-405A-9418-77DA670C174E}"/>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8" name="Freeform: Shape 18917">
                  <a:extLst>
                    <a:ext uri="{FF2B5EF4-FFF2-40B4-BE49-F238E27FC236}">
                      <a16:creationId xmlns:a16="http://schemas.microsoft.com/office/drawing/2014/main" id="{B028D95A-CEF3-FBEA-E05C-3EAB94C37DF2}"/>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5" name="Graphic 790">
                <a:extLst>
                  <a:ext uri="{FF2B5EF4-FFF2-40B4-BE49-F238E27FC236}">
                    <a16:creationId xmlns:a16="http://schemas.microsoft.com/office/drawing/2014/main" id="{1602CCA5-C043-ACE0-85D8-0F2CF2E7FEC7}"/>
                  </a:ext>
                </a:extLst>
              </p:cNvPr>
              <p:cNvGrpSpPr/>
              <p:nvPr/>
            </p:nvGrpSpPr>
            <p:grpSpPr>
              <a:xfrm>
                <a:off x="5145880" y="3158965"/>
                <a:ext cx="75723" cy="75723"/>
                <a:chOff x="5145880" y="3158965"/>
                <a:chExt cx="75723" cy="75723"/>
              </a:xfrm>
            </p:grpSpPr>
            <p:sp>
              <p:nvSpPr>
                <p:cNvPr id="18915" name="Freeform: Shape 18914">
                  <a:extLst>
                    <a:ext uri="{FF2B5EF4-FFF2-40B4-BE49-F238E27FC236}">
                      <a16:creationId xmlns:a16="http://schemas.microsoft.com/office/drawing/2014/main" id="{0828150A-BD55-3E5A-52BD-D4663554642D}"/>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6" name="Freeform: Shape 18915">
                  <a:extLst>
                    <a:ext uri="{FF2B5EF4-FFF2-40B4-BE49-F238E27FC236}">
                      <a16:creationId xmlns:a16="http://schemas.microsoft.com/office/drawing/2014/main" id="{2F79CF2B-91B3-9F55-4E41-93A071BB0CFD}"/>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6" name="Graphic 790">
                <a:extLst>
                  <a:ext uri="{FF2B5EF4-FFF2-40B4-BE49-F238E27FC236}">
                    <a16:creationId xmlns:a16="http://schemas.microsoft.com/office/drawing/2014/main" id="{5B0B13E8-F082-D6EF-5986-C26A74C92592}"/>
                  </a:ext>
                </a:extLst>
              </p:cNvPr>
              <p:cNvGrpSpPr/>
              <p:nvPr/>
            </p:nvGrpSpPr>
            <p:grpSpPr>
              <a:xfrm>
                <a:off x="5133307" y="3158965"/>
                <a:ext cx="75723" cy="75723"/>
                <a:chOff x="5133307" y="3158965"/>
                <a:chExt cx="75723" cy="75723"/>
              </a:xfrm>
            </p:grpSpPr>
            <p:sp>
              <p:nvSpPr>
                <p:cNvPr id="18913" name="Freeform: Shape 18912">
                  <a:extLst>
                    <a:ext uri="{FF2B5EF4-FFF2-40B4-BE49-F238E27FC236}">
                      <a16:creationId xmlns:a16="http://schemas.microsoft.com/office/drawing/2014/main" id="{175EC3A1-F930-DC0F-3CF7-48926F4E5110}"/>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4" name="Freeform: Shape 18913">
                  <a:extLst>
                    <a:ext uri="{FF2B5EF4-FFF2-40B4-BE49-F238E27FC236}">
                      <a16:creationId xmlns:a16="http://schemas.microsoft.com/office/drawing/2014/main" id="{2EE959DB-095C-4E75-40A0-63966FEC409B}"/>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7" name="Graphic 790">
                <a:extLst>
                  <a:ext uri="{FF2B5EF4-FFF2-40B4-BE49-F238E27FC236}">
                    <a16:creationId xmlns:a16="http://schemas.microsoft.com/office/drawing/2014/main" id="{C4419331-D920-405F-DD26-E9597B421A26}"/>
                  </a:ext>
                </a:extLst>
              </p:cNvPr>
              <p:cNvGrpSpPr/>
              <p:nvPr/>
            </p:nvGrpSpPr>
            <p:grpSpPr>
              <a:xfrm>
                <a:off x="4973287" y="3133057"/>
                <a:ext cx="75723" cy="75723"/>
                <a:chOff x="4973287" y="3133057"/>
                <a:chExt cx="75723" cy="75723"/>
              </a:xfrm>
            </p:grpSpPr>
            <p:sp>
              <p:nvSpPr>
                <p:cNvPr id="18911" name="Freeform: Shape 18910">
                  <a:extLst>
                    <a:ext uri="{FF2B5EF4-FFF2-40B4-BE49-F238E27FC236}">
                      <a16:creationId xmlns:a16="http://schemas.microsoft.com/office/drawing/2014/main" id="{AB9D4457-D3FB-EC99-1714-40594B707ED5}"/>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2" name="Freeform: Shape 18911">
                  <a:extLst>
                    <a:ext uri="{FF2B5EF4-FFF2-40B4-BE49-F238E27FC236}">
                      <a16:creationId xmlns:a16="http://schemas.microsoft.com/office/drawing/2014/main" id="{EA9B89FF-ED56-6FF6-0934-24EB9E63D397}"/>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8" name="Graphic 790">
                <a:extLst>
                  <a:ext uri="{FF2B5EF4-FFF2-40B4-BE49-F238E27FC236}">
                    <a16:creationId xmlns:a16="http://schemas.microsoft.com/office/drawing/2014/main" id="{E8B1CC2A-6A57-71C5-6D85-4665E4E8B225}"/>
                  </a:ext>
                </a:extLst>
              </p:cNvPr>
              <p:cNvGrpSpPr/>
              <p:nvPr/>
            </p:nvGrpSpPr>
            <p:grpSpPr>
              <a:xfrm>
                <a:off x="4802980" y="3087052"/>
                <a:ext cx="75723" cy="75723"/>
                <a:chOff x="4802980" y="3087052"/>
                <a:chExt cx="75723" cy="75723"/>
              </a:xfrm>
            </p:grpSpPr>
            <p:sp>
              <p:nvSpPr>
                <p:cNvPr id="18909" name="Freeform: Shape 18908">
                  <a:extLst>
                    <a:ext uri="{FF2B5EF4-FFF2-40B4-BE49-F238E27FC236}">
                      <a16:creationId xmlns:a16="http://schemas.microsoft.com/office/drawing/2014/main" id="{3CF5B457-0063-4105-1024-66042BF8185D}"/>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10" name="Freeform: Shape 18909">
                  <a:extLst>
                    <a:ext uri="{FF2B5EF4-FFF2-40B4-BE49-F238E27FC236}">
                      <a16:creationId xmlns:a16="http://schemas.microsoft.com/office/drawing/2014/main" id="{C2C2485A-625A-F39E-B240-D31E48F47D26}"/>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9" name="Graphic 790">
                <a:extLst>
                  <a:ext uri="{FF2B5EF4-FFF2-40B4-BE49-F238E27FC236}">
                    <a16:creationId xmlns:a16="http://schemas.microsoft.com/office/drawing/2014/main" id="{34345B71-7FE8-E502-7BF6-2929878E711F}"/>
                  </a:ext>
                </a:extLst>
              </p:cNvPr>
              <p:cNvGrpSpPr/>
              <p:nvPr/>
            </p:nvGrpSpPr>
            <p:grpSpPr>
              <a:xfrm>
                <a:off x="4788502" y="3073240"/>
                <a:ext cx="75723" cy="75723"/>
                <a:chOff x="4788502" y="3073240"/>
                <a:chExt cx="75723" cy="75723"/>
              </a:xfrm>
            </p:grpSpPr>
            <p:sp>
              <p:nvSpPr>
                <p:cNvPr id="18907" name="Freeform: Shape 18906">
                  <a:extLst>
                    <a:ext uri="{FF2B5EF4-FFF2-40B4-BE49-F238E27FC236}">
                      <a16:creationId xmlns:a16="http://schemas.microsoft.com/office/drawing/2014/main" id="{FED283EF-B98B-710A-8D6D-CCBE5986D7AD}"/>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8" name="Freeform: Shape 18907">
                  <a:extLst>
                    <a:ext uri="{FF2B5EF4-FFF2-40B4-BE49-F238E27FC236}">
                      <a16:creationId xmlns:a16="http://schemas.microsoft.com/office/drawing/2014/main" id="{4DCA2B13-178A-F36A-2CAB-B08E995CD4DD}"/>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0" name="Graphic 790">
                <a:extLst>
                  <a:ext uri="{FF2B5EF4-FFF2-40B4-BE49-F238E27FC236}">
                    <a16:creationId xmlns:a16="http://schemas.microsoft.com/office/drawing/2014/main" id="{CB6C1994-11FD-8ECE-15FA-8B071C6C0594}"/>
                  </a:ext>
                </a:extLst>
              </p:cNvPr>
              <p:cNvGrpSpPr/>
              <p:nvPr/>
            </p:nvGrpSpPr>
            <p:grpSpPr>
              <a:xfrm>
                <a:off x="4634864" y="2850260"/>
                <a:ext cx="75723" cy="75723"/>
                <a:chOff x="4634864" y="2850260"/>
                <a:chExt cx="75723" cy="75723"/>
              </a:xfrm>
            </p:grpSpPr>
            <p:sp>
              <p:nvSpPr>
                <p:cNvPr id="18905" name="Freeform: Shape 18904">
                  <a:extLst>
                    <a:ext uri="{FF2B5EF4-FFF2-40B4-BE49-F238E27FC236}">
                      <a16:creationId xmlns:a16="http://schemas.microsoft.com/office/drawing/2014/main" id="{BF76CD49-DC46-D2D6-3355-13684A388DA4}"/>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6" name="Freeform: Shape 18905">
                  <a:extLst>
                    <a:ext uri="{FF2B5EF4-FFF2-40B4-BE49-F238E27FC236}">
                      <a16:creationId xmlns:a16="http://schemas.microsoft.com/office/drawing/2014/main" id="{9511D703-5AE5-F6BD-6BB5-F51413C0AE1A}"/>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1" name="Graphic 790">
                <a:extLst>
                  <a:ext uri="{FF2B5EF4-FFF2-40B4-BE49-F238E27FC236}">
                    <a16:creationId xmlns:a16="http://schemas.microsoft.com/office/drawing/2014/main" id="{7E8EF419-971E-9263-D180-E6FB2DD5BE29}"/>
                  </a:ext>
                </a:extLst>
              </p:cNvPr>
              <p:cNvGrpSpPr/>
              <p:nvPr/>
            </p:nvGrpSpPr>
            <p:grpSpPr>
              <a:xfrm>
                <a:off x="4664106" y="2856928"/>
                <a:ext cx="98964" cy="89630"/>
                <a:chOff x="4664106" y="2856928"/>
                <a:chExt cx="98964" cy="89630"/>
              </a:xfrm>
            </p:grpSpPr>
            <p:sp>
              <p:nvSpPr>
                <p:cNvPr id="18901" name="Freeform: Shape 18900">
                  <a:extLst>
                    <a:ext uri="{FF2B5EF4-FFF2-40B4-BE49-F238E27FC236}">
                      <a16:creationId xmlns:a16="http://schemas.microsoft.com/office/drawing/2014/main" id="{53E17848-E850-1E4E-D9AC-6468FE4CB436}"/>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2" name="Freeform: Shape 18901">
                  <a:extLst>
                    <a:ext uri="{FF2B5EF4-FFF2-40B4-BE49-F238E27FC236}">
                      <a16:creationId xmlns:a16="http://schemas.microsoft.com/office/drawing/2014/main" id="{6209620A-410F-A897-C8F8-4601EBD6C86B}"/>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3" name="Freeform: Shape 18902">
                  <a:extLst>
                    <a:ext uri="{FF2B5EF4-FFF2-40B4-BE49-F238E27FC236}">
                      <a16:creationId xmlns:a16="http://schemas.microsoft.com/office/drawing/2014/main" id="{31111C39-29C9-4770-054F-9C4428D8598B}"/>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4" name="Freeform: Shape 18903">
                  <a:extLst>
                    <a:ext uri="{FF2B5EF4-FFF2-40B4-BE49-F238E27FC236}">
                      <a16:creationId xmlns:a16="http://schemas.microsoft.com/office/drawing/2014/main" id="{09E3A1ED-CC34-10D3-2DBF-A4E372E57E24}"/>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2" name="Graphic 790">
                <a:extLst>
                  <a:ext uri="{FF2B5EF4-FFF2-40B4-BE49-F238E27FC236}">
                    <a16:creationId xmlns:a16="http://schemas.microsoft.com/office/drawing/2014/main" id="{A3D25C3C-C258-4F01-1569-3D349635FF35}"/>
                  </a:ext>
                </a:extLst>
              </p:cNvPr>
              <p:cNvGrpSpPr/>
              <p:nvPr/>
            </p:nvGrpSpPr>
            <p:grpSpPr>
              <a:xfrm>
                <a:off x="4725256" y="2932651"/>
                <a:ext cx="75628" cy="75628"/>
                <a:chOff x="4725256" y="2932651"/>
                <a:chExt cx="75628" cy="75628"/>
              </a:xfrm>
            </p:grpSpPr>
            <p:sp>
              <p:nvSpPr>
                <p:cNvPr id="18899" name="Freeform: Shape 18898">
                  <a:extLst>
                    <a:ext uri="{FF2B5EF4-FFF2-40B4-BE49-F238E27FC236}">
                      <a16:creationId xmlns:a16="http://schemas.microsoft.com/office/drawing/2014/main" id="{28E2E3DF-7341-D9F0-47DB-7562B76C44F7}"/>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00" name="Freeform: Shape 18899">
                  <a:extLst>
                    <a:ext uri="{FF2B5EF4-FFF2-40B4-BE49-F238E27FC236}">
                      <a16:creationId xmlns:a16="http://schemas.microsoft.com/office/drawing/2014/main" id="{1854E578-F2CA-1908-E3F3-35CD5066E88D}"/>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3" name="Graphic 790">
                <a:extLst>
                  <a:ext uri="{FF2B5EF4-FFF2-40B4-BE49-F238E27FC236}">
                    <a16:creationId xmlns:a16="http://schemas.microsoft.com/office/drawing/2014/main" id="{B0854268-A899-3F75-70D1-37C779F0F3E2}"/>
                  </a:ext>
                </a:extLst>
              </p:cNvPr>
              <p:cNvGrpSpPr/>
              <p:nvPr/>
            </p:nvGrpSpPr>
            <p:grpSpPr>
              <a:xfrm>
                <a:off x="4734972" y="2977038"/>
                <a:ext cx="75628" cy="75723"/>
                <a:chOff x="4734972" y="2977038"/>
                <a:chExt cx="75628" cy="75723"/>
              </a:xfrm>
            </p:grpSpPr>
            <p:sp>
              <p:nvSpPr>
                <p:cNvPr id="18897" name="Freeform: Shape 18896">
                  <a:extLst>
                    <a:ext uri="{FF2B5EF4-FFF2-40B4-BE49-F238E27FC236}">
                      <a16:creationId xmlns:a16="http://schemas.microsoft.com/office/drawing/2014/main" id="{4EFDF65F-35C5-4D1E-E8FF-8B897CD80DCF}"/>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8" name="Freeform: Shape 18897">
                  <a:extLst>
                    <a:ext uri="{FF2B5EF4-FFF2-40B4-BE49-F238E27FC236}">
                      <a16:creationId xmlns:a16="http://schemas.microsoft.com/office/drawing/2014/main" id="{BFA8AC09-A0F7-52DD-A205-5A9A3A2BC16A}"/>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4" name="Graphic 790">
                <a:extLst>
                  <a:ext uri="{FF2B5EF4-FFF2-40B4-BE49-F238E27FC236}">
                    <a16:creationId xmlns:a16="http://schemas.microsoft.com/office/drawing/2014/main" id="{F8F0C826-8176-0094-CC8C-21A334D1ED8B}"/>
                  </a:ext>
                </a:extLst>
              </p:cNvPr>
              <p:cNvGrpSpPr/>
              <p:nvPr/>
            </p:nvGrpSpPr>
            <p:grpSpPr>
              <a:xfrm>
                <a:off x="4744021" y="3008280"/>
                <a:ext cx="75723" cy="75723"/>
                <a:chOff x="4744021" y="3008280"/>
                <a:chExt cx="75723" cy="75723"/>
              </a:xfrm>
            </p:grpSpPr>
            <p:sp>
              <p:nvSpPr>
                <p:cNvPr id="18895" name="Freeform: Shape 18894">
                  <a:extLst>
                    <a:ext uri="{FF2B5EF4-FFF2-40B4-BE49-F238E27FC236}">
                      <a16:creationId xmlns:a16="http://schemas.microsoft.com/office/drawing/2014/main" id="{60AE6E2B-9F03-D85A-1EE6-00E56F951F77}"/>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6" name="Freeform: Shape 18895">
                  <a:extLst>
                    <a:ext uri="{FF2B5EF4-FFF2-40B4-BE49-F238E27FC236}">
                      <a16:creationId xmlns:a16="http://schemas.microsoft.com/office/drawing/2014/main" id="{17853D16-C46E-DEB1-7749-93D8F4248353}"/>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5" name="Graphic 790">
                <a:extLst>
                  <a:ext uri="{FF2B5EF4-FFF2-40B4-BE49-F238E27FC236}">
                    <a16:creationId xmlns:a16="http://schemas.microsoft.com/office/drawing/2014/main" id="{28B36325-ABE1-6B39-63A3-8BDB63CC7331}"/>
                  </a:ext>
                </a:extLst>
              </p:cNvPr>
              <p:cNvGrpSpPr/>
              <p:nvPr/>
            </p:nvGrpSpPr>
            <p:grpSpPr>
              <a:xfrm>
                <a:off x="4765166" y="3033045"/>
                <a:ext cx="75628" cy="75723"/>
                <a:chOff x="4765166" y="3033045"/>
                <a:chExt cx="75628" cy="75723"/>
              </a:xfrm>
            </p:grpSpPr>
            <p:sp>
              <p:nvSpPr>
                <p:cNvPr id="18893" name="Freeform: Shape 18892">
                  <a:extLst>
                    <a:ext uri="{FF2B5EF4-FFF2-40B4-BE49-F238E27FC236}">
                      <a16:creationId xmlns:a16="http://schemas.microsoft.com/office/drawing/2014/main" id="{9E105101-4644-2512-49A9-ED235048B76E}"/>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4" name="Freeform: Shape 18893">
                  <a:extLst>
                    <a:ext uri="{FF2B5EF4-FFF2-40B4-BE49-F238E27FC236}">
                      <a16:creationId xmlns:a16="http://schemas.microsoft.com/office/drawing/2014/main" id="{C180E525-4689-4258-8976-62759A9CFACC}"/>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6" name="Graphic 790">
                <a:extLst>
                  <a:ext uri="{FF2B5EF4-FFF2-40B4-BE49-F238E27FC236}">
                    <a16:creationId xmlns:a16="http://schemas.microsoft.com/office/drawing/2014/main" id="{85CACB21-ABA5-E0E3-AE22-2DA3F2E82EA1}"/>
                  </a:ext>
                </a:extLst>
              </p:cNvPr>
              <p:cNvGrpSpPr/>
              <p:nvPr/>
            </p:nvGrpSpPr>
            <p:grpSpPr>
              <a:xfrm>
                <a:off x="4499895" y="2814732"/>
                <a:ext cx="75628" cy="75723"/>
                <a:chOff x="4499895" y="2814732"/>
                <a:chExt cx="75628" cy="75723"/>
              </a:xfrm>
            </p:grpSpPr>
            <p:sp>
              <p:nvSpPr>
                <p:cNvPr id="18891" name="Freeform: Shape 18890">
                  <a:extLst>
                    <a:ext uri="{FF2B5EF4-FFF2-40B4-BE49-F238E27FC236}">
                      <a16:creationId xmlns:a16="http://schemas.microsoft.com/office/drawing/2014/main" id="{06BB6E28-FF9E-B22C-6CCE-58B58979AEBD}"/>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2" name="Freeform: Shape 18891">
                  <a:extLst>
                    <a:ext uri="{FF2B5EF4-FFF2-40B4-BE49-F238E27FC236}">
                      <a16:creationId xmlns:a16="http://schemas.microsoft.com/office/drawing/2014/main" id="{612550ED-64B1-CD76-EE75-54ECAB8305C6}"/>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7" name="Graphic 790">
                <a:extLst>
                  <a:ext uri="{FF2B5EF4-FFF2-40B4-BE49-F238E27FC236}">
                    <a16:creationId xmlns:a16="http://schemas.microsoft.com/office/drawing/2014/main" id="{B7161461-BDEF-1643-74C3-3DD423E5EB64}"/>
                  </a:ext>
                </a:extLst>
              </p:cNvPr>
              <p:cNvGrpSpPr/>
              <p:nvPr/>
            </p:nvGrpSpPr>
            <p:grpSpPr>
              <a:xfrm>
                <a:off x="4424171" y="2808731"/>
                <a:ext cx="75723" cy="75628"/>
                <a:chOff x="4424171" y="2808731"/>
                <a:chExt cx="75723" cy="75628"/>
              </a:xfrm>
            </p:grpSpPr>
            <p:sp>
              <p:nvSpPr>
                <p:cNvPr id="18889" name="Freeform: Shape 18888">
                  <a:extLst>
                    <a:ext uri="{FF2B5EF4-FFF2-40B4-BE49-F238E27FC236}">
                      <a16:creationId xmlns:a16="http://schemas.microsoft.com/office/drawing/2014/main" id="{5124F64C-8CE7-FB38-C615-0659E6925D30}"/>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90" name="Freeform: Shape 18889">
                  <a:extLst>
                    <a:ext uri="{FF2B5EF4-FFF2-40B4-BE49-F238E27FC236}">
                      <a16:creationId xmlns:a16="http://schemas.microsoft.com/office/drawing/2014/main" id="{60A59364-A682-0F83-D9B7-DE612C5C89FD}"/>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8" name="Graphic 790">
                <a:extLst>
                  <a:ext uri="{FF2B5EF4-FFF2-40B4-BE49-F238E27FC236}">
                    <a16:creationId xmlns:a16="http://schemas.microsoft.com/office/drawing/2014/main" id="{FA9F101C-1BDC-52AF-D2E8-39BF8505950B}"/>
                  </a:ext>
                </a:extLst>
              </p:cNvPr>
              <p:cNvGrpSpPr/>
              <p:nvPr/>
            </p:nvGrpSpPr>
            <p:grpSpPr>
              <a:xfrm>
                <a:off x="4203286" y="2576416"/>
                <a:ext cx="75723" cy="75723"/>
                <a:chOff x="4203286" y="2576416"/>
                <a:chExt cx="75723" cy="75723"/>
              </a:xfrm>
            </p:grpSpPr>
            <p:sp>
              <p:nvSpPr>
                <p:cNvPr id="18887" name="Freeform: Shape 18886">
                  <a:extLst>
                    <a:ext uri="{FF2B5EF4-FFF2-40B4-BE49-F238E27FC236}">
                      <a16:creationId xmlns:a16="http://schemas.microsoft.com/office/drawing/2014/main" id="{78238329-B149-A7BE-2694-D032747BBF9A}"/>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88" name="Freeform: Shape 18887">
                  <a:extLst>
                    <a:ext uri="{FF2B5EF4-FFF2-40B4-BE49-F238E27FC236}">
                      <a16:creationId xmlns:a16="http://schemas.microsoft.com/office/drawing/2014/main" id="{7ADE3DF6-DDB4-3EB8-E58D-0094FA440517}"/>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9" name="Graphic 790">
                <a:extLst>
                  <a:ext uri="{FF2B5EF4-FFF2-40B4-BE49-F238E27FC236}">
                    <a16:creationId xmlns:a16="http://schemas.microsoft.com/office/drawing/2014/main" id="{EB91A3CD-4AC3-A7F3-9985-36AA7916EE8D}"/>
                  </a:ext>
                </a:extLst>
              </p:cNvPr>
              <p:cNvGrpSpPr/>
              <p:nvPr/>
            </p:nvGrpSpPr>
            <p:grpSpPr>
              <a:xfrm>
                <a:off x="4135849" y="2555176"/>
                <a:ext cx="75723" cy="75723"/>
                <a:chOff x="4135849" y="2555176"/>
                <a:chExt cx="75723" cy="75723"/>
              </a:xfrm>
            </p:grpSpPr>
            <p:sp>
              <p:nvSpPr>
                <p:cNvPr id="18885" name="Freeform: Shape 18884">
                  <a:extLst>
                    <a:ext uri="{FF2B5EF4-FFF2-40B4-BE49-F238E27FC236}">
                      <a16:creationId xmlns:a16="http://schemas.microsoft.com/office/drawing/2014/main" id="{681FC517-8328-AF4E-6348-22DAF279F645}"/>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86" name="Freeform: Shape 18885">
                  <a:extLst>
                    <a:ext uri="{FF2B5EF4-FFF2-40B4-BE49-F238E27FC236}">
                      <a16:creationId xmlns:a16="http://schemas.microsoft.com/office/drawing/2014/main" id="{4389CFFB-4BBA-B507-5C81-CB6DC5FC1452}"/>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0" name="Graphic 790">
                <a:extLst>
                  <a:ext uri="{FF2B5EF4-FFF2-40B4-BE49-F238E27FC236}">
                    <a16:creationId xmlns:a16="http://schemas.microsoft.com/office/drawing/2014/main" id="{F0C97500-EA72-563E-1845-F4BBF5D9D3DF}"/>
                  </a:ext>
                </a:extLst>
              </p:cNvPr>
              <p:cNvGrpSpPr/>
              <p:nvPr/>
            </p:nvGrpSpPr>
            <p:grpSpPr>
              <a:xfrm>
                <a:off x="3865530" y="2479547"/>
                <a:ext cx="75723" cy="75628"/>
                <a:chOff x="3865530" y="2479547"/>
                <a:chExt cx="75723" cy="75628"/>
              </a:xfrm>
            </p:grpSpPr>
            <p:sp>
              <p:nvSpPr>
                <p:cNvPr id="18883" name="Freeform: Shape 18882">
                  <a:extLst>
                    <a:ext uri="{FF2B5EF4-FFF2-40B4-BE49-F238E27FC236}">
                      <a16:creationId xmlns:a16="http://schemas.microsoft.com/office/drawing/2014/main" id="{4A50E771-5A26-5BAC-A3C0-414A6DBDD2B7}"/>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84" name="Freeform: Shape 18883">
                  <a:extLst>
                    <a:ext uri="{FF2B5EF4-FFF2-40B4-BE49-F238E27FC236}">
                      <a16:creationId xmlns:a16="http://schemas.microsoft.com/office/drawing/2014/main" id="{886B84B1-B757-1068-AE49-95B023052359}"/>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1" name="Graphic 790">
                <a:extLst>
                  <a:ext uri="{FF2B5EF4-FFF2-40B4-BE49-F238E27FC236}">
                    <a16:creationId xmlns:a16="http://schemas.microsoft.com/office/drawing/2014/main" id="{6A4DD8C4-2777-6D56-2713-0B5D7FBFB3CE}"/>
                  </a:ext>
                </a:extLst>
              </p:cNvPr>
              <p:cNvGrpSpPr/>
              <p:nvPr/>
            </p:nvGrpSpPr>
            <p:grpSpPr>
              <a:xfrm>
                <a:off x="3922299" y="2514790"/>
                <a:ext cx="75628" cy="75723"/>
                <a:chOff x="3922299" y="2514790"/>
                <a:chExt cx="75628" cy="75723"/>
              </a:xfrm>
            </p:grpSpPr>
            <p:sp>
              <p:nvSpPr>
                <p:cNvPr id="18881" name="Freeform: Shape 18880">
                  <a:extLst>
                    <a:ext uri="{FF2B5EF4-FFF2-40B4-BE49-F238E27FC236}">
                      <a16:creationId xmlns:a16="http://schemas.microsoft.com/office/drawing/2014/main" id="{A5E25F56-4261-117B-00C0-32EC5C69F532}"/>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82" name="Freeform: Shape 18881">
                  <a:extLst>
                    <a:ext uri="{FF2B5EF4-FFF2-40B4-BE49-F238E27FC236}">
                      <a16:creationId xmlns:a16="http://schemas.microsoft.com/office/drawing/2014/main" id="{2F47C497-545C-2442-0571-B67BD6E23798}"/>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2" name="Graphic 790">
                <a:extLst>
                  <a:ext uri="{FF2B5EF4-FFF2-40B4-BE49-F238E27FC236}">
                    <a16:creationId xmlns:a16="http://schemas.microsoft.com/office/drawing/2014/main" id="{C78310B1-D21E-677C-407E-ECB5EAF1C59A}"/>
                  </a:ext>
                </a:extLst>
              </p:cNvPr>
              <p:cNvGrpSpPr/>
              <p:nvPr/>
            </p:nvGrpSpPr>
            <p:grpSpPr>
              <a:xfrm>
                <a:off x="3893629" y="2514790"/>
                <a:ext cx="75628" cy="75723"/>
                <a:chOff x="3893629" y="2514790"/>
                <a:chExt cx="75628" cy="75723"/>
              </a:xfrm>
            </p:grpSpPr>
            <p:sp>
              <p:nvSpPr>
                <p:cNvPr id="18879" name="Freeform: Shape 18878">
                  <a:extLst>
                    <a:ext uri="{FF2B5EF4-FFF2-40B4-BE49-F238E27FC236}">
                      <a16:creationId xmlns:a16="http://schemas.microsoft.com/office/drawing/2014/main" id="{4BCC0627-6BEB-E9A0-1C47-B32B53C427D9}"/>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80" name="Freeform: Shape 18879">
                  <a:extLst>
                    <a:ext uri="{FF2B5EF4-FFF2-40B4-BE49-F238E27FC236}">
                      <a16:creationId xmlns:a16="http://schemas.microsoft.com/office/drawing/2014/main" id="{D0FA7D96-FC2B-0988-09D7-2757F0F9938D}"/>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3" name="Graphic 790">
                <a:extLst>
                  <a:ext uri="{FF2B5EF4-FFF2-40B4-BE49-F238E27FC236}">
                    <a16:creationId xmlns:a16="http://schemas.microsoft.com/office/drawing/2014/main" id="{218CFD9A-91AC-8BBA-2AF5-077531F779EE}"/>
                  </a:ext>
                </a:extLst>
              </p:cNvPr>
              <p:cNvGrpSpPr/>
              <p:nvPr/>
            </p:nvGrpSpPr>
            <p:grpSpPr>
              <a:xfrm>
                <a:off x="3909345" y="2514790"/>
                <a:ext cx="75628" cy="75723"/>
                <a:chOff x="3909345" y="2514790"/>
                <a:chExt cx="75628" cy="75723"/>
              </a:xfrm>
            </p:grpSpPr>
            <p:sp>
              <p:nvSpPr>
                <p:cNvPr id="18877" name="Freeform: Shape 18876">
                  <a:extLst>
                    <a:ext uri="{FF2B5EF4-FFF2-40B4-BE49-F238E27FC236}">
                      <a16:creationId xmlns:a16="http://schemas.microsoft.com/office/drawing/2014/main" id="{0B821693-A7D1-E2EF-C3A1-D882741F39D8}"/>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8" name="Freeform: Shape 18877">
                  <a:extLst>
                    <a:ext uri="{FF2B5EF4-FFF2-40B4-BE49-F238E27FC236}">
                      <a16:creationId xmlns:a16="http://schemas.microsoft.com/office/drawing/2014/main" id="{8E0F2F8D-BEEB-A0B7-F348-5EA96EC48604}"/>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4" name="Graphic 790">
                <a:extLst>
                  <a:ext uri="{FF2B5EF4-FFF2-40B4-BE49-F238E27FC236}">
                    <a16:creationId xmlns:a16="http://schemas.microsoft.com/office/drawing/2014/main" id="{8C55A43C-00AD-D3B2-47FF-D809FA139EC1}"/>
                  </a:ext>
                </a:extLst>
              </p:cNvPr>
              <p:cNvGrpSpPr/>
              <p:nvPr/>
            </p:nvGrpSpPr>
            <p:grpSpPr>
              <a:xfrm>
                <a:off x="4241101" y="2593085"/>
                <a:ext cx="75723" cy="75628"/>
                <a:chOff x="4241101" y="2593085"/>
                <a:chExt cx="75723" cy="75628"/>
              </a:xfrm>
            </p:grpSpPr>
            <p:sp>
              <p:nvSpPr>
                <p:cNvPr id="18875" name="Freeform: Shape 18874">
                  <a:extLst>
                    <a:ext uri="{FF2B5EF4-FFF2-40B4-BE49-F238E27FC236}">
                      <a16:creationId xmlns:a16="http://schemas.microsoft.com/office/drawing/2014/main" id="{34A4FFEC-8687-9DE5-EC7E-BFE45E2C15B2}"/>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6" name="Freeform: Shape 18875">
                  <a:extLst>
                    <a:ext uri="{FF2B5EF4-FFF2-40B4-BE49-F238E27FC236}">
                      <a16:creationId xmlns:a16="http://schemas.microsoft.com/office/drawing/2014/main" id="{CC2E97B0-B37D-DF74-51F6-CD2433C72BE2}"/>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5" name="Graphic 790">
                <a:extLst>
                  <a:ext uri="{FF2B5EF4-FFF2-40B4-BE49-F238E27FC236}">
                    <a16:creationId xmlns:a16="http://schemas.microsoft.com/office/drawing/2014/main" id="{EA2327B2-0393-C2D8-15C4-38A621068DBC}"/>
                  </a:ext>
                </a:extLst>
              </p:cNvPr>
              <p:cNvGrpSpPr/>
              <p:nvPr/>
            </p:nvGrpSpPr>
            <p:grpSpPr>
              <a:xfrm>
                <a:off x="4276534" y="2621851"/>
                <a:ext cx="75723" cy="75628"/>
                <a:chOff x="4276534" y="2621851"/>
                <a:chExt cx="75723" cy="75628"/>
              </a:xfrm>
            </p:grpSpPr>
            <p:sp>
              <p:nvSpPr>
                <p:cNvPr id="18873" name="Freeform: Shape 18872">
                  <a:extLst>
                    <a:ext uri="{FF2B5EF4-FFF2-40B4-BE49-F238E27FC236}">
                      <a16:creationId xmlns:a16="http://schemas.microsoft.com/office/drawing/2014/main" id="{AE5A2B67-217B-2A67-C0B4-552459507BAA}"/>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4" name="Freeform: Shape 18873">
                  <a:extLst>
                    <a:ext uri="{FF2B5EF4-FFF2-40B4-BE49-F238E27FC236}">
                      <a16:creationId xmlns:a16="http://schemas.microsoft.com/office/drawing/2014/main" id="{B4687727-A88C-1A36-7562-AC0AF8BB5F9F}"/>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6" name="Graphic 790">
                <a:extLst>
                  <a:ext uri="{FF2B5EF4-FFF2-40B4-BE49-F238E27FC236}">
                    <a16:creationId xmlns:a16="http://schemas.microsoft.com/office/drawing/2014/main" id="{A10EE5B9-5824-3510-0B0D-67D2ABBC8407}"/>
                  </a:ext>
                </a:extLst>
              </p:cNvPr>
              <p:cNvGrpSpPr/>
              <p:nvPr/>
            </p:nvGrpSpPr>
            <p:grpSpPr>
              <a:xfrm>
                <a:off x="4283868" y="2621851"/>
                <a:ext cx="75628" cy="75628"/>
                <a:chOff x="4283868" y="2621851"/>
                <a:chExt cx="75628" cy="75628"/>
              </a:xfrm>
            </p:grpSpPr>
            <p:sp>
              <p:nvSpPr>
                <p:cNvPr id="18871" name="Freeform: Shape 18870">
                  <a:extLst>
                    <a:ext uri="{FF2B5EF4-FFF2-40B4-BE49-F238E27FC236}">
                      <a16:creationId xmlns:a16="http://schemas.microsoft.com/office/drawing/2014/main" id="{FEFE81EE-DF27-1668-3723-D2628D6AD5A3}"/>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2" name="Freeform: Shape 18871">
                  <a:extLst>
                    <a:ext uri="{FF2B5EF4-FFF2-40B4-BE49-F238E27FC236}">
                      <a16:creationId xmlns:a16="http://schemas.microsoft.com/office/drawing/2014/main" id="{3BA2AA23-697C-946B-E44E-31A154C7D8F4}"/>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7" name="Graphic 790">
                <a:extLst>
                  <a:ext uri="{FF2B5EF4-FFF2-40B4-BE49-F238E27FC236}">
                    <a16:creationId xmlns:a16="http://schemas.microsoft.com/office/drawing/2014/main" id="{C7857243-7C9D-08F6-71E9-3611EAC460AF}"/>
                  </a:ext>
                </a:extLst>
              </p:cNvPr>
              <p:cNvGrpSpPr/>
              <p:nvPr/>
            </p:nvGrpSpPr>
            <p:grpSpPr>
              <a:xfrm>
                <a:off x="4295298" y="2656236"/>
                <a:ext cx="75628" cy="75628"/>
                <a:chOff x="4295298" y="2656236"/>
                <a:chExt cx="75628" cy="75628"/>
              </a:xfrm>
            </p:grpSpPr>
            <p:sp>
              <p:nvSpPr>
                <p:cNvPr id="18869" name="Freeform: Shape 18868">
                  <a:extLst>
                    <a:ext uri="{FF2B5EF4-FFF2-40B4-BE49-F238E27FC236}">
                      <a16:creationId xmlns:a16="http://schemas.microsoft.com/office/drawing/2014/main" id="{71BA1C83-D52E-969D-4511-FDC9C3C3B384}"/>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70" name="Freeform: Shape 18869">
                  <a:extLst>
                    <a:ext uri="{FF2B5EF4-FFF2-40B4-BE49-F238E27FC236}">
                      <a16:creationId xmlns:a16="http://schemas.microsoft.com/office/drawing/2014/main" id="{E7FE2244-4D9D-CAE9-67C6-3E987868572D}"/>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8" name="Graphic 790">
                <a:extLst>
                  <a:ext uri="{FF2B5EF4-FFF2-40B4-BE49-F238E27FC236}">
                    <a16:creationId xmlns:a16="http://schemas.microsoft.com/office/drawing/2014/main" id="{8F57F70E-82E7-A4EF-AE13-1778DC63EF09}"/>
                  </a:ext>
                </a:extLst>
              </p:cNvPr>
              <p:cNvGrpSpPr/>
              <p:nvPr/>
            </p:nvGrpSpPr>
            <p:grpSpPr>
              <a:xfrm>
                <a:off x="4301584" y="2656236"/>
                <a:ext cx="75628" cy="75628"/>
                <a:chOff x="4301584" y="2656236"/>
                <a:chExt cx="75628" cy="75628"/>
              </a:xfrm>
            </p:grpSpPr>
            <p:sp>
              <p:nvSpPr>
                <p:cNvPr id="18867" name="Freeform: Shape 18866">
                  <a:extLst>
                    <a:ext uri="{FF2B5EF4-FFF2-40B4-BE49-F238E27FC236}">
                      <a16:creationId xmlns:a16="http://schemas.microsoft.com/office/drawing/2014/main" id="{62E71183-41C2-CED2-C5F5-556E09FF9178}"/>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68" name="Freeform: Shape 18867">
                  <a:extLst>
                    <a:ext uri="{FF2B5EF4-FFF2-40B4-BE49-F238E27FC236}">
                      <a16:creationId xmlns:a16="http://schemas.microsoft.com/office/drawing/2014/main" id="{2C962FDD-98C8-6ED2-8647-1562BD94CE5E}"/>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9" name="Graphic 790">
                <a:extLst>
                  <a:ext uri="{FF2B5EF4-FFF2-40B4-BE49-F238E27FC236}">
                    <a16:creationId xmlns:a16="http://schemas.microsoft.com/office/drawing/2014/main" id="{4778EBE7-3E05-8A3C-32B1-7E9A16B277EA}"/>
                  </a:ext>
                </a:extLst>
              </p:cNvPr>
              <p:cNvGrpSpPr/>
              <p:nvPr/>
            </p:nvGrpSpPr>
            <p:grpSpPr>
              <a:xfrm>
                <a:off x="4307871" y="2685097"/>
                <a:ext cx="75628" cy="75723"/>
                <a:chOff x="4307871" y="2685097"/>
                <a:chExt cx="75628" cy="75723"/>
              </a:xfrm>
            </p:grpSpPr>
            <p:sp>
              <p:nvSpPr>
                <p:cNvPr id="18865" name="Freeform: Shape 18864">
                  <a:extLst>
                    <a:ext uri="{FF2B5EF4-FFF2-40B4-BE49-F238E27FC236}">
                      <a16:creationId xmlns:a16="http://schemas.microsoft.com/office/drawing/2014/main" id="{B4BC9B77-8162-6F04-862D-9C9E042C1F62}"/>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66" name="Freeform: Shape 18865">
                  <a:extLst>
                    <a:ext uri="{FF2B5EF4-FFF2-40B4-BE49-F238E27FC236}">
                      <a16:creationId xmlns:a16="http://schemas.microsoft.com/office/drawing/2014/main" id="{1FBBBEB5-F769-62A6-5E3F-CC7715C2F174}"/>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0" name="Graphic 790">
                <a:extLst>
                  <a:ext uri="{FF2B5EF4-FFF2-40B4-BE49-F238E27FC236}">
                    <a16:creationId xmlns:a16="http://schemas.microsoft.com/office/drawing/2014/main" id="{6F6868EC-EF86-A0F5-A4A0-D64451D824FC}"/>
                  </a:ext>
                </a:extLst>
              </p:cNvPr>
              <p:cNvGrpSpPr/>
              <p:nvPr/>
            </p:nvGrpSpPr>
            <p:grpSpPr>
              <a:xfrm>
                <a:off x="4314348" y="2685097"/>
                <a:ext cx="75723" cy="75723"/>
                <a:chOff x="4314348" y="2685097"/>
                <a:chExt cx="75723" cy="75723"/>
              </a:xfrm>
            </p:grpSpPr>
            <p:sp>
              <p:nvSpPr>
                <p:cNvPr id="18863" name="Freeform: Shape 18862">
                  <a:extLst>
                    <a:ext uri="{FF2B5EF4-FFF2-40B4-BE49-F238E27FC236}">
                      <a16:creationId xmlns:a16="http://schemas.microsoft.com/office/drawing/2014/main" id="{2264F2A6-4D86-BCEB-5A55-111576528B46}"/>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64" name="Freeform: Shape 18863">
                  <a:extLst>
                    <a:ext uri="{FF2B5EF4-FFF2-40B4-BE49-F238E27FC236}">
                      <a16:creationId xmlns:a16="http://schemas.microsoft.com/office/drawing/2014/main" id="{78860559-0262-E36F-C886-23AD705C0DAE}"/>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1" name="Graphic 790">
                <a:extLst>
                  <a:ext uri="{FF2B5EF4-FFF2-40B4-BE49-F238E27FC236}">
                    <a16:creationId xmlns:a16="http://schemas.microsoft.com/office/drawing/2014/main" id="{0A071FD1-56FC-624C-62BD-C08238FC9B4A}"/>
                  </a:ext>
                </a:extLst>
              </p:cNvPr>
              <p:cNvGrpSpPr/>
              <p:nvPr/>
            </p:nvGrpSpPr>
            <p:grpSpPr>
              <a:xfrm>
                <a:off x="4330540" y="2716910"/>
                <a:ext cx="75723" cy="75723"/>
                <a:chOff x="4330540" y="2716910"/>
                <a:chExt cx="75723" cy="75723"/>
              </a:xfrm>
            </p:grpSpPr>
            <p:sp>
              <p:nvSpPr>
                <p:cNvPr id="18861" name="Freeform: Shape 18860">
                  <a:extLst>
                    <a:ext uri="{FF2B5EF4-FFF2-40B4-BE49-F238E27FC236}">
                      <a16:creationId xmlns:a16="http://schemas.microsoft.com/office/drawing/2014/main" id="{59B29149-DE7D-F838-38F6-09D599F2E69B}"/>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62" name="Freeform: Shape 18861">
                  <a:extLst>
                    <a:ext uri="{FF2B5EF4-FFF2-40B4-BE49-F238E27FC236}">
                      <a16:creationId xmlns:a16="http://schemas.microsoft.com/office/drawing/2014/main" id="{AEED21A6-6C3F-A396-4017-8F913D7ED151}"/>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2" name="Graphic 790">
                <a:extLst>
                  <a:ext uri="{FF2B5EF4-FFF2-40B4-BE49-F238E27FC236}">
                    <a16:creationId xmlns:a16="http://schemas.microsoft.com/office/drawing/2014/main" id="{492C2A34-2A61-4118-7A16-2B5BF701EFEE}"/>
                  </a:ext>
                </a:extLst>
              </p:cNvPr>
              <p:cNvGrpSpPr/>
              <p:nvPr/>
            </p:nvGrpSpPr>
            <p:grpSpPr>
              <a:xfrm>
                <a:off x="4340827" y="2716910"/>
                <a:ext cx="75723" cy="75723"/>
                <a:chOff x="4340827" y="2716910"/>
                <a:chExt cx="75723" cy="75723"/>
              </a:xfrm>
            </p:grpSpPr>
            <p:sp>
              <p:nvSpPr>
                <p:cNvPr id="18859" name="Freeform: Shape 18858">
                  <a:extLst>
                    <a:ext uri="{FF2B5EF4-FFF2-40B4-BE49-F238E27FC236}">
                      <a16:creationId xmlns:a16="http://schemas.microsoft.com/office/drawing/2014/main" id="{2F9E33E5-ADBF-E1EE-FCE6-59905CABA549}"/>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60" name="Freeform: Shape 18859">
                  <a:extLst>
                    <a:ext uri="{FF2B5EF4-FFF2-40B4-BE49-F238E27FC236}">
                      <a16:creationId xmlns:a16="http://schemas.microsoft.com/office/drawing/2014/main" id="{EB422A48-4B59-2A13-ECF8-B548AE107372}"/>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3" name="Graphic 790">
                <a:extLst>
                  <a:ext uri="{FF2B5EF4-FFF2-40B4-BE49-F238E27FC236}">
                    <a16:creationId xmlns:a16="http://schemas.microsoft.com/office/drawing/2014/main" id="{5EDBFFCC-57F1-6A85-809A-4AED9CF5AC54}"/>
                  </a:ext>
                </a:extLst>
              </p:cNvPr>
              <p:cNvGrpSpPr/>
              <p:nvPr/>
            </p:nvGrpSpPr>
            <p:grpSpPr>
              <a:xfrm>
                <a:off x="4340827" y="2754724"/>
                <a:ext cx="75723" cy="75723"/>
                <a:chOff x="4340827" y="2754724"/>
                <a:chExt cx="75723" cy="75723"/>
              </a:xfrm>
            </p:grpSpPr>
            <p:sp>
              <p:nvSpPr>
                <p:cNvPr id="18857" name="Freeform: Shape 18856">
                  <a:extLst>
                    <a:ext uri="{FF2B5EF4-FFF2-40B4-BE49-F238E27FC236}">
                      <a16:creationId xmlns:a16="http://schemas.microsoft.com/office/drawing/2014/main" id="{00469908-B620-1F92-C9CF-ECB5F2E11EF2}"/>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8" name="Freeform: Shape 18857">
                  <a:extLst>
                    <a:ext uri="{FF2B5EF4-FFF2-40B4-BE49-F238E27FC236}">
                      <a16:creationId xmlns:a16="http://schemas.microsoft.com/office/drawing/2014/main" id="{FC559AB1-42ED-10CD-14D7-8D6D0C65B6CF}"/>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4" name="Graphic 790">
                <a:extLst>
                  <a:ext uri="{FF2B5EF4-FFF2-40B4-BE49-F238E27FC236}">
                    <a16:creationId xmlns:a16="http://schemas.microsoft.com/office/drawing/2014/main" id="{442AB5EF-56C2-42CB-9D78-D666FBDAF167}"/>
                  </a:ext>
                </a:extLst>
              </p:cNvPr>
              <p:cNvGrpSpPr/>
              <p:nvPr/>
            </p:nvGrpSpPr>
            <p:grpSpPr>
              <a:xfrm>
                <a:off x="4352257" y="2754724"/>
                <a:ext cx="75628" cy="75723"/>
                <a:chOff x="4352257" y="2754724"/>
                <a:chExt cx="75628" cy="75723"/>
              </a:xfrm>
            </p:grpSpPr>
            <p:sp>
              <p:nvSpPr>
                <p:cNvPr id="18855" name="Freeform: Shape 18854">
                  <a:extLst>
                    <a:ext uri="{FF2B5EF4-FFF2-40B4-BE49-F238E27FC236}">
                      <a16:creationId xmlns:a16="http://schemas.microsoft.com/office/drawing/2014/main" id="{FF3BB929-8324-4C5D-7E08-4D7BB5E718A6}"/>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6" name="Freeform: Shape 18855">
                  <a:extLst>
                    <a:ext uri="{FF2B5EF4-FFF2-40B4-BE49-F238E27FC236}">
                      <a16:creationId xmlns:a16="http://schemas.microsoft.com/office/drawing/2014/main" id="{1AB5F8AF-CEDC-4D5F-4CB8-00267879287B}"/>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5" name="Graphic 790">
                <a:extLst>
                  <a:ext uri="{FF2B5EF4-FFF2-40B4-BE49-F238E27FC236}">
                    <a16:creationId xmlns:a16="http://schemas.microsoft.com/office/drawing/2014/main" id="{9AF6D5E4-1183-FD14-4F72-2BF58B0298F5}"/>
                  </a:ext>
                </a:extLst>
              </p:cNvPr>
              <p:cNvGrpSpPr/>
              <p:nvPr/>
            </p:nvGrpSpPr>
            <p:grpSpPr>
              <a:xfrm>
                <a:off x="4368355" y="2754724"/>
                <a:ext cx="75723" cy="75723"/>
                <a:chOff x="4368355" y="2754724"/>
                <a:chExt cx="75723" cy="75723"/>
              </a:xfrm>
            </p:grpSpPr>
            <p:sp>
              <p:nvSpPr>
                <p:cNvPr id="18853" name="Freeform: Shape 18852">
                  <a:extLst>
                    <a:ext uri="{FF2B5EF4-FFF2-40B4-BE49-F238E27FC236}">
                      <a16:creationId xmlns:a16="http://schemas.microsoft.com/office/drawing/2014/main" id="{ECEC35F7-2168-9407-86C5-D15EB9965092}"/>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4" name="Freeform: Shape 18853">
                  <a:extLst>
                    <a:ext uri="{FF2B5EF4-FFF2-40B4-BE49-F238E27FC236}">
                      <a16:creationId xmlns:a16="http://schemas.microsoft.com/office/drawing/2014/main" id="{B483CA26-794B-5DE7-3DA0-91CBA94492E0}"/>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6" name="Graphic 790">
                <a:extLst>
                  <a:ext uri="{FF2B5EF4-FFF2-40B4-BE49-F238E27FC236}">
                    <a16:creationId xmlns:a16="http://schemas.microsoft.com/office/drawing/2014/main" id="{D44B77D2-6632-D689-8112-3DA22D393320}"/>
                  </a:ext>
                </a:extLst>
              </p:cNvPr>
              <p:cNvGrpSpPr/>
              <p:nvPr/>
            </p:nvGrpSpPr>
            <p:grpSpPr>
              <a:xfrm>
                <a:off x="4370926" y="2769202"/>
                <a:ext cx="75723" cy="75723"/>
                <a:chOff x="4370926" y="2769202"/>
                <a:chExt cx="75723" cy="75723"/>
              </a:xfrm>
            </p:grpSpPr>
            <p:sp>
              <p:nvSpPr>
                <p:cNvPr id="18851" name="Freeform: Shape 18850">
                  <a:extLst>
                    <a:ext uri="{FF2B5EF4-FFF2-40B4-BE49-F238E27FC236}">
                      <a16:creationId xmlns:a16="http://schemas.microsoft.com/office/drawing/2014/main" id="{029A9E20-BAF7-D4CA-C814-D5CF8CAF41E3}"/>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2" name="Freeform: Shape 18851">
                  <a:extLst>
                    <a:ext uri="{FF2B5EF4-FFF2-40B4-BE49-F238E27FC236}">
                      <a16:creationId xmlns:a16="http://schemas.microsoft.com/office/drawing/2014/main" id="{7304A08F-8788-8BDA-62D4-7E8EC85E6C8E}"/>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7" name="Graphic 790">
                <a:extLst>
                  <a:ext uri="{FF2B5EF4-FFF2-40B4-BE49-F238E27FC236}">
                    <a16:creationId xmlns:a16="http://schemas.microsoft.com/office/drawing/2014/main" id="{33309EAB-680E-CD60-AB10-2FD161DD3701}"/>
                  </a:ext>
                </a:extLst>
              </p:cNvPr>
              <p:cNvGrpSpPr/>
              <p:nvPr/>
            </p:nvGrpSpPr>
            <p:grpSpPr>
              <a:xfrm>
                <a:off x="5061679" y="3133057"/>
                <a:ext cx="75628" cy="75723"/>
                <a:chOff x="5061679" y="3133057"/>
                <a:chExt cx="75628" cy="75723"/>
              </a:xfrm>
            </p:grpSpPr>
            <p:sp>
              <p:nvSpPr>
                <p:cNvPr id="18849" name="Freeform: Shape 18848">
                  <a:extLst>
                    <a:ext uri="{FF2B5EF4-FFF2-40B4-BE49-F238E27FC236}">
                      <a16:creationId xmlns:a16="http://schemas.microsoft.com/office/drawing/2014/main" id="{012ECB57-C0DF-7275-C7A1-F3A25303E54B}"/>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50" name="Freeform: Shape 18849">
                  <a:extLst>
                    <a:ext uri="{FF2B5EF4-FFF2-40B4-BE49-F238E27FC236}">
                      <a16:creationId xmlns:a16="http://schemas.microsoft.com/office/drawing/2014/main" id="{C07B5A19-ABF6-8853-A2B3-22E813B7D0A8}"/>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8" name="Graphic 790">
                <a:extLst>
                  <a:ext uri="{FF2B5EF4-FFF2-40B4-BE49-F238E27FC236}">
                    <a16:creationId xmlns:a16="http://schemas.microsoft.com/office/drawing/2014/main" id="{A4F66EB6-C80B-DCE1-4E0C-371B7558178E}"/>
                  </a:ext>
                </a:extLst>
              </p:cNvPr>
              <p:cNvGrpSpPr/>
              <p:nvPr/>
            </p:nvGrpSpPr>
            <p:grpSpPr>
              <a:xfrm>
                <a:off x="5108066" y="3144392"/>
                <a:ext cx="75628" cy="75723"/>
                <a:chOff x="5108066" y="3144392"/>
                <a:chExt cx="75628" cy="75723"/>
              </a:xfrm>
            </p:grpSpPr>
            <p:sp>
              <p:nvSpPr>
                <p:cNvPr id="18847" name="Freeform: Shape 18846">
                  <a:extLst>
                    <a:ext uri="{FF2B5EF4-FFF2-40B4-BE49-F238E27FC236}">
                      <a16:creationId xmlns:a16="http://schemas.microsoft.com/office/drawing/2014/main" id="{997C230B-E57D-5694-7819-096C7AC18928}"/>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48" name="Freeform: Shape 18847">
                  <a:extLst>
                    <a:ext uri="{FF2B5EF4-FFF2-40B4-BE49-F238E27FC236}">
                      <a16:creationId xmlns:a16="http://schemas.microsoft.com/office/drawing/2014/main" id="{B4A9DD8B-59C9-EE80-4652-95C238198011}"/>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09" name="Graphic 790">
                <a:extLst>
                  <a:ext uri="{FF2B5EF4-FFF2-40B4-BE49-F238E27FC236}">
                    <a16:creationId xmlns:a16="http://schemas.microsoft.com/office/drawing/2014/main" id="{2AB29B9C-84FE-C2C3-E727-624336D40F89}"/>
                  </a:ext>
                </a:extLst>
              </p:cNvPr>
              <p:cNvGrpSpPr/>
              <p:nvPr/>
            </p:nvGrpSpPr>
            <p:grpSpPr>
              <a:xfrm>
                <a:off x="5124163" y="3151726"/>
                <a:ext cx="75723" cy="75723"/>
                <a:chOff x="5124163" y="3151726"/>
                <a:chExt cx="75723" cy="75723"/>
              </a:xfrm>
            </p:grpSpPr>
            <p:sp>
              <p:nvSpPr>
                <p:cNvPr id="18845" name="Freeform: Shape 18844">
                  <a:extLst>
                    <a:ext uri="{FF2B5EF4-FFF2-40B4-BE49-F238E27FC236}">
                      <a16:creationId xmlns:a16="http://schemas.microsoft.com/office/drawing/2014/main" id="{87C6BFD8-2B3E-E523-9960-9DBABE550716}"/>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46" name="Freeform: Shape 18845">
                  <a:extLst>
                    <a:ext uri="{FF2B5EF4-FFF2-40B4-BE49-F238E27FC236}">
                      <a16:creationId xmlns:a16="http://schemas.microsoft.com/office/drawing/2014/main" id="{978B8ADB-B87B-35FA-C7A2-306C3673304E}"/>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0" name="Graphic 790">
                <a:extLst>
                  <a:ext uri="{FF2B5EF4-FFF2-40B4-BE49-F238E27FC236}">
                    <a16:creationId xmlns:a16="http://schemas.microsoft.com/office/drawing/2014/main" id="{E70CDE18-3F33-A985-039B-1CCF4F45E651}"/>
                  </a:ext>
                </a:extLst>
              </p:cNvPr>
              <p:cNvGrpSpPr/>
              <p:nvPr/>
            </p:nvGrpSpPr>
            <p:grpSpPr>
              <a:xfrm>
                <a:off x="5568314" y="3300793"/>
                <a:ext cx="75723" cy="75723"/>
                <a:chOff x="5568314" y="3300793"/>
                <a:chExt cx="75723" cy="75723"/>
              </a:xfrm>
            </p:grpSpPr>
            <p:sp>
              <p:nvSpPr>
                <p:cNvPr id="18843" name="Freeform: Shape 18842">
                  <a:extLst>
                    <a:ext uri="{FF2B5EF4-FFF2-40B4-BE49-F238E27FC236}">
                      <a16:creationId xmlns:a16="http://schemas.microsoft.com/office/drawing/2014/main" id="{7DB7ED46-2FF7-4244-5496-9D04C9A104EA}"/>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44" name="Freeform: Shape 18843">
                  <a:extLst>
                    <a:ext uri="{FF2B5EF4-FFF2-40B4-BE49-F238E27FC236}">
                      <a16:creationId xmlns:a16="http://schemas.microsoft.com/office/drawing/2014/main" id="{6B6D50C2-B13B-54F1-60CA-6644C21B811A}"/>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1" name="Graphic 790">
                <a:extLst>
                  <a:ext uri="{FF2B5EF4-FFF2-40B4-BE49-F238E27FC236}">
                    <a16:creationId xmlns:a16="http://schemas.microsoft.com/office/drawing/2014/main" id="{A6DCF703-2D81-9E17-ADC3-1877BB1AE4F1}"/>
                  </a:ext>
                </a:extLst>
              </p:cNvPr>
              <p:cNvGrpSpPr/>
              <p:nvPr/>
            </p:nvGrpSpPr>
            <p:grpSpPr>
              <a:xfrm>
                <a:off x="5594603" y="3322319"/>
                <a:ext cx="75723" cy="75723"/>
                <a:chOff x="5594603" y="3322319"/>
                <a:chExt cx="75723" cy="75723"/>
              </a:xfrm>
            </p:grpSpPr>
            <p:sp>
              <p:nvSpPr>
                <p:cNvPr id="18841" name="Freeform: Shape 18840">
                  <a:extLst>
                    <a:ext uri="{FF2B5EF4-FFF2-40B4-BE49-F238E27FC236}">
                      <a16:creationId xmlns:a16="http://schemas.microsoft.com/office/drawing/2014/main" id="{D66E1C8F-6E00-06B9-4E6A-EC50D5AB7180}"/>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42" name="Freeform: Shape 18841">
                  <a:extLst>
                    <a:ext uri="{FF2B5EF4-FFF2-40B4-BE49-F238E27FC236}">
                      <a16:creationId xmlns:a16="http://schemas.microsoft.com/office/drawing/2014/main" id="{FE31DBF1-83A2-8897-6075-A28C24F2C4A3}"/>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2" name="Graphic 790">
                <a:extLst>
                  <a:ext uri="{FF2B5EF4-FFF2-40B4-BE49-F238E27FC236}">
                    <a16:creationId xmlns:a16="http://schemas.microsoft.com/office/drawing/2014/main" id="{003BAC6A-A55E-DE12-D9DB-AA7D8207DA60}"/>
                  </a:ext>
                </a:extLst>
              </p:cNvPr>
              <p:cNvGrpSpPr/>
              <p:nvPr/>
            </p:nvGrpSpPr>
            <p:grpSpPr>
              <a:xfrm>
                <a:off x="5606224" y="3360133"/>
                <a:ext cx="75628" cy="75723"/>
                <a:chOff x="5606224" y="3360133"/>
                <a:chExt cx="75628" cy="75723"/>
              </a:xfrm>
            </p:grpSpPr>
            <p:sp>
              <p:nvSpPr>
                <p:cNvPr id="18839" name="Freeform: Shape 18838">
                  <a:extLst>
                    <a:ext uri="{FF2B5EF4-FFF2-40B4-BE49-F238E27FC236}">
                      <a16:creationId xmlns:a16="http://schemas.microsoft.com/office/drawing/2014/main" id="{679F0242-D05F-6050-4578-3139B7271394}"/>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40" name="Freeform: Shape 18839">
                  <a:extLst>
                    <a:ext uri="{FF2B5EF4-FFF2-40B4-BE49-F238E27FC236}">
                      <a16:creationId xmlns:a16="http://schemas.microsoft.com/office/drawing/2014/main" id="{D1081303-2D5A-290D-05B2-F9FB045C3A5B}"/>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3" name="Graphic 790">
                <a:extLst>
                  <a:ext uri="{FF2B5EF4-FFF2-40B4-BE49-F238E27FC236}">
                    <a16:creationId xmlns:a16="http://schemas.microsoft.com/office/drawing/2014/main" id="{7796D042-198F-441A-C2E3-E1531DD90398}"/>
                  </a:ext>
                </a:extLst>
              </p:cNvPr>
              <p:cNvGrpSpPr/>
              <p:nvPr/>
            </p:nvGrpSpPr>
            <p:grpSpPr>
              <a:xfrm>
                <a:off x="5612224" y="3385660"/>
                <a:ext cx="75723" cy="75723"/>
                <a:chOff x="5612224" y="3385660"/>
                <a:chExt cx="75723" cy="75723"/>
              </a:xfrm>
            </p:grpSpPr>
            <p:sp>
              <p:nvSpPr>
                <p:cNvPr id="18837" name="Freeform: Shape 18836">
                  <a:extLst>
                    <a:ext uri="{FF2B5EF4-FFF2-40B4-BE49-F238E27FC236}">
                      <a16:creationId xmlns:a16="http://schemas.microsoft.com/office/drawing/2014/main" id="{01C419C8-9B9A-789C-4943-8953DD8E525C}"/>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8" name="Freeform: Shape 18837">
                  <a:extLst>
                    <a:ext uri="{FF2B5EF4-FFF2-40B4-BE49-F238E27FC236}">
                      <a16:creationId xmlns:a16="http://schemas.microsoft.com/office/drawing/2014/main" id="{C2770472-5BFF-FEB1-3388-D3400DD41CC2}"/>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4" name="Graphic 790">
                <a:extLst>
                  <a:ext uri="{FF2B5EF4-FFF2-40B4-BE49-F238E27FC236}">
                    <a16:creationId xmlns:a16="http://schemas.microsoft.com/office/drawing/2014/main" id="{52302C9E-16FF-2EAA-68CB-18FAB25FF698}"/>
                  </a:ext>
                </a:extLst>
              </p:cNvPr>
              <p:cNvGrpSpPr/>
              <p:nvPr/>
            </p:nvGrpSpPr>
            <p:grpSpPr>
              <a:xfrm>
                <a:off x="5619749" y="3398043"/>
                <a:ext cx="75628" cy="75628"/>
                <a:chOff x="5619749" y="3398043"/>
                <a:chExt cx="75628" cy="75628"/>
              </a:xfrm>
            </p:grpSpPr>
            <p:sp>
              <p:nvSpPr>
                <p:cNvPr id="18835" name="Freeform: Shape 18834">
                  <a:extLst>
                    <a:ext uri="{FF2B5EF4-FFF2-40B4-BE49-F238E27FC236}">
                      <a16:creationId xmlns:a16="http://schemas.microsoft.com/office/drawing/2014/main" id="{61A1DFF6-EF2B-5056-F171-4B2A9A5D7CC8}"/>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6" name="Freeform: Shape 18835">
                  <a:extLst>
                    <a:ext uri="{FF2B5EF4-FFF2-40B4-BE49-F238E27FC236}">
                      <a16:creationId xmlns:a16="http://schemas.microsoft.com/office/drawing/2014/main" id="{D18E102B-8D5C-F191-A7D9-49C57B3D2014}"/>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5" name="Graphic 790">
                <a:extLst>
                  <a:ext uri="{FF2B5EF4-FFF2-40B4-BE49-F238E27FC236}">
                    <a16:creationId xmlns:a16="http://schemas.microsoft.com/office/drawing/2014/main" id="{AEF2FE2C-95E1-7B5C-2025-6C7AC8DA922C}"/>
                  </a:ext>
                </a:extLst>
              </p:cNvPr>
              <p:cNvGrpSpPr/>
              <p:nvPr/>
            </p:nvGrpSpPr>
            <p:grpSpPr>
              <a:xfrm>
                <a:off x="5640514" y="3405282"/>
                <a:ext cx="75723" cy="75628"/>
                <a:chOff x="5640514" y="3405282"/>
                <a:chExt cx="75723" cy="75628"/>
              </a:xfrm>
            </p:grpSpPr>
            <p:sp>
              <p:nvSpPr>
                <p:cNvPr id="18833" name="Freeform: Shape 18832">
                  <a:extLst>
                    <a:ext uri="{FF2B5EF4-FFF2-40B4-BE49-F238E27FC236}">
                      <a16:creationId xmlns:a16="http://schemas.microsoft.com/office/drawing/2014/main" id="{F630A30B-40EB-0C98-AADE-95727E8C5106}"/>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4" name="Freeform: Shape 18833">
                  <a:extLst>
                    <a:ext uri="{FF2B5EF4-FFF2-40B4-BE49-F238E27FC236}">
                      <a16:creationId xmlns:a16="http://schemas.microsoft.com/office/drawing/2014/main" id="{0974EE68-FEC3-7AB4-63A3-C2622FAA7B23}"/>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6" name="Graphic 790">
                <a:extLst>
                  <a:ext uri="{FF2B5EF4-FFF2-40B4-BE49-F238E27FC236}">
                    <a16:creationId xmlns:a16="http://schemas.microsoft.com/office/drawing/2014/main" id="{8569A726-7674-BEC7-0379-6BE4F2F76754}"/>
                  </a:ext>
                </a:extLst>
              </p:cNvPr>
              <p:cNvGrpSpPr/>
              <p:nvPr/>
            </p:nvGrpSpPr>
            <p:grpSpPr>
              <a:xfrm>
                <a:off x="5579173" y="3322319"/>
                <a:ext cx="75628" cy="75723"/>
                <a:chOff x="5579173" y="3322319"/>
                <a:chExt cx="75628" cy="75723"/>
              </a:xfrm>
            </p:grpSpPr>
            <p:sp>
              <p:nvSpPr>
                <p:cNvPr id="18831" name="Freeform: Shape 18830">
                  <a:extLst>
                    <a:ext uri="{FF2B5EF4-FFF2-40B4-BE49-F238E27FC236}">
                      <a16:creationId xmlns:a16="http://schemas.microsoft.com/office/drawing/2014/main" id="{0C798A92-B65D-0729-D3E9-97BDC82D9670}"/>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2" name="Freeform: Shape 18831">
                  <a:extLst>
                    <a:ext uri="{FF2B5EF4-FFF2-40B4-BE49-F238E27FC236}">
                      <a16:creationId xmlns:a16="http://schemas.microsoft.com/office/drawing/2014/main" id="{E2A28B61-782C-0E93-86C5-026CE4D3E607}"/>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7" name="Graphic 790">
                <a:extLst>
                  <a:ext uri="{FF2B5EF4-FFF2-40B4-BE49-F238E27FC236}">
                    <a16:creationId xmlns:a16="http://schemas.microsoft.com/office/drawing/2014/main" id="{49F74B7B-F2EB-B5A1-290B-660A52227151}"/>
                  </a:ext>
                </a:extLst>
              </p:cNvPr>
              <p:cNvGrpSpPr/>
              <p:nvPr/>
            </p:nvGrpSpPr>
            <p:grpSpPr>
              <a:xfrm>
                <a:off x="6010465" y="3480910"/>
                <a:ext cx="75723" cy="75723"/>
                <a:chOff x="6010465" y="3480910"/>
                <a:chExt cx="75723" cy="75723"/>
              </a:xfrm>
            </p:grpSpPr>
            <p:sp>
              <p:nvSpPr>
                <p:cNvPr id="18829" name="Freeform: Shape 18828">
                  <a:extLst>
                    <a:ext uri="{FF2B5EF4-FFF2-40B4-BE49-F238E27FC236}">
                      <a16:creationId xmlns:a16="http://schemas.microsoft.com/office/drawing/2014/main" id="{A49E5315-B84B-98FA-A0FF-AFE5FF47E879}"/>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30" name="Freeform: Shape 18829">
                  <a:extLst>
                    <a:ext uri="{FF2B5EF4-FFF2-40B4-BE49-F238E27FC236}">
                      <a16:creationId xmlns:a16="http://schemas.microsoft.com/office/drawing/2014/main" id="{A7886A2D-86E2-456C-8E30-EA0C21F2CC96}"/>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8" name="Graphic 790">
                <a:extLst>
                  <a:ext uri="{FF2B5EF4-FFF2-40B4-BE49-F238E27FC236}">
                    <a16:creationId xmlns:a16="http://schemas.microsoft.com/office/drawing/2014/main" id="{45442F4A-8A9B-9B18-3068-AF2DAC927D28}"/>
                  </a:ext>
                </a:extLst>
              </p:cNvPr>
              <p:cNvGrpSpPr/>
              <p:nvPr/>
            </p:nvGrpSpPr>
            <p:grpSpPr>
              <a:xfrm>
                <a:off x="6029991" y="3480910"/>
                <a:ext cx="75628" cy="75723"/>
                <a:chOff x="6029991" y="3480910"/>
                <a:chExt cx="75628" cy="75723"/>
              </a:xfrm>
            </p:grpSpPr>
            <p:sp>
              <p:nvSpPr>
                <p:cNvPr id="18827" name="Freeform: Shape 18826">
                  <a:extLst>
                    <a:ext uri="{FF2B5EF4-FFF2-40B4-BE49-F238E27FC236}">
                      <a16:creationId xmlns:a16="http://schemas.microsoft.com/office/drawing/2014/main" id="{655CB6DF-C6A1-5D56-E0EC-36E1286629F9}"/>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28" name="Freeform: Shape 18827">
                  <a:extLst>
                    <a:ext uri="{FF2B5EF4-FFF2-40B4-BE49-F238E27FC236}">
                      <a16:creationId xmlns:a16="http://schemas.microsoft.com/office/drawing/2014/main" id="{DDF86DB7-3283-1211-D766-CE78FBE2AED0}"/>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19" name="Graphic 790">
                <a:extLst>
                  <a:ext uri="{FF2B5EF4-FFF2-40B4-BE49-F238E27FC236}">
                    <a16:creationId xmlns:a16="http://schemas.microsoft.com/office/drawing/2014/main" id="{94782203-3C58-AEF0-9E45-8538DD6BA860}"/>
                  </a:ext>
                </a:extLst>
              </p:cNvPr>
              <p:cNvGrpSpPr/>
              <p:nvPr/>
            </p:nvGrpSpPr>
            <p:grpSpPr>
              <a:xfrm>
                <a:off x="6457092" y="3598449"/>
                <a:ext cx="75628" cy="75723"/>
                <a:chOff x="6457092" y="3598449"/>
                <a:chExt cx="75628" cy="75723"/>
              </a:xfrm>
            </p:grpSpPr>
            <p:sp>
              <p:nvSpPr>
                <p:cNvPr id="18825" name="Freeform: Shape 18824">
                  <a:extLst>
                    <a:ext uri="{FF2B5EF4-FFF2-40B4-BE49-F238E27FC236}">
                      <a16:creationId xmlns:a16="http://schemas.microsoft.com/office/drawing/2014/main" id="{3C6097BD-0668-635A-63E5-BCDC5F4F417D}"/>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26" name="Freeform: Shape 18825">
                  <a:extLst>
                    <a:ext uri="{FF2B5EF4-FFF2-40B4-BE49-F238E27FC236}">
                      <a16:creationId xmlns:a16="http://schemas.microsoft.com/office/drawing/2014/main" id="{D20AFA49-3790-8510-1D53-8B556904E910}"/>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0" name="Graphic 790">
                <a:extLst>
                  <a:ext uri="{FF2B5EF4-FFF2-40B4-BE49-F238E27FC236}">
                    <a16:creationId xmlns:a16="http://schemas.microsoft.com/office/drawing/2014/main" id="{26124850-C323-A750-C1DD-139F34CE1DC9}"/>
                  </a:ext>
                </a:extLst>
              </p:cNvPr>
              <p:cNvGrpSpPr/>
              <p:nvPr/>
            </p:nvGrpSpPr>
            <p:grpSpPr>
              <a:xfrm>
                <a:off x="6445567" y="3598449"/>
                <a:ext cx="75723" cy="75723"/>
                <a:chOff x="6445567" y="3598449"/>
                <a:chExt cx="75723" cy="75723"/>
              </a:xfrm>
            </p:grpSpPr>
            <p:sp>
              <p:nvSpPr>
                <p:cNvPr id="18823" name="Freeform: Shape 18822">
                  <a:extLst>
                    <a:ext uri="{FF2B5EF4-FFF2-40B4-BE49-F238E27FC236}">
                      <a16:creationId xmlns:a16="http://schemas.microsoft.com/office/drawing/2014/main" id="{992B1C31-0DE7-43AE-AA6E-A44AB2CA48FF}"/>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24" name="Freeform: Shape 18823">
                  <a:extLst>
                    <a:ext uri="{FF2B5EF4-FFF2-40B4-BE49-F238E27FC236}">
                      <a16:creationId xmlns:a16="http://schemas.microsoft.com/office/drawing/2014/main" id="{1F7F5A05-E138-E28D-5666-41A122B1F746}"/>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1" name="Graphic 790">
                <a:extLst>
                  <a:ext uri="{FF2B5EF4-FFF2-40B4-BE49-F238E27FC236}">
                    <a16:creationId xmlns:a16="http://schemas.microsoft.com/office/drawing/2014/main" id="{E65D4F0B-5618-5F58-EEAE-3BFDB63570C3}"/>
                  </a:ext>
                </a:extLst>
              </p:cNvPr>
              <p:cNvGrpSpPr/>
              <p:nvPr/>
            </p:nvGrpSpPr>
            <p:grpSpPr>
              <a:xfrm>
                <a:off x="6434137" y="3598449"/>
                <a:ext cx="75723" cy="75723"/>
                <a:chOff x="6434137" y="3598449"/>
                <a:chExt cx="75723" cy="75723"/>
              </a:xfrm>
            </p:grpSpPr>
            <p:sp>
              <p:nvSpPr>
                <p:cNvPr id="18821" name="Freeform: Shape 18820">
                  <a:extLst>
                    <a:ext uri="{FF2B5EF4-FFF2-40B4-BE49-F238E27FC236}">
                      <a16:creationId xmlns:a16="http://schemas.microsoft.com/office/drawing/2014/main" id="{1B2B6AD0-1963-85B5-DE72-2329B0B78B1F}"/>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22" name="Freeform: Shape 18821">
                  <a:extLst>
                    <a:ext uri="{FF2B5EF4-FFF2-40B4-BE49-F238E27FC236}">
                      <a16:creationId xmlns:a16="http://schemas.microsoft.com/office/drawing/2014/main" id="{813A92DD-8315-9C22-FB32-B696F0CF02ED}"/>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2" name="Graphic 790">
                <a:extLst>
                  <a:ext uri="{FF2B5EF4-FFF2-40B4-BE49-F238E27FC236}">
                    <a16:creationId xmlns:a16="http://schemas.microsoft.com/office/drawing/2014/main" id="{2FF580F2-4B82-7E4A-617B-9E29A6725CFA}"/>
                  </a:ext>
                </a:extLst>
              </p:cNvPr>
              <p:cNvGrpSpPr/>
              <p:nvPr/>
            </p:nvGrpSpPr>
            <p:grpSpPr>
              <a:xfrm>
                <a:off x="6422707" y="3598449"/>
                <a:ext cx="75723" cy="75723"/>
                <a:chOff x="6422707" y="3598449"/>
                <a:chExt cx="75723" cy="75723"/>
              </a:xfrm>
            </p:grpSpPr>
            <p:sp>
              <p:nvSpPr>
                <p:cNvPr id="18819" name="Freeform: Shape 18818">
                  <a:extLst>
                    <a:ext uri="{FF2B5EF4-FFF2-40B4-BE49-F238E27FC236}">
                      <a16:creationId xmlns:a16="http://schemas.microsoft.com/office/drawing/2014/main" id="{4F1336F3-E168-D7A3-45F6-5A6927006937}"/>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20" name="Freeform: Shape 18819">
                  <a:extLst>
                    <a:ext uri="{FF2B5EF4-FFF2-40B4-BE49-F238E27FC236}">
                      <a16:creationId xmlns:a16="http://schemas.microsoft.com/office/drawing/2014/main" id="{0014D6B3-991C-313C-318C-A8EF90D358BD}"/>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3" name="Graphic 790">
                <a:extLst>
                  <a:ext uri="{FF2B5EF4-FFF2-40B4-BE49-F238E27FC236}">
                    <a16:creationId xmlns:a16="http://schemas.microsoft.com/office/drawing/2014/main" id="{27A652DA-04F8-EA5D-D93C-070D14A1FD64}"/>
                  </a:ext>
                </a:extLst>
              </p:cNvPr>
              <p:cNvGrpSpPr/>
              <p:nvPr/>
            </p:nvGrpSpPr>
            <p:grpSpPr>
              <a:xfrm>
                <a:off x="6411277" y="3598449"/>
                <a:ext cx="75723" cy="75723"/>
                <a:chOff x="6411277" y="3598449"/>
                <a:chExt cx="75723" cy="75723"/>
              </a:xfrm>
            </p:grpSpPr>
            <p:sp>
              <p:nvSpPr>
                <p:cNvPr id="18817" name="Freeform: Shape 18816">
                  <a:extLst>
                    <a:ext uri="{FF2B5EF4-FFF2-40B4-BE49-F238E27FC236}">
                      <a16:creationId xmlns:a16="http://schemas.microsoft.com/office/drawing/2014/main" id="{DA410F6F-2388-3DAE-B3D4-BE0794031D54}"/>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8" name="Freeform: Shape 18817">
                  <a:extLst>
                    <a:ext uri="{FF2B5EF4-FFF2-40B4-BE49-F238E27FC236}">
                      <a16:creationId xmlns:a16="http://schemas.microsoft.com/office/drawing/2014/main" id="{ED6B0A3F-C526-E8D0-DF29-A71CE4A4898C}"/>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4" name="Graphic 790">
                <a:extLst>
                  <a:ext uri="{FF2B5EF4-FFF2-40B4-BE49-F238E27FC236}">
                    <a16:creationId xmlns:a16="http://schemas.microsoft.com/office/drawing/2014/main" id="{59DA4B29-CA52-30DF-ABFF-F8C63603D5C1}"/>
                  </a:ext>
                </a:extLst>
              </p:cNvPr>
              <p:cNvGrpSpPr/>
              <p:nvPr/>
            </p:nvGrpSpPr>
            <p:grpSpPr>
              <a:xfrm>
                <a:off x="6502717" y="3639883"/>
                <a:ext cx="75723" cy="75723"/>
                <a:chOff x="6502717" y="3639883"/>
                <a:chExt cx="75723" cy="75723"/>
              </a:xfrm>
            </p:grpSpPr>
            <p:sp>
              <p:nvSpPr>
                <p:cNvPr id="18815" name="Freeform: Shape 18814">
                  <a:extLst>
                    <a:ext uri="{FF2B5EF4-FFF2-40B4-BE49-F238E27FC236}">
                      <a16:creationId xmlns:a16="http://schemas.microsoft.com/office/drawing/2014/main" id="{85EAB586-BFCC-9669-500F-96475BBD2855}"/>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6" name="Freeform: Shape 18815">
                  <a:extLst>
                    <a:ext uri="{FF2B5EF4-FFF2-40B4-BE49-F238E27FC236}">
                      <a16:creationId xmlns:a16="http://schemas.microsoft.com/office/drawing/2014/main" id="{8E0B4236-A3CB-454C-B269-405EAE4F7BB8}"/>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5" name="Graphic 790">
                <a:extLst>
                  <a:ext uri="{FF2B5EF4-FFF2-40B4-BE49-F238E27FC236}">
                    <a16:creationId xmlns:a16="http://schemas.microsoft.com/office/drawing/2014/main" id="{75FF2AE7-DF59-8590-CFF5-F1F45EC289DE}"/>
                  </a:ext>
                </a:extLst>
              </p:cNvPr>
              <p:cNvGrpSpPr/>
              <p:nvPr/>
            </p:nvGrpSpPr>
            <p:grpSpPr>
              <a:xfrm>
                <a:off x="6916483" y="3652646"/>
                <a:ext cx="75723" cy="75723"/>
                <a:chOff x="6916483" y="3652646"/>
                <a:chExt cx="75723" cy="75723"/>
              </a:xfrm>
            </p:grpSpPr>
            <p:sp>
              <p:nvSpPr>
                <p:cNvPr id="18813" name="Freeform: Shape 18812">
                  <a:extLst>
                    <a:ext uri="{FF2B5EF4-FFF2-40B4-BE49-F238E27FC236}">
                      <a16:creationId xmlns:a16="http://schemas.microsoft.com/office/drawing/2014/main" id="{79A4C33F-A34D-C0F8-13E0-A604EE18EFFF}"/>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4" name="Freeform: Shape 18813">
                  <a:extLst>
                    <a:ext uri="{FF2B5EF4-FFF2-40B4-BE49-F238E27FC236}">
                      <a16:creationId xmlns:a16="http://schemas.microsoft.com/office/drawing/2014/main" id="{8432875E-2E66-084D-16FA-6AA30505F887}"/>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6" name="Graphic 790">
                <a:extLst>
                  <a:ext uri="{FF2B5EF4-FFF2-40B4-BE49-F238E27FC236}">
                    <a16:creationId xmlns:a16="http://schemas.microsoft.com/office/drawing/2014/main" id="{917ABA47-FEC0-B7A6-BEFC-80BA2C7EAB6E}"/>
                  </a:ext>
                </a:extLst>
              </p:cNvPr>
              <p:cNvGrpSpPr/>
              <p:nvPr/>
            </p:nvGrpSpPr>
            <p:grpSpPr>
              <a:xfrm>
                <a:off x="6900862" y="3652646"/>
                <a:ext cx="75628" cy="75723"/>
                <a:chOff x="6900862" y="3652646"/>
                <a:chExt cx="75628" cy="75723"/>
              </a:xfrm>
            </p:grpSpPr>
            <p:sp>
              <p:nvSpPr>
                <p:cNvPr id="18811" name="Freeform: Shape 18810">
                  <a:extLst>
                    <a:ext uri="{FF2B5EF4-FFF2-40B4-BE49-F238E27FC236}">
                      <a16:creationId xmlns:a16="http://schemas.microsoft.com/office/drawing/2014/main" id="{C09C957E-3845-7B23-F643-EF372EE064CE}"/>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2" name="Freeform: Shape 18811">
                  <a:extLst>
                    <a:ext uri="{FF2B5EF4-FFF2-40B4-BE49-F238E27FC236}">
                      <a16:creationId xmlns:a16="http://schemas.microsoft.com/office/drawing/2014/main" id="{8533ECB2-5796-7F3F-B37D-8F6EE3CEE28B}"/>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7" name="Graphic 790">
                <a:extLst>
                  <a:ext uri="{FF2B5EF4-FFF2-40B4-BE49-F238E27FC236}">
                    <a16:creationId xmlns:a16="http://schemas.microsoft.com/office/drawing/2014/main" id="{82D664D6-1801-E22B-3C3F-0D63EDF319CA}"/>
                  </a:ext>
                </a:extLst>
              </p:cNvPr>
              <p:cNvGrpSpPr/>
              <p:nvPr/>
            </p:nvGrpSpPr>
            <p:grpSpPr>
              <a:xfrm>
                <a:off x="6885145" y="3652646"/>
                <a:ext cx="75723" cy="75723"/>
                <a:chOff x="6885145" y="3652646"/>
                <a:chExt cx="75723" cy="75723"/>
              </a:xfrm>
            </p:grpSpPr>
            <p:sp>
              <p:nvSpPr>
                <p:cNvPr id="18809" name="Freeform: Shape 18808">
                  <a:extLst>
                    <a:ext uri="{FF2B5EF4-FFF2-40B4-BE49-F238E27FC236}">
                      <a16:creationId xmlns:a16="http://schemas.microsoft.com/office/drawing/2014/main" id="{5459620F-D1DC-2241-27E3-285F819C6645}"/>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0" name="Freeform: Shape 18809">
                  <a:extLst>
                    <a:ext uri="{FF2B5EF4-FFF2-40B4-BE49-F238E27FC236}">
                      <a16:creationId xmlns:a16="http://schemas.microsoft.com/office/drawing/2014/main" id="{E160D047-AF2C-D976-27FC-33615EC863D9}"/>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8" name="Graphic 790">
                <a:extLst>
                  <a:ext uri="{FF2B5EF4-FFF2-40B4-BE49-F238E27FC236}">
                    <a16:creationId xmlns:a16="http://schemas.microsoft.com/office/drawing/2014/main" id="{D01ED147-C35F-57F8-20D2-5D9C9616F5CD}"/>
                  </a:ext>
                </a:extLst>
              </p:cNvPr>
              <p:cNvGrpSpPr/>
              <p:nvPr/>
            </p:nvGrpSpPr>
            <p:grpSpPr>
              <a:xfrm>
                <a:off x="6869429" y="3652646"/>
                <a:ext cx="75723" cy="75723"/>
                <a:chOff x="6869429" y="3652646"/>
                <a:chExt cx="75723" cy="75723"/>
              </a:xfrm>
            </p:grpSpPr>
            <p:sp>
              <p:nvSpPr>
                <p:cNvPr id="18807" name="Freeform: Shape 18806">
                  <a:extLst>
                    <a:ext uri="{FF2B5EF4-FFF2-40B4-BE49-F238E27FC236}">
                      <a16:creationId xmlns:a16="http://schemas.microsoft.com/office/drawing/2014/main" id="{17A9A157-A921-3C68-9367-B228BFD18080}"/>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8" name="Freeform: Shape 18807">
                  <a:extLst>
                    <a:ext uri="{FF2B5EF4-FFF2-40B4-BE49-F238E27FC236}">
                      <a16:creationId xmlns:a16="http://schemas.microsoft.com/office/drawing/2014/main" id="{81C7E2DC-F13D-4EA4-73AB-106D84ACCB17}"/>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29" name="Graphic 790">
                <a:extLst>
                  <a:ext uri="{FF2B5EF4-FFF2-40B4-BE49-F238E27FC236}">
                    <a16:creationId xmlns:a16="http://schemas.microsoft.com/office/drawing/2014/main" id="{C204AF04-27AD-CC11-ACA2-A4021D3FDB41}"/>
                  </a:ext>
                </a:extLst>
              </p:cNvPr>
              <p:cNvGrpSpPr/>
              <p:nvPr/>
            </p:nvGrpSpPr>
            <p:grpSpPr>
              <a:xfrm>
                <a:off x="6853808" y="3652646"/>
                <a:ext cx="75628" cy="75723"/>
                <a:chOff x="6853808" y="3652646"/>
                <a:chExt cx="75628" cy="75723"/>
              </a:xfrm>
            </p:grpSpPr>
            <p:sp>
              <p:nvSpPr>
                <p:cNvPr id="18805" name="Freeform: Shape 18804">
                  <a:extLst>
                    <a:ext uri="{FF2B5EF4-FFF2-40B4-BE49-F238E27FC236}">
                      <a16:creationId xmlns:a16="http://schemas.microsoft.com/office/drawing/2014/main" id="{3805F537-0101-2D26-B91D-F106C6DB4583}"/>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6" name="Freeform: Shape 18805">
                  <a:extLst>
                    <a:ext uri="{FF2B5EF4-FFF2-40B4-BE49-F238E27FC236}">
                      <a16:creationId xmlns:a16="http://schemas.microsoft.com/office/drawing/2014/main" id="{15C2AC38-93D6-2AC1-3CC1-9FD407D40920}"/>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0" name="Graphic 790">
                <a:extLst>
                  <a:ext uri="{FF2B5EF4-FFF2-40B4-BE49-F238E27FC236}">
                    <a16:creationId xmlns:a16="http://schemas.microsoft.com/office/drawing/2014/main" id="{996B183A-D349-C1F5-7F27-CB1941FE4E98}"/>
                  </a:ext>
                </a:extLst>
              </p:cNvPr>
              <p:cNvGrpSpPr/>
              <p:nvPr/>
            </p:nvGrpSpPr>
            <p:grpSpPr>
              <a:xfrm>
                <a:off x="6923626" y="3677030"/>
                <a:ext cx="75723" cy="75628"/>
                <a:chOff x="6923626" y="3677030"/>
                <a:chExt cx="75723" cy="75628"/>
              </a:xfrm>
            </p:grpSpPr>
            <p:sp>
              <p:nvSpPr>
                <p:cNvPr id="18803" name="Freeform: Shape 18802">
                  <a:extLst>
                    <a:ext uri="{FF2B5EF4-FFF2-40B4-BE49-F238E27FC236}">
                      <a16:creationId xmlns:a16="http://schemas.microsoft.com/office/drawing/2014/main" id="{0A0F1E02-FA1B-4A90-3FAD-29E6DBF35BAC}"/>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4" name="Freeform: Shape 18803">
                  <a:extLst>
                    <a:ext uri="{FF2B5EF4-FFF2-40B4-BE49-F238E27FC236}">
                      <a16:creationId xmlns:a16="http://schemas.microsoft.com/office/drawing/2014/main" id="{72A8B7E9-4385-E5BD-9716-042CC23E363D}"/>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1" name="Graphic 790">
                <a:extLst>
                  <a:ext uri="{FF2B5EF4-FFF2-40B4-BE49-F238E27FC236}">
                    <a16:creationId xmlns:a16="http://schemas.microsoft.com/office/drawing/2014/main" id="{3E0D8AF4-93A5-65B7-B342-25070975DCDA}"/>
                  </a:ext>
                </a:extLst>
              </p:cNvPr>
              <p:cNvGrpSpPr/>
              <p:nvPr/>
            </p:nvGrpSpPr>
            <p:grpSpPr>
              <a:xfrm>
                <a:off x="6908482" y="3677030"/>
                <a:ext cx="75723" cy="75628"/>
                <a:chOff x="6908482" y="3677030"/>
                <a:chExt cx="75723" cy="75628"/>
              </a:xfrm>
            </p:grpSpPr>
            <p:sp>
              <p:nvSpPr>
                <p:cNvPr id="18801" name="Freeform: Shape 18800">
                  <a:extLst>
                    <a:ext uri="{FF2B5EF4-FFF2-40B4-BE49-F238E27FC236}">
                      <a16:creationId xmlns:a16="http://schemas.microsoft.com/office/drawing/2014/main" id="{A8EC8334-F86C-8AB0-CBDA-B3DEDEEFCAF7}"/>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2" name="Freeform: Shape 18801">
                  <a:extLst>
                    <a:ext uri="{FF2B5EF4-FFF2-40B4-BE49-F238E27FC236}">
                      <a16:creationId xmlns:a16="http://schemas.microsoft.com/office/drawing/2014/main" id="{59B74C6F-226E-AF5A-D26D-DFB406B70708}"/>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2" name="Graphic 790">
                <a:extLst>
                  <a:ext uri="{FF2B5EF4-FFF2-40B4-BE49-F238E27FC236}">
                    <a16:creationId xmlns:a16="http://schemas.microsoft.com/office/drawing/2014/main" id="{25F190EE-ECFE-A96D-82D8-398C17419BB3}"/>
                  </a:ext>
                </a:extLst>
              </p:cNvPr>
              <p:cNvGrpSpPr/>
              <p:nvPr/>
            </p:nvGrpSpPr>
            <p:grpSpPr>
              <a:xfrm>
                <a:off x="7307960" y="3719226"/>
                <a:ext cx="75628" cy="75723"/>
                <a:chOff x="7307960" y="3719226"/>
                <a:chExt cx="75628" cy="75723"/>
              </a:xfrm>
            </p:grpSpPr>
            <p:sp>
              <p:nvSpPr>
                <p:cNvPr id="18799" name="Freeform: Shape 18798">
                  <a:extLst>
                    <a:ext uri="{FF2B5EF4-FFF2-40B4-BE49-F238E27FC236}">
                      <a16:creationId xmlns:a16="http://schemas.microsoft.com/office/drawing/2014/main" id="{F74E9C5A-CE39-95F7-6E1E-0F982A98097D}"/>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0" name="Freeform: Shape 18799">
                  <a:extLst>
                    <a:ext uri="{FF2B5EF4-FFF2-40B4-BE49-F238E27FC236}">
                      <a16:creationId xmlns:a16="http://schemas.microsoft.com/office/drawing/2014/main" id="{735149B5-A4C8-E1C6-92C9-879046B169AE}"/>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3" name="Graphic 790">
                <a:extLst>
                  <a:ext uri="{FF2B5EF4-FFF2-40B4-BE49-F238E27FC236}">
                    <a16:creationId xmlns:a16="http://schemas.microsoft.com/office/drawing/2014/main" id="{F25127C4-A719-797C-1778-B811A031CA66}"/>
                  </a:ext>
                </a:extLst>
              </p:cNvPr>
              <p:cNvGrpSpPr/>
              <p:nvPr/>
            </p:nvGrpSpPr>
            <p:grpSpPr>
              <a:xfrm>
                <a:off x="7302150" y="3719226"/>
                <a:ext cx="75723" cy="75723"/>
                <a:chOff x="7302150" y="3719226"/>
                <a:chExt cx="75723" cy="75723"/>
              </a:xfrm>
            </p:grpSpPr>
            <p:sp>
              <p:nvSpPr>
                <p:cNvPr id="18797" name="Freeform: Shape 18796">
                  <a:extLst>
                    <a:ext uri="{FF2B5EF4-FFF2-40B4-BE49-F238E27FC236}">
                      <a16:creationId xmlns:a16="http://schemas.microsoft.com/office/drawing/2014/main" id="{7DFA0A56-6083-DFA8-9B24-3010DD0136D9}"/>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8" name="Freeform: Shape 18797">
                  <a:extLst>
                    <a:ext uri="{FF2B5EF4-FFF2-40B4-BE49-F238E27FC236}">
                      <a16:creationId xmlns:a16="http://schemas.microsoft.com/office/drawing/2014/main" id="{09EB1897-80D9-A1DA-4EDC-31D8FD0F96F4}"/>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4" name="Graphic 790">
                <a:extLst>
                  <a:ext uri="{FF2B5EF4-FFF2-40B4-BE49-F238E27FC236}">
                    <a16:creationId xmlns:a16="http://schemas.microsoft.com/office/drawing/2014/main" id="{036392FC-2D15-37FA-2C3F-9BE80427AFFF}"/>
                  </a:ext>
                </a:extLst>
              </p:cNvPr>
              <p:cNvGrpSpPr/>
              <p:nvPr/>
            </p:nvGrpSpPr>
            <p:grpSpPr>
              <a:xfrm>
                <a:off x="7318819" y="3763898"/>
                <a:ext cx="75723" cy="75723"/>
                <a:chOff x="7318819" y="3763898"/>
                <a:chExt cx="75723" cy="75723"/>
              </a:xfrm>
            </p:grpSpPr>
            <p:sp>
              <p:nvSpPr>
                <p:cNvPr id="18795" name="Freeform: Shape 18794">
                  <a:extLst>
                    <a:ext uri="{FF2B5EF4-FFF2-40B4-BE49-F238E27FC236}">
                      <a16:creationId xmlns:a16="http://schemas.microsoft.com/office/drawing/2014/main" id="{3A1F3E3B-1DB9-8BAD-2105-45455D74B4DE}"/>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6" name="Freeform: Shape 18795">
                  <a:extLst>
                    <a:ext uri="{FF2B5EF4-FFF2-40B4-BE49-F238E27FC236}">
                      <a16:creationId xmlns:a16="http://schemas.microsoft.com/office/drawing/2014/main" id="{330CF441-FA98-5296-B15F-6AF67C6C10D6}"/>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5" name="Graphic 790">
                <a:extLst>
                  <a:ext uri="{FF2B5EF4-FFF2-40B4-BE49-F238E27FC236}">
                    <a16:creationId xmlns:a16="http://schemas.microsoft.com/office/drawing/2014/main" id="{73FCE4C3-C0C3-EEAF-D861-2AFA476A854C}"/>
                  </a:ext>
                </a:extLst>
              </p:cNvPr>
              <p:cNvGrpSpPr/>
              <p:nvPr/>
            </p:nvGrpSpPr>
            <p:grpSpPr>
              <a:xfrm>
                <a:off x="7329391" y="3772661"/>
                <a:ext cx="75723" cy="75628"/>
                <a:chOff x="7329391" y="3772661"/>
                <a:chExt cx="75723" cy="75628"/>
              </a:xfrm>
            </p:grpSpPr>
            <p:sp>
              <p:nvSpPr>
                <p:cNvPr id="18793" name="Freeform: Shape 18792">
                  <a:extLst>
                    <a:ext uri="{FF2B5EF4-FFF2-40B4-BE49-F238E27FC236}">
                      <a16:creationId xmlns:a16="http://schemas.microsoft.com/office/drawing/2014/main" id="{CF69EC48-6391-1C67-3A1D-F8A66F404A38}"/>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4" name="Freeform: Shape 18793">
                  <a:extLst>
                    <a:ext uri="{FF2B5EF4-FFF2-40B4-BE49-F238E27FC236}">
                      <a16:creationId xmlns:a16="http://schemas.microsoft.com/office/drawing/2014/main" id="{4ABD8DED-2C98-1A2A-26F7-F068683B0BD9}"/>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6" name="Graphic 790">
                <a:extLst>
                  <a:ext uri="{FF2B5EF4-FFF2-40B4-BE49-F238E27FC236}">
                    <a16:creationId xmlns:a16="http://schemas.microsoft.com/office/drawing/2014/main" id="{E0163B24-8CA0-BFA5-D5DB-468C1F787495}"/>
                  </a:ext>
                </a:extLst>
              </p:cNvPr>
              <p:cNvGrpSpPr/>
              <p:nvPr/>
            </p:nvGrpSpPr>
            <p:grpSpPr>
              <a:xfrm>
                <a:off x="7377874" y="3772661"/>
                <a:ext cx="75723" cy="75628"/>
                <a:chOff x="7377874" y="3772661"/>
                <a:chExt cx="75723" cy="75628"/>
              </a:xfrm>
            </p:grpSpPr>
            <p:sp>
              <p:nvSpPr>
                <p:cNvPr id="18791" name="Freeform: Shape 18790">
                  <a:extLst>
                    <a:ext uri="{FF2B5EF4-FFF2-40B4-BE49-F238E27FC236}">
                      <a16:creationId xmlns:a16="http://schemas.microsoft.com/office/drawing/2014/main" id="{58B2FA7F-FDF4-794F-8B61-E82D95822F71}"/>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2" name="Freeform: Shape 18791">
                  <a:extLst>
                    <a:ext uri="{FF2B5EF4-FFF2-40B4-BE49-F238E27FC236}">
                      <a16:creationId xmlns:a16="http://schemas.microsoft.com/office/drawing/2014/main" id="{E892F46B-435B-7653-DF8E-5A7969A25773}"/>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7" name="Graphic 790">
                <a:extLst>
                  <a:ext uri="{FF2B5EF4-FFF2-40B4-BE49-F238E27FC236}">
                    <a16:creationId xmlns:a16="http://schemas.microsoft.com/office/drawing/2014/main" id="{B3C4C512-9986-1D17-C6D0-70666933AD66}"/>
                  </a:ext>
                </a:extLst>
              </p:cNvPr>
              <p:cNvGrpSpPr/>
              <p:nvPr/>
            </p:nvGrpSpPr>
            <p:grpSpPr>
              <a:xfrm>
                <a:off x="7350061" y="3772661"/>
                <a:ext cx="75628" cy="75628"/>
                <a:chOff x="7350061" y="3772661"/>
                <a:chExt cx="75628" cy="75628"/>
              </a:xfrm>
            </p:grpSpPr>
            <p:sp>
              <p:nvSpPr>
                <p:cNvPr id="18789" name="Freeform: Shape 18788">
                  <a:extLst>
                    <a:ext uri="{FF2B5EF4-FFF2-40B4-BE49-F238E27FC236}">
                      <a16:creationId xmlns:a16="http://schemas.microsoft.com/office/drawing/2014/main" id="{59AE345B-C98A-7053-EAFC-9EE7B6A8263A}"/>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0" name="Freeform: Shape 18789">
                  <a:extLst>
                    <a:ext uri="{FF2B5EF4-FFF2-40B4-BE49-F238E27FC236}">
                      <a16:creationId xmlns:a16="http://schemas.microsoft.com/office/drawing/2014/main" id="{B64AC642-81FE-6CB6-AD92-D08F2497A611}"/>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8" name="Graphic 790">
                <a:extLst>
                  <a:ext uri="{FF2B5EF4-FFF2-40B4-BE49-F238E27FC236}">
                    <a16:creationId xmlns:a16="http://schemas.microsoft.com/office/drawing/2014/main" id="{10BF4EA2-CE1B-A8BD-96F8-FDAFD1E4404C}"/>
                  </a:ext>
                </a:extLst>
              </p:cNvPr>
              <p:cNvGrpSpPr/>
              <p:nvPr/>
            </p:nvGrpSpPr>
            <p:grpSpPr>
              <a:xfrm>
                <a:off x="7285481" y="3719226"/>
                <a:ext cx="75723" cy="75723"/>
                <a:chOff x="7285481" y="3719226"/>
                <a:chExt cx="75723" cy="75723"/>
              </a:xfrm>
            </p:grpSpPr>
            <p:sp>
              <p:nvSpPr>
                <p:cNvPr id="18787" name="Freeform: Shape 18786">
                  <a:extLst>
                    <a:ext uri="{FF2B5EF4-FFF2-40B4-BE49-F238E27FC236}">
                      <a16:creationId xmlns:a16="http://schemas.microsoft.com/office/drawing/2014/main" id="{F4BB5817-4725-30AF-0429-70EF238E52B1}"/>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8" name="Freeform: Shape 18787">
                  <a:extLst>
                    <a:ext uri="{FF2B5EF4-FFF2-40B4-BE49-F238E27FC236}">
                      <a16:creationId xmlns:a16="http://schemas.microsoft.com/office/drawing/2014/main" id="{B0F684A8-2A0B-7FBE-C483-047707ABCFD2}"/>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39" name="Graphic 790">
                <a:extLst>
                  <a:ext uri="{FF2B5EF4-FFF2-40B4-BE49-F238E27FC236}">
                    <a16:creationId xmlns:a16="http://schemas.microsoft.com/office/drawing/2014/main" id="{2240384E-27A7-41CE-B59D-CDB7EF34DEBC}"/>
                  </a:ext>
                </a:extLst>
              </p:cNvPr>
              <p:cNvGrpSpPr/>
              <p:nvPr/>
            </p:nvGrpSpPr>
            <p:grpSpPr>
              <a:xfrm>
                <a:off x="7730870" y="3838193"/>
                <a:ext cx="75723" cy="75628"/>
                <a:chOff x="7730870" y="3838193"/>
                <a:chExt cx="75723" cy="75628"/>
              </a:xfrm>
            </p:grpSpPr>
            <p:sp>
              <p:nvSpPr>
                <p:cNvPr id="18785" name="Freeform: Shape 18784">
                  <a:extLst>
                    <a:ext uri="{FF2B5EF4-FFF2-40B4-BE49-F238E27FC236}">
                      <a16:creationId xmlns:a16="http://schemas.microsoft.com/office/drawing/2014/main" id="{42EC4B38-D7BA-AA38-E624-ABBDCCB53547}"/>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6" name="Freeform: Shape 18785">
                  <a:extLst>
                    <a:ext uri="{FF2B5EF4-FFF2-40B4-BE49-F238E27FC236}">
                      <a16:creationId xmlns:a16="http://schemas.microsoft.com/office/drawing/2014/main" id="{488F3421-C2E8-2879-C242-C21EF002DB7A}"/>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0" name="Graphic 790">
                <a:extLst>
                  <a:ext uri="{FF2B5EF4-FFF2-40B4-BE49-F238E27FC236}">
                    <a16:creationId xmlns:a16="http://schemas.microsoft.com/office/drawing/2014/main" id="{7D658D94-6EEA-D23C-D968-C8C87220D243}"/>
                  </a:ext>
                </a:extLst>
              </p:cNvPr>
              <p:cNvGrpSpPr/>
              <p:nvPr/>
            </p:nvGrpSpPr>
            <p:grpSpPr>
              <a:xfrm>
                <a:off x="7744015" y="3838193"/>
                <a:ext cx="75723" cy="75628"/>
                <a:chOff x="7744015" y="3838193"/>
                <a:chExt cx="75723" cy="75628"/>
              </a:xfrm>
            </p:grpSpPr>
            <p:sp>
              <p:nvSpPr>
                <p:cNvPr id="18783" name="Freeform: Shape 18782">
                  <a:extLst>
                    <a:ext uri="{FF2B5EF4-FFF2-40B4-BE49-F238E27FC236}">
                      <a16:creationId xmlns:a16="http://schemas.microsoft.com/office/drawing/2014/main" id="{113733BD-1A18-3FA9-E39D-2FA917B309BE}"/>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4" name="Freeform: Shape 18783">
                  <a:extLst>
                    <a:ext uri="{FF2B5EF4-FFF2-40B4-BE49-F238E27FC236}">
                      <a16:creationId xmlns:a16="http://schemas.microsoft.com/office/drawing/2014/main" id="{84473AD7-1C31-44C7-221B-F7261182F88E}"/>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1" name="Graphic 790">
                <a:extLst>
                  <a:ext uri="{FF2B5EF4-FFF2-40B4-BE49-F238E27FC236}">
                    <a16:creationId xmlns:a16="http://schemas.microsoft.com/office/drawing/2014/main" id="{E70FB211-E665-62BB-9861-AEEAABC534D4}"/>
                  </a:ext>
                </a:extLst>
              </p:cNvPr>
              <p:cNvGrpSpPr/>
              <p:nvPr/>
            </p:nvGrpSpPr>
            <p:grpSpPr>
              <a:xfrm>
                <a:off x="7836788" y="3873626"/>
                <a:ext cx="75723" cy="75628"/>
                <a:chOff x="7836788" y="3873626"/>
                <a:chExt cx="75723" cy="75628"/>
              </a:xfrm>
            </p:grpSpPr>
            <p:sp>
              <p:nvSpPr>
                <p:cNvPr id="18781" name="Freeform: Shape 18780">
                  <a:extLst>
                    <a:ext uri="{FF2B5EF4-FFF2-40B4-BE49-F238E27FC236}">
                      <a16:creationId xmlns:a16="http://schemas.microsoft.com/office/drawing/2014/main" id="{ABA888DF-2471-0F1D-620B-B7CB2432B17D}"/>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2" name="Freeform: Shape 18781">
                  <a:extLst>
                    <a:ext uri="{FF2B5EF4-FFF2-40B4-BE49-F238E27FC236}">
                      <a16:creationId xmlns:a16="http://schemas.microsoft.com/office/drawing/2014/main" id="{E9EC7CA8-DE96-FF76-18A3-1A9F66A184B4}"/>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2" name="Graphic 790">
                <a:extLst>
                  <a:ext uri="{FF2B5EF4-FFF2-40B4-BE49-F238E27FC236}">
                    <a16:creationId xmlns:a16="http://schemas.microsoft.com/office/drawing/2014/main" id="{B125FCD1-A19A-1E03-6B15-0AAC72A7019D}"/>
                  </a:ext>
                </a:extLst>
              </p:cNvPr>
              <p:cNvGrpSpPr/>
              <p:nvPr/>
            </p:nvGrpSpPr>
            <p:grpSpPr>
              <a:xfrm>
                <a:off x="7788401" y="3873626"/>
                <a:ext cx="75628" cy="75628"/>
                <a:chOff x="7788401" y="3873626"/>
                <a:chExt cx="75628" cy="75628"/>
              </a:xfrm>
            </p:grpSpPr>
            <p:sp>
              <p:nvSpPr>
                <p:cNvPr id="18779" name="Freeform: Shape 18778">
                  <a:extLst>
                    <a:ext uri="{FF2B5EF4-FFF2-40B4-BE49-F238E27FC236}">
                      <a16:creationId xmlns:a16="http://schemas.microsoft.com/office/drawing/2014/main" id="{DC502CA5-7C1E-A845-F755-11A49FB17B0A}"/>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0" name="Freeform: Shape 18779">
                  <a:extLst>
                    <a:ext uri="{FF2B5EF4-FFF2-40B4-BE49-F238E27FC236}">
                      <a16:creationId xmlns:a16="http://schemas.microsoft.com/office/drawing/2014/main" id="{8A3399D5-4498-9662-2A62-B85FBF6DDB36}"/>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3" name="Graphic 790">
                <a:extLst>
                  <a:ext uri="{FF2B5EF4-FFF2-40B4-BE49-F238E27FC236}">
                    <a16:creationId xmlns:a16="http://schemas.microsoft.com/office/drawing/2014/main" id="{5D3CBCBA-7C27-34C0-452F-C0FE9700ACC4}"/>
                  </a:ext>
                </a:extLst>
              </p:cNvPr>
              <p:cNvGrpSpPr/>
              <p:nvPr/>
            </p:nvGrpSpPr>
            <p:grpSpPr>
              <a:xfrm>
                <a:off x="7781924" y="3873626"/>
                <a:ext cx="75628" cy="75628"/>
                <a:chOff x="7781924" y="3873626"/>
                <a:chExt cx="75628" cy="75628"/>
              </a:xfrm>
            </p:grpSpPr>
            <p:sp>
              <p:nvSpPr>
                <p:cNvPr id="18777" name="Freeform: Shape 18776">
                  <a:extLst>
                    <a:ext uri="{FF2B5EF4-FFF2-40B4-BE49-F238E27FC236}">
                      <a16:creationId xmlns:a16="http://schemas.microsoft.com/office/drawing/2014/main" id="{20E508ED-6F75-F5A5-2FAC-09FF7FC7861B}"/>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8" name="Freeform: Shape 18777">
                  <a:extLst>
                    <a:ext uri="{FF2B5EF4-FFF2-40B4-BE49-F238E27FC236}">
                      <a16:creationId xmlns:a16="http://schemas.microsoft.com/office/drawing/2014/main" id="{019787A0-3B80-BFB8-DD5F-6512D86B3BE1}"/>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4" name="Graphic 790">
                <a:extLst>
                  <a:ext uri="{FF2B5EF4-FFF2-40B4-BE49-F238E27FC236}">
                    <a16:creationId xmlns:a16="http://schemas.microsoft.com/office/drawing/2014/main" id="{29EC068F-C4CA-2301-FE99-592B3466FCD0}"/>
                  </a:ext>
                </a:extLst>
              </p:cNvPr>
              <p:cNvGrpSpPr/>
              <p:nvPr/>
            </p:nvGrpSpPr>
            <p:grpSpPr>
              <a:xfrm>
                <a:off x="7769351" y="3873626"/>
                <a:ext cx="75628" cy="75628"/>
                <a:chOff x="7769351" y="3873626"/>
                <a:chExt cx="75628" cy="75628"/>
              </a:xfrm>
            </p:grpSpPr>
            <p:sp>
              <p:nvSpPr>
                <p:cNvPr id="18775" name="Freeform: Shape 18774">
                  <a:extLst>
                    <a:ext uri="{FF2B5EF4-FFF2-40B4-BE49-F238E27FC236}">
                      <a16:creationId xmlns:a16="http://schemas.microsoft.com/office/drawing/2014/main" id="{88AF71F6-B0C4-9582-7B21-493FF979E0A5}"/>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6" name="Freeform: Shape 18775">
                  <a:extLst>
                    <a:ext uri="{FF2B5EF4-FFF2-40B4-BE49-F238E27FC236}">
                      <a16:creationId xmlns:a16="http://schemas.microsoft.com/office/drawing/2014/main" id="{D3D581B4-6CAB-34B8-D426-43C58C32E738}"/>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5" name="Graphic 790">
                <a:extLst>
                  <a:ext uri="{FF2B5EF4-FFF2-40B4-BE49-F238E27FC236}">
                    <a16:creationId xmlns:a16="http://schemas.microsoft.com/office/drawing/2014/main" id="{36940948-D84A-1382-C686-78F6FB6F7991}"/>
                  </a:ext>
                </a:extLst>
              </p:cNvPr>
              <p:cNvGrpSpPr/>
              <p:nvPr/>
            </p:nvGrpSpPr>
            <p:grpSpPr>
              <a:xfrm>
                <a:off x="7762874" y="3873626"/>
                <a:ext cx="75628" cy="75628"/>
                <a:chOff x="7762874" y="3873626"/>
                <a:chExt cx="75628" cy="75628"/>
              </a:xfrm>
            </p:grpSpPr>
            <p:sp>
              <p:nvSpPr>
                <p:cNvPr id="18773" name="Freeform: Shape 18772">
                  <a:extLst>
                    <a:ext uri="{FF2B5EF4-FFF2-40B4-BE49-F238E27FC236}">
                      <a16:creationId xmlns:a16="http://schemas.microsoft.com/office/drawing/2014/main" id="{97D047AC-B593-2F40-6C78-492CA1A1314A}"/>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4" name="Freeform: Shape 18773">
                  <a:extLst>
                    <a:ext uri="{FF2B5EF4-FFF2-40B4-BE49-F238E27FC236}">
                      <a16:creationId xmlns:a16="http://schemas.microsoft.com/office/drawing/2014/main" id="{50764D3D-53E3-28E8-B521-037C2B9AA542}"/>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6" name="Graphic 790">
                <a:extLst>
                  <a:ext uri="{FF2B5EF4-FFF2-40B4-BE49-F238E27FC236}">
                    <a16:creationId xmlns:a16="http://schemas.microsoft.com/office/drawing/2014/main" id="{49DCD4B6-024F-810E-857A-2A4D9F49AF34}"/>
                  </a:ext>
                </a:extLst>
              </p:cNvPr>
              <p:cNvGrpSpPr/>
              <p:nvPr/>
            </p:nvGrpSpPr>
            <p:grpSpPr>
              <a:xfrm>
                <a:off x="7753730" y="3873626"/>
                <a:ext cx="75723" cy="75628"/>
                <a:chOff x="7753730" y="3873626"/>
                <a:chExt cx="75723" cy="75628"/>
              </a:xfrm>
            </p:grpSpPr>
            <p:sp>
              <p:nvSpPr>
                <p:cNvPr id="18771" name="Freeform: Shape 18770">
                  <a:extLst>
                    <a:ext uri="{FF2B5EF4-FFF2-40B4-BE49-F238E27FC236}">
                      <a16:creationId xmlns:a16="http://schemas.microsoft.com/office/drawing/2014/main" id="{15A03112-4A20-FE54-2B89-D80AE64CD3A3}"/>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2" name="Freeform: Shape 18771">
                  <a:extLst>
                    <a:ext uri="{FF2B5EF4-FFF2-40B4-BE49-F238E27FC236}">
                      <a16:creationId xmlns:a16="http://schemas.microsoft.com/office/drawing/2014/main" id="{37F0746A-5AB0-E0EA-0546-1100658F2A34}"/>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7" name="Graphic 790">
                <a:extLst>
                  <a:ext uri="{FF2B5EF4-FFF2-40B4-BE49-F238E27FC236}">
                    <a16:creationId xmlns:a16="http://schemas.microsoft.com/office/drawing/2014/main" id="{7D5C1769-CE50-D563-F5F9-1CC154FF2D02}"/>
                  </a:ext>
                </a:extLst>
              </p:cNvPr>
              <p:cNvGrpSpPr/>
              <p:nvPr/>
            </p:nvGrpSpPr>
            <p:grpSpPr>
              <a:xfrm>
                <a:off x="7747253" y="3873626"/>
                <a:ext cx="75723" cy="75628"/>
                <a:chOff x="7747253" y="3873626"/>
                <a:chExt cx="75723" cy="75628"/>
              </a:xfrm>
            </p:grpSpPr>
            <p:sp>
              <p:nvSpPr>
                <p:cNvPr id="18769" name="Freeform: Shape 18768">
                  <a:extLst>
                    <a:ext uri="{FF2B5EF4-FFF2-40B4-BE49-F238E27FC236}">
                      <a16:creationId xmlns:a16="http://schemas.microsoft.com/office/drawing/2014/main" id="{3B0BBEC9-926A-7478-7BE7-29026A0CA491}"/>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0" name="Freeform: Shape 18769">
                  <a:extLst>
                    <a:ext uri="{FF2B5EF4-FFF2-40B4-BE49-F238E27FC236}">
                      <a16:creationId xmlns:a16="http://schemas.microsoft.com/office/drawing/2014/main" id="{E2406FCC-B732-F27F-4B57-436F9CB59EA3}"/>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8" name="Graphic 790">
                <a:extLst>
                  <a:ext uri="{FF2B5EF4-FFF2-40B4-BE49-F238E27FC236}">
                    <a16:creationId xmlns:a16="http://schemas.microsoft.com/office/drawing/2014/main" id="{710FD2DE-2808-4932-956F-193680F9E720}"/>
                  </a:ext>
                </a:extLst>
              </p:cNvPr>
              <p:cNvGrpSpPr/>
              <p:nvPr/>
            </p:nvGrpSpPr>
            <p:grpSpPr>
              <a:xfrm>
                <a:off x="8155590" y="3932491"/>
                <a:ext cx="75723" cy="75628"/>
                <a:chOff x="8155590" y="3932491"/>
                <a:chExt cx="75723" cy="75628"/>
              </a:xfrm>
            </p:grpSpPr>
            <p:sp>
              <p:nvSpPr>
                <p:cNvPr id="18767" name="Freeform: Shape 18766">
                  <a:extLst>
                    <a:ext uri="{FF2B5EF4-FFF2-40B4-BE49-F238E27FC236}">
                      <a16:creationId xmlns:a16="http://schemas.microsoft.com/office/drawing/2014/main" id="{2121F462-894D-7A63-1E10-FAEACA1B2915}"/>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8" name="Freeform: Shape 18767">
                  <a:extLst>
                    <a:ext uri="{FF2B5EF4-FFF2-40B4-BE49-F238E27FC236}">
                      <a16:creationId xmlns:a16="http://schemas.microsoft.com/office/drawing/2014/main" id="{8598BD88-78BA-4B2E-8D4C-EE1A4948A22B}"/>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49" name="Graphic 790">
                <a:extLst>
                  <a:ext uri="{FF2B5EF4-FFF2-40B4-BE49-F238E27FC236}">
                    <a16:creationId xmlns:a16="http://schemas.microsoft.com/office/drawing/2014/main" id="{64C65E13-8F02-3F87-0E37-B23B541AC417}"/>
                  </a:ext>
                </a:extLst>
              </p:cNvPr>
              <p:cNvGrpSpPr/>
              <p:nvPr/>
            </p:nvGrpSpPr>
            <p:grpSpPr>
              <a:xfrm>
                <a:off x="8236743" y="3932491"/>
                <a:ext cx="75723" cy="75628"/>
                <a:chOff x="8236743" y="3932491"/>
                <a:chExt cx="75723" cy="75628"/>
              </a:xfrm>
            </p:grpSpPr>
            <p:sp>
              <p:nvSpPr>
                <p:cNvPr id="18765" name="Freeform: Shape 18764">
                  <a:extLst>
                    <a:ext uri="{FF2B5EF4-FFF2-40B4-BE49-F238E27FC236}">
                      <a16:creationId xmlns:a16="http://schemas.microsoft.com/office/drawing/2014/main" id="{22386E84-D499-3F3E-A596-508819CF00D4}"/>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6" name="Freeform: Shape 18765">
                  <a:extLst>
                    <a:ext uri="{FF2B5EF4-FFF2-40B4-BE49-F238E27FC236}">
                      <a16:creationId xmlns:a16="http://schemas.microsoft.com/office/drawing/2014/main" id="{B61C80B2-F5B2-C89E-CE2D-6E9ECFE80EEE}"/>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50" name="Graphic 790">
                <a:extLst>
                  <a:ext uri="{FF2B5EF4-FFF2-40B4-BE49-F238E27FC236}">
                    <a16:creationId xmlns:a16="http://schemas.microsoft.com/office/drawing/2014/main" id="{BBE8AC62-C6BE-BA6F-5A0A-FFE9ED023D1D}"/>
                  </a:ext>
                </a:extLst>
              </p:cNvPr>
              <p:cNvGrpSpPr/>
              <p:nvPr/>
            </p:nvGrpSpPr>
            <p:grpSpPr>
              <a:xfrm>
                <a:off x="8224837" y="3932491"/>
                <a:ext cx="75628" cy="75628"/>
                <a:chOff x="8224837" y="3932491"/>
                <a:chExt cx="75628" cy="75628"/>
              </a:xfrm>
            </p:grpSpPr>
            <p:sp>
              <p:nvSpPr>
                <p:cNvPr id="18763" name="Freeform: Shape 18762">
                  <a:extLst>
                    <a:ext uri="{FF2B5EF4-FFF2-40B4-BE49-F238E27FC236}">
                      <a16:creationId xmlns:a16="http://schemas.microsoft.com/office/drawing/2014/main" id="{2AF94998-4B1B-4602-FE84-AB45139A53B0}"/>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4" name="Freeform: Shape 18763">
                  <a:extLst>
                    <a:ext uri="{FF2B5EF4-FFF2-40B4-BE49-F238E27FC236}">
                      <a16:creationId xmlns:a16="http://schemas.microsoft.com/office/drawing/2014/main" id="{94A147C8-A529-E81D-E406-B6EC6994F814}"/>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51" name="Graphic 790">
                <a:extLst>
                  <a:ext uri="{FF2B5EF4-FFF2-40B4-BE49-F238E27FC236}">
                    <a16:creationId xmlns:a16="http://schemas.microsoft.com/office/drawing/2014/main" id="{8F942D51-1B25-8E5A-6643-327F46E15390}"/>
                  </a:ext>
                </a:extLst>
              </p:cNvPr>
              <p:cNvGrpSpPr/>
              <p:nvPr/>
            </p:nvGrpSpPr>
            <p:grpSpPr>
              <a:xfrm>
                <a:off x="8212835" y="3932491"/>
                <a:ext cx="75723" cy="75628"/>
                <a:chOff x="8212835" y="3932491"/>
                <a:chExt cx="75723" cy="75628"/>
              </a:xfrm>
            </p:grpSpPr>
            <p:sp>
              <p:nvSpPr>
                <p:cNvPr id="18761" name="Freeform: Shape 18760">
                  <a:extLst>
                    <a:ext uri="{FF2B5EF4-FFF2-40B4-BE49-F238E27FC236}">
                      <a16:creationId xmlns:a16="http://schemas.microsoft.com/office/drawing/2014/main" id="{E6A74050-4171-2E0E-CC7B-4478FF1C0FC5}"/>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2" name="Freeform: Shape 18761">
                  <a:extLst>
                    <a:ext uri="{FF2B5EF4-FFF2-40B4-BE49-F238E27FC236}">
                      <a16:creationId xmlns:a16="http://schemas.microsoft.com/office/drawing/2014/main" id="{66F79443-777C-325A-1371-47DD9F5E853F}"/>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52" name="Graphic 790">
                <a:extLst>
                  <a:ext uri="{FF2B5EF4-FFF2-40B4-BE49-F238E27FC236}">
                    <a16:creationId xmlns:a16="http://schemas.microsoft.com/office/drawing/2014/main" id="{EDFDAB5A-B10C-E7CF-1856-B8D64AF1F579}"/>
                  </a:ext>
                </a:extLst>
              </p:cNvPr>
              <p:cNvGrpSpPr/>
              <p:nvPr/>
            </p:nvGrpSpPr>
            <p:grpSpPr>
              <a:xfrm>
                <a:off x="8146541" y="3932491"/>
                <a:ext cx="75628" cy="75628"/>
                <a:chOff x="8146541" y="3932491"/>
                <a:chExt cx="75628" cy="75628"/>
              </a:xfrm>
            </p:grpSpPr>
            <p:sp>
              <p:nvSpPr>
                <p:cNvPr id="18759" name="Freeform: Shape 18758">
                  <a:extLst>
                    <a:ext uri="{FF2B5EF4-FFF2-40B4-BE49-F238E27FC236}">
                      <a16:creationId xmlns:a16="http://schemas.microsoft.com/office/drawing/2014/main" id="{F3560481-AB89-0161-C3A7-95848274CA32}"/>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0" name="Freeform: Shape 18759">
                  <a:extLst>
                    <a:ext uri="{FF2B5EF4-FFF2-40B4-BE49-F238E27FC236}">
                      <a16:creationId xmlns:a16="http://schemas.microsoft.com/office/drawing/2014/main" id="{F6D655DA-E204-CA74-D39C-E10D4342C997}"/>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53" name="Graphic 790">
                <a:extLst>
                  <a:ext uri="{FF2B5EF4-FFF2-40B4-BE49-F238E27FC236}">
                    <a16:creationId xmlns:a16="http://schemas.microsoft.com/office/drawing/2014/main" id="{3ADCD458-EF8D-5177-AA40-9C0F0E057B7E}"/>
                  </a:ext>
                </a:extLst>
              </p:cNvPr>
              <p:cNvGrpSpPr/>
              <p:nvPr/>
            </p:nvGrpSpPr>
            <p:grpSpPr>
              <a:xfrm>
                <a:off x="8166544" y="3932491"/>
                <a:ext cx="75723" cy="75628"/>
                <a:chOff x="8166544" y="3932491"/>
                <a:chExt cx="75723" cy="75628"/>
              </a:xfrm>
            </p:grpSpPr>
            <p:sp>
              <p:nvSpPr>
                <p:cNvPr id="18757" name="Freeform: Shape 18756">
                  <a:extLst>
                    <a:ext uri="{FF2B5EF4-FFF2-40B4-BE49-F238E27FC236}">
                      <a16:creationId xmlns:a16="http://schemas.microsoft.com/office/drawing/2014/main" id="{DA5F3AA7-4D41-4C6B-3205-501A4D1AC8E1}"/>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8" name="Freeform: Shape 18757">
                  <a:extLst>
                    <a:ext uri="{FF2B5EF4-FFF2-40B4-BE49-F238E27FC236}">
                      <a16:creationId xmlns:a16="http://schemas.microsoft.com/office/drawing/2014/main" id="{121B823C-53BA-0E34-6C31-D549F2CA1223}"/>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754" name="Graphic 790">
                <a:extLst>
                  <a:ext uri="{FF2B5EF4-FFF2-40B4-BE49-F238E27FC236}">
                    <a16:creationId xmlns:a16="http://schemas.microsoft.com/office/drawing/2014/main" id="{D0902386-E3B1-ACCC-677F-BCEE2A8C6FD5}"/>
                  </a:ext>
                </a:extLst>
              </p:cNvPr>
              <p:cNvGrpSpPr/>
              <p:nvPr/>
            </p:nvGrpSpPr>
            <p:grpSpPr>
              <a:xfrm>
                <a:off x="8200929" y="3932491"/>
                <a:ext cx="75628" cy="75628"/>
                <a:chOff x="8200929" y="3932491"/>
                <a:chExt cx="75628" cy="75628"/>
              </a:xfrm>
            </p:grpSpPr>
            <p:sp>
              <p:nvSpPr>
                <p:cNvPr id="18755" name="Freeform: Shape 18754">
                  <a:extLst>
                    <a:ext uri="{FF2B5EF4-FFF2-40B4-BE49-F238E27FC236}">
                      <a16:creationId xmlns:a16="http://schemas.microsoft.com/office/drawing/2014/main" id="{DBB486EF-2659-52A1-5953-10B230F9B1E7}"/>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6" name="Freeform: Shape 18755">
                  <a:extLst>
                    <a:ext uri="{FF2B5EF4-FFF2-40B4-BE49-F238E27FC236}">
                      <a16:creationId xmlns:a16="http://schemas.microsoft.com/office/drawing/2014/main" id="{35850F33-4546-D6C5-335A-86453FDD485D}"/>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641" name="Freeform: Shape 18640">
              <a:extLst>
                <a:ext uri="{FF2B5EF4-FFF2-40B4-BE49-F238E27FC236}">
                  <a16:creationId xmlns:a16="http://schemas.microsoft.com/office/drawing/2014/main" id="{34B8D918-106B-61FE-6F44-18C76C888F04}"/>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27" name="Group 16826">
            <a:extLst>
              <a:ext uri="{FF2B5EF4-FFF2-40B4-BE49-F238E27FC236}">
                <a16:creationId xmlns:a16="http://schemas.microsoft.com/office/drawing/2014/main" id="{DB790028-8FD3-03B5-980E-DC9A4A441666}"/>
              </a:ext>
            </a:extLst>
          </p:cNvPr>
          <p:cNvGrpSpPr/>
          <p:nvPr/>
        </p:nvGrpSpPr>
        <p:grpSpPr>
          <a:xfrm>
            <a:off x="644389" y="1431150"/>
            <a:ext cx="6925055" cy="2062527"/>
            <a:chOff x="3467100" y="2552700"/>
            <a:chExt cx="5257513" cy="1752409"/>
          </a:xfrm>
        </p:grpSpPr>
        <p:sp>
          <p:nvSpPr>
            <p:cNvPr id="16828" name="Freeform: Shape 16827">
              <a:extLst>
                <a:ext uri="{FF2B5EF4-FFF2-40B4-BE49-F238E27FC236}">
                  <a16:creationId xmlns:a16="http://schemas.microsoft.com/office/drawing/2014/main" id="{60F6B02D-23EC-47C4-0744-9CBDC8338CDC}"/>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6829" name="Graphic 112">
              <a:extLst>
                <a:ext uri="{FF2B5EF4-FFF2-40B4-BE49-F238E27FC236}">
                  <a16:creationId xmlns:a16="http://schemas.microsoft.com/office/drawing/2014/main" id="{410E3518-8BD5-A9CE-C84C-94864CA44CC7}"/>
                </a:ext>
              </a:extLst>
            </p:cNvPr>
            <p:cNvGrpSpPr/>
            <p:nvPr/>
          </p:nvGrpSpPr>
          <p:grpSpPr>
            <a:xfrm>
              <a:off x="3467100" y="2552700"/>
              <a:ext cx="75723" cy="75723"/>
              <a:chOff x="3467100" y="2552700"/>
              <a:chExt cx="75723" cy="75723"/>
            </a:xfrm>
          </p:grpSpPr>
          <p:sp>
            <p:nvSpPr>
              <p:cNvPr id="17151" name="Freeform: Shape 17150">
                <a:extLst>
                  <a:ext uri="{FF2B5EF4-FFF2-40B4-BE49-F238E27FC236}">
                    <a16:creationId xmlns:a16="http://schemas.microsoft.com/office/drawing/2014/main" id="{7EC4FC89-8276-CD30-452D-75B6A8FD6BE2}"/>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2" name="Freeform: Shape 17151">
                <a:extLst>
                  <a:ext uri="{FF2B5EF4-FFF2-40B4-BE49-F238E27FC236}">
                    <a16:creationId xmlns:a16="http://schemas.microsoft.com/office/drawing/2014/main" id="{ADA80485-6350-FC2F-4103-A88FC9F007D5}"/>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0" name="Graphic 112">
              <a:extLst>
                <a:ext uri="{FF2B5EF4-FFF2-40B4-BE49-F238E27FC236}">
                  <a16:creationId xmlns:a16="http://schemas.microsoft.com/office/drawing/2014/main" id="{866A1481-F364-83EA-C241-6F3C922AA10C}"/>
                </a:ext>
              </a:extLst>
            </p:cNvPr>
            <p:cNvGrpSpPr/>
            <p:nvPr/>
          </p:nvGrpSpPr>
          <p:grpSpPr>
            <a:xfrm>
              <a:off x="3935920" y="2766726"/>
              <a:ext cx="75723" cy="75628"/>
              <a:chOff x="3935920" y="2766726"/>
              <a:chExt cx="75723" cy="75628"/>
            </a:xfrm>
          </p:grpSpPr>
          <p:sp>
            <p:nvSpPr>
              <p:cNvPr id="17149" name="Freeform: Shape 17148">
                <a:extLst>
                  <a:ext uri="{FF2B5EF4-FFF2-40B4-BE49-F238E27FC236}">
                    <a16:creationId xmlns:a16="http://schemas.microsoft.com/office/drawing/2014/main" id="{4F0F5A90-85AB-8208-6C68-535A86248ADD}"/>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0" name="Freeform: Shape 17149">
                <a:extLst>
                  <a:ext uri="{FF2B5EF4-FFF2-40B4-BE49-F238E27FC236}">
                    <a16:creationId xmlns:a16="http://schemas.microsoft.com/office/drawing/2014/main" id="{A184017F-3BCB-CF62-7E41-F5D6C43942F1}"/>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1" name="Graphic 112">
              <a:extLst>
                <a:ext uri="{FF2B5EF4-FFF2-40B4-BE49-F238E27FC236}">
                  <a16:creationId xmlns:a16="http://schemas.microsoft.com/office/drawing/2014/main" id="{5622F1AB-A18C-A03D-CB08-F14190DC37B9}"/>
                </a:ext>
              </a:extLst>
            </p:cNvPr>
            <p:cNvGrpSpPr/>
            <p:nvPr/>
          </p:nvGrpSpPr>
          <p:grpSpPr>
            <a:xfrm>
              <a:off x="3901440" y="2766726"/>
              <a:ext cx="75723" cy="75628"/>
              <a:chOff x="3901440" y="2766726"/>
              <a:chExt cx="75723" cy="75628"/>
            </a:xfrm>
          </p:grpSpPr>
          <p:sp>
            <p:nvSpPr>
              <p:cNvPr id="17147" name="Freeform: Shape 17146">
                <a:extLst>
                  <a:ext uri="{FF2B5EF4-FFF2-40B4-BE49-F238E27FC236}">
                    <a16:creationId xmlns:a16="http://schemas.microsoft.com/office/drawing/2014/main" id="{5AE798C1-66C3-1083-846F-B57B1412CC94}"/>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8" name="Freeform: Shape 17147">
                <a:extLst>
                  <a:ext uri="{FF2B5EF4-FFF2-40B4-BE49-F238E27FC236}">
                    <a16:creationId xmlns:a16="http://schemas.microsoft.com/office/drawing/2014/main" id="{47581BB3-132C-8219-DE72-FEE703FA391A}"/>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2" name="Graphic 112">
              <a:extLst>
                <a:ext uri="{FF2B5EF4-FFF2-40B4-BE49-F238E27FC236}">
                  <a16:creationId xmlns:a16="http://schemas.microsoft.com/office/drawing/2014/main" id="{53C1C55D-D696-8C36-BED3-1C51A489CE9F}"/>
                </a:ext>
              </a:extLst>
            </p:cNvPr>
            <p:cNvGrpSpPr/>
            <p:nvPr/>
          </p:nvGrpSpPr>
          <p:grpSpPr>
            <a:xfrm>
              <a:off x="4510373" y="3098673"/>
              <a:ext cx="75628" cy="75723"/>
              <a:chOff x="4510373" y="3098673"/>
              <a:chExt cx="75628" cy="75723"/>
            </a:xfrm>
          </p:grpSpPr>
          <p:sp>
            <p:nvSpPr>
              <p:cNvPr id="17145" name="Freeform: Shape 17144">
                <a:extLst>
                  <a:ext uri="{FF2B5EF4-FFF2-40B4-BE49-F238E27FC236}">
                    <a16:creationId xmlns:a16="http://schemas.microsoft.com/office/drawing/2014/main" id="{4E28DD33-5A7A-45B2-20FF-B2FAF3E267F7}"/>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6" name="Freeform: Shape 17145">
                <a:extLst>
                  <a:ext uri="{FF2B5EF4-FFF2-40B4-BE49-F238E27FC236}">
                    <a16:creationId xmlns:a16="http://schemas.microsoft.com/office/drawing/2014/main" id="{539605BF-6005-0704-6453-FB44F7DC63BA}"/>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3" name="Graphic 112">
              <a:extLst>
                <a:ext uri="{FF2B5EF4-FFF2-40B4-BE49-F238E27FC236}">
                  <a16:creationId xmlns:a16="http://schemas.microsoft.com/office/drawing/2014/main" id="{D1F7B029-CE82-2CBF-886F-7CBD39AE3289}"/>
                </a:ext>
              </a:extLst>
            </p:cNvPr>
            <p:cNvGrpSpPr/>
            <p:nvPr/>
          </p:nvGrpSpPr>
          <p:grpSpPr>
            <a:xfrm>
              <a:off x="4693920" y="3164776"/>
              <a:ext cx="75723" cy="75628"/>
              <a:chOff x="4693920" y="3164776"/>
              <a:chExt cx="75723" cy="75628"/>
            </a:xfrm>
          </p:grpSpPr>
          <p:sp>
            <p:nvSpPr>
              <p:cNvPr id="17143" name="Freeform: Shape 17142">
                <a:extLst>
                  <a:ext uri="{FF2B5EF4-FFF2-40B4-BE49-F238E27FC236}">
                    <a16:creationId xmlns:a16="http://schemas.microsoft.com/office/drawing/2014/main" id="{EF490C57-91F6-BB9D-4AAC-BE7150754E69}"/>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4" name="Freeform: Shape 17143">
                <a:extLst>
                  <a:ext uri="{FF2B5EF4-FFF2-40B4-BE49-F238E27FC236}">
                    <a16:creationId xmlns:a16="http://schemas.microsoft.com/office/drawing/2014/main" id="{D50C977A-AA3F-B3F4-6607-1C4DF7A863CB}"/>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4" name="Graphic 112">
              <a:extLst>
                <a:ext uri="{FF2B5EF4-FFF2-40B4-BE49-F238E27FC236}">
                  <a16:creationId xmlns:a16="http://schemas.microsoft.com/office/drawing/2014/main" id="{49877FB2-520A-F8A9-F189-DE486D14C19A}"/>
                </a:ext>
              </a:extLst>
            </p:cNvPr>
            <p:cNvGrpSpPr/>
            <p:nvPr/>
          </p:nvGrpSpPr>
          <p:grpSpPr>
            <a:xfrm>
              <a:off x="4786407" y="3343465"/>
              <a:ext cx="75628" cy="75723"/>
              <a:chOff x="4786407" y="3343465"/>
              <a:chExt cx="75628" cy="75723"/>
            </a:xfrm>
          </p:grpSpPr>
          <p:sp>
            <p:nvSpPr>
              <p:cNvPr id="17141" name="Freeform: Shape 17140">
                <a:extLst>
                  <a:ext uri="{FF2B5EF4-FFF2-40B4-BE49-F238E27FC236}">
                    <a16:creationId xmlns:a16="http://schemas.microsoft.com/office/drawing/2014/main" id="{C22B7A15-8660-AA44-0AF5-6BC34302FF95}"/>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2" name="Freeform: Shape 17141">
                <a:extLst>
                  <a:ext uri="{FF2B5EF4-FFF2-40B4-BE49-F238E27FC236}">
                    <a16:creationId xmlns:a16="http://schemas.microsoft.com/office/drawing/2014/main" id="{74D634BA-2CA8-669E-CEFF-5DA5B2105801}"/>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5" name="Graphic 112">
              <a:extLst>
                <a:ext uri="{FF2B5EF4-FFF2-40B4-BE49-F238E27FC236}">
                  <a16:creationId xmlns:a16="http://schemas.microsoft.com/office/drawing/2014/main" id="{3E60A15D-963C-2C92-73D5-FB542A6C76E8}"/>
                </a:ext>
              </a:extLst>
            </p:cNvPr>
            <p:cNvGrpSpPr/>
            <p:nvPr/>
          </p:nvGrpSpPr>
          <p:grpSpPr>
            <a:xfrm>
              <a:off x="5238654" y="3598830"/>
              <a:ext cx="75628" cy="75723"/>
              <a:chOff x="5238654" y="3598830"/>
              <a:chExt cx="75628" cy="75723"/>
            </a:xfrm>
          </p:grpSpPr>
          <p:sp>
            <p:nvSpPr>
              <p:cNvPr id="17139" name="Freeform: Shape 17138">
                <a:extLst>
                  <a:ext uri="{FF2B5EF4-FFF2-40B4-BE49-F238E27FC236}">
                    <a16:creationId xmlns:a16="http://schemas.microsoft.com/office/drawing/2014/main" id="{4A2A24CE-8935-7049-9AB2-49A320CBF91B}"/>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0" name="Freeform: Shape 17139">
                <a:extLst>
                  <a:ext uri="{FF2B5EF4-FFF2-40B4-BE49-F238E27FC236}">
                    <a16:creationId xmlns:a16="http://schemas.microsoft.com/office/drawing/2014/main" id="{42A78781-5904-CD45-71D5-F9DE8F9BE615}"/>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6" name="Graphic 112">
              <a:extLst>
                <a:ext uri="{FF2B5EF4-FFF2-40B4-BE49-F238E27FC236}">
                  <a16:creationId xmlns:a16="http://schemas.microsoft.com/office/drawing/2014/main" id="{5A92ECEB-3590-D043-497B-3803A0D3531A}"/>
                </a:ext>
              </a:extLst>
            </p:cNvPr>
            <p:cNvGrpSpPr/>
            <p:nvPr/>
          </p:nvGrpSpPr>
          <p:grpSpPr>
            <a:xfrm>
              <a:off x="5690330" y="3775138"/>
              <a:ext cx="75723" cy="75723"/>
              <a:chOff x="5690330" y="3775138"/>
              <a:chExt cx="75723" cy="75723"/>
            </a:xfrm>
          </p:grpSpPr>
          <p:sp>
            <p:nvSpPr>
              <p:cNvPr id="17137" name="Freeform: Shape 17136">
                <a:extLst>
                  <a:ext uri="{FF2B5EF4-FFF2-40B4-BE49-F238E27FC236}">
                    <a16:creationId xmlns:a16="http://schemas.microsoft.com/office/drawing/2014/main" id="{49BBCD13-2129-878D-E85C-DD5E972E3DF7}"/>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8" name="Freeform: Shape 17137">
                <a:extLst>
                  <a:ext uri="{FF2B5EF4-FFF2-40B4-BE49-F238E27FC236}">
                    <a16:creationId xmlns:a16="http://schemas.microsoft.com/office/drawing/2014/main" id="{2F3E84EB-D5A6-70C4-C030-2D27549904C6}"/>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7" name="Graphic 112">
              <a:extLst>
                <a:ext uri="{FF2B5EF4-FFF2-40B4-BE49-F238E27FC236}">
                  <a16:creationId xmlns:a16="http://schemas.microsoft.com/office/drawing/2014/main" id="{0905E7F2-5787-B6D5-14A5-156B37C88D45}"/>
                </a:ext>
              </a:extLst>
            </p:cNvPr>
            <p:cNvGrpSpPr/>
            <p:nvPr/>
          </p:nvGrpSpPr>
          <p:grpSpPr>
            <a:xfrm>
              <a:off x="5902547" y="3795522"/>
              <a:ext cx="75628" cy="75723"/>
              <a:chOff x="5902547" y="3795522"/>
              <a:chExt cx="75628" cy="75723"/>
            </a:xfrm>
          </p:grpSpPr>
          <p:sp>
            <p:nvSpPr>
              <p:cNvPr id="17135" name="Freeform: Shape 17134">
                <a:extLst>
                  <a:ext uri="{FF2B5EF4-FFF2-40B4-BE49-F238E27FC236}">
                    <a16:creationId xmlns:a16="http://schemas.microsoft.com/office/drawing/2014/main" id="{98172E60-0175-C9BF-E1A0-136273C9CFA9}"/>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6" name="Freeform: Shape 17135">
                <a:extLst>
                  <a:ext uri="{FF2B5EF4-FFF2-40B4-BE49-F238E27FC236}">
                    <a16:creationId xmlns:a16="http://schemas.microsoft.com/office/drawing/2014/main" id="{A63AC53E-18B8-3C06-0A8C-DCA2F2C6A6D9}"/>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8" name="Graphic 112">
              <a:extLst>
                <a:ext uri="{FF2B5EF4-FFF2-40B4-BE49-F238E27FC236}">
                  <a16:creationId xmlns:a16="http://schemas.microsoft.com/office/drawing/2014/main" id="{ACB925E3-45B6-7194-57FC-96F8A7C40F5E}"/>
                </a:ext>
              </a:extLst>
            </p:cNvPr>
            <p:cNvGrpSpPr/>
            <p:nvPr/>
          </p:nvGrpSpPr>
          <p:grpSpPr>
            <a:xfrm>
              <a:off x="6217443" y="3898296"/>
              <a:ext cx="75723" cy="75628"/>
              <a:chOff x="6217443" y="3898296"/>
              <a:chExt cx="75723" cy="75628"/>
            </a:xfrm>
          </p:grpSpPr>
          <p:sp>
            <p:nvSpPr>
              <p:cNvPr id="17133" name="Freeform: Shape 17132">
                <a:extLst>
                  <a:ext uri="{FF2B5EF4-FFF2-40B4-BE49-F238E27FC236}">
                    <a16:creationId xmlns:a16="http://schemas.microsoft.com/office/drawing/2014/main" id="{832BEB25-6687-6820-A3D7-5838D102A3DA}"/>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4" name="Freeform: Shape 17133">
                <a:extLst>
                  <a:ext uri="{FF2B5EF4-FFF2-40B4-BE49-F238E27FC236}">
                    <a16:creationId xmlns:a16="http://schemas.microsoft.com/office/drawing/2014/main" id="{9DE2DB6A-CA98-AE7A-1158-A835EE952731}"/>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9" name="Graphic 112">
              <a:extLst>
                <a:ext uri="{FF2B5EF4-FFF2-40B4-BE49-F238E27FC236}">
                  <a16:creationId xmlns:a16="http://schemas.microsoft.com/office/drawing/2014/main" id="{B02FE34A-B4BA-9CEC-FDD5-7876C751EED9}"/>
                </a:ext>
              </a:extLst>
            </p:cNvPr>
            <p:cNvGrpSpPr/>
            <p:nvPr/>
          </p:nvGrpSpPr>
          <p:grpSpPr>
            <a:xfrm>
              <a:off x="6334791" y="3909822"/>
              <a:ext cx="75723" cy="75723"/>
              <a:chOff x="6334791" y="3909822"/>
              <a:chExt cx="75723" cy="75723"/>
            </a:xfrm>
          </p:grpSpPr>
          <p:sp>
            <p:nvSpPr>
              <p:cNvPr id="17131" name="Freeform: Shape 17130">
                <a:extLst>
                  <a:ext uri="{FF2B5EF4-FFF2-40B4-BE49-F238E27FC236}">
                    <a16:creationId xmlns:a16="http://schemas.microsoft.com/office/drawing/2014/main" id="{461D985D-3406-F692-1977-DD2BC5760C26}"/>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2" name="Freeform: Shape 17131">
                <a:extLst>
                  <a:ext uri="{FF2B5EF4-FFF2-40B4-BE49-F238E27FC236}">
                    <a16:creationId xmlns:a16="http://schemas.microsoft.com/office/drawing/2014/main" id="{B51929E9-1646-3C77-15AA-E9444DCB5C6A}"/>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0" name="Graphic 112">
              <a:extLst>
                <a:ext uri="{FF2B5EF4-FFF2-40B4-BE49-F238E27FC236}">
                  <a16:creationId xmlns:a16="http://schemas.microsoft.com/office/drawing/2014/main" id="{DC165FAC-3EF5-3516-01F3-5DD608D91B57}"/>
                </a:ext>
              </a:extLst>
            </p:cNvPr>
            <p:cNvGrpSpPr/>
            <p:nvPr/>
          </p:nvGrpSpPr>
          <p:grpSpPr>
            <a:xfrm>
              <a:off x="6379749" y="3909822"/>
              <a:ext cx="75723" cy="75723"/>
              <a:chOff x="6379749" y="3909822"/>
              <a:chExt cx="75723" cy="75723"/>
            </a:xfrm>
          </p:grpSpPr>
          <p:sp>
            <p:nvSpPr>
              <p:cNvPr id="17129" name="Freeform: Shape 17128">
                <a:extLst>
                  <a:ext uri="{FF2B5EF4-FFF2-40B4-BE49-F238E27FC236}">
                    <a16:creationId xmlns:a16="http://schemas.microsoft.com/office/drawing/2014/main" id="{077D2753-84E7-000C-EF06-C74D45954FEA}"/>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0" name="Freeform: Shape 17129">
                <a:extLst>
                  <a:ext uri="{FF2B5EF4-FFF2-40B4-BE49-F238E27FC236}">
                    <a16:creationId xmlns:a16="http://schemas.microsoft.com/office/drawing/2014/main" id="{551464D8-E3B4-6286-EB8B-AE80381E4981}"/>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1" name="Graphic 112">
              <a:extLst>
                <a:ext uri="{FF2B5EF4-FFF2-40B4-BE49-F238E27FC236}">
                  <a16:creationId xmlns:a16="http://schemas.microsoft.com/office/drawing/2014/main" id="{1E4FEA57-FDA9-5080-1800-6F9425FE05A9}"/>
                </a:ext>
              </a:extLst>
            </p:cNvPr>
            <p:cNvGrpSpPr/>
            <p:nvPr/>
          </p:nvGrpSpPr>
          <p:grpSpPr>
            <a:xfrm>
              <a:off x="6410515" y="3922585"/>
              <a:ext cx="75628" cy="75723"/>
              <a:chOff x="6410515" y="3922585"/>
              <a:chExt cx="75628" cy="75723"/>
            </a:xfrm>
          </p:grpSpPr>
          <p:sp>
            <p:nvSpPr>
              <p:cNvPr id="17127" name="Freeform: Shape 17126">
                <a:extLst>
                  <a:ext uri="{FF2B5EF4-FFF2-40B4-BE49-F238E27FC236}">
                    <a16:creationId xmlns:a16="http://schemas.microsoft.com/office/drawing/2014/main" id="{EBEB6150-F24B-BB52-A88C-9E3085FA8B56}"/>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8" name="Freeform: Shape 17127">
                <a:extLst>
                  <a:ext uri="{FF2B5EF4-FFF2-40B4-BE49-F238E27FC236}">
                    <a16:creationId xmlns:a16="http://schemas.microsoft.com/office/drawing/2014/main" id="{A1095B97-9AE2-0933-252F-E3E057C56126}"/>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2" name="Graphic 112">
              <a:extLst>
                <a:ext uri="{FF2B5EF4-FFF2-40B4-BE49-F238E27FC236}">
                  <a16:creationId xmlns:a16="http://schemas.microsoft.com/office/drawing/2014/main" id="{BE6D8AAC-9FB4-137E-CA85-83AF13711F3B}"/>
                </a:ext>
              </a:extLst>
            </p:cNvPr>
            <p:cNvGrpSpPr/>
            <p:nvPr/>
          </p:nvGrpSpPr>
          <p:grpSpPr>
            <a:xfrm>
              <a:off x="6430232" y="3933539"/>
              <a:ext cx="75723" cy="75628"/>
              <a:chOff x="6430232" y="3933539"/>
              <a:chExt cx="75723" cy="75628"/>
            </a:xfrm>
          </p:grpSpPr>
          <p:sp>
            <p:nvSpPr>
              <p:cNvPr id="17125" name="Freeform: Shape 17124">
                <a:extLst>
                  <a:ext uri="{FF2B5EF4-FFF2-40B4-BE49-F238E27FC236}">
                    <a16:creationId xmlns:a16="http://schemas.microsoft.com/office/drawing/2014/main" id="{FA73CDC8-1C36-AFE9-57A8-36BE2458AC82}"/>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6" name="Freeform: Shape 17125">
                <a:extLst>
                  <a:ext uri="{FF2B5EF4-FFF2-40B4-BE49-F238E27FC236}">
                    <a16:creationId xmlns:a16="http://schemas.microsoft.com/office/drawing/2014/main" id="{933E470F-1908-D309-D45A-EC1FD37895E2}"/>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3" name="Graphic 112">
              <a:extLst>
                <a:ext uri="{FF2B5EF4-FFF2-40B4-BE49-F238E27FC236}">
                  <a16:creationId xmlns:a16="http://schemas.microsoft.com/office/drawing/2014/main" id="{56BFF509-EC34-D219-9C8C-A9778BDD33B7}"/>
                </a:ext>
              </a:extLst>
            </p:cNvPr>
            <p:cNvGrpSpPr/>
            <p:nvPr/>
          </p:nvGrpSpPr>
          <p:grpSpPr>
            <a:xfrm>
              <a:off x="6450330" y="3947636"/>
              <a:ext cx="75628" cy="75723"/>
              <a:chOff x="6450330" y="3947636"/>
              <a:chExt cx="75628" cy="75723"/>
            </a:xfrm>
          </p:grpSpPr>
          <p:sp>
            <p:nvSpPr>
              <p:cNvPr id="17123" name="Freeform: Shape 17122">
                <a:extLst>
                  <a:ext uri="{FF2B5EF4-FFF2-40B4-BE49-F238E27FC236}">
                    <a16:creationId xmlns:a16="http://schemas.microsoft.com/office/drawing/2014/main" id="{39B55A36-7E4C-1C12-44EB-A16F980FA6CF}"/>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4" name="Freeform: Shape 17123">
                <a:extLst>
                  <a:ext uri="{FF2B5EF4-FFF2-40B4-BE49-F238E27FC236}">
                    <a16:creationId xmlns:a16="http://schemas.microsoft.com/office/drawing/2014/main" id="{FE5D8A9E-8D78-D256-9278-D2B792572216}"/>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4" name="Graphic 112">
              <a:extLst>
                <a:ext uri="{FF2B5EF4-FFF2-40B4-BE49-F238E27FC236}">
                  <a16:creationId xmlns:a16="http://schemas.microsoft.com/office/drawing/2014/main" id="{8FA2BCC2-EC09-AE0A-6BCB-5B6DA3B39FE5}"/>
                </a:ext>
              </a:extLst>
            </p:cNvPr>
            <p:cNvGrpSpPr/>
            <p:nvPr/>
          </p:nvGrpSpPr>
          <p:grpSpPr>
            <a:xfrm>
              <a:off x="6463665" y="3960399"/>
              <a:ext cx="75723" cy="75723"/>
              <a:chOff x="6463665" y="3960399"/>
              <a:chExt cx="75723" cy="75723"/>
            </a:xfrm>
          </p:grpSpPr>
          <p:sp>
            <p:nvSpPr>
              <p:cNvPr id="17121" name="Freeform: Shape 17120">
                <a:extLst>
                  <a:ext uri="{FF2B5EF4-FFF2-40B4-BE49-F238E27FC236}">
                    <a16:creationId xmlns:a16="http://schemas.microsoft.com/office/drawing/2014/main" id="{761FDD08-1ADA-4D1F-16F6-1B40000BC312}"/>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2" name="Freeform: Shape 17121">
                <a:extLst>
                  <a:ext uri="{FF2B5EF4-FFF2-40B4-BE49-F238E27FC236}">
                    <a16:creationId xmlns:a16="http://schemas.microsoft.com/office/drawing/2014/main" id="{96985CBF-7DA0-C882-1C0D-A6BDB68A2AD1}"/>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5" name="Graphic 112">
              <a:extLst>
                <a:ext uri="{FF2B5EF4-FFF2-40B4-BE49-F238E27FC236}">
                  <a16:creationId xmlns:a16="http://schemas.microsoft.com/office/drawing/2014/main" id="{72D67446-9CD9-A4E1-73EF-B4657F4994AB}"/>
                </a:ext>
              </a:extLst>
            </p:cNvPr>
            <p:cNvGrpSpPr/>
            <p:nvPr/>
          </p:nvGrpSpPr>
          <p:grpSpPr>
            <a:xfrm>
              <a:off x="6520815" y="4015263"/>
              <a:ext cx="75723" cy="75723"/>
              <a:chOff x="6520815" y="4015263"/>
              <a:chExt cx="75723" cy="75723"/>
            </a:xfrm>
          </p:grpSpPr>
          <p:sp>
            <p:nvSpPr>
              <p:cNvPr id="17119" name="Freeform: Shape 17118">
                <a:extLst>
                  <a:ext uri="{FF2B5EF4-FFF2-40B4-BE49-F238E27FC236}">
                    <a16:creationId xmlns:a16="http://schemas.microsoft.com/office/drawing/2014/main" id="{4393F2AC-35BA-089A-2D5D-C1227FB51470}"/>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0" name="Freeform: Shape 17119">
                <a:extLst>
                  <a:ext uri="{FF2B5EF4-FFF2-40B4-BE49-F238E27FC236}">
                    <a16:creationId xmlns:a16="http://schemas.microsoft.com/office/drawing/2014/main" id="{A73B4F34-78F5-0367-6AAA-0999880D3A3C}"/>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6" name="Graphic 112">
              <a:extLst>
                <a:ext uri="{FF2B5EF4-FFF2-40B4-BE49-F238E27FC236}">
                  <a16:creationId xmlns:a16="http://schemas.microsoft.com/office/drawing/2014/main" id="{C1541695-0189-AA7B-65C5-18733294CB47}"/>
                </a:ext>
              </a:extLst>
            </p:cNvPr>
            <p:cNvGrpSpPr/>
            <p:nvPr/>
          </p:nvGrpSpPr>
          <p:grpSpPr>
            <a:xfrm>
              <a:off x="6771322" y="4036123"/>
              <a:ext cx="75723" cy="75723"/>
              <a:chOff x="6771322" y="4036123"/>
              <a:chExt cx="75723" cy="75723"/>
            </a:xfrm>
          </p:grpSpPr>
          <p:sp>
            <p:nvSpPr>
              <p:cNvPr id="17117" name="Freeform: Shape 17116">
                <a:extLst>
                  <a:ext uri="{FF2B5EF4-FFF2-40B4-BE49-F238E27FC236}">
                    <a16:creationId xmlns:a16="http://schemas.microsoft.com/office/drawing/2014/main" id="{348C2954-14D7-CC5B-F5A3-43DBF0B4632E}"/>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8" name="Freeform: Shape 17117">
                <a:extLst>
                  <a:ext uri="{FF2B5EF4-FFF2-40B4-BE49-F238E27FC236}">
                    <a16:creationId xmlns:a16="http://schemas.microsoft.com/office/drawing/2014/main" id="{7708EB76-D304-E849-451B-FCE72CD22DDA}"/>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7" name="Graphic 112">
              <a:extLst>
                <a:ext uri="{FF2B5EF4-FFF2-40B4-BE49-F238E27FC236}">
                  <a16:creationId xmlns:a16="http://schemas.microsoft.com/office/drawing/2014/main" id="{F51BD8FA-DC54-AE9A-A34D-0688DFCCFCD1}"/>
                </a:ext>
              </a:extLst>
            </p:cNvPr>
            <p:cNvGrpSpPr/>
            <p:nvPr/>
          </p:nvGrpSpPr>
          <p:grpSpPr>
            <a:xfrm>
              <a:off x="6871620" y="4036123"/>
              <a:ext cx="75723" cy="75723"/>
              <a:chOff x="6871620" y="4036123"/>
              <a:chExt cx="75723" cy="75723"/>
            </a:xfrm>
          </p:grpSpPr>
          <p:sp>
            <p:nvSpPr>
              <p:cNvPr id="17115" name="Freeform: Shape 17114">
                <a:extLst>
                  <a:ext uri="{FF2B5EF4-FFF2-40B4-BE49-F238E27FC236}">
                    <a16:creationId xmlns:a16="http://schemas.microsoft.com/office/drawing/2014/main" id="{46B828B6-D292-46C6-A7E1-3787DC6B8959}"/>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6" name="Freeform: Shape 17115">
                <a:extLst>
                  <a:ext uri="{FF2B5EF4-FFF2-40B4-BE49-F238E27FC236}">
                    <a16:creationId xmlns:a16="http://schemas.microsoft.com/office/drawing/2014/main" id="{1EF38951-17B8-42C2-B44C-FCA91D437DC0}"/>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8" name="Graphic 112">
              <a:extLst>
                <a:ext uri="{FF2B5EF4-FFF2-40B4-BE49-F238E27FC236}">
                  <a16:creationId xmlns:a16="http://schemas.microsoft.com/office/drawing/2014/main" id="{8F2B2BC3-CA98-D823-0EE3-B76525B35EB7}"/>
                </a:ext>
              </a:extLst>
            </p:cNvPr>
            <p:cNvGrpSpPr/>
            <p:nvPr/>
          </p:nvGrpSpPr>
          <p:grpSpPr>
            <a:xfrm>
              <a:off x="6885051" y="4036123"/>
              <a:ext cx="75628" cy="75723"/>
              <a:chOff x="6885051" y="4036123"/>
              <a:chExt cx="75628" cy="75723"/>
            </a:xfrm>
          </p:grpSpPr>
          <p:sp>
            <p:nvSpPr>
              <p:cNvPr id="17113" name="Freeform: Shape 17112">
                <a:extLst>
                  <a:ext uri="{FF2B5EF4-FFF2-40B4-BE49-F238E27FC236}">
                    <a16:creationId xmlns:a16="http://schemas.microsoft.com/office/drawing/2014/main" id="{E3436FE5-81F1-6C45-B916-2FAE057ABEBB}"/>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4" name="Freeform: Shape 17113">
                <a:extLst>
                  <a:ext uri="{FF2B5EF4-FFF2-40B4-BE49-F238E27FC236}">
                    <a16:creationId xmlns:a16="http://schemas.microsoft.com/office/drawing/2014/main" id="{7111D9BA-B5D7-E9A0-2119-D8F675A06D00}"/>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9" name="Graphic 112">
              <a:extLst>
                <a:ext uri="{FF2B5EF4-FFF2-40B4-BE49-F238E27FC236}">
                  <a16:creationId xmlns:a16="http://schemas.microsoft.com/office/drawing/2014/main" id="{603E3288-6CEC-9E22-CE64-1FD64931AAAF}"/>
                </a:ext>
              </a:extLst>
            </p:cNvPr>
            <p:cNvGrpSpPr/>
            <p:nvPr/>
          </p:nvGrpSpPr>
          <p:grpSpPr>
            <a:xfrm>
              <a:off x="7015353" y="4135183"/>
              <a:ext cx="75628" cy="75723"/>
              <a:chOff x="7015353" y="4135183"/>
              <a:chExt cx="75628" cy="75723"/>
            </a:xfrm>
          </p:grpSpPr>
          <p:sp>
            <p:nvSpPr>
              <p:cNvPr id="17111" name="Freeform: Shape 17110">
                <a:extLst>
                  <a:ext uri="{FF2B5EF4-FFF2-40B4-BE49-F238E27FC236}">
                    <a16:creationId xmlns:a16="http://schemas.microsoft.com/office/drawing/2014/main" id="{76B2D741-58B5-265B-B28F-134257D87CC4}"/>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2" name="Freeform: Shape 17111">
                <a:extLst>
                  <a:ext uri="{FF2B5EF4-FFF2-40B4-BE49-F238E27FC236}">
                    <a16:creationId xmlns:a16="http://schemas.microsoft.com/office/drawing/2014/main" id="{AA8D8BF4-47C6-AD63-B5F2-C81A7A0939BB}"/>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0" name="Graphic 112">
              <a:extLst>
                <a:ext uri="{FF2B5EF4-FFF2-40B4-BE49-F238E27FC236}">
                  <a16:creationId xmlns:a16="http://schemas.microsoft.com/office/drawing/2014/main" id="{B3D7D0B3-0EEF-218C-DF97-7588421D73DE}"/>
                </a:ext>
              </a:extLst>
            </p:cNvPr>
            <p:cNvGrpSpPr/>
            <p:nvPr/>
          </p:nvGrpSpPr>
          <p:grpSpPr>
            <a:xfrm>
              <a:off x="7368349" y="4229481"/>
              <a:ext cx="75723" cy="75628"/>
              <a:chOff x="7368349" y="4229481"/>
              <a:chExt cx="75723" cy="75628"/>
            </a:xfrm>
          </p:grpSpPr>
          <p:sp>
            <p:nvSpPr>
              <p:cNvPr id="17109" name="Freeform: Shape 17108">
                <a:extLst>
                  <a:ext uri="{FF2B5EF4-FFF2-40B4-BE49-F238E27FC236}">
                    <a16:creationId xmlns:a16="http://schemas.microsoft.com/office/drawing/2014/main" id="{F1EF7EAE-5012-E257-D733-216A97C51976}"/>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0" name="Freeform: Shape 17109">
                <a:extLst>
                  <a:ext uri="{FF2B5EF4-FFF2-40B4-BE49-F238E27FC236}">
                    <a16:creationId xmlns:a16="http://schemas.microsoft.com/office/drawing/2014/main" id="{48FBFD87-E9F0-0A01-48C0-B986BF322E14}"/>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1" name="Graphic 112">
              <a:extLst>
                <a:ext uri="{FF2B5EF4-FFF2-40B4-BE49-F238E27FC236}">
                  <a16:creationId xmlns:a16="http://schemas.microsoft.com/office/drawing/2014/main" id="{47C5C077-27F7-D3DC-C386-4C51E1772EF5}"/>
                </a:ext>
              </a:extLst>
            </p:cNvPr>
            <p:cNvGrpSpPr/>
            <p:nvPr/>
          </p:nvGrpSpPr>
          <p:grpSpPr>
            <a:xfrm>
              <a:off x="7638288" y="4229481"/>
              <a:ext cx="75723" cy="75628"/>
              <a:chOff x="7638288" y="4229481"/>
              <a:chExt cx="75723" cy="75628"/>
            </a:xfrm>
          </p:grpSpPr>
          <p:sp>
            <p:nvSpPr>
              <p:cNvPr id="17107" name="Freeform: Shape 17106">
                <a:extLst>
                  <a:ext uri="{FF2B5EF4-FFF2-40B4-BE49-F238E27FC236}">
                    <a16:creationId xmlns:a16="http://schemas.microsoft.com/office/drawing/2014/main" id="{AC4652C7-E678-F178-3A55-568F6DE5934F}"/>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8" name="Freeform: Shape 17107">
                <a:extLst>
                  <a:ext uri="{FF2B5EF4-FFF2-40B4-BE49-F238E27FC236}">
                    <a16:creationId xmlns:a16="http://schemas.microsoft.com/office/drawing/2014/main" id="{C269C267-0C9C-0AC7-3FDD-CA78145539D7}"/>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2" name="Graphic 112">
              <a:extLst>
                <a:ext uri="{FF2B5EF4-FFF2-40B4-BE49-F238E27FC236}">
                  <a16:creationId xmlns:a16="http://schemas.microsoft.com/office/drawing/2014/main" id="{6156FA44-1BFA-BE9E-7F98-DEBFAB7BFC32}"/>
                </a:ext>
              </a:extLst>
            </p:cNvPr>
            <p:cNvGrpSpPr/>
            <p:nvPr/>
          </p:nvGrpSpPr>
          <p:grpSpPr>
            <a:xfrm>
              <a:off x="7722203" y="4229481"/>
              <a:ext cx="75723" cy="75628"/>
              <a:chOff x="7722203" y="4229481"/>
              <a:chExt cx="75723" cy="75628"/>
            </a:xfrm>
          </p:grpSpPr>
          <p:sp>
            <p:nvSpPr>
              <p:cNvPr id="17105" name="Freeform: Shape 17104">
                <a:extLst>
                  <a:ext uri="{FF2B5EF4-FFF2-40B4-BE49-F238E27FC236}">
                    <a16:creationId xmlns:a16="http://schemas.microsoft.com/office/drawing/2014/main" id="{3A0FEADA-646F-26C5-4F1D-F8487A933DD3}"/>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6" name="Freeform: Shape 17105">
                <a:extLst>
                  <a:ext uri="{FF2B5EF4-FFF2-40B4-BE49-F238E27FC236}">
                    <a16:creationId xmlns:a16="http://schemas.microsoft.com/office/drawing/2014/main" id="{E07D8B98-6DD7-1E44-A54D-035814432394}"/>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3" name="Graphic 112">
              <a:extLst>
                <a:ext uri="{FF2B5EF4-FFF2-40B4-BE49-F238E27FC236}">
                  <a16:creationId xmlns:a16="http://schemas.microsoft.com/office/drawing/2014/main" id="{4A97F085-1CD7-049D-D8C0-8702F73F3EED}"/>
                </a:ext>
              </a:extLst>
            </p:cNvPr>
            <p:cNvGrpSpPr/>
            <p:nvPr/>
          </p:nvGrpSpPr>
          <p:grpSpPr>
            <a:xfrm>
              <a:off x="7755064" y="4229481"/>
              <a:ext cx="75628" cy="75628"/>
              <a:chOff x="7755064" y="4229481"/>
              <a:chExt cx="75628" cy="75628"/>
            </a:xfrm>
          </p:grpSpPr>
          <p:sp>
            <p:nvSpPr>
              <p:cNvPr id="17103" name="Freeform: Shape 17102">
                <a:extLst>
                  <a:ext uri="{FF2B5EF4-FFF2-40B4-BE49-F238E27FC236}">
                    <a16:creationId xmlns:a16="http://schemas.microsoft.com/office/drawing/2014/main" id="{76178D32-12F2-DB61-B4C6-BD429ECDA194}"/>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4" name="Freeform: Shape 17103">
                <a:extLst>
                  <a:ext uri="{FF2B5EF4-FFF2-40B4-BE49-F238E27FC236}">
                    <a16:creationId xmlns:a16="http://schemas.microsoft.com/office/drawing/2014/main" id="{DFB482F4-3A22-39BC-3BA0-292D010EDCF4}"/>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4" name="Graphic 112">
              <a:extLst>
                <a:ext uri="{FF2B5EF4-FFF2-40B4-BE49-F238E27FC236}">
                  <a16:creationId xmlns:a16="http://schemas.microsoft.com/office/drawing/2014/main" id="{AC742A77-FA5A-7121-6C9A-E90C8D395DFE}"/>
                </a:ext>
              </a:extLst>
            </p:cNvPr>
            <p:cNvGrpSpPr/>
            <p:nvPr/>
          </p:nvGrpSpPr>
          <p:grpSpPr>
            <a:xfrm>
              <a:off x="7760017" y="4229481"/>
              <a:ext cx="75723" cy="75628"/>
              <a:chOff x="7760017" y="4229481"/>
              <a:chExt cx="75723" cy="75628"/>
            </a:xfrm>
          </p:grpSpPr>
          <p:sp>
            <p:nvSpPr>
              <p:cNvPr id="17101" name="Freeform: Shape 17100">
                <a:extLst>
                  <a:ext uri="{FF2B5EF4-FFF2-40B4-BE49-F238E27FC236}">
                    <a16:creationId xmlns:a16="http://schemas.microsoft.com/office/drawing/2014/main" id="{DE8FA572-E954-03EA-388F-3EF63AF39671}"/>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2" name="Freeform: Shape 17101">
                <a:extLst>
                  <a:ext uri="{FF2B5EF4-FFF2-40B4-BE49-F238E27FC236}">
                    <a16:creationId xmlns:a16="http://schemas.microsoft.com/office/drawing/2014/main" id="{00CDB98B-14A3-7570-198F-8A6A2E1B1CFB}"/>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5" name="Graphic 112">
              <a:extLst>
                <a:ext uri="{FF2B5EF4-FFF2-40B4-BE49-F238E27FC236}">
                  <a16:creationId xmlns:a16="http://schemas.microsoft.com/office/drawing/2014/main" id="{5382213A-7C57-946F-2C15-698377360F6A}"/>
                </a:ext>
              </a:extLst>
            </p:cNvPr>
            <p:cNvGrpSpPr/>
            <p:nvPr/>
          </p:nvGrpSpPr>
          <p:grpSpPr>
            <a:xfrm>
              <a:off x="7800594" y="4229481"/>
              <a:ext cx="75723" cy="75628"/>
              <a:chOff x="7800594" y="4229481"/>
              <a:chExt cx="75723" cy="75628"/>
            </a:xfrm>
          </p:grpSpPr>
          <p:sp>
            <p:nvSpPr>
              <p:cNvPr id="17099" name="Freeform: Shape 17098">
                <a:extLst>
                  <a:ext uri="{FF2B5EF4-FFF2-40B4-BE49-F238E27FC236}">
                    <a16:creationId xmlns:a16="http://schemas.microsoft.com/office/drawing/2014/main" id="{D8810D43-9C15-7ADF-6D7D-66AFEA2742A8}"/>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0" name="Freeform: Shape 17099">
                <a:extLst>
                  <a:ext uri="{FF2B5EF4-FFF2-40B4-BE49-F238E27FC236}">
                    <a16:creationId xmlns:a16="http://schemas.microsoft.com/office/drawing/2014/main" id="{441465A7-27CD-00D6-472E-2749CFD5BB36}"/>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6" name="Graphic 112">
              <a:extLst>
                <a:ext uri="{FF2B5EF4-FFF2-40B4-BE49-F238E27FC236}">
                  <a16:creationId xmlns:a16="http://schemas.microsoft.com/office/drawing/2014/main" id="{0B99F87C-704B-FB22-3A86-2DB0CBB913E7}"/>
                </a:ext>
              </a:extLst>
            </p:cNvPr>
            <p:cNvGrpSpPr/>
            <p:nvPr/>
          </p:nvGrpSpPr>
          <p:grpSpPr>
            <a:xfrm>
              <a:off x="7805451" y="4229481"/>
              <a:ext cx="75723" cy="75628"/>
              <a:chOff x="7805451" y="4229481"/>
              <a:chExt cx="75723" cy="75628"/>
            </a:xfrm>
          </p:grpSpPr>
          <p:sp>
            <p:nvSpPr>
              <p:cNvPr id="17097" name="Freeform: Shape 17096">
                <a:extLst>
                  <a:ext uri="{FF2B5EF4-FFF2-40B4-BE49-F238E27FC236}">
                    <a16:creationId xmlns:a16="http://schemas.microsoft.com/office/drawing/2014/main" id="{7CD67F53-90EF-6DAE-137D-7D1A6CDD4AF5}"/>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8" name="Freeform: Shape 17097">
                <a:extLst>
                  <a:ext uri="{FF2B5EF4-FFF2-40B4-BE49-F238E27FC236}">
                    <a16:creationId xmlns:a16="http://schemas.microsoft.com/office/drawing/2014/main" id="{FFB74FEA-5388-712C-0D36-0B82C10D5898}"/>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7" name="Graphic 112">
              <a:extLst>
                <a:ext uri="{FF2B5EF4-FFF2-40B4-BE49-F238E27FC236}">
                  <a16:creationId xmlns:a16="http://schemas.microsoft.com/office/drawing/2014/main" id="{C3E5AB12-F10B-0DE3-A3F8-8645FE2FFDA1}"/>
                </a:ext>
              </a:extLst>
            </p:cNvPr>
            <p:cNvGrpSpPr/>
            <p:nvPr/>
          </p:nvGrpSpPr>
          <p:grpSpPr>
            <a:xfrm>
              <a:off x="8124729" y="4229481"/>
              <a:ext cx="75628" cy="75628"/>
              <a:chOff x="8124729" y="4229481"/>
              <a:chExt cx="75628" cy="75628"/>
            </a:xfrm>
          </p:grpSpPr>
          <p:sp>
            <p:nvSpPr>
              <p:cNvPr id="17095" name="Freeform: Shape 17094">
                <a:extLst>
                  <a:ext uri="{FF2B5EF4-FFF2-40B4-BE49-F238E27FC236}">
                    <a16:creationId xmlns:a16="http://schemas.microsoft.com/office/drawing/2014/main" id="{832EA312-AA27-6BD8-185B-3CD052122009}"/>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6" name="Freeform: Shape 17095">
                <a:extLst>
                  <a:ext uri="{FF2B5EF4-FFF2-40B4-BE49-F238E27FC236}">
                    <a16:creationId xmlns:a16="http://schemas.microsoft.com/office/drawing/2014/main" id="{E205C27D-3A4D-4ACB-6300-0EE7691C3374}"/>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8" name="Graphic 112">
              <a:extLst>
                <a:ext uri="{FF2B5EF4-FFF2-40B4-BE49-F238E27FC236}">
                  <a16:creationId xmlns:a16="http://schemas.microsoft.com/office/drawing/2014/main" id="{3007AC41-64D6-0323-3F4A-5759AC111D05}"/>
                </a:ext>
              </a:extLst>
            </p:cNvPr>
            <p:cNvGrpSpPr/>
            <p:nvPr/>
          </p:nvGrpSpPr>
          <p:grpSpPr>
            <a:xfrm>
              <a:off x="8143875" y="4229481"/>
              <a:ext cx="75628" cy="75628"/>
              <a:chOff x="8143875" y="4229481"/>
              <a:chExt cx="75628" cy="75628"/>
            </a:xfrm>
          </p:grpSpPr>
          <p:sp>
            <p:nvSpPr>
              <p:cNvPr id="17093" name="Freeform: Shape 17092">
                <a:extLst>
                  <a:ext uri="{FF2B5EF4-FFF2-40B4-BE49-F238E27FC236}">
                    <a16:creationId xmlns:a16="http://schemas.microsoft.com/office/drawing/2014/main" id="{E22A4DF2-5AD8-7749-8375-ADA37B5E0B62}"/>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4" name="Freeform: Shape 17093">
                <a:extLst>
                  <a:ext uri="{FF2B5EF4-FFF2-40B4-BE49-F238E27FC236}">
                    <a16:creationId xmlns:a16="http://schemas.microsoft.com/office/drawing/2014/main" id="{3DF67F12-C97D-61C8-9B55-8B1059266CA4}"/>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9" name="Graphic 112">
              <a:extLst>
                <a:ext uri="{FF2B5EF4-FFF2-40B4-BE49-F238E27FC236}">
                  <a16:creationId xmlns:a16="http://schemas.microsoft.com/office/drawing/2014/main" id="{3DD9AAFA-2820-2CB3-DFA9-67E206C1F91E}"/>
                </a:ext>
              </a:extLst>
            </p:cNvPr>
            <p:cNvGrpSpPr/>
            <p:nvPr/>
          </p:nvGrpSpPr>
          <p:grpSpPr>
            <a:xfrm>
              <a:off x="8163020" y="4229481"/>
              <a:ext cx="75628" cy="75628"/>
              <a:chOff x="8163020" y="4229481"/>
              <a:chExt cx="75628" cy="75628"/>
            </a:xfrm>
          </p:grpSpPr>
          <p:sp>
            <p:nvSpPr>
              <p:cNvPr id="17091" name="Freeform: Shape 17090">
                <a:extLst>
                  <a:ext uri="{FF2B5EF4-FFF2-40B4-BE49-F238E27FC236}">
                    <a16:creationId xmlns:a16="http://schemas.microsoft.com/office/drawing/2014/main" id="{FD070FDA-1EE1-73B5-618F-60DAAFCF5853}"/>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2" name="Freeform: Shape 17091">
                <a:extLst>
                  <a:ext uri="{FF2B5EF4-FFF2-40B4-BE49-F238E27FC236}">
                    <a16:creationId xmlns:a16="http://schemas.microsoft.com/office/drawing/2014/main" id="{B1F645F2-7098-6E09-A0F9-349389422290}"/>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0" name="Graphic 112">
              <a:extLst>
                <a:ext uri="{FF2B5EF4-FFF2-40B4-BE49-F238E27FC236}">
                  <a16:creationId xmlns:a16="http://schemas.microsoft.com/office/drawing/2014/main" id="{11BE2D6A-94D1-DD3E-A321-8F6436A14E3A}"/>
                </a:ext>
              </a:extLst>
            </p:cNvPr>
            <p:cNvGrpSpPr/>
            <p:nvPr/>
          </p:nvGrpSpPr>
          <p:grpSpPr>
            <a:xfrm>
              <a:off x="8182165" y="4229481"/>
              <a:ext cx="75628" cy="75628"/>
              <a:chOff x="8182165" y="4229481"/>
              <a:chExt cx="75628" cy="75628"/>
            </a:xfrm>
          </p:grpSpPr>
          <p:sp>
            <p:nvSpPr>
              <p:cNvPr id="17089" name="Freeform: Shape 17088">
                <a:extLst>
                  <a:ext uri="{FF2B5EF4-FFF2-40B4-BE49-F238E27FC236}">
                    <a16:creationId xmlns:a16="http://schemas.microsoft.com/office/drawing/2014/main" id="{F9CD7CDE-98DF-F268-EA7F-A4640A6A7FC3}"/>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0" name="Freeform: Shape 17089">
                <a:extLst>
                  <a:ext uri="{FF2B5EF4-FFF2-40B4-BE49-F238E27FC236}">
                    <a16:creationId xmlns:a16="http://schemas.microsoft.com/office/drawing/2014/main" id="{52008140-90E5-71B3-FDB3-59DD0B6FB955}"/>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1" name="Graphic 112">
              <a:extLst>
                <a:ext uri="{FF2B5EF4-FFF2-40B4-BE49-F238E27FC236}">
                  <a16:creationId xmlns:a16="http://schemas.microsoft.com/office/drawing/2014/main" id="{E49C88D8-474C-E3E2-93BF-E9C1E9AC5B9C}"/>
                </a:ext>
              </a:extLst>
            </p:cNvPr>
            <p:cNvGrpSpPr/>
            <p:nvPr/>
          </p:nvGrpSpPr>
          <p:grpSpPr>
            <a:xfrm>
              <a:off x="8201310" y="4229481"/>
              <a:ext cx="75628" cy="75628"/>
              <a:chOff x="8201310" y="4229481"/>
              <a:chExt cx="75628" cy="75628"/>
            </a:xfrm>
          </p:grpSpPr>
          <p:sp>
            <p:nvSpPr>
              <p:cNvPr id="17087" name="Freeform: Shape 17086">
                <a:extLst>
                  <a:ext uri="{FF2B5EF4-FFF2-40B4-BE49-F238E27FC236}">
                    <a16:creationId xmlns:a16="http://schemas.microsoft.com/office/drawing/2014/main" id="{CF1B6D6C-2C2A-AC63-17DD-50C9F566D5CC}"/>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8" name="Freeform: Shape 17087">
                <a:extLst>
                  <a:ext uri="{FF2B5EF4-FFF2-40B4-BE49-F238E27FC236}">
                    <a16:creationId xmlns:a16="http://schemas.microsoft.com/office/drawing/2014/main" id="{9BEFA220-24D2-3947-50BF-B88778396039}"/>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2" name="Graphic 112">
              <a:extLst>
                <a:ext uri="{FF2B5EF4-FFF2-40B4-BE49-F238E27FC236}">
                  <a16:creationId xmlns:a16="http://schemas.microsoft.com/office/drawing/2014/main" id="{657EE506-6AAA-36CA-E4DE-5AD437AF6857}"/>
                </a:ext>
              </a:extLst>
            </p:cNvPr>
            <p:cNvGrpSpPr/>
            <p:nvPr/>
          </p:nvGrpSpPr>
          <p:grpSpPr>
            <a:xfrm>
              <a:off x="8239601" y="4229481"/>
              <a:ext cx="75723" cy="75628"/>
              <a:chOff x="8239601" y="4229481"/>
              <a:chExt cx="75723" cy="75628"/>
            </a:xfrm>
          </p:grpSpPr>
          <p:sp>
            <p:nvSpPr>
              <p:cNvPr id="17085" name="Freeform: Shape 17084">
                <a:extLst>
                  <a:ext uri="{FF2B5EF4-FFF2-40B4-BE49-F238E27FC236}">
                    <a16:creationId xmlns:a16="http://schemas.microsoft.com/office/drawing/2014/main" id="{36CC215F-888D-1C0C-D012-E110AF60B979}"/>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6" name="Freeform: Shape 17085">
                <a:extLst>
                  <a:ext uri="{FF2B5EF4-FFF2-40B4-BE49-F238E27FC236}">
                    <a16:creationId xmlns:a16="http://schemas.microsoft.com/office/drawing/2014/main" id="{B00A7F20-14F4-46DC-D78C-8342D2912FB0}"/>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3" name="Graphic 112">
              <a:extLst>
                <a:ext uri="{FF2B5EF4-FFF2-40B4-BE49-F238E27FC236}">
                  <a16:creationId xmlns:a16="http://schemas.microsoft.com/office/drawing/2014/main" id="{1640B276-73D0-3784-EBAE-65B0E25DBD22}"/>
                </a:ext>
              </a:extLst>
            </p:cNvPr>
            <p:cNvGrpSpPr/>
            <p:nvPr/>
          </p:nvGrpSpPr>
          <p:grpSpPr>
            <a:xfrm>
              <a:off x="8463915" y="4229481"/>
              <a:ext cx="75723" cy="75628"/>
              <a:chOff x="8463915" y="4229481"/>
              <a:chExt cx="75723" cy="75628"/>
            </a:xfrm>
          </p:grpSpPr>
          <p:sp>
            <p:nvSpPr>
              <p:cNvPr id="17083" name="Freeform: Shape 17082">
                <a:extLst>
                  <a:ext uri="{FF2B5EF4-FFF2-40B4-BE49-F238E27FC236}">
                    <a16:creationId xmlns:a16="http://schemas.microsoft.com/office/drawing/2014/main" id="{6BA93293-4FB2-2906-D8D6-AD0523CF7812}"/>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4" name="Freeform: Shape 17083">
                <a:extLst>
                  <a:ext uri="{FF2B5EF4-FFF2-40B4-BE49-F238E27FC236}">
                    <a16:creationId xmlns:a16="http://schemas.microsoft.com/office/drawing/2014/main" id="{2409EC80-307A-9AA7-489F-14801D313A26}"/>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4" name="Graphic 112">
              <a:extLst>
                <a:ext uri="{FF2B5EF4-FFF2-40B4-BE49-F238E27FC236}">
                  <a16:creationId xmlns:a16="http://schemas.microsoft.com/office/drawing/2014/main" id="{1E4DC0E3-342C-D12B-C1B3-B28D3A0CC647}"/>
                </a:ext>
              </a:extLst>
            </p:cNvPr>
            <p:cNvGrpSpPr/>
            <p:nvPr/>
          </p:nvGrpSpPr>
          <p:grpSpPr>
            <a:xfrm>
              <a:off x="8598884" y="4229481"/>
              <a:ext cx="75723" cy="75628"/>
              <a:chOff x="8598884" y="4229481"/>
              <a:chExt cx="75723" cy="75628"/>
            </a:xfrm>
          </p:grpSpPr>
          <p:sp>
            <p:nvSpPr>
              <p:cNvPr id="17081" name="Freeform: Shape 17080">
                <a:extLst>
                  <a:ext uri="{FF2B5EF4-FFF2-40B4-BE49-F238E27FC236}">
                    <a16:creationId xmlns:a16="http://schemas.microsoft.com/office/drawing/2014/main" id="{690006B9-21BB-4E19-C506-C80391B93138}"/>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2" name="Freeform: Shape 17081">
                <a:extLst>
                  <a:ext uri="{FF2B5EF4-FFF2-40B4-BE49-F238E27FC236}">
                    <a16:creationId xmlns:a16="http://schemas.microsoft.com/office/drawing/2014/main" id="{E167DE74-BAF0-E0DC-5B1A-60219BC60A95}"/>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5" name="Graphic 112">
              <a:extLst>
                <a:ext uri="{FF2B5EF4-FFF2-40B4-BE49-F238E27FC236}">
                  <a16:creationId xmlns:a16="http://schemas.microsoft.com/office/drawing/2014/main" id="{E53A5699-5360-DC3A-3B01-E71C07624D8F}"/>
                </a:ext>
              </a:extLst>
            </p:cNvPr>
            <p:cNvGrpSpPr/>
            <p:nvPr/>
          </p:nvGrpSpPr>
          <p:grpSpPr>
            <a:xfrm>
              <a:off x="8611457" y="4229481"/>
              <a:ext cx="75628" cy="75628"/>
              <a:chOff x="8611457" y="4229481"/>
              <a:chExt cx="75628" cy="75628"/>
            </a:xfrm>
          </p:grpSpPr>
          <p:sp>
            <p:nvSpPr>
              <p:cNvPr id="17079" name="Freeform: Shape 17078">
                <a:extLst>
                  <a:ext uri="{FF2B5EF4-FFF2-40B4-BE49-F238E27FC236}">
                    <a16:creationId xmlns:a16="http://schemas.microsoft.com/office/drawing/2014/main" id="{4E38DB3B-498B-F3F9-340C-26469F2BD4E5}"/>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0" name="Freeform: Shape 17079">
                <a:extLst>
                  <a:ext uri="{FF2B5EF4-FFF2-40B4-BE49-F238E27FC236}">
                    <a16:creationId xmlns:a16="http://schemas.microsoft.com/office/drawing/2014/main" id="{5C22D287-DAC8-6988-4DBA-163ECB42D775}"/>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6" name="Graphic 112">
              <a:extLst>
                <a:ext uri="{FF2B5EF4-FFF2-40B4-BE49-F238E27FC236}">
                  <a16:creationId xmlns:a16="http://schemas.microsoft.com/office/drawing/2014/main" id="{D4C53155-2F83-4B7A-E530-E74402AAE0F6}"/>
                </a:ext>
              </a:extLst>
            </p:cNvPr>
            <p:cNvGrpSpPr/>
            <p:nvPr/>
          </p:nvGrpSpPr>
          <p:grpSpPr>
            <a:xfrm>
              <a:off x="8623935" y="4229481"/>
              <a:ext cx="75628" cy="75628"/>
              <a:chOff x="8623935" y="4229481"/>
              <a:chExt cx="75628" cy="75628"/>
            </a:xfrm>
          </p:grpSpPr>
          <p:sp>
            <p:nvSpPr>
              <p:cNvPr id="17077" name="Freeform: Shape 17076">
                <a:extLst>
                  <a:ext uri="{FF2B5EF4-FFF2-40B4-BE49-F238E27FC236}">
                    <a16:creationId xmlns:a16="http://schemas.microsoft.com/office/drawing/2014/main" id="{54B7FAE8-DC63-A213-E2DF-EBBEF2721982}"/>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8" name="Freeform: Shape 17077">
                <a:extLst>
                  <a:ext uri="{FF2B5EF4-FFF2-40B4-BE49-F238E27FC236}">
                    <a16:creationId xmlns:a16="http://schemas.microsoft.com/office/drawing/2014/main" id="{E9F02BFD-A180-AD68-9306-07E5E10B7A35}"/>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7" name="Graphic 112">
              <a:extLst>
                <a:ext uri="{FF2B5EF4-FFF2-40B4-BE49-F238E27FC236}">
                  <a16:creationId xmlns:a16="http://schemas.microsoft.com/office/drawing/2014/main" id="{E5ED06FC-073E-9437-DF13-A452ABFBD002}"/>
                </a:ext>
              </a:extLst>
            </p:cNvPr>
            <p:cNvGrpSpPr/>
            <p:nvPr/>
          </p:nvGrpSpPr>
          <p:grpSpPr>
            <a:xfrm>
              <a:off x="8648890" y="4229481"/>
              <a:ext cx="75723" cy="75628"/>
              <a:chOff x="8648890" y="4229481"/>
              <a:chExt cx="75723" cy="75628"/>
            </a:xfrm>
          </p:grpSpPr>
          <p:sp>
            <p:nvSpPr>
              <p:cNvPr id="17075" name="Freeform: Shape 17074">
                <a:extLst>
                  <a:ext uri="{FF2B5EF4-FFF2-40B4-BE49-F238E27FC236}">
                    <a16:creationId xmlns:a16="http://schemas.microsoft.com/office/drawing/2014/main" id="{19ED5552-4119-F03E-A21F-488B51AEF1A2}"/>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6" name="Freeform: Shape 17075">
                <a:extLst>
                  <a:ext uri="{FF2B5EF4-FFF2-40B4-BE49-F238E27FC236}">
                    <a16:creationId xmlns:a16="http://schemas.microsoft.com/office/drawing/2014/main" id="{D60FCDAC-ABE6-D3BF-BFFC-A26A018F2BFA}"/>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8" name="Graphic 112">
              <a:extLst>
                <a:ext uri="{FF2B5EF4-FFF2-40B4-BE49-F238E27FC236}">
                  <a16:creationId xmlns:a16="http://schemas.microsoft.com/office/drawing/2014/main" id="{6C827132-0BDC-57B8-B5C7-79E8D853FC90}"/>
                </a:ext>
              </a:extLst>
            </p:cNvPr>
            <p:cNvGrpSpPr/>
            <p:nvPr/>
          </p:nvGrpSpPr>
          <p:grpSpPr>
            <a:xfrm>
              <a:off x="8636412" y="4229481"/>
              <a:ext cx="75723" cy="75628"/>
              <a:chOff x="8636412" y="4229481"/>
              <a:chExt cx="75723" cy="75628"/>
            </a:xfrm>
          </p:grpSpPr>
          <p:sp>
            <p:nvSpPr>
              <p:cNvPr id="17073" name="Freeform: Shape 17072">
                <a:extLst>
                  <a:ext uri="{FF2B5EF4-FFF2-40B4-BE49-F238E27FC236}">
                    <a16:creationId xmlns:a16="http://schemas.microsoft.com/office/drawing/2014/main" id="{E3B655F5-B220-8801-BCEB-340FB196BE2A}"/>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4" name="Freeform: Shape 17073">
                <a:extLst>
                  <a:ext uri="{FF2B5EF4-FFF2-40B4-BE49-F238E27FC236}">
                    <a16:creationId xmlns:a16="http://schemas.microsoft.com/office/drawing/2014/main" id="{10AC3CA2-9953-BBE5-E983-E7376B2406B8}"/>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9" name="Graphic 112">
              <a:extLst>
                <a:ext uri="{FF2B5EF4-FFF2-40B4-BE49-F238E27FC236}">
                  <a16:creationId xmlns:a16="http://schemas.microsoft.com/office/drawing/2014/main" id="{09A522CE-FF19-1921-62AE-4FDD566B696A}"/>
                </a:ext>
              </a:extLst>
            </p:cNvPr>
            <p:cNvGrpSpPr/>
            <p:nvPr/>
          </p:nvGrpSpPr>
          <p:grpSpPr>
            <a:xfrm>
              <a:off x="8220456" y="4229481"/>
              <a:ext cx="75723" cy="75628"/>
              <a:chOff x="8220456" y="4229481"/>
              <a:chExt cx="75723" cy="75628"/>
            </a:xfrm>
          </p:grpSpPr>
          <p:sp>
            <p:nvSpPr>
              <p:cNvPr id="17071" name="Freeform: Shape 17070">
                <a:extLst>
                  <a:ext uri="{FF2B5EF4-FFF2-40B4-BE49-F238E27FC236}">
                    <a16:creationId xmlns:a16="http://schemas.microsoft.com/office/drawing/2014/main" id="{4E5526EE-4343-0220-235F-F214F7400CE8}"/>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2" name="Freeform: Shape 17071">
                <a:extLst>
                  <a:ext uri="{FF2B5EF4-FFF2-40B4-BE49-F238E27FC236}">
                    <a16:creationId xmlns:a16="http://schemas.microsoft.com/office/drawing/2014/main" id="{9A3CD4B2-4A76-5DEB-4DF0-1834BD9C627D}"/>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0" name="Graphic 112">
              <a:extLst>
                <a:ext uri="{FF2B5EF4-FFF2-40B4-BE49-F238E27FC236}">
                  <a16:creationId xmlns:a16="http://schemas.microsoft.com/office/drawing/2014/main" id="{6A4AFB13-9C1F-4A5D-CE3C-7D5C7B3F977D}"/>
                </a:ext>
              </a:extLst>
            </p:cNvPr>
            <p:cNvGrpSpPr/>
            <p:nvPr/>
          </p:nvGrpSpPr>
          <p:grpSpPr>
            <a:xfrm>
              <a:off x="7790307" y="4229481"/>
              <a:ext cx="75723" cy="75628"/>
              <a:chOff x="7790307" y="4229481"/>
              <a:chExt cx="75723" cy="75628"/>
            </a:xfrm>
          </p:grpSpPr>
          <p:sp>
            <p:nvSpPr>
              <p:cNvPr id="17069" name="Freeform: Shape 17068">
                <a:extLst>
                  <a:ext uri="{FF2B5EF4-FFF2-40B4-BE49-F238E27FC236}">
                    <a16:creationId xmlns:a16="http://schemas.microsoft.com/office/drawing/2014/main" id="{39822864-C9DA-8380-4C52-E34A97A52061}"/>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0" name="Freeform: Shape 17069">
                <a:extLst>
                  <a:ext uri="{FF2B5EF4-FFF2-40B4-BE49-F238E27FC236}">
                    <a16:creationId xmlns:a16="http://schemas.microsoft.com/office/drawing/2014/main" id="{16B68FE5-F91F-4654-041B-F9CC8BA6546E}"/>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1" name="Graphic 112">
              <a:extLst>
                <a:ext uri="{FF2B5EF4-FFF2-40B4-BE49-F238E27FC236}">
                  <a16:creationId xmlns:a16="http://schemas.microsoft.com/office/drawing/2014/main" id="{662AC686-77DF-6EB7-F9DC-454AD6DAA1FE}"/>
                </a:ext>
              </a:extLst>
            </p:cNvPr>
            <p:cNvGrpSpPr/>
            <p:nvPr/>
          </p:nvGrpSpPr>
          <p:grpSpPr>
            <a:xfrm>
              <a:off x="7330535" y="4205763"/>
              <a:ext cx="75628" cy="75628"/>
              <a:chOff x="7330535" y="4205763"/>
              <a:chExt cx="75628" cy="75628"/>
            </a:xfrm>
          </p:grpSpPr>
          <p:sp>
            <p:nvSpPr>
              <p:cNvPr id="17067" name="Freeform: Shape 17066">
                <a:extLst>
                  <a:ext uri="{FF2B5EF4-FFF2-40B4-BE49-F238E27FC236}">
                    <a16:creationId xmlns:a16="http://schemas.microsoft.com/office/drawing/2014/main" id="{87F493C5-767D-E6D1-F134-F3487D7C2088}"/>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8" name="Freeform: Shape 17067">
                <a:extLst>
                  <a:ext uri="{FF2B5EF4-FFF2-40B4-BE49-F238E27FC236}">
                    <a16:creationId xmlns:a16="http://schemas.microsoft.com/office/drawing/2014/main" id="{A7EF2482-5F70-80DE-8A6B-3AEBA953A0BD}"/>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2" name="Graphic 112">
              <a:extLst>
                <a:ext uri="{FF2B5EF4-FFF2-40B4-BE49-F238E27FC236}">
                  <a16:creationId xmlns:a16="http://schemas.microsoft.com/office/drawing/2014/main" id="{35458DD3-4142-657B-532E-761805CBDBF6}"/>
                </a:ext>
              </a:extLst>
            </p:cNvPr>
            <p:cNvGrpSpPr/>
            <p:nvPr/>
          </p:nvGrpSpPr>
          <p:grpSpPr>
            <a:xfrm>
              <a:off x="7299007" y="4153757"/>
              <a:ext cx="75723" cy="75723"/>
              <a:chOff x="7299007" y="4153757"/>
              <a:chExt cx="75723" cy="75723"/>
            </a:xfrm>
          </p:grpSpPr>
          <p:sp>
            <p:nvSpPr>
              <p:cNvPr id="17065" name="Freeform: Shape 17064">
                <a:extLst>
                  <a:ext uri="{FF2B5EF4-FFF2-40B4-BE49-F238E27FC236}">
                    <a16:creationId xmlns:a16="http://schemas.microsoft.com/office/drawing/2014/main" id="{857DBF64-5650-B310-5E57-851F2005BDDA}"/>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6" name="Freeform: Shape 17065">
                <a:extLst>
                  <a:ext uri="{FF2B5EF4-FFF2-40B4-BE49-F238E27FC236}">
                    <a16:creationId xmlns:a16="http://schemas.microsoft.com/office/drawing/2014/main" id="{9997A7C8-3E0B-297A-649A-A06A9F1E5ADB}"/>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3" name="Graphic 112">
              <a:extLst>
                <a:ext uri="{FF2B5EF4-FFF2-40B4-BE49-F238E27FC236}">
                  <a16:creationId xmlns:a16="http://schemas.microsoft.com/office/drawing/2014/main" id="{168E70FC-7C0D-FDC2-F3E7-70767AFC01AF}"/>
                </a:ext>
              </a:extLst>
            </p:cNvPr>
            <p:cNvGrpSpPr/>
            <p:nvPr/>
          </p:nvGrpSpPr>
          <p:grpSpPr>
            <a:xfrm>
              <a:off x="7287482" y="4153757"/>
              <a:ext cx="75723" cy="75723"/>
              <a:chOff x="7287482" y="4153757"/>
              <a:chExt cx="75723" cy="75723"/>
            </a:xfrm>
          </p:grpSpPr>
          <p:sp>
            <p:nvSpPr>
              <p:cNvPr id="17063" name="Freeform: Shape 17062">
                <a:extLst>
                  <a:ext uri="{FF2B5EF4-FFF2-40B4-BE49-F238E27FC236}">
                    <a16:creationId xmlns:a16="http://schemas.microsoft.com/office/drawing/2014/main" id="{048D4B7B-C8C6-338A-F5AE-C8D140A300FE}"/>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4" name="Freeform: Shape 17063">
                <a:extLst>
                  <a:ext uri="{FF2B5EF4-FFF2-40B4-BE49-F238E27FC236}">
                    <a16:creationId xmlns:a16="http://schemas.microsoft.com/office/drawing/2014/main" id="{FB29822E-D91E-8212-9946-3DE91D37B721}"/>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4" name="Graphic 112">
              <a:extLst>
                <a:ext uri="{FF2B5EF4-FFF2-40B4-BE49-F238E27FC236}">
                  <a16:creationId xmlns:a16="http://schemas.microsoft.com/office/drawing/2014/main" id="{5B832F12-F84A-39D6-90BB-E62EB430E98A}"/>
                </a:ext>
              </a:extLst>
            </p:cNvPr>
            <p:cNvGrpSpPr/>
            <p:nvPr/>
          </p:nvGrpSpPr>
          <p:grpSpPr>
            <a:xfrm>
              <a:off x="7312437" y="4153757"/>
              <a:ext cx="75723" cy="75723"/>
              <a:chOff x="7312437" y="4153757"/>
              <a:chExt cx="75723" cy="75723"/>
            </a:xfrm>
          </p:grpSpPr>
          <p:sp>
            <p:nvSpPr>
              <p:cNvPr id="17061" name="Freeform: Shape 17060">
                <a:extLst>
                  <a:ext uri="{FF2B5EF4-FFF2-40B4-BE49-F238E27FC236}">
                    <a16:creationId xmlns:a16="http://schemas.microsoft.com/office/drawing/2014/main" id="{FFB5C972-79C6-A4E6-4BB4-4310F458448B}"/>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2" name="Freeform: Shape 17061">
                <a:extLst>
                  <a:ext uri="{FF2B5EF4-FFF2-40B4-BE49-F238E27FC236}">
                    <a16:creationId xmlns:a16="http://schemas.microsoft.com/office/drawing/2014/main" id="{D6A394CE-D06C-74BE-2F43-15E6AAB0B6F0}"/>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5" name="Graphic 112">
              <a:extLst>
                <a:ext uri="{FF2B5EF4-FFF2-40B4-BE49-F238E27FC236}">
                  <a16:creationId xmlns:a16="http://schemas.microsoft.com/office/drawing/2014/main" id="{915478C7-7DF3-CAAD-74F0-DFE6BDFD0805}"/>
                </a:ext>
              </a:extLst>
            </p:cNvPr>
            <p:cNvGrpSpPr/>
            <p:nvPr/>
          </p:nvGrpSpPr>
          <p:grpSpPr>
            <a:xfrm>
              <a:off x="7002399" y="4135183"/>
              <a:ext cx="75628" cy="75723"/>
              <a:chOff x="7002399" y="4135183"/>
              <a:chExt cx="75628" cy="75723"/>
            </a:xfrm>
          </p:grpSpPr>
          <p:sp>
            <p:nvSpPr>
              <p:cNvPr id="17059" name="Freeform: Shape 17058">
                <a:extLst>
                  <a:ext uri="{FF2B5EF4-FFF2-40B4-BE49-F238E27FC236}">
                    <a16:creationId xmlns:a16="http://schemas.microsoft.com/office/drawing/2014/main" id="{AEC8B98A-9576-6F52-6328-E84A5BB4780F}"/>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0" name="Freeform: Shape 17059">
                <a:extLst>
                  <a:ext uri="{FF2B5EF4-FFF2-40B4-BE49-F238E27FC236}">
                    <a16:creationId xmlns:a16="http://schemas.microsoft.com/office/drawing/2014/main" id="{923B8271-0A51-8D1A-2D07-B34AA4CC6C8C}"/>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6" name="Graphic 112">
              <a:extLst>
                <a:ext uri="{FF2B5EF4-FFF2-40B4-BE49-F238E27FC236}">
                  <a16:creationId xmlns:a16="http://schemas.microsoft.com/office/drawing/2014/main" id="{0907DB5C-F22C-9CDE-3D93-C7C641803F96}"/>
                </a:ext>
              </a:extLst>
            </p:cNvPr>
            <p:cNvGrpSpPr/>
            <p:nvPr/>
          </p:nvGrpSpPr>
          <p:grpSpPr>
            <a:xfrm>
              <a:off x="6947344" y="4111847"/>
              <a:ext cx="75723" cy="75628"/>
              <a:chOff x="6947344" y="4111847"/>
              <a:chExt cx="75723" cy="75628"/>
            </a:xfrm>
          </p:grpSpPr>
          <p:sp>
            <p:nvSpPr>
              <p:cNvPr id="17057" name="Freeform: Shape 17056">
                <a:extLst>
                  <a:ext uri="{FF2B5EF4-FFF2-40B4-BE49-F238E27FC236}">
                    <a16:creationId xmlns:a16="http://schemas.microsoft.com/office/drawing/2014/main" id="{610AB07A-91B7-600B-AE0B-0E24C9F06F10}"/>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8" name="Freeform: Shape 17057">
                <a:extLst>
                  <a:ext uri="{FF2B5EF4-FFF2-40B4-BE49-F238E27FC236}">
                    <a16:creationId xmlns:a16="http://schemas.microsoft.com/office/drawing/2014/main" id="{A94609B8-D35D-4715-460B-D243D118CFBE}"/>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7" name="Graphic 112">
              <a:extLst>
                <a:ext uri="{FF2B5EF4-FFF2-40B4-BE49-F238E27FC236}">
                  <a16:creationId xmlns:a16="http://schemas.microsoft.com/office/drawing/2014/main" id="{79371836-E103-90F7-DE83-7BE01F97C8B2}"/>
                </a:ext>
              </a:extLst>
            </p:cNvPr>
            <p:cNvGrpSpPr/>
            <p:nvPr/>
          </p:nvGrpSpPr>
          <p:grpSpPr>
            <a:xfrm>
              <a:off x="6928199" y="4090987"/>
              <a:ext cx="75723" cy="75723"/>
              <a:chOff x="6928199" y="4090987"/>
              <a:chExt cx="75723" cy="75723"/>
            </a:xfrm>
          </p:grpSpPr>
          <p:sp>
            <p:nvSpPr>
              <p:cNvPr id="17055" name="Freeform: Shape 17054">
                <a:extLst>
                  <a:ext uri="{FF2B5EF4-FFF2-40B4-BE49-F238E27FC236}">
                    <a16:creationId xmlns:a16="http://schemas.microsoft.com/office/drawing/2014/main" id="{FEB7FF94-D811-2EBD-6AB0-FD9EF7953884}"/>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6" name="Freeform: Shape 17055">
                <a:extLst>
                  <a:ext uri="{FF2B5EF4-FFF2-40B4-BE49-F238E27FC236}">
                    <a16:creationId xmlns:a16="http://schemas.microsoft.com/office/drawing/2014/main" id="{C6CE45F9-A80A-ADC4-9CD0-0607595CD119}"/>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8" name="Graphic 112">
              <a:extLst>
                <a:ext uri="{FF2B5EF4-FFF2-40B4-BE49-F238E27FC236}">
                  <a16:creationId xmlns:a16="http://schemas.microsoft.com/office/drawing/2014/main" id="{B7FB408A-E00F-1D77-A05B-7FAA733779DB}"/>
                </a:ext>
              </a:extLst>
            </p:cNvPr>
            <p:cNvGrpSpPr/>
            <p:nvPr/>
          </p:nvGrpSpPr>
          <p:grpSpPr>
            <a:xfrm>
              <a:off x="6912959" y="4073937"/>
              <a:ext cx="75723" cy="75723"/>
              <a:chOff x="6912959" y="4073937"/>
              <a:chExt cx="75723" cy="75723"/>
            </a:xfrm>
          </p:grpSpPr>
          <p:sp>
            <p:nvSpPr>
              <p:cNvPr id="17053" name="Freeform: Shape 17052">
                <a:extLst>
                  <a:ext uri="{FF2B5EF4-FFF2-40B4-BE49-F238E27FC236}">
                    <a16:creationId xmlns:a16="http://schemas.microsoft.com/office/drawing/2014/main" id="{3AE68C10-F716-807C-FABE-AFF6418E3C47}"/>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4" name="Freeform: Shape 17053">
                <a:extLst>
                  <a:ext uri="{FF2B5EF4-FFF2-40B4-BE49-F238E27FC236}">
                    <a16:creationId xmlns:a16="http://schemas.microsoft.com/office/drawing/2014/main" id="{6E819C97-75C4-387A-BEA0-475969829CBF}"/>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9" name="Graphic 112">
              <a:extLst>
                <a:ext uri="{FF2B5EF4-FFF2-40B4-BE49-F238E27FC236}">
                  <a16:creationId xmlns:a16="http://schemas.microsoft.com/office/drawing/2014/main" id="{74EA7E63-957F-CEFB-E8EE-5D3CE19226E8}"/>
                </a:ext>
              </a:extLst>
            </p:cNvPr>
            <p:cNvGrpSpPr/>
            <p:nvPr/>
          </p:nvGrpSpPr>
          <p:grpSpPr>
            <a:xfrm>
              <a:off x="6895338" y="4053173"/>
              <a:ext cx="75723" cy="75628"/>
              <a:chOff x="6895338" y="4053173"/>
              <a:chExt cx="75723" cy="75628"/>
            </a:xfrm>
          </p:grpSpPr>
          <p:sp>
            <p:nvSpPr>
              <p:cNvPr id="17051" name="Freeform: Shape 17050">
                <a:extLst>
                  <a:ext uri="{FF2B5EF4-FFF2-40B4-BE49-F238E27FC236}">
                    <a16:creationId xmlns:a16="http://schemas.microsoft.com/office/drawing/2014/main" id="{77D28176-E159-0334-E3B5-18F35B36AA15}"/>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2" name="Freeform: Shape 17051">
                <a:extLst>
                  <a:ext uri="{FF2B5EF4-FFF2-40B4-BE49-F238E27FC236}">
                    <a16:creationId xmlns:a16="http://schemas.microsoft.com/office/drawing/2014/main" id="{788CBD3A-553B-C974-C11A-E86E5C48930B}"/>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0" name="Graphic 112">
              <a:extLst>
                <a:ext uri="{FF2B5EF4-FFF2-40B4-BE49-F238E27FC236}">
                  <a16:creationId xmlns:a16="http://schemas.microsoft.com/office/drawing/2014/main" id="{8C3D82D1-8894-55B0-C081-E5404BA469C6}"/>
                </a:ext>
              </a:extLst>
            </p:cNvPr>
            <p:cNvGrpSpPr/>
            <p:nvPr/>
          </p:nvGrpSpPr>
          <p:grpSpPr>
            <a:xfrm>
              <a:off x="6501574" y="4015263"/>
              <a:ext cx="75628" cy="75723"/>
              <a:chOff x="6501574" y="4015263"/>
              <a:chExt cx="75628" cy="75723"/>
            </a:xfrm>
          </p:grpSpPr>
          <p:sp>
            <p:nvSpPr>
              <p:cNvPr id="17049" name="Freeform: Shape 17048">
                <a:extLst>
                  <a:ext uri="{FF2B5EF4-FFF2-40B4-BE49-F238E27FC236}">
                    <a16:creationId xmlns:a16="http://schemas.microsoft.com/office/drawing/2014/main" id="{CD992F15-1E46-41E5-495C-ACA1AE48C7F5}"/>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0" name="Freeform: Shape 17049">
                <a:extLst>
                  <a:ext uri="{FF2B5EF4-FFF2-40B4-BE49-F238E27FC236}">
                    <a16:creationId xmlns:a16="http://schemas.microsoft.com/office/drawing/2014/main" id="{809611A8-B893-082B-D436-503762D75500}"/>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1" name="Graphic 112">
              <a:extLst>
                <a:ext uri="{FF2B5EF4-FFF2-40B4-BE49-F238E27FC236}">
                  <a16:creationId xmlns:a16="http://schemas.microsoft.com/office/drawing/2014/main" id="{05006A56-5F6E-14BC-E616-9ABB42E82D43}"/>
                </a:ext>
              </a:extLst>
            </p:cNvPr>
            <p:cNvGrpSpPr/>
            <p:nvPr/>
          </p:nvGrpSpPr>
          <p:grpSpPr>
            <a:xfrm>
              <a:off x="6483000" y="3998309"/>
              <a:ext cx="75723" cy="75628"/>
              <a:chOff x="6483000" y="3998309"/>
              <a:chExt cx="75723" cy="75628"/>
            </a:xfrm>
          </p:grpSpPr>
          <p:sp>
            <p:nvSpPr>
              <p:cNvPr id="17047" name="Freeform: Shape 17046">
                <a:extLst>
                  <a:ext uri="{FF2B5EF4-FFF2-40B4-BE49-F238E27FC236}">
                    <a16:creationId xmlns:a16="http://schemas.microsoft.com/office/drawing/2014/main" id="{727435FC-E943-C674-0787-AD5A002EBC80}"/>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8" name="Freeform: Shape 17047">
                <a:extLst>
                  <a:ext uri="{FF2B5EF4-FFF2-40B4-BE49-F238E27FC236}">
                    <a16:creationId xmlns:a16="http://schemas.microsoft.com/office/drawing/2014/main" id="{EEC7CBFF-FECD-FF00-1B02-3AA4784487B5}"/>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2" name="Graphic 112">
              <a:extLst>
                <a:ext uri="{FF2B5EF4-FFF2-40B4-BE49-F238E27FC236}">
                  <a16:creationId xmlns:a16="http://schemas.microsoft.com/office/drawing/2014/main" id="{6E466DB6-C6A5-5893-A3D2-0B4E069BB816}"/>
                </a:ext>
              </a:extLst>
            </p:cNvPr>
            <p:cNvGrpSpPr/>
            <p:nvPr/>
          </p:nvGrpSpPr>
          <p:grpSpPr>
            <a:xfrm>
              <a:off x="6468141" y="3980021"/>
              <a:ext cx="75628" cy="75723"/>
              <a:chOff x="6468141" y="3980021"/>
              <a:chExt cx="75628" cy="75723"/>
            </a:xfrm>
          </p:grpSpPr>
          <p:sp>
            <p:nvSpPr>
              <p:cNvPr id="17045" name="Freeform: Shape 17044">
                <a:extLst>
                  <a:ext uri="{FF2B5EF4-FFF2-40B4-BE49-F238E27FC236}">
                    <a16:creationId xmlns:a16="http://schemas.microsoft.com/office/drawing/2014/main" id="{49E1E8A9-9A5F-FFAF-8A12-9FDFC713C3E3}"/>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6" name="Freeform: Shape 17045">
                <a:extLst>
                  <a:ext uri="{FF2B5EF4-FFF2-40B4-BE49-F238E27FC236}">
                    <a16:creationId xmlns:a16="http://schemas.microsoft.com/office/drawing/2014/main" id="{0E3B9893-027E-593A-CB03-95DC6FA9B7D7}"/>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3" name="Graphic 112">
              <a:extLst>
                <a:ext uri="{FF2B5EF4-FFF2-40B4-BE49-F238E27FC236}">
                  <a16:creationId xmlns:a16="http://schemas.microsoft.com/office/drawing/2014/main" id="{E7D4FF79-27A4-BA26-06E1-C1D450599319}"/>
                </a:ext>
              </a:extLst>
            </p:cNvPr>
            <p:cNvGrpSpPr/>
            <p:nvPr/>
          </p:nvGrpSpPr>
          <p:grpSpPr>
            <a:xfrm>
              <a:off x="6095714" y="3871245"/>
              <a:ext cx="75723" cy="75628"/>
              <a:chOff x="6095714" y="3871245"/>
              <a:chExt cx="75723" cy="75628"/>
            </a:xfrm>
          </p:grpSpPr>
          <p:sp>
            <p:nvSpPr>
              <p:cNvPr id="17043" name="Freeform: Shape 17042">
                <a:extLst>
                  <a:ext uri="{FF2B5EF4-FFF2-40B4-BE49-F238E27FC236}">
                    <a16:creationId xmlns:a16="http://schemas.microsoft.com/office/drawing/2014/main" id="{3EF5DE33-8387-C85A-E1B9-F734F0162090}"/>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4" name="Freeform: Shape 17043">
                <a:extLst>
                  <a:ext uri="{FF2B5EF4-FFF2-40B4-BE49-F238E27FC236}">
                    <a16:creationId xmlns:a16="http://schemas.microsoft.com/office/drawing/2014/main" id="{38E5A433-4038-AFC0-EFBE-AA41E941F792}"/>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4" name="Graphic 112">
              <a:extLst>
                <a:ext uri="{FF2B5EF4-FFF2-40B4-BE49-F238E27FC236}">
                  <a16:creationId xmlns:a16="http://schemas.microsoft.com/office/drawing/2014/main" id="{D3243EB7-7527-8AD8-C3D5-82195C05CB05}"/>
                </a:ext>
              </a:extLst>
            </p:cNvPr>
            <p:cNvGrpSpPr/>
            <p:nvPr/>
          </p:nvGrpSpPr>
          <p:grpSpPr>
            <a:xfrm>
              <a:off x="6059995" y="3862673"/>
              <a:ext cx="75723" cy="75723"/>
              <a:chOff x="6059995" y="3862673"/>
              <a:chExt cx="75723" cy="75723"/>
            </a:xfrm>
          </p:grpSpPr>
          <p:sp>
            <p:nvSpPr>
              <p:cNvPr id="17041" name="Freeform: Shape 17040">
                <a:extLst>
                  <a:ext uri="{FF2B5EF4-FFF2-40B4-BE49-F238E27FC236}">
                    <a16:creationId xmlns:a16="http://schemas.microsoft.com/office/drawing/2014/main" id="{412FAC93-8F6C-AB8C-D652-5EB5A462EFFC}"/>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2" name="Freeform: Shape 17041">
                <a:extLst>
                  <a:ext uri="{FF2B5EF4-FFF2-40B4-BE49-F238E27FC236}">
                    <a16:creationId xmlns:a16="http://schemas.microsoft.com/office/drawing/2014/main" id="{8B3B0D1F-E55F-6DB3-8A78-3CF2FC710945}"/>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5" name="Graphic 112">
              <a:extLst>
                <a:ext uri="{FF2B5EF4-FFF2-40B4-BE49-F238E27FC236}">
                  <a16:creationId xmlns:a16="http://schemas.microsoft.com/office/drawing/2014/main" id="{291ED527-878A-4A7D-9E42-1C1766F418DB}"/>
                </a:ext>
              </a:extLst>
            </p:cNvPr>
            <p:cNvGrpSpPr/>
            <p:nvPr/>
          </p:nvGrpSpPr>
          <p:grpSpPr>
            <a:xfrm>
              <a:off x="6072282" y="3867531"/>
              <a:ext cx="75723" cy="75723"/>
              <a:chOff x="6072282" y="3867531"/>
              <a:chExt cx="75723" cy="75723"/>
            </a:xfrm>
          </p:grpSpPr>
          <p:sp>
            <p:nvSpPr>
              <p:cNvPr id="17039" name="Freeform: Shape 17038">
                <a:extLst>
                  <a:ext uri="{FF2B5EF4-FFF2-40B4-BE49-F238E27FC236}">
                    <a16:creationId xmlns:a16="http://schemas.microsoft.com/office/drawing/2014/main" id="{37326A72-58E7-21FC-93FA-FA0D58580EE7}"/>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0" name="Freeform: Shape 17039">
                <a:extLst>
                  <a:ext uri="{FF2B5EF4-FFF2-40B4-BE49-F238E27FC236}">
                    <a16:creationId xmlns:a16="http://schemas.microsoft.com/office/drawing/2014/main" id="{CCB5A3D2-00A8-BF84-1FE7-1F80F7998C65}"/>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6" name="Graphic 112">
              <a:extLst>
                <a:ext uri="{FF2B5EF4-FFF2-40B4-BE49-F238E27FC236}">
                  <a16:creationId xmlns:a16="http://schemas.microsoft.com/office/drawing/2014/main" id="{CA6AB796-88C5-34F0-416E-5E7E72DB3E5B}"/>
                </a:ext>
              </a:extLst>
            </p:cNvPr>
            <p:cNvGrpSpPr/>
            <p:nvPr/>
          </p:nvGrpSpPr>
          <p:grpSpPr>
            <a:xfrm>
              <a:off x="6045422" y="3850862"/>
              <a:ext cx="75628" cy="75628"/>
              <a:chOff x="6045422" y="3850862"/>
              <a:chExt cx="75628" cy="75628"/>
            </a:xfrm>
          </p:grpSpPr>
          <p:sp>
            <p:nvSpPr>
              <p:cNvPr id="17037" name="Freeform: Shape 17036">
                <a:extLst>
                  <a:ext uri="{FF2B5EF4-FFF2-40B4-BE49-F238E27FC236}">
                    <a16:creationId xmlns:a16="http://schemas.microsoft.com/office/drawing/2014/main" id="{3FFE98ED-501D-50A8-450E-DEE6CAB9BDFD}"/>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8" name="Freeform: Shape 17037">
                <a:extLst>
                  <a:ext uri="{FF2B5EF4-FFF2-40B4-BE49-F238E27FC236}">
                    <a16:creationId xmlns:a16="http://schemas.microsoft.com/office/drawing/2014/main" id="{A9868CC7-90EC-9FD0-393B-625220A89477}"/>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7" name="Graphic 112">
              <a:extLst>
                <a:ext uri="{FF2B5EF4-FFF2-40B4-BE49-F238E27FC236}">
                  <a16:creationId xmlns:a16="http://schemas.microsoft.com/office/drawing/2014/main" id="{5E91A21D-11F9-61A1-8724-3990989A481D}"/>
                </a:ext>
              </a:extLst>
            </p:cNvPr>
            <p:cNvGrpSpPr/>
            <p:nvPr/>
          </p:nvGrpSpPr>
          <p:grpSpPr>
            <a:xfrm>
              <a:off x="6034468" y="3840670"/>
              <a:ext cx="75723" cy="75723"/>
              <a:chOff x="6034468" y="3840670"/>
              <a:chExt cx="75723" cy="75723"/>
            </a:xfrm>
          </p:grpSpPr>
          <p:sp>
            <p:nvSpPr>
              <p:cNvPr id="17035" name="Freeform: Shape 17034">
                <a:extLst>
                  <a:ext uri="{FF2B5EF4-FFF2-40B4-BE49-F238E27FC236}">
                    <a16:creationId xmlns:a16="http://schemas.microsoft.com/office/drawing/2014/main" id="{DA06E305-C6A8-853E-9A68-E448AEEF237E}"/>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6" name="Freeform: Shape 17035">
                <a:extLst>
                  <a:ext uri="{FF2B5EF4-FFF2-40B4-BE49-F238E27FC236}">
                    <a16:creationId xmlns:a16="http://schemas.microsoft.com/office/drawing/2014/main" id="{A340D56E-C2FE-8DCA-EF11-E3688D18A6E7}"/>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8" name="Graphic 112">
              <a:extLst>
                <a:ext uri="{FF2B5EF4-FFF2-40B4-BE49-F238E27FC236}">
                  <a16:creationId xmlns:a16="http://schemas.microsoft.com/office/drawing/2014/main" id="{1F314220-E77C-DC2D-8E2D-67927C86195B}"/>
                </a:ext>
              </a:extLst>
            </p:cNvPr>
            <p:cNvGrpSpPr/>
            <p:nvPr/>
          </p:nvGrpSpPr>
          <p:grpSpPr>
            <a:xfrm>
              <a:off x="6025324" y="3833336"/>
              <a:ext cx="75723" cy="75723"/>
              <a:chOff x="6025324" y="3833336"/>
              <a:chExt cx="75723" cy="75723"/>
            </a:xfrm>
          </p:grpSpPr>
          <p:sp>
            <p:nvSpPr>
              <p:cNvPr id="17033" name="Freeform: Shape 17032">
                <a:extLst>
                  <a:ext uri="{FF2B5EF4-FFF2-40B4-BE49-F238E27FC236}">
                    <a16:creationId xmlns:a16="http://schemas.microsoft.com/office/drawing/2014/main" id="{3CD1FF5C-235F-0361-E3A2-A47070CE1B16}"/>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4" name="Freeform: Shape 17033">
                <a:extLst>
                  <a:ext uri="{FF2B5EF4-FFF2-40B4-BE49-F238E27FC236}">
                    <a16:creationId xmlns:a16="http://schemas.microsoft.com/office/drawing/2014/main" id="{F9960776-E0F0-E298-53D0-37128F022B54}"/>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9" name="Graphic 112">
              <a:extLst>
                <a:ext uri="{FF2B5EF4-FFF2-40B4-BE49-F238E27FC236}">
                  <a16:creationId xmlns:a16="http://schemas.microsoft.com/office/drawing/2014/main" id="{FFB16AE4-F9B7-9061-6ABB-8AC3429BA61F}"/>
                </a:ext>
              </a:extLst>
            </p:cNvPr>
            <p:cNvGrpSpPr/>
            <p:nvPr/>
          </p:nvGrpSpPr>
          <p:grpSpPr>
            <a:xfrm>
              <a:off x="6015037" y="3806571"/>
              <a:ext cx="75628" cy="75723"/>
              <a:chOff x="6015037" y="3806571"/>
              <a:chExt cx="75628" cy="75723"/>
            </a:xfrm>
          </p:grpSpPr>
          <p:sp>
            <p:nvSpPr>
              <p:cNvPr id="17031" name="Freeform: Shape 17030">
                <a:extLst>
                  <a:ext uri="{FF2B5EF4-FFF2-40B4-BE49-F238E27FC236}">
                    <a16:creationId xmlns:a16="http://schemas.microsoft.com/office/drawing/2014/main" id="{E811BCAB-575E-601E-5B66-D691442E7132}"/>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2" name="Freeform: Shape 17031">
                <a:extLst>
                  <a:ext uri="{FF2B5EF4-FFF2-40B4-BE49-F238E27FC236}">
                    <a16:creationId xmlns:a16="http://schemas.microsoft.com/office/drawing/2014/main" id="{29445BD3-2236-FEAE-E6B2-1FA64C41F4C6}"/>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0" name="Graphic 112">
              <a:extLst>
                <a:ext uri="{FF2B5EF4-FFF2-40B4-BE49-F238E27FC236}">
                  <a16:creationId xmlns:a16="http://schemas.microsoft.com/office/drawing/2014/main" id="{ED8B39B8-6DC4-A722-EB6C-478BB939E213}"/>
                </a:ext>
              </a:extLst>
            </p:cNvPr>
            <p:cNvGrpSpPr/>
            <p:nvPr/>
          </p:nvGrpSpPr>
          <p:grpSpPr>
            <a:xfrm>
              <a:off x="5953029" y="3802856"/>
              <a:ext cx="75628" cy="75628"/>
              <a:chOff x="5953029" y="3802856"/>
              <a:chExt cx="75628" cy="75628"/>
            </a:xfrm>
          </p:grpSpPr>
          <p:sp>
            <p:nvSpPr>
              <p:cNvPr id="17029" name="Freeform: Shape 17028">
                <a:extLst>
                  <a:ext uri="{FF2B5EF4-FFF2-40B4-BE49-F238E27FC236}">
                    <a16:creationId xmlns:a16="http://schemas.microsoft.com/office/drawing/2014/main" id="{840939C8-ECE0-E91F-6DD7-E7823DC3A2B7}"/>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0" name="Freeform: Shape 17029">
                <a:extLst>
                  <a:ext uri="{FF2B5EF4-FFF2-40B4-BE49-F238E27FC236}">
                    <a16:creationId xmlns:a16="http://schemas.microsoft.com/office/drawing/2014/main" id="{9B14A661-8921-3C16-89E6-1C44E39947CE}"/>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1" name="Graphic 112">
              <a:extLst>
                <a:ext uri="{FF2B5EF4-FFF2-40B4-BE49-F238E27FC236}">
                  <a16:creationId xmlns:a16="http://schemas.microsoft.com/office/drawing/2014/main" id="{DCBE90CF-A181-FDC8-5928-2BC830048B78}"/>
                </a:ext>
              </a:extLst>
            </p:cNvPr>
            <p:cNvGrpSpPr/>
            <p:nvPr/>
          </p:nvGrpSpPr>
          <p:grpSpPr>
            <a:xfrm>
              <a:off x="5999130" y="3806571"/>
              <a:ext cx="75723" cy="75723"/>
              <a:chOff x="5999130" y="3806571"/>
              <a:chExt cx="75723" cy="75723"/>
            </a:xfrm>
          </p:grpSpPr>
          <p:sp>
            <p:nvSpPr>
              <p:cNvPr id="17027" name="Freeform: Shape 17026">
                <a:extLst>
                  <a:ext uri="{FF2B5EF4-FFF2-40B4-BE49-F238E27FC236}">
                    <a16:creationId xmlns:a16="http://schemas.microsoft.com/office/drawing/2014/main" id="{99A8F1E8-1C6B-BE69-981D-25D774F7EDFC}"/>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8" name="Freeform: Shape 17027">
                <a:extLst>
                  <a:ext uri="{FF2B5EF4-FFF2-40B4-BE49-F238E27FC236}">
                    <a16:creationId xmlns:a16="http://schemas.microsoft.com/office/drawing/2014/main" id="{70B4EA54-0D5D-C2A9-3BF9-B505F5DF02BD}"/>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2" name="Graphic 112">
              <a:extLst>
                <a:ext uri="{FF2B5EF4-FFF2-40B4-BE49-F238E27FC236}">
                  <a16:creationId xmlns:a16="http://schemas.microsoft.com/office/drawing/2014/main" id="{BB579532-4AAF-B118-5100-D1E9B7B4228B}"/>
                </a:ext>
              </a:extLst>
            </p:cNvPr>
            <p:cNvGrpSpPr/>
            <p:nvPr/>
          </p:nvGrpSpPr>
          <p:grpSpPr>
            <a:xfrm>
              <a:off x="5553551" y="3678459"/>
              <a:ext cx="75723" cy="75723"/>
              <a:chOff x="5553551" y="3678459"/>
              <a:chExt cx="75723" cy="75723"/>
            </a:xfrm>
          </p:grpSpPr>
          <p:sp>
            <p:nvSpPr>
              <p:cNvPr id="17025" name="Freeform: Shape 17024">
                <a:extLst>
                  <a:ext uri="{FF2B5EF4-FFF2-40B4-BE49-F238E27FC236}">
                    <a16:creationId xmlns:a16="http://schemas.microsoft.com/office/drawing/2014/main" id="{83DA56B9-D649-BD7F-2C07-2DD305789D29}"/>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6" name="Freeform: Shape 17025">
                <a:extLst>
                  <a:ext uri="{FF2B5EF4-FFF2-40B4-BE49-F238E27FC236}">
                    <a16:creationId xmlns:a16="http://schemas.microsoft.com/office/drawing/2014/main" id="{98E69ECF-3C5B-1915-8673-6B80F5655284}"/>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3" name="Graphic 112">
              <a:extLst>
                <a:ext uri="{FF2B5EF4-FFF2-40B4-BE49-F238E27FC236}">
                  <a16:creationId xmlns:a16="http://schemas.microsoft.com/office/drawing/2014/main" id="{AE9B2889-C954-EABF-3C7E-A6743E488673}"/>
                </a:ext>
              </a:extLst>
            </p:cNvPr>
            <p:cNvGrpSpPr/>
            <p:nvPr/>
          </p:nvGrpSpPr>
          <p:grpSpPr>
            <a:xfrm>
              <a:off x="5569362" y="3685794"/>
              <a:ext cx="75723" cy="75628"/>
              <a:chOff x="5569362" y="3685794"/>
              <a:chExt cx="75723" cy="75628"/>
            </a:xfrm>
          </p:grpSpPr>
          <p:sp>
            <p:nvSpPr>
              <p:cNvPr id="17023" name="Freeform: Shape 17022">
                <a:extLst>
                  <a:ext uri="{FF2B5EF4-FFF2-40B4-BE49-F238E27FC236}">
                    <a16:creationId xmlns:a16="http://schemas.microsoft.com/office/drawing/2014/main" id="{839A9EF2-5191-2BA6-267A-FB4A33E8D423}"/>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4" name="Freeform: Shape 17023">
                <a:extLst>
                  <a:ext uri="{FF2B5EF4-FFF2-40B4-BE49-F238E27FC236}">
                    <a16:creationId xmlns:a16="http://schemas.microsoft.com/office/drawing/2014/main" id="{BF494AC0-C06F-7D15-F217-2D3990F84D16}"/>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4" name="Graphic 112">
              <a:extLst>
                <a:ext uri="{FF2B5EF4-FFF2-40B4-BE49-F238E27FC236}">
                  <a16:creationId xmlns:a16="http://schemas.microsoft.com/office/drawing/2014/main" id="{A66132D9-4910-DA5D-DA6C-F43A85AACE3A}"/>
                </a:ext>
              </a:extLst>
            </p:cNvPr>
            <p:cNvGrpSpPr/>
            <p:nvPr/>
          </p:nvGrpSpPr>
          <p:grpSpPr>
            <a:xfrm>
              <a:off x="5586412" y="3694271"/>
              <a:ext cx="75628" cy="75723"/>
              <a:chOff x="5586412" y="3694271"/>
              <a:chExt cx="75628" cy="75723"/>
            </a:xfrm>
          </p:grpSpPr>
          <p:sp>
            <p:nvSpPr>
              <p:cNvPr id="17021" name="Freeform: Shape 17020">
                <a:extLst>
                  <a:ext uri="{FF2B5EF4-FFF2-40B4-BE49-F238E27FC236}">
                    <a16:creationId xmlns:a16="http://schemas.microsoft.com/office/drawing/2014/main" id="{C34C3BFD-4D97-2C34-30C4-A3F4854F1159}"/>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2" name="Freeform: Shape 17021">
                <a:extLst>
                  <a:ext uri="{FF2B5EF4-FFF2-40B4-BE49-F238E27FC236}">
                    <a16:creationId xmlns:a16="http://schemas.microsoft.com/office/drawing/2014/main" id="{C43A97B3-7772-B3AA-0862-E2906E50DD08}"/>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5" name="Graphic 112">
              <a:extLst>
                <a:ext uri="{FF2B5EF4-FFF2-40B4-BE49-F238E27FC236}">
                  <a16:creationId xmlns:a16="http://schemas.microsoft.com/office/drawing/2014/main" id="{B5132DA6-2C83-FCFC-53A4-C2DF2509E975}"/>
                </a:ext>
              </a:extLst>
            </p:cNvPr>
            <p:cNvGrpSpPr/>
            <p:nvPr/>
          </p:nvGrpSpPr>
          <p:grpSpPr>
            <a:xfrm>
              <a:off x="5599176" y="3699414"/>
              <a:ext cx="75628" cy="75723"/>
              <a:chOff x="5599176" y="3699414"/>
              <a:chExt cx="75628" cy="75723"/>
            </a:xfrm>
          </p:grpSpPr>
          <p:sp>
            <p:nvSpPr>
              <p:cNvPr id="17019" name="Freeform: Shape 17018">
                <a:extLst>
                  <a:ext uri="{FF2B5EF4-FFF2-40B4-BE49-F238E27FC236}">
                    <a16:creationId xmlns:a16="http://schemas.microsoft.com/office/drawing/2014/main" id="{9176E22A-0C3C-764C-980F-1D49A51BA149}"/>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0" name="Freeform: Shape 17019">
                <a:extLst>
                  <a:ext uri="{FF2B5EF4-FFF2-40B4-BE49-F238E27FC236}">
                    <a16:creationId xmlns:a16="http://schemas.microsoft.com/office/drawing/2014/main" id="{59A3B2D1-FADB-BA4B-88B7-6FCAC0361B1A}"/>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6" name="Graphic 112">
              <a:extLst>
                <a:ext uri="{FF2B5EF4-FFF2-40B4-BE49-F238E27FC236}">
                  <a16:creationId xmlns:a16="http://schemas.microsoft.com/office/drawing/2014/main" id="{D99B46B6-CE0F-A87C-3B62-2C61EB719752}"/>
                </a:ext>
              </a:extLst>
            </p:cNvPr>
            <p:cNvGrpSpPr/>
            <p:nvPr/>
          </p:nvGrpSpPr>
          <p:grpSpPr>
            <a:xfrm>
              <a:off x="5610701" y="3709130"/>
              <a:ext cx="75723" cy="75723"/>
              <a:chOff x="5610701" y="3709130"/>
              <a:chExt cx="75723" cy="75723"/>
            </a:xfrm>
          </p:grpSpPr>
          <p:sp>
            <p:nvSpPr>
              <p:cNvPr id="17017" name="Freeform: Shape 17016">
                <a:extLst>
                  <a:ext uri="{FF2B5EF4-FFF2-40B4-BE49-F238E27FC236}">
                    <a16:creationId xmlns:a16="http://schemas.microsoft.com/office/drawing/2014/main" id="{2982A7E4-DCCC-0646-E4CF-C7234C8596A8}"/>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8" name="Freeform: Shape 17017">
                <a:extLst>
                  <a:ext uri="{FF2B5EF4-FFF2-40B4-BE49-F238E27FC236}">
                    <a16:creationId xmlns:a16="http://schemas.microsoft.com/office/drawing/2014/main" id="{48A951BD-931E-2C37-D646-3A9A6572A66D}"/>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7" name="Graphic 112">
              <a:extLst>
                <a:ext uri="{FF2B5EF4-FFF2-40B4-BE49-F238E27FC236}">
                  <a16:creationId xmlns:a16="http://schemas.microsoft.com/office/drawing/2014/main" id="{64603EF7-AF30-2A3F-EA03-D82CCBEBB789}"/>
                </a:ext>
              </a:extLst>
            </p:cNvPr>
            <p:cNvGrpSpPr/>
            <p:nvPr/>
          </p:nvGrpSpPr>
          <p:grpSpPr>
            <a:xfrm>
              <a:off x="5619845" y="3716274"/>
              <a:ext cx="75628" cy="75723"/>
              <a:chOff x="5619845" y="3716274"/>
              <a:chExt cx="75628" cy="75723"/>
            </a:xfrm>
          </p:grpSpPr>
          <p:sp>
            <p:nvSpPr>
              <p:cNvPr id="17015" name="Freeform: Shape 17014">
                <a:extLst>
                  <a:ext uri="{FF2B5EF4-FFF2-40B4-BE49-F238E27FC236}">
                    <a16:creationId xmlns:a16="http://schemas.microsoft.com/office/drawing/2014/main" id="{B3BD0DAF-4B78-D91C-79EB-5A0A92BCFC34}"/>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6" name="Freeform: Shape 17015">
                <a:extLst>
                  <a:ext uri="{FF2B5EF4-FFF2-40B4-BE49-F238E27FC236}">
                    <a16:creationId xmlns:a16="http://schemas.microsoft.com/office/drawing/2014/main" id="{9A7AC7E4-8BF1-23EE-DBC3-4300E684D589}"/>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8" name="Graphic 112">
              <a:extLst>
                <a:ext uri="{FF2B5EF4-FFF2-40B4-BE49-F238E27FC236}">
                  <a16:creationId xmlns:a16="http://schemas.microsoft.com/office/drawing/2014/main" id="{3D6194AC-E59C-D46F-62E9-ABA03FA39BD4}"/>
                </a:ext>
              </a:extLst>
            </p:cNvPr>
            <p:cNvGrpSpPr/>
            <p:nvPr/>
          </p:nvGrpSpPr>
          <p:grpSpPr>
            <a:xfrm>
              <a:off x="5619845" y="3737324"/>
              <a:ext cx="75628" cy="75628"/>
              <a:chOff x="5619845" y="3737324"/>
              <a:chExt cx="75628" cy="75628"/>
            </a:xfrm>
          </p:grpSpPr>
          <p:sp>
            <p:nvSpPr>
              <p:cNvPr id="17013" name="Freeform: Shape 17012">
                <a:extLst>
                  <a:ext uri="{FF2B5EF4-FFF2-40B4-BE49-F238E27FC236}">
                    <a16:creationId xmlns:a16="http://schemas.microsoft.com/office/drawing/2014/main" id="{BD83549E-6F72-59CA-0027-19510FC3B5CA}"/>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4" name="Freeform: Shape 17013">
                <a:extLst>
                  <a:ext uri="{FF2B5EF4-FFF2-40B4-BE49-F238E27FC236}">
                    <a16:creationId xmlns:a16="http://schemas.microsoft.com/office/drawing/2014/main" id="{2DF2E0F3-48E9-BC9E-CD3D-783137DBB849}"/>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9" name="Graphic 112">
              <a:extLst>
                <a:ext uri="{FF2B5EF4-FFF2-40B4-BE49-F238E27FC236}">
                  <a16:creationId xmlns:a16="http://schemas.microsoft.com/office/drawing/2014/main" id="{D68B52C6-981E-9DF2-7EC2-83D611F5B9A5}"/>
                </a:ext>
              </a:extLst>
            </p:cNvPr>
            <p:cNvGrpSpPr/>
            <p:nvPr/>
          </p:nvGrpSpPr>
          <p:grpSpPr>
            <a:xfrm>
              <a:off x="5619845" y="3757707"/>
              <a:ext cx="75628" cy="75628"/>
              <a:chOff x="5619845" y="3757707"/>
              <a:chExt cx="75628" cy="75628"/>
            </a:xfrm>
          </p:grpSpPr>
          <p:sp>
            <p:nvSpPr>
              <p:cNvPr id="17011" name="Freeform: Shape 17010">
                <a:extLst>
                  <a:ext uri="{FF2B5EF4-FFF2-40B4-BE49-F238E27FC236}">
                    <a16:creationId xmlns:a16="http://schemas.microsoft.com/office/drawing/2014/main" id="{14E95FB5-1B90-8C4E-C9BE-02995D4AC583}"/>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2" name="Freeform: Shape 17011">
                <a:extLst>
                  <a:ext uri="{FF2B5EF4-FFF2-40B4-BE49-F238E27FC236}">
                    <a16:creationId xmlns:a16="http://schemas.microsoft.com/office/drawing/2014/main" id="{9F17C266-FADF-7470-CFA5-81924A5EEE6A}"/>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0" name="Graphic 112">
              <a:extLst>
                <a:ext uri="{FF2B5EF4-FFF2-40B4-BE49-F238E27FC236}">
                  <a16:creationId xmlns:a16="http://schemas.microsoft.com/office/drawing/2014/main" id="{E7E00E64-0C9F-A091-05F1-07D0F3BDE618}"/>
                </a:ext>
              </a:extLst>
            </p:cNvPr>
            <p:cNvGrpSpPr/>
            <p:nvPr/>
          </p:nvGrpSpPr>
          <p:grpSpPr>
            <a:xfrm>
              <a:off x="5631942" y="3764946"/>
              <a:ext cx="75723" cy="75723"/>
              <a:chOff x="5631942" y="3764946"/>
              <a:chExt cx="75723" cy="75723"/>
            </a:xfrm>
          </p:grpSpPr>
          <p:sp>
            <p:nvSpPr>
              <p:cNvPr id="17009" name="Freeform: Shape 17008">
                <a:extLst>
                  <a:ext uri="{FF2B5EF4-FFF2-40B4-BE49-F238E27FC236}">
                    <a16:creationId xmlns:a16="http://schemas.microsoft.com/office/drawing/2014/main" id="{F0B76BC5-38F0-AC47-E58C-226F7C9C468B}"/>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0" name="Freeform: Shape 17009">
                <a:extLst>
                  <a:ext uri="{FF2B5EF4-FFF2-40B4-BE49-F238E27FC236}">
                    <a16:creationId xmlns:a16="http://schemas.microsoft.com/office/drawing/2014/main" id="{54A37606-C151-0886-02C7-B49EA19BF799}"/>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1" name="Graphic 112">
              <a:extLst>
                <a:ext uri="{FF2B5EF4-FFF2-40B4-BE49-F238E27FC236}">
                  <a16:creationId xmlns:a16="http://schemas.microsoft.com/office/drawing/2014/main" id="{B3784C50-699A-62CD-68EC-3C74598D5AB5}"/>
                </a:ext>
              </a:extLst>
            </p:cNvPr>
            <p:cNvGrpSpPr/>
            <p:nvPr/>
          </p:nvGrpSpPr>
          <p:grpSpPr>
            <a:xfrm>
              <a:off x="5648515" y="3764946"/>
              <a:ext cx="75723" cy="75723"/>
              <a:chOff x="5648515" y="3764946"/>
              <a:chExt cx="75723" cy="75723"/>
            </a:xfrm>
          </p:grpSpPr>
          <p:sp>
            <p:nvSpPr>
              <p:cNvPr id="17007" name="Freeform: Shape 17006">
                <a:extLst>
                  <a:ext uri="{FF2B5EF4-FFF2-40B4-BE49-F238E27FC236}">
                    <a16:creationId xmlns:a16="http://schemas.microsoft.com/office/drawing/2014/main" id="{8B86B4F6-5F5C-2DAF-E670-82426BB1FD85}"/>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8" name="Freeform: Shape 17007">
                <a:extLst>
                  <a:ext uri="{FF2B5EF4-FFF2-40B4-BE49-F238E27FC236}">
                    <a16:creationId xmlns:a16="http://schemas.microsoft.com/office/drawing/2014/main" id="{F68CA418-E4BF-04B5-F0D8-53D87D787F01}"/>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2" name="Graphic 112">
              <a:extLst>
                <a:ext uri="{FF2B5EF4-FFF2-40B4-BE49-F238E27FC236}">
                  <a16:creationId xmlns:a16="http://schemas.microsoft.com/office/drawing/2014/main" id="{8CF6B913-743A-4129-494A-9D180D0020B2}"/>
                </a:ext>
              </a:extLst>
            </p:cNvPr>
            <p:cNvGrpSpPr/>
            <p:nvPr/>
          </p:nvGrpSpPr>
          <p:grpSpPr>
            <a:xfrm>
              <a:off x="5662041" y="3764946"/>
              <a:ext cx="75723" cy="75723"/>
              <a:chOff x="5662041" y="3764946"/>
              <a:chExt cx="75723" cy="75723"/>
            </a:xfrm>
          </p:grpSpPr>
          <p:sp>
            <p:nvSpPr>
              <p:cNvPr id="17005" name="Freeform: Shape 17004">
                <a:extLst>
                  <a:ext uri="{FF2B5EF4-FFF2-40B4-BE49-F238E27FC236}">
                    <a16:creationId xmlns:a16="http://schemas.microsoft.com/office/drawing/2014/main" id="{F72BD9EE-C0EC-D745-787D-79924D34BE76}"/>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6" name="Freeform: Shape 17005">
                <a:extLst>
                  <a:ext uri="{FF2B5EF4-FFF2-40B4-BE49-F238E27FC236}">
                    <a16:creationId xmlns:a16="http://schemas.microsoft.com/office/drawing/2014/main" id="{B9A684D9-7CB5-08A3-2FF5-55299662964D}"/>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3" name="Graphic 112">
              <a:extLst>
                <a:ext uri="{FF2B5EF4-FFF2-40B4-BE49-F238E27FC236}">
                  <a16:creationId xmlns:a16="http://schemas.microsoft.com/office/drawing/2014/main" id="{C828D70E-A8A3-EB69-7C11-8732FF40AF6B}"/>
                </a:ext>
              </a:extLst>
            </p:cNvPr>
            <p:cNvGrpSpPr/>
            <p:nvPr/>
          </p:nvGrpSpPr>
          <p:grpSpPr>
            <a:xfrm>
              <a:off x="5075110" y="3425571"/>
              <a:ext cx="75628" cy="75723"/>
              <a:chOff x="5075110" y="3425571"/>
              <a:chExt cx="75628" cy="75723"/>
            </a:xfrm>
          </p:grpSpPr>
          <p:sp>
            <p:nvSpPr>
              <p:cNvPr id="17003" name="Freeform: Shape 17002">
                <a:extLst>
                  <a:ext uri="{FF2B5EF4-FFF2-40B4-BE49-F238E27FC236}">
                    <a16:creationId xmlns:a16="http://schemas.microsoft.com/office/drawing/2014/main" id="{21F964B9-48CA-729D-7029-E978479401EF}"/>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4" name="Freeform: Shape 17003">
                <a:extLst>
                  <a:ext uri="{FF2B5EF4-FFF2-40B4-BE49-F238E27FC236}">
                    <a16:creationId xmlns:a16="http://schemas.microsoft.com/office/drawing/2014/main" id="{093B1E13-2D82-083C-EBFA-B0FE2C4F7810}"/>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4" name="Graphic 112">
              <a:extLst>
                <a:ext uri="{FF2B5EF4-FFF2-40B4-BE49-F238E27FC236}">
                  <a16:creationId xmlns:a16="http://schemas.microsoft.com/office/drawing/2014/main" id="{D88284B7-E73F-1D05-EC20-C76C9C56F4D6}"/>
                </a:ext>
              </a:extLst>
            </p:cNvPr>
            <p:cNvGrpSpPr/>
            <p:nvPr/>
          </p:nvGrpSpPr>
          <p:grpSpPr>
            <a:xfrm>
              <a:off x="5099970" y="3425571"/>
              <a:ext cx="75723" cy="75723"/>
              <a:chOff x="5099970" y="3425571"/>
              <a:chExt cx="75723" cy="75723"/>
            </a:xfrm>
          </p:grpSpPr>
          <p:sp>
            <p:nvSpPr>
              <p:cNvPr id="17001" name="Freeform: Shape 17000">
                <a:extLst>
                  <a:ext uri="{FF2B5EF4-FFF2-40B4-BE49-F238E27FC236}">
                    <a16:creationId xmlns:a16="http://schemas.microsoft.com/office/drawing/2014/main" id="{18AF453E-D1B7-FE26-04AF-1F6D743DDAE0}"/>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2" name="Freeform: Shape 17001">
                <a:extLst>
                  <a:ext uri="{FF2B5EF4-FFF2-40B4-BE49-F238E27FC236}">
                    <a16:creationId xmlns:a16="http://schemas.microsoft.com/office/drawing/2014/main" id="{F093F354-BF53-FFE7-049A-C63DAF3588B8}"/>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5" name="Graphic 112">
              <a:extLst>
                <a:ext uri="{FF2B5EF4-FFF2-40B4-BE49-F238E27FC236}">
                  <a16:creationId xmlns:a16="http://schemas.microsoft.com/office/drawing/2014/main" id="{FEFAA976-9B64-E240-4A94-CBF566AC0935}"/>
                </a:ext>
              </a:extLst>
            </p:cNvPr>
            <p:cNvGrpSpPr/>
            <p:nvPr/>
          </p:nvGrpSpPr>
          <p:grpSpPr>
            <a:xfrm>
              <a:off x="5137880" y="3463385"/>
              <a:ext cx="75628" cy="75723"/>
              <a:chOff x="5137880" y="3463385"/>
              <a:chExt cx="75628" cy="75723"/>
            </a:xfrm>
          </p:grpSpPr>
          <p:sp>
            <p:nvSpPr>
              <p:cNvPr id="16999" name="Freeform: Shape 16998">
                <a:extLst>
                  <a:ext uri="{FF2B5EF4-FFF2-40B4-BE49-F238E27FC236}">
                    <a16:creationId xmlns:a16="http://schemas.microsoft.com/office/drawing/2014/main" id="{2BF4FD50-FA62-8835-F63B-BCA14ECF5FC1}"/>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0" name="Freeform: Shape 16999">
                <a:extLst>
                  <a:ext uri="{FF2B5EF4-FFF2-40B4-BE49-F238E27FC236}">
                    <a16:creationId xmlns:a16="http://schemas.microsoft.com/office/drawing/2014/main" id="{B674B8D4-6D9A-9D9F-C8CE-05529A9E5FA7}"/>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6" name="Graphic 112">
              <a:extLst>
                <a:ext uri="{FF2B5EF4-FFF2-40B4-BE49-F238E27FC236}">
                  <a16:creationId xmlns:a16="http://schemas.microsoft.com/office/drawing/2014/main" id="{69A1B9F5-50DC-5C40-CCCD-6B52A42BC344}"/>
                </a:ext>
              </a:extLst>
            </p:cNvPr>
            <p:cNvGrpSpPr/>
            <p:nvPr/>
          </p:nvGrpSpPr>
          <p:grpSpPr>
            <a:xfrm>
              <a:off x="5152167" y="3463385"/>
              <a:ext cx="75723" cy="75723"/>
              <a:chOff x="5152167" y="3463385"/>
              <a:chExt cx="75723" cy="75723"/>
            </a:xfrm>
          </p:grpSpPr>
          <p:sp>
            <p:nvSpPr>
              <p:cNvPr id="16997" name="Freeform: Shape 16996">
                <a:extLst>
                  <a:ext uri="{FF2B5EF4-FFF2-40B4-BE49-F238E27FC236}">
                    <a16:creationId xmlns:a16="http://schemas.microsoft.com/office/drawing/2014/main" id="{40F1402C-59D3-370C-E194-6208596AE85F}"/>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8" name="Freeform: Shape 16997">
                <a:extLst>
                  <a:ext uri="{FF2B5EF4-FFF2-40B4-BE49-F238E27FC236}">
                    <a16:creationId xmlns:a16="http://schemas.microsoft.com/office/drawing/2014/main" id="{3D52AB9D-D202-13B9-8D78-B7EE00DB1A19}"/>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7" name="Graphic 112">
              <a:extLst>
                <a:ext uri="{FF2B5EF4-FFF2-40B4-BE49-F238E27FC236}">
                  <a16:creationId xmlns:a16="http://schemas.microsoft.com/office/drawing/2014/main" id="{BDBBE6CC-429A-B0FA-C338-43968E9C9113}"/>
                </a:ext>
              </a:extLst>
            </p:cNvPr>
            <p:cNvGrpSpPr/>
            <p:nvPr/>
          </p:nvGrpSpPr>
          <p:grpSpPr>
            <a:xfrm>
              <a:off x="5166550" y="3463385"/>
              <a:ext cx="75628" cy="75723"/>
              <a:chOff x="5166550" y="3463385"/>
              <a:chExt cx="75628" cy="75723"/>
            </a:xfrm>
          </p:grpSpPr>
          <p:sp>
            <p:nvSpPr>
              <p:cNvPr id="16995" name="Freeform: Shape 16994">
                <a:extLst>
                  <a:ext uri="{FF2B5EF4-FFF2-40B4-BE49-F238E27FC236}">
                    <a16:creationId xmlns:a16="http://schemas.microsoft.com/office/drawing/2014/main" id="{122A01AF-AC4C-6638-043A-789D229DA263}"/>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6" name="Freeform: Shape 16995">
                <a:extLst>
                  <a:ext uri="{FF2B5EF4-FFF2-40B4-BE49-F238E27FC236}">
                    <a16:creationId xmlns:a16="http://schemas.microsoft.com/office/drawing/2014/main" id="{5FFCBFCF-78EC-7644-7C77-3EBE03E27529}"/>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8" name="Graphic 112">
              <a:extLst>
                <a:ext uri="{FF2B5EF4-FFF2-40B4-BE49-F238E27FC236}">
                  <a16:creationId xmlns:a16="http://schemas.microsoft.com/office/drawing/2014/main" id="{91C16EE9-5B9F-1BFF-4A49-C66A12FF703D}"/>
                </a:ext>
              </a:extLst>
            </p:cNvPr>
            <p:cNvGrpSpPr/>
            <p:nvPr/>
          </p:nvGrpSpPr>
          <p:grpSpPr>
            <a:xfrm>
              <a:off x="5180838" y="3523107"/>
              <a:ext cx="75723" cy="75723"/>
              <a:chOff x="5180838" y="3523107"/>
              <a:chExt cx="75723" cy="75723"/>
            </a:xfrm>
          </p:grpSpPr>
          <p:sp>
            <p:nvSpPr>
              <p:cNvPr id="16993" name="Freeform: Shape 16992">
                <a:extLst>
                  <a:ext uri="{FF2B5EF4-FFF2-40B4-BE49-F238E27FC236}">
                    <a16:creationId xmlns:a16="http://schemas.microsoft.com/office/drawing/2014/main" id="{3E998204-77FB-EB07-F1C5-2964E1BA9011}"/>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4" name="Freeform: Shape 16993">
                <a:extLst>
                  <a:ext uri="{FF2B5EF4-FFF2-40B4-BE49-F238E27FC236}">
                    <a16:creationId xmlns:a16="http://schemas.microsoft.com/office/drawing/2014/main" id="{E7374143-1D56-7A5B-C478-A19F22CF98F4}"/>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9" name="Graphic 112">
              <a:extLst>
                <a:ext uri="{FF2B5EF4-FFF2-40B4-BE49-F238E27FC236}">
                  <a16:creationId xmlns:a16="http://schemas.microsoft.com/office/drawing/2014/main" id="{3E5CF2C6-D985-3E50-0B98-054DFB6CB4F4}"/>
                </a:ext>
              </a:extLst>
            </p:cNvPr>
            <p:cNvGrpSpPr/>
            <p:nvPr/>
          </p:nvGrpSpPr>
          <p:grpSpPr>
            <a:xfrm>
              <a:off x="5227701" y="3598830"/>
              <a:ext cx="75628" cy="75723"/>
              <a:chOff x="5227701" y="3598830"/>
              <a:chExt cx="75628" cy="75723"/>
            </a:xfrm>
          </p:grpSpPr>
          <p:sp>
            <p:nvSpPr>
              <p:cNvPr id="16991" name="Freeform: Shape 16990">
                <a:extLst>
                  <a:ext uri="{FF2B5EF4-FFF2-40B4-BE49-F238E27FC236}">
                    <a16:creationId xmlns:a16="http://schemas.microsoft.com/office/drawing/2014/main" id="{4FDD616F-75A9-BBEB-BB40-FF8B72EEB64C}"/>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2" name="Freeform: Shape 16991">
                <a:extLst>
                  <a:ext uri="{FF2B5EF4-FFF2-40B4-BE49-F238E27FC236}">
                    <a16:creationId xmlns:a16="http://schemas.microsoft.com/office/drawing/2014/main" id="{089D9E9B-FB32-55F9-4C99-DDD179416BE0}"/>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0" name="Graphic 112">
              <a:extLst>
                <a:ext uri="{FF2B5EF4-FFF2-40B4-BE49-F238E27FC236}">
                  <a16:creationId xmlns:a16="http://schemas.microsoft.com/office/drawing/2014/main" id="{CCC7BE35-607C-71D6-D8F5-305EC66C98DC}"/>
                </a:ext>
              </a:extLst>
            </p:cNvPr>
            <p:cNvGrpSpPr/>
            <p:nvPr/>
          </p:nvGrpSpPr>
          <p:grpSpPr>
            <a:xfrm>
              <a:off x="5195316" y="3549015"/>
              <a:ext cx="75628" cy="75628"/>
              <a:chOff x="5195316" y="3549015"/>
              <a:chExt cx="75628" cy="75628"/>
            </a:xfrm>
          </p:grpSpPr>
          <p:sp>
            <p:nvSpPr>
              <p:cNvPr id="16989" name="Freeform: Shape 16988">
                <a:extLst>
                  <a:ext uri="{FF2B5EF4-FFF2-40B4-BE49-F238E27FC236}">
                    <a16:creationId xmlns:a16="http://schemas.microsoft.com/office/drawing/2014/main" id="{693249DA-86B5-D5C5-093D-B2DA4723AB0D}"/>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0" name="Freeform: Shape 16989">
                <a:extLst>
                  <a:ext uri="{FF2B5EF4-FFF2-40B4-BE49-F238E27FC236}">
                    <a16:creationId xmlns:a16="http://schemas.microsoft.com/office/drawing/2014/main" id="{165675A8-B9CA-D662-AEBE-5BDA475AB8EB}"/>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1" name="Graphic 112">
              <a:extLst>
                <a:ext uri="{FF2B5EF4-FFF2-40B4-BE49-F238E27FC236}">
                  <a16:creationId xmlns:a16="http://schemas.microsoft.com/office/drawing/2014/main" id="{225F790A-DDB6-965B-8391-C17BA619F426}"/>
                </a:ext>
              </a:extLst>
            </p:cNvPr>
            <p:cNvGrpSpPr/>
            <p:nvPr/>
          </p:nvGrpSpPr>
          <p:grpSpPr>
            <a:xfrm>
              <a:off x="5184362" y="3549015"/>
              <a:ext cx="75723" cy="75628"/>
              <a:chOff x="5184362" y="3549015"/>
              <a:chExt cx="75723" cy="75628"/>
            </a:xfrm>
          </p:grpSpPr>
          <p:sp>
            <p:nvSpPr>
              <p:cNvPr id="16987" name="Freeform: Shape 16986">
                <a:extLst>
                  <a:ext uri="{FF2B5EF4-FFF2-40B4-BE49-F238E27FC236}">
                    <a16:creationId xmlns:a16="http://schemas.microsoft.com/office/drawing/2014/main" id="{99594073-0232-AD58-5944-F87F6CFCE28E}"/>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8" name="Freeform: Shape 16987">
                <a:extLst>
                  <a:ext uri="{FF2B5EF4-FFF2-40B4-BE49-F238E27FC236}">
                    <a16:creationId xmlns:a16="http://schemas.microsoft.com/office/drawing/2014/main" id="{13F3C5C8-80AD-11EF-CF2E-34ED8E2674E3}"/>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2" name="Graphic 112">
              <a:extLst>
                <a:ext uri="{FF2B5EF4-FFF2-40B4-BE49-F238E27FC236}">
                  <a16:creationId xmlns:a16="http://schemas.microsoft.com/office/drawing/2014/main" id="{62B5D971-8562-79BC-91FA-11B690B338C5}"/>
                </a:ext>
              </a:extLst>
            </p:cNvPr>
            <p:cNvGrpSpPr/>
            <p:nvPr/>
          </p:nvGrpSpPr>
          <p:grpSpPr>
            <a:xfrm>
              <a:off x="4769643" y="3323272"/>
              <a:ext cx="75723" cy="75628"/>
              <a:chOff x="4769643" y="3323272"/>
              <a:chExt cx="75723" cy="75628"/>
            </a:xfrm>
          </p:grpSpPr>
          <p:sp>
            <p:nvSpPr>
              <p:cNvPr id="16985" name="Freeform: Shape 16984">
                <a:extLst>
                  <a:ext uri="{FF2B5EF4-FFF2-40B4-BE49-F238E27FC236}">
                    <a16:creationId xmlns:a16="http://schemas.microsoft.com/office/drawing/2014/main" id="{E10C6012-C8C9-4E2C-3F86-655836C13D46}"/>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6" name="Freeform: Shape 16985">
                <a:extLst>
                  <a:ext uri="{FF2B5EF4-FFF2-40B4-BE49-F238E27FC236}">
                    <a16:creationId xmlns:a16="http://schemas.microsoft.com/office/drawing/2014/main" id="{F149054D-01A0-5559-8451-513CBBBECF42}"/>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3" name="Graphic 112">
              <a:extLst>
                <a:ext uri="{FF2B5EF4-FFF2-40B4-BE49-F238E27FC236}">
                  <a16:creationId xmlns:a16="http://schemas.microsoft.com/office/drawing/2014/main" id="{D0F5F3B0-7107-2D66-7F55-A468993ECDE3}"/>
                </a:ext>
              </a:extLst>
            </p:cNvPr>
            <p:cNvGrpSpPr/>
            <p:nvPr/>
          </p:nvGrpSpPr>
          <p:grpSpPr>
            <a:xfrm>
              <a:off x="4755165" y="3323272"/>
              <a:ext cx="75723" cy="75628"/>
              <a:chOff x="4755165" y="3323272"/>
              <a:chExt cx="75723" cy="75628"/>
            </a:xfrm>
          </p:grpSpPr>
          <p:sp>
            <p:nvSpPr>
              <p:cNvPr id="16983" name="Freeform: Shape 16982">
                <a:extLst>
                  <a:ext uri="{FF2B5EF4-FFF2-40B4-BE49-F238E27FC236}">
                    <a16:creationId xmlns:a16="http://schemas.microsoft.com/office/drawing/2014/main" id="{ACDC7592-D27F-EA8E-5299-79A125D608D1}"/>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4" name="Freeform: Shape 16983">
                <a:extLst>
                  <a:ext uri="{FF2B5EF4-FFF2-40B4-BE49-F238E27FC236}">
                    <a16:creationId xmlns:a16="http://schemas.microsoft.com/office/drawing/2014/main" id="{8BD75E10-1710-FB52-B162-C067187652E8}"/>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4" name="Graphic 112">
              <a:extLst>
                <a:ext uri="{FF2B5EF4-FFF2-40B4-BE49-F238E27FC236}">
                  <a16:creationId xmlns:a16="http://schemas.microsoft.com/office/drawing/2014/main" id="{282A2AF1-9212-EBB9-C745-C423514D9C8A}"/>
                </a:ext>
              </a:extLst>
            </p:cNvPr>
            <p:cNvGrpSpPr/>
            <p:nvPr/>
          </p:nvGrpSpPr>
          <p:grpSpPr>
            <a:xfrm>
              <a:off x="4762404" y="3323272"/>
              <a:ext cx="75723" cy="75628"/>
              <a:chOff x="4762404" y="3323272"/>
              <a:chExt cx="75723" cy="75628"/>
            </a:xfrm>
          </p:grpSpPr>
          <p:sp>
            <p:nvSpPr>
              <p:cNvPr id="16981" name="Freeform: Shape 16980">
                <a:extLst>
                  <a:ext uri="{FF2B5EF4-FFF2-40B4-BE49-F238E27FC236}">
                    <a16:creationId xmlns:a16="http://schemas.microsoft.com/office/drawing/2014/main" id="{8CC7BA4F-99C3-DC2A-42EE-60176EB05342}"/>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2" name="Freeform: Shape 16981">
                <a:extLst>
                  <a:ext uri="{FF2B5EF4-FFF2-40B4-BE49-F238E27FC236}">
                    <a16:creationId xmlns:a16="http://schemas.microsoft.com/office/drawing/2014/main" id="{8A00228D-855A-DCCB-944D-B28228D391BF}"/>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5" name="Graphic 112">
              <a:extLst>
                <a:ext uri="{FF2B5EF4-FFF2-40B4-BE49-F238E27FC236}">
                  <a16:creationId xmlns:a16="http://schemas.microsoft.com/office/drawing/2014/main" id="{91B6FE8E-9B8A-1B42-7704-CBFE4A803C4B}"/>
                </a:ext>
              </a:extLst>
            </p:cNvPr>
            <p:cNvGrpSpPr/>
            <p:nvPr/>
          </p:nvGrpSpPr>
          <p:grpSpPr>
            <a:xfrm>
              <a:off x="4724590" y="3199257"/>
              <a:ext cx="75628" cy="75628"/>
              <a:chOff x="4724590" y="3199257"/>
              <a:chExt cx="75628" cy="75628"/>
            </a:xfrm>
          </p:grpSpPr>
          <p:sp>
            <p:nvSpPr>
              <p:cNvPr id="16979" name="Freeform: Shape 16978">
                <a:extLst>
                  <a:ext uri="{FF2B5EF4-FFF2-40B4-BE49-F238E27FC236}">
                    <a16:creationId xmlns:a16="http://schemas.microsoft.com/office/drawing/2014/main" id="{819E8388-1ADF-8D8B-3C3C-96B190E28AD8}"/>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0" name="Freeform: Shape 16979">
                <a:extLst>
                  <a:ext uri="{FF2B5EF4-FFF2-40B4-BE49-F238E27FC236}">
                    <a16:creationId xmlns:a16="http://schemas.microsoft.com/office/drawing/2014/main" id="{F09D81F0-C10A-67D7-9810-FB363E8BD1A2}"/>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6" name="Graphic 112">
              <a:extLst>
                <a:ext uri="{FF2B5EF4-FFF2-40B4-BE49-F238E27FC236}">
                  <a16:creationId xmlns:a16="http://schemas.microsoft.com/office/drawing/2014/main" id="{E687EECB-049C-9F12-C838-9DCFE15EB54C}"/>
                </a:ext>
              </a:extLst>
            </p:cNvPr>
            <p:cNvGrpSpPr/>
            <p:nvPr/>
          </p:nvGrpSpPr>
          <p:grpSpPr>
            <a:xfrm>
              <a:off x="4710112" y="3199257"/>
              <a:ext cx="75628" cy="75628"/>
              <a:chOff x="4710112" y="3199257"/>
              <a:chExt cx="75628" cy="75628"/>
            </a:xfrm>
          </p:grpSpPr>
          <p:sp>
            <p:nvSpPr>
              <p:cNvPr id="16977" name="Freeform: Shape 16976">
                <a:extLst>
                  <a:ext uri="{FF2B5EF4-FFF2-40B4-BE49-F238E27FC236}">
                    <a16:creationId xmlns:a16="http://schemas.microsoft.com/office/drawing/2014/main" id="{B0FA8C0F-EC7F-C77F-28F7-98844189AF23}"/>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8" name="Freeform: Shape 16977">
                <a:extLst>
                  <a:ext uri="{FF2B5EF4-FFF2-40B4-BE49-F238E27FC236}">
                    <a16:creationId xmlns:a16="http://schemas.microsoft.com/office/drawing/2014/main" id="{089C7C06-7D78-B729-E28B-8D144AFD50FF}"/>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7" name="Graphic 112">
              <a:extLst>
                <a:ext uri="{FF2B5EF4-FFF2-40B4-BE49-F238E27FC236}">
                  <a16:creationId xmlns:a16="http://schemas.microsoft.com/office/drawing/2014/main" id="{E0F2C3C7-1B92-3A97-5B63-6619C07B802D}"/>
                </a:ext>
              </a:extLst>
            </p:cNvPr>
            <p:cNvGrpSpPr/>
            <p:nvPr/>
          </p:nvGrpSpPr>
          <p:grpSpPr>
            <a:xfrm>
              <a:off x="4717351" y="3199257"/>
              <a:ext cx="75628" cy="75628"/>
              <a:chOff x="4717351" y="3199257"/>
              <a:chExt cx="75628" cy="75628"/>
            </a:xfrm>
          </p:grpSpPr>
          <p:sp>
            <p:nvSpPr>
              <p:cNvPr id="16975" name="Freeform: Shape 16974">
                <a:extLst>
                  <a:ext uri="{FF2B5EF4-FFF2-40B4-BE49-F238E27FC236}">
                    <a16:creationId xmlns:a16="http://schemas.microsoft.com/office/drawing/2014/main" id="{246614DE-8533-ABFE-5B63-4F3AF6BBEC32}"/>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6" name="Freeform: Shape 16975">
                <a:extLst>
                  <a:ext uri="{FF2B5EF4-FFF2-40B4-BE49-F238E27FC236}">
                    <a16:creationId xmlns:a16="http://schemas.microsoft.com/office/drawing/2014/main" id="{0FE3BB48-0C02-2076-B55E-A0A061D9E6CC}"/>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8" name="Graphic 112">
              <a:extLst>
                <a:ext uri="{FF2B5EF4-FFF2-40B4-BE49-F238E27FC236}">
                  <a16:creationId xmlns:a16="http://schemas.microsoft.com/office/drawing/2014/main" id="{B3FD29B0-0D8D-2BE1-1DC9-9681EAA0923B}"/>
                </a:ext>
              </a:extLst>
            </p:cNvPr>
            <p:cNvGrpSpPr/>
            <p:nvPr/>
          </p:nvGrpSpPr>
          <p:grpSpPr>
            <a:xfrm>
              <a:off x="4731829" y="3199257"/>
              <a:ext cx="75628" cy="75628"/>
              <a:chOff x="4731829" y="3199257"/>
              <a:chExt cx="75628" cy="75628"/>
            </a:xfrm>
          </p:grpSpPr>
          <p:sp>
            <p:nvSpPr>
              <p:cNvPr id="16973" name="Freeform: Shape 16972">
                <a:extLst>
                  <a:ext uri="{FF2B5EF4-FFF2-40B4-BE49-F238E27FC236}">
                    <a16:creationId xmlns:a16="http://schemas.microsoft.com/office/drawing/2014/main" id="{E2E0CAFD-3FE7-66A9-3C6A-0F0E6E0D50EE}"/>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4" name="Freeform: Shape 16973">
                <a:extLst>
                  <a:ext uri="{FF2B5EF4-FFF2-40B4-BE49-F238E27FC236}">
                    <a16:creationId xmlns:a16="http://schemas.microsoft.com/office/drawing/2014/main" id="{419CE952-9FA1-70CA-BB4C-5398BF1CA5B1}"/>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9" name="Graphic 112">
              <a:extLst>
                <a:ext uri="{FF2B5EF4-FFF2-40B4-BE49-F238E27FC236}">
                  <a16:creationId xmlns:a16="http://schemas.microsoft.com/office/drawing/2014/main" id="{CC27CE0A-5A70-6303-485F-58FAB1F82E88}"/>
                </a:ext>
              </a:extLst>
            </p:cNvPr>
            <p:cNvGrpSpPr/>
            <p:nvPr/>
          </p:nvGrpSpPr>
          <p:grpSpPr>
            <a:xfrm>
              <a:off x="4751546" y="3244024"/>
              <a:ext cx="75723" cy="75628"/>
              <a:chOff x="4751546" y="3244024"/>
              <a:chExt cx="75723" cy="75628"/>
            </a:xfrm>
          </p:grpSpPr>
          <p:sp>
            <p:nvSpPr>
              <p:cNvPr id="16971" name="Freeform: Shape 16970">
                <a:extLst>
                  <a:ext uri="{FF2B5EF4-FFF2-40B4-BE49-F238E27FC236}">
                    <a16:creationId xmlns:a16="http://schemas.microsoft.com/office/drawing/2014/main" id="{520E33EB-5461-97F2-161D-24C03CBD7043}"/>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2" name="Freeform: Shape 16971">
                <a:extLst>
                  <a:ext uri="{FF2B5EF4-FFF2-40B4-BE49-F238E27FC236}">
                    <a16:creationId xmlns:a16="http://schemas.microsoft.com/office/drawing/2014/main" id="{E23A6DC3-80FA-9510-06DD-72034A1ECB13}"/>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0" name="Graphic 112">
              <a:extLst>
                <a:ext uri="{FF2B5EF4-FFF2-40B4-BE49-F238E27FC236}">
                  <a16:creationId xmlns:a16="http://schemas.microsoft.com/office/drawing/2014/main" id="{10F22EF7-EE6F-AB95-7A02-3BF71B04B9BB}"/>
                </a:ext>
              </a:extLst>
            </p:cNvPr>
            <p:cNvGrpSpPr/>
            <p:nvPr/>
          </p:nvGrpSpPr>
          <p:grpSpPr>
            <a:xfrm>
              <a:off x="4737068" y="3244024"/>
              <a:ext cx="75723" cy="75628"/>
              <a:chOff x="4737068" y="3244024"/>
              <a:chExt cx="75723" cy="75628"/>
            </a:xfrm>
          </p:grpSpPr>
          <p:sp>
            <p:nvSpPr>
              <p:cNvPr id="16969" name="Freeform: Shape 16968">
                <a:extLst>
                  <a:ext uri="{FF2B5EF4-FFF2-40B4-BE49-F238E27FC236}">
                    <a16:creationId xmlns:a16="http://schemas.microsoft.com/office/drawing/2014/main" id="{5E3B8A30-B059-2B52-2E27-99FAB21DFC85}"/>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0" name="Freeform: Shape 16969">
                <a:extLst>
                  <a:ext uri="{FF2B5EF4-FFF2-40B4-BE49-F238E27FC236}">
                    <a16:creationId xmlns:a16="http://schemas.microsoft.com/office/drawing/2014/main" id="{D6C40BCA-8394-00DB-8410-C9B6765AD39E}"/>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1" name="Graphic 112">
              <a:extLst>
                <a:ext uri="{FF2B5EF4-FFF2-40B4-BE49-F238E27FC236}">
                  <a16:creationId xmlns:a16="http://schemas.microsoft.com/office/drawing/2014/main" id="{8CC4D79D-1529-7C3F-D446-0D60BC47C966}"/>
                </a:ext>
              </a:extLst>
            </p:cNvPr>
            <p:cNvGrpSpPr/>
            <p:nvPr/>
          </p:nvGrpSpPr>
          <p:grpSpPr>
            <a:xfrm>
              <a:off x="4744307" y="3244024"/>
              <a:ext cx="75723" cy="75628"/>
              <a:chOff x="4744307" y="3244024"/>
              <a:chExt cx="75723" cy="75628"/>
            </a:xfrm>
          </p:grpSpPr>
          <p:sp>
            <p:nvSpPr>
              <p:cNvPr id="16967" name="Freeform: Shape 16966">
                <a:extLst>
                  <a:ext uri="{FF2B5EF4-FFF2-40B4-BE49-F238E27FC236}">
                    <a16:creationId xmlns:a16="http://schemas.microsoft.com/office/drawing/2014/main" id="{AB2022AE-6B3C-215A-751C-977073EFC9F6}"/>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8" name="Freeform: Shape 16967">
                <a:extLst>
                  <a:ext uri="{FF2B5EF4-FFF2-40B4-BE49-F238E27FC236}">
                    <a16:creationId xmlns:a16="http://schemas.microsoft.com/office/drawing/2014/main" id="{AF1BFF37-660E-AE6D-D820-BD3DB047B7A2}"/>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2" name="Graphic 112">
              <a:extLst>
                <a:ext uri="{FF2B5EF4-FFF2-40B4-BE49-F238E27FC236}">
                  <a16:creationId xmlns:a16="http://schemas.microsoft.com/office/drawing/2014/main" id="{9D5D8CDC-E91E-132E-0D6F-4E69178FCB6C}"/>
                </a:ext>
              </a:extLst>
            </p:cNvPr>
            <p:cNvGrpSpPr/>
            <p:nvPr/>
          </p:nvGrpSpPr>
          <p:grpSpPr>
            <a:xfrm>
              <a:off x="4758785" y="3244024"/>
              <a:ext cx="75723" cy="75628"/>
              <a:chOff x="4758785" y="3244024"/>
              <a:chExt cx="75723" cy="75628"/>
            </a:xfrm>
          </p:grpSpPr>
          <p:sp>
            <p:nvSpPr>
              <p:cNvPr id="16965" name="Freeform: Shape 16964">
                <a:extLst>
                  <a:ext uri="{FF2B5EF4-FFF2-40B4-BE49-F238E27FC236}">
                    <a16:creationId xmlns:a16="http://schemas.microsoft.com/office/drawing/2014/main" id="{A41F2792-2748-4289-D7D9-768B8AAEA717}"/>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6" name="Freeform: Shape 16965">
                <a:extLst>
                  <a:ext uri="{FF2B5EF4-FFF2-40B4-BE49-F238E27FC236}">
                    <a16:creationId xmlns:a16="http://schemas.microsoft.com/office/drawing/2014/main" id="{4011C391-5437-483F-B873-304DC5FAAC6D}"/>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3" name="Graphic 112">
              <a:extLst>
                <a:ext uri="{FF2B5EF4-FFF2-40B4-BE49-F238E27FC236}">
                  <a16:creationId xmlns:a16="http://schemas.microsoft.com/office/drawing/2014/main" id="{C7025265-6E0F-9FAF-8D12-F18D896F7996}"/>
                </a:ext>
              </a:extLst>
            </p:cNvPr>
            <p:cNvGrpSpPr/>
            <p:nvPr/>
          </p:nvGrpSpPr>
          <p:grpSpPr>
            <a:xfrm>
              <a:off x="4747926" y="3261264"/>
              <a:ext cx="75723" cy="75628"/>
              <a:chOff x="4747926" y="3261264"/>
              <a:chExt cx="75723" cy="75628"/>
            </a:xfrm>
          </p:grpSpPr>
          <p:sp>
            <p:nvSpPr>
              <p:cNvPr id="16963" name="Freeform: Shape 16962">
                <a:extLst>
                  <a:ext uri="{FF2B5EF4-FFF2-40B4-BE49-F238E27FC236}">
                    <a16:creationId xmlns:a16="http://schemas.microsoft.com/office/drawing/2014/main" id="{BED83F7A-7C0D-930E-33BC-829738CE74F4}"/>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4" name="Freeform: Shape 16963">
                <a:extLst>
                  <a:ext uri="{FF2B5EF4-FFF2-40B4-BE49-F238E27FC236}">
                    <a16:creationId xmlns:a16="http://schemas.microsoft.com/office/drawing/2014/main" id="{B182A430-37FD-F592-6F9B-27DC980567F6}"/>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4" name="Graphic 112">
              <a:extLst>
                <a:ext uri="{FF2B5EF4-FFF2-40B4-BE49-F238E27FC236}">
                  <a16:creationId xmlns:a16="http://schemas.microsoft.com/office/drawing/2014/main" id="{E23443D0-5A2D-69D5-6673-8FED12A14596}"/>
                </a:ext>
              </a:extLst>
            </p:cNvPr>
            <p:cNvGrpSpPr/>
            <p:nvPr/>
          </p:nvGrpSpPr>
          <p:grpSpPr>
            <a:xfrm>
              <a:off x="4755165" y="3261264"/>
              <a:ext cx="75723" cy="75628"/>
              <a:chOff x="4755165" y="3261264"/>
              <a:chExt cx="75723" cy="75628"/>
            </a:xfrm>
          </p:grpSpPr>
          <p:sp>
            <p:nvSpPr>
              <p:cNvPr id="16961" name="Freeform: Shape 16960">
                <a:extLst>
                  <a:ext uri="{FF2B5EF4-FFF2-40B4-BE49-F238E27FC236}">
                    <a16:creationId xmlns:a16="http://schemas.microsoft.com/office/drawing/2014/main" id="{A0CFE3E5-316D-3F59-F400-C794C55A3DC4}"/>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2" name="Freeform: Shape 16961">
                <a:extLst>
                  <a:ext uri="{FF2B5EF4-FFF2-40B4-BE49-F238E27FC236}">
                    <a16:creationId xmlns:a16="http://schemas.microsoft.com/office/drawing/2014/main" id="{316AFFE8-A156-7BD7-9BC5-5811D2A62C90}"/>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5" name="Graphic 112">
              <a:extLst>
                <a:ext uri="{FF2B5EF4-FFF2-40B4-BE49-F238E27FC236}">
                  <a16:creationId xmlns:a16="http://schemas.microsoft.com/office/drawing/2014/main" id="{E90DCD5C-5F9C-D5B5-D7C4-AFBB33793928}"/>
                </a:ext>
              </a:extLst>
            </p:cNvPr>
            <p:cNvGrpSpPr/>
            <p:nvPr/>
          </p:nvGrpSpPr>
          <p:grpSpPr>
            <a:xfrm>
              <a:off x="4436078" y="3075527"/>
              <a:ext cx="75723" cy="75628"/>
              <a:chOff x="4436078" y="3075527"/>
              <a:chExt cx="75723" cy="75628"/>
            </a:xfrm>
          </p:grpSpPr>
          <p:sp>
            <p:nvSpPr>
              <p:cNvPr id="16959" name="Freeform: Shape 16958">
                <a:extLst>
                  <a:ext uri="{FF2B5EF4-FFF2-40B4-BE49-F238E27FC236}">
                    <a16:creationId xmlns:a16="http://schemas.microsoft.com/office/drawing/2014/main" id="{BBF41B22-58D3-7E70-5948-6F27A5442DD5}"/>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0" name="Freeform: Shape 16959">
                <a:extLst>
                  <a:ext uri="{FF2B5EF4-FFF2-40B4-BE49-F238E27FC236}">
                    <a16:creationId xmlns:a16="http://schemas.microsoft.com/office/drawing/2014/main" id="{AEFB6886-77A5-D356-8344-82D2E685A2BF}"/>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6" name="Graphic 112">
              <a:extLst>
                <a:ext uri="{FF2B5EF4-FFF2-40B4-BE49-F238E27FC236}">
                  <a16:creationId xmlns:a16="http://schemas.microsoft.com/office/drawing/2014/main" id="{C51CE8A6-F848-C7F4-F255-E06E3E33167A}"/>
                </a:ext>
              </a:extLst>
            </p:cNvPr>
            <p:cNvGrpSpPr/>
            <p:nvPr/>
          </p:nvGrpSpPr>
          <p:grpSpPr>
            <a:xfrm>
              <a:off x="4372927" y="3062954"/>
              <a:ext cx="75628" cy="75628"/>
              <a:chOff x="4372927" y="3062954"/>
              <a:chExt cx="75628" cy="75628"/>
            </a:xfrm>
          </p:grpSpPr>
          <p:sp>
            <p:nvSpPr>
              <p:cNvPr id="16957" name="Freeform: Shape 16956">
                <a:extLst>
                  <a:ext uri="{FF2B5EF4-FFF2-40B4-BE49-F238E27FC236}">
                    <a16:creationId xmlns:a16="http://schemas.microsoft.com/office/drawing/2014/main" id="{CD95ED56-C04D-BBD4-2BF1-793A095BD84D}"/>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8" name="Freeform: Shape 16957">
                <a:extLst>
                  <a:ext uri="{FF2B5EF4-FFF2-40B4-BE49-F238E27FC236}">
                    <a16:creationId xmlns:a16="http://schemas.microsoft.com/office/drawing/2014/main" id="{A90DA407-1B9B-CBA3-3AC1-B93127B12E65}"/>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7" name="Graphic 112">
              <a:extLst>
                <a:ext uri="{FF2B5EF4-FFF2-40B4-BE49-F238E27FC236}">
                  <a16:creationId xmlns:a16="http://schemas.microsoft.com/office/drawing/2014/main" id="{408A6E78-875A-2A80-FCD9-44B4A757B84E}"/>
                </a:ext>
              </a:extLst>
            </p:cNvPr>
            <p:cNvGrpSpPr/>
            <p:nvPr/>
          </p:nvGrpSpPr>
          <p:grpSpPr>
            <a:xfrm>
              <a:off x="4337589" y="3037617"/>
              <a:ext cx="75723" cy="75723"/>
              <a:chOff x="4337589" y="3037617"/>
              <a:chExt cx="75723" cy="75723"/>
            </a:xfrm>
          </p:grpSpPr>
          <p:sp>
            <p:nvSpPr>
              <p:cNvPr id="16955" name="Freeform: Shape 16954">
                <a:extLst>
                  <a:ext uri="{FF2B5EF4-FFF2-40B4-BE49-F238E27FC236}">
                    <a16:creationId xmlns:a16="http://schemas.microsoft.com/office/drawing/2014/main" id="{8284896C-4193-45FB-DDD3-4D864459B90F}"/>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6" name="Freeform: Shape 16955">
                <a:extLst>
                  <a:ext uri="{FF2B5EF4-FFF2-40B4-BE49-F238E27FC236}">
                    <a16:creationId xmlns:a16="http://schemas.microsoft.com/office/drawing/2014/main" id="{F95E8EE9-E6E2-2930-C206-A9FBD2CC4E40}"/>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8" name="Graphic 112">
              <a:extLst>
                <a:ext uri="{FF2B5EF4-FFF2-40B4-BE49-F238E27FC236}">
                  <a16:creationId xmlns:a16="http://schemas.microsoft.com/office/drawing/2014/main" id="{ED772761-CCDF-8CFD-0571-D0908F14A5DA}"/>
                </a:ext>
              </a:extLst>
            </p:cNvPr>
            <p:cNvGrpSpPr/>
            <p:nvPr/>
          </p:nvGrpSpPr>
          <p:grpSpPr>
            <a:xfrm>
              <a:off x="4343876" y="3037617"/>
              <a:ext cx="75723" cy="75723"/>
              <a:chOff x="4343876" y="3037617"/>
              <a:chExt cx="75723" cy="75723"/>
            </a:xfrm>
          </p:grpSpPr>
          <p:sp>
            <p:nvSpPr>
              <p:cNvPr id="16953" name="Freeform: Shape 16952">
                <a:extLst>
                  <a:ext uri="{FF2B5EF4-FFF2-40B4-BE49-F238E27FC236}">
                    <a16:creationId xmlns:a16="http://schemas.microsoft.com/office/drawing/2014/main" id="{114D6A2D-90E1-305B-E736-9B1DE5FF8E45}"/>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4" name="Freeform: Shape 16953">
                <a:extLst>
                  <a:ext uri="{FF2B5EF4-FFF2-40B4-BE49-F238E27FC236}">
                    <a16:creationId xmlns:a16="http://schemas.microsoft.com/office/drawing/2014/main" id="{A71C57A4-31F6-07E3-EEE1-925DFFE798DB}"/>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9" name="Graphic 112">
              <a:extLst>
                <a:ext uri="{FF2B5EF4-FFF2-40B4-BE49-F238E27FC236}">
                  <a16:creationId xmlns:a16="http://schemas.microsoft.com/office/drawing/2014/main" id="{F4A53315-5992-62F6-5359-23FC302FC71C}"/>
                </a:ext>
              </a:extLst>
            </p:cNvPr>
            <p:cNvGrpSpPr/>
            <p:nvPr/>
          </p:nvGrpSpPr>
          <p:grpSpPr>
            <a:xfrm>
              <a:off x="4350162" y="3037617"/>
              <a:ext cx="75723" cy="75723"/>
              <a:chOff x="4350162" y="3037617"/>
              <a:chExt cx="75723" cy="75723"/>
            </a:xfrm>
          </p:grpSpPr>
          <p:sp>
            <p:nvSpPr>
              <p:cNvPr id="16951" name="Freeform: Shape 16950">
                <a:extLst>
                  <a:ext uri="{FF2B5EF4-FFF2-40B4-BE49-F238E27FC236}">
                    <a16:creationId xmlns:a16="http://schemas.microsoft.com/office/drawing/2014/main" id="{C3D3ECC5-B5C8-54A1-975D-5197B14F2BE8}"/>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2" name="Freeform: Shape 16951">
                <a:extLst>
                  <a:ext uri="{FF2B5EF4-FFF2-40B4-BE49-F238E27FC236}">
                    <a16:creationId xmlns:a16="http://schemas.microsoft.com/office/drawing/2014/main" id="{88CA4EB7-CFFD-DC81-B698-F19015C500FC}"/>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0" name="Graphic 112">
              <a:extLst>
                <a:ext uri="{FF2B5EF4-FFF2-40B4-BE49-F238E27FC236}">
                  <a16:creationId xmlns:a16="http://schemas.microsoft.com/office/drawing/2014/main" id="{69600FA0-0B55-FEFA-177A-F76E52118F33}"/>
                </a:ext>
              </a:extLst>
            </p:cNvPr>
            <p:cNvGrpSpPr/>
            <p:nvPr/>
          </p:nvGrpSpPr>
          <p:grpSpPr>
            <a:xfrm>
              <a:off x="4329112" y="2975895"/>
              <a:ext cx="75723" cy="75628"/>
              <a:chOff x="4329112" y="2975895"/>
              <a:chExt cx="75723" cy="75628"/>
            </a:xfrm>
          </p:grpSpPr>
          <p:sp>
            <p:nvSpPr>
              <p:cNvPr id="16949" name="Freeform: Shape 16948">
                <a:extLst>
                  <a:ext uri="{FF2B5EF4-FFF2-40B4-BE49-F238E27FC236}">
                    <a16:creationId xmlns:a16="http://schemas.microsoft.com/office/drawing/2014/main" id="{975B3115-27DA-B58E-BEAB-F182D4696D45}"/>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0" name="Freeform: Shape 16949">
                <a:extLst>
                  <a:ext uri="{FF2B5EF4-FFF2-40B4-BE49-F238E27FC236}">
                    <a16:creationId xmlns:a16="http://schemas.microsoft.com/office/drawing/2014/main" id="{62B893FD-93C8-7FE1-6A1C-008644168720}"/>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1" name="Graphic 112">
              <a:extLst>
                <a:ext uri="{FF2B5EF4-FFF2-40B4-BE49-F238E27FC236}">
                  <a16:creationId xmlns:a16="http://schemas.microsoft.com/office/drawing/2014/main" id="{8BCBF89D-0E8D-5F89-D832-071C63142405}"/>
                </a:ext>
              </a:extLst>
            </p:cNvPr>
            <p:cNvGrpSpPr/>
            <p:nvPr/>
          </p:nvGrpSpPr>
          <p:grpSpPr>
            <a:xfrm>
              <a:off x="4283487" y="2903696"/>
              <a:ext cx="75723" cy="75723"/>
              <a:chOff x="4283487" y="2903696"/>
              <a:chExt cx="75723" cy="75723"/>
            </a:xfrm>
          </p:grpSpPr>
          <p:sp>
            <p:nvSpPr>
              <p:cNvPr id="16947" name="Freeform: Shape 16946">
                <a:extLst>
                  <a:ext uri="{FF2B5EF4-FFF2-40B4-BE49-F238E27FC236}">
                    <a16:creationId xmlns:a16="http://schemas.microsoft.com/office/drawing/2014/main" id="{04A27DB7-0D73-B16A-C0AE-C568963FF0B2}"/>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8" name="Freeform: Shape 16947">
                <a:extLst>
                  <a:ext uri="{FF2B5EF4-FFF2-40B4-BE49-F238E27FC236}">
                    <a16:creationId xmlns:a16="http://schemas.microsoft.com/office/drawing/2014/main" id="{CADF2CB4-F62C-988B-8DCD-FA355B89A17D}"/>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2" name="Graphic 112">
              <a:extLst>
                <a:ext uri="{FF2B5EF4-FFF2-40B4-BE49-F238E27FC236}">
                  <a16:creationId xmlns:a16="http://schemas.microsoft.com/office/drawing/2014/main" id="{127DD3EB-8880-0E74-1942-9398E0F2C036}"/>
                </a:ext>
              </a:extLst>
            </p:cNvPr>
            <p:cNvGrpSpPr/>
            <p:nvPr/>
          </p:nvGrpSpPr>
          <p:grpSpPr>
            <a:xfrm>
              <a:off x="4288345" y="2903696"/>
              <a:ext cx="75723" cy="75723"/>
              <a:chOff x="4288345" y="2903696"/>
              <a:chExt cx="75723" cy="75723"/>
            </a:xfrm>
          </p:grpSpPr>
          <p:sp>
            <p:nvSpPr>
              <p:cNvPr id="16945" name="Freeform: Shape 16944">
                <a:extLst>
                  <a:ext uri="{FF2B5EF4-FFF2-40B4-BE49-F238E27FC236}">
                    <a16:creationId xmlns:a16="http://schemas.microsoft.com/office/drawing/2014/main" id="{E16E42FB-835E-9E91-507F-0444D7B34FC6}"/>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6" name="Freeform: Shape 16945">
                <a:extLst>
                  <a:ext uri="{FF2B5EF4-FFF2-40B4-BE49-F238E27FC236}">
                    <a16:creationId xmlns:a16="http://schemas.microsoft.com/office/drawing/2014/main" id="{FF1AE8CA-AC3E-88E0-CEEF-854BA91DC95A}"/>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3" name="Graphic 112">
              <a:extLst>
                <a:ext uri="{FF2B5EF4-FFF2-40B4-BE49-F238E27FC236}">
                  <a16:creationId xmlns:a16="http://schemas.microsoft.com/office/drawing/2014/main" id="{26B8A89F-B1E4-274A-019D-45769F2A588D}"/>
                </a:ext>
              </a:extLst>
            </p:cNvPr>
            <p:cNvGrpSpPr/>
            <p:nvPr/>
          </p:nvGrpSpPr>
          <p:grpSpPr>
            <a:xfrm>
              <a:off x="4297394" y="2949892"/>
              <a:ext cx="75628" cy="75723"/>
              <a:chOff x="4297394" y="2949892"/>
              <a:chExt cx="75628" cy="75723"/>
            </a:xfrm>
          </p:grpSpPr>
          <p:sp>
            <p:nvSpPr>
              <p:cNvPr id="16943" name="Freeform: Shape 16942">
                <a:extLst>
                  <a:ext uri="{FF2B5EF4-FFF2-40B4-BE49-F238E27FC236}">
                    <a16:creationId xmlns:a16="http://schemas.microsoft.com/office/drawing/2014/main" id="{23131F8F-FFDD-946A-3DD5-071011DE1D7F}"/>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4" name="Freeform: Shape 16943">
                <a:extLst>
                  <a:ext uri="{FF2B5EF4-FFF2-40B4-BE49-F238E27FC236}">
                    <a16:creationId xmlns:a16="http://schemas.microsoft.com/office/drawing/2014/main" id="{0217C591-0DF6-6548-33FE-B347C6917B13}"/>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4" name="Graphic 112">
              <a:extLst>
                <a:ext uri="{FF2B5EF4-FFF2-40B4-BE49-F238E27FC236}">
                  <a16:creationId xmlns:a16="http://schemas.microsoft.com/office/drawing/2014/main" id="{0D31A698-FBA9-9A7F-20DD-A5E45AEA2BC6}"/>
                </a:ext>
              </a:extLst>
            </p:cNvPr>
            <p:cNvGrpSpPr/>
            <p:nvPr/>
          </p:nvGrpSpPr>
          <p:grpSpPr>
            <a:xfrm>
              <a:off x="4304823" y="2949892"/>
              <a:ext cx="75723" cy="75723"/>
              <a:chOff x="4304823" y="2949892"/>
              <a:chExt cx="75723" cy="75723"/>
            </a:xfrm>
          </p:grpSpPr>
          <p:sp>
            <p:nvSpPr>
              <p:cNvPr id="16941" name="Freeform: Shape 16940">
                <a:extLst>
                  <a:ext uri="{FF2B5EF4-FFF2-40B4-BE49-F238E27FC236}">
                    <a16:creationId xmlns:a16="http://schemas.microsoft.com/office/drawing/2014/main" id="{90E0F3C9-D89F-3D89-2122-64BD44B2B496}"/>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2" name="Freeform: Shape 16941">
                <a:extLst>
                  <a:ext uri="{FF2B5EF4-FFF2-40B4-BE49-F238E27FC236}">
                    <a16:creationId xmlns:a16="http://schemas.microsoft.com/office/drawing/2014/main" id="{6D9E0E18-719B-52AE-92ED-80FD63E85199}"/>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5" name="Graphic 112">
              <a:extLst>
                <a:ext uri="{FF2B5EF4-FFF2-40B4-BE49-F238E27FC236}">
                  <a16:creationId xmlns:a16="http://schemas.microsoft.com/office/drawing/2014/main" id="{40695929-1EB1-0C48-1926-66EC3D75B76D}"/>
                </a:ext>
              </a:extLst>
            </p:cNvPr>
            <p:cNvGrpSpPr/>
            <p:nvPr/>
          </p:nvGrpSpPr>
          <p:grpSpPr>
            <a:xfrm>
              <a:off x="4312348" y="2949892"/>
              <a:ext cx="75723" cy="75723"/>
              <a:chOff x="4312348" y="2949892"/>
              <a:chExt cx="75723" cy="75723"/>
            </a:xfrm>
          </p:grpSpPr>
          <p:sp>
            <p:nvSpPr>
              <p:cNvPr id="16939" name="Freeform: Shape 16938">
                <a:extLst>
                  <a:ext uri="{FF2B5EF4-FFF2-40B4-BE49-F238E27FC236}">
                    <a16:creationId xmlns:a16="http://schemas.microsoft.com/office/drawing/2014/main" id="{96B68B0A-1EE4-B197-EC4E-D31B0C2BEDC5}"/>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0" name="Freeform: Shape 16939">
                <a:extLst>
                  <a:ext uri="{FF2B5EF4-FFF2-40B4-BE49-F238E27FC236}">
                    <a16:creationId xmlns:a16="http://schemas.microsoft.com/office/drawing/2014/main" id="{A1B3C6A2-42DD-D63D-CE37-90DBDB513E65}"/>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6" name="Graphic 112">
              <a:extLst>
                <a:ext uri="{FF2B5EF4-FFF2-40B4-BE49-F238E27FC236}">
                  <a16:creationId xmlns:a16="http://schemas.microsoft.com/office/drawing/2014/main" id="{25080947-ACCC-4F29-C6BB-60A90A773CDA}"/>
                </a:ext>
              </a:extLst>
            </p:cNvPr>
            <p:cNvGrpSpPr/>
            <p:nvPr/>
          </p:nvGrpSpPr>
          <p:grpSpPr>
            <a:xfrm>
              <a:off x="3888962" y="2740056"/>
              <a:ext cx="75628" cy="75723"/>
              <a:chOff x="3888962" y="2740056"/>
              <a:chExt cx="75628" cy="75723"/>
            </a:xfrm>
          </p:grpSpPr>
          <p:sp>
            <p:nvSpPr>
              <p:cNvPr id="16937" name="Freeform: Shape 16936">
                <a:extLst>
                  <a:ext uri="{FF2B5EF4-FFF2-40B4-BE49-F238E27FC236}">
                    <a16:creationId xmlns:a16="http://schemas.microsoft.com/office/drawing/2014/main" id="{0BDFB565-7F46-0B64-74EC-543BB264DAC1}"/>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38" name="Freeform: Shape 16937">
                <a:extLst>
                  <a:ext uri="{FF2B5EF4-FFF2-40B4-BE49-F238E27FC236}">
                    <a16:creationId xmlns:a16="http://schemas.microsoft.com/office/drawing/2014/main" id="{968379C0-7BB1-9F7E-F834-3FAD87035F35}"/>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5722" name="Group 15721">
            <a:extLst>
              <a:ext uri="{FF2B5EF4-FFF2-40B4-BE49-F238E27FC236}">
                <a16:creationId xmlns:a16="http://schemas.microsoft.com/office/drawing/2014/main" id="{A8788567-1FBA-FD4C-4020-FFE7F4BE2939}"/>
              </a:ext>
            </a:extLst>
          </p:cNvPr>
          <p:cNvGrpSpPr/>
          <p:nvPr/>
        </p:nvGrpSpPr>
        <p:grpSpPr>
          <a:xfrm>
            <a:off x="659300" y="1434330"/>
            <a:ext cx="6855505" cy="2159001"/>
            <a:chOff x="3486150" y="2509837"/>
            <a:chExt cx="5217128" cy="1841658"/>
          </a:xfrm>
        </p:grpSpPr>
        <p:grpSp>
          <p:nvGrpSpPr>
            <p:cNvPr id="15723" name="Graphic 745">
              <a:extLst>
                <a:ext uri="{FF2B5EF4-FFF2-40B4-BE49-F238E27FC236}">
                  <a16:creationId xmlns:a16="http://schemas.microsoft.com/office/drawing/2014/main" id="{89B406E9-908B-46BF-7EE5-25EEF55732C5}"/>
                </a:ext>
              </a:extLst>
            </p:cNvPr>
            <p:cNvGrpSpPr/>
            <p:nvPr/>
          </p:nvGrpSpPr>
          <p:grpSpPr>
            <a:xfrm>
              <a:off x="3486150" y="2509837"/>
              <a:ext cx="5217128" cy="1841658"/>
              <a:chOff x="3486150" y="2509837"/>
              <a:chExt cx="5217128" cy="1841658"/>
            </a:xfrm>
          </p:grpSpPr>
          <p:grpSp>
            <p:nvGrpSpPr>
              <p:cNvPr id="15725" name="Graphic 745">
                <a:extLst>
                  <a:ext uri="{FF2B5EF4-FFF2-40B4-BE49-F238E27FC236}">
                    <a16:creationId xmlns:a16="http://schemas.microsoft.com/office/drawing/2014/main" id="{2987FD6C-8E1C-E40F-62FF-029B97FB5E67}"/>
                  </a:ext>
                </a:extLst>
              </p:cNvPr>
              <p:cNvGrpSpPr/>
              <p:nvPr/>
            </p:nvGrpSpPr>
            <p:grpSpPr>
              <a:xfrm>
                <a:off x="8627554" y="4275772"/>
                <a:ext cx="75723" cy="75723"/>
                <a:chOff x="8627554" y="4275772"/>
                <a:chExt cx="75723" cy="75723"/>
              </a:xfrm>
            </p:grpSpPr>
            <p:sp>
              <p:nvSpPr>
                <p:cNvPr id="16825" name="Freeform: Shape 16824">
                  <a:extLst>
                    <a:ext uri="{FF2B5EF4-FFF2-40B4-BE49-F238E27FC236}">
                      <a16:creationId xmlns:a16="http://schemas.microsoft.com/office/drawing/2014/main" id="{FB1A82D9-97C0-939E-6D31-01C0D861D715}"/>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6" name="Freeform: Shape 16825">
                  <a:extLst>
                    <a:ext uri="{FF2B5EF4-FFF2-40B4-BE49-F238E27FC236}">
                      <a16:creationId xmlns:a16="http://schemas.microsoft.com/office/drawing/2014/main" id="{D5504983-547F-3283-0BCC-B1400CDA7DC0}"/>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6" name="Graphic 745">
                <a:extLst>
                  <a:ext uri="{FF2B5EF4-FFF2-40B4-BE49-F238E27FC236}">
                    <a16:creationId xmlns:a16="http://schemas.microsoft.com/office/drawing/2014/main" id="{F3D318E8-D930-E3BC-452E-9A3C951CB062}"/>
                  </a:ext>
                </a:extLst>
              </p:cNvPr>
              <p:cNvGrpSpPr/>
              <p:nvPr/>
            </p:nvGrpSpPr>
            <p:grpSpPr>
              <a:xfrm>
                <a:off x="8617458" y="4275772"/>
                <a:ext cx="75628" cy="75723"/>
                <a:chOff x="8617458" y="4275772"/>
                <a:chExt cx="75628" cy="75723"/>
              </a:xfrm>
            </p:grpSpPr>
            <p:sp>
              <p:nvSpPr>
                <p:cNvPr id="16823" name="Freeform: Shape 16822">
                  <a:extLst>
                    <a:ext uri="{FF2B5EF4-FFF2-40B4-BE49-F238E27FC236}">
                      <a16:creationId xmlns:a16="http://schemas.microsoft.com/office/drawing/2014/main" id="{CEE93314-A240-E0E9-730F-9517B74C1129}"/>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4" name="Freeform: Shape 16823">
                  <a:extLst>
                    <a:ext uri="{FF2B5EF4-FFF2-40B4-BE49-F238E27FC236}">
                      <a16:creationId xmlns:a16="http://schemas.microsoft.com/office/drawing/2014/main" id="{10B8BA3A-492D-6017-AD21-7BA9461B39A6}"/>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7" name="Graphic 745">
                <a:extLst>
                  <a:ext uri="{FF2B5EF4-FFF2-40B4-BE49-F238E27FC236}">
                    <a16:creationId xmlns:a16="http://schemas.microsoft.com/office/drawing/2014/main" id="{80A536FF-A995-6843-F15A-082EE1D9F540}"/>
                  </a:ext>
                </a:extLst>
              </p:cNvPr>
              <p:cNvGrpSpPr/>
              <p:nvPr/>
            </p:nvGrpSpPr>
            <p:grpSpPr>
              <a:xfrm>
                <a:off x="8244268" y="4275772"/>
                <a:ext cx="75628" cy="75723"/>
                <a:chOff x="8244268" y="4275772"/>
                <a:chExt cx="75628" cy="75723"/>
              </a:xfrm>
            </p:grpSpPr>
            <p:sp>
              <p:nvSpPr>
                <p:cNvPr id="16821" name="Freeform: Shape 16820">
                  <a:extLst>
                    <a:ext uri="{FF2B5EF4-FFF2-40B4-BE49-F238E27FC236}">
                      <a16:creationId xmlns:a16="http://schemas.microsoft.com/office/drawing/2014/main" id="{4D517927-A8E0-D4EB-7B0A-4982F1A5DCA0}"/>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2" name="Freeform: Shape 16821">
                  <a:extLst>
                    <a:ext uri="{FF2B5EF4-FFF2-40B4-BE49-F238E27FC236}">
                      <a16:creationId xmlns:a16="http://schemas.microsoft.com/office/drawing/2014/main" id="{CABF9FE9-8F0C-62EA-C6C4-238E4EBB0281}"/>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8" name="Graphic 745">
                <a:extLst>
                  <a:ext uri="{FF2B5EF4-FFF2-40B4-BE49-F238E27FC236}">
                    <a16:creationId xmlns:a16="http://schemas.microsoft.com/office/drawing/2014/main" id="{5F72F388-39C2-BAD5-A3C0-DD39B2208B65}"/>
                  </a:ext>
                </a:extLst>
              </p:cNvPr>
              <p:cNvGrpSpPr/>
              <p:nvPr/>
            </p:nvGrpSpPr>
            <p:grpSpPr>
              <a:xfrm>
                <a:off x="8139684" y="4275772"/>
                <a:ext cx="75723" cy="75723"/>
                <a:chOff x="8139684" y="4275772"/>
                <a:chExt cx="75723" cy="75723"/>
              </a:xfrm>
            </p:grpSpPr>
            <p:sp>
              <p:nvSpPr>
                <p:cNvPr id="16819" name="Freeform: Shape 16818">
                  <a:extLst>
                    <a:ext uri="{FF2B5EF4-FFF2-40B4-BE49-F238E27FC236}">
                      <a16:creationId xmlns:a16="http://schemas.microsoft.com/office/drawing/2014/main" id="{9AB7C52C-85D0-B987-20CE-3570988A905C}"/>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0" name="Freeform: Shape 16819">
                  <a:extLst>
                    <a:ext uri="{FF2B5EF4-FFF2-40B4-BE49-F238E27FC236}">
                      <a16:creationId xmlns:a16="http://schemas.microsoft.com/office/drawing/2014/main" id="{9168A0B6-21AF-2DA5-8945-42F04B2F9539}"/>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9" name="Graphic 745">
                <a:extLst>
                  <a:ext uri="{FF2B5EF4-FFF2-40B4-BE49-F238E27FC236}">
                    <a16:creationId xmlns:a16="http://schemas.microsoft.com/office/drawing/2014/main" id="{DA1DE8F9-42FC-ED52-AB25-A85975DAB6D9}"/>
                  </a:ext>
                </a:extLst>
              </p:cNvPr>
              <p:cNvGrpSpPr/>
              <p:nvPr/>
            </p:nvGrpSpPr>
            <p:grpSpPr>
              <a:xfrm>
                <a:off x="7737157" y="4275772"/>
                <a:ext cx="75723" cy="75723"/>
                <a:chOff x="7737157" y="4275772"/>
                <a:chExt cx="75723" cy="75723"/>
              </a:xfrm>
            </p:grpSpPr>
            <p:sp>
              <p:nvSpPr>
                <p:cNvPr id="16817" name="Freeform: Shape 16816">
                  <a:extLst>
                    <a:ext uri="{FF2B5EF4-FFF2-40B4-BE49-F238E27FC236}">
                      <a16:creationId xmlns:a16="http://schemas.microsoft.com/office/drawing/2014/main" id="{FDC29BF5-4073-7E2F-7820-380A23F95A1F}"/>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8" name="Freeform: Shape 16817">
                  <a:extLst>
                    <a:ext uri="{FF2B5EF4-FFF2-40B4-BE49-F238E27FC236}">
                      <a16:creationId xmlns:a16="http://schemas.microsoft.com/office/drawing/2014/main" id="{3225C950-0A1D-845E-A2F5-C843E1BD7908}"/>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0" name="Graphic 745">
                <a:extLst>
                  <a:ext uri="{FF2B5EF4-FFF2-40B4-BE49-F238E27FC236}">
                    <a16:creationId xmlns:a16="http://schemas.microsoft.com/office/drawing/2014/main" id="{CF8F5CBF-A8FF-2D59-C9D9-926A9407ACAD}"/>
                  </a:ext>
                </a:extLst>
              </p:cNvPr>
              <p:cNvGrpSpPr/>
              <p:nvPr/>
            </p:nvGrpSpPr>
            <p:grpSpPr>
              <a:xfrm>
                <a:off x="7382160" y="4275772"/>
                <a:ext cx="75628" cy="75723"/>
                <a:chOff x="7382160" y="4275772"/>
                <a:chExt cx="75628" cy="75723"/>
              </a:xfrm>
            </p:grpSpPr>
            <p:sp>
              <p:nvSpPr>
                <p:cNvPr id="16815" name="Freeform: Shape 16814">
                  <a:extLst>
                    <a:ext uri="{FF2B5EF4-FFF2-40B4-BE49-F238E27FC236}">
                      <a16:creationId xmlns:a16="http://schemas.microsoft.com/office/drawing/2014/main" id="{22CF7295-F3F8-56D9-19B3-26BA6EC590CD}"/>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6" name="Freeform: Shape 16815">
                  <a:extLst>
                    <a:ext uri="{FF2B5EF4-FFF2-40B4-BE49-F238E27FC236}">
                      <a16:creationId xmlns:a16="http://schemas.microsoft.com/office/drawing/2014/main" id="{1B96501F-DA66-E60F-0936-30FA38F9A227}"/>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1" name="Graphic 745">
                <a:extLst>
                  <a:ext uri="{FF2B5EF4-FFF2-40B4-BE49-F238E27FC236}">
                    <a16:creationId xmlns:a16="http://schemas.microsoft.com/office/drawing/2014/main" id="{94EE3042-D389-D9DF-4AC2-C3925DE68E81}"/>
                  </a:ext>
                </a:extLst>
              </p:cNvPr>
              <p:cNvGrpSpPr/>
              <p:nvPr/>
            </p:nvGrpSpPr>
            <p:grpSpPr>
              <a:xfrm>
                <a:off x="7337964" y="4242339"/>
                <a:ext cx="75723" cy="75723"/>
                <a:chOff x="7337964" y="4242339"/>
                <a:chExt cx="75723" cy="75723"/>
              </a:xfrm>
            </p:grpSpPr>
            <p:sp>
              <p:nvSpPr>
                <p:cNvPr id="16813" name="Freeform: Shape 16812">
                  <a:extLst>
                    <a:ext uri="{FF2B5EF4-FFF2-40B4-BE49-F238E27FC236}">
                      <a16:creationId xmlns:a16="http://schemas.microsoft.com/office/drawing/2014/main" id="{D4C41C95-2D17-9386-8B3A-6E23B3512332}"/>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4" name="Freeform: Shape 16813">
                  <a:extLst>
                    <a:ext uri="{FF2B5EF4-FFF2-40B4-BE49-F238E27FC236}">
                      <a16:creationId xmlns:a16="http://schemas.microsoft.com/office/drawing/2014/main" id="{E0A6D442-F04C-A23C-6CEE-888D1132731D}"/>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2" name="Graphic 745">
                <a:extLst>
                  <a:ext uri="{FF2B5EF4-FFF2-40B4-BE49-F238E27FC236}">
                    <a16:creationId xmlns:a16="http://schemas.microsoft.com/office/drawing/2014/main" id="{0BB564CF-B6C6-9E02-FEA9-713B22DDE278}"/>
                  </a:ext>
                </a:extLst>
              </p:cNvPr>
              <p:cNvGrpSpPr/>
              <p:nvPr/>
            </p:nvGrpSpPr>
            <p:grpSpPr>
              <a:xfrm>
                <a:off x="7347394" y="4242339"/>
                <a:ext cx="75628" cy="75723"/>
                <a:chOff x="7347394" y="4242339"/>
                <a:chExt cx="75628" cy="75723"/>
              </a:xfrm>
            </p:grpSpPr>
            <p:sp>
              <p:nvSpPr>
                <p:cNvPr id="16811" name="Freeform: Shape 16810">
                  <a:extLst>
                    <a:ext uri="{FF2B5EF4-FFF2-40B4-BE49-F238E27FC236}">
                      <a16:creationId xmlns:a16="http://schemas.microsoft.com/office/drawing/2014/main" id="{168C2505-DE04-CF20-0C2A-564C671E2DF6}"/>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2" name="Freeform: Shape 16811">
                  <a:extLst>
                    <a:ext uri="{FF2B5EF4-FFF2-40B4-BE49-F238E27FC236}">
                      <a16:creationId xmlns:a16="http://schemas.microsoft.com/office/drawing/2014/main" id="{A60BD803-E9F6-0B4D-36DC-7F618D1048AE}"/>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3" name="Graphic 745">
                <a:extLst>
                  <a:ext uri="{FF2B5EF4-FFF2-40B4-BE49-F238E27FC236}">
                    <a16:creationId xmlns:a16="http://schemas.microsoft.com/office/drawing/2014/main" id="{C6195C57-49FE-A0E9-E914-A9B93BC4FC16}"/>
                  </a:ext>
                </a:extLst>
              </p:cNvPr>
              <p:cNvGrpSpPr/>
              <p:nvPr/>
            </p:nvGrpSpPr>
            <p:grpSpPr>
              <a:xfrm>
                <a:off x="7308151" y="4185284"/>
                <a:ext cx="75723" cy="75723"/>
                <a:chOff x="7308151" y="4185284"/>
                <a:chExt cx="75723" cy="75723"/>
              </a:xfrm>
            </p:grpSpPr>
            <p:sp>
              <p:nvSpPr>
                <p:cNvPr id="16809" name="Freeform: Shape 16808">
                  <a:extLst>
                    <a:ext uri="{FF2B5EF4-FFF2-40B4-BE49-F238E27FC236}">
                      <a16:creationId xmlns:a16="http://schemas.microsoft.com/office/drawing/2014/main" id="{8F96A4FA-2608-E6CB-7F64-EA7F6F9FE624}"/>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0" name="Freeform: Shape 16809">
                  <a:extLst>
                    <a:ext uri="{FF2B5EF4-FFF2-40B4-BE49-F238E27FC236}">
                      <a16:creationId xmlns:a16="http://schemas.microsoft.com/office/drawing/2014/main" id="{E81FC2EF-88A8-8B87-6DFF-A37E401579AE}"/>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4" name="Graphic 745">
                <a:extLst>
                  <a:ext uri="{FF2B5EF4-FFF2-40B4-BE49-F238E27FC236}">
                    <a16:creationId xmlns:a16="http://schemas.microsoft.com/office/drawing/2014/main" id="{6D7B0DAB-29A6-8980-AD38-D9AE18B56E1B}"/>
                  </a:ext>
                </a:extLst>
              </p:cNvPr>
              <p:cNvGrpSpPr/>
              <p:nvPr/>
            </p:nvGrpSpPr>
            <p:grpSpPr>
              <a:xfrm>
                <a:off x="7319295" y="4185284"/>
                <a:ext cx="75628" cy="75723"/>
                <a:chOff x="7319295" y="4185284"/>
                <a:chExt cx="75628" cy="75723"/>
              </a:xfrm>
            </p:grpSpPr>
            <p:sp>
              <p:nvSpPr>
                <p:cNvPr id="16807" name="Freeform: Shape 16806">
                  <a:extLst>
                    <a:ext uri="{FF2B5EF4-FFF2-40B4-BE49-F238E27FC236}">
                      <a16:creationId xmlns:a16="http://schemas.microsoft.com/office/drawing/2014/main" id="{9B39D8F1-2198-3931-122B-BDFEE8786C25}"/>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8" name="Freeform: Shape 16807">
                  <a:extLst>
                    <a:ext uri="{FF2B5EF4-FFF2-40B4-BE49-F238E27FC236}">
                      <a16:creationId xmlns:a16="http://schemas.microsoft.com/office/drawing/2014/main" id="{86CB4AEE-EA82-959D-71B3-A98A3CD88A7A}"/>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5" name="Graphic 745">
                <a:extLst>
                  <a:ext uri="{FF2B5EF4-FFF2-40B4-BE49-F238E27FC236}">
                    <a16:creationId xmlns:a16="http://schemas.microsoft.com/office/drawing/2014/main" id="{9F83C949-E75A-A6D9-4D28-08AEFEE25834}"/>
                  </a:ext>
                </a:extLst>
              </p:cNvPr>
              <p:cNvGrpSpPr/>
              <p:nvPr/>
            </p:nvGrpSpPr>
            <p:grpSpPr>
              <a:xfrm>
                <a:off x="7330344" y="4185284"/>
                <a:ext cx="75723" cy="75723"/>
                <a:chOff x="7330344" y="4185284"/>
                <a:chExt cx="75723" cy="75723"/>
              </a:xfrm>
            </p:grpSpPr>
            <p:sp>
              <p:nvSpPr>
                <p:cNvPr id="16805" name="Freeform: Shape 16804">
                  <a:extLst>
                    <a:ext uri="{FF2B5EF4-FFF2-40B4-BE49-F238E27FC236}">
                      <a16:creationId xmlns:a16="http://schemas.microsoft.com/office/drawing/2014/main" id="{5C20548E-7A98-69A4-C4AF-4AE2FD1E7DAD}"/>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6" name="Freeform: Shape 16805">
                  <a:extLst>
                    <a:ext uri="{FF2B5EF4-FFF2-40B4-BE49-F238E27FC236}">
                      <a16:creationId xmlns:a16="http://schemas.microsoft.com/office/drawing/2014/main" id="{0D107FC7-6E66-0656-9766-C4C17F2F6F39}"/>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6" name="Graphic 745">
                <a:extLst>
                  <a:ext uri="{FF2B5EF4-FFF2-40B4-BE49-F238E27FC236}">
                    <a16:creationId xmlns:a16="http://schemas.microsoft.com/office/drawing/2014/main" id="{76D358B7-E718-E758-9DF5-871B9318CCBF}"/>
                  </a:ext>
                </a:extLst>
              </p:cNvPr>
              <p:cNvGrpSpPr/>
              <p:nvPr/>
            </p:nvGrpSpPr>
            <p:grpSpPr>
              <a:xfrm>
                <a:off x="7009923" y="4185284"/>
                <a:ext cx="75723" cy="75723"/>
                <a:chOff x="7009923" y="4185284"/>
                <a:chExt cx="75723" cy="75723"/>
              </a:xfrm>
            </p:grpSpPr>
            <p:sp>
              <p:nvSpPr>
                <p:cNvPr id="16803" name="Freeform: Shape 16802">
                  <a:extLst>
                    <a:ext uri="{FF2B5EF4-FFF2-40B4-BE49-F238E27FC236}">
                      <a16:creationId xmlns:a16="http://schemas.microsoft.com/office/drawing/2014/main" id="{801D1473-9DD9-3080-683D-8EA392C4A49E}"/>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4" name="Freeform: Shape 16803">
                  <a:extLst>
                    <a:ext uri="{FF2B5EF4-FFF2-40B4-BE49-F238E27FC236}">
                      <a16:creationId xmlns:a16="http://schemas.microsoft.com/office/drawing/2014/main" id="{051A4954-6CAC-1405-FFFC-C3052D3ED86A}"/>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7" name="Graphic 745">
                <a:extLst>
                  <a:ext uri="{FF2B5EF4-FFF2-40B4-BE49-F238E27FC236}">
                    <a16:creationId xmlns:a16="http://schemas.microsoft.com/office/drawing/2014/main" id="{14B9BF92-B39D-267C-7BAA-3A70DF94AB19}"/>
                  </a:ext>
                </a:extLst>
              </p:cNvPr>
              <p:cNvGrpSpPr/>
              <p:nvPr/>
            </p:nvGrpSpPr>
            <p:grpSpPr>
              <a:xfrm>
                <a:off x="7021068" y="4185284"/>
                <a:ext cx="75628" cy="75723"/>
                <a:chOff x="7021068" y="4185284"/>
                <a:chExt cx="75628" cy="75723"/>
              </a:xfrm>
            </p:grpSpPr>
            <p:sp>
              <p:nvSpPr>
                <p:cNvPr id="16801" name="Freeform: Shape 16800">
                  <a:extLst>
                    <a:ext uri="{FF2B5EF4-FFF2-40B4-BE49-F238E27FC236}">
                      <a16:creationId xmlns:a16="http://schemas.microsoft.com/office/drawing/2014/main" id="{EF95DB23-E92B-4768-CCFE-973F54DF9659}"/>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2" name="Freeform: Shape 16801">
                  <a:extLst>
                    <a:ext uri="{FF2B5EF4-FFF2-40B4-BE49-F238E27FC236}">
                      <a16:creationId xmlns:a16="http://schemas.microsoft.com/office/drawing/2014/main" id="{74A0A77F-E1B8-D33C-30F9-2B14232B9794}"/>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8" name="Graphic 745">
                <a:extLst>
                  <a:ext uri="{FF2B5EF4-FFF2-40B4-BE49-F238E27FC236}">
                    <a16:creationId xmlns:a16="http://schemas.microsoft.com/office/drawing/2014/main" id="{94BA9AB8-9D07-2420-1D61-667FB3905E8A}"/>
                  </a:ext>
                </a:extLst>
              </p:cNvPr>
              <p:cNvGrpSpPr/>
              <p:nvPr/>
            </p:nvGrpSpPr>
            <p:grpSpPr>
              <a:xfrm>
                <a:off x="6889051" y="4071937"/>
                <a:ext cx="75628" cy="75723"/>
                <a:chOff x="6889051" y="4071937"/>
                <a:chExt cx="75628" cy="75723"/>
              </a:xfrm>
            </p:grpSpPr>
            <p:sp>
              <p:nvSpPr>
                <p:cNvPr id="16799" name="Freeform: Shape 16798">
                  <a:extLst>
                    <a:ext uri="{FF2B5EF4-FFF2-40B4-BE49-F238E27FC236}">
                      <a16:creationId xmlns:a16="http://schemas.microsoft.com/office/drawing/2014/main" id="{4DBC1CAF-E75C-A70E-4791-D9BA7FC6E9D7}"/>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0" name="Freeform: Shape 16799">
                  <a:extLst>
                    <a:ext uri="{FF2B5EF4-FFF2-40B4-BE49-F238E27FC236}">
                      <a16:creationId xmlns:a16="http://schemas.microsoft.com/office/drawing/2014/main" id="{74C37D75-136B-9DE3-B601-04797A2DD690}"/>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9" name="Graphic 745">
                <a:extLst>
                  <a:ext uri="{FF2B5EF4-FFF2-40B4-BE49-F238E27FC236}">
                    <a16:creationId xmlns:a16="http://schemas.microsoft.com/office/drawing/2014/main" id="{70540838-4B44-F689-4BDC-0D9C15CB6108}"/>
                  </a:ext>
                </a:extLst>
              </p:cNvPr>
              <p:cNvGrpSpPr/>
              <p:nvPr/>
            </p:nvGrpSpPr>
            <p:grpSpPr>
              <a:xfrm>
                <a:off x="6786372" y="4071937"/>
                <a:ext cx="75723" cy="75723"/>
                <a:chOff x="6786372" y="4071937"/>
                <a:chExt cx="75723" cy="75723"/>
              </a:xfrm>
            </p:grpSpPr>
            <p:sp>
              <p:nvSpPr>
                <p:cNvPr id="16797" name="Freeform: Shape 16796">
                  <a:extLst>
                    <a:ext uri="{FF2B5EF4-FFF2-40B4-BE49-F238E27FC236}">
                      <a16:creationId xmlns:a16="http://schemas.microsoft.com/office/drawing/2014/main" id="{1AF8990C-D0E5-7481-155F-34362397ADD5}"/>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8" name="Freeform: Shape 16797">
                  <a:extLst>
                    <a:ext uri="{FF2B5EF4-FFF2-40B4-BE49-F238E27FC236}">
                      <a16:creationId xmlns:a16="http://schemas.microsoft.com/office/drawing/2014/main" id="{01DE5266-5854-81FE-0BF1-D0D4DABFABFD}"/>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0" name="Graphic 745">
                <a:extLst>
                  <a:ext uri="{FF2B5EF4-FFF2-40B4-BE49-F238E27FC236}">
                    <a16:creationId xmlns:a16="http://schemas.microsoft.com/office/drawing/2014/main" id="{FA6EC7ED-CF26-BF7F-F759-E11659DCA763}"/>
                  </a:ext>
                </a:extLst>
              </p:cNvPr>
              <p:cNvGrpSpPr/>
              <p:nvPr/>
            </p:nvGrpSpPr>
            <p:grpSpPr>
              <a:xfrm>
                <a:off x="6533864" y="4050886"/>
                <a:ext cx="75723" cy="75628"/>
                <a:chOff x="6533864" y="4050886"/>
                <a:chExt cx="75723" cy="75628"/>
              </a:xfrm>
            </p:grpSpPr>
            <p:sp>
              <p:nvSpPr>
                <p:cNvPr id="16795" name="Freeform: Shape 16794">
                  <a:extLst>
                    <a:ext uri="{FF2B5EF4-FFF2-40B4-BE49-F238E27FC236}">
                      <a16:creationId xmlns:a16="http://schemas.microsoft.com/office/drawing/2014/main" id="{B0058799-6502-A41C-B104-1EFE9AA193D7}"/>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6" name="Freeform: Shape 16795">
                  <a:extLst>
                    <a:ext uri="{FF2B5EF4-FFF2-40B4-BE49-F238E27FC236}">
                      <a16:creationId xmlns:a16="http://schemas.microsoft.com/office/drawing/2014/main" id="{9919660D-292D-4207-1091-944A1A6E00C2}"/>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1" name="Graphic 745">
                <a:extLst>
                  <a:ext uri="{FF2B5EF4-FFF2-40B4-BE49-F238E27FC236}">
                    <a16:creationId xmlns:a16="http://schemas.microsoft.com/office/drawing/2014/main" id="{DFE3DB0D-2C56-9403-BD30-626B47553E26}"/>
                  </a:ext>
                </a:extLst>
              </p:cNvPr>
              <p:cNvGrpSpPr/>
              <p:nvPr/>
            </p:nvGrpSpPr>
            <p:grpSpPr>
              <a:xfrm>
                <a:off x="6504717" y="4028598"/>
                <a:ext cx="75723" cy="75723"/>
                <a:chOff x="6504717" y="4028598"/>
                <a:chExt cx="75723" cy="75723"/>
              </a:xfrm>
            </p:grpSpPr>
            <p:sp>
              <p:nvSpPr>
                <p:cNvPr id="16793" name="Freeform: Shape 16792">
                  <a:extLst>
                    <a:ext uri="{FF2B5EF4-FFF2-40B4-BE49-F238E27FC236}">
                      <a16:creationId xmlns:a16="http://schemas.microsoft.com/office/drawing/2014/main" id="{CCECFB38-0DBB-B9BF-21A4-AF7BB65DFB3E}"/>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4" name="Freeform: Shape 16793">
                  <a:extLst>
                    <a:ext uri="{FF2B5EF4-FFF2-40B4-BE49-F238E27FC236}">
                      <a16:creationId xmlns:a16="http://schemas.microsoft.com/office/drawing/2014/main" id="{4E7D6FF5-172F-45B9-EF4A-80B82EB3202A}"/>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2" name="Graphic 745">
                <a:extLst>
                  <a:ext uri="{FF2B5EF4-FFF2-40B4-BE49-F238E27FC236}">
                    <a16:creationId xmlns:a16="http://schemas.microsoft.com/office/drawing/2014/main" id="{021CE7F0-E799-0202-B4CA-CDA815CBBF09}"/>
                  </a:ext>
                </a:extLst>
              </p:cNvPr>
              <p:cNvGrpSpPr/>
              <p:nvPr/>
            </p:nvGrpSpPr>
            <p:grpSpPr>
              <a:xfrm>
                <a:off x="6477952" y="4028598"/>
                <a:ext cx="75723" cy="75723"/>
                <a:chOff x="6477952" y="4028598"/>
                <a:chExt cx="75723" cy="75723"/>
              </a:xfrm>
            </p:grpSpPr>
            <p:sp>
              <p:nvSpPr>
                <p:cNvPr id="16791" name="Freeform: Shape 16790">
                  <a:extLst>
                    <a:ext uri="{FF2B5EF4-FFF2-40B4-BE49-F238E27FC236}">
                      <a16:creationId xmlns:a16="http://schemas.microsoft.com/office/drawing/2014/main" id="{3E862A57-3AB5-B8B0-A54D-AAE2B544B96F}"/>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2" name="Freeform: Shape 16791">
                  <a:extLst>
                    <a:ext uri="{FF2B5EF4-FFF2-40B4-BE49-F238E27FC236}">
                      <a16:creationId xmlns:a16="http://schemas.microsoft.com/office/drawing/2014/main" id="{2EF27378-8C36-C048-FFD9-77D470153C89}"/>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3" name="Graphic 745">
                <a:extLst>
                  <a:ext uri="{FF2B5EF4-FFF2-40B4-BE49-F238E27FC236}">
                    <a16:creationId xmlns:a16="http://schemas.microsoft.com/office/drawing/2014/main" id="{9656115D-20CD-8ACD-91A4-00914D450E4B}"/>
                  </a:ext>
                </a:extLst>
              </p:cNvPr>
              <p:cNvGrpSpPr/>
              <p:nvPr/>
            </p:nvGrpSpPr>
            <p:grpSpPr>
              <a:xfrm>
                <a:off x="6491382" y="4028598"/>
                <a:ext cx="75628" cy="75723"/>
                <a:chOff x="6491382" y="4028598"/>
                <a:chExt cx="75628" cy="75723"/>
              </a:xfrm>
            </p:grpSpPr>
            <p:sp>
              <p:nvSpPr>
                <p:cNvPr id="16789" name="Freeform: Shape 16788">
                  <a:extLst>
                    <a:ext uri="{FF2B5EF4-FFF2-40B4-BE49-F238E27FC236}">
                      <a16:creationId xmlns:a16="http://schemas.microsoft.com/office/drawing/2014/main" id="{7355F5B0-42B8-44A4-BA95-BE07239ED54C}"/>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0" name="Freeform: Shape 16789">
                  <a:extLst>
                    <a:ext uri="{FF2B5EF4-FFF2-40B4-BE49-F238E27FC236}">
                      <a16:creationId xmlns:a16="http://schemas.microsoft.com/office/drawing/2014/main" id="{2C10D1FD-26FA-8EB8-C1FE-31C7CCE1C0F0}"/>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0" name="Graphic 745">
                <a:extLst>
                  <a:ext uri="{FF2B5EF4-FFF2-40B4-BE49-F238E27FC236}">
                    <a16:creationId xmlns:a16="http://schemas.microsoft.com/office/drawing/2014/main" id="{599A43C4-CD6D-9022-72B7-33058C8E3928}"/>
                  </a:ext>
                </a:extLst>
              </p:cNvPr>
              <p:cNvGrpSpPr/>
              <p:nvPr/>
            </p:nvGrpSpPr>
            <p:grpSpPr>
              <a:xfrm>
                <a:off x="6347460" y="3952969"/>
                <a:ext cx="75723" cy="75628"/>
                <a:chOff x="6347460" y="3952969"/>
                <a:chExt cx="75723" cy="75628"/>
              </a:xfrm>
            </p:grpSpPr>
            <p:sp>
              <p:nvSpPr>
                <p:cNvPr id="16787" name="Freeform: Shape 16786">
                  <a:extLst>
                    <a:ext uri="{FF2B5EF4-FFF2-40B4-BE49-F238E27FC236}">
                      <a16:creationId xmlns:a16="http://schemas.microsoft.com/office/drawing/2014/main" id="{325330E9-E7E3-1E7E-867C-E4BBFB348496}"/>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8" name="Freeform: Shape 16787">
                  <a:extLst>
                    <a:ext uri="{FF2B5EF4-FFF2-40B4-BE49-F238E27FC236}">
                      <a16:creationId xmlns:a16="http://schemas.microsoft.com/office/drawing/2014/main" id="{A883F1A8-2894-67A4-C835-6EF8DD6A148E}"/>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1" name="Graphic 745">
                <a:extLst>
                  <a:ext uri="{FF2B5EF4-FFF2-40B4-BE49-F238E27FC236}">
                    <a16:creationId xmlns:a16="http://schemas.microsoft.com/office/drawing/2014/main" id="{BF968F90-E3BC-07FB-907B-2A09DEC2E0A2}"/>
                  </a:ext>
                </a:extLst>
              </p:cNvPr>
              <p:cNvGrpSpPr/>
              <p:nvPr/>
            </p:nvGrpSpPr>
            <p:grpSpPr>
              <a:xfrm>
                <a:off x="6402228" y="3952969"/>
                <a:ext cx="75723" cy="75628"/>
                <a:chOff x="6402228" y="3952969"/>
                <a:chExt cx="75723" cy="75628"/>
              </a:xfrm>
            </p:grpSpPr>
            <p:sp>
              <p:nvSpPr>
                <p:cNvPr id="16785" name="Freeform: Shape 16784">
                  <a:extLst>
                    <a:ext uri="{FF2B5EF4-FFF2-40B4-BE49-F238E27FC236}">
                      <a16:creationId xmlns:a16="http://schemas.microsoft.com/office/drawing/2014/main" id="{736263A5-179E-6EC8-8DB7-770D3A6A13E9}"/>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6" name="Freeform: Shape 16785">
                  <a:extLst>
                    <a:ext uri="{FF2B5EF4-FFF2-40B4-BE49-F238E27FC236}">
                      <a16:creationId xmlns:a16="http://schemas.microsoft.com/office/drawing/2014/main" id="{8F6A4FAE-996E-9FCF-C34C-DCAB6313FF25}"/>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2" name="Graphic 745">
                <a:extLst>
                  <a:ext uri="{FF2B5EF4-FFF2-40B4-BE49-F238E27FC236}">
                    <a16:creationId xmlns:a16="http://schemas.microsoft.com/office/drawing/2014/main" id="{CBDE21A6-4971-3883-6E53-A9A7947D8322}"/>
                  </a:ext>
                </a:extLst>
              </p:cNvPr>
              <p:cNvGrpSpPr/>
              <p:nvPr/>
            </p:nvGrpSpPr>
            <p:grpSpPr>
              <a:xfrm>
                <a:off x="6437852" y="3966304"/>
                <a:ext cx="75723" cy="75723"/>
                <a:chOff x="6437852" y="3966304"/>
                <a:chExt cx="75723" cy="75723"/>
              </a:xfrm>
            </p:grpSpPr>
            <p:sp>
              <p:nvSpPr>
                <p:cNvPr id="16783" name="Freeform: Shape 16782">
                  <a:extLst>
                    <a:ext uri="{FF2B5EF4-FFF2-40B4-BE49-F238E27FC236}">
                      <a16:creationId xmlns:a16="http://schemas.microsoft.com/office/drawing/2014/main" id="{AC6889DD-5FB5-A8D5-2BE1-1A8478D602D8}"/>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4" name="Freeform: Shape 16783">
                  <a:extLst>
                    <a:ext uri="{FF2B5EF4-FFF2-40B4-BE49-F238E27FC236}">
                      <a16:creationId xmlns:a16="http://schemas.microsoft.com/office/drawing/2014/main" id="{B55F4CA1-569A-2306-6A0D-7C4C0033FFD0}"/>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3" name="Graphic 745">
                <a:extLst>
                  <a:ext uri="{FF2B5EF4-FFF2-40B4-BE49-F238E27FC236}">
                    <a16:creationId xmlns:a16="http://schemas.microsoft.com/office/drawing/2014/main" id="{039A9B0C-27A4-B52A-7052-D80FA7F800C6}"/>
                  </a:ext>
                </a:extLst>
              </p:cNvPr>
              <p:cNvGrpSpPr/>
              <p:nvPr/>
            </p:nvGrpSpPr>
            <p:grpSpPr>
              <a:xfrm>
                <a:off x="6461379" y="3976877"/>
                <a:ext cx="75628" cy="75628"/>
                <a:chOff x="6461379" y="3976877"/>
                <a:chExt cx="75628" cy="75628"/>
              </a:xfrm>
            </p:grpSpPr>
            <p:sp>
              <p:nvSpPr>
                <p:cNvPr id="16781" name="Freeform: Shape 16780">
                  <a:extLst>
                    <a:ext uri="{FF2B5EF4-FFF2-40B4-BE49-F238E27FC236}">
                      <a16:creationId xmlns:a16="http://schemas.microsoft.com/office/drawing/2014/main" id="{F0C58201-6F4D-8EF7-4EC0-F656C0C90FED}"/>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2" name="Freeform: Shape 16781">
                  <a:extLst>
                    <a:ext uri="{FF2B5EF4-FFF2-40B4-BE49-F238E27FC236}">
                      <a16:creationId xmlns:a16="http://schemas.microsoft.com/office/drawing/2014/main" id="{9E6F3258-D266-32BA-CD17-D4F6DD588F84}"/>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4" name="Graphic 745">
                <a:extLst>
                  <a:ext uri="{FF2B5EF4-FFF2-40B4-BE49-F238E27FC236}">
                    <a16:creationId xmlns:a16="http://schemas.microsoft.com/office/drawing/2014/main" id="{833B163B-C96D-C8CA-619D-16B2D0E2A0C9}"/>
                  </a:ext>
                </a:extLst>
              </p:cNvPr>
              <p:cNvGrpSpPr/>
              <p:nvPr/>
            </p:nvGrpSpPr>
            <p:grpSpPr>
              <a:xfrm>
                <a:off x="6475666" y="3986974"/>
                <a:ext cx="75723" cy="75723"/>
                <a:chOff x="6475666" y="3986974"/>
                <a:chExt cx="75723" cy="75723"/>
              </a:xfrm>
            </p:grpSpPr>
            <p:sp>
              <p:nvSpPr>
                <p:cNvPr id="16779" name="Freeform: Shape 16778">
                  <a:extLst>
                    <a:ext uri="{FF2B5EF4-FFF2-40B4-BE49-F238E27FC236}">
                      <a16:creationId xmlns:a16="http://schemas.microsoft.com/office/drawing/2014/main" id="{41177CA4-F63C-791D-B93B-29CF562CBB59}"/>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0" name="Freeform: Shape 16779">
                  <a:extLst>
                    <a:ext uri="{FF2B5EF4-FFF2-40B4-BE49-F238E27FC236}">
                      <a16:creationId xmlns:a16="http://schemas.microsoft.com/office/drawing/2014/main" id="{EC38E06D-ACBC-B5D9-8F0D-2A60522A84D2}"/>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5" name="Graphic 745">
                <a:extLst>
                  <a:ext uri="{FF2B5EF4-FFF2-40B4-BE49-F238E27FC236}">
                    <a16:creationId xmlns:a16="http://schemas.microsoft.com/office/drawing/2014/main" id="{8799B3C9-8399-A4EE-01C9-8AD414F68608}"/>
                  </a:ext>
                </a:extLst>
              </p:cNvPr>
              <p:cNvGrpSpPr/>
              <p:nvPr/>
            </p:nvGrpSpPr>
            <p:grpSpPr>
              <a:xfrm>
                <a:off x="6229540" y="3936301"/>
                <a:ext cx="75628" cy="75723"/>
                <a:chOff x="6229540" y="3936301"/>
                <a:chExt cx="75628" cy="75723"/>
              </a:xfrm>
            </p:grpSpPr>
            <p:sp>
              <p:nvSpPr>
                <p:cNvPr id="16777" name="Freeform: Shape 16776">
                  <a:extLst>
                    <a:ext uri="{FF2B5EF4-FFF2-40B4-BE49-F238E27FC236}">
                      <a16:creationId xmlns:a16="http://schemas.microsoft.com/office/drawing/2014/main" id="{706F9F98-BB52-F8F2-82AE-9FF2391FF392}"/>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8" name="Freeform: Shape 16777">
                  <a:extLst>
                    <a:ext uri="{FF2B5EF4-FFF2-40B4-BE49-F238E27FC236}">
                      <a16:creationId xmlns:a16="http://schemas.microsoft.com/office/drawing/2014/main" id="{B41F4EC1-55D3-318C-011F-6A9B10FCD5F4}"/>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6" name="Graphic 745">
                <a:extLst>
                  <a:ext uri="{FF2B5EF4-FFF2-40B4-BE49-F238E27FC236}">
                    <a16:creationId xmlns:a16="http://schemas.microsoft.com/office/drawing/2014/main" id="{2B63A187-0B7D-185F-0629-AB349EC8C48D}"/>
                  </a:ext>
                </a:extLst>
              </p:cNvPr>
              <p:cNvGrpSpPr/>
              <p:nvPr/>
            </p:nvGrpSpPr>
            <p:grpSpPr>
              <a:xfrm>
                <a:off x="5918644" y="3830478"/>
                <a:ext cx="75628" cy="75723"/>
                <a:chOff x="5918644" y="3830478"/>
                <a:chExt cx="75628" cy="75723"/>
              </a:xfrm>
            </p:grpSpPr>
            <p:sp>
              <p:nvSpPr>
                <p:cNvPr id="16775" name="Freeform: Shape 16774">
                  <a:extLst>
                    <a:ext uri="{FF2B5EF4-FFF2-40B4-BE49-F238E27FC236}">
                      <a16:creationId xmlns:a16="http://schemas.microsoft.com/office/drawing/2014/main" id="{9EBC403F-87F2-1032-E8EF-526EDAE32D61}"/>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6" name="Freeform: Shape 16775">
                  <a:extLst>
                    <a:ext uri="{FF2B5EF4-FFF2-40B4-BE49-F238E27FC236}">
                      <a16:creationId xmlns:a16="http://schemas.microsoft.com/office/drawing/2014/main" id="{013146B5-05B2-6938-BA82-4A386D10683E}"/>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7" name="Graphic 745">
                <a:extLst>
                  <a:ext uri="{FF2B5EF4-FFF2-40B4-BE49-F238E27FC236}">
                    <a16:creationId xmlns:a16="http://schemas.microsoft.com/office/drawing/2014/main" id="{8F14F06E-5739-89AD-B12C-07109B886290}"/>
                  </a:ext>
                </a:extLst>
              </p:cNvPr>
              <p:cNvGrpSpPr/>
              <p:nvPr/>
            </p:nvGrpSpPr>
            <p:grpSpPr>
              <a:xfrm>
                <a:off x="5699379" y="3807427"/>
                <a:ext cx="75628" cy="75723"/>
                <a:chOff x="5699379" y="3807427"/>
                <a:chExt cx="75628" cy="75723"/>
              </a:xfrm>
            </p:grpSpPr>
            <p:sp>
              <p:nvSpPr>
                <p:cNvPr id="16773" name="Freeform: Shape 16772">
                  <a:extLst>
                    <a:ext uri="{FF2B5EF4-FFF2-40B4-BE49-F238E27FC236}">
                      <a16:creationId xmlns:a16="http://schemas.microsoft.com/office/drawing/2014/main" id="{3E0B757F-21A6-FA96-B5D3-360041322EF5}"/>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4" name="Freeform: Shape 16773">
                  <a:extLst>
                    <a:ext uri="{FF2B5EF4-FFF2-40B4-BE49-F238E27FC236}">
                      <a16:creationId xmlns:a16="http://schemas.microsoft.com/office/drawing/2014/main" id="{B6A6D5F0-97C9-EDB2-64D5-A3DC52666FBF}"/>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8" name="Graphic 745">
                <a:extLst>
                  <a:ext uri="{FF2B5EF4-FFF2-40B4-BE49-F238E27FC236}">
                    <a16:creationId xmlns:a16="http://schemas.microsoft.com/office/drawing/2014/main" id="{5DAC1D6C-446E-F518-D844-8CEAB6523D7F}"/>
                  </a:ext>
                </a:extLst>
              </p:cNvPr>
              <p:cNvGrpSpPr/>
              <p:nvPr/>
            </p:nvGrpSpPr>
            <p:grpSpPr>
              <a:xfrm>
                <a:off x="5574125" y="3710177"/>
                <a:ext cx="75628" cy="75628"/>
                <a:chOff x="5574125" y="3710177"/>
                <a:chExt cx="75628" cy="75628"/>
              </a:xfrm>
            </p:grpSpPr>
            <p:sp>
              <p:nvSpPr>
                <p:cNvPr id="16771" name="Freeform: Shape 16770">
                  <a:extLst>
                    <a:ext uri="{FF2B5EF4-FFF2-40B4-BE49-F238E27FC236}">
                      <a16:creationId xmlns:a16="http://schemas.microsoft.com/office/drawing/2014/main" id="{DC86E464-9FAC-B032-B2D2-AA36731D277A}"/>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2" name="Freeform: Shape 16771">
                  <a:extLst>
                    <a:ext uri="{FF2B5EF4-FFF2-40B4-BE49-F238E27FC236}">
                      <a16:creationId xmlns:a16="http://schemas.microsoft.com/office/drawing/2014/main" id="{6EADE96A-624B-F3AA-895C-1EE65EBFF759}"/>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9" name="Graphic 745">
                <a:extLst>
                  <a:ext uri="{FF2B5EF4-FFF2-40B4-BE49-F238E27FC236}">
                    <a16:creationId xmlns:a16="http://schemas.microsoft.com/office/drawing/2014/main" id="{53E1574A-2E62-5741-AE1B-61F81A07BC02}"/>
                  </a:ext>
                </a:extLst>
              </p:cNvPr>
              <p:cNvGrpSpPr/>
              <p:nvPr/>
            </p:nvGrpSpPr>
            <p:grpSpPr>
              <a:xfrm>
                <a:off x="5244941" y="3624643"/>
                <a:ext cx="75723" cy="75628"/>
                <a:chOff x="5244941" y="3624643"/>
                <a:chExt cx="75723" cy="75628"/>
              </a:xfrm>
            </p:grpSpPr>
            <p:sp>
              <p:nvSpPr>
                <p:cNvPr id="16769" name="Freeform: Shape 16768">
                  <a:extLst>
                    <a:ext uri="{FF2B5EF4-FFF2-40B4-BE49-F238E27FC236}">
                      <a16:creationId xmlns:a16="http://schemas.microsoft.com/office/drawing/2014/main" id="{165CC6DC-6EAE-8AE5-7EC4-F1F598F212E8}"/>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0" name="Freeform: Shape 16769">
                  <a:extLst>
                    <a:ext uri="{FF2B5EF4-FFF2-40B4-BE49-F238E27FC236}">
                      <a16:creationId xmlns:a16="http://schemas.microsoft.com/office/drawing/2014/main" id="{13639771-9947-1F97-381A-96CD320509F1}"/>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0" name="Graphic 745">
                <a:extLst>
                  <a:ext uri="{FF2B5EF4-FFF2-40B4-BE49-F238E27FC236}">
                    <a16:creationId xmlns:a16="http://schemas.microsoft.com/office/drawing/2014/main" id="{B92EE798-A4FB-7A85-3157-872B56B151BA}"/>
                  </a:ext>
                </a:extLst>
              </p:cNvPr>
              <p:cNvGrpSpPr/>
              <p:nvPr/>
            </p:nvGrpSpPr>
            <p:grpSpPr>
              <a:xfrm>
                <a:off x="5150929" y="3447097"/>
                <a:ext cx="75723" cy="75723"/>
                <a:chOff x="5150929" y="3447097"/>
                <a:chExt cx="75723" cy="75723"/>
              </a:xfrm>
            </p:grpSpPr>
            <p:sp>
              <p:nvSpPr>
                <p:cNvPr id="16767" name="Freeform: Shape 16766">
                  <a:extLst>
                    <a:ext uri="{FF2B5EF4-FFF2-40B4-BE49-F238E27FC236}">
                      <a16:creationId xmlns:a16="http://schemas.microsoft.com/office/drawing/2014/main" id="{655334D5-E128-EED6-CFC5-85F3CDAD265B}"/>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8" name="Freeform: Shape 16767">
                  <a:extLst>
                    <a:ext uri="{FF2B5EF4-FFF2-40B4-BE49-F238E27FC236}">
                      <a16:creationId xmlns:a16="http://schemas.microsoft.com/office/drawing/2014/main" id="{47841900-D7BC-FF5F-A144-8627F95FB428}"/>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1" name="Graphic 745">
                <a:extLst>
                  <a:ext uri="{FF2B5EF4-FFF2-40B4-BE49-F238E27FC236}">
                    <a16:creationId xmlns:a16="http://schemas.microsoft.com/office/drawing/2014/main" id="{20EF231C-900B-B73E-2F93-8ED56C835977}"/>
                  </a:ext>
                </a:extLst>
              </p:cNvPr>
              <p:cNvGrpSpPr/>
              <p:nvPr/>
            </p:nvGrpSpPr>
            <p:grpSpPr>
              <a:xfrm>
                <a:off x="4796694" y="3325081"/>
                <a:ext cx="75723" cy="75723"/>
                <a:chOff x="4796694" y="3325081"/>
                <a:chExt cx="75723" cy="75723"/>
              </a:xfrm>
            </p:grpSpPr>
            <p:sp>
              <p:nvSpPr>
                <p:cNvPr id="16765" name="Freeform: Shape 16764">
                  <a:extLst>
                    <a:ext uri="{FF2B5EF4-FFF2-40B4-BE49-F238E27FC236}">
                      <a16:creationId xmlns:a16="http://schemas.microsoft.com/office/drawing/2014/main" id="{1D93ADBA-4E71-0484-077D-D4E0D595CD68}"/>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6" name="Freeform: Shape 16765">
                  <a:extLst>
                    <a:ext uri="{FF2B5EF4-FFF2-40B4-BE49-F238E27FC236}">
                      <a16:creationId xmlns:a16="http://schemas.microsoft.com/office/drawing/2014/main" id="{77C0CD16-993F-8FAA-24D0-EB422EC7224A}"/>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2" name="Graphic 745">
                <a:extLst>
                  <a:ext uri="{FF2B5EF4-FFF2-40B4-BE49-F238E27FC236}">
                    <a16:creationId xmlns:a16="http://schemas.microsoft.com/office/drawing/2014/main" id="{E2707864-6D94-66A5-CA5F-BBC627325446}"/>
                  </a:ext>
                </a:extLst>
              </p:cNvPr>
              <p:cNvGrpSpPr/>
              <p:nvPr/>
            </p:nvGrpSpPr>
            <p:grpSpPr>
              <a:xfrm>
                <a:off x="4718494" y="3173920"/>
                <a:ext cx="75628" cy="75628"/>
                <a:chOff x="4718494" y="3173920"/>
                <a:chExt cx="75628" cy="75628"/>
              </a:xfrm>
            </p:grpSpPr>
            <p:sp>
              <p:nvSpPr>
                <p:cNvPr id="16763" name="Freeform: Shape 16762">
                  <a:extLst>
                    <a:ext uri="{FF2B5EF4-FFF2-40B4-BE49-F238E27FC236}">
                      <a16:creationId xmlns:a16="http://schemas.microsoft.com/office/drawing/2014/main" id="{7209A27D-CB5A-5706-3211-A1B58BAE7D3E}"/>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4" name="Freeform: Shape 16763">
                  <a:extLst>
                    <a:ext uri="{FF2B5EF4-FFF2-40B4-BE49-F238E27FC236}">
                      <a16:creationId xmlns:a16="http://schemas.microsoft.com/office/drawing/2014/main" id="{4E80E352-F054-774E-61C5-D596B4E69187}"/>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3" name="Graphic 745">
                <a:extLst>
                  <a:ext uri="{FF2B5EF4-FFF2-40B4-BE49-F238E27FC236}">
                    <a16:creationId xmlns:a16="http://schemas.microsoft.com/office/drawing/2014/main" id="{7E6C56D1-39D2-9E86-960E-2DD6E8952087}"/>
                  </a:ext>
                </a:extLst>
              </p:cNvPr>
              <p:cNvGrpSpPr/>
              <p:nvPr/>
            </p:nvGrpSpPr>
            <p:grpSpPr>
              <a:xfrm>
                <a:off x="4527994" y="3072955"/>
                <a:ext cx="75628" cy="75723"/>
                <a:chOff x="4527994" y="3072955"/>
                <a:chExt cx="75628" cy="75723"/>
              </a:xfrm>
            </p:grpSpPr>
            <p:sp>
              <p:nvSpPr>
                <p:cNvPr id="16761" name="Freeform: Shape 16760">
                  <a:extLst>
                    <a:ext uri="{FF2B5EF4-FFF2-40B4-BE49-F238E27FC236}">
                      <a16:creationId xmlns:a16="http://schemas.microsoft.com/office/drawing/2014/main" id="{A575CE06-D6AA-2D2C-7E7F-6404D7444E01}"/>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2" name="Freeform: Shape 16761">
                  <a:extLst>
                    <a:ext uri="{FF2B5EF4-FFF2-40B4-BE49-F238E27FC236}">
                      <a16:creationId xmlns:a16="http://schemas.microsoft.com/office/drawing/2014/main" id="{12941D90-0FFB-4902-A363-10AC56DB99C1}"/>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4" name="Graphic 745">
                <a:extLst>
                  <a:ext uri="{FF2B5EF4-FFF2-40B4-BE49-F238E27FC236}">
                    <a16:creationId xmlns:a16="http://schemas.microsoft.com/office/drawing/2014/main" id="{3BAFA067-AC2E-9607-B6E7-4D4AEF01DCC8}"/>
                  </a:ext>
                </a:extLst>
              </p:cNvPr>
              <p:cNvGrpSpPr/>
              <p:nvPr/>
            </p:nvGrpSpPr>
            <p:grpSpPr>
              <a:xfrm>
                <a:off x="4457414" y="3047809"/>
                <a:ext cx="75723" cy="75723"/>
                <a:chOff x="4457414" y="3047809"/>
                <a:chExt cx="75723" cy="75723"/>
              </a:xfrm>
            </p:grpSpPr>
            <p:sp>
              <p:nvSpPr>
                <p:cNvPr id="16759" name="Freeform: Shape 16758">
                  <a:extLst>
                    <a:ext uri="{FF2B5EF4-FFF2-40B4-BE49-F238E27FC236}">
                      <a16:creationId xmlns:a16="http://schemas.microsoft.com/office/drawing/2014/main" id="{95B466DB-47FE-A78F-E534-447F82769B48}"/>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0" name="Freeform: Shape 16759">
                  <a:extLst>
                    <a:ext uri="{FF2B5EF4-FFF2-40B4-BE49-F238E27FC236}">
                      <a16:creationId xmlns:a16="http://schemas.microsoft.com/office/drawing/2014/main" id="{738F8FC5-EA58-77CC-66D1-E5DE08BECAFC}"/>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5" name="Graphic 745">
                <a:extLst>
                  <a:ext uri="{FF2B5EF4-FFF2-40B4-BE49-F238E27FC236}">
                    <a16:creationId xmlns:a16="http://schemas.microsoft.com/office/drawing/2014/main" id="{9D3DCF2B-D7E3-5AC2-0E08-CD12FC109448}"/>
                  </a:ext>
                </a:extLst>
              </p:cNvPr>
              <p:cNvGrpSpPr/>
              <p:nvPr/>
            </p:nvGrpSpPr>
            <p:grpSpPr>
              <a:xfrm>
                <a:off x="4358925" y="3014471"/>
                <a:ext cx="75723" cy="75723"/>
                <a:chOff x="4358925" y="3014471"/>
                <a:chExt cx="75723" cy="75723"/>
              </a:xfrm>
            </p:grpSpPr>
            <p:sp>
              <p:nvSpPr>
                <p:cNvPr id="16757" name="Freeform: Shape 16756">
                  <a:extLst>
                    <a:ext uri="{FF2B5EF4-FFF2-40B4-BE49-F238E27FC236}">
                      <a16:creationId xmlns:a16="http://schemas.microsoft.com/office/drawing/2014/main" id="{374AB772-FEB7-F6D0-C799-7648FAE063F3}"/>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8" name="Freeform: Shape 16757">
                  <a:extLst>
                    <a:ext uri="{FF2B5EF4-FFF2-40B4-BE49-F238E27FC236}">
                      <a16:creationId xmlns:a16="http://schemas.microsoft.com/office/drawing/2014/main" id="{C0DA097D-2303-1008-AE9B-A0BFD9784D7C}"/>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6" name="Graphic 745">
                <a:extLst>
                  <a:ext uri="{FF2B5EF4-FFF2-40B4-BE49-F238E27FC236}">
                    <a16:creationId xmlns:a16="http://schemas.microsoft.com/office/drawing/2014/main" id="{B35A3D98-88E7-A44D-919B-6FE9E0D1E185}"/>
                  </a:ext>
                </a:extLst>
              </p:cNvPr>
              <p:cNvGrpSpPr/>
              <p:nvPr/>
            </p:nvGrpSpPr>
            <p:grpSpPr>
              <a:xfrm>
                <a:off x="4350448" y="3001898"/>
                <a:ext cx="75723" cy="75723"/>
                <a:chOff x="4350448" y="3001898"/>
                <a:chExt cx="75723" cy="75723"/>
              </a:xfrm>
            </p:grpSpPr>
            <p:sp>
              <p:nvSpPr>
                <p:cNvPr id="16755" name="Freeform: Shape 16754">
                  <a:extLst>
                    <a:ext uri="{FF2B5EF4-FFF2-40B4-BE49-F238E27FC236}">
                      <a16:creationId xmlns:a16="http://schemas.microsoft.com/office/drawing/2014/main" id="{6FC2BD20-5E59-E72D-9BD2-98D4E71E993B}"/>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6" name="Freeform: Shape 16755">
                  <a:extLst>
                    <a:ext uri="{FF2B5EF4-FFF2-40B4-BE49-F238E27FC236}">
                      <a16:creationId xmlns:a16="http://schemas.microsoft.com/office/drawing/2014/main" id="{B29FB059-ED27-8BC2-5399-D4CBE5E83A72}"/>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7" name="Graphic 745">
                <a:extLst>
                  <a:ext uri="{FF2B5EF4-FFF2-40B4-BE49-F238E27FC236}">
                    <a16:creationId xmlns:a16="http://schemas.microsoft.com/office/drawing/2014/main" id="{51F56300-58F5-E618-76DA-CFA91E4F36A6}"/>
                  </a:ext>
                </a:extLst>
              </p:cNvPr>
              <p:cNvGrpSpPr/>
              <p:nvPr/>
            </p:nvGrpSpPr>
            <p:grpSpPr>
              <a:xfrm>
                <a:off x="4301775" y="2881883"/>
                <a:ext cx="75723" cy="75723"/>
                <a:chOff x="4301775" y="2881883"/>
                <a:chExt cx="75723" cy="75723"/>
              </a:xfrm>
            </p:grpSpPr>
            <p:sp>
              <p:nvSpPr>
                <p:cNvPr id="16753" name="Freeform: Shape 16752">
                  <a:extLst>
                    <a:ext uri="{FF2B5EF4-FFF2-40B4-BE49-F238E27FC236}">
                      <a16:creationId xmlns:a16="http://schemas.microsoft.com/office/drawing/2014/main" id="{91CC2CAD-3926-9089-2AB4-3D084869B0B4}"/>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4" name="Freeform: Shape 16753">
                  <a:extLst>
                    <a:ext uri="{FF2B5EF4-FFF2-40B4-BE49-F238E27FC236}">
                      <a16:creationId xmlns:a16="http://schemas.microsoft.com/office/drawing/2014/main" id="{227492C8-4D9E-DDE6-3439-F15ECD45A8A2}"/>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8" name="Graphic 745">
                <a:extLst>
                  <a:ext uri="{FF2B5EF4-FFF2-40B4-BE49-F238E27FC236}">
                    <a16:creationId xmlns:a16="http://schemas.microsoft.com/office/drawing/2014/main" id="{01CA2890-7F8C-7AFF-D70D-8C99A36EF3D3}"/>
                  </a:ext>
                </a:extLst>
              </p:cNvPr>
              <p:cNvGrpSpPr/>
              <p:nvPr/>
            </p:nvGrpSpPr>
            <p:grpSpPr>
              <a:xfrm>
                <a:off x="3954018" y="2741485"/>
                <a:ext cx="75723" cy="75723"/>
                <a:chOff x="3954018" y="2741485"/>
                <a:chExt cx="75723" cy="75723"/>
              </a:xfrm>
            </p:grpSpPr>
            <p:sp>
              <p:nvSpPr>
                <p:cNvPr id="16751" name="Freeform: Shape 16750">
                  <a:extLst>
                    <a:ext uri="{FF2B5EF4-FFF2-40B4-BE49-F238E27FC236}">
                      <a16:creationId xmlns:a16="http://schemas.microsoft.com/office/drawing/2014/main" id="{4DD9A416-4905-9485-9281-53240D26A1C8}"/>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2" name="Freeform: Shape 16751">
                  <a:extLst>
                    <a:ext uri="{FF2B5EF4-FFF2-40B4-BE49-F238E27FC236}">
                      <a16:creationId xmlns:a16="http://schemas.microsoft.com/office/drawing/2014/main" id="{89E967D2-E280-FAF7-F3DA-B0F1D2D21BD4}"/>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9" name="Graphic 745">
                <a:extLst>
                  <a:ext uri="{FF2B5EF4-FFF2-40B4-BE49-F238E27FC236}">
                    <a16:creationId xmlns:a16="http://schemas.microsoft.com/office/drawing/2014/main" id="{C8706E4D-688A-C72C-86F5-D12EA7FA298D}"/>
                  </a:ext>
                </a:extLst>
              </p:cNvPr>
              <p:cNvGrpSpPr/>
              <p:nvPr/>
            </p:nvGrpSpPr>
            <p:grpSpPr>
              <a:xfrm>
                <a:off x="3935825" y="2741485"/>
                <a:ext cx="75628" cy="75723"/>
                <a:chOff x="3935825" y="2741485"/>
                <a:chExt cx="75628" cy="75723"/>
              </a:xfrm>
            </p:grpSpPr>
            <p:sp>
              <p:nvSpPr>
                <p:cNvPr id="16749" name="Freeform: Shape 16748">
                  <a:extLst>
                    <a:ext uri="{FF2B5EF4-FFF2-40B4-BE49-F238E27FC236}">
                      <a16:creationId xmlns:a16="http://schemas.microsoft.com/office/drawing/2014/main" id="{38F24C8F-1BD3-B699-95D5-7F9BADD9A7D1}"/>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0" name="Freeform: Shape 16749">
                  <a:extLst>
                    <a:ext uri="{FF2B5EF4-FFF2-40B4-BE49-F238E27FC236}">
                      <a16:creationId xmlns:a16="http://schemas.microsoft.com/office/drawing/2014/main" id="{44192099-A734-049B-8501-95AEF9170A4F}"/>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0" name="Graphic 745">
                <a:extLst>
                  <a:ext uri="{FF2B5EF4-FFF2-40B4-BE49-F238E27FC236}">
                    <a16:creationId xmlns:a16="http://schemas.microsoft.com/office/drawing/2014/main" id="{0E6747DB-C23C-3BB7-0796-3D5E73188B40}"/>
                  </a:ext>
                </a:extLst>
              </p:cNvPr>
              <p:cNvGrpSpPr/>
              <p:nvPr/>
            </p:nvGrpSpPr>
            <p:grpSpPr>
              <a:xfrm>
                <a:off x="3916203" y="2706623"/>
                <a:ext cx="75723" cy="75723"/>
                <a:chOff x="3916203" y="2706623"/>
                <a:chExt cx="75723" cy="75723"/>
              </a:xfrm>
            </p:grpSpPr>
            <p:sp>
              <p:nvSpPr>
                <p:cNvPr id="16747" name="Freeform: Shape 16746">
                  <a:extLst>
                    <a:ext uri="{FF2B5EF4-FFF2-40B4-BE49-F238E27FC236}">
                      <a16:creationId xmlns:a16="http://schemas.microsoft.com/office/drawing/2014/main" id="{84086B90-8ADD-6A45-3D87-7CD0018324B8}"/>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8" name="Freeform: Shape 16747">
                  <a:extLst>
                    <a:ext uri="{FF2B5EF4-FFF2-40B4-BE49-F238E27FC236}">
                      <a16:creationId xmlns:a16="http://schemas.microsoft.com/office/drawing/2014/main" id="{ED41D85C-E7C4-9962-DE3F-E703FE62BF15}"/>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1" name="Graphic 745">
                <a:extLst>
                  <a:ext uri="{FF2B5EF4-FFF2-40B4-BE49-F238E27FC236}">
                    <a16:creationId xmlns:a16="http://schemas.microsoft.com/office/drawing/2014/main" id="{B3A5466F-F226-6DAC-74BE-C0E3F46B2D9D}"/>
                  </a:ext>
                </a:extLst>
              </p:cNvPr>
              <p:cNvGrpSpPr/>
              <p:nvPr/>
            </p:nvGrpSpPr>
            <p:grpSpPr>
              <a:xfrm>
                <a:off x="3916203" y="2733293"/>
                <a:ext cx="75723" cy="75723"/>
                <a:chOff x="3916203" y="2733293"/>
                <a:chExt cx="75723" cy="75723"/>
              </a:xfrm>
            </p:grpSpPr>
            <p:sp>
              <p:nvSpPr>
                <p:cNvPr id="16745" name="Freeform: Shape 16744">
                  <a:extLst>
                    <a:ext uri="{FF2B5EF4-FFF2-40B4-BE49-F238E27FC236}">
                      <a16:creationId xmlns:a16="http://schemas.microsoft.com/office/drawing/2014/main" id="{9140A8AF-D4F2-A728-A758-F40CFC2E317B}"/>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6" name="Freeform: Shape 16745">
                  <a:extLst>
                    <a:ext uri="{FF2B5EF4-FFF2-40B4-BE49-F238E27FC236}">
                      <a16:creationId xmlns:a16="http://schemas.microsoft.com/office/drawing/2014/main" id="{AE9E282B-191E-E1A2-8EBE-440225E94FF1}"/>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2" name="Graphic 745">
                <a:extLst>
                  <a:ext uri="{FF2B5EF4-FFF2-40B4-BE49-F238E27FC236}">
                    <a16:creationId xmlns:a16="http://schemas.microsoft.com/office/drawing/2014/main" id="{FE6EEB5C-D81D-5256-9F69-0437F851B153}"/>
                  </a:ext>
                </a:extLst>
              </p:cNvPr>
              <p:cNvGrpSpPr/>
              <p:nvPr/>
            </p:nvGrpSpPr>
            <p:grpSpPr>
              <a:xfrm>
                <a:off x="3486150" y="2509837"/>
                <a:ext cx="75723" cy="75723"/>
                <a:chOff x="3486150" y="2509837"/>
                <a:chExt cx="75723" cy="75723"/>
              </a:xfrm>
            </p:grpSpPr>
            <p:sp>
              <p:nvSpPr>
                <p:cNvPr id="16743" name="Freeform: Shape 16742">
                  <a:extLst>
                    <a:ext uri="{FF2B5EF4-FFF2-40B4-BE49-F238E27FC236}">
                      <a16:creationId xmlns:a16="http://schemas.microsoft.com/office/drawing/2014/main" id="{A0DD1E4A-941B-AB52-BC8D-44C506C152EA}"/>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4" name="Freeform: Shape 16743">
                  <a:extLst>
                    <a:ext uri="{FF2B5EF4-FFF2-40B4-BE49-F238E27FC236}">
                      <a16:creationId xmlns:a16="http://schemas.microsoft.com/office/drawing/2014/main" id="{83089DA3-111A-5FC5-E0A1-48320C5C8F52}"/>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3" name="Graphic 745">
                <a:extLst>
                  <a:ext uri="{FF2B5EF4-FFF2-40B4-BE49-F238E27FC236}">
                    <a16:creationId xmlns:a16="http://schemas.microsoft.com/office/drawing/2014/main" id="{5FBD2846-79C6-540B-D622-BB3B1FE747AC}"/>
                  </a:ext>
                </a:extLst>
              </p:cNvPr>
              <p:cNvGrpSpPr/>
              <p:nvPr/>
            </p:nvGrpSpPr>
            <p:grpSpPr>
              <a:xfrm>
                <a:off x="4306633" y="2894932"/>
                <a:ext cx="75723" cy="75628"/>
                <a:chOff x="4306633" y="2894932"/>
                <a:chExt cx="75723" cy="75628"/>
              </a:xfrm>
            </p:grpSpPr>
            <p:sp>
              <p:nvSpPr>
                <p:cNvPr id="16741" name="Freeform: Shape 16740">
                  <a:extLst>
                    <a:ext uri="{FF2B5EF4-FFF2-40B4-BE49-F238E27FC236}">
                      <a16:creationId xmlns:a16="http://schemas.microsoft.com/office/drawing/2014/main" id="{E1567C7C-4C92-75AB-7EDA-166A83FFCA22}"/>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2" name="Freeform: Shape 16741">
                  <a:extLst>
                    <a:ext uri="{FF2B5EF4-FFF2-40B4-BE49-F238E27FC236}">
                      <a16:creationId xmlns:a16="http://schemas.microsoft.com/office/drawing/2014/main" id="{198DB3C5-2656-4F05-FB05-1313A7F1B713}"/>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4" name="Graphic 745">
                <a:extLst>
                  <a:ext uri="{FF2B5EF4-FFF2-40B4-BE49-F238E27FC236}">
                    <a16:creationId xmlns:a16="http://schemas.microsoft.com/office/drawing/2014/main" id="{FD4B54BE-EF5C-FB7F-F44E-75F0EEF97436}"/>
                  </a:ext>
                </a:extLst>
              </p:cNvPr>
              <p:cNvGrpSpPr/>
              <p:nvPr/>
            </p:nvGrpSpPr>
            <p:grpSpPr>
              <a:xfrm>
                <a:off x="4312634" y="2905410"/>
                <a:ext cx="75628" cy="75723"/>
                <a:chOff x="4312634" y="2905410"/>
                <a:chExt cx="75628" cy="75723"/>
              </a:xfrm>
            </p:grpSpPr>
            <p:sp>
              <p:nvSpPr>
                <p:cNvPr id="16739" name="Freeform: Shape 16738">
                  <a:extLst>
                    <a:ext uri="{FF2B5EF4-FFF2-40B4-BE49-F238E27FC236}">
                      <a16:creationId xmlns:a16="http://schemas.microsoft.com/office/drawing/2014/main" id="{9D2F0F28-1E7E-24DC-7DBB-6665BA168E80}"/>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0" name="Freeform: Shape 16739">
                  <a:extLst>
                    <a:ext uri="{FF2B5EF4-FFF2-40B4-BE49-F238E27FC236}">
                      <a16:creationId xmlns:a16="http://schemas.microsoft.com/office/drawing/2014/main" id="{A27DBD61-75DB-7D99-F2D4-50F4C677E00D}"/>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5" name="Graphic 745">
                <a:extLst>
                  <a:ext uri="{FF2B5EF4-FFF2-40B4-BE49-F238E27FC236}">
                    <a16:creationId xmlns:a16="http://schemas.microsoft.com/office/drawing/2014/main" id="{AE70122E-59A6-9ECE-B137-1B0081680705}"/>
                  </a:ext>
                </a:extLst>
              </p:cNvPr>
              <p:cNvGrpSpPr/>
              <p:nvPr/>
            </p:nvGrpSpPr>
            <p:grpSpPr>
              <a:xfrm>
                <a:off x="4321111" y="2915602"/>
                <a:ext cx="75723" cy="75628"/>
                <a:chOff x="4321111" y="2915602"/>
                <a:chExt cx="75723" cy="75628"/>
              </a:xfrm>
            </p:grpSpPr>
            <p:sp>
              <p:nvSpPr>
                <p:cNvPr id="16737" name="Freeform: Shape 16736">
                  <a:extLst>
                    <a:ext uri="{FF2B5EF4-FFF2-40B4-BE49-F238E27FC236}">
                      <a16:creationId xmlns:a16="http://schemas.microsoft.com/office/drawing/2014/main" id="{F5AF5FD6-580B-1C20-9CEF-BDB6B8E25899}"/>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8" name="Freeform: Shape 16737">
                  <a:extLst>
                    <a:ext uri="{FF2B5EF4-FFF2-40B4-BE49-F238E27FC236}">
                      <a16:creationId xmlns:a16="http://schemas.microsoft.com/office/drawing/2014/main" id="{6B8F9ACC-37BD-87EF-C254-9D7DF9BB83B8}"/>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6" name="Graphic 745">
                <a:extLst>
                  <a:ext uri="{FF2B5EF4-FFF2-40B4-BE49-F238E27FC236}">
                    <a16:creationId xmlns:a16="http://schemas.microsoft.com/office/drawing/2014/main" id="{7CE9E3B1-6B7A-BD69-3625-671EE7FE4BFC}"/>
                  </a:ext>
                </a:extLst>
              </p:cNvPr>
              <p:cNvGrpSpPr/>
              <p:nvPr/>
            </p:nvGrpSpPr>
            <p:grpSpPr>
              <a:xfrm>
                <a:off x="4334256" y="2915602"/>
                <a:ext cx="75628" cy="75628"/>
                <a:chOff x="4334256" y="2915602"/>
                <a:chExt cx="75628" cy="75628"/>
              </a:xfrm>
            </p:grpSpPr>
            <p:sp>
              <p:nvSpPr>
                <p:cNvPr id="16735" name="Freeform: Shape 16734">
                  <a:extLst>
                    <a:ext uri="{FF2B5EF4-FFF2-40B4-BE49-F238E27FC236}">
                      <a16:creationId xmlns:a16="http://schemas.microsoft.com/office/drawing/2014/main" id="{F76E99DF-9C63-FEAE-0F80-3A8F959F65A7}"/>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6" name="Freeform: Shape 16735">
                  <a:extLst>
                    <a:ext uri="{FF2B5EF4-FFF2-40B4-BE49-F238E27FC236}">
                      <a16:creationId xmlns:a16="http://schemas.microsoft.com/office/drawing/2014/main" id="{0832027E-03B5-7811-C950-3E4D42C23B86}"/>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7" name="Graphic 745">
                <a:extLst>
                  <a:ext uri="{FF2B5EF4-FFF2-40B4-BE49-F238E27FC236}">
                    <a16:creationId xmlns:a16="http://schemas.microsoft.com/office/drawing/2014/main" id="{DC6DFDB5-D872-3670-0ADA-A5F1AB2B0800}"/>
                  </a:ext>
                </a:extLst>
              </p:cNvPr>
              <p:cNvGrpSpPr/>
              <p:nvPr/>
            </p:nvGrpSpPr>
            <p:grpSpPr>
              <a:xfrm>
                <a:off x="4344543" y="2966656"/>
                <a:ext cx="75628" cy="75628"/>
                <a:chOff x="4344543" y="2966656"/>
                <a:chExt cx="75628" cy="75628"/>
              </a:xfrm>
            </p:grpSpPr>
            <p:sp>
              <p:nvSpPr>
                <p:cNvPr id="16733" name="Freeform: Shape 16732">
                  <a:extLst>
                    <a:ext uri="{FF2B5EF4-FFF2-40B4-BE49-F238E27FC236}">
                      <a16:creationId xmlns:a16="http://schemas.microsoft.com/office/drawing/2014/main" id="{2FD30B2E-16FB-3C81-CA46-9478C77472F2}"/>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4" name="Freeform: Shape 16733">
                  <a:extLst>
                    <a:ext uri="{FF2B5EF4-FFF2-40B4-BE49-F238E27FC236}">
                      <a16:creationId xmlns:a16="http://schemas.microsoft.com/office/drawing/2014/main" id="{920F2DBA-9B20-AF86-973B-666D7AF48B3C}"/>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8" name="Graphic 745">
                <a:extLst>
                  <a:ext uri="{FF2B5EF4-FFF2-40B4-BE49-F238E27FC236}">
                    <a16:creationId xmlns:a16="http://schemas.microsoft.com/office/drawing/2014/main" id="{B5A8CAB1-6867-BBD4-CB44-8376C9BEBF8B}"/>
                  </a:ext>
                </a:extLst>
              </p:cNvPr>
              <p:cNvGrpSpPr/>
              <p:nvPr/>
            </p:nvGrpSpPr>
            <p:grpSpPr>
              <a:xfrm>
                <a:off x="4344543" y="2981134"/>
                <a:ext cx="75628" cy="75723"/>
                <a:chOff x="4344543" y="2981134"/>
                <a:chExt cx="75628" cy="75723"/>
              </a:xfrm>
            </p:grpSpPr>
            <p:sp>
              <p:nvSpPr>
                <p:cNvPr id="16731" name="Freeform: Shape 16730">
                  <a:extLst>
                    <a:ext uri="{FF2B5EF4-FFF2-40B4-BE49-F238E27FC236}">
                      <a16:creationId xmlns:a16="http://schemas.microsoft.com/office/drawing/2014/main" id="{1912A93D-6453-CC6A-F323-A5010173C86D}"/>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2" name="Freeform: Shape 16731">
                  <a:extLst>
                    <a:ext uri="{FF2B5EF4-FFF2-40B4-BE49-F238E27FC236}">
                      <a16:creationId xmlns:a16="http://schemas.microsoft.com/office/drawing/2014/main" id="{8B6279AB-0D25-8C0E-75B1-C80468D5CCF4}"/>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9" name="Graphic 745">
                <a:extLst>
                  <a:ext uri="{FF2B5EF4-FFF2-40B4-BE49-F238E27FC236}">
                    <a16:creationId xmlns:a16="http://schemas.microsoft.com/office/drawing/2014/main" id="{6B197F15-3A2B-6DCA-EF4E-2BFE1097A747}"/>
                  </a:ext>
                </a:extLst>
              </p:cNvPr>
              <p:cNvGrpSpPr/>
              <p:nvPr/>
            </p:nvGrpSpPr>
            <p:grpSpPr>
              <a:xfrm>
                <a:off x="4350448" y="3006375"/>
                <a:ext cx="75723" cy="75723"/>
                <a:chOff x="4350448" y="3006375"/>
                <a:chExt cx="75723" cy="75723"/>
              </a:xfrm>
            </p:grpSpPr>
            <p:sp>
              <p:nvSpPr>
                <p:cNvPr id="16729" name="Freeform: Shape 16728">
                  <a:extLst>
                    <a:ext uri="{FF2B5EF4-FFF2-40B4-BE49-F238E27FC236}">
                      <a16:creationId xmlns:a16="http://schemas.microsoft.com/office/drawing/2014/main" id="{91EDCF5C-65A0-5628-D976-1248AA3C72EF}"/>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0" name="Freeform: Shape 16729">
                  <a:extLst>
                    <a:ext uri="{FF2B5EF4-FFF2-40B4-BE49-F238E27FC236}">
                      <a16:creationId xmlns:a16="http://schemas.microsoft.com/office/drawing/2014/main" id="{993B5349-4BA9-879E-F533-76083F1E66A2}"/>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0" name="Graphic 745">
                <a:extLst>
                  <a:ext uri="{FF2B5EF4-FFF2-40B4-BE49-F238E27FC236}">
                    <a16:creationId xmlns:a16="http://schemas.microsoft.com/office/drawing/2014/main" id="{D86D8D02-FE1D-CD6F-FC9F-D14FBC576846}"/>
                  </a:ext>
                </a:extLst>
              </p:cNvPr>
              <p:cNvGrpSpPr/>
              <p:nvPr/>
            </p:nvGrpSpPr>
            <p:grpSpPr>
              <a:xfrm>
                <a:off x="4727829" y="3184397"/>
                <a:ext cx="75628" cy="75723"/>
                <a:chOff x="4727829" y="3184397"/>
                <a:chExt cx="75628" cy="75723"/>
              </a:xfrm>
            </p:grpSpPr>
            <p:sp>
              <p:nvSpPr>
                <p:cNvPr id="16727" name="Freeform: Shape 16726">
                  <a:extLst>
                    <a:ext uri="{FF2B5EF4-FFF2-40B4-BE49-F238E27FC236}">
                      <a16:creationId xmlns:a16="http://schemas.microsoft.com/office/drawing/2014/main" id="{B737E2C7-BB1F-1CE9-ED46-16253D0CF480}"/>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8" name="Freeform: Shape 16727">
                  <a:extLst>
                    <a:ext uri="{FF2B5EF4-FFF2-40B4-BE49-F238E27FC236}">
                      <a16:creationId xmlns:a16="http://schemas.microsoft.com/office/drawing/2014/main" id="{6EDB0541-643C-D406-5748-F03758DC2418}"/>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1" name="Graphic 745">
                <a:extLst>
                  <a:ext uri="{FF2B5EF4-FFF2-40B4-BE49-F238E27FC236}">
                    <a16:creationId xmlns:a16="http://schemas.microsoft.com/office/drawing/2014/main" id="{BBC19421-ED08-F1F2-2C38-CF0897D2410E}"/>
                  </a:ext>
                </a:extLst>
              </p:cNvPr>
              <p:cNvGrpSpPr/>
              <p:nvPr/>
            </p:nvGrpSpPr>
            <p:grpSpPr>
              <a:xfrm>
                <a:off x="4736973" y="3189350"/>
                <a:ext cx="75723" cy="75628"/>
                <a:chOff x="4736973" y="3189350"/>
                <a:chExt cx="75723" cy="75628"/>
              </a:xfrm>
            </p:grpSpPr>
            <p:sp>
              <p:nvSpPr>
                <p:cNvPr id="16725" name="Freeform: Shape 16724">
                  <a:extLst>
                    <a:ext uri="{FF2B5EF4-FFF2-40B4-BE49-F238E27FC236}">
                      <a16:creationId xmlns:a16="http://schemas.microsoft.com/office/drawing/2014/main" id="{20362C80-2A56-8A84-A87E-A0B4A2188341}"/>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6" name="Freeform: Shape 16725">
                  <a:extLst>
                    <a:ext uri="{FF2B5EF4-FFF2-40B4-BE49-F238E27FC236}">
                      <a16:creationId xmlns:a16="http://schemas.microsoft.com/office/drawing/2014/main" id="{4F4B11DD-1489-DFD3-1FC3-A3889D93E700}"/>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2" name="Graphic 745">
                <a:extLst>
                  <a:ext uri="{FF2B5EF4-FFF2-40B4-BE49-F238E27FC236}">
                    <a16:creationId xmlns:a16="http://schemas.microsoft.com/office/drawing/2014/main" id="{0B343D15-DB78-ED2E-1C8F-C810D5CC28A0}"/>
                  </a:ext>
                </a:extLst>
              </p:cNvPr>
              <p:cNvGrpSpPr/>
              <p:nvPr/>
            </p:nvGrpSpPr>
            <p:grpSpPr>
              <a:xfrm>
                <a:off x="4749165" y="3206305"/>
                <a:ext cx="75628" cy="75723"/>
                <a:chOff x="4749165" y="3206305"/>
                <a:chExt cx="75628" cy="75723"/>
              </a:xfrm>
            </p:grpSpPr>
            <p:sp>
              <p:nvSpPr>
                <p:cNvPr id="16723" name="Freeform: Shape 16722">
                  <a:extLst>
                    <a:ext uri="{FF2B5EF4-FFF2-40B4-BE49-F238E27FC236}">
                      <a16:creationId xmlns:a16="http://schemas.microsoft.com/office/drawing/2014/main" id="{D81F5DEE-CAE2-429D-1538-3EBECADE8AB0}"/>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4" name="Freeform: Shape 16723">
                  <a:extLst>
                    <a:ext uri="{FF2B5EF4-FFF2-40B4-BE49-F238E27FC236}">
                      <a16:creationId xmlns:a16="http://schemas.microsoft.com/office/drawing/2014/main" id="{683B4E42-65C4-328C-26D9-8AA77A54BD23}"/>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3" name="Graphic 745">
                <a:extLst>
                  <a:ext uri="{FF2B5EF4-FFF2-40B4-BE49-F238E27FC236}">
                    <a16:creationId xmlns:a16="http://schemas.microsoft.com/office/drawing/2014/main" id="{012218ED-A0AE-1DF2-9DB1-D322A7B0C6EA}"/>
                  </a:ext>
                </a:extLst>
              </p:cNvPr>
              <p:cNvGrpSpPr/>
              <p:nvPr/>
            </p:nvGrpSpPr>
            <p:grpSpPr>
              <a:xfrm>
                <a:off x="4756308" y="3216496"/>
                <a:ext cx="75723" cy="75628"/>
                <a:chOff x="4756308" y="3216496"/>
                <a:chExt cx="75723" cy="75628"/>
              </a:xfrm>
            </p:grpSpPr>
            <p:sp>
              <p:nvSpPr>
                <p:cNvPr id="16721" name="Freeform: Shape 16720">
                  <a:extLst>
                    <a:ext uri="{FF2B5EF4-FFF2-40B4-BE49-F238E27FC236}">
                      <a16:creationId xmlns:a16="http://schemas.microsoft.com/office/drawing/2014/main" id="{A1945ECA-9721-31FC-D557-19EE9C8C53A2}"/>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2" name="Freeform: Shape 16721">
                  <a:extLst>
                    <a:ext uri="{FF2B5EF4-FFF2-40B4-BE49-F238E27FC236}">
                      <a16:creationId xmlns:a16="http://schemas.microsoft.com/office/drawing/2014/main" id="{40EEBE3F-BB03-6EF0-0432-442B328BB555}"/>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4" name="Graphic 745">
                <a:extLst>
                  <a:ext uri="{FF2B5EF4-FFF2-40B4-BE49-F238E27FC236}">
                    <a16:creationId xmlns:a16="http://schemas.microsoft.com/office/drawing/2014/main" id="{2CD2E390-CB25-780D-B744-B6E4BDC88BA2}"/>
                  </a:ext>
                </a:extLst>
              </p:cNvPr>
              <p:cNvGrpSpPr/>
              <p:nvPr/>
            </p:nvGrpSpPr>
            <p:grpSpPr>
              <a:xfrm>
                <a:off x="4758880" y="3238785"/>
                <a:ext cx="75628" cy="75628"/>
                <a:chOff x="4758880" y="3238785"/>
                <a:chExt cx="75628" cy="75628"/>
              </a:xfrm>
            </p:grpSpPr>
            <p:sp>
              <p:nvSpPr>
                <p:cNvPr id="16719" name="Freeform: Shape 16718">
                  <a:extLst>
                    <a:ext uri="{FF2B5EF4-FFF2-40B4-BE49-F238E27FC236}">
                      <a16:creationId xmlns:a16="http://schemas.microsoft.com/office/drawing/2014/main" id="{B63AEE56-C6E6-1714-3362-3B985899BA8F}"/>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0" name="Freeform: Shape 16719">
                  <a:extLst>
                    <a:ext uri="{FF2B5EF4-FFF2-40B4-BE49-F238E27FC236}">
                      <a16:creationId xmlns:a16="http://schemas.microsoft.com/office/drawing/2014/main" id="{0D2B5DAF-718E-59E6-947C-C81780FC248D}"/>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5" name="Graphic 745">
                <a:extLst>
                  <a:ext uri="{FF2B5EF4-FFF2-40B4-BE49-F238E27FC236}">
                    <a16:creationId xmlns:a16="http://schemas.microsoft.com/office/drawing/2014/main" id="{57D6CD93-418C-9F87-D66C-1E68BE7D2C7C}"/>
                  </a:ext>
                </a:extLst>
              </p:cNvPr>
              <p:cNvGrpSpPr/>
              <p:nvPr/>
            </p:nvGrpSpPr>
            <p:grpSpPr>
              <a:xfrm>
                <a:off x="4765643" y="3249548"/>
                <a:ext cx="75723" cy="75723"/>
                <a:chOff x="4765643" y="3249548"/>
                <a:chExt cx="75723" cy="75723"/>
              </a:xfrm>
            </p:grpSpPr>
            <p:sp>
              <p:nvSpPr>
                <p:cNvPr id="16717" name="Freeform: Shape 16716">
                  <a:extLst>
                    <a:ext uri="{FF2B5EF4-FFF2-40B4-BE49-F238E27FC236}">
                      <a16:creationId xmlns:a16="http://schemas.microsoft.com/office/drawing/2014/main" id="{E40A6F24-B576-A4BF-69FB-AE95CE7BBD34}"/>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8" name="Freeform: Shape 16717">
                  <a:extLst>
                    <a:ext uri="{FF2B5EF4-FFF2-40B4-BE49-F238E27FC236}">
                      <a16:creationId xmlns:a16="http://schemas.microsoft.com/office/drawing/2014/main" id="{43B25DBD-AB4B-3954-3C36-804272D86F99}"/>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6" name="Graphic 745">
                <a:extLst>
                  <a:ext uri="{FF2B5EF4-FFF2-40B4-BE49-F238E27FC236}">
                    <a16:creationId xmlns:a16="http://schemas.microsoft.com/office/drawing/2014/main" id="{8BA2CBB4-A2F2-A0BA-985E-7FF4ADD447C3}"/>
                  </a:ext>
                </a:extLst>
              </p:cNvPr>
              <p:cNvGrpSpPr/>
              <p:nvPr/>
            </p:nvGrpSpPr>
            <p:grpSpPr>
              <a:xfrm>
                <a:off x="4768881" y="3267169"/>
                <a:ext cx="75723" cy="75628"/>
                <a:chOff x="4768881" y="3267169"/>
                <a:chExt cx="75723" cy="75628"/>
              </a:xfrm>
            </p:grpSpPr>
            <p:sp>
              <p:nvSpPr>
                <p:cNvPr id="16715" name="Freeform: Shape 16714">
                  <a:extLst>
                    <a:ext uri="{FF2B5EF4-FFF2-40B4-BE49-F238E27FC236}">
                      <a16:creationId xmlns:a16="http://schemas.microsoft.com/office/drawing/2014/main" id="{C4748459-E3B3-84E0-F223-D6F7CAFF2086}"/>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6" name="Freeform: Shape 16715">
                  <a:extLst>
                    <a:ext uri="{FF2B5EF4-FFF2-40B4-BE49-F238E27FC236}">
                      <a16:creationId xmlns:a16="http://schemas.microsoft.com/office/drawing/2014/main" id="{B7C216E6-67CC-15CD-D3D3-3C4F4523BDE1}"/>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7" name="Graphic 745">
                <a:extLst>
                  <a:ext uri="{FF2B5EF4-FFF2-40B4-BE49-F238E27FC236}">
                    <a16:creationId xmlns:a16="http://schemas.microsoft.com/office/drawing/2014/main" id="{FEF7A8D7-F3BD-FCF5-86B1-A3455FD61543}"/>
                  </a:ext>
                </a:extLst>
              </p:cNvPr>
              <p:cNvGrpSpPr/>
              <p:nvPr/>
            </p:nvGrpSpPr>
            <p:grpSpPr>
              <a:xfrm>
                <a:off x="4771739" y="3287458"/>
                <a:ext cx="75628" cy="75723"/>
                <a:chOff x="4771739" y="3287458"/>
                <a:chExt cx="75628" cy="75723"/>
              </a:xfrm>
            </p:grpSpPr>
            <p:sp>
              <p:nvSpPr>
                <p:cNvPr id="16713" name="Freeform: Shape 16712">
                  <a:extLst>
                    <a:ext uri="{FF2B5EF4-FFF2-40B4-BE49-F238E27FC236}">
                      <a16:creationId xmlns:a16="http://schemas.microsoft.com/office/drawing/2014/main" id="{EF1BF82D-CC0B-9A4C-01E3-A7E83E6E89E0}"/>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4" name="Freeform: Shape 16713">
                  <a:extLst>
                    <a:ext uri="{FF2B5EF4-FFF2-40B4-BE49-F238E27FC236}">
                      <a16:creationId xmlns:a16="http://schemas.microsoft.com/office/drawing/2014/main" id="{983AB0B0-A017-CD35-9790-9F37C271788B}"/>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8" name="Graphic 745">
                <a:extLst>
                  <a:ext uri="{FF2B5EF4-FFF2-40B4-BE49-F238E27FC236}">
                    <a16:creationId xmlns:a16="http://schemas.microsoft.com/office/drawing/2014/main" id="{9E69DDD7-2706-0D7C-9FA9-EF8CDC652F65}"/>
                  </a:ext>
                </a:extLst>
              </p:cNvPr>
              <p:cNvGrpSpPr/>
              <p:nvPr/>
            </p:nvGrpSpPr>
            <p:grpSpPr>
              <a:xfrm>
                <a:off x="4771739" y="3299935"/>
                <a:ext cx="75628" cy="75723"/>
                <a:chOff x="4771739" y="3299935"/>
                <a:chExt cx="75628" cy="75723"/>
              </a:xfrm>
            </p:grpSpPr>
            <p:sp>
              <p:nvSpPr>
                <p:cNvPr id="16711" name="Freeform: Shape 16710">
                  <a:extLst>
                    <a:ext uri="{FF2B5EF4-FFF2-40B4-BE49-F238E27FC236}">
                      <a16:creationId xmlns:a16="http://schemas.microsoft.com/office/drawing/2014/main" id="{60CC5B50-B65E-F5D0-DC23-BCF6108519FA}"/>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2" name="Freeform: Shape 16711">
                  <a:extLst>
                    <a:ext uri="{FF2B5EF4-FFF2-40B4-BE49-F238E27FC236}">
                      <a16:creationId xmlns:a16="http://schemas.microsoft.com/office/drawing/2014/main" id="{FD19CC64-FB20-B82A-4327-BDE8D47407AA}"/>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9" name="Graphic 745">
                <a:extLst>
                  <a:ext uri="{FF2B5EF4-FFF2-40B4-BE49-F238E27FC236}">
                    <a16:creationId xmlns:a16="http://schemas.microsoft.com/office/drawing/2014/main" id="{86281503-C14F-CC78-D6D4-117C41D49751}"/>
                  </a:ext>
                </a:extLst>
              </p:cNvPr>
              <p:cNvGrpSpPr/>
              <p:nvPr/>
            </p:nvGrpSpPr>
            <p:grpSpPr>
              <a:xfrm>
                <a:off x="4771739" y="3310127"/>
                <a:ext cx="75628" cy="75628"/>
                <a:chOff x="4771739" y="3310127"/>
                <a:chExt cx="75628" cy="75628"/>
              </a:xfrm>
            </p:grpSpPr>
            <p:sp>
              <p:nvSpPr>
                <p:cNvPr id="16709" name="Freeform: Shape 16708">
                  <a:extLst>
                    <a:ext uri="{FF2B5EF4-FFF2-40B4-BE49-F238E27FC236}">
                      <a16:creationId xmlns:a16="http://schemas.microsoft.com/office/drawing/2014/main" id="{31FA6FD4-3337-577B-A68F-3012CF0F5FF1}"/>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0" name="Freeform: Shape 16709">
                  <a:extLst>
                    <a:ext uri="{FF2B5EF4-FFF2-40B4-BE49-F238E27FC236}">
                      <a16:creationId xmlns:a16="http://schemas.microsoft.com/office/drawing/2014/main" id="{566C1974-9319-3524-4003-ACC6E7E96794}"/>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0" name="Graphic 745">
                <a:extLst>
                  <a:ext uri="{FF2B5EF4-FFF2-40B4-BE49-F238E27FC236}">
                    <a16:creationId xmlns:a16="http://schemas.microsoft.com/office/drawing/2014/main" id="{401EF049-5C4B-2207-ACFF-394DAAF96CFD}"/>
                  </a:ext>
                </a:extLst>
              </p:cNvPr>
              <p:cNvGrpSpPr/>
              <p:nvPr/>
            </p:nvGrpSpPr>
            <p:grpSpPr>
              <a:xfrm>
                <a:off x="4778502" y="3316604"/>
                <a:ext cx="75723" cy="75628"/>
                <a:chOff x="4778502" y="3316604"/>
                <a:chExt cx="75723" cy="75628"/>
              </a:xfrm>
            </p:grpSpPr>
            <p:sp>
              <p:nvSpPr>
                <p:cNvPr id="16707" name="Freeform: Shape 16706">
                  <a:extLst>
                    <a:ext uri="{FF2B5EF4-FFF2-40B4-BE49-F238E27FC236}">
                      <a16:creationId xmlns:a16="http://schemas.microsoft.com/office/drawing/2014/main" id="{5FFF8AFA-D040-FB54-474D-461BAAF6953E}"/>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8" name="Freeform: Shape 16707">
                  <a:extLst>
                    <a:ext uri="{FF2B5EF4-FFF2-40B4-BE49-F238E27FC236}">
                      <a16:creationId xmlns:a16="http://schemas.microsoft.com/office/drawing/2014/main" id="{68450BB0-EC56-2FF1-92B3-34AC80896611}"/>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1" name="Graphic 745">
                <a:extLst>
                  <a:ext uri="{FF2B5EF4-FFF2-40B4-BE49-F238E27FC236}">
                    <a16:creationId xmlns:a16="http://schemas.microsoft.com/office/drawing/2014/main" id="{10AFAE4E-703F-CAE1-D655-494931E00298}"/>
                  </a:ext>
                </a:extLst>
              </p:cNvPr>
              <p:cNvGrpSpPr/>
              <p:nvPr/>
            </p:nvGrpSpPr>
            <p:grpSpPr>
              <a:xfrm>
                <a:off x="5163883" y="3466528"/>
                <a:ext cx="75723" cy="75723"/>
                <a:chOff x="5163883" y="3466528"/>
                <a:chExt cx="75723" cy="75723"/>
              </a:xfrm>
            </p:grpSpPr>
            <p:sp>
              <p:nvSpPr>
                <p:cNvPr id="16705" name="Freeform: Shape 16704">
                  <a:extLst>
                    <a:ext uri="{FF2B5EF4-FFF2-40B4-BE49-F238E27FC236}">
                      <a16:creationId xmlns:a16="http://schemas.microsoft.com/office/drawing/2014/main" id="{CBC2CEAE-93B0-95A9-A5A2-D4C4F11525F6}"/>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6" name="Freeform: Shape 16705">
                  <a:extLst>
                    <a:ext uri="{FF2B5EF4-FFF2-40B4-BE49-F238E27FC236}">
                      <a16:creationId xmlns:a16="http://schemas.microsoft.com/office/drawing/2014/main" id="{F36C857E-B0A9-102C-E900-3C45E5E5DE38}"/>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2" name="Graphic 745">
                <a:extLst>
                  <a:ext uri="{FF2B5EF4-FFF2-40B4-BE49-F238E27FC236}">
                    <a16:creationId xmlns:a16="http://schemas.microsoft.com/office/drawing/2014/main" id="{EA71953E-E7EE-7158-74B5-1295860A16BF}"/>
                  </a:ext>
                </a:extLst>
              </p:cNvPr>
              <p:cNvGrpSpPr/>
              <p:nvPr/>
            </p:nvGrpSpPr>
            <p:grpSpPr>
              <a:xfrm>
                <a:off x="5180171" y="3471385"/>
                <a:ext cx="75628" cy="75723"/>
                <a:chOff x="5180171" y="3471385"/>
                <a:chExt cx="75628" cy="75723"/>
              </a:xfrm>
            </p:grpSpPr>
            <p:sp>
              <p:nvSpPr>
                <p:cNvPr id="16480" name="Freeform: Shape 16479">
                  <a:extLst>
                    <a:ext uri="{FF2B5EF4-FFF2-40B4-BE49-F238E27FC236}">
                      <a16:creationId xmlns:a16="http://schemas.microsoft.com/office/drawing/2014/main" id="{16630F68-0ABB-D02F-7BEE-47FCFD3DB67A}"/>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4" name="Freeform: Shape 16703">
                  <a:extLst>
                    <a:ext uri="{FF2B5EF4-FFF2-40B4-BE49-F238E27FC236}">
                      <a16:creationId xmlns:a16="http://schemas.microsoft.com/office/drawing/2014/main" id="{80B5DA29-1C24-3268-DB30-018B60CCFD16}"/>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3" name="Graphic 745">
                <a:extLst>
                  <a:ext uri="{FF2B5EF4-FFF2-40B4-BE49-F238E27FC236}">
                    <a16:creationId xmlns:a16="http://schemas.microsoft.com/office/drawing/2014/main" id="{8F25A233-7A88-8149-E89F-77AE968BD86E}"/>
                  </a:ext>
                </a:extLst>
              </p:cNvPr>
              <p:cNvGrpSpPr/>
              <p:nvPr/>
            </p:nvGrpSpPr>
            <p:grpSpPr>
              <a:xfrm>
                <a:off x="5196554" y="3504342"/>
                <a:ext cx="75723" cy="75723"/>
                <a:chOff x="5196554" y="3504342"/>
                <a:chExt cx="75723" cy="75723"/>
              </a:xfrm>
            </p:grpSpPr>
            <p:sp>
              <p:nvSpPr>
                <p:cNvPr id="16478" name="Freeform: Shape 16477">
                  <a:extLst>
                    <a:ext uri="{FF2B5EF4-FFF2-40B4-BE49-F238E27FC236}">
                      <a16:creationId xmlns:a16="http://schemas.microsoft.com/office/drawing/2014/main" id="{0A450D0E-88B8-67E7-8836-82BF6F13644E}"/>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9" name="Freeform: Shape 16478">
                  <a:extLst>
                    <a:ext uri="{FF2B5EF4-FFF2-40B4-BE49-F238E27FC236}">
                      <a16:creationId xmlns:a16="http://schemas.microsoft.com/office/drawing/2014/main" id="{B60E4570-5FE8-0076-30DD-40470F881ECF}"/>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4" name="Graphic 745">
                <a:extLst>
                  <a:ext uri="{FF2B5EF4-FFF2-40B4-BE49-F238E27FC236}">
                    <a16:creationId xmlns:a16="http://schemas.microsoft.com/office/drawing/2014/main" id="{36785903-ADC3-8136-6211-8574907E7510}"/>
                  </a:ext>
                </a:extLst>
              </p:cNvPr>
              <p:cNvGrpSpPr/>
              <p:nvPr/>
            </p:nvGrpSpPr>
            <p:grpSpPr>
              <a:xfrm>
                <a:off x="5196554" y="3535870"/>
                <a:ext cx="75723" cy="75628"/>
                <a:chOff x="5196554" y="3535870"/>
                <a:chExt cx="75723" cy="75628"/>
              </a:xfrm>
            </p:grpSpPr>
            <p:sp>
              <p:nvSpPr>
                <p:cNvPr id="16476" name="Freeform: Shape 16475">
                  <a:extLst>
                    <a:ext uri="{FF2B5EF4-FFF2-40B4-BE49-F238E27FC236}">
                      <a16:creationId xmlns:a16="http://schemas.microsoft.com/office/drawing/2014/main" id="{3E58B00B-C7CB-D658-064C-8215B3005BEE}"/>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7" name="Freeform: Shape 16476">
                  <a:extLst>
                    <a:ext uri="{FF2B5EF4-FFF2-40B4-BE49-F238E27FC236}">
                      <a16:creationId xmlns:a16="http://schemas.microsoft.com/office/drawing/2014/main" id="{26331AA2-6903-B4E5-90A1-1CD320B5090B}"/>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5" name="Graphic 745">
                <a:extLst>
                  <a:ext uri="{FF2B5EF4-FFF2-40B4-BE49-F238E27FC236}">
                    <a16:creationId xmlns:a16="http://schemas.microsoft.com/office/drawing/2014/main" id="{91A0B428-E286-C0B6-1EB5-AA981C35512E}"/>
                  </a:ext>
                </a:extLst>
              </p:cNvPr>
              <p:cNvGrpSpPr/>
              <p:nvPr/>
            </p:nvGrpSpPr>
            <p:grpSpPr>
              <a:xfrm>
                <a:off x="5201793" y="3560158"/>
                <a:ext cx="75628" cy="75723"/>
                <a:chOff x="5201793" y="3560158"/>
                <a:chExt cx="75628" cy="75723"/>
              </a:xfrm>
            </p:grpSpPr>
            <p:sp>
              <p:nvSpPr>
                <p:cNvPr id="16474" name="Freeform: Shape 16473">
                  <a:extLst>
                    <a:ext uri="{FF2B5EF4-FFF2-40B4-BE49-F238E27FC236}">
                      <a16:creationId xmlns:a16="http://schemas.microsoft.com/office/drawing/2014/main" id="{B842247B-066B-4066-ED89-B35B953BBC5D}"/>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5" name="Freeform: Shape 16474">
                  <a:extLst>
                    <a:ext uri="{FF2B5EF4-FFF2-40B4-BE49-F238E27FC236}">
                      <a16:creationId xmlns:a16="http://schemas.microsoft.com/office/drawing/2014/main" id="{C4F8B007-C6CE-85B9-F3A9-4EDF02B2F7E3}"/>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6" name="Graphic 745">
                <a:extLst>
                  <a:ext uri="{FF2B5EF4-FFF2-40B4-BE49-F238E27FC236}">
                    <a16:creationId xmlns:a16="http://schemas.microsoft.com/office/drawing/2014/main" id="{32D12C0D-BB74-E0C1-D9D2-470D92460609}"/>
                  </a:ext>
                </a:extLst>
              </p:cNvPr>
              <p:cNvGrpSpPr/>
              <p:nvPr/>
            </p:nvGrpSpPr>
            <p:grpSpPr>
              <a:xfrm>
                <a:off x="5204174" y="3580066"/>
                <a:ext cx="75723" cy="75723"/>
                <a:chOff x="5204174" y="3580066"/>
                <a:chExt cx="75723" cy="75723"/>
              </a:xfrm>
            </p:grpSpPr>
            <p:sp>
              <p:nvSpPr>
                <p:cNvPr id="16472" name="Freeform: Shape 16471">
                  <a:extLst>
                    <a:ext uri="{FF2B5EF4-FFF2-40B4-BE49-F238E27FC236}">
                      <a16:creationId xmlns:a16="http://schemas.microsoft.com/office/drawing/2014/main" id="{C8C8A572-84DD-BFF7-E897-DBE46741689E}"/>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3" name="Freeform: Shape 16472">
                  <a:extLst>
                    <a:ext uri="{FF2B5EF4-FFF2-40B4-BE49-F238E27FC236}">
                      <a16:creationId xmlns:a16="http://schemas.microsoft.com/office/drawing/2014/main" id="{299B1897-0957-F5A9-3D01-D2A9794983ED}"/>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7" name="Graphic 745">
                <a:extLst>
                  <a:ext uri="{FF2B5EF4-FFF2-40B4-BE49-F238E27FC236}">
                    <a16:creationId xmlns:a16="http://schemas.microsoft.com/office/drawing/2014/main" id="{4288A98B-533D-DDEF-DB04-EE198936F60F}"/>
                  </a:ext>
                </a:extLst>
              </p:cNvPr>
              <p:cNvGrpSpPr/>
              <p:nvPr/>
            </p:nvGrpSpPr>
            <p:grpSpPr>
              <a:xfrm>
                <a:off x="5217985" y="3580066"/>
                <a:ext cx="75723" cy="75723"/>
                <a:chOff x="5217985" y="3580066"/>
                <a:chExt cx="75723" cy="75723"/>
              </a:xfrm>
            </p:grpSpPr>
            <p:sp>
              <p:nvSpPr>
                <p:cNvPr id="16470" name="Freeform: Shape 16469">
                  <a:extLst>
                    <a:ext uri="{FF2B5EF4-FFF2-40B4-BE49-F238E27FC236}">
                      <a16:creationId xmlns:a16="http://schemas.microsoft.com/office/drawing/2014/main" id="{636EAB5A-DD14-2DF4-F7C6-6484D6711AB2}"/>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1" name="Freeform: Shape 16470">
                  <a:extLst>
                    <a:ext uri="{FF2B5EF4-FFF2-40B4-BE49-F238E27FC236}">
                      <a16:creationId xmlns:a16="http://schemas.microsoft.com/office/drawing/2014/main" id="{E5DFA96F-BD6A-01FE-6256-4A3C8E72CFCA}"/>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8" name="Graphic 745">
                <a:extLst>
                  <a:ext uri="{FF2B5EF4-FFF2-40B4-BE49-F238E27FC236}">
                    <a16:creationId xmlns:a16="http://schemas.microsoft.com/office/drawing/2014/main" id="{327D9BB1-78FC-0610-604C-BB6943351E6D}"/>
                  </a:ext>
                </a:extLst>
              </p:cNvPr>
              <p:cNvGrpSpPr/>
              <p:nvPr/>
            </p:nvGrpSpPr>
            <p:grpSpPr>
              <a:xfrm>
                <a:off x="5196554" y="3517772"/>
                <a:ext cx="75723" cy="75723"/>
                <a:chOff x="5196554" y="3517772"/>
                <a:chExt cx="75723" cy="75723"/>
              </a:xfrm>
            </p:grpSpPr>
            <p:sp>
              <p:nvSpPr>
                <p:cNvPr id="16468" name="Freeform: Shape 16467">
                  <a:extLst>
                    <a:ext uri="{FF2B5EF4-FFF2-40B4-BE49-F238E27FC236}">
                      <a16:creationId xmlns:a16="http://schemas.microsoft.com/office/drawing/2014/main" id="{67E961BB-C272-28AF-B56F-CBB1BA9D435E}"/>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9" name="Freeform: Shape 16468">
                  <a:extLst>
                    <a:ext uri="{FF2B5EF4-FFF2-40B4-BE49-F238E27FC236}">
                      <a16:creationId xmlns:a16="http://schemas.microsoft.com/office/drawing/2014/main" id="{BF0CA41B-E503-3CDC-6B0E-BE14422039C1}"/>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9" name="Graphic 745">
                <a:extLst>
                  <a:ext uri="{FF2B5EF4-FFF2-40B4-BE49-F238E27FC236}">
                    <a16:creationId xmlns:a16="http://schemas.microsoft.com/office/drawing/2014/main" id="{71259209-8B8E-FD4D-7309-E3F9871BDDAF}"/>
                  </a:ext>
                </a:extLst>
              </p:cNvPr>
              <p:cNvGrpSpPr/>
              <p:nvPr/>
            </p:nvGrpSpPr>
            <p:grpSpPr>
              <a:xfrm>
                <a:off x="5234463" y="3624643"/>
                <a:ext cx="75628" cy="75628"/>
                <a:chOff x="5234463" y="3624643"/>
                <a:chExt cx="75628" cy="75628"/>
              </a:xfrm>
            </p:grpSpPr>
            <p:sp>
              <p:nvSpPr>
                <p:cNvPr id="16466" name="Freeform: Shape 16465">
                  <a:extLst>
                    <a:ext uri="{FF2B5EF4-FFF2-40B4-BE49-F238E27FC236}">
                      <a16:creationId xmlns:a16="http://schemas.microsoft.com/office/drawing/2014/main" id="{2B820F11-535B-7944-55F9-8678D7888585}"/>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7" name="Freeform: Shape 16466">
                  <a:extLst>
                    <a:ext uri="{FF2B5EF4-FFF2-40B4-BE49-F238E27FC236}">
                      <a16:creationId xmlns:a16="http://schemas.microsoft.com/office/drawing/2014/main" id="{6FA64EEB-EF9D-370B-FC60-78C44D26129F}"/>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0" name="Graphic 745">
                <a:extLst>
                  <a:ext uri="{FF2B5EF4-FFF2-40B4-BE49-F238E27FC236}">
                    <a16:creationId xmlns:a16="http://schemas.microsoft.com/office/drawing/2014/main" id="{9F513394-9F4D-3F57-9DFB-8C4A67B82A31}"/>
                  </a:ext>
                </a:extLst>
              </p:cNvPr>
              <p:cNvGrpSpPr/>
              <p:nvPr/>
            </p:nvGrpSpPr>
            <p:grpSpPr>
              <a:xfrm>
                <a:off x="5591079" y="3728751"/>
                <a:ext cx="75723" cy="75723"/>
                <a:chOff x="5591079" y="3728751"/>
                <a:chExt cx="75723" cy="75723"/>
              </a:xfrm>
            </p:grpSpPr>
            <p:sp>
              <p:nvSpPr>
                <p:cNvPr id="16464" name="Freeform: Shape 16463">
                  <a:extLst>
                    <a:ext uri="{FF2B5EF4-FFF2-40B4-BE49-F238E27FC236}">
                      <a16:creationId xmlns:a16="http://schemas.microsoft.com/office/drawing/2014/main" id="{E38E7399-00DB-AC67-84A3-FAA021CFA457}"/>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5" name="Freeform: Shape 16464">
                  <a:extLst>
                    <a:ext uri="{FF2B5EF4-FFF2-40B4-BE49-F238E27FC236}">
                      <a16:creationId xmlns:a16="http://schemas.microsoft.com/office/drawing/2014/main" id="{912FD2AE-C152-E24B-E919-BBBB22DB32DC}"/>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1" name="Graphic 745">
                <a:extLst>
                  <a:ext uri="{FF2B5EF4-FFF2-40B4-BE49-F238E27FC236}">
                    <a16:creationId xmlns:a16="http://schemas.microsoft.com/office/drawing/2014/main" id="{81E31DB1-75F3-787A-980C-7C4681F28637}"/>
                  </a:ext>
                </a:extLst>
              </p:cNvPr>
              <p:cNvGrpSpPr/>
              <p:nvPr/>
            </p:nvGrpSpPr>
            <p:grpSpPr>
              <a:xfrm>
                <a:off x="5602509" y="3737323"/>
                <a:ext cx="75628" cy="75628"/>
                <a:chOff x="5602509" y="3737323"/>
                <a:chExt cx="75628" cy="75628"/>
              </a:xfrm>
            </p:grpSpPr>
            <p:sp>
              <p:nvSpPr>
                <p:cNvPr id="16462" name="Freeform: Shape 16461">
                  <a:extLst>
                    <a:ext uri="{FF2B5EF4-FFF2-40B4-BE49-F238E27FC236}">
                      <a16:creationId xmlns:a16="http://schemas.microsoft.com/office/drawing/2014/main" id="{422F6486-E5FF-23D7-98D9-38B77FCEC4C2}"/>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3" name="Freeform: Shape 16462">
                  <a:extLst>
                    <a:ext uri="{FF2B5EF4-FFF2-40B4-BE49-F238E27FC236}">
                      <a16:creationId xmlns:a16="http://schemas.microsoft.com/office/drawing/2014/main" id="{0E3D580B-A498-552B-3B48-2B00315F7677}"/>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2" name="Graphic 745">
                <a:extLst>
                  <a:ext uri="{FF2B5EF4-FFF2-40B4-BE49-F238E27FC236}">
                    <a16:creationId xmlns:a16="http://schemas.microsoft.com/office/drawing/2014/main" id="{B5BA405A-BC5F-D2B0-384A-A33CA4EDD562}"/>
                  </a:ext>
                </a:extLst>
              </p:cNvPr>
              <p:cNvGrpSpPr/>
              <p:nvPr/>
            </p:nvGrpSpPr>
            <p:grpSpPr>
              <a:xfrm>
                <a:off x="5615844" y="3747991"/>
                <a:ext cx="75723" cy="75723"/>
                <a:chOff x="5615844" y="3747991"/>
                <a:chExt cx="75723" cy="75723"/>
              </a:xfrm>
            </p:grpSpPr>
            <p:sp>
              <p:nvSpPr>
                <p:cNvPr id="16460" name="Freeform: Shape 16459">
                  <a:extLst>
                    <a:ext uri="{FF2B5EF4-FFF2-40B4-BE49-F238E27FC236}">
                      <a16:creationId xmlns:a16="http://schemas.microsoft.com/office/drawing/2014/main" id="{B0C2D2C8-E9B7-EBEB-6C89-51D75F3B78EE}"/>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1" name="Freeform: Shape 16460">
                  <a:extLst>
                    <a:ext uri="{FF2B5EF4-FFF2-40B4-BE49-F238E27FC236}">
                      <a16:creationId xmlns:a16="http://schemas.microsoft.com/office/drawing/2014/main" id="{3E407ADE-EBCD-7D8E-3C27-3939B41EDA99}"/>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3" name="Graphic 745">
                <a:extLst>
                  <a:ext uri="{FF2B5EF4-FFF2-40B4-BE49-F238E27FC236}">
                    <a16:creationId xmlns:a16="http://schemas.microsoft.com/office/drawing/2014/main" id="{113B1865-7C3E-C06D-DC9A-D530B8F7FED8}"/>
                  </a:ext>
                </a:extLst>
              </p:cNvPr>
              <p:cNvGrpSpPr/>
              <p:nvPr/>
            </p:nvGrpSpPr>
            <p:grpSpPr>
              <a:xfrm>
                <a:off x="5631275" y="3761803"/>
                <a:ext cx="75628" cy="75628"/>
                <a:chOff x="5631275" y="3761803"/>
                <a:chExt cx="75628" cy="75628"/>
              </a:xfrm>
            </p:grpSpPr>
            <p:sp>
              <p:nvSpPr>
                <p:cNvPr id="16458" name="Freeform: Shape 16457">
                  <a:extLst>
                    <a:ext uri="{FF2B5EF4-FFF2-40B4-BE49-F238E27FC236}">
                      <a16:creationId xmlns:a16="http://schemas.microsoft.com/office/drawing/2014/main" id="{AA4AE78C-C465-61D4-1FDF-538F82E1BADE}"/>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9" name="Freeform: Shape 16458">
                  <a:extLst>
                    <a:ext uri="{FF2B5EF4-FFF2-40B4-BE49-F238E27FC236}">
                      <a16:creationId xmlns:a16="http://schemas.microsoft.com/office/drawing/2014/main" id="{B98B7E27-D783-393A-D263-6CB3104E0300}"/>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4" name="Graphic 745">
                <a:extLst>
                  <a:ext uri="{FF2B5EF4-FFF2-40B4-BE49-F238E27FC236}">
                    <a16:creationId xmlns:a16="http://schemas.microsoft.com/office/drawing/2014/main" id="{52C27674-FDC1-22DA-6354-326F511216AD}"/>
                  </a:ext>
                </a:extLst>
              </p:cNvPr>
              <p:cNvGrpSpPr/>
              <p:nvPr/>
            </p:nvGrpSpPr>
            <p:grpSpPr>
              <a:xfrm>
                <a:off x="5642229" y="3780948"/>
                <a:ext cx="75628" cy="75723"/>
                <a:chOff x="5642229" y="3780948"/>
                <a:chExt cx="75628" cy="75723"/>
              </a:xfrm>
            </p:grpSpPr>
            <p:sp>
              <p:nvSpPr>
                <p:cNvPr id="16456" name="Freeform: Shape 16455">
                  <a:extLst>
                    <a:ext uri="{FF2B5EF4-FFF2-40B4-BE49-F238E27FC236}">
                      <a16:creationId xmlns:a16="http://schemas.microsoft.com/office/drawing/2014/main" id="{611042EE-BE1D-D0CE-828A-4408BC572613}"/>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7" name="Freeform: Shape 16456">
                  <a:extLst>
                    <a:ext uri="{FF2B5EF4-FFF2-40B4-BE49-F238E27FC236}">
                      <a16:creationId xmlns:a16="http://schemas.microsoft.com/office/drawing/2014/main" id="{4F8B5EFB-F98E-E027-A1DD-A037F3F74CB0}"/>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5" name="Graphic 745">
                <a:extLst>
                  <a:ext uri="{FF2B5EF4-FFF2-40B4-BE49-F238E27FC236}">
                    <a16:creationId xmlns:a16="http://schemas.microsoft.com/office/drawing/2014/main" id="{8B1BD62C-892E-42F6-A916-DE8A03C1BD88}"/>
                  </a:ext>
                </a:extLst>
              </p:cNvPr>
              <p:cNvGrpSpPr/>
              <p:nvPr/>
            </p:nvGrpSpPr>
            <p:grpSpPr>
              <a:xfrm>
                <a:off x="5649753" y="3792664"/>
                <a:ext cx="75723" cy="75723"/>
                <a:chOff x="5649753" y="3792664"/>
                <a:chExt cx="75723" cy="75723"/>
              </a:xfrm>
            </p:grpSpPr>
            <p:sp>
              <p:nvSpPr>
                <p:cNvPr id="16454" name="Freeform: Shape 16453">
                  <a:extLst>
                    <a:ext uri="{FF2B5EF4-FFF2-40B4-BE49-F238E27FC236}">
                      <a16:creationId xmlns:a16="http://schemas.microsoft.com/office/drawing/2014/main" id="{41DAEA99-0CBE-7BC8-963E-A918F208A184}"/>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5" name="Freeform: Shape 16454">
                  <a:extLst>
                    <a:ext uri="{FF2B5EF4-FFF2-40B4-BE49-F238E27FC236}">
                      <a16:creationId xmlns:a16="http://schemas.microsoft.com/office/drawing/2014/main" id="{FB6921C6-4100-5AA3-A6B0-859B6D938D26}"/>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6" name="Graphic 745">
                <a:extLst>
                  <a:ext uri="{FF2B5EF4-FFF2-40B4-BE49-F238E27FC236}">
                    <a16:creationId xmlns:a16="http://schemas.microsoft.com/office/drawing/2014/main" id="{2890B697-0FC4-9471-87D9-FDE6818D111E}"/>
                  </a:ext>
                </a:extLst>
              </p:cNvPr>
              <p:cNvGrpSpPr/>
              <p:nvPr/>
            </p:nvGrpSpPr>
            <p:grpSpPr>
              <a:xfrm>
                <a:off x="5666803" y="3792664"/>
                <a:ext cx="75723" cy="75723"/>
                <a:chOff x="5666803" y="3792664"/>
                <a:chExt cx="75723" cy="75723"/>
              </a:xfrm>
            </p:grpSpPr>
            <p:sp>
              <p:nvSpPr>
                <p:cNvPr id="16452" name="Freeform: Shape 16451">
                  <a:extLst>
                    <a:ext uri="{FF2B5EF4-FFF2-40B4-BE49-F238E27FC236}">
                      <a16:creationId xmlns:a16="http://schemas.microsoft.com/office/drawing/2014/main" id="{FDD496C8-41A6-BE37-B46D-4C5DAB8BDF8A}"/>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3" name="Freeform: Shape 16452">
                  <a:extLst>
                    <a:ext uri="{FF2B5EF4-FFF2-40B4-BE49-F238E27FC236}">
                      <a16:creationId xmlns:a16="http://schemas.microsoft.com/office/drawing/2014/main" id="{DA4E4F0F-74EB-02C9-2C9D-52C632CBAFF8}"/>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7" name="Graphic 745">
                <a:extLst>
                  <a:ext uri="{FF2B5EF4-FFF2-40B4-BE49-F238E27FC236}">
                    <a16:creationId xmlns:a16="http://schemas.microsoft.com/office/drawing/2014/main" id="{98BC1879-5830-1925-C207-76FFB142450E}"/>
                  </a:ext>
                </a:extLst>
              </p:cNvPr>
              <p:cNvGrpSpPr/>
              <p:nvPr/>
            </p:nvGrpSpPr>
            <p:grpSpPr>
              <a:xfrm>
                <a:off x="5680043" y="3792664"/>
                <a:ext cx="75723" cy="75723"/>
                <a:chOff x="5680043" y="3792664"/>
                <a:chExt cx="75723" cy="75723"/>
              </a:xfrm>
            </p:grpSpPr>
            <p:sp>
              <p:nvSpPr>
                <p:cNvPr id="16450" name="Freeform: Shape 16449">
                  <a:extLst>
                    <a:ext uri="{FF2B5EF4-FFF2-40B4-BE49-F238E27FC236}">
                      <a16:creationId xmlns:a16="http://schemas.microsoft.com/office/drawing/2014/main" id="{B4981413-4968-1E36-75BE-BA9753A29149}"/>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1" name="Freeform: Shape 16450">
                  <a:extLst>
                    <a:ext uri="{FF2B5EF4-FFF2-40B4-BE49-F238E27FC236}">
                      <a16:creationId xmlns:a16="http://schemas.microsoft.com/office/drawing/2014/main" id="{9C4559EB-120B-49E3-8A66-808C88129DDD}"/>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8" name="Graphic 745">
                <a:extLst>
                  <a:ext uri="{FF2B5EF4-FFF2-40B4-BE49-F238E27FC236}">
                    <a16:creationId xmlns:a16="http://schemas.microsoft.com/office/drawing/2014/main" id="{F5E8FF1F-E2C4-87E8-EF64-A78A456E4C2E}"/>
                  </a:ext>
                </a:extLst>
              </p:cNvPr>
              <p:cNvGrpSpPr/>
              <p:nvPr/>
            </p:nvGrpSpPr>
            <p:grpSpPr>
              <a:xfrm>
                <a:off x="5972937" y="3841051"/>
                <a:ext cx="75723" cy="75723"/>
                <a:chOff x="5972937" y="3841051"/>
                <a:chExt cx="75723" cy="75723"/>
              </a:xfrm>
            </p:grpSpPr>
            <p:sp>
              <p:nvSpPr>
                <p:cNvPr id="16448" name="Freeform: Shape 16447">
                  <a:extLst>
                    <a:ext uri="{FF2B5EF4-FFF2-40B4-BE49-F238E27FC236}">
                      <a16:creationId xmlns:a16="http://schemas.microsoft.com/office/drawing/2014/main" id="{18B37EAF-96E7-B170-3118-FEA9DA8EA76F}"/>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9" name="Freeform: Shape 16448">
                  <a:extLst>
                    <a:ext uri="{FF2B5EF4-FFF2-40B4-BE49-F238E27FC236}">
                      <a16:creationId xmlns:a16="http://schemas.microsoft.com/office/drawing/2014/main" id="{40F7756A-0DEF-EAB9-C0AC-48E3A4B2078D}"/>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9" name="Graphic 745">
                <a:extLst>
                  <a:ext uri="{FF2B5EF4-FFF2-40B4-BE49-F238E27FC236}">
                    <a16:creationId xmlns:a16="http://schemas.microsoft.com/office/drawing/2014/main" id="{7E046888-1FEA-D07A-976E-E40D6557A011}"/>
                  </a:ext>
                </a:extLst>
              </p:cNvPr>
              <p:cNvGrpSpPr/>
              <p:nvPr/>
            </p:nvGrpSpPr>
            <p:grpSpPr>
              <a:xfrm>
                <a:off x="6008560" y="3841051"/>
                <a:ext cx="75723" cy="75723"/>
                <a:chOff x="6008560" y="3841051"/>
                <a:chExt cx="75723" cy="75723"/>
              </a:xfrm>
            </p:grpSpPr>
            <p:sp>
              <p:nvSpPr>
                <p:cNvPr id="16318" name="Freeform: Shape 16317">
                  <a:extLst>
                    <a:ext uri="{FF2B5EF4-FFF2-40B4-BE49-F238E27FC236}">
                      <a16:creationId xmlns:a16="http://schemas.microsoft.com/office/drawing/2014/main" id="{E6C44AF7-6713-B51B-2DFE-A138600ED81E}"/>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9" name="Freeform: Shape 16318">
                  <a:extLst>
                    <a:ext uri="{FF2B5EF4-FFF2-40B4-BE49-F238E27FC236}">
                      <a16:creationId xmlns:a16="http://schemas.microsoft.com/office/drawing/2014/main" id="{0AC053F7-FF20-49C6-A7D6-B2E04F1E6504}"/>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0" name="Graphic 745">
                <a:extLst>
                  <a:ext uri="{FF2B5EF4-FFF2-40B4-BE49-F238E27FC236}">
                    <a16:creationId xmlns:a16="http://schemas.microsoft.com/office/drawing/2014/main" id="{9932CC8A-E55B-AA97-961F-A6622B3B9E66}"/>
                  </a:ext>
                </a:extLst>
              </p:cNvPr>
              <p:cNvGrpSpPr/>
              <p:nvPr/>
            </p:nvGrpSpPr>
            <p:grpSpPr>
              <a:xfrm>
                <a:off x="6024848" y="3841051"/>
                <a:ext cx="75628" cy="75723"/>
                <a:chOff x="6024848" y="3841051"/>
                <a:chExt cx="75628" cy="75723"/>
              </a:xfrm>
            </p:grpSpPr>
            <p:sp>
              <p:nvSpPr>
                <p:cNvPr id="16316" name="Freeform: Shape 16315">
                  <a:extLst>
                    <a:ext uri="{FF2B5EF4-FFF2-40B4-BE49-F238E27FC236}">
                      <a16:creationId xmlns:a16="http://schemas.microsoft.com/office/drawing/2014/main" id="{3F346031-1A3D-CD0D-72DB-8E9E1A13BEA6}"/>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7" name="Freeform: Shape 16316">
                  <a:extLst>
                    <a:ext uri="{FF2B5EF4-FFF2-40B4-BE49-F238E27FC236}">
                      <a16:creationId xmlns:a16="http://schemas.microsoft.com/office/drawing/2014/main" id="{0DC47050-247E-FE54-393C-46F91DEC5B56}"/>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1" name="Graphic 745">
                <a:extLst>
                  <a:ext uri="{FF2B5EF4-FFF2-40B4-BE49-F238E27FC236}">
                    <a16:creationId xmlns:a16="http://schemas.microsoft.com/office/drawing/2014/main" id="{3478FBB2-78C5-6A8A-CF4A-482B33708A38}"/>
                  </a:ext>
                </a:extLst>
              </p:cNvPr>
              <p:cNvGrpSpPr/>
              <p:nvPr/>
            </p:nvGrpSpPr>
            <p:grpSpPr>
              <a:xfrm>
                <a:off x="6036564" y="3841051"/>
                <a:ext cx="75723" cy="75723"/>
                <a:chOff x="6036564" y="3841051"/>
                <a:chExt cx="75723" cy="75723"/>
              </a:xfrm>
            </p:grpSpPr>
            <p:sp>
              <p:nvSpPr>
                <p:cNvPr id="16314" name="Freeform: Shape 16313">
                  <a:extLst>
                    <a:ext uri="{FF2B5EF4-FFF2-40B4-BE49-F238E27FC236}">
                      <a16:creationId xmlns:a16="http://schemas.microsoft.com/office/drawing/2014/main" id="{7D3A77D4-9AE8-D9A5-4CF3-307AEE762631}"/>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5" name="Freeform: Shape 16314">
                  <a:extLst>
                    <a:ext uri="{FF2B5EF4-FFF2-40B4-BE49-F238E27FC236}">
                      <a16:creationId xmlns:a16="http://schemas.microsoft.com/office/drawing/2014/main" id="{4B95B3F9-FD4F-CF1F-02F5-91A829132EF8}"/>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6" name="Graphic 745">
                <a:extLst>
                  <a:ext uri="{FF2B5EF4-FFF2-40B4-BE49-F238E27FC236}">
                    <a16:creationId xmlns:a16="http://schemas.microsoft.com/office/drawing/2014/main" id="{78A4E632-B52D-D32D-7441-5111C6EB2940}"/>
                  </a:ext>
                </a:extLst>
              </p:cNvPr>
              <p:cNvGrpSpPr/>
              <p:nvPr/>
            </p:nvGrpSpPr>
            <p:grpSpPr>
              <a:xfrm>
                <a:off x="6052756" y="3871435"/>
                <a:ext cx="75723" cy="75723"/>
                <a:chOff x="6052756" y="3871435"/>
                <a:chExt cx="75723" cy="75723"/>
              </a:xfrm>
            </p:grpSpPr>
            <p:sp>
              <p:nvSpPr>
                <p:cNvPr id="16312" name="Freeform: Shape 16311">
                  <a:extLst>
                    <a:ext uri="{FF2B5EF4-FFF2-40B4-BE49-F238E27FC236}">
                      <a16:creationId xmlns:a16="http://schemas.microsoft.com/office/drawing/2014/main" id="{D00D2AE0-A96A-D3B4-4DFD-B71F1D78FC60}"/>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3" name="Freeform: Shape 16312">
                  <a:extLst>
                    <a:ext uri="{FF2B5EF4-FFF2-40B4-BE49-F238E27FC236}">
                      <a16:creationId xmlns:a16="http://schemas.microsoft.com/office/drawing/2014/main" id="{449AB12F-8585-5291-A27B-5979D740FEAC}"/>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7" name="Graphic 745">
                <a:extLst>
                  <a:ext uri="{FF2B5EF4-FFF2-40B4-BE49-F238E27FC236}">
                    <a16:creationId xmlns:a16="http://schemas.microsoft.com/office/drawing/2014/main" id="{B6EEA523-AAF0-5297-4D86-65CC5CAFBAD2}"/>
                  </a:ext>
                </a:extLst>
              </p:cNvPr>
              <p:cNvGrpSpPr/>
              <p:nvPr/>
            </p:nvGrpSpPr>
            <p:grpSpPr>
              <a:xfrm>
                <a:off x="6066567" y="3871435"/>
                <a:ext cx="75723" cy="75723"/>
                <a:chOff x="6066567" y="3871435"/>
                <a:chExt cx="75723" cy="75723"/>
              </a:xfrm>
            </p:grpSpPr>
            <p:sp>
              <p:nvSpPr>
                <p:cNvPr id="16310" name="Freeform: Shape 16309">
                  <a:extLst>
                    <a:ext uri="{FF2B5EF4-FFF2-40B4-BE49-F238E27FC236}">
                      <a16:creationId xmlns:a16="http://schemas.microsoft.com/office/drawing/2014/main" id="{AD5F850D-C751-87C8-53CB-B9553F9D17BE}"/>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1" name="Freeform: Shape 16310">
                  <a:extLst>
                    <a:ext uri="{FF2B5EF4-FFF2-40B4-BE49-F238E27FC236}">
                      <a16:creationId xmlns:a16="http://schemas.microsoft.com/office/drawing/2014/main" id="{3B1D74AF-8FAB-A9C4-E324-31572B4E42EF}"/>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8" name="Graphic 745">
                <a:extLst>
                  <a:ext uri="{FF2B5EF4-FFF2-40B4-BE49-F238E27FC236}">
                    <a16:creationId xmlns:a16="http://schemas.microsoft.com/office/drawing/2014/main" id="{2B987901-8B4D-4095-AD35-EAF1B33F3B88}"/>
                  </a:ext>
                </a:extLst>
              </p:cNvPr>
              <p:cNvGrpSpPr/>
              <p:nvPr/>
            </p:nvGrpSpPr>
            <p:grpSpPr>
              <a:xfrm>
                <a:off x="6074378" y="3888104"/>
                <a:ext cx="75723" cy="75628"/>
                <a:chOff x="6074378" y="3888104"/>
                <a:chExt cx="75723" cy="75628"/>
              </a:xfrm>
            </p:grpSpPr>
            <p:sp>
              <p:nvSpPr>
                <p:cNvPr id="16308" name="Freeform: Shape 16307">
                  <a:extLst>
                    <a:ext uri="{FF2B5EF4-FFF2-40B4-BE49-F238E27FC236}">
                      <a16:creationId xmlns:a16="http://schemas.microsoft.com/office/drawing/2014/main" id="{38F24C26-51F9-F1C8-B90A-8964DED3B28F}"/>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9" name="Freeform: Shape 16308">
                  <a:extLst>
                    <a:ext uri="{FF2B5EF4-FFF2-40B4-BE49-F238E27FC236}">
                      <a16:creationId xmlns:a16="http://schemas.microsoft.com/office/drawing/2014/main" id="{7D6B5790-A306-46F0-9E44-B49553AA665E}"/>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9" name="Graphic 745">
                <a:extLst>
                  <a:ext uri="{FF2B5EF4-FFF2-40B4-BE49-F238E27FC236}">
                    <a16:creationId xmlns:a16="http://schemas.microsoft.com/office/drawing/2014/main" id="{620D8841-8A3C-4A22-31E4-15F985F9FEE7}"/>
                  </a:ext>
                </a:extLst>
              </p:cNvPr>
              <p:cNvGrpSpPr/>
              <p:nvPr/>
            </p:nvGrpSpPr>
            <p:grpSpPr>
              <a:xfrm>
                <a:off x="6088856" y="3909345"/>
                <a:ext cx="75723" cy="75628"/>
                <a:chOff x="6088856" y="3909345"/>
                <a:chExt cx="75723" cy="75628"/>
              </a:xfrm>
            </p:grpSpPr>
            <p:sp>
              <p:nvSpPr>
                <p:cNvPr id="16306" name="Freeform: Shape 16305">
                  <a:extLst>
                    <a:ext uri="{FF2B5EF4-FFF2-40B4-BE49-F238E27FC236}">
                      <a16:creationId xmlns:a16="http://schemas.microsoft.com/office/drawing/2014/main" id="{06FF86CC-CFD5-2774-7D17-5B3D1C86E65D}"/>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7" name="Freeform: Shape 16306">
                  <a:extLst>
                    <a:ext uri="{FF2B5EF4-FFF2-40B4-BE49-F238E27FC236}">
                      <a16:creationId xmlns:a16="http://schemas.microsoft.com/office/drawing/2014/main" id="{0BF0EAA9-CA08-55C2-FD05-37253F554E86}"/>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0" name="Graphic 745">
                <a:extLst>
                  <a:ext uri="{FF2B5EF4-FFF2-40B4-BE49-F238E27FC236}">
                    <a16:creationId xmlns:a16="http://schemas.microsoft.com/office/drawing/2014/main" id="{1BD4BDB3-9269-08EC-4D6A-EEE40781939B}"/>
                  </a:ext>
                </a:extLst>
              </p:cNvPr>
              <p:cNvGrpSpPr/>
              <p:nvPr/>
            </p:nvGrpSpPr>
            <p:grpSpPr>
              <a:xfrm>
                <a:off x="6112287" y="3909345"/>
                <a:ext cx="75628" cy="75628"/>
                <a:chOff x="6112287" y="3909345"/>
                <a:chExt cx="75628" cy="75628"/>
              </a:xfrm>
            </p:grpSpPr>
            <p:sp>
              <p:nvSpPr>
                <p:cNvPr id="16304" name="Freeform: Shape 16303">
                  <a:extLst>
                    <a:ext uri="{FF2B5EF4-FFF2-40B4-BE49-F238E27FC236}">
                      <a16:creationId xmlns:a16="http://schemas.microsoft.com/office/drawing/2014/main" id="{0B69192A-DB74-7030-6D61-68E251276E07}"/>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5" name="Freeform: Shape 16304">
                  <a:extLst>
                    <a:ext uri="{FF2B5EF4-FFF2-40B4-BE49-F238E27FC236}">
                      <a16:creationId xmlns:a16="http://schemas.microsoft.com/office/drawing/2014/main" id="{61F99F85-A315-A208-7ACC-0FA2633285AB}"/>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1" name="Graphic 745">
                <a:extLst>
                  <a:ext uri="{FF2B5EF4-FFF2-40B4-BE49-F238E27FC236}">
                    <a16:creationId xmlns:a16="http://schemas.microsoft.com/office/drawing/2014/main" id="{82808E46-988C-22FF-0D65-BBA759F26081}"/>
                  </a:ext>
                </a:extLst>
              </p:cNvPr>
              <p:cNvGrpSpPr/>
              <p:nvPr/>
            </p:nvGrpSpPr>
            <p:grpSpPr>
              <a:xfrm>
                <a:off x="6100476" y="3909345"/>
                <a:ext cx="75723" cy="75628"/>
                <a:chOff x="6100476" y="3909345"/>
                <a:chExt cx="75723" cy="75628"/>
              </a:xfrm>
            </p:grpSpPr>
            <p:sp>
              <p:nvSpPr>
                <p:cNvPr id="16302" name="Freeform: Shape 16301">
                  <a:extLst>
                    <a:ext uri="{FF2B5EF4-FFF2-40B4-BE49-F238E27FC236}">
                      <a16:creationId xmlns:a16="http://schemas.microsoft.com/office/drawing/2014/main" id="{5D8C8DED-81C2-FFCB-60FE-6695464A30E0}"/>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3" name="Freeform: Shape 16302">
                  <a:extLst>
                    <a:ext uri="{FF2B5EF4-FFF2-40B4-BE49-F238E27FC236}">
                      <a16:creationId xmlns:a16="http://schemas.microsoft.com/office/drawing/2014/main" id="{EDAC2550-130E-1852-86E0-697E3096CFB7}"/>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2" name="Graphic 745">
                <a:extLst>
                  <a:ext uri="{FF2B5EF4-FFF2-40B4-BE49-F238E27FC236}">
                    <a16:creationId xmlns:a16="http://schemas.microsoft.com/office/drawing/2014/main" id="{054D92DD-B8DC-5BD7-2EB9-7BF0C4F6E9B6}"/>
                  </a:ext>
                </a:extLst>
              </p:cNvPr>
              <p:cNvGrpSpPr/>
              <p:nvPr/>
            </p:nvGrpSpPr>
            <p:grpSpPr>
              <a:xfrm>
                <a:off x="6900100" y="4071937"/>
                <a:ext cx="75723" cy="75723"/>
                <a:chOff x="6900100" y="4071937"/>
                <a:chExt cx="75723" cy="75723"/>
              </a:xfrm>
            </p:grpSpPr>
            <p:sp>
              <p:nvSpPr>
                <p:cNvPr id="16300" name="Freeform: Shape 16299">
                  <a:extLst>
                    <a:ext uri="{FF2B5EF4-FFF2-40B4-BE49-F238E27FC236}">
                      <a16:creationId xmlns:a16="http://schemas.microsoft.com/office/drawing/2014/main" id="{3912C405-41E1-F2EE-2C60-ABC55F0D8D2A}"/>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1" name="Freeform: Shape 16300">
                  <a:extLst>
                    <a:ext uri="{FF2B5EF4-FFF2-40B4-BE49-F238E27FC236}">
                      <a16:creationId xmlns:a16="http://schemas.microsoft.com/office/drawing/2014/main" id="{B4E1EDA7-4892-C240-8C87-954ABE47B142}"/>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3" name="Graphic 745">
                <a:extLst>
                  <a:ext uri="{FF2B5EF4-FFF2-40B4-BE49-F238E27FC236}">
                    <a16:creationId xmlns:a16="http://schemas.microsoft.com/office/drawing/2014/main" id="{F7B87494-9B29-5C1C-E684-2D0C60402CB5}"/>
                  </a:ext>
                </a:extLst>
              </p:cNvPr>
              <p:cNvGrpSpPr/>
              <p:nvPr/>
            </p:nvGrpSpPr>
            <p:grpSpPr>
              <a:xfrm>
                <a:off x="6962298" y="4156328"/>
                <a:ext cx="75723" cy="75628"/>
                <a:chOff x="6962298" y="4156328"/>
                <a:chExt cx="75723" cy="75628"/>
              </a:xfrm>
            </p:grpSpPr>
            <p:sp>
              <p:nvSpPr>
                <p:cNvPr id="16298" name="Freeform: Shape 16297">
                  <a:extLst>
                    <a:ext uri="{FF2B5EF4-FFF2-40B4-BE49-F238E27FC236}">
                      <a16:creationId xmlns:a16="http://schemas.microsoft.com/office/drawing/2014/main" id="{B237325B-944A-0FB7-0BCF-12819398EC26}"/>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9" name="Freeform: Shape 16298">
                  <a:extLst>
                    <a:ext uri="{FF2B5EF4-FFF2-40B4-BE49-F238E27FC236}">
                      <a16:creationId xmlns:a16="http://schemas.microsoft.com/office/drawing/2014/main" id="{B5574CFB-4706-9BB4-5FFD-085952040474}"/>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4" name="Graphic 745">
                <a:extLst>
                  <a:ext uri="{FF2B5EF4-FFF2-40B4-BE49-F238E27FC236}">
                    <a16:creationId xmlns:a16="http://schemas.microsoft.com/office/drawing/2014/main" id="{9DBC38F5-CF8B-5A1E-729E-B68FDEC8046F}"/>
                  </a:ext>
                </a:extLst>
              </p:cNvPr>
              <p:cNvGrpSpPr/>
              <p:nvPr/>
            </p:nvGrpSpPr>
            <p:grpSpPr>
              <a:xfrm>
                <a:off x="6946773" y="4131087"/>
                <a:ext cx="75723" cy="75628"/>
                <a:chOff x="6946773" y="4131087"/>
                <a:chExt cx="75723" cy="75628"/>
              </a:xfrm>
            </p:grpSpPr>
            <p:sp>
              <p:nvSpPr>
                <p:cNvPr id="16296" name="Freeform: Shape 16295">
                  <a:extLst>
                    <a:ext uri="{FF2B5EF4-FFF2-40B4-BE49-F238E27FC236}">
                      <a16:creationId xmlns:a16="http://schemas.microsoft.com/office/drawing/2014/main" id="{0A774D41-56C7-7DFC-6F42-4CAD91C26571}"/>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7" name="Freeform: Shape 16296">
                  <a:extLst>
                    <a:ext uri="{FF2B5EF4-FFF2-40B4-BE49-F238E27FC236}">
                      <a16:creationId xmlns:a16="http://schemas.microsoft.com/office/drawing/2014/main" id="{CADF2093-BDB7-FA46-780B-5371AE17E267}"/>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5" name="Graphic 745">
                <a:extLst>
                  <a:ext uri="{FF2B5EF4-FFF2-40B4-BE49-F238E27FC236}">
                    <a16:creationId xmlns:a16="http://schemas.microsoft.com/office/drawing/2014/main" id="{B59785B8-2E8C-18A9-CB7E-1366FF6D5075}"/>
                  </a:ext>
                </a:extLst>
              </p:cNvPr>
              <p:cNvGrpSpPr/>
              <p:nvPr/>
            </p:nvGrpSpPr>
            <p:grpSpPr>
              <a:xfrm>
                <a:off x="6926865" y="4104322"/>
                <a:ext cx="75723" cy="75723"/>
                <a:chOff x="6926865" y="4104322"/>
                <a:chExt cx="75723" cy="75723"/>
              </a:xfrm>
            </p:grpSpPr>
            <p:sp>
              <p:nvSpPr>
                <p:cNvPr id="16294" name="Freeform: Shape 16293">
                  <a:extLst>
                    <a:ext uri="{FF2B5EF4-FFF2-40B4-BE49-F238E27FC236}">
                      <a16:creationId xmlns:a16="http://schemas.microsoft.com/office/drawing/2014/main" id="{F18CB469-0232-9F07-EF85-48D5CE00BDDE}"/>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5" name="Freeform: Shape 16294">
                  <a:extLst>
                    <a:ext uri="{FF2B5EF4-FFF2-40B4-BE49-F238E27FC236}">
                      <a16:creationId xmlns:a16="http://schemas.microsoft.com/office/drawing/2014/main" id="{284F84D2-75B8-1167-F334-1CEA28C67D55}"/>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6" name="Graphic 745">
                <a:extLst>
                  <a:ext uri="{FF2B5EF4-FFF2-40B4-BE49-F238E27FC236}">
                    <a16:creationId xmlns:a16="http://schemas.microsoft.com/office/drawing/2014/main" id="{0829D5C6-3781-A438-A669-8AAE8BF5DC6C}"/>
                  </a:ext>
                </a:extLst>
              </p:cNvPr>
              <p:cNvGrpSpPr/>
              <p:nvPr/>
            </p:nvGrpSpPr>
            <p:grpSpPr>
              <a:xfrm>
                <a:off x="6912864" y="4104322"/>
                <a:ext cx="75723" cy="75723"/>
                <a:chOff x="6912864" y="4104322"/>
                <a:chExt cx="75723" cy="75723"/>
              </a:xfrm>
            </p:grpSpPr>
            <p:sp>
              <p:nvSpPr>
                <p:cNvPr id="16292" name="Freeform: Shape 16291">
                  <a:extLst>
                    <a:ext uri="{FF2B5EF4-FFF2-40B4-BE49-F238E27FC236}">
                      <a16:creationId xmlns:a16="http://schemas.microsoft.com/office/drawing/2014/main" id="{EE2D1A63-9C88-6622-36C1-2CD272D20EE4}"/>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3" name="Freeform: Shape 16292">
                  <a:extLst>
                    <a:ext uri="{FF2B5EF4-FFF2-40B4-BE49-F238E27FC236}">
                      <a16:creationId xmlns:a16="http://schemas.microsoft.com/office/drawing/2014/main" id="{0DC5F5C3-0DCF-7C2A-8E45-5F7D62629882}"/>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7" name="Graphic 745">
                <a:extLst>
                  <a:ext uri="{FF2B5EF4-FFF2-40B4-BE49-F238E27FC236}">
                    <a16:creationId xmlns:a16="http://schemas.microsoft.com/office/drawing/2014/main" id="{DABFD6C1-4155-8620-9370-F5CD24730CD2}"/>
                  </a:ext>
                </a:extLst>
              </p:cNvPr>
              <p:cNvGrpSpPr/>
              <p:nvPr/>
            </p:nvGrpSpPr>
            <p:grpSpPr>
              <a:xfrm>
                <a:off x="7032117" y="4185284"/>
                <a:ext cx="75723" cy="75723"/>
                <a:chOff x="7032117" y="4185284"/>
                <a:chExt cx="75723" cy="75723"/>
              </a:xfrm>
            </p:grpSpPr>
            <p:sp>
              <p:nvSpPr>
                <p:cNvPr id="16290" name="Freeform: Shape 16289">
                  <a:extLst>
                    <a:ext uri="{FF2B5EF4-FFF2-40B4-BE49-F238E27FC236}">
                      <a16:creationId xmlns:a16="http://schemas.microsoft.com/office/drawing/2014/main" id="{1F43F59B-4B81-5F77-4E79-9683D289F24F}"/>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1" name="Freeform: Shape 16290">
                  <a:extLst>
                    <a:ext uri="{FF2B5EF4-FFF2-40B4-BE49-F238E27FC236}">
                      <a16:creationId xmlns:a16="http://schemas.microsoft.com/office/drawing/2014/main" id="{A50EE5C8-1DB9-201C-4912-9E01FD744B63}"/>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8" name="Graphic 745">
                <a:extLst>
                  <a:ext uri="{FF2B5EF4-FFF2-40B4-BE49-F238E27FC236}">
                    <a16:creationId xmlns:a16="http://schemas.microsoft.com/office/drawing/2014/main" id="{82F11AE3-834A-972B-8D34-2E1F37EC74DF}"/>
                  </a:ext>
                </a:extLst>
              </p:cNvPr>
              <p:cNvGrpSpPr/>
              <p:nvPr/>
            </p:nvGrpSpPr>
            <p:grpSpPr>
              <a:xfrm>
                <a:off x="7742872" y="4275772"/>
                <a:ext cx="75723" cy="75723"/>
                <a:chOff x="7742872" y="4275772"/>
                <a:chExt cx="75723" cy="75723"/>
              </a:xfrm>
            </p:grpSpPr>
            <p:sp>
              <p:nvSpPr>
                <p:cNvPr id="16288" name="Freeform: Shape 16287">
                  <a:extLst>
                    <a:ext uri="{FF2B5EF4-FFF2-40B4-BE49-F238E27FC236}">
                      <a16:creationId xmlns:a16="http://schemas.microsoft.com/office/drawing/2014/main" id="{7B1C26BD-AE6F-E8D1-F62C-264ACE108ED7}"/>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9" name="Freeform: Shape 16288">
                  <a:extLst>
                    <a:ext uri="{FF2B5EF4-FFF2-40B4-BE49-F238E27FC236}">
                      <a16:creationId xmlns:a16="http://schemas.microsoft.com/office/drawing/2014/main" id="{3C687703-D7FC-9005-2578-D2FD5E4E4663}"/>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9" name="Graphic 745">
                <a:extLst>
                  <a:ext uri="{FF2B5EF4-FFF2-40B4-BE49-F238E27FC236}">
                    <a16:creationId xmlns:a16="http://schemas.microsoft.com/office/drawing/2014/main" id="{0C8C01DF-1A6D-03E0-EF11-424430A9443C}"/>
                  </a:ext>
                </a:extLst>
              </p:cNvPr>
              <p:cNvGrpSpPr/>
              <p:nvPr/>
            </p:nvGrpSpPr>
            <p:grpSpPr>
              <a:xfrm>
                <a:off x="7766399" y="4275772"/>
                <a:ext cx="75628" cy="75723"/>
                <a:chOff x="7766399" y="4275772"/>
                <a:chExt cx="75628" cy="75723"/>
              </a:xfrm>
            </p:grpSpPr>
            <p:sp>
              <p:nvSpPr>
                <p:cNvPr id="16286" name="Freeform: Shape 16285">
                  <a:extLst>
                    <a:ext uri="{FF2B5EF4-FFF2-40B4-BE49-F238E27FC236}">
                      <a16:creationId xmlns:a16="http://schemas.microsoft.com/office/drawing/2014/main" id="{2F126414-4A96-943A-0CCC-7D6ABA1A6252}"/>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7" name="Freeform: Shape 16286">
                  <a:extLst>
                    <a:ext uri="{FF2B5EF4-FFF2-40B4-BE49-F238E27FC236}">
                      <a16:creationId xmlns:a16="http://schemas.microsoft.com/office/drawing/2014/main" id="{FF15142B-B993-7057-EEA5-4FCF8DD60AFD}"/>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0" name="Graphic 745">
                <a:extLst>
                  <a:ext uri="{FF2B5EF4-FFF2-40B4-BE49-F238E27FC236}">
                    <a16:creationId xmlns:a16="http://schemas.microsoft.com/office/drawing/2014/main" id="{53B65910-5E5F-EA4E-362F-06463D1B20D7}"/>
                  </a:ext>
                </a:extLst>
              </p:cNvPr>
              <p:cNvGrpSpPr/>
              <p:nvPr/>
            </p:nvGrpSpPr>
            <p:grpSpPr>
              <a:xfrm>
                <a:off x="7787449" y="4275772"/>
                <a:ext cx="75723" cy="75723"/>
                <a:chOff x="7787449" y="4275772"/>
                <a:chExt cx="75723" cy="75723"/>
              </a:xfrm>
            </p:grpSpPr>
            <p:sp>
              <p:nvSpPr>
                <p:cNvPr id="16284" name="Freeform: Shape 16283">
                  <a:extLst>
                    <a:ext uri="{FF2B5EF4-FFF2-40B4-BE49-F238E27FC236}">
                      <a16:creationId xmlns:a16="http://schemas.microsoft.com/office/drawing/2014/main" id="{7768DC1B-F904-7794-6473-A1AD15C5A6E0}"/>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5" name="Freeform: Shape 16284">
                  <a:extLst>
                    <a:ext uri="{FF2B5EF4-FFF2-40B4-BE49-F238E27FC236}">
                      <a16:creationId xmlns:a16="http://schemas.microsoft.com/office/drawing/2014/main" id="{B6671116-35B0-7996-D523-83785B9032BC}"/>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1" name="Graphic 745">
                <a:extLst>
                  <a:ext uri="{FF2B5EF4-FFF2-40B4-BE49-F238E27FC236}">
                    <a16:creationId xmlns:a16="http://schemas.microsoft.com/office/drawing/2014/main" id="{E68C6113-D0DC-A624-08B7-595762D7FE94}"/>
                  </a:ext>
                </a:extLst>
              </p:cNvPr>
              <p:cNvGrpSpPr/>
              <p:nvPr/>
            </p:nvGrpSpPr>
            <p:grpSpPr>
              <a:xfrm>
                <a:off x="7793545" y="4275772"/>
                <a:ext cx="75628" cy="75723"/>
                <a:chOff x="7793545" y="4275772"/>
                <a:chExt cx="75628" cy="75723"/>
              </a:xfrm>
            </p:grpSpPr>
            <p:sp>
              <p:nvSpPr>
                <p:cNvPr id="16282" name="Freeform: Shape 16281">
                  <a:extLst>
                    <a:ext uri="{FF2B5EF4-FFF2-40B4-BE49-F238E27FC236}">
                      <a16:creationId xmlns:a16="http://schemas.microsoft.com/office/drawing/2014/main" id="{1030A0B1-26FC-79D0-32A6-387CC5CB866C}"/>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3" name="Freeform: Shape 16282">
                  <a:extLst>
                    <a:ext uri="{FF2B5EF4-FFF2-40B4-BE49-F238E27FC236}">
                      <a16:creationId xmlns:a16="http://schemas.microsoft.com/office/drawing/2014/main" id="{B6589EAC-B372-47AA-D9A6-768A91515139}"/>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2" name="Graphic 745">
                <a:extLst>
                  <a:ext uri="{FF2B5EF4-FFF2-40B4-BE49-F238E27FC236}">
                    <a16:creationId xmlns:a16="http://schemas.microsoft.com/office/drawing/2014/main" id="{BBD4CA7A-CD4A-6D75-5E71-69EED1CCD9F0}"/>
                  </a:ext>
                </a:extLst>
              </p:cNvPr>
              <p:cNvGrpSpPr/>
              <p:nvPr/>
            </p:nvGrpSpPr>
            <p:grpSpPr>
              <a:xfrm>
                <a:off x="7821453" y="4275772"/>
                <a:ext cx="75723" cy="75723"/>
                <a:chOff x="7821453" y="4275772"/>
                <a:chExt cx="75723" cy="75723"/>
              </a:xfrm>
            </p:grpSpPr>
            <p:sp>
              <p:nvSpPr>
                <p:cNvPr id="16280" name="Freeform: Shape 16279">
                  <a:extLst>
                    <a:ext uri="{FF2B5EF4-FFF2-40B4-BE49-F238E27FC236}">
                      <a16:creationId xmlns:a16="http://schemas.microsoft.com/office/drawing/2014/main" id="{D9013855-2A45-53CC-0922-8A03CB7D92A0}"/>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1" name="Freeform: Shape 16280">
                  <a:extLst>
                    <a:ext uri="{FF2B5EF4-FFF2-40B4-BE49-F238E27FC236}">
                      <a16:creationId xmlns:a16="http://schemas.microsoft.com/office/drawing/2014/main" id="{6E1946EE-3F0D-C2AD-ED16-33B80E79FBA1}"/>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3" name="Graphic 745">
                <a:extLst>
                  <a:ext uri="{FF2B5EF4-FFF2-40B4-BE49-F238E27FC236}">
                    <a16:creationId xmlns:a16="http://schemas.microsoft.com/office/drawing/2014/main" id="{C9AFB3F7-D4D5-EB46-265B-E2D82ABA1F5A}"/>
                  </a:ext>
                </a:extLst>
              </p:cNvPr>
              <p:cNvGrpSpPr/>
              <p:nvPr/>
            </p:nvGrpSpPr>
            <p:grpSpPr>
              <a:xfrm>
                <a:off x="7807737" y="4275772"/>
                <a:ext cx="75628" cy="75723"/>
                <a:chOff x="7807737" y="4275772"/>
                <a:chExt cx="75628" cy="75723"/>
              </a:xfrm>
            </p:grpSpPr>
            <p:sp>
              <p:nvSpPr>
                <p:cNvPr id="15966" name="Freeform: Shape 15965">
                  <a:extLst>
                    <a:ext uri="{FF2B5EF4-FFF2-40B4-BE49-F238E27FC236}">
                      <a16:creationId xmlns:a16="http://schemas.microsoft.com/office/drawing/2014/main" id="{AF6372A8-4846-D766-D3D0-ECA8E4A096F2}"/>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8" name="Freeform: Shape 16277">
                  <a:extLst>
                    <a:ext uri="{FF2B5EF4-FFF2-40B4-BE49-F238E27FC236}">
                      <a16:creationId xmlns:a16="http://schemas.microsoft.com/office/drawing/2014/main" id="{A2857E36-B9CB-CE40-DCAE-742CB7097C49}"/>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4" name="Graphic 745">
                <a:extLst>
                  <a:ext uri="{FF2B5EF4-FFF2-40B4-BE49-F238E27FC236}">
                    <a16:creationId xmlns:a16="http://schemas.microsoft.com/office/drawing/2014/main" id="{193E10C3-C210-DEF3-D1F7-FC3B2144F3C2}"/>
                  </a:ext>
                </a:extLst>
              </p:cNvPr>
              <p:cNvGrpSpPr/>
              <p:nvPr/>
            </p:nvGrpSpPr>
            <p:grpSpPr>
              <a:xfrm>
                <a:off x="8174545" y="4275772"/>
                <a:ext cx="75628" cy="75723"/>
                <a:chOff x="8174545" y="4275772"/>
                <a:chExt cx="75628" cy="75723"/>
              </a:xfrm>
            </p:grpSpPr>
            <p:sp>
              <p:nvSpPr>
                <p:cNvPr id="15964" name="Freeform: Shape 15963">
                  <a:extLst>
                    <a:ext uri="{FF2B5EF4-FFF2-40B4-BE49-F238E27FC236}">
                      <a16:creationId xmlns:a16="http://schemas.microsoft.com/office/drawing/2014/main" id="{695A154F-284F-E8AD-FB85-C07BDC458E1A}"/>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5" name="Freeform: Shape 15964">
                  <a:extLst>
                    <a:ext uri="{FF2B5EF4-FFF2-40B4-BE49-F238E27FC236}">
                      <a16:creationId xmlns:a16="http://schemas.microsoft.com/office/drawing/2014/main" id="{EDBBCC37-B124-DC59-26CC-F3F0B5166F3B}"/>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5" name="Graphic 745">
                <a:extLst>
                  <a:ext uri="{FF2B5EF4-FFF2-40B4-BE49-F238E27FC236}">
                    <a16:creationId xmlns:a16="http://schemas.microsoft.com/office/drawing/2014/main" id="{9AABF6B3-D621-C0E9-E99E-06A9D85BA127}"/>
                  </a:ext>
                </a:extLst>
              </p:cNvPr>
              <p:cNvGrpSpPr/>
              <p:nvPr/>
            </p:nvGrpSpPr>
            <p:grpSpPr>
              <a:xfrm>
                <a:off x="8189118" y="4275772"/>
                <a:ext cx="75723" cy="75723"/>
                <a:chOff x="8189118" y="4275772"/>
                <a:chExt cx="75723" cy="75723"/>
              </a:xfrm>
            </p:grpSpPr>
            <p:sp>
              <p:nvSpPr>
                <p:cNvPr id="15962" name="Freeform: Shape 15961">
                  <a:extLst>
                    <a:ext uri="{FF2B5EF4-FFF2-40B4-BE49-F238E27FC236}">
                      <a16:creationId xmlns:a16="http://schemas.microsoft.com/office/drawing/2014/main" id="{E6729140-5528-15BB-44ED-3BEFD968F530}"/>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3" name="Freeform: Shape 15962">
                  <a:extLst>
                    <a:ext uri="{FF2B5EF4-FFF2-40B4-BE49-F238E27FC236}">
                      <a16:creationId xmlns:a16="http://schemas.microsoft.com/office/drawing/2014/main" id="{86BD2B12-3418-9449-30D3-C48A1637D7CA}"/>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6" name="Graphic 745">
                <a:extLst>
                  <a:ext uri="{FF2B5EF4-FFF2-40B4-BE49-F238E27FC236}">
                    <a16:creationId xmlns:a16="http://schemas.microsoft.com/office/drawing/2014/main" id="{2166E07C-0ED0-D907-3D4B-C3FEC9C55C11}"/>
                  </a:ext>
                </a:extLst>
              </p:cNvPr>
              <p:cNvGrpSpPr/>
              <p:nvPr/>
            </p:nvGrpSpPr>
            <p:grpSpPr>
              <a:xfrm>
                <a:off x="8212359" y="4275772"/>
                <a:ext cx="75723" cy="75723"/>
                <a:chOff x="8212359" y="4275772"/>
                <a:chExt cx="75723" cy="75723"/>
              </a:xfrm>
            </p:grpSpPr>
            <p:sp>
              <p:nvSpPr>
                <p:cNvPr id="15960" name="Freeform: Shape 15959">
                  <a:extLst>
                    <a:ext uri="{FF2B5EF4-FFF2-40B4-BE49-F238E27FC236}">
                      <a16:creationId xmlns:a16="http://schemas.microsoft.com/office/drawing/2014/main" id="{FDF757A2-468B-6A5D-9702-AA0F79CB2735}"/>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1" name="Freeform: Shape 15960">
                  <a:extLst>
                    <a:ext uri="{FF2B5EF4-FFF2-40B4-BE49-F238E27FC236}">
                      <a16:creationId xmlns:a16="http://schemas.microsoft.com/office/drawing/2014/main" id="{8CFCCA09-0D28-AB25-1FC2-AF944E60E7EC}"/>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7" name="Graphic 745">
                <a:extLst>
                  <a:ext uri="{FF2B5EF4-FFF2-40B4-BE49-F238E27FC236}">
                    <a16:creationId xmlns:a16="http://schemas.microsoft.com/office/drawing/2014/main" id="{F49969C5-D463-76C6-9476-F62FEC68ECC7}"/>
                  </a:ext>
                </a:extLst>
              </p:cNvPr>
              <p:cNvGrpSpPr/>
              <p:nvPr/>
            </p:nvGrpSpPr>
            <p:grpSpPr>
              <a:xfrm>
                <a:off x="8226933" y="4275772"/>
                <a:ext cx="75723" cy="75723"/>
                <a:chOff x="8226933" y="4275772"/>
                <a:chExt cx="75723" cy="75723"/>
              </a:xfrm>
            </p:grpSpPr>
            <p:sp>
              <p:nvSpPr>
                <p:cNvPr id="15958" name="Freeform: Shape 15957">
                  <a:extLst>
                    <a:ext uri="{FF2B5EF4-FFF2-40B4-BE49-F238E27FC236}">
                      <a16:creationId xmlns:a16="http://schemas.microsoft.com/office/drawing/2014/main" id="{D4E6F3F2-0A5F-5767-036D-6A089EF8C224}"/>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9" name="Freeform: Shape 15958">
                  <a:extLst>
                    <a:ext uri="{FF2B5EF4-FFF2-40B4-BE49-F238E27FC236}">
                      <a16:creationId xmlns:a16="http://schemas.microsoft.com/office/drawing/2014/main" id="{2C1C9B3A-70C8-E4B9-79D6-50B73994C346}"/>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724" name="Freeform: Shape 15723">
              <a:extLst>
                <a:ext uri="{FF2B5EF4-FFF2-40B4-BE49-F238E27FC236}">
                  <a16:creationId xmlns:a16="http://schemas.microsoft.com/office/drawing/2014/main" id="{90DBFBB1-A444-9204-398D-E751A78EF6AE}"/>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7" name="Group 15236">
            <a:extLst>
              <a:ext uri="{FF2B5EF4-FFF2-40B4-BE49-F238E27FC236}">
                <a16:creationId xmlns:a16="http://schemas.microsoft.com/office/drawing/2014/main" id="{B18AAA7D-6C7E-CB04-CCEB-66B276C7B3C1}"/>
              </a:ext>
            </a:extLst>
          </p:cNvPr>
          <p:cNvGrpSpPr/>
          <p:nvPr/>
        </p:nvGrpSpPr>
        <p:grpSpPr>
          <a:xfrm>
            <a:off x="648634" y="1429513"/>
            <a:ext cx="6851501" cy="2233885"/>
            <a:chOff x="3800475" y="2590800"/>
            <a:chExt cx="4593812" cy="1674876"/>
          </a:xfrm>
        </p:grpSpPr>
        <p:grpSp>
          <p:nvGrpSpPr>
            <p:cNvPr id="15238" name="Graphic 1391">
              <a:extLst>
                <a:ext uri="{FF2B5EF4-FFF2-40B4-BE49-F238E27FC236}">
                  <a16:creationId xmlns:a16="http://schemas.microsoft.com/office/drawing/2014/main" id="{59437D04-6ECF-91E5-1D5C-6C3733586081}"/>
                </a:ext>
              </a:extLst>
            </p:cNvPr>
            <p:cNvGrpSpPr/>
            <p:nvPr/>
          </p:nvGrpSpPr>
          <p:grpSpPr>
            <a:xfrm>
              <a:off x="3800475" y="2590800"/>
              <a:ext cx="4593812" cy="1674876"/>
              <a:chOff x="3800475" y="2590800"/>
              <a:chExt cx="4593812" cy="1674876"/>
            </a:xfrm>
          </p:grpSpPr>
          <p:grpSp>
            <p:nvGrpSpPr>
              <p:cNvPr id="15240" name="Graphic 1391">
                <a:extLst>
                  <a:ext uri="{FF2B5EF4-FFF2-40B4-BE49-F238E27FC236}">
                    <a16:creationId xmlns:a16="http://schemas.microsoft.com/office/drawing/2014/main" id="{777FCCD5-208C-64F2-09A1-53C73E72B31B}"/>
                  </a:ext>
                </a:extLst>
              </p:cNvPr>
              <p:cNvGrpSpPr/>
              <p:nvPr/>
            </p:nvGrpSpPr>
            <p:grpSpPr>
              <a:xfrm>
                <a:off x="8318563" y="4189952"/>
                <a:ext cx="75723" cy="75723"/>
                <a:chOff x="8318563" y="4189952"/>
                <a:chExt cx="75723" cy="75723"/>
              </a:xfrm>
            </p:grpSpPr>
            <p:sp>
              <p:nvSpPr>
                <p:cNvPr id="15720" name="Freeform: Shape 15719">
                  <a:extLst>
                    <a:ext uri="{FF2B5EF4-FFF2-40B4-BE49-F238E27FC236}">
                      <a16:creationId xmlns:a16="http://schemas.microsoft.com/office/drawing/2014/main" id="{CCB42923-F09F-977F-AB47-5157049E87E5}"/>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1" name="Freeform: Shape 15720">
                  <a:extLst>
                    <a:ext uri="{FF2B5EF4-FFF2-40B4-BE49-F238E27FC236}">
                      <a16:creationId xmlns:a16="http://schemas.microsoft.com/office/drawing/2014/main" id="{1BC9C3D8-A7F9-8C0D-3139-EA2A5CD0C28C}"/>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1" name="Graphic 1391">
                <a:extLst>
                  <a:ext uri="{FF2B5EF4-FFF2-40B4-BE49-F238E27FC236}">
                    <a16:creationId xmlns:a16="http://schemas.microsoft.com/office/drawing/2014/main" id="{17C1F02F-A27B-5E36-5180-3ABA7DC0AC7E}"/>
                  </a:ext>
                </a:extLst>
              </p:cNvPr>
              <p:cNvGrpSpPr/>
              <p:nvPr/>
            </p:nvGrpSpPr>
            <p:grpSpPr>
              <a:xfrm>
                <a:off x="7982140" y="4189952"/>
                <a:ext cx="75723" cy="75723"/>
                <a:chOff x="7982140" y="4189952"/>
                <a:chExt cx="75723" cy="75723"/>
              </a:xfrm>
            </p:grpSpPr>
            <p:sp>
              <p:nvSpPr>
                <p:cNvPr id="15718" name="Freeform: Shape 15717">
                  <a:extLst>
                    <a:ext uri="{FF2B5EF4-FFF2-40B4-BE49-F238E27FC236}">
                      <a16:creationId xmlns:a16="http://schemas.microsoft.com/office/drawing/2014/main" id="{B137F3F7-46A6-7A55-05D5-99655485429C}"/>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9" name="Freeform: Shape 15718">
                  <a:extLst>
                    <a:ext uri="{FF2B5EF4-FFF2-40B4-BE49-F238E27FC236}">
                      <a16:creationId xmlns:a16="http://schemas.microsoft.com/office/drawing/2014/main" id="{79AB47DD-FF2E-7FE9-5910-3B645779C8AD}"/>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2" name="Graphic 1391">
                <a:extLst>
                  <a:ext uri="{FF2B5EF4-FFF2-40B4-BE49-F238E27FC236}">
                    <a16:creationId xmlns:a16="http://schemas.microsoft.com/office/drawing/2014/main" id="{B162166D-7FC2-3941-B7BC-BF893EE5A4C1}"/>
                  </a:ext>
                </a:extLst>
              </p:cNvPr>
              <p:cNvGrpSpPr/>
              <p:nvPr/>
            </p:nvGrpSpPr>
            <p:grpSpPr>
              <a:xfrm>
                <a:off x="7971758" y="4189952"/>
                <a:ext cx="75723" cy="75723"/>
                <a:chOff x="7971758" y="4189952"/>
                <a:chExt cx="75723" cy="75723"/>
              </a:xfrm>
            </p:grpSpPr>
            <p:sp>
              <p:nvSpPr>
                <p:cNvPr id="15716" name="Freeform: Shape 15715">
                  <a:extLst>
                    <a:ext uri="{FF2B5EF4-FFF2-40B4-BE49-F238E27FC236}">
                      <a16:creationId xmlns:a16="http://schemas.microsoft.com/office/drawing/2014/main" id="{6C6DA40E-37D0-2941-23B7-4975AE781055}"/>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7" name="Freeform: Shape 15716">
                  <a:extLst>
                    <a:ext uri="{FF2B5EF4-FFF2-40B4-BE49-F238E27FC236}">
                      <a16:creationId xmlns:a16="http://schemas.microsoft.com/office/drawing/2014/main" id="{83B6F12C-4F84-A949-1418-503CC276FC2E}"/>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3" name="Graphic 1391">
                <a:extLst>
                  <a:ext uri="{FF2B5EF4-FFF2-40B4-BE49-F238E27FC236}">
                    <a16:creationId xmlns:a16="http://schemas.microsoft.com/office/drawing/2014/main" id="{2D428A7A-CC51-A217-F86F-A584F9FEC4C5}"/>
                  </a:ext>
                </a:extLst>
              </p:cNvPr>
              <p:cNvGrpSpPr/>
              <p:nvPr/>
            </p:nvGrpSpPr>
            <p:grpSpPr>
              <a:xfrm>
                <a:off x="7613904" y="4189952"/>
                <a:ext cx="75628" cy="75723"/>
                <a:chOff x="7613904" y="4189952"/>
                <a:chExt cx="75628" cy="75723"/>
              </a:xfrm>
            </p:grpSpPr>
            <p:sp>
              <p:nvSpPr>
                <p:cNvPr id="15714" name="Freeform: Shape 15713">
                  <a:extLst>
                    <a:ext uri="{FF2B5EF4-FFF2-40B4-BE49-F238E27FC236}">
                      <a16:creationId xmlns:a16="http://schemas.microsoft.com/office/drawing/2014/main" id="{5BBA1169-CD5E-EDB9-B23A-9FBA41922477}"/>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5" name="Freeform: Shape 15714">
                  <a:extLst>
                    <a:ext uri="{FF2B5EF4-FFF2-40B4-BE49-F238E27FC236}">
                      <a16:creationId xmlns:a16="http://schemas.microsoft.com/office/drawing/2014/main" id="{BAAD10C8-E53C-6776-3A7E-5A44C296EF2F}"/>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4" name="Graphic 1391">
                <a:extLst>
                  <a:ext uri="{FF2B5EF4-FFF2-40B4-BE49-F238E27FC236}">
                    <a16:creationId xmlns:a16="http://schemas.microsoft.com/office/drawing/2014/main" id="{1B872324-8FA4-91AE-57BF-FC1593612839}"/>
                  </a:ext>
                </a:extLst>
              </p:cNvPr>
              <p:cNvGrpSpPr/>
              <p:nvPr/>
            </p:nvGrpSpPr>
            <p:grpSpPr>
              <a:xfrm>
                <a:off x="7578185" y="4189952"/>
                <a:ext cx="75723" cy="75723"/>
                <a:chOff x="7578185" y="4189952"/>
                <a:chExt cx="75723" cy="75723"/>
              </a:xfrm>
            </p:grpSpPr>
            <p:sp>
              <p:nvSpPr>
                <p:cNvPr id="15712" name="Freeform: Shape 15711">
                  <a:extLst>
                    <a:ext uri="{FF2B5EF4-FFF2-40B4-BE49-F238E27FC236}">
                      <a16:creationId xmlns:a16="http://schemas.microsoft.com/office/drawing/2014/main" id="{9824190C-B767-DE1F-6765-241F4C11A7F6}"/>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3" name="Freeform: Shape 15712">
                  <a:extLst>
                    <a:ext uri="{FF2B5EF4-FFF2-40B4-BE49-F238E27FC236}">
                      <a16:creationId xmlns:a16="http://schemas.microsoft.com/office/drawing/2014/main" id="{48EBA1DB-F908-687E-7F7B-1B39F602CA2B}"/>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5" name="Graphic 1391">
                <a:extLst>
                  <a:ext uri="{FF2B5EF4-FFF2-40B4-BE49-F238E27FC236}">
                    <a16:creationId xmlns:a16="http://schemas.microsoft.com/office/drawing/2014/main" id="{5EFF3765-BAD8-838D-CA81-A9A1EAE23D0A}"/>
                  </a:ext>
                </a:extLst>
              </p:cNvPr>
              <p:cNvGrpSpPr/>
              <p:nvPr/>
            </p:nvGrpSpPr>
            <p:grpSpPr>
              <a:xfrm>
                <a:off x="7567231" y="4189952"/>
                <a:ext cx="75723" cy="75723"/>
                <a:chOff x="7567231" y="4189952"/>
                <a:chExt cx="75723" cy="75723"/>
              </a:xfrm>
            </p:grpSpPr>
            <p:sp>
              <p:nvSpPr>
                <p:cNvPr id="15710" name="Freeform: Shape 15709">
                  <a:extLst>
                    <a:ext uri="{FF2B5EF4-FFF2-40B4-BE49-F238E27FC236}">
                      <a16:creationId xmlns:a16="http://schemas.microsoft.com/office/drawing/2014/main" id="{DB691D59-51B1-A3B0-BD52-861A277D9C24}"/>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1" name="Freeform: Shape 15710">
                  <a:extLst>
                    <a:ext uri="{FF2B5EF4-FFF2-40B4-BE49-F238E27FC236}">
                      <a16:creationId xmlns:a16="http://schemas.microsoft.com/office/drawing/2014/main" id="{4FB6D54E-B4C7-BA63-0DDF-C7C5C0935F00}"/>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6" name="Graphic 1391">
                <a:extLst>
                  <a:ext uri="{FF2B5EF4-FFF2-40B4-BE49-F238E27FC236}">
                    <a16:creationId xmlns:a16="http://schemas.microsoft.com/office/drawing/2014/main" id="{BA5D28AB-40CD-830E-C4FB-2786BCAD8E97}"/>
                  </a:ext>
                </a:extLst>
              </p:cNvPr>
              <p:cNvGrpSpPr/>
              <p:nvPr/>
            </p:nvGrpSpPr>
            <p:grpSpPr>
              <a:xfrm>
                <a:off x="7557897" y="4189952"/>
                <a:ext cx="75723" cy="75723"/>
                <a:chOff x="7557897" y="4189952"/>
                <a:chExt cx="75723" cy="75723"/>
              </a:xfrm>
            </p:grpSpPr>
            <p:sp>
              <p:nvSpPr>
                <p:cNvPr id="15708" name="Freeform: Shape 15707">
                  <a:extLst>
                    <a:ext uri="{FF2B5EF4-FFF2-40B4-BE49-F238E27FC236}">
                      <a16:creationId xmlns:a16="http://schemas.microsoft.com/office/drawing/2014/main" id="{BC8BD989-DCBD-7374-3F07-2A134C0EF093}"/>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9" name="Freeform: Shape 15708">
                  <a:extLst>
                    <a:ext uri="{FF2B5EF4-FFF2-40B4-BE49-F238E27FC236}">
                      <a16:creationId xmlns:a16="http://schemas.microsoft.com/office/drawing/2014/main" id="{85B0B55E-AD7F-457B-12E0-661C73E205C6}"/>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7" name="Graphic 1391">
                <a:extLst>
                  <a:ext uri="{FF2B5EF4-FFF2-40B4-BE49-F238E27FC236}">
                    <a16:creationId xmlns:a16="http://schemas.microsoft.com/office/drawing/2014/main" id="{147B3E0B-42F8-0D30-7F40-2729D0E4E2EE}"/>
                  </a:ext>
                </a:extLst>
              </p:cNvPr>
              <p:cNvGrpSpPr/>
              <p:nvPr/>
            </p:nvGrpSpPr>
            <p:grpSpPr>
              <a:xfrm>
                <a:off x="7236142" y="4189952"/>
                <a:ext cx="75628" cy="75723"/>
                <a:chOff x="7236142" y="4189952"/>
                <a:chExt cx="75628" cy="75723"/>
              </a:xfrm>
            </p:grpSpPr>
            <p:sp>
              <p:nvSpPr>
                <p:cNvPr id="15706" name="Freeform: Shape 15705">
                  <a:extLst>
                    <a:ext uri="{FF2B5EF4-FFF2-40B4-BE49-F238E27FC236}">
                      <a16:creationId xmlns:a16="http://schemas.microsoft.com/office/drawing/2014/main" id="{3E58EF9D-12B3-AF4D-AE0B-01EAB4D8B975}"/>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7" name="Freeform: Shape 15706">
                  <a:extLst>
                    <a:ext uri="{FF2B5EF4-FFF2-40B4-BE49-F238E27FC236}">
                      <a16:creationId xmlns:a16="http://schemas.microsoft.com/office/drawing/2014/main" id="{F94CC225-8488-91C0-3F45-F4279028A668}"/>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8" name="Graphic 1391">
                <a:extLst>
                  <a:ext uri="{FF2B5EF4-FFF2-40B4-BE49-F238E27FC236}">
                    <a16:creationId xmlns:a16="http://schemas.microsoft.com/office/drawing/2014/main" id="{8903FB6A-71FB-0F01-4A15-01156B47C8AA}"/>
                  </a:ext>
                </a:extLst>
              </p:cNvPr>
              <p:cNvGrpSpPr/>
              <p:nvPr/>
            </p:nvGrpSpPr>
            <p:grpSpPr>
              <a:xfrm>
                <a:off x="7200804" y="4189952"/>
                <a:ext cx="75723" cy="75723"/>
                <a:chOff x="7200804" y="4189952"/>
                <a:chExt cx="75723" cy="75723"/>
              </a:xfrm>
            </p:grpSpPr>
            <p:sp>
              <p:nvSpPr>
                <p:cNvPr id="15704" name="Freeform: Shape 15703">
                  <a:extLst>
                    <a:ext uri="{FF2B5EF4-FFF2-40B4-BE49-F238E27FC236}">
                      <a16:creationId xmlns:a16="http://schemas.microsoft.com/office/drawing/2014/main" id="{30A68707-3653-98FD-294A-BBBCEFA7BE11}"/>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5" name="Freeform: Shape 15704">
                  <a:extLst>
                    <a:ext uri="{FF2B5EF4-FFF2-40B4-BE49-F238E27FC236}">
                      <a16:creationId xmlns:a16="http://schemas.microsoft.com/office/drawing/2014/main" id="{085E230E-063E-02BE-629C-3255AC555861}"/>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9" name="Graphic 1391">
                <a:extLst>
                  <a:ext uri="{FF2B5EF4-FFF2-40B4-BE49-F238E27FC236}">
                    <a16:creationId xmlns:a16="http://schemas.microsoft.com/office/drawing/2014/main" id="{A2DF8507-8CEB-340D-6761-A3FF9CD25076}"/>
                  </a:ext>
                </a:extLst>
              </p:cNvPr>
              <p:cNvGrpSpPr/>
              <p:nvPr/>
            </p:nvGrpSpPr>
            <p:grpSpPr>
              <a:xfrm>
                <a:off x="7178135" y="4189952"/>
                <a:ext cx="75723" cy="75723"/>
                <a:chOff x="7178135" y="4189952"/>
                <a:chExt cx="75723" cy="75723"/>
              </a:xfrm>
            </p:grpSpPr>
            <p:sp>
              <p:nvSpPr>
                <p:cNvPr id="15702" name="Freeform: Shape 15701">
                  <a:extLst>
                    <a:ext uri="{FF2B5EF4-FFF2-40B4-BE49-F238E27FC236}">
                      <a16:creationId xmlns:a16="http://schemas.microsoft.com/office/drawing/2014/main" id="{B19AB61F-B90F-7D24-8458-D3C125B02099}"/>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3" name="Freeform: Shape 15702">
                  <a:extLst>
                    <a:ext uri="{FF2B5EF4-FFF2-40B4-BE49-F238E27FC236}">
                      <a16:creationId xmlns:a16="http://schemas.microsoft.com/office/drawing/2014/main" id="{DFF847A0-07A3-06B7-CC00-26EAE34CE0BA}"/>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0" name="Graphic 1391">
                <a:extLst>
                  <a:ext uri="{FF2B5EF4-FFF2-40B4-BE49-F238E27FC236}">
                    <a16:creationId xmlns:a16="http://schemas.microsoft.com/office/drawing/2014/main" id="{E20A5324-78C0-1F8A-FE67-7B41E5FDC589}"/>
                  </a:ext>
                </a:extLst>
              </p:cNvPr>
              <p:cNvGrpSpPr/>
              <p:nvPr/>
            </p:nvGrpSpPr>
            <p:grpSpPr>
              <a:xfrm>
                <a:off x="6910197" y="4189952"/>
                <a:ext cx="75723" cy="75723"/>
                <a:chOff x="6910197" y="4189952"/>
                <a:chExt cx="75723" cy="75723"/>
              </a:xfrm>
            </p:grpSpPr>
            <p:sp>
              <p:nvSpPr>
                <p:cNvPr id="15700" name="Freeform: Shape 15699">
                  <a:extLst>
                    <a:ext uri="{FF2B5EF4-FFF2-40B4-BE49-F238E27FC236}">
                      <a16:creationId xmlns:a16="http://schemas.microsoft.com/office/drawing/2014/main" id="{A19AF62C-3BB3-C2EE-181D-6EEDCD614132}"/>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1" name="Freeform: Shape 15700">
                  <a:extLst>
                    <a:ext uri="{FF2B5EF4-FFF2-40B4-BE49-F238E27FC236}">
                      <a16:creationId xmlns:a16="http://schemas.microsoft.com/office/drawing/2014/main" id="{EA6B46BD-AD07-A168-F8F8-408F9C27E951}"/>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1" name="Graphic 1391">
                <a:extLst>
                  <a:ext uri="{FF2B5EF4-FFF2-40B4-BE49-F238E27FC236}">
                    <a16:creationId xmlns:a16="http://schemas.microsoft.com/office/drawing/2014/main" id="{945FA10B-C351-4851-C1E7-015B0F55E26C}"/>
                  </a:ext>
                </a:extLst>
              </p:cNvPr>
              <p:cNvGrpSpPr/>
              <p:nvPr/>
            </p:nvGrpSpPr>
            <p:grpSpPr>
              <a:xfrm>
                <a:off x="6866096" y="4189952"/>
                <a:ext cx="75628" cy="75723"/>
                <a:chOff x="6866096" y="4189952"/>
                <a:chExt cx="75628" cy="75723"/>
              </a:xfrm>
            </p:grpSpPr>
            <p:sp>
              <p:nvSpPr>
                <p:cNvPr id="15698" name="Freeform: Shape 15697">
                  <a:extLst>
                    <a:ext uri="{FF2B5EF4-FFF2-40B4-BE49-F238E27FC236}">
                      <a16:creationId xmlns:a16="http://schemas.microsoft.com/office/drawing/2014/main" id="{F3DCF552-29CE-5F18-2DFB-E6BD11179801}"/>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9" name="Freeform: Shape 15698">
                  <a:extLst>
                    <a:ext uri="{FF2B5EF4-FFF2-40B4-BE49-F238E27FC236}">
                      <a16:creationId xmlns:a16="http://schemas.microsoft.com/office/drawing/2014/main" id="{BDCE768D-4CCD-2796-F00D-1D2CE57F18BA}"/>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2" name="Graphic 1391">
                <a:extLst>
                  <a:ext uri="{FF2B5EF4-FFF2-40B4-BE49-F238E27FC236}">
                    <a16:creationId xmlns:a16="http://schemas.microsoft.com/office/drawing/2014/main" id="{D935D04B-7334-47BD-0B6B-F1879F9D05CD}"/>
                  </a:ext>
                </a:extLst>
              </p:cNvPr>
              <p:cNvGrpSpPr/>
              <p:nvPr/>
            </p:nvGrpSpPr>
            <p:grpSpPr>
              <a:xfrm>
                <a:off x="6855523" y="4136898"/>
                <a:ext cx="75723" cy="75628"/>
                <a:chOff x="6855523" y="4136898"/>
                <a:chExt cx="75723" cy="75628"/>
              </a:xfrm>
            </p:grpSpPr>
            <p:sp>
              <p:nvSpPr>
                <p:cNvPr id="15695" name="Freeform: Shape 15694">
                  <a:extLst>
                    <a:ext uri="{FF2B5EF4-FFF2-40B4-BE49-F238E27FC236}">
                      <a16:creationId xmlns:a16="http://schemas.microsoft.com/office/drawing/2014/main" id="{2981A1F8-52C0-DA72-79A3-7718C702A7A9}"/>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6" name="Freeform: Shape 15695">
                  <a:extLst>
                    <a:ext uri="{FF2B5EF4-FFF2-40B4-BE49-F238E27FC236}">
                      <a16:creationId xmlns:a16="http://schemas.microsoft.com/office/drawing/2014/main" id="{3D795261-E41F-B31B-CD94-3D225EB3A63B}"/>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8" name="Graphic 1391">
                <a:extLst>
                  <a:ext uri="{FF2B5EF4-FFF2-40B4-BE49-F238E27FC236}">
                    <a16:creationId xmlns:a16="http://schemas.microsoft.com/office/drawing/2014/main" id="{08A33417-D436-C45A-B8ED-446AD09B1202}"/>
                  </a:ext>
                </a:extLst>
              </p:cNvPr>
              <p:cNvGrpSpPr/>
              <p:nvPr/>
            </p:nvGrpSpPr>
            <p:grpSpPr>
              <a:xfrm>
                <a:off x="6821424" y="4086129"/>
                <a:ext cx="75723" cy="75723"/>
                <a:chOff x="6821424" y="4086129"/>
                <a:chExt cx="75723" cy="75723"/>
              </a:xfrm>
            </p:grpSpPr>
            <p:sp>
              <p:nvSpPr>
                <p:cNvPr id="15693" name="Freeform: Shape 15692">
                  <a:extLst>
                    <a:ext uri="{FF2B5EF4-FFF2-40B4-BE49-F238E27FC236}">
                      <a16:creationId xmlns:a16="http://schemas.microsoft.com/office/drawing/2014/main" id="{D27196AE-8305-EC3F-7B41-DF135C2F623C}"/>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4" name="Freeform: Shape 15693">
                  <a:extLst>
                    <a:ext uri="{FF2B5EF4-FFF2-40B4-BE49-F238E27FC236}">
                      <a16:creationId xmlns:a16="http://schemas.microsoft.com/office/drawing/2014/main" id="{8FA116E3-D9DE-9FB3-D969-3E60A1D1B47B}"/>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9" name="Graphic 1391">
                <a:extLst>
                  <a:ext uri="{FF2B5EF4-FFF2-40B4-BE49-F238E27FC236}">
                    <a16:creationId xmlns:a16="http://schemas.microsoft.com/office/drawing/2014/main" id="{4E426D33-3EDB-51BB-FFB1-C8050254CC8C}"/>
                  </a:ext>
                </a:extLst>
              </p:cNvPr>
              <p:cNvGrpSpPr/>
              <p:nvPr/>
            </p:nvGrpSpPr>
            <p:grpSpPr>
              <a:xfrm>
                <a:off x="6810565" y="4041933"/>
                <a:ext cx="75628" cy="75723"/>
                <a:chOff x="6810565" y="4041933"/>
                <a:chExt cx="75628" cy="75723"/>
              </a:xfrm>
            </p:grpSpPr>
            <p:sp>
              <p:nvSpPr>
                <p:cNvPr id="15691" name="Freeform: Shape 15690">
                  <a:extLst>
                    <a:ext uri="{FF2B5EF4-FFF2-40B4-BE49-F238E27FC236}">
                      <a16:creationId xmlns:a16="http://schemas.microsoft.com/office/drawing/2014/main" id="{5146F07B-5819-AF6C-B554-1887B5E80983}"/>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2" name="Freeform: Shape 15691">
                  <a:extLst>
                    <a:ext uri="{FF2B5EF4-FFF2-40B4-BE49-F238E27FC236}">
                      <a16:creationId xmlns:a16="http://schemas.microsoft.com/office/drawing/2014/main" id="{D8E427BE-6CD3-5135-2456-4B82437D0D47}"/>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0" name="Graphic 1391">
                <a:extLst>
                  <a:ext uri="{FF2B5EF4-FFF2-40B4-BE49-F238E27FC236}">
                    <a16:creationId xmlns:a16="http://schemas.microsoft.com/office/drawing/2014/main" id="{65099E61-03B8-953A-4E5E-0ED5314C32CE}"/>
                  </a:ext>
                </a:extLst>
              </p:cNvPr>
              <p:cNvGrpSpPr/>
              <p:nvPr/>
            </p:nvGrpSpPr>
            <p:grpSpPr>
              <a:xfrm>
                <a:off x="6797516" y="4041933"/>
                <a:ext cx="75723" cy="75723"/>
                <a:chOff x="6797516" y="4041933"/>
                <a:chExt cx="75723" cy="75723"/>
              </a:xfrm>
            </p:grpSpPr>
            <p:sp>
              <p:nvSpPr>
                <p:cNvPr id="15689" name="Freeform: Shape 15688">
                  <a:extLst>
                    <a:ext uri="{FF2B5EF4-FFF2-40B4-BE49-F238E27FC236}">
                      <a16:creationId xmlns:a16="http://schemas.microsoft.com/office/drawing/2014/main" id="{F8597D07-52E2-BAC8-AA26-C97148C77223}"/>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0" name="Freeform: Shape 15689">
                  <a:extLst>
                    <a:ext uri="{FF2B5EF4-FFF2-40B4-BE49-F238E27FC236}">
                      <a16:creationId xmlns:a16="http://schemas.microsoft.com/office/drawing/2014/main" id="{1C80BE54-3051-C109-E404-5FE30FCF6311}"/>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1" name="Graphic 1391">
                <a:extLst>
                  <a:ext uri="{FF2B5EF4-FFF2-40B4-BE49-F238E27FC236}">
                    <a16:creationId xmlns:a16="http://schemas.microsoft.com/office/drawing/2014/main" id="{1CA60F08-E370-BDBB-4EF3-E35A389AC9D8}"/>
                  </a:ext>
                </a:extLst>
              </p:cNvPr>
              <p:cNvGrpSpPr/>
              <p:nvPr/>
            </p:nvGrpSpPr>
            <p:grpSpPr>
              <a:xfrm>
                <a:off x="6708362" y="4041933"/>
                <a:ext cx="75723" cy="75723"/>
                <a:chOff x="6708362" y="4041933"/>
                <a:chExt cx="75723" cy="75723"/>
              </a:xfrm>
            </p:grpSpPr>
            <p:sp>
              <p:nvSpPr>
                <p:cNvPr id="15687" name="Freeform: Shape 15686">
                  <a:extLst>
                    <a:ext uri="{FF2B5EF4-FFF2-40B4-BE49-F238E27FC236}">
                      <a16:creationId xmlns:a16="http://schemas.microsoft.com/office/drawing/2014/main" id="{E885AEB8-6DFE-66CB-7D8D-6FE5DABE4C74}"/>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8" name="Freeform: Shape 15687">
                  <a:extLst>
                    <a:ext uri="{FF2B5EF4-FFF2-40B4-BE49-F238E27FC236}">
                      <a16:creationId xmlns:a16="http://schemas.microsoft.com/office/drawing/2014/main" id="{953EB64D-F737-2243-E8AE-BEC1289100ED}"/>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2" name="Graphic 1391">
                <a:extLst>
                  <a:ext uri="{FF2B5EF4-FFF2-40B4-BE49-F238E27FC236}">
                    <a16:creationId xmlns:a16="http://schemas.microsoft.com/office/drawing/2014/main" id="{B55CF049-3170-AB53-F0D9-473AA6B8A98E}"/>
                  </a:ext>
                </a:extLst>
              </p:cNvPr>
              <p:cNvGrpSpPr/>
              <p:nvPr/>
            </p:nvGrpSpPr>
            <p:grpSpPr>
              <a:xfrm>
                <a:off x="6420612" y="3932491"/>
                <a:ext cx="75723" cy="75723"/>
                <a:chOff x="6420612" y="3932491"/>
                <a:chExt cx="75723" cy="75723"/>
              </a:xfrm>
            </p:grpSpPr>
            <p:sp>
              <p:nvSpPr>
                <p:cNvPr id="15685" name="Freeform: Shape 15684">
                  <a:extLst>
                    <a:ext uri="{FF2B5EF4-FFF2-40B4-BE49-F238E27FC236}">
                      <a16:creationId xmlns:a16="http://schemas.microsoft.com/office/drawing/2014/main" id="{55E9CCEA-1E63-407D-D280-FE140C1EAB4A}"/>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6" name="Freeform: Shape 15685">
                  <a:extLst>
                    <a:ext uri="{FF2B5EF4-FFF2-40B4-BE49-F238E27FC236}">
                      <a16:creationId xmlns:a16="http://schemas.microsoft.com/office/drawing/2014/main" id="{D4D8E748-7289-BFC1-6676-0AC2C9900517}"/>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3" name="Graphic 1391">
                <a:extLst>
                  <a:ext uri="{FF2B5EF4-FFF2-40B4-BE49-F238E27FC236}">
                    <a16:creationId xmlns:a16="http://schemas.microsoft.com/office/drawing/2014/main" id="{ACA706D1-D46D-B83F-259E-19A5CE689DC4}"/>
                  </a:ext>
                </a:extLst>
              </p:cNvPr>
              <p:cNvGrpSpPr/>
              <p:nvPr/>
            </p:nvGrpSpPr>
            <p:grpSpPr>
              <a:xfrm>
                <a:off x="6440900" y="3959256"/>
                <a:ext cx="75628" cy="75723"/>
                <a:chOff x="6440900" y="3959256"/>
                <a:chExt cx="75628" cy="75723"/>
              </a:xfrm>
            </p:grpSpPr>
            <p:sp>
              <p:nvSpPr>
                <p:cNvPr id="15683" name="Freeform: Shape 15682">
                  <a:extLst>
                    <a:ext uri="{FF2B5EF4-FFF2-40B4-BE49-F238E27FC236}">
                      <a16:creationId xmlns:a16="http://schemas.microsoft.com/office/drawing/2014/main" id="{54885D5F-CB06-4B9C-FE46-3B650B19FA75}"/>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4" name="Freeform: Shape 15683">
                  <a:extLst>
                    <a:ext uri="{FF2B5EF4-FFF2-40B4-BE49-F238E27FC236}">
                      <a16:creationId xmlns:a16="http://schemas.microsoft.com/office/drawing/2014/main" id="{AD47B7CE-28C6-63F0-51AA-B5EA0C75E33F}"/>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4" name="Graphic 1391">
                <a:extLst>
                  <a:ext uri="{FF2B5EF4-FFF2-40B4-BE49-F238E27FC236}">
                    <a16:creationId xmlns:a16="http://schemas.microsoft.com/office/drawing/2014/main" id="{C9F4E840-7C6B-99D4-54C6-9D2561E29BE8}"/>
                  </a:ext>
                </a:extLst>
              </p:cNvPr>
              <p:cNvGrpSpPr/>
              <p:nvPr/>
            </p:nvGrpSpPr>
            <p:grpSpPr>
              <a:xfrm>
                <a:off x="6451377" y="3959256"/>
                <a:ext cx="75723" cy="75723"/>
                <a:chOff x="6451377" y="3959256"/>
                <a:chExt cx="75723" cy="75723"/>
              </a:xfrm>
            </p:grpSpPr>
            <p:sp>
              <p:nvSpPr>
                <p:cNvPr id="15681" name="Freeform: Shape 15680">
                  <a:extLst>
                    <a:ext uri="{FF2B5EF4-FFF2-40B4-BE49-F238E27FC236}">
                      <a16:creationId xmlns:a16="http://schemas.microsoft.com/office/drawing/2014/main" id="{EEA06945-95F2-704E-063D-35ADEF6B33D2}"/>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2" name="Freeform: Shape 15681">
                  <a:extLst>
                    <a:ext uri="{FF2B5EF4-FFF2-40B4-BE49-F238E27FC236}">
                      <a16:creationId xmlns:a16="http://schemas.microsoft.com/office/drawing/2014/main" id="{51E431D3-2B69-CCB3-FEEC-DC3B508479FC}"/>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5" name="Graphic 1391">
                <a:extLst>
                  <a:ext uri="{FF2B5EF4-FFF2-40B4-BE49-F238E27FC236}">
                    <a16:creationId xmlns:a16="http://schemas.microsoft.com/office/drawing/2014/main" id="{A7D1873B-E2F7-EF41-DA60-D3A20BCCB247}"/>
                  </a:ext>
                </a:extLst>
              </p:cNvPr>
              <p:cNvGrpSpPr/>
              <p:nvPr/>
            </p:nvGrpSpPr>
            <p:grpSpPr>
              <a:xfrm>
                <a:off x="6465189" y="3959256"/>
                <a:ext cx="75723" cy="75723"/>
                <a:chOff x="6465189" y="3959256"/>
                <a:chExt cx="75723" cy="75723"/>
              </a:xfrm>
            </p:grpSpPr>
            <p:sp>
              <p:nvSpPr>
                <p:cNvPr id="15359" name="Freeform: Shape 15358">
                  <a:extLst>
                    <a:ext uri="{FF2B5EF4-FFF2-40B4-BE49-F238E27FC236}">
                      <a16:creationId xmlns:a16="http://schemas.microsoft.com/office/drawing/2014/main" id="{CBDE20EE-5B04-6477-106B-192F4B57DC31}"/>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0" name="Freeform: Shape 15679">
                  <a:extLst>
                    <a:ext uri="{FF2B5EF4-FFF2-40B4-BE49-F238E27FC236}">
                      <a16:creationId xmlns:a16="http://schemas.microsoft.com/office/drawing/2014/main" id="{4502F506-E267-47D5-80A7-86669A883536}"/>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6" name="Graphic 1391">
                <a:extLst>
                  <a:ext uri="{FF2B5EF4-FFF2-40B4-BE49-F238E27FC236}">
                    <a16:creationId xmlns:a16="http://schemas.microsoft.com/office/drawing/2014/main" id="{E7FB7075-5366-B1C0-0BCA-94BCAB878206}"/>
                  </a:ext>
                </a:extLst>
              </p:cNvPr>
              <p:cNvGrpSpPr/>
              <p:nvPr/>
            </p:nvGrpSpPr>
            <p:grpSpPr>
              <a:xfrm>
                <a:off x="6396323" y="3932491"/>
                <a:ext cx="75628" cy="75723"/>
                <a:chOff x="6396323" y="3932491"/>
                <a:chExt cx="75628" cy="75723"/>
              </a:xfrm>
            </p:grpSpPr>
            <p:sp>
              <p:nvSpPr>
                <p:cNvPr id="15357" name="Freeform: Shape 15356">
                  <a:extLst>
                    <a:ext uri="{FF2B5EF4-FFF2-40B4-BE49-F238E27FC236}">
                      <a16:creationId xmlns:a16="http://schemas.microsoft.com/office/drawing/2014/main" id="{0392AA6A-7DC0-AD89-90C1-01D4B215E531}"/>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8" name="Freeform: Shape 15357">
                  <a:extLst>
                    <a:ext uri="{FF2B5EF4-FFF2-40B4-BE49-F238E27FC236}">
                      <a16:creationId xmlns:a16="http://schemas.microsoft.com/office/drawing/2014/main" id="{EBBD465C-8C43-7B95-416F-6E35A2AB4D3B}"/>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7" name="Graphic 1391">
                <a:extLst>
                  <a:ext uri="{FF2B5EF4-FFF2-40B4-BE49-F238E27FC236}">
                    <a16:creationId xmlns:a16="http://schemas.microsoft.com/office/drawing/2014/main" id="{AC7EB773-A651-5B40-496F-A8BA35B399F6}"/>
                  </a:ext>
                </a:extLst>
              </p:cNvPr>
              <p:cNvGrpSpPr/>
              <p:nvPr/>
            </p:nvGrpSpPr>
            <p:grpSpPr>
              <a:xfrm>
                <a:off x="6324504" y="3932491"/>
                <a:ext cx="75723" cy="75723"/>
                <a:chOff x="6324504" y="3932491"/>
                <a:chExt cx="75723" cy="75723"/>
              </a:xfrm>
            </p:grpSpPr>
            <p:sp>
              <p:nvSpPr>
                <p:cNvPr id="15355" name="Freeform: Shape 15354">
                  <a:extLst>
                    <a:ext uri="{FF2B5EF4-FFF2-40B4-BE49-F238E27FC236}">
                      <a16:creationId xmlns:a16="http://schemas.microsoft.com/office/drawing/2014/main" id="{F0728A8F-D2D6-61C8-9745-9BC8020D59FB}"/>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6" name="Freeform: Shape 15355">
                  <a:extLst>
                    <a:ext uri="{FF2B5EF4-FFF2-40B4-BE49-F238E27FC236}">
                      <a16:creationId xmlns:a16="http://schemas.microsoft.com/office/drawing/2014/main" id="{D2D02DCE-DD3B-FF25-8890-D9B72A5D7D39}"/>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3" name="Graphic 1391">
                <a:extLst>
                  <a:ext uri="{FF2B5EF4-FFF2-40B4-BE49-F238E27FC236}">
                    <a16:creationId xmlns:a16="http://schemas.microsoft.com/office/drawing/2014/main" id="{E19BB425-2017-5231-0A99-BC126AA7F61F}"/>
                  </a:ext>
                </a:extLst>
              </p:cNvPr>
              <p:cNvGrpSpPr/>
              <p:nvPr/>
            </p:nvGrpSpPr>
            <p:grpSpPr>
              <a:xfrm>
                <a:off x="6106858" y="3849433"/>
                <a:ext cx="75723" cy="75723"/>
                <a:chOff x="6106858" y="3849433"/>
                <a:chExt cx="75723" cy="75723"/>
              </a:xfrm>
            </p:grpSpPr>
            <p:sp>
              <p:nvSpPr>
                <p:cNvPr id="15353" name="Freeform: Shape 15352">
                  <a:extLst>
                    <a:ext uri="{FF2B5EF4-FFF2-40B4-BE49-F238E27FC236}">
                      <a16:creationId xmlns:a16="http://schemas.microsoft.com/office/drawing/2014/main" id="{D3788661-8946-5B2A-BE07-F69A6E23FA85}"/>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4" name="Freeform: Shape 15353">
                  <a:extLst>
                    <a:ext uri="{FF2B5EF4-FFF2-40B4-BE49-F238E27FC236}">
                      <a16:creationId xmlns:a16="http://schemas.microsoft.com/office/drawing/2014/main" id="{A00DC5FB-5C76-5726-4782-5AADFDB7E13C}"/>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4" name="Graphic 1391">
                <a:extLst>
                  <a:ext uri="{FF2B5EF4-FFF2-40B4-BE49-F238E27FC236}">
                    <a16:creationId xmlns:a16="http://schemas.microsoft.com/office/drawing/2014/main" id="{E8403074-F706-786E-740F-900EECD44A69}"/>
                  </a:ext>
                </a:extLst>
              </p:cNvPr>
              <p:cNvGrpSpPr/>
              <p:nvPr/>
            </p:nvGrpSpPr>
            <p:grpSpPr>
              <a:xfrm>
                <a:off x="6088284" y="3819429"/>
                <a:ext cx="75628" cy="75723"/>
                <a:chOff x="6088284" y="3819429"/>
                <a:chExt cx="75628" cy="75723"/>
              </a:xfrm>
            </p:grpSpPr>
            <p:sp>
              <p:nvSpPr>
                <p:cNvPr id="15351" name="Freeform: Shape 15350">
                  <a:extLst>
                    <a:ext uri="{FF2B5EF4-FFF2-40B4-BE49-F238E27FC236}">
                      <a16:creationId xmlns:a16="http://schemas.microsoft.com/office/drawing/2014/main" id="{DC452969-8585-2214-C7CC-C16DC0165AC1}"/>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2" name="Freeform: Shape 15351">
                  <a:extLst>
                    <a:ext uri="{FF2B5EF4-FFF2-40B4-BE49-F238E27FC236}">
                      <a16:creationId xmlns:a16="http://schemas.microsoft.com/office/drawing/2014/main" id="{F910E1AF-EC32-FC67-4C5F-7BF9D0E861EB}"/>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5" name="Graphic 1391">
                <a:extLst>
                  <a:ext uri="{FF2B5EF4-FFF2-40B4-BE49-F238E27FC236}">
                    <a16:creationId xmlns:a16="http://schemas.microsoft.com/office/drawing/2014/main" id="{BE1F77FC-3BA6-2853-2DD5-C7F426B4B779}"/>
                  </a:ext>
                </a:extLst>
              </p:cNvPr>
              <p:cNvGrpSpPr/>
              <p:nvPr/>
            </p:nvGrpSpPr>
            <p:grpSpPr>
              <a:xfrm>
                <a:off x="6069044" y="3794664"/>
                <a:ext cx="75723" cy="75723"/>
                <a:chOff x="6069044" y="3794664"/>
                <a:chExt cx="75723" cy="75723"/>
              </a:xfrm>
            </p:grpSpPr>
            <p:sp>
              <p:nvSpPr>
                <p:cNvPr id="15349" name="Freeform: Shape 15348">
                  <a:extLst>
                    <a:ext uri="{FF2B5EF4-FFF2-40B4-BE49-F238E27FC236}">
                      <a16:creationId xmlns:a16="http://schemas.microsoft.com/office/drawing/2014/main" id="{839B5FF1-BD60-0FC5-FAEB-615540EB93B9}"/>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0" name="Freeform: Shape 15349">
                  <a:extLst>
                    <a:ext uri="{FF2B5EF4-FFF2-40B4-BE49-F238E27FC236}">
                      <a16:creationId xmlns:a16="http://schemas.microsoft.com/office/drawing/2014/main" id="{DBDB54C9-3334-6AB8-33B4-DDAEC079B24C}"/>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0" name="Graphic 1391">
                <a:extLst>
                  <a:ext uri="{FF2B5EF4-FFF2-40B4-BE49-F238E27FC236}">
                    <a16:creationId xmlns:a16="http://schemas.microsoft.com/office/drawing/2014/main" id="{290A6203-2D71-9261-2EAD-AFB8393D3FEC}"/>
                  </a:ext>
                </a:extLst>
              </p:cNvPr>
              <p:cNvGrpSpPr/>
              <p:nvPr/>
            </p:nvGrpSpPr>
            <p:grpSpPr>
              <a:xfrm>
                <a:off x="6064186" y="3794664"/>
                <a:ext cx="75723" cy="75723"/>
                <a:chOff x="6064186" y="3794664"/>
                <a:chExt cx="75723" cy="75723"/>
              </a:xfrm>
            </p:grpSpPr>
            <p:sp>
              <p:nvSpPr>
                <p:cNvPr id="15347" name="Freeform: Shape 15346">
                  <a:extLst>
                    <a:ext uri="{FF2B5EF4-FFF2-40B4-BE49-F238E27FC236}">
                      <a16:creationId xmlns:a16="http://schemas.microsoft.com/office/drawing/2014/main" id="{F2D8A2BA-4BA4-2EC3-9314-8D254C6E5566}"/>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8" name="Freeform: Shape 15347">
                  <a:extLst>
                    <a:ext uri="{FF2B5EF4-FFF2-40B4-BE49-F238E27FC236}">
                      <a16:creationId xmlns:a16="http://schemas.microsoft.com/office/drawing/2014/main" id="{3CCDDBEE-DCDE-D3FD-9431-030755A1EDF3}"/>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1" name="Graphic 1391">
                <a:extLst>
                  <a:ext uri="{FF2B5EF4-FFF2-40B4-BE49-F238E27FC236}">
                    <a16:creationId xmlns:a16="http://schemas.microsoft.com/office/drawing/2014/main" id="{FEEEFB12-0E03-CE34-0F76-426E90D3D80C}"/>
                  </a:ext>
                </a:extLst>
              </p:cNvPr>
              <p:cNvGrpSpPr/>
              <p:nvPr/>
            </p:nvGrpSpPr>
            <p:grpSpPr>
              <a:xfrm>
                <a:off x="6058471" y="3768375"/>
                <a:ext cx="75723" cy="75628"/>
                <a:chOff x="6058471" y="3768375"/>
                <a:chExt cx="75723" cy="75628"/>
              </a:xfrm>
            </p:grpSpPr>
            <p:sp>
              <p:nvSpPr>
                <p:cNvPr id="15345" name="Freeform: Shape 15344">
                  <a:extLst>
                    <a:ext uri="{FF2B5EF4-FFF2-40B4-BE49-F238E27FC236}">
                      <a16:creationId xmlns:a16="http://schemas.microsoft.com/office/drawing/2014/main" id="{99F5B58F-953A-C716-02D6-3394F8C176D4}"/>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6" name="Freeform: Shape 15345">
                  <a:extLst>
                    <a:ext uri="{FF2B5EF4-FFF2-40B4-BE49-F238E27FC236}">
                      <a16:creationId xmlns:a16="http://schemas.microsoft.com/office/drawing/2014/main" id="{9B85ECF3-CA2C-577D-9B93-947DD7BF562E}"/>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2" name="Graphic 1391">
                <a:extLst>
                  <a:ext uri="{FF2B5EF4-FFF2-40B4-BE49-F238E27FC236}">
                    <a16:creationId xmlns:a16="http://schemas.microsoft.com/office/drawing/2014/main" id="{9BDE567F-6455-939A-78A6-8AFE8625E226}"/>
                  </a:ext>
                </a:extLst>
              </p:cNvPr>
              <p:cNvGrpSpPr/>
              <p:nvPr/>
            </p:nvGrpSpPr>
            <p:grpSpPr>
              <a:xfrm>
                <a:off x="6043517" y="3768375"/>
                <a:ext cx="75723" cy="75628"/>
                <a:chOff x="6043517" y="3768375"/>
                <a:chExt cx="75723" cy="75628"/>
              </a:xfrm>
            </p:grpSpPr>
            <p:sp>
              <p:nvSpPr>
                <p:cNvPr id="15343" name="Freeform: Shape 15342">
                  <a:extLst>
                    <a:ext uri="{FF2B5EF4-FFF2-40B4-BE49-F238E27FC236}">
                      <a16:creationId xmlns:a16="http://schemas.microsoft.com/office/drawing/2014/main" id="{0729B3C4-6E4C-2B76-0DAF-2AC277CFB3ED}"/>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4" name="Freeform: Shape 15343">
                  <a:extLst>
                    <a:ext uri="{FF2B5EF4-FFF2-40B4-BE49-F238E27FC236}">
                      <a16:creationId xmlns:a16="http://schemas.microsoft.com/office/drawing/2014/main" id="{73452C9F-3694-4CE4-F5B3-F09F8A1FEC26}"/>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3" name="Graphic 1391">
                <a:extLst>
                  <a:ext uri="{FF2B5EF4-FFF2-40B4-BE49-F238E27FC236}">
                    <a16:creationId xmlns:a16="http://schemas.microsoft.com/office/drawing/2014/main" id="{79973923-17B3-7ACD-BAE5-04D4DD777B87}"/>
                  </a:ext>
                </a:extLst>
              </p:cNvPr>
              <p:cNvGrpSpPr/>
              <p:nvPr/>
            </p:nvGrpSpPr>
            <p:grpSpPr>
              <a:xfrm>
                <a:off x="5723477" y="3768375"/>
                <a:ext cx="75723" cy="75628"/>
                <a:chOff x="5723477" y="3768375"/>
                <a:chExt cx="75723" cy="75628"/>
              </a:xfrm>
            </p:grpSpPr>
            <p:sp>
              <p:nvSpPr>
                <p:cNvPr id="15341" name="Freeform: Shape 15340">
                  <a:extLst>
                    <a:ext uri="{FF2B5EF4-FFF2-40B4-BE49-F238E27FC236}">
                      <a16:creationId xmlns:a16="http://schemas.microsoft.com/office/drawing/2014/main" id="{63D60F46-47E0-9726-9536-9904F2125D7D}"/>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2" name="Freeform: Shape 15341">
                  <a:extLst>
                    <a:ext uri="{FF2B5EF4-FFF2-40B4-BE49-F238E27FC236}">
                      <a16:creationId xmlns:a16="http://schemas.microsoft.com/office/drawing/2014/main" id="{DD3DBCD3-9496-AC7F-D9C4-A9B880A2456E}"/>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4" name="Graphic 1391">
                <a:extLst>
                  <a:ext uri="{FF2B5EF4-FFF2-40B4-BE49-F238E27FC236}">
                    <a16:creationId xmlns:a16="http://schemas.microsoft.com/office/drawing/2014/main" id="{49E8446F-8FC4-F986-6873-C74873D40930}"/>
                  </a:ext>
                </a:extLst>
              </p:cNvPr>
              <p:cNvGrpSpPr/>
              <p:nvPr/>
            </p:nvGrpSpPr>
            <p:grpSpPr>
              <a:xfrm>
                <a:off x="5704808" y="3768375"/>
                <a:ext cx="75723" cy="75628"/>
                <a:chOff x="5704808" y="3768375"/>
                <a:chExt cx="75723" cy="75628"/>
              </a:xfrm>
            </p:grpSpPr>
            <p:sp>
              <p:nvSpPr>
                <p:cNvPr id="15339" name="Freeform: Shape 15338">
                  <a:extLst>
                    <a:ext uri="{FF2B5EF4-FFF2-40B4-BE49-F238E27FC236}">
                      <a16:creationId xmlns:a16="http://schemas.microsoft.com/office/drawing/2014/main" id="{115D4BEF-1517-479A-CAB0-E31755169E16}"/>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0" name="Freeform: Shape 15339">
                  <a:extLst>
                    <a:ext uri="{FF2B5EF4-FFF2-40B4-BE49-F238E27FC236}">
                      <a16:creationId xmlns:a16="http://schemas.microsoft.com/office/drawing/2014/main" id="{332A9965-BB79-1B3C-1DD8-30FB91CCF58B}"/>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5" name="Graphic 1391">
                <a:extLst>
                  <a:ext uri="{FF2B5EF4-FFF2-40B4-BE49-F238E27FC236}">
                    <a16:creationId xmlns:a16="http://schemas.microsoft.com/office/drawing/2014/main" id="{E4E1D3EE-08A3-5842-B634-B9884E9FE7FB}"/>
                  </a:ext>
                </a:extLst>
              </p:cNvPr>
              <p:cNvGrpSpPr/>
              <p:nvPr/>
            </p:nvGrpSpPr>
            <p:grpSpPr>
              <a:xfrm>
                <a:off x="5664708" y="3705796"/>
                <a:ext cx="75628" cy="75723"/>
                <a:chOff x="5664708" y="3705796"/>
                <a:chExt cx="75628" cy="75723"/>
              </a:xfrm>
            </p:grpSpPr>
            <p:sp>
              <p:nvSpPr>
                <p:cNvPr id="15337" name="Freeform: Shape 15336">
                  <a:extLst>
                    <a:ext uri="{FF2B5EF4-FFF2-40B4-BE49-F238E27FC236}">
                      <a16:creationId xmlns:a16="http://schemas.microsoft.com/office/drawing/2014/main" id="{BE4BCE55-D799-F0B4-4E46-C9B847A226D4}"/>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8" name="Freeform: Shape 15337">
                  <a:extLst>
                    <a:ext uri="{FF2B5EF4-FFF2-40B4-BE49-F238E27FC236}">
                      <a16:creationId xmlns:a16="http://schemas.microsoft.com/office/drawing/2014/main" id="{2362E47D-255E-6443-EE58-3682CEE185B2}"/>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6" name="Graphic 1391">
                <a:extLst>
                  <a:ext uri="{FF2B5EF4-FFF2-40B4-BE49-F238E27FC236}">
                    <a16:creationId xmlns:a16="http://schemas.microsoft.com/office/drawing/2014/main" id="{5AB4BAC9-1010-E181-F4DE-F04F013A42CC}"/>
                  </a:ext>
                </a:extLst>
              </p:cNvPr>
              <p:cNvGrpSpPr/>
              <p:nvPr/>
            </p:nvGrpSpPr>
            <p:grpSpPr>
              <a:xfrm>
                <a:off x="5267229" y="3503580"/>
                <a:ext cx="75723" cy="75723"/>
                <a:chOff x="5267229" y="3503580"/>
                <a:chExt cx="75723" cy="75723"/>
              </a:xfrm>
            </p:grpSpPr>
            <p:sp>
              <p:nvSpPr>
                <p:cNvPr id="15335" name="Freeform: Shape 15334">
                  <a:extLst>
                    <a:ext uri="{FF2B5EF4-FFF2-40B4-BE49-F238E27FC236}">
                      <a16:creationId xmlns:a16="http://schemas.microsoft.com/office/drawing/2014/main" id="{3D2705BD-C34B-748F-A424-0CFFFBE813A6}"/>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6" name="Freeform: Shape 15335">
                  <a:extLst>
                    <a:ext uri="{FF2B5EF4-FFF2-40B4-BE49-F238E27FC236}">
                      <a16:creationId xmlns:a16="http://schemas.microsoft.com/office/drawing/2014/main" id="{64DD7F5E-3704-E5E4-D32B-CA6ADEFC3F25}"/>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7" name="Graphic 1391">
                <a:extLst>
                  <a:ext uri="{FF2B5EF4-FFF2-40B4-BE49-F238E27FC236}">
                    <a16:creationId xmlns:a16="http://schemas.microsoft.com/office/drawing/2014/main" id="{C3AB0C91-596A-79AD-DD94-5E6258DE4E91}"/>
                  </a:ext>
                </a:extLst>
              </p:cNvPr>
              <p:cNvGrpSpPr/>
              <p:nvPr/>
            </p:nvGrpSpPr>
            <p:grpSpPr>
              <a:xfrm>
                <a:off x="4946999" y="3369564"/>
                <a:ext cx="75723" cy="75628"/>
                <a:chOff x="4946999" y="3369564"/>
                <a:chExt cx="75723" cy="75628"/>
              </a:xfrm>
            </p:grpSpPr>
            <p:sp>
              <p:nvSpPr>
                <p:cNvPr id="15333" name="Freeform: Shape 15332">
                  <a:extLst>
                    <a:ext uri="{FF2B5EF4-FFF2-40B4-BE49-F238E27FC236}">
                      <a16:creationId xmlns:a16="http://schemas.microsoft.com/office/drawing/2014/main" id="{368FC8EC-390E-F7B0-269E-A70D4BA51B0A}"/>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4" name="Freeform: Shape 15333">
                  <a:extLst>
                    <a:ext uri="{FF2B5EF4-FFF2-40B4-BE49-F238E27FC236}">
                      <a16:creationId xmlns:a16="http://schemas.microsoft.com/office/drawing/2014/main" id="{F482A222-A044-926B-67D9-C9AAD34B9E86}"/>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8" name="Graphic 1391">
                <a:extLst>
                  <a:ext uri="{FF2B5EF4-FFF2-40B4-BE49-F238E27FC236}">
                    <a16:creationId xmlns:a16="http://schemas.microsoft.com/office/drawing/2014/main" id="{98FC18DA-437E-9BD4-9140-89AE173C073A}"/>
                  </a:ext>
                </a:extLst>
              </p:cNvPr>
              <p:cNvGrpSpPr/>
              <p:nvPr/>
            </p:nvGrpSpPr>
            <p:grpSpPr>
              <a:xfrm>
                <a:off x="4935664" y="3369564"/>
                <a:ext cx="75723" cy="75628"/>
                <a:chOff x="4935664" y="3369564"/>
                <a:chExt cx="75723" cy="75628"/>
              </a:xfrm>
            </p:grpSpPr>
            <p:sp>
              <p:nvSpPr>
                <p:cNvPr id="15331" name="Freeform: Shape 15330">
                  <a:extLst>
                    <a:ext uri="{FF2B5EF4-FFF2-40B4-BE49-F238E27FC236}">
                      <a16:creationId xmlns:a16="http://schemas.microsoft.com/office/drawing/2014/main" id="{DC44D550-7EE3-E0C3-AC85-BEDA706682D0}"/>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2" name="Freeform: Shape 15331">
                  <a:extLst>
                    <a:ext uri="{FF2B5EF4-FFF2-40B4-BE49-F238E27FC236}">
                      <a16:creationId xmlns:a16="http://schemas.microsoft.com/office/drawing/2014/main" id="{573CA770-5898-AC8A-E44E-2EBB8AF78188}"/>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9" name="Graphic 1391">
                <a:extLst>
                  <a:ext uri="{FF2B5EF4-FFF2-40B4-BE49-F238E27FC236}">
                    <a16:creationId xmlns:a16="http://schemas.microsoft.com/office/drawing/2014/main" id="{982B25F9-CF21-EE3D-121D-3702C9C8A1AD}"/>
                  </a:ext>
                </a:extLst>
              </p:cNvPr>
              <p:cNvGrpSpPr/>
              <p:nvPr/>
            </p:nvGrpSpPr>
            <p:grpSpPr>
              <a:xfrm>
                <a:off x="4931092" y="3335464"/>
                <a:ext cx="75628" cy="75723"/>
                <a:chOff x="4931092" y="3335464"/>
                <a:chExt cx="75628" cy="75723"/>
              </a:xfrm>
            </p:grpSpPr>
            <p:sp>
              <p:nvSpPr>
                <p:cNvPr id="15329" name="Freeform: Shape 15328">
                  <a:extLst>
                    <a:ext uri="{FF2B5EF4-FFF2-40B4-BE49-F238E27FC236}">
                      <a16:creationId xmlns:a16="http://schemas.microsoft.com/office/drawing/2014/main" id="{828A6583-4E17-EEF8-FB03-3ECFEA4A6626}"/>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0" name="Freeform: Shape 15329">
                  <a:extLst>
                    <a:ext uri="{FF2B5EF4-FFF2-40B4-BE49-F238E27FC236}">
                      <a16:creationId xmlns:a16="http://schemas.microsoft.com/office/drawing/2014/main" id="{3713334A-DC33-74A2-85EB-CEE2CCBBB3EF}"/>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0" name="Graphic 1391">
                <a:extLst>
                  <a:ext uri="{FF2B5EF4-FFF2-40B4-BE49-F238E27FC236}">
                    <a16:creationId xmlns:a16="http://schemas.microsoft.com/office/drawing/2014/main" id="{EFEF058D-112D-3675-4BDF-CA3FE0C7753B}"/>
                  </a:ext>
                </a:extLst>
              </p:cNvPr>
              <p:cNvGrpSpPr/>
              <p:nvPr/>
            </p:nvGrpSpPr>
            <p:grpSpPr>
              <a:xfrm>
                <a:off x="4927854" y="3319081"/>
                <a:ext cx="75628" cy="75723"/>
                <a:chOff x="4927854" y="3319081"/>
                <a:chExt cx="75628" cy="75723"/>
              </a:xfrm>
            </p:grpSpPr>
            <p:sp>
              <p:nvSpPr>
                <p:cNvPr id="15327" name="Freeform: Shape 15326">
                  <a:extLst>
                    <a:ext uri="{FF2B5EF4-FFF2-40B4-BE49-F238E27FC236}">
                      <a16:creationId xmlns:a16="http://schemas.microsoft.com/office/drawing/2014/main" id="{592ED8C7-8D3D-3EB5-F9B7-D69486FC2DF9}"/>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8" name="Freeform: Shape 15327">
                  <a:extLst>
                    <a:ext uri="{FF2B5EF4-FFF2-40B4-BE49-F238E27FC236}">
                      <a16:creationId xmlns:a16="http://schemas.microsoft.com/office/drawing/2014/main" id="{D0BB7B45-CDA2-26E1-D893-7399D1E33E58}"/>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1" name="Graphic 1391">
                <a:extLst>
                  <a:ext uri="{FF2B5EF4-FFF2-40B4-BE49-F238E27FC236}">
                    <a16:creationId xmlns:a16="http://schemas.microsoft.com/office/drawing/2014/main" id="{9742C7C0-3692-4892-F76C-DF0F0C40255D}"/>
                  </a:ext>
                </a:extLst>
              </p:cNvPr>
              <p:cNvGrpSpPr/>
              <p:nvPr/>
            </p:nvGrpSpPr>
            <p:grpSpPr>
              <a:xfrm>
                <a:off x="4916900" y="3272504"/>
                <a:ext cx="75628" cy="75723"/>
                <a:chOff x="4916900" y="3272504"/>
                <a:chExt cx="75628" cy="75723"/>
              </a:xfrm>
            </p:grpSpPr>
            <p:sp>
              <p:nvSpPr>
                <p:cNvPr id="15325" name="Freeform: Shape 15324">
                  <a:extLst>
                    <a:ext uri="{FF2B5EF4-FFF2-40B4-BE49-F238E27FC236}">
                      <a16:creationId xmlns:a16="http://schemas.microsoft.com/office/drawing/2014/main" id="{98892CC6-8D0F-6F15-9E0D-E6B97596B7F9}"/>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6" name="Freeform: Shape 15325">
                  <a:extLst>
                    <a:ext uri="{FF2B5EF4-FFF2-40B4-BE49-F238E27FC236}">
                      <a16:creationId xmlns:a16="http://schemas.microsoft.com/office/drawing/2014/main" id="{5BA14F14-4850-18DE-2EC1-526FF594548A}"/>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2" name="Graphic 1391">
                <a:extLst>
                  <a:ext uri="{FF2B5EF4-FFF2-40B4-BE49-F238E27FC236}">
                    <a16:creationId xmlns:a16="http://schemas.microsoft.com/office/drawing/2014/main" id="{9CC69D82-2AF0-FB94-C698-86ADBC4F04D7}"/>
                  </a:ext>
                </a:extLst>
              </p:cNvPr>
              <p:cNvGrpSpPr/>
              <p:nvPr/>
            </p:nvGrpSpPr>
            <p:grpSpPr>
              <a:xfrm>
                <a:off x="4905089" y="3272504"/>
                <a:ext cx="75723" cy="75723"/>
                <a:chOff x="4905089" y="3272504"/>
                <a:chExt cx="75723" cy="75723"/>
              </a:xfrm>
            </p:grpSpPr>
            <p:sp>
              <p:nvSpPr>
                <p:cNvPr id="15323" name="Freeform: Shape 15322">
                  <a:extLst>
                    <a:ext uri="{FF2B5EF4-FFF2-40B4-BE49-F238E27FC236}">
                      <a16:creationId xmlns:a16="http://schemas.microsoft.com/office/drawing/2014/main" id="{8B27BC45-7D32-6D4C-B226-023BC815A3FD}"/>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4" name="Freeform: Shape 15323">
                  <a:extLst>
                    <a:ext uri="{FF2B5EF4-FFF2-40B4-BE49-F238E27FC236}">
                      <a16:creationId xmlns:a16="http://schemas.microsoft.com/office/drawing/2014/main" id="{D4AC8ACA-3C02-5D91-875F-ACC5762FEE6E}"/>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3" name="Graphic 1391">
                <a:extLst>
                  <a:ext uri="{FF2B5EF4-FFF2-40B4-BE49-F238E27FC236}">
                    <a16:creationId xmlns:a16="http://schemas.microsoft.com/office/drawing/2014/main" id="{25B0D5AC-49FC-4986-6B36-ADC1FBF72582}"/>
                  </a:ext>
                </a:extLst>
              </p:cNvPr>
              <p:cNvGrpSpPr/>
              <p:nvPr/>
            </p:nvGrpSpPr>
            <p:grpSpPr>
              <a:xfrm>
                <a:off x="4889944" y="3259740"/>
                <a:ext cx="75723" cy="75723"/>
                <a:chOff x="4889944" y="3259740"/>
                <a:chExt cx="75723" cy="75723"/>
              </a:xfrm>
            </p:grpSpPr>
            <p:sp>
              <p:nvSpPr>
                <p:cNvPr id="15319" name="Freeform: Shape 15318">
                  <a:extLst>
                    <a:ext uri="{FF2B5EF4-FFF2-40B4-BE49-F238E27FC236}">
                      <a16:creationId xmlns:a16="http://schemas.microsoft.com/office/drawing/2014/main" id="{3F6E3A58-8420-650B-3109-C84896EF2D9A}"/>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0" name="Freeform: Shape 15319">
                  <a:extLst>
                    <a:ext uri="{FF2B5EF4-FFF2-40B4-BE49-F238E27FC236}">
                      <a16:creationId xmlns:a16="http://schemas.microsoft.com/office/drawing/2014/main" id="{C51A9BCD-9A46-DF90-6DD1-7C6C73D67F01}"/>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4" name="Graphic 1391">
                <a:extLst>
                  <a:ext uri="{FF2B5EF4-FFF2-40B4-BE49-F238E27FC236}">
                    <a16:creationId xmlns:a16="http://schemas.microsoft.com/office/drawing/2014/main" id="{7586B006-4837-A8F1-9F6A-2670A40C71FE}"/>
                  </a:ext>
                </a:extLst>
              </p:cNvPr>
              <p:cNvGrpSpPr/>
              <p:nvPr/>
            </p:nvGrpSpPr>
            <p:grpSpPr>
              <a:xfrm>
                <a:off x="4657344" y="3139154"/>
                <a:ext cx="75628" cy="75723"/>
                <a:chOff x="4657344" y="3139154"/>
                <a:chExt cx="75628" cy="75723"/>
              </a:xfrm>
            </p:grpSpPr>
            <p:sp>
              <p:nvSpPr>
                <p:cNvPr id="15317" name="Freeform: Shape 15316">
                  <a:extLst>
                    <a:ext uri="{FF2B5EF4-FFF2-40B4-BE49-F238E27FC236}">
                      <a16:creationId xmlns:a16="http://schemas.microsoft.com/office/drawing/2014/main" id="{E48E768E-6093-2365-A58F-B971E7704633}"/>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8" name="Freeform: Shape 15317">
                  <a:extLst>
                    <a:ext uri="{FF2B5EF4-FFF2-40B4-BE49-F238E27FC236}">
                      <a16:creationId xmlns:a16="http://schemas.microsoft.com/office/drawing/2014/main" id="{BBAC84D9-3E26-4488-625E-1C1CA6578341}"/>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5" name="Graphic 1391">
                <a:extLst>
                  <a:ext uri="{FF2B5EF4-FFF2-40B4-BE49-F238E27FC236}">
                    <a16:creationId xmlns:a16="http://schemas.microsoft.com/office/drawing/2014/main" id="{E690C99D-CAE2-C97E-B03F-420745ACF905}"/>
                  </a:ext>
                </a:extLst>
              </p:cNvPr>
              <p:cNvGrpSpPr/>
              <p:nvPr/>
            </p:nvGrpSpPr>
            <p:grpSpPr>
              <a:xfrm>
                <a:off x="4566094" y="3094672"/>
                <a:ext cx="75723" cy="75723"/>
                <a:chOff x="4566094" y="3094672"/>
                <a:chExt cx="75723" cy="75723"/>
              </a:xfrm>
            </p:grpSpPr>
            <p:sp>
              <p:nvSpPr>
                <p:cNvPr id="15309" name="Freeform: Shape 15308">
                  <a:extLst>
                    <a:ext uri="{FF2B5EF4-FFF2-40B4-BE49-F238E27FC236}">
                      <a16:creationId xmlns:a16="http://schemas.microsoft.com/office/drawing/2014/main" id="{76F93EB0-7969-E028-2705-8691831AA0A8}"/>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6" name="Freeform: Shape 15315">
                  <a:extLst>
                    <a:ext uri="{FF2B5EF4-FFF2-40B4-BE49-F238E27FC236}">
                      <a16:creationId xmlns:a16="http://schemas.microsoft.com/office/drawing/2014/main" id="{7E6E744D-3213-AD4C-F4AE-5600C8935C3F}"/>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6" name="Graphic 1391">
                <a:extLst>
                  <a:ext uri="{FF2B5EF4-FFF2-40B4-BE49-F238E27FC236}">
                    <a16:creationId xmlns:a16="http://schemas.microsoft.com/office/drawing/2014/main" id="{2E2A2BEE-BF92-3BC4-8517-2CC49A18982C}"/>
                  </a:ext>
                </a:extLst>
              </p:cNvPr>
              <p:cNvGrpSpPr/>
              <p:nvPr/>
            </p:nvGrpSpPr>
            <p:grpSpPr>
              <a:xfrm>
                <a:off x="4553521" y="3061049"/>
                <a:ext cx="75723" cy="75723"/>
                <a:chOff x="4553521" y="3061049"/>
                <a:chExt cx="75723" cy="75723"/>
              </a:xfrm>
            </p:grpSpPr>
            <p:sp>
              <p:nvSpPr>
                <p:cNvPr id="15307" name="Freeform: Shape 15306">
                  <a:extLst>
                    <a:ext uri="{FF2B5EF4-FFF2-40B4-BE49-F238E27FC236}">
                      <a16:creationId xmlns:a16="http://schemas.microsoft.com/office/drawing/2014/main" id="{84F697AF-5C12-56F1-3FFC-4797160306C7}"/>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8" name="Freeform: Shape 15307">
                  <a:extLst>
                    <a:ext uri="{FF2B5EF4-FFF2-40B4-BE49-F238E27FC236}">
                      <a16:creationId xmlns:a16="http://schemas.microsoft.com/office/drawing/2014/main" id="{50FA5002-9BC9-5915-4146-2C1AFB9F340B}"/>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7" name="Graphic 1391">
                <a:extLst>
                  <a:ext uri="{FF2B5EF4-FFF2-40B4-BE49-F238E27FC236}">
                    <a16:creationId xmlns:a16="http://schemas.microsoft.com/office/drawing/2014/main" id="{61374B86-9075-E06C-AACF-BF08043CB2BB}"/>
                  </a:ext>
                </a:extLst>
              </p:cNvPr>
              <p:cNvGrpSpPr/>
              <p:nvPr/>
            </p:nvGrpSpPr>
            <p:grpSpPr>
              <a:xfrm>
                <a:off x="4553521" y="3046476"/>
                <a:ext cx="75723" cy="75723"/>
                <a:chOff x="4553521" y="3046476"/>
                <a:chExt cx="75723" cy="75723"/>
              </a:xfrm>
            </p:grpSpPr>
            <p:sp>
              <p:nvSpPr>
                <p:cNvPr id="15305" name="Freeform: Shape 15304">
                  <a:extLst>
                    <a:ext uri="{FF2B5EF4-FFF2-40B4-BE49-F238E27FC236}">
                      <a16:creationId xmlns:a16="http://schemas.microsoft.com/office/drawing/2014/main" id="{B93970AE-19B4-4AB3-1F68-0E056F15E384}"/>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6" name="Freeform: Shape 15305">
                  <a:extLst>
                    <a:ext uri="{FF2B5EF4-FFF2-40B4-BE49-F238E27FC236}">
                      <a16:creationId xmlns:a16="http://schemas.microsoft.com/office/drawing/2014/main" id="{54E1B7B3-2111-06D6-E077-3AF914434C54}"/>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8" name="Graphic 1391">
                <a:extLst>
                  <a:ext uri="{FF2B5EF4-FFF2-40B4-BE49-F238E27FC236}">
                    <a16:creationId xmlns:a16="http://schemas.microsoft.com/office/drawing/2014/main" id="{56DD1C14-ADA4-C3E5-EC95-A5322DBFC496}"/>
                  </a:ext>
                </a:extLst>
              </p:cNvPr>
              <p:cNvGrpSpPr/>
              <p:nvPr/>
            </p:nvGrpSpPr>
            <p:grpSpPr>
              <a:xfrm>
                <a:off x="4545901" y="3008661"/>
                <a:ext cx="75628" cy="75628"/>
                <a:chOff x="4545901" y="3008661"/>
                <a:chExt cx="75628" cy="75628"/>
              </a:xfrm>
            </p:grpSpPr>
            <p:sp>
              <p:nvSpPr>
                <p:cNvPr id="15303" name="Freeform: Shape 15302">
                  <a:extLst>
                    <a:ext uri="{FF2B5EF4-FFF2-40B4-BE49-F238E27FC236}">
                      <a16:creationId xmlns:a16="http://schemas.microsoft.com/office/drawing/2014/main" id="{0CE8C410-4128-9966-CDDF-0793728AC25A}"/>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4" name="Freeform: Shape 15303">
                  <a:extLst>
                    <a:ext uri="{FF2B5EF4-FFF2-40B4-BE49-F238E27FC236}">
                      <a16:creationId xmlns:a16="http://schemas.microsoft.com/office/drawing/2014/main" id="{E3B340B1-7D59-47B4-034E-4A14812575A0}"/>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9" name="Graphic 1391">
                <a:extLst>
                  <a:ext uri="{FF2B5EF4-FFF2-40B4-BE49-F238E27FC236}">
                    <a16:creationId xmlns:a16="http://schemas.microsoft.com/office/drawing/2014/main" id="{F9DB2E41-BF8E-5C16-C21A-C76458E624EB}"/>
                  </a:ext>
                </a:extLst>
              </p:cNvPr>
              <p:cNvGrpSpPr/>
              <p:nvPr/>
            </p:nvGrpSpPr>
            <p:grpSpPr>
              <a:xfrm>
                <a:off x="4537710" y="3008661"/>
                <a:ext cx="75723" cy="75628"/>
                <a:chOff x="4537710" y="3008661"/>
                <a:chExt cx="75723" cy="75628"/>
              </a:xfrm>
            </p:grpSpPr>
            <p:sp>
              <p:nvSpPr>
                <p:cNvPr id="15301" name="Freeform: Shape 15300">
                  <a:extLst>
                    <a:ext uri="{FF2B5EF4-FFF2-40B4-BE49-F238E27FC236}">
                      <a16:creationId xmlns:a16="http://schemas.microsoft.com/office/drawing/2014/main" id="{89839B2F-9EC7-3CA8-222F-1C47023A3045}"/>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2" name="Freeform: Shape 15301">
                  <a:extLst>
                    <a:ext uri="{FF2B5EF4-FFF2-40B4-BE49-F238E27FC236}">
                      <a16:creationId xmlns:a16="http://schemas.microsoft.com/office/drawing/2014/main" id="{D5B7A06D-CB62-F333-EEBE-EC4E1068E349}"/>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0" name="Graphic 1391">
                <a:extLst>
                  <a:ext uri="{FF2B5EF4-FFF2-40B4-BE49-F238E27FC236}">
                    <a16:creationId xmlns:a16="http://schemas.microsoft.com/office/drawing/2014/main" id="{1BD7FECD-5C1E-4960-0447-D1C3E7BB9B39}"/>
                  </a:ext>
                </a:extLst>
              </p:cNvPr>
              <p:cNvGrpSpPr/>
              <p:nvPr/>
            </p:nvGrpSpPr>
            <p:grpSpPr>
              <a:xfrm>
                <a:off x="4531709" y="2994183"/>
                <a:ext cx="75628" cy="75723"/>
                <a:chOff x="4531709" y="2994183"/>
                <a:chExt cx="75628" cy="75723"/>
              </a:xfrm>
            </p:grpSpPr>
            <p:sp>
              <p:nvSpPr>
                <p:cNvPr id="15299" name="Freeform: Shape 15298">
                  <a:extLst>
                    <a:ext uri="{FF2B5EF4-FFF2-40B4-BE49-F238E27FC236}">
                      <a16:creationId xmlns:a16="http://schemas.microsoft.com/office/drawing/2014/main" id="{E8A17F38-117B-8A5B-3C5E-7BC342E2D688}"/>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0" name="Freeform: Shape 15299">
                  <a:extLst>
                    <a:ext uri="{FF2B5EF4-FFF2-40B4-BE49-F238E27FC236}">
                      <a16:creationId xmlns:a16="http://schemas.microsoft.com/office/drawing/2014/main" id="{FE1B41C6-EBA3-FB76-8862-4AD34C3B4543}"/>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1" name="Graphic 1391">
                <a:extLst>
                  <a:ext uri="{FF2B5EF4-FFF2-40B4-BE49-F238E27FC236}">
                    <a16:creationId xmlns:a16="http://schemas.microsoft.com/office/drawing/2014/main" id="{1C88276C-775F-3F07-8320-6BD2F8D0176C}"/>
                  </a:ext>
                </a:extLst>
              </p:cNvPr>
              <p:cNvGrpSpPr/>
              <p:nvPr/>
            </p:nvGrpSpPr>
            <p:grpSpPr>
              <a:xfrm>
                <a:off x="4523136" y="2978372"/>
                <a:ext cx="75723" cy="75723"/>
                <a:chOff x="4523136" y="2978372"/>
                <a:chExt cx="75723" cy="75723"/>
              </a:xfrm>
            </p:grpSpPr>
            <p:sp>
              <p:nvSpPr>
                <p:cNvPr id="15297" name="Freeform: Shape 15296">
                  <a:extLst>
                    <a:ext uri="{FF2B5EF4-FFF2-40B4-BE49-F238E27FC236}">
                      <a16:creationId xmlns:a16="http://schemas.microsoft.com/office/drawing/2014/main" id="{C820316E-AE4F-1EE4-EB9A-08AADA7BD84B}"/>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298" name="Freeform: Shape 15297">
                  <a:extLst>
                    <a:ext uri="{FF2B5EF4-FFF2-40B4-BE49-F238E27FC236}">
                      <a16:creationId xmlns:a16="http://schemas.microsoft.com/office/drawing/2014/main" id="{F1E7DE7D-CD49-07F6-6361-A879E56D4FE4}"/>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2" name="Graphic 1391">
                <a:extLst>
                  <a:ext uri="{FF2B5EF4-FFF2-40B4-BE49-F238E27FC236}">
                    <a16:creationId xmlns:a16="http://schemas.microsoft.com/office/drawing/2014/main" id="{4FBE8387-CDAC-FF57-46C3-B9A0151B1426}"/>
                  </a:ext>
                </a:extLst>
              </p:cNvPr>
              <p:cNvGrpSpPr/>
              <p:nvPr/>
            </p:nvGrpSpPr>
            <p:grpSpPr>
              <a:xfrm>
                <a:off x="4521517" y="2956369"/>
                <a:ext cx="75723" cy="75628"/>
                <a:chOff x="4521517" y="2956369"/>
                <a:chExt cx="75723" cy="75628"/>
              </a:xfrm>
            </p:grpSpPr>
            <p:sp>
              <p:nvSpPr>
                <p:cNvPr id="12543" name="Freeform: Shape 12542">
                  <a:extLst>
                    <a:ext uri="{FF2B5EF4-FFF2-40B4-BE49-F238E27FC236}">
                      <a16:creationId xmlns:a16="http://schemas.microsoft.com/office/drawing/2014/main" id="{40CB9978-6532-47A6-A698-9E0C39DD7F87}"/>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296" name="Freeform: Shape 15295">
                  <a:extLst>
                    <a:ext uri="{FF2B5EF4-FFF2-40B4-BE49-F238E27FC236}">
                      <a16:creationId xmlns:a16="http://schemas.microsoft.com/office/drawing/2014/main" id="{C299F263-3C5B-C14F-1DDC-824EE50BC1F0}"/>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3" name="Graphic 1391">
                <a:extLst>
                  <a:ext uri="{FF2B5EF4-FFF2-40B4-BE49-F238E27FC236}">
                    <a16:creationId xmlns:a16="http://schemas.microsoft.com/office/drawing/2014/main" id="{08EF07ED-92C0-C9F1-77E1-4348DFBF1914}"/>
                  </a:ext>
                </a:extLst>
              </p:cNvPr>
              <p:cNvGrpSpPr/>
              <p:nvPr/>
            </p:nvGrpSpPr>
            <p:grpSpPr>
              <a:xfrm>
                <a:off x="4195286" y="2825210"/>
                <a:ext cx="75628" cy="75628"/>
                <a:chOff x="4195286" y="2825210"/>
                <a:chExt cx="75628" cy="75628"/>
              </a:xfrm>
            </p:grpSpPr>
            <p:sp>
              <p:nvSpPr>
                <p:cNvPr id="12541" name="Freeform: Shape 12540">
                  <a:extLst>
                    <a:ext uri="{FF2B5EF4-FFF2-40B4-BE49-F238E27FC236}">
                      <a16:creationId xmlns:a16="http://schemas.microsoft.com/office/drawing/2014/main" id="{0A00681C-2F59-09D3-2C77-F3EB6B83D22F}"/>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2" name="Freeform: Shape 12541">
                  <a:extLst>
                    <a:ext uri="{FF2B5EF4-FFF2-40B4-BE49-F238E27FC236}">
                      <a16:creationId xmlns:a16="http://schemas.microsoft.com/office/drawing/2014/main" id="{8124FA39-730D-EA65-0CB8-9449A3419ACC}"/>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4" name="Graphic 1391">
                <a:extLst>
                  <a:ext uri="{FF2B5EF4-FFF2-40B4-BE49-F238E27FC236}">
                    <a16:creationId xmlns:a16="http://schemas.microsoft.com/office/drawing/2014/main" id="{0A0ABFF1-0F39-4695-7C29-0AA468998206}"/>
                  </a:ext>
                </a:extLst>
              </p:cNvPr>
              <p:cNvGrpSpPr/>
              <p:nvPr/>
            </p:nvGrpSpPr>
            <p:grpSpPr>
              <a:xfrm>
                <a:off x="3800475" y="2590800"/>
                <a:ext cx="75723" cy="75723"/>
                <a:chOff x="3800475" y="2590800"/>
                <a:chExt cx="75723" cy="75723"/>
              </a:xfrm>
            </p:grpSpPr>
            <p:sp>
              <p:nvSpPr>
                <p:cNvPr id="12539" name="Freeform: Shape 12538">
                  <a:extLst>
                    <a:ext uri="{FF2B5EF4-FFF2-40B4-BE49-F238E27FC236}">
                      <a16:creationId xmlns:a16="http://schemas.microsoft.com/office/drawing/2014/main" id="{935B2D38-F0E5-1F3D-A4D7-ED9B309DBFB7}"/>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0" name="Freeform: Shape 12539">
                  <a:extLst>
                    <a:ext uri="{FF2B5EF4-FFF2-40B4-BE49-F238E27FC236}">
                      <a16:creationId xmlns:a16="http://schemas.microsoft.com/office/drawing/2014/main" id="{5AFE82D6-7A9B-555F-B533-BD0DEC5817DF}"/>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5" name="Graphic 1391">
                <a:extLst>
                  <a:ext uri="{FF2B5EF4-FFF2-40B4-BE49-F238E27FC236}">
                    <a16:creationId xmlns:a16="http://schemas.microsoft.com/office/drawing/2014/main" id="{0AFE4BAC-28B4-19EA-4ADD-7E2C7B205765}"/>
                  </a:ext>
                </a:extLst>
              </p:cNvPr>
              <p:cNvGrpSpPr/>
              <p:nvPr/>
            </p:nvGrpSpPr>
            <p:grpSpPr>
              <a:xfrm>
                <a:off x="5280564" y="3536918"/>
                <a:ext cx="75723" cy="75723"/>
                <a:chOff x="5280564" y="3536918"/>
                <a:chExt cx="75723" cy="75723"/>
              </a:xfrm>
            </p:grpSpPr>
            <p:sp>
              <p:nvSpPr>
                <p:cNvPr id="12537" name="Freeform: Shape 12536">
                  <a:extLst>
                    <a:ext uri="{FF2B5EF4-FFF2-40B4-BE49-F238E27FC236}">
                      <a16:creationId xmlns:a16="http://schemas.microsoft.com/office/drawing/2014/main" id="{0EF8974C-1451-F29A-38DC-ED9966BB53A1}"/>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8" name="Freeform: Shape 12537">
                  <a:extLst>
                    <a:ext uri="{FF2B5EF4-FFF2-40B4-BE49-F238E27FC236}">
                      <a16:creationId xmlns:a16="http://schemas.microsoft.com/office/drawing/2014/main" id="{3DA95A9B-3BCD-650F-97C4-48F6DDF2CDBE}"/>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6" name="Graphic 1391">
                <a:extLst>
                  <a:ext uri="{FF2B5EF4-FFF2-40B4-BE49-F238E27FC236}">
                    <a16:creationId xmlns:a16="http://schemas.microsoft.com/office/drawing/2014/main" id="{6FD69FD9-3A97-F6E8-94A9-72E34E117312}"/>
                  </a:ext>
                </a:extLst>
              </p:cNvPr>
              <p:cNvGrpSpPr/>
              <p:nvPr/>
            </p:nvGrpSpPr>
            <p:grpSpPr>
              <a:xfrm>
                <a:off x="5298852" y="3536918"/>
                <a:ext cx="75723" cy="75723"/>
                <a:chOff x="5298852" y="3536918"/>
                <a:chExt cx="75723" cy="75723"/>
              </a:xfrm>
            </p:grpSpPr>
            <p:sp>
              <p:nvSpPr>
                <p:cNvPr id="12535" name="Freeform: Shape 12534">
                  <a:extLst>
                    <a:ext uri="{FF2B5EF4-FFF2-40B4-BE49-F238E27FC236}">
                      <a16:creationId xmlns:a16="http://schemas.microsoft.com/office/drawing/2014/main" id="{BC838BE2-3581-3BE9-EFDC-EC6C7D2F99E4}"/>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6" name="Freeform: Shape 12535">
                  <a:extLst>
                    <a:ext uri="{FF2B5EF4-FFF2-40B4-BE49-F238E27FC236}">
                      <a16:creationId xmlns:a16="http://schemas.microsoft.com/office/drawing/2014/main" id="{3AD13A60-572B-797F-7023-CEB8C89E0A5E}"/>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7" name="Graphic 1391">
                <a:extLst>
                  <a:ext uri="{FF2B5EF4-FFF2-40B4-BE49-F238E27FC236}">
                    <a16:creationId xmlns:a16="http://schemas.microsoft.com/office/drawing/2014/main" id="{A37F7B41-63C9-EA8D-A1AC-219830DD3EAA}"/>
                  </a:ext>
                </a:extLst>
              </p:cNvPr>
              <p:cNvGrpSpPr/>
              <p:nvPr/>
            </p:nvGrpSpPr>
            <p:grpSpPr>
              <a:xfrm>
                <a:off x="5305044" y="3573018"/>
                <a:ext cx="75723" cy="75628"/>
                <a:chOff x="5305044" y="3573018"/>
                <a:chExt cx="75723" cy="75628"/>
              </a:xfrm>
            </p:grpSpPr>
            <p:sp>
              <p:nvSpPr>
                <p:cNvPr id="12533" name="Freeform: Shape 12532">
                  <a:extLst>
                    <a:ext uri="{FF2B5EF4-FFF2-40B4-BE49-F238E27FC236}">
                      <a16:creationId xmlns:a16="http://schemas.microsoft.com/office/drawing/2014/main" id="{2181E404-25A6-3B64-57AC-2D67F44720C7}"/>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4" name="Freeform: Shape 12533">
                  <a:extLst>
                    <a:ext uri="{FF2B5EF4-FFF2-40B4-BE49-F238E27FC236}">
                      <a16:creationId xmlns:a16="http://schemas.microsoft.com/office/drawing/2014/main" id="{136153FC-57F1-7314-07C3-15084928E438}"/>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8" name="Graphic 1391">
                <a:extLst>
                  <a:ext uri="{FF2B5EF4-FFF2-40B4-BE49-F238E27FC236}">
                    <a16:creationId xmlns:a16="http://schemas.microsoft.com/office/drawing/2014/main" id="{7D19955D-F353-8438-7F80-832B4AFE3FF5}"/>
                  </a:ext>
                </a:extLst>
              </p:cNvPr>
              <p:cNvGrpSpPr/>
              <p:nvPr/>
            </p:nvGrpSpPr>
            <p:grpSpPr>
              <a:xfrm>
                <a:off x="5314473" y="3585114"/>
                <a:ext cx="75723" cy="75723"/>
                <a:chOff x="5314473" y="3585114"/>
                <a:chExt cx="75723" cy="75723"/>
              </a:xfrm>
            </p:grpSpPr>
            <p:sp>
              <p:nvSpPr>
                <p:cNvPr id="12531" name="Freeform: Shape 12530">
                  <a:extLst>
                    <a:ext uri="{FF2B5EF4-FFF2-40B4-BE49-F238E27FC236}">
                      <a16:creationId xmlns:a16="http://schemas.microsoft.com/office/drawing/2014/main" id="{4A024179-1E78-E989-E9C9-1AC7A5AF232A}"/>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2" name="Freeform: Shape 12531">
                  <a:extLst>
                    <a:ext uri="{FF2B5EF4-FFF2-40B4-BE49-F238E27FC236}">
                      <a16:creationId xmlns:a16="http://schemas.microsoft.com/office/drawing/2014/main" id="{0159508E-8AE9-2442-C661-2CB88BA24B9B}"/>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9" name="Graphic 1391">
                <a:extLst>
                  <a:ext uri="{FF2B5EF4-FFF2-40B4-BE49-F238E27FC236}">
                    <a16:creationId xmlns:a16="http://schemas.microsoft.com/office/drawing/2014/main" id="{7D62DDA3-60FD-99D7-E0BE-A3A73A863490}"/>
                  </a:ext>
                </a:extLst>
              </p:cNvPr>
              <p:cNvGrpSpPr/>
              <p:nvPr/>
            </p:nvGrpSpPr>
            <p:grpSpPr>
              <a:xfrm>
                <a:off x="5328380" y="3585114"/>
                <a:ext cx="75723" cy="75723"/>
                <a:chOff x="5328380" y="3585114"/>
                <a:chExt cx="75723" cy="75723"/>
              </a:xfrm>
            </p:grpSpPr>
            <p:sp>
              <p:nvSpPr>
                <p:cNvPr id="12529" name="Freeform: Shape 12528">
                  <a:extLst>
                    <a:ext uri="{FF2B5EF4-FFF2-40B4-BE49-F238E27FC236}">
                      <a16:creationId xmlns:a16="http://schemas.microsoft.com/office/drawing/2014/main" id="{F254A01A-BC11-6C68-218B-564840E9EE4C}"/>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0" name="Freeform: Shape 12529">
                  <a:extLst>
                    <a:ext uri="{FF2B5EF4-FFF2-40B4-BE49-F238E27FC236}">
                      <a16:creationId xmlns:a16="http://schemas.microsoft.com/office/drawing/2014/main" id="{B10C2C6A-3B38-657E-CCE0-AE55748E41D2}"/>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1" name="Graphic 1391">
                <a:extLst>
                  <a:ext uri="{FF2B5EF4-FFF2-40B4-BE49-F238E27FC236}">
                    <a16:creationId xmlns:a16="http://schemas.microsoft.com/office/drawing/2014/main" id="{6F5F2BB1-3A22-934B-5F1C-F0BF782ACA5F}"/>
                  </a:ext>
                </a:extLst>
              </p:cNvPr>
              <p:cNvGrpSpPr/>
              <p:nvPr/>
            </p:nvGrpSpPr>
            <p:grpSpPr>
              <a:xfrm>
                <a:off x="5342382" y="3585114"/>
                <a:ext cx="75628" cy="75723"/>
                <a:chOff x="5342382" y="3585114"/>
                <a:chExt cx="75628" cy="75723"/>
              </a:xfrm>
            </p:grpSpPr>
            <p:sp>
              <p:nvSpPr>
                <p:cNvPr id="12527" name="Freeform: Shape 12526">
                  <a:extLst>
                    <a:ext uri="{FF2B5EF4-FFF2-40B4-BE49-F238E27FC236}">
                      <a16:creationId xmlns:a16="http://schemas.microsoft.com/office/drawing/2014/main" id="{EA722524-3327-21A3-9195-B24C4C6EB775}"/>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8" name="Freeform: Shape 12527">
                  <a:extLst>
                    <a:ext uri="{FF2B5EF4-FFF2-40B4-BE49-F238E27FC236}">
                      <a16:creationId xmlns:a16="http://schemas.microsoft.com/office/drawing/2014/main" id="{77DEA67C-579A-DAAF-FCB7-738B82737155}"/>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2" name="Graphic 1391">
                <a:extLst>
                  <a:ext uri="{FF2B5EF4-FFF2-40B4-BE49-F238E27FC236}">
                    <a16:creationId xmlns:a16="http://schemas.microsoft.com/office/drawing/2014/main" id="{86A76B3B-85C1-05AF-DF97-9FAEE1B86152}"/>
                  </a:ext>
                </a:extLst>
              </p:cNvPr>
              <p:cNvGrpSpPr/>
              <p:nvPr/>
            </p:nvGrpSpPr>
            <p:grpSpPr>
              <a:xfrm>
                <a:off x="5356288" y="3585114"/>
                <a:ext cx="75723" cy="75723"/>
                <a:chOff x="5356288" y="3585114"/>
                <a:chExt cx="75723" cy="75723"/>
              </a:xfrm>
            </p:grpSpPr>
            <p:sp>
              <p:nvSpPr>
                <p:cNvPr id="12525" name="Freeform: Shape 12524">
                  <a:extLst>
                    <a:ext uri="{FF2B5EF4-FFF2-40B4-BE49-F238E27FC236}">
                      <a16:creationId xmlns:a16="http://schemas.microsoft.com/office/drawing/2014/main" id="{DD848E96-FE30-13DC-8CFC-257EAD51EC05}"/>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6" name="Freeform: Shape 12525">
                  <a:extLst>
                    <a:ext uri="{FF2B5EF4-FFF2-40B4-BE49-F238E27FC236}">
                      <a16:creationId xmlns:a16="http://schemas.microsoft.com/office/drawing/2014/main" id="{62154712-49E3-95D7-E760-CE5EADF821B9}"/>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3" name="Graphic 1391">
                <a:extLst>
                  <a:ext uri="{FF2B5EF4-FFF2-40B4-BE49-F238E27FC236}">
                    <a16:creationId xmlns:a16="http://schemas.microsoft.com/office/drawing/2014/main" id="{0F45B991-182F-7832-0C21-6AAE99AE7432}"/>
                  </a:ext>
                </a:extLst>
              </p:cNvPr>
              <p:cNvGrpSpPr/>
              <p:nvPr/>
            </p:nvGrpSpPr>
            <p:grpSpPr>
              <a:xfrm>
                <a:off x="5671566" y="3726180"/>
                <a:ext cx="75723" cy="75723"/>
                <a:chOff x="5671566" y="3726180"/>
                <a:chExt cx="75723" cy="75723"/>
              </a:xfrm>
            </p:grpSpPr>
            <p:sp>
              <p:nvSpPr>
                <p:cNvPr id="12523" name="Freeform: Shape 12522">
                  <a:extLst>
                    <a:ext uri="{FF2B5EF4-FFF2-40B4-BE49-F238E27FC236}">
                      <a16:creationId xmlns:a16="http://schemas.microsoft.com/office/drawing/2014/main" id="{1498AD21-9F79-0FBC-7236-D86827944348}"/>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4" name="Freeform: Shape 12523">
                  <a:extLst>
                    <a:ext uri="{FF2B5EF4-FFF2-40B4-BE49-F238E27FC236}">
                      <a16:creationId xmlns:a16="http://schemas.microsoft.com/office/drawing/2014/main" id="{BB13A0E8-DFCD-FC6E-EEA5-5126ACE887F2}"/>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4" name="Graphic 1391">
                <a:extLst>
                  <a:ext uri="{FF2B5EF4-FFF2-40B4-BE49-F238E27FC236}">
                    <a16:creationId xmlns:a16="http://schemas.microsoft.com/office/drawing/2014/main" id="{DEED01BB-52F1-011F-565A-F88351413650}"/>
                  </a:ext>
                </a:extLst>
              </p:cNvPr>
              <p:cNvGrpSpPr/>
              <p:nvPr/>
            </p:nvGrpSpPr>
            <p:grpSpPr>
              <a:xfrm>
                <a:off x="5682900" y="3735514"/>
                <a:ext cx="75723" cy="75723"/>
                <a:chOff x="5682900" y="3735514"/>
                <a:chExt cx="75723" cy="75723"/>
              </a:xfrm>
            </p:grpSpPr>
            <p:sp>
              <p:nvSpPr>
                <p:cNvPr id="12521" name="Freeform: Shape 12520">
                  <a:extLst>
                    <a:ext uri="{FF2B5EF4-FFF2-40B4-BE49-F238E27FC236}">
                      <a16:creationId xmlns:a16="http://schemas.microsoft.com/office/drawing/2014/main" id="{B1DF1036-9A08-FAA3-0588-F3C4062A919E}"/>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2" name="Freeform: Shape 12521">
                  <a:extLst>
                    <a:ext uri="{FF2B5EF4-FFF2-40B4-BE49-F238E27FC236}">
                      <a16:creationId xmlns:a16="http://schemas.microsoft.com/office/drawing/2014/main" id="{E7A739F5-6951-7340-3DD6-B78F2408E749}"/>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5" name="Graphic 1391">
                <a:extLst>
                  <a:ext uri="{FF2B5EF4-FFF2-40B4-BE49-F238E27FC236}">
                    <a16:creationId xmlns:a16="http://schemas.microsoft.com/office/drawing/2014/main" id="{420BC192-D408-C268-C052-22AB6E1AA75A}"/>
                  </a:ext>
                </a:extLst>
              </p:cNvPr>
              <p:cNvGrpSpPr/>
              <p:nvPr/>
            </p:nvGrpSpPr>
            <p:grpSpPr>
              <a:xfrm>
                <a:off x="5692235" y="3735514"/>
                <a:ext cx="75723" cy="75723"/>
                <a:chOff x="5692235" y="3735514"/>
                <a:chExt cx="75723" cy="75723"/>
              </a:xfrm>
            </p:grpSpPr>
            <p:sp>
              <p:nvSpPr>
                <p:cNvPr id="12519" name="Freeform: Shape 12518">
                  <a:extLst>
                    <a:ext uri="{FF2B5EF4-FFF2-40B4-BE49-F238E27FC236}">
                      <a16:creationId xmlns:a16="http://schemas.microsoft.com/office/drawing/2014/main" id="{31719DA4-F0C5-4612-1C7F-77FA7D9C8370}"/>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0" name="Freeform: Shape 12519">
                  <a:extLst>
                    <a:ext uri="{FF2B5EF4-FFF2-40B4-BE49-F238E27FC236}">
                      <a16:creationId xmlns:a16="http://schemas.microsoft.com/office/drawing/2014/main" id="{B410F2B6-2FFB-8D87-AA84-7FFB90E1D3BA}"/>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6" name="Graphic 1391">
                <a:extLst>
                  <a:ext uri="{FF2B5EF4-FFF2-40B4-BE49-F238E27FC236}">
                    <a16:creationId xmlns:a16="http://schemas.microsoft.com/office/drawing/2014/main" id="{D4356005-E719-A19B-0ADD-EEB59A0221F5}"/>
                  </a:ext>
                </a:extLst>
              </p:cNvPr>
              <p:cNvGrpSpPr/>
              <p:nvPr/>
            </p:nvGrpSpPr>
            <p:grpSpPr>
              <a:xfrm>
                <a:off x="7189470" y="4189952"/>
                <a:ext cx="75723" cy="75723"/>
                <a:chOff x="7189470" y="4189952"/>
                <a:chExt cx="75723" cy="75723"/>
              </a:xfrm>
            </p:grpSpPr>
            <p:sp>
              <p:nvSpPr>
                <p:cNvPr id="12517" name="Freeform: Shape 12516">
                  <a:extLst>
                    <a:ext uri="{FF2B5EF4-FFF2-40B4-BE49-F238E27FC236}">
                      <a16:creationId xmlns:a16="http://schemas.microsoft.com/office/drawing/2014/main" id="{A29F7C78-B0AC-98ED-EFE3-CD041D929287}"/>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8" name="Freeform: Shape 12517">
                  <a:extLst>
                    <a:ext uri="{FF2B5EF4-FFF2-40B4-BE49-F238E27FC236}">
                      <a16:creationId xmlns:a16="http://schemas.microsoft.com/office/drawing/2014/main" id="{62554685-EC8E-77D9-9767-14B178E72726}"/>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239" name="Freeform: Shape 15238">
              <a:extLst>
                <a:ext uri="{FF2B5EF4-FFF2-40B4-BE49-F238E27FC236}">
                  <a16:creationId xmlns:a16="http://schemas.microsoft.com/office/drawing/2014/main" id="{321F0763-0C98-B384-B7F0-673ECD02E9D5}"/>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79" name="Group 16278" hidden="1">
            <a:extLst>
              <a:ext uri="{FF2B5EF4-FFF2-40B4-BE49-F238E27FC236}">
                <a16:creationId xmlns:a16="http://schemas.microsoft.com/office/drawing/2014/main" id="{2CB2E88C-1AD1-7147-1F56-478269E2AB46}"/>
              </a:ext>
            </a:extLst>
          </p:cNvPr>
          <p:cNvGrpSpPr/>
          <p:nvPr/>
        </p:nvGrpSpPr>
        <p:grpSpPr>
          <a:xfrm>
            <a:off x="666995" y="1435010"/>
            <a:ext cx="6838719" cy="2233885"/>
            <a:chOff x="3800475" y="2590800"/>
            <a:chExt cx="4593812" cy="1674876"/>
          </a:xfrm>
        </p:grpSpPr>
        <p:grpSp>
          <p:nvGrpSpPr>
            <p:cNvPr id="16481" name="Graphic 1391">
              <a:extLst>
                <a:ext uri="{FF2B5EF4-FFF2-40B4-BE49-F238E27FC236}">
                  <a16:creationId xmlns:a16="http://schemas.microsoft.com/office/drawing/2014/main" id="{5D4FD536-1159-CB60-4FED-82E934DB252D}"/>
                </a:ext>
              </a:extLst>
            </p:cNvPr>
            <p:cNvGrpSpPr/>
            <p:nvPr/>
          </p:nvGrpSpPr>
          <p:grpSpPr>
            <a:xfrm>
              <a:off x="3800475" y="2590800"/>
              <a:ext cx="4593812" cy="1674876"/>
              <a:chOff x="3800475" y="2590800"/>
              <a:chExt cx="4593812" cy="1674876"/>
            </a:xfrm>
          </p:grpSpPr>
          <p:grpSp>
            <p:nvGrpSpPr>
              <p:cNvPr id="16483" name="Graphic 1391">
                <a:extLst>
                  <a:ext uri="{FF2B5EF4-FFF2-40B4-BE49-F238E27FC236}">
                    <a16:creationId xmlns:a16="http://schemas.microsoft.com/office/drawing/2014/main" id="{2AF20FA3-84CB-F13C-912B-859DC679A792}"/>
                  </a:ext>
                </a:extLst>
              </p:cNvPr>
              <p:cNvGrpSpPr/>
              <p:nvPr/>
            </p:nvGrpSpPr>
            <p:grpSpPr>
              <a:xfrm>
                <a:off x="8318563" y="4189952"/>
                <a:ext cx="75723" cy="75723"/>
                <a:chOff x="8318563" y="4189952"/>
                <a:chExt cx="75723" cy="75723"/>
              </a:xfrm>
            </p:grpSpPr>
            <p:sp>
              <p:nvSpPr>
                <p:cNvPr id="16667" name="Freeform: Shape 16666">
                  <a:extLst>
                    <a:ext uri="{FF2B5EF4-FFF2-40B4-BE49-F238E27FC236}">
                      <a16:creationId xmlns:a16="http://schemas.microsoft.com/office/drawing/2014/main" id="{8070E139-8F15-EDC7-17C4-7717F968F710}"/>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8" name="Freeform: Shape 16667">
                  <a:extLst>
                    <a:ext uri="{FF2B5EF4-FFF2-40B4-BE49-F238E27FC236}">
                      <a16:creationId xmlns:a16="http://schemas.microsoft.com/office/drawing/2014/main" id="{E983DBA2-7D30-A362-D295-386C169B7455}"/>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4" name="Graphic 1391">
                <a:extLst>
                  <a:ext uri="{FF2B5EF4-FFF2-40B4-BE49-F238E27FC236}">
                    <a16:creationId xmlns:a16="http://schemas.microsoft.com/office/drawing/2014/main" id="{51BCEF03-4A6F-125C-DEB8-91E52CD00FEC}"/>
                  </a:ext>
                </a:extLst>
              </p:cNvPr>
              <p:cNvGrpSpPr/>
              <p:nvPr/>
            </p:nvGrpSpPr>
            <p:grpSpPr>
              <a:xfrm>
                <a:off x="7982140" y="4189952"/>
                <a:ext cx="75723" cy="75723"/>
                <a:chOff x="7982140" y="4189952"/>
                <a:chExt cx="75723" cy="75723"/>
              </a:xfrm>
            </p:grpSpPr>
            <p:sp>
              <p:nvSpPr>
                <p:cNvPr id="16665" name="Freeform: Shape 16664">
                  <a:extLst>
                    <a:ext uri="{FF2B5EF4-FFF2-40B4-BE49-F238E27FC236}">
                      <a16:creationId xmlns:a16="http://schemas.microsoft.com/office/drawing/2014/main" id="{76869FD7-D051-5611-7699-B91B200EB2EF}"/>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6" name="Freeform: Shape 16665">
                  <a:extLst>
                    <a:ext uri="{FF2B5EF4-FFF2-40B4-BE49-F238E27FC236}">
                      <a16:creationId xmlns:a16="http://schemas.microsoft.com/office/drawing/2014/main" id="{A53882AC-E61B-D711-35EF-5A114E7DAA52}"/>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5" name="Graphic 1391">
                <a:extLst>
                  <a:ext uri="{FF2B5EF4-FFF2-40B4-BE49-F238E27FC236}">
                    <a16:creationId xmlns:a16="http://schemas.microsoft.com/office/drawing/2014/main" id="{EA67037A-B815-6178-3688-FBEDE7197EB1}"/>
                  </a:ext>
                </a:extLst>
              </p:cNvPr>
              <p:cNvGrpSpPr/>
              <p:nvPr/>
            </p:nvGrpSpPr>
            <p:grpSpPr>
              <a:xfrm>
                <a:off x="7971758" y="4189952"/>
                <a:ext cx="75723" cy="75723"/>
                <a:chOff x="7971758" y="4189952"/>
                <a:chExt cx="75723" cy="75723"/>
              </a:xfrm>
            </p:grpSpPr>
            <p:sp>
              <p:nvSpPr>
                <p:cNvPr id="16663" name="Freeform: Shape 16662">
                  <a:extLst>
                    <a:ext uri="{FF2B5EF4-FFF2-40B4-BE49-F238E27FC236}">
                      <a16:creationId xmlns:a16="http://schemas.microsoft.com/office/drawing/2014/main" id="{7EE6F2F3-043C-7A2D-E823-50A586C101A4}"/>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4" name="Freeform: Shape 16663">
                  <a:extLst>
                    <a:ext uri="{FF2B5EF4-FFF2-40B4-BE49-F238E27FC236}">
                      <a16:creationId xmlns:a16="http://schemas.microsoft.com/office/drawing/2014/main" id="{343E308E-B5FC-393E-8171-D4686346E8AE}"/>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6" name="Graphic 1391">
                <a:extLst>
                  <a:ext uri="{FF2B5EF4-FFF2-40B4-BE49-F238E27FC236}">
                    <a16:creationId xmlns:a16="http://schemas.microsoft.com/office/drawing/2014/main" id="{683F8AA2-DC8C-D15A-18BB-5BE6CFAE1F68}"/>
                  </a:ext>
                </a:extLst>
              </p:cNvPr>
              <p:cNvGrpSpPr/>
              <p:nvPr/>
            </p:nvGrpSpPr>
            <p:grpSpPr>
              <a:xfrm>
                <a:off x="7613904" y="4189952"/>
                <a:ext cx="75628" cy="75723"/>
                <a:chOff x="7613904" y="4189952"/>
                <a:chExt cx="75628" cy="75723"/>
              </a:xfrm>
            </p:grpSpPr>
            <p:sp>
              <p:nvSpPr>
                <p:cNvPr id="16661" name="Freeform: Shape 16660">
                  <a:extLst>
                    <a:ext uri="{FF2B5EF4-FFF2-40B4-BE49-F238E27FC236}">
                      <a16:creationId xmlns:a16="http://schemas.microsoft.com/office/drawing/2014/main" id="{39027531-AB3C-FD67-7908-BFD7C95DE282}"/>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2" name="Freeform: Shape 16661">
                  <a:extLst>
                    <a:ext uri="{FF2B5EF4-FFF2-40B4-BE49-F238E27FC236}">
                      <a16:creationId xmlns:a16="http://schemas.microsoft.com/office/drawing/2014/main" id="{ECFC1597-F672-EF52-74C0-F1A8FBA7F5E8}"/>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7" name="Graphic 1391">
                <a:extLst>
                  <a:ext uri="{FF2B5EF4-FFF2-40B4-BE49-F238E27FC236}">
                    <a16:creationId xmlns:a16="http://schemas.microsoft.com/office/drawing/2014/main" id="{E8207EFC-4FD7-007C-A7F2-7D102E779ACF}"/>
                  </a:ext>
                </a:extLst>
              </p:cNvPr>
              <p:cNvGrpSpPr/>
              <p:nvPr/>
            </p:nvGrpSpPr>
            <p:grpSpPr>
              <a:xfrm>
                <a:off x="7578185" y="4189952"/>
                <a:ext cx="75723" cy="75723"/>
                <a:chOff x="7578185" y="4189952"/>
                <a:chExt cx="75723" cy="75723"/>
              </a:xfrm>
            </p:grpSpPr>
            <p:sp>
              <p:nvSpPr>
                <p:cNvPr id="16659" name="Freeform: Shape 16658">
                  <a:extLst>
                    <a:ext uri="{FF2B5EF4-FFF2-40B4-BE49-F238E27FC236}">
                      <a16:creationId xmlns:a16="http://schemas.microsoft.com/office/drawing/2014/main" id="{13263FF2-6466-9E24-1C89-19C95E5ACD70}"/>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0" name="Freeform: Shape 16659">
                  <a:extLst>
                    <a:ext uri="{FF2B5EF4-FFF2-40B4-BE49-F238E27FC236}">
                      <a16:creationId xmlns:a16="http://schemas.microsoft.com/office/drawing/2014/main" id="{4806E5F0-DCA0-ADB4-8A93-FA33198B7A91}"/>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8" name="Graphic 1391">
                <a:extLst>
                  <a:ext uri="{FF2B5EF4-FFF2-40B4-BE49-F238E27FC236}">
                    <a16:creationId xmlns:a16="http://schemas.microsoft.com/office/drawing/2014/main" id="{865C3E88-2806-019C-1C2D-7A482061EA60}"/>
                  </a:ext>
                </a:extLst>
              </p:cNvPr>
              <p:cNvGrpSpPr/>
              <p:nvPr/>
            </p:nvGrpSpPr>
            <p:grpSpPr>
              <a:xfrm>
                <a:off x="7567231" y="4189952"/>
                <a:ext cx="75723" cy="75723"/>
                <a:chOff x="7567231" y="4189952"/>
                <a:chExt cx="75723" cy="75723"/>
              </a:xfrm>
            </p:grpSpPr>
            <p:sp>
              <p:nvSpPr>
                <p:cNvPr id="16657" name="Freeform: Shape 16656">
                  <a:extLst>
                    <a:ext uri="{FF2B5EF4-FFF2-40B4-BE49-F238E27FC236}">
                      <a16:creationId xmlns:a16="http://schemas.microsoft.com/office/drawing/2014/main" id="{4623B930-5D7D-4ADA-2BAD-82BBCC0A0883}"/>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8" name="Freeform: Shape 16657">
                  <a:extLst>
                    <a:ext uri="{FF2B5EF4-FFF2-40B4-BE49-F238E27FC236}">
                      <a16:creationId xmlns:a16="http://schemas.microsoft.com/office/drawing/2014/main" id="{E13F6466-E143-A738-C324-502747AC342D}"/>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9" name="Graphic 1391">
                <a:extLst>
                  <a:ext uri="{FF2B5EF4-FFF2-40B4-BE49-F238E27FC236}">
                    <a16:creationId xmlns:a16="http://schemas.microsoft.com/office/drawing/2014/main" id="{5F6E7036-D883-B5E6-7376-1D3C8438988D}"/>
                  </a:ext>
                </a:extLst>
              </p:cNvPr>
              <p:cNvGrpSpPr/>
              <p:nvPr/>
            </p:nvGrpSpPr>
            <p:grpSpPr>
              <a:xfrm>
                <a:off x="7557897" y="4189952"/>
                <a:ext cx="75723" cy="75723"/>
                <a:chOff x="7557897" y="4189952"/>
                <a:chExt cx="75723" cy="75723"/>
              </a:xfrm>
            </p:grpSpPr>
            <p:sp>
              <p:nvSpPr>
                <p:cNvPr id="16655" name="Freeform: Shape 16654">
                  <a:extLst>
                    <a:ext uri="{FF2B5EF4-FFF2-40B4-BE49-F238E27FC236}">
                      <a16:creationId xmlns:a16="http://schemas.microsoft.com/office/drawing/2014/main" id="{0382D96A-6E49-1D41-A119-BC2CCC6E2E3D}"/>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6" name="Freeform: Shape 16655">
                  <a:extLst>
                    <a:ext uri="{FF2B5EF4-FFF2-40B4-BE49-F238E27FC236}">
                      <a16:creationId xmlns:a16="http://schemas.microsoft.com/office/drawing/2014/main" id="{861346DD-7447-0D7B-471B-2E076827EE5B}"/>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0" name="Graphic 1391">
                <a:extLst>
                  <a:ext uri="{FF2B5EF4-FFF2-40B4-BE49-F238E27FC236}">
                    <a16:creationId xmlns:a16="http://schemas.microsoft.com/office/drawing/2014/main" id="{CB265269-23F7-F731-6339-E73969201776}"/>
                  </a:ext>
                </a:extLst>
              </p:cNvPr>
              <p:cNvGrpSpPr/>
              <p:nvPr/>
            </p:nvGrpSpPr>
            <p:grpSpPr>
              <a:xfrm>
                <a:off x="7236142" y="4189952"/>
                <a:ext cx="75628" cy="75723"/>
                <a:chOff x="7236142" y="4189952"/>
                <a:chExt cx="75628" cy="75723"/>
              </a:xfrm>
            </p:grpSpPr>
            <p:sp>
              <p:nvSpPr>
                <p:cNvPr id="16653" name="Freeform: Shape 16652">
                  <a:extLst>
                    <a:ext uri="{FF2B5EF4-FFF2-40B4-BE49-F238E27FC236}">
                      <a16:creationId xmlns:a16="http://schemas.microsoft.com/office/drawing/2014/main" id="{291345FE-FA8C-1392-293D-628D8BAED65C}"/>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4" name="Freeform: Shape 16653">
                  <a:extLst>
                    <a:ext uri="{FF2B5EF4-FFF2-40B4-BE49-F238E27FC236}">
                      <a16:creationId xmlns:a16="http://schemas.microsoft.com/office/drawing/2014/main" id="{28F366B4-CAF9-C20B-CFBC-E2EC767FDBAC}"/>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1" name="Graphic 1391">
                <a:extLst>
                  <a:ext uri="{FF2B5EF4-FFF2-40B4-BE49-F238E27FC236}">
                    <a16:creationId xmlns:a16="http://schemas.microsoft.com/office/drawing/2014/main" id="{2CAE012A-8A55-5FA3-9371-D8F930130FDA}"/>
                  </a:ext>
                </a:extLst>
              </p:cNvPr>
              <p:cNvGrpSpPr/>
              <p:nvPr/>
            </p:nvGrpSpPr>
            <p:grpSpPr>
              <a:xfrm>
                <a:off x="7200804" y="4189952"/>
                <a:ext cx="75723" cy="75723"/>
                <a:chOff x="7200804" y="4189952"/>
                <a:chExt cx="75723" cy="75723"/>
              </a:xfrm>
            </p:grpSpPr>
            <p:sp>
              <p:nvSpPr>
                <p:cNvPr id="16651" name="Freeform: Shape 16650">
                  <a:extLst>
                    <a:ext uri="{FF2B5EF4-FFF2-40B4-BE49-F238E27FC236}">
                      <a16:creationId xmlns:a16="http://schemas.microsoft.com/office/drawing/2014/main" id="{4FB7BB63-3B9B-392B-5668-1F60442FE2CF}"/>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2" name="Freeform: Shape 16651">
                  <a:extLst>
                    <a:ext uri="{FF2B5EF4-FFF2-40B4-BE49-F238E27FC236}">
                      <a16:creationId xmlns:a16="http://schemas.microsoft.com/office/drawing/2014/main" id="{799AC86E-1BFA-D23B-DB41-31BA6C2B2F3D}"/>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2" name="Graphic 1391">
                <a:extLst>
                  <a:ext uri="{FF2B5EF4-FFF2-40B4-BE49-F238E27FC236}">
                    <a16:creationId xmlns:a16="http://schemas.microsoft.com/office/drawing/2014/main" id="{3EE92C84-1FF4-D579-4CBC-C5BD2E444507}"/>
                  </a:ext>
                </a:extLst>
              </p:cNvPr>
              <p:cNvGrpSpPr/>
              <p:nvPr/>
            </p:nvGrpSpPr>
            <p:grpSpPr>
              <a:xfrm>
                <a:off x="7178135" y="4189952"/>
                <a:ext cx="75723" cy="75723"/>
                <a:chOff x="7178135" y="4189952"/>
                <a:chExt cx="75723" cy="75723"/>
              </a:xfrm>
            </p:grpSpPr>
            <p:sp>
              <p:nvSpPr>
                <p:cNvPr id="16649" name="Freeform: Shape 16648">
                  <a:extLst>
                    <a:ext uri="{FF2B5EF4-FFF2-40B4-BE49-F238E27FC236}">
                      <a16:creationId xmlns:a16="http://schemas.microsoft.com/office/drawing/2014/main" id="{B96DCE34-EB5E-2F30-07B1-DC1FBC178489}"/>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0" name="Freeform: Shape 16649">
                  <a:extLst>
                    <a:ext uri="{FF2B5EF4-FFF2-40B4-BE49-F238E27FC236}">
                      <a16:creationId xmlns:a16="http://schemas.microsoft.com/office/drawing/2014/main" id="{DB10C6A7-DA04-655E-7ECC-29EABD79A5D7}"/>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3" name="Graphic 1391">
                <a:extLst>
                  <a:ext uri="{FF2B5EF4-FFF2-40B4-BE49-F238E27FC236}">
                    <a16:creationId xmlns:a16="http://schemas.microsoft.com/office/drawing/2014/main" id="{4151FC77-76BF-71EE-5C85-106486413B11}"/>
                  </a:ext>
                </a:extLst>
              </p:cNvPr>
              <p:cNvGrpSpPr/>
              <p:nvPr/>
            </p:nvGrpSpPr>
            <p:grpSpPr>
              <a:xfrm>
                <a:off x="6910197" y="4189952"/>
                <a:ext cx="75723" cy="75723"/>
                <a:chOff x="6910197" y="4189952"/>
                <a:chExt cx="75723" cy="75723"/>
              </a:xfrm>
            </p:grpSpPr>
            <p:sp>
              <p:nvSpPr>
                <p:cNvPr id="16647" name="Freeform: Shape 16646">
                  <a:extLst>
                    <a:ext uri="{FF2B5EF4-FFF2-40B4-BE49-F238E27FC236}">
                      <a16:creationId xmlns:a16="http://schemas.microsoft.com/office/drawing/2014/main" id="{72DE20EB-6FC7-5156-44CE-C403FF6D524A}"/>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8" name="Freeform: Shape 16647">
                  <a:extLst>
                    <a:ext uri="{FF2B5EF4-FFF2-40B4-BE49-F238E27FC236}">
                      <a16:creationId xmlns:a16="http://schemas.microsoft.com/office/drawing/2014/main" id="{6B3D46E5-8821-8524-5204-0AA0C4535439}"/>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4" name="Graphic 1391">
                <a:extLst>
                  <a:ext uri="{FF2B5EF4-FFF2-40B4-BE49-F238E27FC236}">
                    <a16:creationId xmlns:a16="http://schemas.microsoft.com/office/drawing/2014/main" id="{2BE55F30-2159-66DE-7E57-8B5226B1C715}"/>
                  </a:ext>
                </a:extLst>
              </p:cNvPr>
              <p:cNvGrpSpPr/>
              <p:nvPr/>
            </p:nvGrpSpPr>
            <p:grpSpPr>
              <a:xfrm>
                <a:off x="6866096" y="4189952"/>
                <a:ext cx="75628" cy="75723"/>
                <a:chOff x="6866096" y="4189952"/>
                <a:chExt cx="75628" cy="75723"/>
              </a:xfrm>
            </p:grpSpPr>
            <p:sp>
              <p:nvSpPr>
                <p:cNvPr id="16645" name="Freeform: Shape 16644">
                  <a:extLst>
                    <a:ext uri="{FF2B5EF4-FFF2-40B4-BE49-F238E27FC236}">
                      <a16:creationId xmlns:a16="http://schemas.microsoft.com/office/drawing/2014/main" id="{819DE696-0A6E-16E5-E5B9-E57C4D2BA52A}"/>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6" name="Freeform: Shape 16645">
                  <a:extLst>
                    <a:ext uri="{FF2B5EF4-FFF2-40B4-BE49-F238E27FC236}">
                      <a16:creationId xmlns:a16="http://schemas.microsoft.com/office/drawing/2014/main" id="{F9C66151-FE66-2D35-09C5-F423F0CE976D}"/>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5" name="Graphic 1391">
                <a:extLst>
                  <a:ext uri="{FF2B5EF4-FFF2-40B4-BE49-F238E27FC236}">
                    <a16:creationId xmlns:a16="http://schemas.microsoft.com/office/drawing/2014/main" id="{54254854-FA7F-2641-2A35-7890D081FE38}"/>
                  </a:ext>
                </a:extLst>
              </p:cNvPr>
              <p:cNvGrpSpPr/>
              <p:nvPr/>
            </p:nvGrpSpPr>
            <p:grpSpPr>
              <a:xfrm>
                <a:off x="6855523" y="4136898"/>
                <a:ext cx="75723" cy="75628"/>
                <a:chOff x="6855523" y="4136898"/>
                <a:chExt cx="75723" cy="75628"/>
              </a:xfrm>
            </p:grpSpPr>
            <p:sp>
              <p:nvSpPr>
                <p:cNvPr id="16643" name="Freeform: Shape 16642">
                  <a:extLst>
                    <a:ext uri="{FF2B5EF4-FFF2-40B4-BE49-F238E27FC236}">
                      <a16:creationId xmlns:a16="http://schemas.microsoft.com/office/drawing/2014/main" id="{BEA87338-89CB-2B5E-CD27-E0942117DE06}"/>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4" name="Freeform: Shape 16643">
                  <a:extLst>
                    <a:ext uri="{FF2B5EF4-FFF2-40B4-BE49-F238E27FC236}">
                      <a16:creationId xmlns:a16="http://schemas.microsoft.com/office/drawing/2014/main" id="{B4C0348E-47B6-BB5A-96A6-50AF27341688}"/>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6" name="Graphic 1391">
                <a:extLst>
                  <a:ext uri="{FF2B5EF4-FFF2-40B4-BE49-F238E27FC236}">
                    <a16:creationId xmlns:a16="http://schemas.microsoft.com/office/drawing/2014/main" id="{C5C53FDC-67BF-845E-7051-9BA5E5786A38}"/>
                  </a:ext>
                </a:extLst>
              </p:cNvPr>
              <p:cNvGrpSpPr/>
              <p:nvPr/>
            </p:nvGrpSpPr>
            <p:grpSpPr>
              <a:xfrm>
                <a:off x="6821424" y="4086129"/>
                <a:ext cx="75723" cy="75723"/>
                <a:chOff x="6821424" y="4086129"/>
                <a:chExt cx="75723" cy="75723"/>
              </a:xfrm>
            </p:grpSpPr>
            <p:sp>
              <p:nvSpPr>
                <p:cNvPr id="16641" name="Freeform: Shape 16640">
                  <a:extLst>
                    <a:ext uri="{FF2B5EF4-FFF2-40B4-BE49-F238E27FC236}">
                      <a16:creationId xmlns:a16="http://schemas.microsoft.com/office/drawing/2014/main" id="{40810954-EA4E-0320-3120-DC760269695F}"/>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2" name="Freeform: Shape 16641">
                  <a:extLst>
                    <a:ext uri="{FF2B5EF4-FFF2-40B4-BE49-F238E27FC236}">
                      <a16:creationId xmlns:a16="http://schemas.microsoft.com/office/drawing/2014/main" id="{796E1B34-A223-C6A4-BD9C-545FF8CA75E1}"/>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7" name="Graphic 1391">
                <a:extLst>
                  <a:ext uri="{FF2B5EF4-FFF2-40B4-BE49-F238E27FC236}">
                    <a16:creationId xmlns:a16="http://schemas.microsoft.com/office/drawing/2014/main" id="{B6132C62-3222-48CE-13CF-BC79C8710CCE}"/>
                  </a:ext>
                </a:extLst>
              </p:cNvPr>
              <p:cNvGrpSpPr/>
              <p:nvPr/>
            </p:nvGrpSpPr>
            <p:grpSpPr>
              <a:xfrm>
                <a:off x="6810565" y="4041933"/>
                <a:ext cx="75628" cy="75723"/>
                <a:chOff x="6810565" y="4041933"/>
                <a:chExt cx="75628" cy="75723"/>
              </a:xfrm>
            </p:grpSpPr>
            <p:sp>
              <p:nvSpPr>
                <p:cNvPr id="16639" name="Freeform: Shape 16638">
                  <a:extLst>
                    <a:ext uri="{FF2B5EF4-FFF2-40B4-BE49-F238E27FC236}">
                      <a16:creationId xmlns:a16="http://schemas.microsoft.com/office/drawing/2014/main" id="{0B01F5C6-6D01-FD65-88BC-02350C47B885}"/>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0" name="Freeform: Shape 16639">
                  <a:extLst>
                    <a:ext uri="{FF2B5EF4-FFF2-40B4-BE49-F238E27FC236}">
                      <a16:creationId xmlns:a16="http://schemas.microsoft.com/office/drawing/2014/main" id="{ACE26DBF-426B-CFA4-5F49-F8062A73479F}"/>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8" name="Graphic 1391">
                <a:extLst>
                  <a:ext uri="{FF2B5EF4-FFF2-40B4-BE49-F238E27FC236}">
                    <a16:creationId xmlns:a16="http://schemas.microsoft.com/office/drawing/2014/main" id="{3B647965-D4D1-CD42-7192-254B4A59AFBB}"/>
                  </a:ext>
                </a:extLst>
              </p:cNvPr>
              <p:cNvGrpSpPr/>
              <p:nvPr/>
            </p:nvGrpSpPr>
            <p:grpSpPr>
              <a:xfrm>
                <a:off x="6797516" y="4041933"/>
                <a:ext cx="75723" cy="75723"/>
                <a:chOff x="6797516" y="4041933"/>
                <a:chExt cx="75723" cy="75723"/>
              </a:xfrm>
            </p:grpSpPr>
            <p:sp>
              <p:nvSpPr>
                <p:cNvPr id="16637" name="Freeform: Shape 16636">
                  <a:extLst>
                    <a:ext uri="{FF2B5EF4-FFF2-40B4-BE49-F238E27FC236}">
                      <a16:creationId xmlns:a16="http://schemas.microsoft.com/office/drawing/2014/main" id="{D24CAC45-2A73-8BAB-41CD-A725D7439761}"/>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8" name="Freeform: Shape 16637">
                  <a:extLst>
                    <a:ext uri="{FF2B5EF4-FFF2-40B4-BE49-F238E27FC236}">
                      <a16:creationId xmlns:a16="http://schemas.microsoft.com/office/drawing/2014/main" id="{A6727790-073E-73E9-76F1-2BBF57241AE9}"/>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9" name="Graphic 1391">
                <a:extLst>
                  <a:ext uri="{FF2B5EF4-FFF2-40B4-BE49-F238E27FC236}">
                    <a16:creationId xmlns:a16="http://schemas.microsoft.com/office/drawing/2014/main" id="{129EAE99-30BE-3DE2-8B20-FC640CF48B8F}"/>
                  </a:ext>
                </a:extLst>
              </p:cNvPr>
              <p:cNvGrpSpPr/>
              <p:nvPr/>
            </p:nvGrpSpPr>
            <p:grpSpPr>
              <a:xfrm>
                <a:off x="6708362" y="4041933"/>
                <a:ext cx="75723" cy="75723"/>
                <a:chOff x="6708362" y="4041933"/>
                <a:chExt cx="75723" cy="75723"/>
              </a:xfrm>
            </p:grpSpPr>
            <p:sp>
              <p:nvSpPr>
                <p:cNvPr id="16635" name="Freeform: Shape 16634">
                  <a:extLst>
                    <a:ext uri="{FF2B5EF4-FFF2-40B4-BE49-F238E27FC236}">
                      <a16:creationId xmlns:a16="http://schemas.microsoft.com/office/drawing/2014/main" id="{2DF5FBC4-53E1-0277-E264-C67582E120A2}"/>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6" name="Freeform: Shape 16635">
                  <a:extLst>
                    <a:ext uri="{FF2B5EF4-FFF2-40B4-BE49-F238E27FC236}">
                      <a16:creationId xmlns:a16="http://schemas.microsoft.com/office/drawing/2014/main" id="{FE6CF854-F44E-71E4-3218-6B65F8BAF855}"/>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0" name="Graphic 1391">
                <a:extLst>
                  <a:ext uri="{FF2B5EF4-FFF2-40B4-BE49-F238E27FC236}">
                    <a16:creationId xmlns:a16="http://schemas.microsoft.com/office/drawing/2014/main" id="{A1A41241-7091-0D25-36D6-DE919023F480}"/>
                  </a:ext>
                </a:extLst>
              </p:cNvPr>
              <p:cNvGrpSpPr/>
              <p:nvPr/>
            </p:nvGrpSpPr>
            <p:grpSpPr>
              <a:xfrm>
                <a:off x="6420612" y="3932491"/>
                <a:ext cx="75723" cy="75723"/>
                <a:chOff x="6420612" y="3932491"/>
                <a:chExt cx="75723" cy="75723"/>
              </a:xfrm>
            </p:grpSpPr>
            <p:sp>
              <p:nvSpPr>
                <p:cNvPr id="16633" name="Freeform: Shape 16632">
                  <a:extLst>
                    <a:ext uri="{FF2B5EF4-FFF2-40B4-BE49-F238E27FC236}">
                      <a16:creationId xmlns:a16="http://schemas.microsoft.com/office/drawing/2014/main" id="{7FB1FFDA-01D7-6E01-89AF-8419B44C813E}"/>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4" name="Freeform: Shape 16633">
                  <a:extLst>
                    <a:ext uri="{FF2B5EF4-FFF2-40B4-BE49-F238E27FC236}">
                      <a16:creationId xmlns:a16="http://schemas.microsoft.com/office/drawing/2014/main" id="{6932E4B2-50CD-88A3-B831-DE744DFBF4AE}"/>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1" name="Graphic 1391">
                <a:extLst>
                  <a:ext uri="{FF2B5EF4-FFF2-40B4-BE49-F238E27FC236}">
                    <a16:creationId xmlns:a16="http://schemas.microsoft.com/office/drawing/2014/main" id="{03363556-2B85-015E-D108-E3BF4B715298}"/>
                  </a:ext>
                </a:extLst>
              </p:cNvPr>
              <p:cNvGrpSpPr/>
              <p:nvPr/>
            </p:nvGrpSpPr>
            <p:grpSpPr>
              <a:xfrm>
                <a:off x="6440900" y="3959256"/>
                <a:ext cx="75628" cy="75723"/>
                <a:chOff x="6440900" y="3959256"/>
                <a:chExt cx="75628" cy="75723"/>
              </a:xfrm>
            </p:grpSpPr>
            <p:sp>
              <p:nvSpPr>
                <p:cNvPr id="16631" name="Freeform: Shape 16630">
                  <a:extLst>
                    <a:ext uri="{FF2B5EF4-FFF2-40B4-BE49-F238E27FC236}">
                      <a16:creationId xmlns:a16="http://schemas.microsoft.com/office/drawing/2014/main" id="{AD4E6E11-B8A9-F5E3-3F91-B87801887335}"/>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2" name="Freeform: Shape 16631">
                  <a:extLst>
                    <a:ext uri="{FF2B5EF4-FFF2-40B4-BE49-F238E27FC236}">
                      <a16:creationId xmlns:a16="http://schemas.microsoft.com/office/drawing/2014/main" id="{10F73143-5571-FFBC-DC36-ED99177E5401}"/>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2" name="Graphic 1391">
                <a:extLst>
                  <a:ext uri="{FF2B5EF4-FFF2-40B4-BE49-F238E27FC236}">
                    <a16:creationId xmlns:a16="http://schemas.microsoft.com/office/drawing/2014/main" id="{4DF93481-9FEC-B751-21F9-D9B38FA98DA4}"/>
                  </a:ext>
                </a:extLst>
              </p:cNvPr>
              <p:cNvGrpSpPr/>
              <p:nvPr/>
            </p:nvGrpSpPr>
            <p:grpSpPr>
              <a:xfrm>
                <a:off x="6451377" y="3959256"/>
                <a:ext cx="75723" cy="75723"/>
                <a:chOff x="6451377" y="3959256"/>
                <a:chExt cx="75723" cy="75723"/>
              </a:xfrm>
            </p:grpSpPr>
            <p:sp>
              <p:nvSpPr>
                <p:cNvPr id="16629" name="Freeform: Shape 16628">
                  <a:extLst>
                    <a:ext uri="{FF2B5EF4-FFF2-40B4-BE49-F238E27FC236}">
                      <a16:creationId xmlns:a16="http://schemas.microsoft.com/office/drawing/2014/main" id="{261485F3-3ECF-F422-EFE9-CF1E4EDD6AA4}"/>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0" name="Freeform: Shape 16629">
                  <a:extLst>
                    <a:ext uri="{FF2B5EF4-FFF2-40B4-BE49-F238E27FC236}">
                      <a16:creationId xmlns:a16="http://schemas.microsoft.com/office/drawing/2014/main" id="{5B5CC871-7AFB-5D08-CACD-3C54C4B80E0C}"/>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3" name="Graphic 1391">
                <a:extLst>
                  <a:ext uri="{FF2B5EF4-FFF2-40B4-BE49-F238E27FC236}">
                    <a16:creationId xmlns:a16="http://schemas.microsoft.com/office/drawing/2014/main" id="{545D4B8E-4B22-EC0C-F37D-941C7782325B}"/>
                  </a:ext>
                </a:extLst>
              </p:cNvPr>
              <p:cNvGrpSpPr/>
              <p:nvPr/>
            </p:nvGrpSpPr>
            <p:grpSpPr>
              <a:xfrm>
                <a:off x="6465189" y="3959256"/>
                <a:ext cx="75723" cy="75723"/>
                <a:chOff x="6465189" y="3959256"/>
                <a:chExt cx="75723" cy="75723"/>
              </a:xfrm>
            </p:grpSpPr>
            <p:sp>
              <p:nvSpPr>
                <p:cNvPr id="16627" name="Freeform: Shape 16626">
                  <a:extLst>
                    <a:ext uri="{FF2B5EF4-FFF2-40B4-BE49-F238E27FC236}">
                      <a16:creationId xmlns:a16="http://schemas.microsoft.com/office/drawing/2014/main" id="{72D38812-527C-6633-027C-E934061D1C57}"/>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8" name="Freeform: Shape 16627">
                  <a:extLst>
                    <a:ext uri="{FF2B5EF4-FFF2-40B4-BE49-F238E27FC236}">
                      <a16:creationId xmlns:a16="http://schemas.microsoft.com/office/drawing/2014/main" id="{6EBBCEEA-B9B6-5B83-2869-4BF43D6F86C6}"/>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4" name="Graphic 1391">
                <a:extLst>
                  <a:ext uri="{FF2B5EF4-FFF2-40B4-BE49-F238E27FC236}">
                    <a16:creationId xmlns:a16="http://schemas.microsoft.com/office/drawing/2014/main" id="{934809A2-8CAF-0DD1-BED1-D5EDB102014C}"/>
                  </a:ext>
                </a:extLst>
              </p:cNvPr>
              <p:cNvGrpSpPr/>
              <p:nvPr/>
            </p:nvGrpSpPr>
            <p:grpSpPr>
              <a:xfrm>
                <a:off x="6396323" y="3932491"/>
                <a:ext cx="75628" cy="75723"/>
                <a:chOff x="6396323" y="3932491"/>
                <a:chExt cx="75628" cy="75723"/>
              </a:xfrm>
            </p:grpSpPr>
            <p:sp>
              <p:nvSpPr>
                <p:cNvPr id="16625" name="Freeform: Shape 16624">
                  <a:extLst>
                    <a:ext uri="{FF2B5EF4-FFF2-40B4-BE49-F238E27FC236}">
                      <a16:creationId xmlns:a16="http://schemas.microsoft.com/office/drawing/2014/main" id="{A0C443F0-266D-2659-A63C-04FB5DEE8029}"/>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6" name="Freeform: Shape 16625">
                  <a:extLst>
                    <a:ext uri="{FF2B5EF4-FFF2-40B4-BE49-F238E27FC236}">
                      <a16:creationId xmlns:a16="http://schemas.microsoft.com/office/drawing/2014/main" id="{6537ED46-2EFD-2E6E-2683-4E453637075A}"/>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5" name="Graphic 1391">
                <a:extLst>
                  <a:ext uri="{FF2B5EF4-FFF2-40B4-BE49-F238E27FC236}">
                    <a16:creationId xmlns:a16="http://schemas.microsoft.com/office/drawing/2014/main" id="{B0470005-7B10-C4A2-70DC-8D004C171AEC}"/>
                  </a:ext>
                </a:extLst>
              </p:cNvPr>
              <p:cNvGrpSpPr/>
              <p:nvPr/>
            </p:nvGrpSpPr>
            <p:grpSpPr>
              <a:xfrm>
                <a:off x="6324504" y="3932491"/>
                <a:ext cx="75723" cy="75723"/>
                <a:chOff x="6324504" y="3932491"/>
                <a:chExt cx="75723" cy="75723"/>
              </a:xfrm>
            </p:grpSpPr>
            <p:sp>
              <p:nvSpPr>
                <p:cNvPr id="16623" name="Freeform: Shape 16622">
                  <a:extLst>
                    <a:ext uri="{FF2B5EF4-FFF2-40B4-BE49-F238E27FC236}">
                      <a16:creationId xmlns:a16="http://schemas.microsoft.com/office/drawing/2014/main" id="{E5E660C0-35DF-31B7-8C50-D1970C820E3E}"/>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4" name="Freeform: Shape 16623">
                  <a:extLst>
                    <a:ext uri="{FF2B5EF4-FFF2-40B4-BE49-F238E27FC236}">
                      <a16:creationId xmlns:a16="http://schemas.microsoft.com/office/drawing/2014/main" id="{7E93B9D2-D34E-0290-F416-D054109DC5B4}"/>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6" name="Graphic 1391">
                <a:extLst>
                  <a:ext uri="{FF2B5EF4-FFF2-40B4-BE49-F238E27FC236}">
                    <a16:creationId xmlns:a16="http://schemas.microsoft.com/office/drawing/2014/main" id="{4D563270-DA14-5909-291A-3B046818911A}"/>
                  </a:ext>
                </a:extLst>
              </p:cNvPr>
              <p:cNvGrpSpPr/>
              <p:nvPr/>
            </p:nvGrpSpPr>
            <p:grpSpPr>
              <a:xfrm>
                <a:off x="6106858" y="3849433"/>
                <a:ext cx="75723" cy="75723"/>
                <a:chOff x="6106858" y="3849433"/>
                <a:chExt cx="75723" cy="75723"/>
              </a:xfrm>
            </p:grpSpPr>
            <p:sp>
              <p:nvSpPr>
                <p:cNvPr id="16621" name="Freeform: Shape 16620">
                  <a:extLst>
                    <a:ext uri="{FF2B5EF4-FFF2-40B4-BE49-F238E27FC236}">
                      <a16:creationId xmlns:a16="http://schemas.microsoft.com/office/drawing/2014/main" id="{9FDE5848-C165-0D6B-F2DC-DCDB6685D10B}"/>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2" name="Freeform: Shape 16621">
                  <a:extLst>
                    <a:ext uri="{FF2B5EF4-FFF2-40B4-BE49-F238E27FC236}">
                      <a16:creationId xmlns:a16="http://schemas.microsoft.com/office/drawing/2014/main" id="{FC2C45C7-C369-3BB1-277B-1932D836D794}"/>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7" name="Graphic 1391">
                <a:extLst>
                  <a:ext uri="{FF2B5EF4-FFF2-40B4-BE49-F238E27FC236}">
                    <a16:creationId xmlns:a16="http://schemas.microsoft.com/office/drawing/2014/main" id="{B5B35CDD-8B73-8CE1-726B-43B3B671FEC2}"/>
                  </a:ext>
                </a:extLst>
              </p:cNvPr>
              <p:cNvGrpSpPr/>
              <p:nvPr/>
            </p:nvGrpSpPr>
            <p:grpSpPr>
              <a:xfrm>
                <a:off x="6088284" y="3819429"/>
                <a:ext cx="75628" cy="75723"/>
                <a:chOff x="6088284" y="3819429"/>
                <a:chExt cx="75628" cy="75723"/>
              </a:xfrm>
            </p:grpSpPr>
            <p:sp>
              <p:nvSpPr>
                <p:cNvPr id="16619" name="Freeform: Shape 16618">
                  <a:extLst>
                    <a:ext uri="{FF2B5EF4-FFF2-40B4-BE49-F238E27FC236}">
                      <a16:creationId xmlns:a16="http://schemas.microsoft.com/office/drawing/2014/main" id="{756D7276-5981-F5D4-D030-1E85CFDCAF80}"/>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0" name="Freeform: Shape 16619">
                  <a:extLst>
                    <a:ext uri="{FF2B5EF4-FFF2-40B4-BE49-F238E27FC236}">
                      <a16:creationId xmlns:a16="http://schemas.microsoft.com/office/drawing/2014/main" id="{C0A7D8D4-34B8-FC7B-F178-005E7609641E}"/>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8" name="Graphic 1391">
                <a:extLst>
                  <a:ext uri="{FF2B5EF4-FFF2-40B4-BE49-F238E27FC236}">
                    <a16:creationId xmlns:a16="http://schemas.microsoft.com/office/drawing/2014/main" id="{49B42B36-A68C-4CEF-D6E5-2DEAE4841EAA}"/>
                  </a:ext>
                </a:extLst>
              </p:cNvPr>
              <p:cNvGrpSpPr/>
              <p:nvPr/>
            </p:nvGrpSpPr>
            <p:grpSpPr>
              <a:xfrm>
                <a:off x="6069044" y="3794664"/>
                <a:ext cx="75723" cy="75723"/>
                <a:chOff x="6069044" y="3794664"/>
                <a:chExt cx="75723" cy="75723"/>
              </a:xfrm>
            </p:grpSpPr>
            <p:sp>
              <p:nvSpPr>
                <p:cNvPr id="16617" name="Freeform: Shape 16616">
                  <a:extLst>
                    <a:ext uri="{FF2B5EF4-FFF2-40B4-BE49-F238E27FC236}">
                      <a16:creationId xmlns:a16="http://schemas.microsoft.com/office/drawing/2014/main" id="{D04543BD-F757-4A02-2D6B-7E9365D1B405}"/>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8" name="Freeform: Shape 16617">
                  <a:extLst>
                    <a:ext uri="{FF2B5EF4-FFF2-40B4-BE49-F238E27FC236}">
                      <a16:creationId xmlns:a16="http://schemas.microsoft.com/office/drawing/2014/main" id="{EB5F8926-F0FD-BF5D-34C9-4BCC0D14B291}"/>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9" name="Graphic 1391">
                <a:extLst>
                  <a:ext uri="{FF2B5EF4-FFF2-40B4-BE49-F238E27FC236}">
                    <a16:creationId xmlns:a16="http://schemas.microsoft.com/office/drawing/2014/main" id="{FF821B1F-06F5-3864-A2A8-7DC341B18176}"/>
                  </a:ext>
                </a:extLst>
              </p:cNvPr>
              <p:cNvGrpSpPr/>
              <p:nvPr/>
            </p:nvGrpSpPr>
            <p:grpSpPr>
              <a:xfrm>
                <a:off x="6064186" y="3794664"/>
                <a:ext cx="75723" cy="75723"/>
                <a:chOff x="6064186" y="3794664"/>
                <a:chExt cx="75723" cy="75723"/>
              </a:xfrm>
            </p:grpSpPr>
            <p:sp>
              <p:nvSpPr>
                <p:cNvPr id="16615" name="Freeform: Shape 16614">
                  <a:extLst>
                    <a:ext uri="{FF2B5EF4-FFF2-40B4-BE49-F238E27FC236}">
                      <a16:creationId xmlns:a16="http://schemas.microsoft.com/office/drawing/2014/main" id="{ED115AF9-0D25-916C-03B4-1DC3DDE4E609}"/>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6" name="Freeform: Shape 16615">
                  <a:extLst>
                    <a:ext uri="{FF2B5EF4-FFF2-40B4-BE49-F238E27FC236}">
                      <a16:creationId xmlns:a16="http://schemas.microsoft.com/office/drawing/2014/main" id="{587E240B-EFD7-F2E3-7A6C-EA6F5D97F402}"/>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0" name="Graphic 1391">
                <a:extLst>
                  <a:ext uri="{FF2B5EF4-FFF2-40B4-BE49-F238E27FC236}">
                    <a16:creationId xmlns:a16="http://schemas.microsoft.com/office/drawing/2014/main" id="{765CF182-6D2E-11C8-1388-E7AE37583F0A}"/>
                  </a:ext>
                </a:extLst>
              </p:cNvPr>
              <p:cNvGrpSpPr/>
              <p:nvPr/>
            </p:nvGrpSpPr>
            <p:grpSpPr>
              <a:xfrm>
                <a:off x="6058471" y="3768375"/>
                <a:ext cx="75723" cy="75628"/>
                <a:chOff x="6058471" y="3768375"/>
                <a:chExt cx="75723" cy="75628"/>
              </a:xfrm>
            </p:grpSpPr>
            <p:sp>
              <p:nvSpPr>
                <p:cNvPr id="16613" name="Freeform: Shape 16612">
                  <a:extLst>
                    <a:ext uri="{FF2B5EF4-FFF2-40B4-BE49-F238E27FC236}">
                      <a16:creationId xmlns:a16="http://schemas.microsoft.com/office/drawing/2014/main" id="{355D62A7-6B9D-FFB7-982F-4C35E435CC2C}"/>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4" name="Freeform: Shape 16613">
                  <a:extLst>
                    <a:ext uri="{FF2B5EF4-FFF2-40B4-BE49-F238E27FC236}">
                      <a16:creationId xmlns:a16="http://schemas.microsoft.com/office/drawing/2014/main" id="{A6F84B75-4CA4-9FFA-0965-0D7CD906E357}"/>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1" name="Graphic 1391">
                <a:extLst>
                  <a:ext uri="{FF2B5EF4-FFF2-40B4-BE49-F238E27FC236}">
                    <a16:creationId xmlns:a16="http://schemas.microsoft.com/office/drawing/2014/main" id="{17995538-2C88-4393-4F9C-D22D22B2A246}"/>
                  </a:ext>
                </a:extLst>
              </p:cNvPr>
              <p:cNvGrpSpPr/>
              <p:nvPr/>
            </p:nvGrpSpPr>
            <p:grpSpPr>
              <a:xfrm>
                <a:off x="6043517" y="3768375"/>
                <a:ext cx="75723" cy="75628"/>
                <a:chOff x="6043517" y="3768375"/>
                <a:chExt cx="75723" cy="75628"/>
              </a:xfrm>
            </p:grpSpPr>
            <p:sp>
              <p:nvSpPr>
                <p:cNvPr id="16611" name="Freeform: Shape 16610">
                  <a:extLst>
                    <a:ext uri="{FF2B5EF4-FFF2-40B4-BE49-F238E27FC236}">
                      <a16:creationId xmlns:a16="http://schemas.microsoft.com/office/drawing/2014/main" id="{05E10B35-2CFC-6127-22F4-B5CBBD988474}"/>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2" name="Freeform: Shape 16611">
                  <a:extLst>
                    <a:ext uri="{FF2B5EF4-FFF2-40B4-BE49-F238E27FC236}">
                      <a16:creationId xmlns:a16="http://schemas.microsoft.com/office/drawing/2014/main" id="{461C902B-EBE6-9C26-F704-6E015818055E}"/>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2" name="Graphic 1391">
                <a:extLst>
                  <a:ext uri="{FF2B5EF4-FFF2-40B4-BE49-F238E27FC236}">
                    <a16:creationId xmlns:a16="http://schemas.microsoft.com/office/drawing/2014/main" id="{403616D3-2E7A-B150-DC5E-64BAE0916F80}"/>
                  </a:ext>
                </a:extLst>
              </p:cNvPr>
              <p:cNvGrpSpPr/>
              <p:nvPr/>
            </p:nvGrpSpPr>
            <p:grpSpPr>
              <a:xfrm>
                <a:off x="5723477" y="3768375"/>
                <a:ext cx="75723" cy="75628"/>
                <a:chOff x="5723477" y="3768375"/>
                <a:chExt cx="75723" cy="75628"/>
              </a:xfrm>
            </p:grpSpPr>
            <p:sp>
              <p:nvSpPr>
                <p:cNvPr id="16609" name="Freeform: Shape 16608">
                  <a:extLst>
                    <a:ext uri="{FF2B5EF4-FFF2-40B4-BE49-F238E27FC236}">
                      <a16:creationId xmlns:a16="http://schemas.microsoft.com/office/drawing/2014/main" id="{7DA79CAD-6D56-6886-912E-B7882C38716B}"/>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0" name="Freeform: Shape 16609">
                  <a:extLst>
                    <a:ext uri="{FF2B5EF4-FFF2-40B4-BE49-F238E27FC236}">
                      <a16:creationId xmlns:a16="http://schemas.microsoft.com/office/drawing/2014/main" id="{F5C607A9-E4E6-2192-ED1F-A25A9B6D8F83}"/>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3" name="Graphic 1391">
                <a:extLst>
                  <a:ext uri="{FF2B5EF4-FFF2-40B4-BE49-F238E27FC236}">
                    <a16:creationId xmlns:a16="http://schemas.microsoft.com/office/drawing/2014/main" id="{40DDB15F-52C1-A548-8046-360F95B481EB}"/>
                  </a:ext>
                </a:extLst>
              </p:cNvPr>
              <p:cNvGrpSpPr/>
              <p:nvPr/>
            </p:nvGrpSpPr>
            <p:grpSpPr>
              <a:xfrm>
                <a:off x="5704808" y="3768375"/>
                <a:ext cx="75723" cy="75628"/>
                <a:chOff x="5704808" y="3768375"/>
                <a:chExt cx="75723" cy="75628"/>
              </a:xfrm>
            </p:grpSpPr>
            <p:sp>
              <p:nvSpPr>
                <p:cNvPr id="16607" name="Freeform: Shape 16606">
                  <a:extLst>
                    <a:ext uri="{FF2B5EF4-FFF2-40B4-BE49-F238E27FC236}">
                      <a16:creationId xmlns:a16="http://schemas.microsoft.com/office/drawing/2014/main" id="{7581318F-678B-8124-C754-24FAF5A841E8}"/>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8" name="Freeform: Shape 16607">
                  <a:extLst>
                    <a:ext uri="{FF2B5EF4-FFF2-40B4-BE49-F238E27FC236}">
                      <a16:creationId xmlns:a16="http://schemas.microsoft.com/office/drawing/2014/main" id="{69927F2E-B1FA-AB17-73DF-52AEDDFC18AB}"/>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4" name="Graphic 1391">
                <a:extLst>
                  <a:ext uri="{FF2B5EF4-FFF2-40B4-BE49-F238E27FC236}">
                    <a16:creationId xmlns:a16="http://schemas.microsoft.com/office/drawing/2014/main" id="{F781991B-B429-4860-7180-7C2DD574F03A}"/>
                  </a:ext>
                </a:extLst>
              </p:cNvPr>
              <p:cNvGrpSpPr/>
              <p:nvPr/>
            </p:nvGrpSpPr>
            <p:grpSpPr>
              <a:xfrm>
                <a:off x="5664708" y="3705796"/>
                <a:ext cx="75628" cy="75723"/>
                <a:chOff x="5664708" y="3705796"/>
                <a:chExt cx="75628" cy="75723"/>
              </a:xfrm>
            </p:grpSpPr>
            <p:sp>
              <p:nvSpPr>
                <p:cNvPr id="16605" name="Freeform: Shape 16604">
                  <a:extLst>
                    <a:ext uri="{FF2B5EF4-FFF2-40B4-BE49-F238E27FC236}">
                      <a16:creationId xmlns:a16="http://schemas.microsoft.com/office/drawing/2014/main" id="{40285C1F-C607-E05D-0281-2168DE8EFAB6}"/>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6" name="Freeform: Shape 16605">
                  <a:extLst>
                    <a:ext uri="{FF2B5EF4-FFF2-40B4-BE49-F238E27FC236}">
                      <a16:creationId xmlns:a16="http://schemas.microsoft.com/office/drawing/2014/main" id="{693E4DAD-724A-995B-E77C-87AA96771CE9}"/>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5" name="Graphic 1391">
                <a:extLst>
                  <a:ext uri="{FF2B5EF4-FFF2-40B4-BE49-F238E27FC236}">
                    <a16:creationId xmlns:a16="http://schemas.microsoft.com/office/drawing/2014/main" id="{98AEDA91-34FC-E9D0-F74B-680158D243CF}"/>
                  </a:ext>
                </a:extLst>
              </p:cNvPr>
              <p:cNvGrpSpPr/>
              <p:nvPr/>
            </p:nvGrpSpPr>
            <p:grpSpPr>
              <a:xfrm>
                <a:off x="5267229" y="3503580"/>
                <a:ext cx="75723" cy="75723"/>
                <a:chOff x="5267229" y="3503580"/>
                <a:chExt cx="75723" cy="75723"/>
              </a:xfrm>
            </p:grpSpPr>
            <p:sp>
              <p:nvSpPr>
                <p:cNvPr id="16603" name="Freeform: Shape 16602">
                  <a:extLst>
                    <a:ext uri="{FF2B5EF4-FFF2-40B4-BE49-F238E27FC236}">
                      <a16:creationId xmlns:a16="http://schemas.microsoft.com/office/drawing/2014/main" id="{12D7B1F0-71CC-9766-4FA4-5B5694200423}"/>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4" name="Freeform: Shape 16603">
                  <a:extLst>
                    <a:ext uri="{FF2B5EF4-FFF2-40B4-BE49-F238E27FC236}">
                      <a16:creationId xmlns:a16="http://schemas.microsoft.com/office/drawing/2014/main" id="{6C529940-EC5C-27BA-FED7-3A088F8BC146}"/>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6" name="Graphic 1391">
                <a:extLst>
                  <a:ext uri="{FF2B5EF4-FFF2-40B4-BE49-F238E27FC236}">
                    <a16:creationId xmlns:a16="http://schemas.microsoft.com/office/drawing/2014/main" id="{73EA657E-AEAC-C563-4D3E-30B0D6BE6760}"/>
                  </a:ext>
                </a:extLst>
              </p:cNvPr>
              <p:cNvGrpSpPr/>
              <p:nvPr/>
            </p:nvGrpSpPr>
            <p:grpSpPr>
              <a:xfrm>
                <a:off x="4946999" y="3369564"/>
                <a:ext cx="75723" cy="75628"/>
                <a:chOff x="4946999" y="3369564"/>
                <a:chExt cx="75723" cy="75628"/>
              </a:xfrm>
            </p:grpSpPr>
            <p:sp>
              <p:nvSpPr>
                <p:cNvPr id="16601" name="Freeform: Shape 16600">
                  <a:extLst>
                    <a:ext uri="{FF2B5EF4-FFF2-40B4-BE49-F238E27FC236}">
                      <a16:creationId xmlns:a16="http://schemas.microsoft.com/office/drawing/2014/main" id="{725FC595-5330-F355-64C2-2B1FCEB134F6}"/>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2" name="Freeform: Shape 16601">
                  <a:extLst>
                    <a:ext uri="{FF2B5EF4-FFF2-40B4-BE49-F238E27FC236}">
                      <a16:creationId xmlns:a16="http://schemas.microsoft.com/office/drawing/2014/main" id="{F55AFCFB-B64A-2007-DA4A-1A1A454213BF}"/>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7" name="Graphic 1391">
                <a:extLst>
                  <a:ext uri="{FF2B5EF4-FFF2-40B4-BE49-F238E27FC236}">
                    <a16:creationId xmlns:a16="http://schemas.microsoft.com/office/drawing/2014/main" id="{246F8892-94F1-4500-B64E-1252C51C8EAD}"/>
                  </a:ext>
                </a:extLst>
              </p:cNvPr>
              <p:cNvGrpSpPr/>
              <p:nvPr/>
            </p:nvGrpSpPr>
            <p:grpSpPr>
              <a:xfrm>
                <a:off x="4935664" y="3369564"/>
                <a:ext cx="75723" cy="75628"/>
                <a:chOff x="4935664" y="3369564"/>
                <a:chExt cx="75723" cy="75628"/>
              </a:xfrm>
            </p:grpSpPr>
            <p:sp>
              <p:nvSpPr>
                <p:cNvPr id="16599" name="Freeform: Shape 16598">
                  <a:extLst>
                    <a:ext uri="{FF2B5EF4-FFF2-40B4-BE49-F238E27FC236}">
                      <a16:creationId xmlns:a16="http://schemas.microsoft.com/office/drawing/2014/main" id="{2D04F3F6-C167-D8F7-5475-6346F4C543A7}"/>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0" name="Freeform: Shape 16599">
                  <a:extLst>
                    <a:ext uri="{FF2B5EF4-FFF2-40B4-BE49-F238E27FC236}">
                      <a16:creationId xmlns:a16="http://schemas.microsoft.com/office/drawing/2014/main" id="{2DAFB628-02AE-305F-A111-6E388E8706FD}"/>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8" name="Graphic 1391">
                <a:extLst>
                  <a:ext uri="{FF2B5EF4-FFF2-40B4-BE49-F238E27FC236}">
                    <a16:creationId xmlns:a16="http://schemas.microsoft.com/office/drawing/2014/main" id="{DA24C32C-8E09-CC69-1F1E-D65F474746F0}"/>
                  </a:ext>
                </a:extLst>
              </p:cNvPr>
              <p:cNvGrpSpPr/>
              <p:nvPr/>
            </p:nvGrpSpPr>
            <p:grpSpPr>
              <a:xfrm>
                <a:off x="4931092" y="3335464"/>
                <a:ext cx="75628" cy="75723"/>
                <a:chOff x="4931092" y="3335464"/>
                <a:chExt cx="75628" cy="75723"/>
              </a:xfrm>
            </p:grpSpPr>
            <p:sp>
              <p:nvSpPr>
                <p:cNvPr id="16597" name="Freeform: Shape 16596">
                  <a:extLst>
                    <a:ext uri="{FF2B5EF4-FFF2-40B4-BE49-F238E27FC236}">
                      <a16:creationId xmlns:a16="http://schemas.microsoft.com/office/drawing/2014/main" id="{6141D9E9-3172-FFF7-6325-3EE1BBAF117B}"/>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8" name="Freeform: Shape 16597">
                  <a:extLst>
                    <a:ext uri="{FF2B5EF4-FFF2-40B4-BE49-F238E27FC236}">
                      <a16:creationId xmlns:a16="http://schemas.microsoft.com/office/drawing/2014/main" id="{4C688E14-062E-E218-C627-DBD742DB2949}"/>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9" name="Graphic 1391">
                <a:extLst>
                  <a:ext uri="{FF2B5EF4-FFF2-40B4-BE49-F238E27FC236}">
                    <a16:creationId xmlns:a16="http://schemas.microsoft.com/office/drawing/2014/main" id="{296EF010-A8C7-7EC4-22B6-989072FDC6A8}"/>
                  </a:ext>
                </a:extLst>
              </p:cNvPr>
              <p:cNvGrpSpPr/>
              <p:nvPr/>
            </p:nvGrpSpPr>
            <p:grpSpPr>
              <a:xfrm>
                <a:off x="4927854" y="3319081"/>
                <a:ext cx="75628" cy="75723"/>
                <a:chOff x="4927854" y="3319081"/>
                <a:chExt cx="75628" cy="75723"/>
              </a:xfrm>
            </p:grpSpPr>
            <p:sp>
              <p:nvSpPr>
                <p:cNvPr id="16595" name="Freeform: Shape 16594">
                  <a:extLst>
                    <a:ext uri="{FF2B5EF4-FFF2-40B4-BE49-F238E27FC236}">
                      <a16:creationId xmlns:a16="http://schemas.microsoft.com/office/drawing/2014/main" id="{8EA43402-E740-2939-B89B-D127ECFB4411}"/>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6" name="Freeform: Shape 16595">
                  <a:extLst>
                    <a:ext uri="{FF2B5EF4-FFF2-40B4-BE49-F238E27FC236}">
                      <a16:creationId xmlns:a16="http://schemas.microsoft.com/office/drawing/2014/main" id="{33600300-824B-DA54-4B56-62C4F786E616}"/>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0" name="Graphic 1391">
                <a:extLst>
                  <a:ext uri="{FF2B5EF4-FFF2-40B4-BE49-F238E27FC236}">
                    <a16:creationId xmlns:a16="http://schemas.microsoft.com/office/drawing/2014/main" id="{538115B8-BBA1-1218-CCE1-326CAC28828A}"/>
                  </a:ext>
                </a:extLst>
              </p:cNvPr>
              <p:cNvGrpSpPr/>
              <p:nvPr/>
            </p:nvGrpSpPr>
            <p:grpSpPr>
              <a:xfrm>
                <a:off x="4916900" y="3272504"/>
                <a:ext cx="75628" cy="75723"/>
                <a:chOff x="4916900" y="3272504"/>
                <a:chExt cx="75628" cy="75723"/>
              </a:xfrm>
            </p:grpSpPr>
            <p:sp>
              <p:nvSpPr>
                <p:cNvPr id="16593" name="Freeform: Shape 16592">
                  <a:extLst>
                    <a:ext uri="{FF2B5EF4-FFF2-40B4-BE49-F238E27FC236}">
                      <a16:creationId xmlns:a16="http://schemas.microsoft.com/office/drawing/2014/main" id="{31F29B61-2E3D-EF6E-2CC4-9DCE42591CE8}"/>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4" name="Freeform: Shape 16593">
                  <a:extLst>
                    <a:ext uri="{FF2B5EF4-FFF2-40B4-BE49-F238E27FC236}">
                      <a16:creationId xmlns:a16="http://schemas.microsoft.com/office/drawing/2014/main" id="{31C75973-D006-6559-BACA-F9645C0EA825}"/>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1" name="Graphic 1391">
                <a:extLst>
                  <a:ext uri="{FF2B5EF4-FFF2-40B4-BE49-F238E27FC236}">
                    <a16:creationId xmlns:a16="http://schemas.microsoft.com/office/drawing/2014/main" id="{0467E469-2834-E04D-AF23-EEBE1C2AAB87}"/>
                  </a:ext>
                </a:extLst>
              </p:cNvPr>
              <p:cNvGrpSpPr/>
              <p:nvPr/>
            </p:nvGrpSpPr>
            <p:grpSpPr>
              <a:xfrm>
                <a:off x="4905089" y="3272504"/>
                <a:ext cx="75723" cy="75723"/>
                <a:chOff x="4905089" y="3272504"/>
                <a:chExt cx="75723" cy="75723"/>
              </a:xfrm>
            </p:grpSpPr>
            <p:sp>
              <p:nvSpPr>
                <p:cNvPr id="16591" name="Freeform: Shape 16590">
                  <a:extLst>
                    <a:ext uri="{FF2B5EF4-FFF2-40B4-BE49-F238E27FC236}">
                      <a16:creationId xmlns:a16="http://schemas.microsoft.com/office/drawing/2014/main" id="{77FFBD4E-23BA-3B43-571E-9F3BAD50275F}"/>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2" name="Freeform: Shape 16591">
                  <a:extLst>
                    <a:ext uri="{FF2B5EF4-FFF2-40B4-BE49-F238E27FC236}">
                      <a16:creationId xmlns:a16="http://schemas.microsoft.com/office/drawing/2014/main" id="{0D2B1970-C2A7-4D65-3128-2ADFB754A0DE}"/>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2" name="Graphic 1391">
                <a:extLst>
                  <a:ext uri="{FF2B5EF4-FFF2-40B4-BE49-F238E27FC236}">
                    <a16:creationId xmlns:a16="http://schemas.microsoft.com/office/drawing/2014/main" id="{2ABC6A38-82A2-D127-D4EB-995FD4338F84}"/>
                  </a:ext>
                </a:extLst>
              </p:cNvPr>
              <p:cNvGrpSpPr/>
              <p:nvPr/>
            </p:nvGrpSpPr>
            <p:grpSpPr>
              <a:xfrm>
                <a:off x="4889944" y="3259740"/>
                <a:ext cx="75723" cy="75723"/>
                <a:chOff x="4889944" y="3259740"/>
                <a:chExt cx="75723" cy="75723"/>
              </a:xfrm>
            </p:grpSpPr>
            <p:sp>
              <p:nvSpPr>
                <p:cNvPr id="16589" name="Freeform: Shape 16588">
                  <a:extLst>
                    <a:ext uri="{FF2B5EF4-FFF2-40B4-BE49-F238E27FC236}">
                      <a16:creationId xmlns:a16="http://schemas.microsoft.com/office/drawing/2014/main" id="{E81D769C-F388-343D-47B6-ACB3B3735F80}"/>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0" name="Freeform: Shape 16589">
                  <a:extLst>
                    <a:ext uri="{FF2B5EF4-FFF2-40B4-BE49-F238E27FC236}">
                      <a16:creationId xmlns:a16="http://schemas.microsoft.com/office/drawing/2014/main" id="{173429FD-7481-81B9-39C4-5E5D1043B5C3}"/>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3" name="Graphic 1391">
                <a:extLst>
                  <a:ext uri="{FF2B5EF4-FFF2-40B4-BE49-F238E27FC236}">
                    <a16:creationId xmlns:a16="http://schemas.microsoft.com/office/drawing/2014/main" id="{10B8A609-F5B0-7346-A6F2-94F300DA4EFA}"/>
                  </a:ext>
                </a:extLst>
              </p:cNvPr>
              <p:cNvGrpSpPr/>
              <p:nvPr/>
            </p:nvGrpSpPr>
            <p:grpSpPr>
              <a:xfrm>
                <a:off x="4657344" y="3139154"/>
                <a:ext cx="75628" cy="75723"/>
                <a:chOff x="4657344" y="3139154"/>
                <a:chExt cx="75628" cy="75723"/>
              </a:xfrm>
            </p:grpSpPr>
            <p:sp>
              <p:nvSpPr>
                <p:cNvPr id="16587" name="Freeform: Shape 16586">
                  <a:extLst>
                    <a:ext uri="{FF2B5EF4-FFF2-40B4-BE49-F238E27FC236}">
                      <a16:creationId xmlns:a16="http://schemas.microsoft.com/office/drawing/2014/main" id="{D607B59F-316B-D2B7-1A6E-9A5BC711BAA7}"/>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8" name="Freeform: Shape 16587">
                  <a:extLst>
                    <a:ext uri="{FF2B5EF4-FFF2-40B4-BE49-F238E27FC236}">
                      <a16:creationId xmlns:a16="http://schemas.microsoft.com/office/drawing/2014/main" id="{EC352962-0A18-CC2B-A01A-6F73682AB4BA}"/>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4" name="Graphic 1391">
                <a:extLst>
                  <a:ext uri="{FF2B5EF4-FFF2-40B4-BE49-F238E27FC236}">
                    <a16:creationId xmlns:a16="http://schemas.microsoft.com/office/drawing/2014/main" id="{F849EDCB-81A3-5389-04D2-60BFEA11E977}"/>
                  </a:ext>
                </a:extLst>
              </p:cNvPr>
              <p:cNvGrpSpPr/>
              <p:nvPr/>
            </p:nvGrpSpPr>
            <p:grpSpPr>
              <a:xfrm>
                <a:off x="4566094" y="3094672"/>
                <a:ext cx="75723" cy="75723"/>
                <a:chOff x="4566094" y="3094672"/>
                <a:chExt cx="75723" cy="75723"/>
              </a:xfrm>
            </p:grpSpPr>
            <p:sp>
              <p:nvSpPr>
                <p:cNvPr id="16585" name="Freeform: Shape 16584">
                  <a:extLst>
                    <a:ext uri="{FF2B5EF4-FFF2-40B4-BE49-F238E27FC236}">
                      <a16:creationId xmlns:a16="http://schemas.microsoft.com/office/drawing/2014/main" id="{12D8BBEF-4127-5E7F-D9EF-1C8EDC74C7F8}"/>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6" name="Freeform: Shape 16585">
                  <a:extLst>
                    <a:ext uri="{FF2B5EF4-FFF2-40B4-BE49-F238E27FC236}">
                      <a16:creationId xmlns:a16="http://schemas.microsoft.com/office/drawing/2014/main" id="{2DDD33DA-A112-F47C-266F-FAE93614AF9E}"/>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5" name="Graphic 1391">
                <a:extLst>
                  <a:ext uri="{FF2B5EF4-FFF2-40B4-BE49-F238E27FC236}">
                    <a16:creationId xmlns:a16="http://schemas.microsoft.com/office/drawing/2014/main" id="{E5FE77B4-8C00-D321-DED6-75D649DD3FCD}"/>
                  </a:ext>
                </a:extLst>
              </p:cNvPr>
              <p:cNvGrpSpPr/>
              <p:nvPr/>
            </p:nvGrpSpPr>
            <p:grpSpPr>
              <a:xfrm>
                <a:off x="4553521" y="3061049"/>
                <a:ext cx="75723" cy="75723"/>
                <a:chOff x="4553521" y="3061049"/>
                <a:chExt cx="75723" cy="75723"/>
              </a:xfrm>
            </p:grpSpPr>
            <p:sp>
              <p:nvSpPr>
                <p:cNvPr id="16583" name="Freeform: Shape 16582">
                  <a:extLst>
                    <a:ext uri="{FF2B5EF4-FFF2-40B4-BE49-F238E27FC236}">
                      <a16:creationId xmlns:a16="http://schemas.microsoft.com/office/drawing/2014/main" id="{C359770E-9D1C-7B64-1BD8-08C09DF46AE4}"/>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4" name="Freeform: Shape 16583">
                  <a:extLst>
                    <a:ext uri="{FF2B5EF4-FFF2-40B4-BE49-F238E27FC236}">
                      <a16:creationId xmlns:a16="http://schemas.microsoft.com/office/drawing/2014/main" id="{24D31F3D-02DD-67D5-9A30-89FC27B7B863}"/>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6" name="Graphic 1391">
                <a:extLst>
                  <a:ext uri="{FF2B5EF4-FFF2-40B4-BE49-F238E27FC236}">
                    <a16:creationId xmlns:a16="http://schemas.microsoft.com/office/drawing/2014/main" id="{EC0E3860-A0B6-3CD5-E07A-FABD17AAFE90}"/>
                  </a:ext>
                </a:extLst>
              </p:cNvPr>
              <p:cNvGrpSpPr/>
              <p:nvPr/>
            </p:nvGrpSpPr>
            <p:grpSpPr>
              <a:xfrm>
                <a:off x="4553521" y="3046476"/>
                <a:ext cx="75723" cy="75723"/>
                <a:chOff x="4553521" y="3046476"/>
                <a:chExt cx="75723" cy="75723"/>
              </a:xfrm>
            </p:grpSpPr>
            <p:sp>
              <p:nvSpPr>
                <p:cNvPr id="16581" name="Freeform: Shape 16580">
                  <a:extLst>
                    <a:ext uri="{FF2B5EF4-FFF2-40B4-BE49-F238E27FC236}">
                      <a16:creationId xmlns:a16="http://schemas.microsoft.com/office/drawing/2014/main" id="{D7590C5D-2FE7-A63F-0FE0-041C1853A209}"/>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2" name="Freeform: Shape 16581">
                  <a:extLst>
                    <a:ext uri="{FF2B5EF4-FFF2-40B4-BE49-F238E27FC236}">
                      <a16:creationId xmlns:a16="http://schemas.microsoft.com/office/drawing/2014/main" id="{C8607F4F-3132-1F2B-4D9D-8E10003659A0}"/>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7" name="Graphic 1391">
                <a:extLst>
                  <a:ext uri="{FF2B5EF4-FFF2-40B4-BE49-F238E27FC236}">
                    <a16:creationId xmlns:a16="http://schemas.microsoft.com/office/drawing/2014/main" id="{F06DFFE0-23E8-5854-DAAA-49591F2ECA54}"/>
                  </a:ext>
                </a:extLst>
              </p:cNvPr>
              <p:cNvGrpSpPr/>
              <p:nvPr/>
            </p:nvGrpSpPr>
            <p:grpSpPr>
              <a:xfrm>
                <a:off x="4545901" y="3008661"/>
                <a:ext cx="75628" cy="75628"/>
                <a:chOff x="4545901" y="3008661"/>
                <a:chExt cx="75628" cy="75628"/>
              </a:xfrm>
            </p:grpSpPr>
            <p:sp>
              <p:nvSpPr>
                <p:cNvPr id="16579" name="Freeform: Shape 16578">
                  <a:extLst>
                    <a:ext uri="{FF2B5EF4-FFF2-40B4-BE49-F238E27FC236}">
                      <a16:creationId xmlns:a16="http://schemas.microsoft.com/office/drawing/2014/main" id="{E3393B61-F010-C553-4596-0D7F92795EDB}"/>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0" name="Freeform: Shape 16579">
                  <a:extLst>
                    <a:ext uri="{FF2B5EF4-FFF2-40B4-BE49-F238E27FC236}">
                      <a16:creationId xmlns:a16="http://schemas.microsoft.com/office/drawing/2014/main" id="{BDD60162-AB03-9736-94D0-83324C36CB24}"/>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8" name="Graphic 1391">
                <a:extLst>
                  <a:ext uri="{FF2B5EF4-FFF2-40B4-BE49-F238E27FC236}">
                    <a16:creationId xmlns:a16="http://schemas.microsoft.com/office/drawing/2014/main" id="{05E8C3B9-270D-B349-DEFC-AD0F7F4864CD}"/>
                  </a:ext>
                </a:extLst>
              </p:cNvPr>
              <p:cNvGrpSpPr/>
              <p:nvPr/>
            </p:nvGrpSpPr>
            <p:grpSpPr>
              <a:xfrm>
                <a:off x="4537710" y="3008661"/>
                <a:ext cx="75723" cy="75628"/>
                <a:chOff x="4537710" y="3008661"/>
                <a:chExt cx="75723" cy="75628"/>
              </a:xfrm>
            </p:grpSpPr>
            <p:sp>
              <p:nvSpPr>
                <p:cNvPr id="16577" name="Freeform: Shape 16576">
                  <a:extLst>
                    <a:ext uri="{FF2B5EF4-FFF2-40B4-BE49-F238E27FC236}">
                      <a16:creationId xmlns:a16="http://schemas.microsoft.com/office/drawing/2014/main" id="{4D9A4916-B1D0-220C-EE7B-5CC421F4BB3A}"/>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8" name="Freeform: Shape 16577">
                  <a:extLst>
                    <a:ext uri="{FF2B5EF4-FFF2-40B4-BE49-F238E27FC236}">
                      <a16:creationId xmlns:a16="http://schemas.microsoft.com/office/drawing/2014/main" id="{8D7D6662-C86A-ED0E-3169-038EC2AAF73F}"/>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9" name="Graphic 1391">
                <a:extLst>
                  <a:ext uri="{FF2B5EF4-FFF2-40B4-BE49-F238E27FC236}">
                    <a16:creationId xmlns:a16="http://schemas.microsoft.com/office/drawing/2014/main" id="{37C5AAA1-7886-83FC-589A-7D072C2C22F2}"/>
                  </a:ext>
                </a:extLst>
              </p:cNvPr>
              <p:cNvGrpSpPr/>
              <p:nvPr/>
            </p:nvGrpSpPr>
            <p:grpSpPr>
              <a:xfrm>
                <a:off x="4531709" y="2994183"/>
                <a:ext cx="75628" cy="75723"/>
                <a:chOff x="4531709" y="2994183"/>
                <a:chExt cx="75628" cy="75723"/>
              </a:xfrm>
            </p:grpSpPr>
            <p:sp>
              <p:nvSpPr>
                <p:cNvPr id="16575" name="Freeform: Shape 16574">
                  <a:extLst>
                    <a:ext uri="{FF2B5EF4-FFF2-40B4-BE49-F238E27FC236}">
                      <a16:creationId xmlns:a16="http://schemas.microsoft.com/office/drawing/2014/main" id="{2B78EF77-F8F3-6A54-232E-E193AD5D2ED9}"/>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6" name="Freeform: Shape 16575">
                  <a:extLst>
                    <a:ext uri="{FF2B5EF4-FFF2-40B4-BE49-F238E27FC236}">
                      <a16:creationId xmlns:a16="http://schemas.microsoft.com/office/drawing/2014/main" id="{5DCE4F0B-AE8E-C910-B3AE-0EA240E92ADA}"/>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0" name="Graphic 1391">
                <a:extLst>
                  <a:ext uri="{FF2B5EF4-FFF2-40B4-BE49-F238E27FC236}">
                    <a16:creationId xmlns:a16="http://schemas.microsoft.com/office/drawing/2014/main" id="{D5DFACC8-E89B-062A-1975-760C4CDEC5A1}"/>
                  </a:ext>
                </a:extLst>
              </p:cNvPr>
              <p:cNvGrpSpPr/>
              <p:nvPr/>
            </p:nvGrpSpPr>
            <p:grpSpPr>
              <a:xfrm>
                <a:off x="4523136" y="2978372"/>
                <a:ext cx="75723" cy="75723"/>
                <a:chOff x="4523136" y="2978372"/>
                <a:chExt cx="75723" cy="75723"/>
              </a:xfrm>
            </p:grpSpPr>
            <p:sp>
              <p:nvSpPr>
                <p:cNvPr id="16573" name="Freeform: Shape 16572">
                  <a:extLst>
                    <a:ext uri="{FF2B5EF4-FFF2-40B4-BE49-F238E27FC236}">
                      <a16:creationId xmlns:a16="http://schemas.microsoft.com/office/drawing/2014/main" id="{F29611A6-0ACB-D0EA-17BC-888622CCB774}"/>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4" name="Freeform: Shape 16573">
                  <a:extLst>
                    <a:ext uri="{FF2B5EF4-FFF2-40B4-BE49-F238E27FC236}">
                      <a16:creationId xmlns:a16="http://schemas.microsoft.com/office/drawing/2014/main" id="{8AEFB799-DD70-77D4-619A-9224C166C53D}"/>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1" name="Graphic 1391">
                <a:extLst>
                  <a:ext uri="{FF2B5EF4-FFF2-40B4-BE49-F238E27FC236}">
                    <a16:creationId xmlns:a16="http://schemas.microsoft.com/office/drawing/2014/main" id="{1B754BF0-B50C-C251-26A4-8F81494C85D7}"/>
                  </a:ext>
                </a:extLst>
              </p:cNvPr>
              <p:cNvGrpSpPr/>
              <p:nvPr/>
            </p:nvGrpSpPr>
            <p:grpSpPr>
              <a:xfrm>
                <a:off x="4521517" y="2956369"/>
                <a:ext cx="75723" cy="75628"/>
                <a:chOff x="4521517" y="2956369"/>
                <a:chExt cx="75723" cy="75628"/>
              </a:xfrm>
            </p:grpSpPr>
            <p:sp>
              <p:nvSpPr>
                <p:cNvPr id="16571" name="Freeform: Shape 16570">
                  <a:extLst>
                    <a:ext uri="{FF2B5EF4-FFF2-40B4-BE49-F238E27FC236}">
                      <a16:creationId xmlns:a16="http://schemas.microsoft.com/office/drawing/2014/main" id="{B5443B79-06F7-AA5B-BA09-CAEFFB4BC485}"/>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2" name="Freeform: Shape 16571">
                  <a:extLst>
                    <a:ext uri="{FF2B5EF4-FFF2-40B4-BE49-F238E27FC236}">
                      <a16:creationId xmlns:a16="http://schemas.microsoft.com/office/drawing/2014/main" id="{FF910C67-2808-7C78-AA6C-A969A97AA8D1}"/>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2" name="Graphic 1391">
                <a:extLst>
                  <a:ext uri="{FF2B5EF4-FFF2-40B4-BE49-F238E27FC236}">
                    <a16:creationId xmlns:a16="http://schemas.microsoft.com/office/drawing/2014/main" id="{2F2FFF8D-4B21-48DF-0F08-DE22CA93B40C}"/>
                  </a:ext>
                </a:extLst>
              </p:cNvPr>
              <p:cNvGrpSpPr/>
              <p:nvPr/>
            </p:nvGrpSpPr>
            <p:grpSpPr>
              <a:xfrm>
                <a:off x="4195286" y="2825210"/>
                <a:ext cx="75628" cy="75628"/>
                <a:chOff x="4195286" y="2825210"/>
                <a:chExt cx="75628" cy="75628"/>
              </a:xfrm>
            </p:grpSpPr>
            <p:sp>
              <p:nvSpPr>
                <p:cNvPr id="16569" name="Freeform: Shape 16568">
                  <a:extLst>
                    <a:ext uri="{FF2B5EF4-FFF2-40B4-BE49-F238E27FC236}">
                      <a16:creationId xmlns:a16="http://schemas.microsoft.com/office/drawing/2014/main" id="{049B71F5-9529-7FB6-7C8F-B1FF3891DF29}"/>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0" name="Freeform: Shape 16569">
                  <a:extLst>
                    <a:ext uri="{FF2B5EF4-FFF2-40B4-BE49-F238E27FC236}">
                      <a16:creationId xmlns:a16="http://schemas.microsoft.com/office/drawing/2014/main" id="{EE2B711C-914D-A416-D6CD-64E39B013D40}"/>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3" name="Graphic 1391">
                <a:extLst>
                  <a:ext uri="{FF2B5EF4-FFF2-40B4-BE49-F238E27FC236}">
                    <a16:creationId xmlns:a16="http://schemas.microsoft.com/office/drawing/2014/main" id="{D5F2106C-CA6D-EE7D-9591-95909BB3A5CC}"/>
                  </a:ext>
                </a:extLst>
              </p:cNvPr>
              <p:cNvGrpSpPr/>
              <p:nvPr/>
            </p:nvGrpSpPr>
            <p:grpSpPr>
              <a:xfrm>
                <a:off x="3800475" y="2590800"/>
                <a:ext cx="75723" cy="75723"/>
                <a:chOff x="3800475" y="2590800"/>
                <a:chExt cx="75723" cy="75723"/>
              </a:xfrm>
            </p:grpSpPr>
            <p:sp>
              <p:nvSpPr>
                <p:cNvPr id="16567" name="Freeform: Shape 16566">
                  <a:extLst>
                    <a:ext uri="{FF2B5EF4-FFF2-40B4-BE49-F238E27FC236}">
                      <a16:creationId xmlns:a16="http://schemas.microsoft.com/office/drawing/2014/main" id="{D183DF04-DC84-1DEB-DF6A-0DC6BEAC1C8A}"/>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8" name="Freeform: Shape 16567">
                  <a:extLst>
                    <a:ext uri="{FF2B5EF4-FFF2-40B4-BE49-F238E27FC236}">
                      <a16:creationId xmlns:a16="http://schemas.microsoft.com/office/drawing/2014/main" id="{53B61AE8-9335-6BA7-9871-6A4C29E3D41B}"/>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4" name="Graphic 1391">
                <a:extLst>
                  <a:ext uri="{FF2B5EF4-FFF2-40B4-BE49-F238E27FC236}">
                    <a16:creationId xmlns:a16="http://schemas.microsoft.com/office/drawing/2014/main" id="{412C9938-86B2-46A3-268B-29F049E30AAA}"/>
                  </a:ext>
                </a:extLst>
              </p:cNvPr>
              <p:cNvGrpSpPr/>
              <p:nvPr/>
            </p:nvGrpSpPr>
            <p:grpSpPr>
              <a:xfrm>
                <a:off x="5280564" y="3536918"/>
                <a:ext cx="75723" cy="75723"/>
                <a:chOff x="5280564" y="3536918"/>
                <a:chExt cx="75723" cy="75723"/>
              </a:xfrm>
            </p:grpSpPr>
            <p:sp>
              <p:nvSpPr>
                <p:cNvPr id="16565" name="Freeform: Shape 16564">
                  <a:extLst>
                    <a:ext uri="{FF2B5EF4-FFF2-40B4-BE49-F238E27FC236}">
                      <a16:creationId xmlns:a16="http://schemas.microsoft.com/office/drawing/2014/main" id="{CA538BD3-60DF-855D-9A92-AAB99CB97E57}"/>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6" name="Freeform: Shape 16565">
                  <a:extLst>
                    <a:ext uri="{FF2B5EF4-FFF2-40B4-BE49-F238E27FC236}">
                      <a16:creationId xmlns:a16="http://schemas.microsoft.com/office/drawing/2014/main" id="{8C7A9AE3-0366-F4EB-653E-41C081913DF5}"/>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5" name="Graphic 1391">
                <a:extLst>
                  <a:ext uri="{FF2B5EF4-FFF2-40B4-BE49-F238E27FC236}">
                    <a16:creationId xmlns:a16="http://schemas.microsoft.com/office/drawing/2014/main" id="{CF1089E0-81FA-1A2E-5BEF-B18A7DC72D6C}"/>
                  </a:ext>
                </a:extLst>
              </p:cNvPr>
              <p:cNvGrpSpPr/>
              <p:nvPr/>
            </p:nvGrpSpPr>
            <p:grpSpPr>
              <a:xfrm>
                <a:off x="5298852" y="3536918"/>
                <a:ext cx="75723" cy="75723"/>
                <a:chOff x="5298852" y="3536918"/>
                <a:chExt cx="75723" cy="75723"/>
              </a:xfrm>
            </p:grpSpPr>
            <p:sp>
              <p:nvSpPr>
                <p:cNvPr id="16563" name="Freeform: Shape 16562">
                  <a:extLst>
                    <a:ext uri="{FF2B5EF4-FFF2-40B4-BE49-F238E27FC236}">
                      <a16:creationId xmlns:a16="http://schemas.microsoft.com/office/drawing/2014/main" id="{C693C009-3A15-16CD-78B8-71E4D531D9D2}"/>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4" name="Freeform: Shape 16563">
                  <a:extLst>
                    <a:ext uri="{FF2B5EF4-FFF2-40B4-BE49-F238E27FC236}">
                      <a16:creationId xmlns:a16="http://schemas.microsoft.com/office/drawing/2014/main" id="{ACC0DFF7-247A-F19B-CFC7-852DB51CD624}"/>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6" name="Graphic 1391">
                <a:extLst>
                  <a:ext uri="{FF2B5EF4-FFF2-40B4-BE49-F238E27FC236}">
                    <a16:creationId xmlns:a16="http://schemas.microsoft.com/office/drawing/2014/main" id="{2E4FFB64-F2F5-73CB-A994-7A638B926FF2}"/>
                  </a:ext>
                </a:extLst>
              </p:cNvPr>
              <p:cNvGrpSpPr/>
              <p:nvPr/>
            </p:nvGrpSpPr>
            <p:grpSpPr>
              <a:xfrm>
                <a:off x="5305044" y="3573018"/>
                <a:ext cx="75723" cy="75628"/>
                <a:chOff x="5305044" y="3573018"/>
                <a:chExt cx="75723" cy="75628"/>
              </a:xfrm>
            </p:grpSpPr>
            <p:sp>
              <p:nvSpPr>
                <p:cNvPr id="16561" name="Freeform: Shape 16560">
                  <a:extLst>
                    <a:ext uri="{FF2B5EF4-FFF2-40B4-BE49-F238E27FC236}">
                      <a16:creationId xmlns:a16="http://schemas.microsoft.com/office/drawing/2014/main" id="{96DCC175-6DEE-59E4-F655-57C71D0B6FB3}"/>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2" name="Freeform: Shape 16561">
                  <a:extLst>
                    <a:ext uri="{FF2B5EF4-FFF2-40B4-BE49-F238E27FC236}">
                      <a16:creationId xmlns:a16="http://schemas.microsoft.com/office/drawing/2014/main" id="{045524C2-F724-9D51-4C1D-1CBB60CCE762}"/>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7" name="Graphic 1391">
                <a:extLst>
                  <a:ext uri="{FF2B5EF4-FFF2-40B4-BE49-F238E27FC236}">
                    <a16:creationId xmlns:a16="http://schemas.microsoft.com/office/drawing/2014/main" id="{8E80DBC8-CF5E-EA47-1FD0-3566764D4359}"/>
                  </a:ext>
                </a:extLst>
              </p:cNvPr>
              <p:cNvGrpSpPr/>
              <p:nvPr/>
            </p:nvGrpSpPr>
            <p:grpSpPr>
              <a:xfrm>
                <a:off x="5314473" y="3585114"/>
                <a:ext cx="75723" cy="75723"/>
                <a:chOff x="5314473" y="3585114"/>
                <a:chExt cx="75723" cy="75723"/>
              </a:xfrm>
            </p:grpSpPr>
            <p:sp>
              <p:nvSpPr>
                <p:cNvPr id="16559" name="Freeform: Shape 16558">
                  <a:extLst>
                    <a:ext uri="{FF2B5EF4-FFF2-40B4-BE49-F238E27FC236}">
                      <a16:creationId xmlns:a16="http://schemas.microsoft.com/office/drawing/2014/main" id="{9C2B94E5-6049-829F-694F-CCDB7B1DB42D}"/>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0" name="Freeform: Shape 16559">
                  <a:extLst>
                    <a:ext uri="{FF2B5EF4-FFF2-40B4-BE49-F238E27FC236}">
                      <a16:creationId xmlns:a16="http://schemas.microsoft.com/office/drawing/2014/main" id="{DB4E01CC-7D7E-0B0A-2BF6-A2ED0D56DE5F}"/>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8" name="Graphic 1391">
                <a:extLst>
                  <a:ext uri="{FF2B5EF4-FFF2-40B4-BE49-F238E27FC236}">
                    <a16:creationId xmlns:a16="http://schemas.microsoft.com/office/drawing/2014/main" id="{8EA5C8EB-C69B-07FD-79E3-C429BB656CBE}"/>
                  </a:ext>
                </a:extLst>
              </p:cNvPr>
              <p:cNvGrpSpPr/>
              <p:nvPr/>
            </p:nvGrpSpPr>
            <p:grpSpPr>
              <a:xfrm>
                <a:off x="5328380" y="3585114"/>
                <a:ext cx="75723" cy="75723"/>
                <a:chOff x="5328380" y="3585114"/>
                <a:chExt cx="75723" cy="75723"/>
              </a:xfrm>
            </p:grpSpPr>
            <p:sp>
              <p:nvSpPr>
                <p:cNvPr id="16557" name="Freeform: Shape 16556">
                  <a:extLst>
                    <a:ext uri="{FF2B5EF4-FFF2-40B4-BE49-F238E27FC236}">
                      <a16:creationId xmlns:a16="http://schemas.microsoft.com/office/drawing/2014/main" id="{41A243C9-C60C-E5A8-5B8E-A1150A05678A}"/>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8" name="Freeform: Shape 16557">
                  <a:extLst>
                    <a:ext uri="{FF2B5EF4-FFF2-40B4-BE49-F238E27FC236}">
                      <a16:creationId xmlns:a16="http://schemas.microsoft.com/office/drawing/2014/main" id="{063E531E-330A-3865-1A02-C0AA9082B7DF}"/>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9" name="Graphic 1391">
                <a:extLst>
                  <a:ext uri="{FF2B5EF4-FFF2-40B4-BE49-F238E27FC236}">
                    <a16:creationId xmlns:a16="http://schemas.microsoft.com/office/drawing/2014/main" id="{F131B881-95E4-0E5C-EE11-158258D3CBE7}"/>
                  </a:ext>
                </a:extLst>
              </p:cNvPr>
              <p:cNvGrpSpPr/>
              <p:nvPr/>
            </p:nvGrpSpPr>
            <p:grpSpPr>
              <a:xfrm>
                <a:off x="5342382" y="3585114"/>
                <a:ext cx="75628" cy="75723"/>
                <a:chOff x="5342382" y="3585114"/>
                <a:chExt cx="75628" cy="75723"/>
              </a:xfrm>
            </p:grpSpPr>
            <p:sp>
              <p:nvSpPr>
                <p:cNvPr id="16555" name="Freeform: Shape 16554">
                  <a:extLst>
                    <a:ext uri="{FF2B5EF4-FFF2-40B4-BE49-F238E27FC236}">
                      <a16:creationId xmlns:a16="http://schemas.microsoft.com/office/drawing/2014/main" id="{1D1CA8E3-662D-9CAE-BFE8-5D99D8A252A5}"/>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6" name="Freeform: Shape 16555">
                  <a:extLst>
                    <a:ext uri="{FF2B5EF4-FFF2-40B4-BE49-F238E27FC236}">
                      <a16:creationId xmlns:a16="http://schemas.microsoft.com/office/drawing/2014/main" id="{A2B8AEC2-DD5D-08B8-69A3-5C79EB6FC104}"/>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0" name="Graphic 1391">
                <a:extLst>
                  <a:ext uri="{FF2B5EF4-FFF2-40B4-BE49-F238E27FC236}">
                    <a16:creationId xmlns:a16="http://schemas.microsoft.com/office/drawing/2014/main" id="{BC6338FA-191C-747F-01FB-AF20DD4424AE}"/>
                  </a:ext>
                </a:extLst>
              </p:cNvPr>
              <p:cNvGrpSpPr/>
              <p:nvPr/>
            </p:nvGrpSpPr>
            <p:grpSpPr>
              <a:xfrm>
                <a:off x="5356288" y="3585114"/>
                <a:ext cx="75723" cy="75723"/>
                <a:chOff x="5356288" y="3585114"/>
                <a:chExt cx="75723" cy="75723"/>
              </a:xfrm>
            </p:grpSpPr>
            <p:sp>
              <p:nvSpPr>
                <p:cNvPr id="16553" name="Freeform: Shape 16552">
                  <a:extLst>
                    <a:ext uri="{FF2B5EF4-FFF2-40B4-BE49-F238E27FC236}">
                      <a16:creationId xmlns:a16="http://schemas.microsoft.com/office/drawing/2014/main" id="{5993BA38-FCF4-CEA5-A86A-0E0B705C14FF}"/>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4" name="Freeform: Shape 16553">
                  <a:extLst>
                    <a:ext uri="{FF2B5EF4-FFF2-40B4-BE49-F238E27FC236}">
                      <a16:creationId xmlns:a16="http://schemas.microsoft.com/office/drawing/2014/main" id="{40FA03D9-AD6F-805E-0DAD-F4C3F304C450}"/>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1" name="Graphic 1391">
                <a:extLst>
                  <a:ext uri="{FF2B5EF4-FFF2-40B4-BE49-F238E27FC236}">
                    <a16:creationId xmlns:a16="http://schemas.microsoft.com/office/drawing/2014/main" id="{1820868D-EC71-79C3-4C20-1D7ABAB65577}"/>
                  </a:ext>
                </a:extLst>
              </p:cNvPr>
              <p:cNvGrpSpPr/>
              <p:nvPr/>
            </p:nvGrpSpPr>
            <p:grpSpPr>
              <a:xfrm>
                <a:off x="5671566" y="3726180"/>
                <a:ext cx="75723" cy="75723"/>
                <a:chOff x="5671566" y="3726180"/>
                <a:chExt cx="75723" cy="75723"/>
              </a:xfrm>
            </p:grpSpPr>
            <p:sp>
              <p:nvSpPr>
                <p:cNvPr id="16551" name="Freeform: Shape 16550">
                  <a:extLst>
                    <a:ext uri="{FF2B5EF4-FFF2-40B4-BE49-F238E27FC236}">
                      <a16:creationId xmlns:a16="http://schemas.microsoft.com/office/drawing/2014/main" id="{19E61A43-AC02-50F9-7D0F-44A7338EACD5}"/>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2" name="Freeform: Shape 16551">
                  <a:extLst>
                    <a:ext uri="{FF2B5EF4-FFF2-40B4-BE49-F238E27FC236}">
                      <a16:creationId xmlns:a16="http://schemas.microsoft.com/office/drawing/2014/main" id="{AA83F692-CDEE-212E-9B27-510011B27480}"/>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2" name="Graphic 1391">
                <a:extLst>
                  <a:ext uri="{FF2B5EF4-FFF2-40B4-BE49-F238E27FC236}">
                    <a16:creationId xmlns:a16="http://schemas.microsoft.com/office/drawing/2014/main" id="{A94241F6-D60F-72B4-2C19-D829A0FD7066}"/>
                  </a:ext>
                </a:extLst>
              </p:cNvPr>
              <p:cNvGrpSpPr/>
              <p:nvPr/>
            </p:nvGrpSpPr>
            <p:grpSpPr>
              <a:xfrm>
                <a:off x="5682900" y="3735514"/>
                <a:ext cx="75723" cy="75723"/>
                <a:chOff x="5682900" y="3735514"/>
                <a:chExt cx="75723" cy="75723"/>
              </a:xfrm>
            </p:grpSpPr>
            <p:sp>
              <p:nvSpPr>
                <p:cNvPr id="16549" name="Freeform: Shape 16548">
                  <a:extLst>
                    <a:ext uri="{FF2B5EF4-FFF2-40B4-BE49-F238E27FC236}">
                      <a16:creationId xmlns:a16="http://schemas.microsoft.com/office/drawing/2014/main" id="{340F4BD9-E03B-9986-6782-86B5F81BCC28}"/>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0" name="Freeform: Shape 16549">
                  <a:extLst>
                    <a:ext uri="{FF2B5EF4-FFF2-40B4-BE49-F238E27FC236}">
                      <a16:creationId xmlns:a16="http://schemas.microsoft.com/office/drawing/2014/main" id="{EB48D99D-3E53-B318-5780-C1AEC0FE37D6}"/>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3" name="Graphic 1391">
                <a:extLst>
                  <a:ext uri="{FF2B5EF4-FFF2-40B4-BE49-F238E27FC236}">
                    <a16:creationId xmlns:a16="http://schemas.microsoft.com/office/drawing/2014/main" id="{DF6A31EF-E4FE-AC2E-03FF-B57DE6763055}"/>
                  </a:ext>
                </a:extLst>
              </p:cNvPr>
              <p:cNvGrpSpPr/>
              <p:nvPr/>
            </p:nvGrpSpPr>
            <p:grpSpPr>
              <a:xfrm>
                <a:off x="5692235" y="3735514"/>
                <a:ext cx="75723" cy="75723"/>
                <a:chOff x="5692235" y="3735514"/>
                <a:chExt cx="75723" cy="75723"/>
              </a:xfrm>
            </p:grpSpPr>
            <p:sp>
              <p:nvSpPr>
                <p:cNvPr id="16547" name="Freeform: Shape 16546">
                  <a:extLst>
                    <a:ext uri="{FF2B5EF4-FFF2-40B4-BE49-F238E27FC236}">
                      <a16:creationId xmlns:a16="http://schemas.microsoft.com/office/drawing/2014/main" id="{37BF376E-C2F2-9A4A-3999-7A38FCB9F3D0}"/>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8" name="Freeform: Shape 16547">
                  <a:extLst>
                    <a:ext uri="{FF2B5EF4-FFF2-40B4-BE49-F238E27FC236}">
                      <a16:creationId xmlns:a16="http://schemas.microsoft.com/office/drawing/2014/main" id="{5D927279-7E45-DA74-D0B2-1BD9E4588738}"/>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4" name="Graphic 1391">
                <a:extLst>
                  <a:ext uri="{FF2B5EF4-FFF2-40B4-BE49-F238E27FC236}">
                    <a16:creationId xmlns:a16="http://schemas.microsoft.com/office/drawing/2014/main" id="{2D033A89-7D1A-3040-B8DF-0BB4761794FF}"/>
                  </a:ext>
                </a:extLst>
              </p:cNvPr>
              <p:cNvGrpSpPr/>
              <p:nvPr/>
            </p:nvGrpSpPr>
            <p:grpSpPr>
              <a:xfrm>
                <a:off x="7189470" y="4189952"/>
                <a:ext cx="75723" cy="75723"/>
                <a:chOff x="7189470" y="4189952"/>
                <a:chExt cx="75723" cy="75723"/>
              </a:xfrm>
            </p:grpSpPr>
            <p:sp>
              <p:nvSpPr>
                <p:cNvPr id="16545" name="Freeform: Shape 16544">
                  <a:extLst>
                    <a:ext uri="{FF2B5EF4-FFF2-40B4-BE49-F238E27FC236}">
                      <a16:creationId xmlns:a16="http://schemas.microsoft.com/office/drawing/2014/main" id="{967865E4-4E35-9ACA-C6B9-B401131D6E01}"/>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6" name="Freeform: Shape 16545">
                  <a:extLst>
                    <a:ext uri="{FF2B5EF4-FFF2-40B4-BE49-F238E27FC236}">
                      <a16:creationId xmlns:a16="http://schemas.microsoft.com/office/drawing/2014/main" id="{8BF9FDEB-B256-A77D-348A-D62C69E23B23}"/>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482" name="Freeform: Shape 16481">
              <a:extLst>
                <a:ext uri="{FF2B5EF4-FFF2-40B4-BE49-F238E27FC236}">
                  <a16:creationId xmlns:a16="http://schemas.microsoft.com/office/drawing/2014/main" id="{7C4820D0-7E3B-72CC-1B29-6E1CA5611779}"/>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7" name="Group 15696" hidden="1">
            <a:extLst>
              <a:ext uri="{FF2B5EF4-FFF2-40B4-BE49-F238E27FC236}">
                <a16:creationId xmlns:a16="http://schemas.microsoft.com/office/drawing/2014/main" id="{5D565EC1-62A2-E97E-DDF3-F741A57DCAE3}"/>
              </a:ext>
            </a:extLst>
          </p:cNvPr>
          <p:cNvGrpSpPr/>
          <p:nvPr/>
        </p:nvGrpSpPr>
        <p:grpSpPr>
          <a:xfrm>
            <a:off x="670502" y="1444605"/>
            <a:ext cx="6833677" cy="2159001"/>
            <a:chOff x="3486150" y="2509837"/>
            <a:chExt cx="5217128" cy="1841658"/>
          </a:xfrm>
        </p:grpSpPr>
        <p:grpSp>
          <p:nvGrpSpPr>
            <p:cNvPr id="15967" name="Graphic 745">
              <a:extLst>
                <a:ext uri="{FF2B5EF4-FFF2-40B4-BE49-F238E27FC236}">
                  <a16:creationId xmlns:a16="http://schemas.microsoft.com/office/drawing/2014/main" id="{771718AE-9C9D-DB81-21DA-C1558AE22B2D}"/>
                </a:ext>
              </a:extLst>
            </p:cNvPr>
            <p:cNvGrpSpPr/>
            <p:nvPr/>
          </p:nvGrpSpPr>
          <p:grpSpPr>
            <a:xfrm>
              <a:off x="3486150" y="2509837"/>
              <a:ext cx="5217128" cy="1841658"/>
              <a:chOff x="3486150" y="2509837"/>
              <a:chExt cx="5217128" cy="1841658"/>
            </a:xfrm>
          </p:grpSpPr>
          <p:grpSp>
            <p:nvGrpSpPr>
              <p:cNvPr id="15969" name="Graphic 745">
                <a:extLst>
                  <a:ext uri="{FF2B5EF4-FFF2-40B4-BE49-F238E27FC236}">
                    <a16:creationId xmlns:a16="http://schemas.microsoft.com/office/drawing/2014/main" id="{0429EC65-4F1E-4659-7C55-8EFF89FD99D4}"/>
                  </a:ext>
                </a:extLst>
              </p:cNvPr>
              <p:cNvGrpSpPr/>
              <p:nvPr/>
            </p:nvGrpSpPr>
            <p:grpSpPr>
              <a:xfrm>
                <a:off x="8627554" y="4275772"/>
                <a:ext cx="75723" cy="75723"/>
                <a:chOff x="8627554" y="4275772"/>
                <a:chExt cx="75723" cy="75723"/>
              </a:xfrm>
            </p:grpSpPr>
            <p:sp>
              <p:nvSpPr>
                <p:cNvPr id="16276" name="Freeform: Shape 16275">
                  <a:extLst>
                    <a:ext uri="{FF2B5EF4-FFF2-40B4-BE49-F238E27FC236}">
                      <a16:creationId xmlns:a16="http://schemas.microsoft.com/office/drawing/2014/main" id="{91F75EDA-C84D-EBCD-42FF-E7AAB47E630D}"/>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7" name="Freeform: Shape 16276">
                  <a:extLst>
                    <a:ext uri="{FF2B5EF4-FFF2-40B4-BE49-F238E27FC236}">
                      <a16:creationId xmlns:a16="http://schemas.microsoft.com/office/drawing/2014/main" id="{DB829796-11AB-2360-BDA4-0E067DEDAE1D}"/>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0" name="Graphic 745">
                <a:extLst>
                  <a:ext uri="{FF2B5EF4-FFF2-40B4-BE49-F238E27FC236}">
                    <a16:creationId xmlns:a16="http://schemas.microsoft.com/office/drawing/2014/main" id="{F7AAF3AE-C958-A276-5B6E-440BF0AC5C7B}"/>
                  </a:ext>
                </a:extLst>
              </p:cNvPr>
              <p:cNvGrpSpPr/>
              <p:nvPr/>
            </p:nvGrpSpPr>
            <p:grpSpPr>
              <a:xfrm>
                <a:off x="8617458" y="4275772"/>
                <a:ext cx="75628" cy="75723"/>
                <a:chOff x="8617458" y="4275772"/>
                <a:chExt cx="75628" cy="75723"/>
              </a:xfrm>
            </p:grpSpPr>
            <p:sp>
              <p:nvSpPr>
                <p:cNvPr id="16274" name="Freeform: Shape 16273">
                  <a:extLst>
                    <a:ext uri="{FF2B5EF4-FFF2-40B4-BE49-F238E27FC236}">
                      <a16:creationId xmlns:a16="http://schemas.microsoft.com/office/drawing/2014/main" id="{96EF2D75-8340-D5F3-B326-3BB3E0213341}"/>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5" name="Freeform: Shape 16274">
                  <a:extLst>
                    <a:ext uri="{FF2B5EF4-FFF2-40B4-BE49-F238E27FC236}">
                      <a16:creationId xmlns:a16="http://schemas.microsoft.com/office/drawing/2014/main" id="{AA3F5D0E-C2B8-74DF-83F9-31224747D484}"/>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1" name="Graphic 745">
                <a:extLst>
                  <a:ext uri="{FF2B5EF4-FFF2-40B4-BE49-F238E27FC236}">
                    <a16:creationId xmlns:a16="http://schemas.microsoft.com/office/drawing/2014/main" id="{DCADBACE-169E-A8F8-F5C4-33971803B4A3}"/>
                  </a:ext>
                </a:extLst>
              </p:cNvPr>
              <p:cNvGrpSpPr/>
              <p:nvPr/>
            </p:nvGrpSpPr>
            <p:grpSpPr>
              <a:xfrm>
                <a:off x="8244268" y="4275772"/>
                <a:ext cx="75628" cy="75723"/>
                <a:chOff x="8244268" y="4275772"/>
                <a:chExt cx="75628" cy="75723"/>
              </a:xfrm>
            </p:grpSpPr>
            <p:sp>
              <p:nvSpPr>
                <p:cNvPr id="16272" name="Freeform: Shape 16271">
                  <a:extLst>
                    <a:ext uri="{FF2B5EF4-FFF2-40B4-BE49-F238E27FC236}">
                      <a16:creationId xmlns:a16="http://schemas.microsoft.com/office/drawing/2014/main" id="{70763B81-85E3-D2F7-71CC-BE0DA3A432BF}"/>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3" name="Freeform: Shape 16272">
                  <a:extLst>
                    <a:ext uri="{FF2B5EF4-FFF2-40B4-BE49-F238E27FC236}">
                      <a16:creationId xmlns:a16="http://schemas.microsoft.com/office/drawing/2014/main" id="{A435E3EC-B154-E7F5-C2C9-D060F536E2F8}"/>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2" name="Graphic 745">
                <a:extLst>
                  <a:ext uri="{FF2B5EF4-FFF2-40B4-BE49-F238E27FC236}">
                    <a16:creationId xmlns:a16="http://schemas.microsoft.com/office/drawing/2014/main" id="{9505E036-686F-D43A-CD8A-49FF9AEC7BD1}"/>
                  </a:ext>
                </a:extLst>
              </p:cNvPr>
              <p:cNvGrpSpPr/>
              <p:nvPr/>
            </p:nvGrpSpPr>
            <p:grpSpPr>
              <a:xfrm>
                <a:off x="8139684" y="4275772"/>
                <a:ext cx="75723" cy="75723"/>
                <a:chOff x="8139684" y="4275772"/>
                <a:chExt cx="75723" cy="75723"/>
              </a:xfrm>
            </p:grpSpPr>
            <p:sp>
              <p:nvSpPr>
                <p:cNvPr id="16270" name="Freeform: Shape 16269">
                  <a:extLst>
                    <a:ext uri="{FF2B5EF4-FFF2-40B4-BE49-F238E27FC236}">
                      <a16:creationId xmlns:a16="http://schemas.microsoft.com/office/drawing/2014/main" id="{F0C1278B-1138-51BA-C167-6998FD4E29DF}"/>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1" name="Freeform: Shape 16270">
                  <a:extLst>
                    <a:ext uri="{FF2B5EF4-FFF2-40B4-BE49-F238E27FC236}">
                      <a16:creationId xmlns:a16="http://schemas.microsoft.com/office/drawing/2014/main" id="{94BC29EA-FDB9-BD23-008E-5133EF096AE1}"/>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3" name="Graphic 745">
                <a:extLst>
                  <a:ext uri="{FF2B5EF4-FFF2-40B4-BE49-F238E27FC236}">
                    <a16:creationId xmlns:a16="http://schemas.microsoft.com/office/drawing/2014/main" id="{19E8DB8F-2B5B-8876-F228-B4EB659DD6AF}"/>
                  </a:ext>
                </a:extLst>
              </p:cNvPr>
              <p:cNvGrpSpPr/>
              <p:nvPr/>
            </p:nvGrpSpPr>
            <p:grpSpPr>
              <a:xfrm>
                <a:off x="7737157" y="4275772"/>
                <a:ext cx="75723" cy="75723"/>
                <a:chOff x="7737157" y="4275772"/>
                <a:chExt cx="75723" cy="75723"/>
              </a:xfrm>
            </p:grpSpPr>
            <p:sp>
              <p:nvSpPr>
                <p:cNvPr id="16268" name="Freeform: Shape 16267">
                  <a:extLst>
                    <a:ext uri="{FF2B5EF4-FFF2-40B4-BE49-F238E27FC236}">
                      <a16:creationId xmlns:a16="http://schemas.microsoft.com/office/drawing/2014/main" id="{5670B630-5C2A-5C19-0F18-320F453564FC}"/>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9" name="Freeform: Shape 16268">
                  <a:extLst>
                    <a:ext uri="{FF2B5EF4-FFF2-40B4-BE49-F238E27FC236}">
                      <a16:creationId xmlns:a16="http://schemas.microsoft.com/office/drawing/2014/main" id="{8BDB177D-3B1F-68A6-4D44-FBDD9764626B}"/>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4" name="Graphic 745">
                <a:extLst>
                  <a:ext uri="{FF2B5EF4-FFF2-40B4-BE49-F238E27FC236}">
                    <a16:creationId xmlns:a16="http://schemas.microsoft.com/office/drawing/2014/main" id="{87A57614-BBB9-694C-74DD-E8EF4C5990AB}"/>
                  </a:ext>
                </a:extLst>
              </p:cNvPr>
              <p:cNvGrpSpPr/>
              <p:nvPr/>
            </p:nvGrpSpPr>
            <p:grpSpPr>
              <a:xfrm>
                <a:off x="7382160" y="4275772"/>
                <a:ext cx="75628" cy="75723"/>
                <a:chOff x="7382160" y="4275772"/>
                <a:chExt cx="75628" cy="75723"/>
              </a:xfrm>
            </p:grpSpPr>
            <p:sp>
              <p:nvSpPr>
                <p:cNvPr id="16266" name="Freeform: Shape 16265">
                  <a:extLst>
                    <a:ext uri="{FF2B5EF4-FFF2-40B4-BE49-F238E27FC236}">
                      <a16:creationId xmlns:a16="http://schemas.microsoft.com/office/drawing/2014/main" id="{A56C006F-0B39-24C8-BC52-F51630F6447B}"/>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7" name="Freeform: Shape 16266">
                  <a:extLst>
                    <a:ext uri="{FF2B5EF4-FFF2-40B4-BE49-F238E27FC236}">
                      <a16:creationId xmlns:a16="http://schemas.microsoft.com/office/drawing/2014/main" id="{5AE415A4-0997-33AC-6CEC-CDAED2362576}"/>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5" name="Graphic 745">
                <a:extLst>
                  <a:ext uri="{FF2B5EF4-FFF2-40B4-BE49-F238E27FC236}">
                    <a16:creationId xmlns:a16="http://schemas.microsoft.com/office/drawing/2014/main" id="{E164F3BD-08EB-DCD4-4340-EB190256D78C}"/>
                  </a:ext>
                </a:extLst>
              </p:cNvPr>
              <p:cNvGrpSpPr/>
              <p:nvPr/>
            </p:nvGrpSpPr>
            <p:grpSpPr>
              <a:xfrm>
                <a:off x="7337964" y="4242339"/>
                <a:ext cx="75723" cy="75723"/>
                <a:chOff x="7337964" y="4242339"/>
                <a:chExt cx="75723" cy="75723"/>
              </a:xfrm>
            </p:grpSpPr>
            <p:sp>
              <p:nvSpPr>
                <p:cNvPr id="16264" name="Freeform: Shape 16263">
                  <a:extLst>
                    <a:ext uri="{FF2B5EF4-FFF2-40B4-BE49-F238E27FC236}">
                      <a16:creationId xmlns:a16="http://schemas.microsoft.com/office/drawing/2014/main" id="{0BBEBB81-B7FC-9A40-CFD2-860D81B346BD}"/>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5" name="Freeform: Shape 16264">
                  <a:extLst>
                    <a:ext uri="{FF2B5EF4-FFF2-40B4-BE49-F238E27FC236}">
                      <a16:creationId xmlns:a16="http://schemas.microsoft.com/office/drawing/2014/main" id="{B0BCE898-59D2-80AA-6F31-6D6F45AB69E5}"/>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6" name="Graphic 745">
                <a:extLst>
                  <a:ext uri="{FF2B5EF4-FFF2-40B4-BE49-F238E27FC236}">
                    <a16:creationId xmlns:a16="http://schemas.microsoft.com/office/drawing/2014/main" id="{560F0868-797D-4429-C270-F21788949F7B}"/>
                  </a:ext>
                </a:extLst>
              </p:cNvPr>
              <p:cNvGrpSpPr/>
              <p:nvPr/>
            </p:nvGrpSpPr>
            <p:grpSpPr>
              <a:xfrm>
                <a:off x="7347394" y="4242339"/>
                <a:ext cx="75628" cy="75723"/>
                <a:chOff x="7347394" y="4242339"/>
                <a:chExt cx="75628" cy="75723"/>
              </a:xfrm>
            </p:grpSpPr>
            <p:sp>
              <p:nvSpPr>
                <p:cNvPr id="16262" name="Freeform: Shape 16261">
                  <a:extLst>
                    <a:ext uri="{FF2B5EF4-FFF2-40B4-BE49-F238E27FC236}">
                      <a16:creationId xmlns:a16="http://schemas.microsoft.com/office/drawing/2014/main" id="{63B93AE4-F8C8-119C-95A9-1A89AFFA4854}"/>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3" name="Freeform: Shape 16262">
                  <a:extLst>
                    <a:ext uri="{FF2B5EF4-FFF2-40B4-BE49-F238E27FC236}">
                      <a16:creationId xmlns:a16="http://schemas.microsoft.com/office/drawing/2014/main" id="{42CAFCCC-DE58-1EAC-8578-FF467E2621AD}"/>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7" name="Graphic 745">
                <a:extLst>
                  <a:ext uri="{FF2B5EF4-FFF2-40B4-BE49-F238E27FC236}">
                    <a16:creationId xmlns:a16="http://schemas.microsoft.com/office/drawing/2014/main" id="{3FB24BB3-8001-1F30-044A-92E5F522E03C}"/>
                  </a:ext>
                </a:extLst>
              </p:cNvPr>
              <p:cNvGrpSpPr/>
              <p:nvPr/>
            </p:nvGrpSpPr>
            <p:grpSpPr>
              <a:xfrm>
                <a:off x="7308151" y="4185284"/>
                <a:ext cx="75723" cy="75723"/>
                <a:chOff x="7308151" y="4185284"/>
                <a:chExt cx="75723" cy="75723"/>
              </a:xfrm>
            </p:grpSpPr>
            <p:sp>
              <p:nvSpPr>
                <p:cNvPr id="16260" name="Freeform: Shape 16259">
                  <a:extLst>
                    <a:ext uri="{FF2B5EF4-FFF2-40B4-BE49-F238E27FC236}">
                      <a16:creationId xmlns:a16="http://schemas.microsoft.com/office/drawing/2014/main" id="{3C118E54-5E48-BA7F-B1B2-7029AA1B0011}"/>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1" name="Freeform: Shape 16260">
                  <a:extLst>
                    <a:ext uri="{FF2B5EF4-FFF2-40B4-BE49-F238E27FC236}">
                      <a16:creationId xmlns:a16="http://schemas.microsoft.com/office/drawing/2014/main" id="{59AB1A42-7222-891B-3A8E-86436B9853C6}"/>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8" name="Graphic 745">
                <a:extLst>
                  <a:ext uri="{FF2B5EF4-FFF2-40B4-BE49-F238E27FC236}">
                    <a16:creationId xmlns:a16="http://schemas.microsoft.com/office/drawing/2014/main" id="{1FFF537C-3C1F-E28B-9EA1-5152C078B5FD}"/>
                  </a:ext>
                </a:extLst>
              </p:cNvPr>
              <p:cNvGrpSpPr/>
              <p:nvPr/>
            </p:nvGrpSpPr>
            <p:grpSpPr>
              <a:xfrm>
                <a:off x="7319295" y="4185284"/>
                <a:ext cx="75628" cy="75723"/>
                <a:chOff x="7319295" y="4185284"/>
                <a:chExt cx="75628" cy="75723"/>
              </a:xfrm>
            </p:grpSpPr>
            <p:sp>
              <p:nvSpPr>
                <p:cNvPr id="16258" name="Freeform: Shape 16257">
                  <a:extLst>
                    <a:ext uri="{FF2B5EF4-FFF2-40B4-BE49-F238E27FC236}">
                      <a16:creationId xmlns:a16="http://schemas.microsoft.com/office/drawing/2014/main" id="{0866019B-652E-A7DD-AFD0-F5D5315D5033}"/>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9" name="Freeform: Shape 16258">
                  <a:extLst>
                    <a:ext uri="{FF2B5EF4-FFF2-40B4-BE49-F238E27FC236}">
                      <a16:creationId xmlns:a16="http://schemas.microsoft.com/office/drawing/2014/main" id="{C815846B-ADD7-9A86-BC81-209FB954C9C3}"/>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9" name="Graphic 745">
                <a:extLst>
                  <a:ext uri="{FF2B5EF4-FFF2-40B4-BE49-F238E27FC236}">
                    <a16:creationId xmlns:a16="http://schemas.microsoft.com/office/drawing/2014/main" id="{FE7C0AB0-BA44-6892-B185-F9EBE3133032}"/>
                  </a:ext>
                </a:extLst>
              </p:cNvPr>
              <p:cNvGrpSpPr/>
              <p:nvPr/>
            </p:nvGrpSpPr>
            <p:grpSpPr>
              <a:xfrm>
                <a:off x="7330344" y="4185284"/>
                <a:ext cx="75723" cy="75723"/>
                <a:chOff x="7330344" y="4185284"/>
                <a:chExt cx="75723" cy="75723"/>
              </a:xfrm>
            </p:grpSpPr>
            <p:sp>
              <p:nvSpPr>
                <p:cNvPr id="16256" name="Freeform: Shape 16255">
                  <a:extLst>
                    <a:ext uri="{FF2B5EF4-FFF2-40B4-BE49-F238E27FC236}">
                      <a16:creationId xmlns:a16="http://schemas.microsoft.com/office/drawing/2014/main" id="{F2ED1F71-CCCE-5C12-29C1-99BFF890F9AC}"/>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7" name="Freeform: Shape 16256">
                  <a:extLst>
                    <a:ext uri="{FF2B5EF4-FFF2-40B4-BE49-F238E27FC236}">
                      <a16:creationId xmlns:a16="http://schemas.microsoft.com/office/drawing/2014/main" id="{AFD3280C-3572-05FD-231A-5218D73EA8E2}"/>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0" name="Graphic 745">
                <a:extLst>
                  <a:ext uri="{FF2B5EF4-FFF2-40B4-BE49-F238E27FC236}">
                    <a16:creationId xmlns:a16="http://schemas.microsoft.com/office/drawing/2014/main" id="{2319450F-E854-0C2F-AD27-BF65E4093522}"/>
                  </a:ext>
                </a:extLst>
              </p:cNvPr>
              <p:cNvGrpSpPr/>
              <p:nvPr/>
            </p:nvGrpSpPr>
            <p:grpSpPr>
              <a:xfrm>
                <a:off x="7009923" y="4185284"/>
                <a:ext cx="75723" cy="75723"/>
                <a:chOff x="7009923" y="4185284"/>
                <a:chExt cx="75723" cy="75723"/>
              </a:xfrm>
            </p:grpSpPr>
            <p:sp>
              <p:nvSpPr>
                <p:cNvPr id="16254" name="Freeform: Shape 16253">
                  <a:extLst>
                    <a:ext uri="{FF2B5EF4-FFF2-40B4-BE49-F238E27FC236}">
                      <a16:creationId xmlns:a16="http://schemas.microsoft.com/office/drawing/2014/main" id="{57B376D4-6EB4-B5C1-B506-230B647700DE}"/>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5" name="Freeform: Shape 16254">
                  <a:extLst>
                    <a:ext uri="{FF2B5EF4-FFF2-40B4-BE49-F238E27FC236}">
                      <a16:creationId xmlns:a16="http://schemas.microsoft.com/office/drawing/2014/main" id="{909C8F91-B299-0709-81D6-D3DE6F5DC8C1}"/>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1" name="Graphic 745">
                <a:extLst>
                  <a:ext uri="{FF2B5EF4-FFF2-40B4-BE49-F238E27FC236}">
                    <a16:creationId xmlns:a16="http://schemas.microsoft.com/office/drawing/2014/main" id="{3A0766DB-FD79-2A62-25A5-519EC536B2B6}"/>
                  </a:ext>
                </a:extLst>
              </p:cNvPr>
              <p:cNvGrpSpPr/>
              <p:nvPr/>
            </p:nvGrpSpPr>
            <p:grpSpPr>
              <a:xfrm>
                <a:off x="7021068" y="4185284"/>
                <a:ext cx="75628" cy="75723"/>
                <a:chOff x="7021068" y="4185284"/>
                <a:chExt cx="75628" cy="75723"/>
              </a:xfrm>
            </p:grpSpPr>
            <p:sp>
              <p:nvSpPr>
                <p:cNvPr id="16252" name="Freeform: Shape 16251">
                  <a:extLst>
                    <a:ext uri="{FF2B5EF4-FFF2-40B4-BE49-F238E27FC236}">
                      <a16:creationId xmlns:a16="http://schemas.microsoft.com/office/drawing/2014/main" id="{C1C9DF7D-BFA3-D17D-A30F-37DD34309786}"/>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3" name="Freeform: Shape 16252">
                  <a:extLst>
                    <a:ext uri="{FF2B5EF4-FFF2-40B4-BE49-F238E27FC236}">
                      <a16:creationId xmlns:a16="http://schemas.microsoft.com/office/drawing/2014/main" id="{03343ADC-F3CF-FF3A-F623-BADFDFC81B1C}"/>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2" name="Graphic 745">
                <a:extLst>
                  <a:ext uri="{FF2B5EF4-FFF2-40B4-BE49-F238E27FC236}">
                    <a16:creationId xmlns:a16="http://schemas.microsoft.com/office/drawing/2014/main" id="{ACA6AFE6-932C-723A-96AC-66714277C3E7}"/>
                  </a:ext>
                </a:extLst>
              </p:cNvPr>
              <p:cNvGrpSpPr/>
              <p:nvPr/>
            </p:nvGrpSpPr>
            <p:grpSpPr>
              <a:xfrm>
                <a:off x="6889051" y="4071937"/>
                <a:ext cx="75628" cy="75723"/>
                <a:chOff x="6889051" y="4071937"/>
                <a:chExt cx="75628" cy="75723"/>
              </a:xfrm>
            </p:grpSpPr>
            <p:sp>
              <p:nvSpPr>
                <p:cNvPr id="16250" name="Freeform: Shape 16249">
                  <a:extLst>
                    <a:ext uri="{FF2B5EF4-FFF2-40B4-BE49-F238E27FC236}">
                      <a16:creationId xmlns:a16="http://schemas.microsoft.com/office/drawing/2014/main" id="{F1DDBA61-2111-41D3-5AD8-A150A72D8B25}"/>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1" name="Freeform: Shape 16250">
                  <a:extLst>
                    <a:ext uri="{FF2B5EF4-FFF2-40B4-BE49-F238E27FC236}">
                      <a16:creationId xmlns:a16="http://schemas.microsoft.com/office/drawing/2014/main" id="{36F86F44-7E7B-BC84-6E53-1AF9A8213732}"/>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3" name="Graphic 745">
                <a:extLst>
                  <a:ext uri="{FF2B5EF4-FFF2-40B4-BE49-F238E27FC236}">
                    <a16:creationId xmlns:a16="http://schemas.microsoft.com/office/drawing/2014/main" id="{38AEA03A-6DCE-6ADF-FEE8-DDFA98F9BB2E}"/>
                  </a:ext>
                </a:extLst>
              </p:cNvPr>
              <p:cNvGrpSpPr/>
              <p:nvPr/>
            </p:nvGrpSpPr>
            <p:grpSpPr>
              <a:xfrm>
                <a:off x="6786372" y="4071937"/>
                <a:ext cx="75723" cy="75723"/>
                <a:chOff x="6786372" y="4071937"/>
                <a:chExt cx="75723" cy="75723"/>
              </a:xfrm>
            </p:grpSpPr>
            <p:sp>
              <p:nvSpPr>
                <p:cNvPr id="16248" name="Freeform: Shape 16247">
                  <a:extLst>
                    <a:ext uri="{FF2B5EF4-FFF2-40B4-BE49-F238E27FC236}">
                      <a16:creationId xmlns:a16="http://schemas.microsoft.com/office/drawing/2014/main" id="{8A6A1C61-C62D-EA0F-069F-7100A02BCA43}"/>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9" name="Freeform: Shape 16248">
                  <a:extLst>
                    <a:ext uri="{FF2B5EF4-FFF2-40B4-BE49-F238E27FC236}">
                      <a16:creationId xmlns:a16="http://schemas.microsoft.com/office/drawing/2014/main" id="{7A08A1A8-A454-A413-FF94-0EBD29785EF7}"/>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4" name="Graphic 745">
                <a:extLst>
                  <a:ext uri="{FF2B5EF4-FFF2-40B4-BE49-F238E27FC236}">
                    <a16:creationId xmlns:a16="http://schemas.microsoft.com/office/drawing/2014/main" id="{338870F2-75B9-D082-E7AA-88E950572BE8}"/>
                  </a:ext>
                </a:extLst>
              </p:cNvPr>
              <p:cNvGrpSpPr/>
              <p:nvPr/>
            </p:nvGrpSpPr>
            <p:grpSpPr>
              <a:xfrm>
                <a:off x="6533864" y="4050886"/>
                <a:ext cx="75723" cy="75628"/>
                <a:chOff x="6533864" y="4050886"/>
                <a:chExt cx="75723" cy="75628"/>
              </a:xfrm>
            </p:grpSpPr>
            <p:sp>
              <p:nvSpPr>
                <p:cNvPr id="16246" name="Freeform: Shape 16245">
                  <a:extLst>
                    <a:ext uri="{FF2B5EF4-FFF2-40B4-BE49-F238E27FC236}">
                      <a16:creationId xmlns:a16="http://schemas.microsoft.com/office/drawing/2014/main" id="{725B00E3-DF18-EDF6-5E6C-6FA5E9E0DAC3}"/>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7" name="Freeform: Shape 16246">
                  <a:extLst>
                    <a:ext uri="{FF2B5EF4-FFF2-40B4-BE49-F238E27FC236}">
                      <a16:creationId xmlns:a16="http://schemas.microsoft.com/office/drawing/2014/main" id="{E47CCC9B-DD6A-E0FB-7DCA-8F3F4F406F9F}"/>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5" name="Graphic 745">
                <a:extLst>
                  <a:ext uri="{FF2B5EF4-FFF2-40B4-BE49-F238E27FC236}">
                    <a16:creationId xmlns:a16="http://schemas.microsoft.com/office/drawing/2014/main" id="{D6D5E27A-EDD7-FA79-DAEB-CD415C94B234}"/>
                  </a:ext>
                </a:extLst>
              </p:cNvPr>
              <p:cNvGrpSpPr/>
              <p:nvPr/>
            </p:nvGrpSpPr>
            <p:grpSpPr>
              <a:xfrm>
                <a:off x="6504717" y="4028598"/>
                <a:ext cx="75723" cy="75723"/>
                <a:chOff x="6504717" y="4028598"/>
                <a:chExt cx="75723" cy="75723"/>
              </a:xfrm>
            </p:grpSpPr>
            <p:sp>
              <p:nvSpPr>
                <p:cNvPr id="16244" name="Freeform: Shape 16243">
                  <a:extLst>
                    <a:ext uri="{FF2B5EF4-FFF2-40B4-BE49-F238E27FC236}">
                      <a16:creationId xmlns:a16="http://schemas.microsoft.com/office/drawing/2014/main" id="{E179BCF8-FB86-0ED9-37DF-4CDBD9F612D8}"/>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5" name="Freeform: Shape 16244">
                  <a:extLst>
                    <a:ext uri="{FF2B5EF4-FFF2-40B4-BE49-F238E27FC236}">
                      <a16:creationId xmlns:a16="http://schemas.microsoft.com/office/drawing/2014/main" id="{A688F2A6-AEDE-2FFD-CD30-63F9F54C96A7}"/>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6" name="Graphic 745">
                <a:extLst>
                  <a:ext uri="{FF2B5EF4-FFF2-40B4-BE49-F238E27FC236}">
                    <a16:creationId xmlns:a16="http://schemas.microsoft.com/office/drawing/2014/main" id="{A89D177F-2878-BB12-306F-FE5B3CED6CB0}"/>
                  </a:ext>
                </a:extLst>
              </p:cNvPr>
              <p:cNvGrpSpPr/>
              <p:nvPr/>
            </p:nvGrpSpPr>
            <p:grpSpPr>
              <a:xfrm>
                <a:off x="6477952" y="4028598"/>
                <a:ext cx="75723" cy="75723"/>
                <a:chOff x="6477952" y="4028598"/>
                <a:chExt cx="75723" cy="75723"/>
              </a:xfrm>
            </p:grpSpPr>
            <p:sp>
              <p:nvSpPr>
                <p:cNvPr id="16242" name="Freeform: Shape 16241">
                  <a:extLst>
                    <a:ext uri="{FF2B5EF4-FFF2-40B4-BE49-F238E27FC236}">
                      <a16:creationId xmlns:a16="http://schemas.microsoft.com/office/drawing/2014/main" id="{D8293C35-56C4-5E6C-1656-22309BB2DF6F}"/>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3" name="Freeform: Shape 16242">
                  <a:extLst>
                    <a:ext uri="{FF2B5EF4-FFF2-40B4-BE49-F238E27FC236}">
                      <a16:creationId xmlns:a16="http://schemas.microsoft.com/office/drawing/2014/main" id="{D0B2792D-E004-7C8B-0E15-D99D06AF6618}"/>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7" name="Graphic 745">
                <a:extLst>
                  <a:ext uri="{FF2B5EF4-FFF2-40B4-BE49-F238E27FC236}">
                    <a16:creationId xmlns:a16="http://schemas.microsoft.com/office/drawing/2014/main" id="{5E949001-F36D-25C8-78BC-7DE6615A9E64}"/>
                  </a:ext>
                </a:extLst>
              </p:cNvPr>
              <p:cNvGrpSpPr/>
              <p:nvPr/>
            </p:nvGrpSpPr>
            <p:grpSpPr>
              <a:xfrm>
                <a:off x="6491382" y="4028598"/>
                <a:ext cx="75628" cy="75723"/>
                <a:chOff x="6491382" y="4028598"/>
                <a:chExt cx="75628" cy="75723"/>
              </a:xfrm>
            </p:grpSpPr>
            <p:sp>
              <p:nvSpPr>
                <p:cNvPr id="16240" name="Freeform: Shape 16239">
                  <a:extLst>
                    <a:ext uri="{FF2B5EF4-FFF2-40B4-BE49-F238E27FC236}">
                      <a16:creationId xmlns:a16="http://schemas.microsoft.com/office/drawing/2014/main" id="{7112CD8C-0A44-475E-3A48-9FAF7BE52F4B}"/>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1" name="Freeform: Shape 16240">
                  <a:extLst>
                    <a:ext uri="{FF2B5EF4-FFF2-40B4-BE49-F238E27FC236}">
                      <a16:creationId xmlns:a16="http://schemas.microsoft.com/office/drawing/2014/main" id="{79702241-DCBB-2716-EA5E-9CBF015683D2}"/>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8" name="Graphic 745">
                <a:extLst>
                  <a:ext uri="{FF2B5EF4-FFF2-40B4-BE49-F238E27FC236}">
                    <a16:creationId xmlns:a16="http://schemas.microsoft.com/office/drawing/2014/main" id="{4898AE98-5628-5FD9-414A-73CAE7A616A9}"/>
                  </a:ext>
                </a:extLst>
              </p:cNvPr>
              <p:cNvGrpSpPr/>
              <p:nvPr/>
            </p:nvGrpSpPr>
            <p:grpSpPr>
              <a:xfrm>
                <a:off x="6347460" y="3952969"/>
                <a:ext cx="75723" cy="75628"/>
                <a:chOff x="6347460" y="3952969"/>
                <a:chExt cx="75723" cy="75628"/>
              </a:xfrm>
            </p:grpSpPr>
            <p:sp>
              <p:nvSpPr>
                <p:cNvPr id="16238" name="Freeform: Shape 16237">
                  <a:extLst>
                    <a:ext uri="{FF2B5EF4-FFF2-40B4-BE49-F238E27FC236}">
                      <a16:creationId xmlns:a16="http://schemas.microsoft.com/office/drawing/2014/main" id="{289D26FD-9185-EAE9-A494-73E3FAE98C7A}"/>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9" name="Freeform: Shape 16238">
                  <a:extLst>
                    <a:ext uri="{FF2B5EF4-FFF2-40B4-BE49-F238E27FC236}">
                      <a16:creationId xmlns:a16="http://schemas.microsoft.com/office/drawing/2014/main" id="{539165E7-49CD-7A1B-3A84-53B083D4D4C0}"/>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9" name="Graphic 745">
                <a:extLst>
                  <a:ext uri="{FF2B5EF4-FFF2-40B4-BE49-F238E27FC236}">
                    <a16:creationId xmlns:a16="http://schemas.microsoft.com/office/drawing/2014/main" id="{B2DB3BE5-CF38-4230-4B59-CD4558E2ECC0}"/>
                  </a:ext>
                </a:extLst>
              </p:cNvPr>
              <p:cNvGrpSpPr/>
              <p:nvPr/>
            </p:nvGrpSpPr>
            <p:grpSpPr>
              <a:xfrm>
                <a:off x="6402228" y="3952969"/>
                <a:ext cx="75723" cy="75628"/>
                <a:chOff x="6402228" y="3952969"/>
                <a:chExt cx="75723" cy="75628"/>
              </a:xfrm>
            </p:grpSpPr>
            <p:sp>
              <p:nvSpPr>
                <p:cNvPr id="16236" name="Freeform: Shape 16235">
                  <a:extLst>
                    <a:ext uri="{FF2B5EF4-FFF2-40B4-BE49-F238E27FC236}">
                      <a16:creationId xmlns:a16="http://schemas.microsoft.com/office/drawing/2014/main" id="{D5DA12C8-2AF6-723D-99AA-7D6215D8012F}"/>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7" name="Freeform: Shape 16236">
                  <a:extLst>
                    <a:ext uri="{FF2B5EF4-FFF2-40B4-BE49-F238E27FC236}">
                      <a16:creationId xmlns:a16="http://schemas.microsoft.com/office/drawing/2014/main" id="{793721EB-897E-D3D8-8604-705908AD8442}"/>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0" name="Graphic 745">
                <a:extLst>
                  <a:ext uri="{FF2B5EF4-FFF2-40B4-BE49-F238E27FC236}">
                    <a16:creationId xmlns:a16="http://schemas.microsoft.com/office/drawing/2014/main" id="{4A79020C-EE8B-FF86-5C98-26F951426207}"/>
                  </a:ext>
                </a:extLst>
              </p:cNvPr>
              <p:cNvGrpSpPr/>
              <p:nvPr/>
            </p:nvGrpSpPr>
            <p:grpSpPr>
              <a:xfrm>
                <a:off x="6437852" y="3966304"/>
                <a:ext cx="75723" cy="75723"/>
                <a:chOff x="6437852" y="3966304"/>
                <a:chExt cx="75723" cy="75723"/>
              </a:xfrm>
            </p:grpSpPr>
            <p:sp>
              <p:nvSpPr>
                <p:cNvPr id="16234" name="Freeform: Shape 16233">
                  <a:extLst>
                    <a:ext uri="{FF2B5EF4-FFF2-40B4-BE49-F238E27FC236}">
                      <a16:creationId xmlns:a16="http://schemas.microsoft.com/office/drawing/2014/main" id="{B4FEFECC-7A4E-14A1-DD0B-B98B69C4DC74}"/>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5" name="Freeform: Shape 16234">
                  <a:extLst>
                    <a:ext uri="{FF2B5EF4-FFF2-40B4-BE49-F238E27FC236}">
                      <a16:creationId xmlns:a16="http://schemas.microsoft.com/office/drawing/2014/main" id="{107D044D-526A-6BBC-ED3D-88C2295F165F}"/>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1" name="Graphic 745">
                <a:extLst>
                  <a:ext uri="{FF2B5EF4-FFF2-40B4-BE49-F238E27FC236}">
                    <a16:creationId xmlns:a16="http://schemas.microsoft.com/office/drawing/2014/main" id="{E056ADB1-5D06-B1F9-9269-5F66E57C23AB}"/>
                  </a:ext>
                </a:extLst>
              </p:cNvPr>
              <p:cNvGrpSpPr/>
              <p:nvPr/>
            </p:nvGrpSpPr>
            <p:grpSpPr>
              <a:xfrm>
                <a:off x="6461379" y="3976877"/>
                <a:ext cx="75628" cy="75628"/>
                <a:chOff x="6461379" y="3976877"/>
                <a:chExt cx="75628" cy="75628"/>
              </a:xfrm>
            </p:grpSpPr>
            <p:sp>
              <p:nvSpPr>
                <p:cNvPr id="16232" name="Freeform: Shape 16231">
                  <a:extLst>
                    <a:ext uri="{FF2B5EF4-FFF2-40B4-BE49-F238E27FC236}">
                      <a16:creationId xmlns:a16="http://schemas.microsoft.com/office/drawing/2014/main" id="{F98A52EA-4295-703E-A3DD-649156F012CB}"/>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3" name="Freeform: Shape 16232">
                  <a:extLst>
                    <a:ext uri="{FF2B5EF4-FFF2-40B4-BE49-F238E27FC236}">
                      <a16:creationId xmlns:a16="http://schemas.microsoft.com/office/drawing/2014/main" id="{EDA52831-36EB-8328-A342-A3220B2D9359}"/>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2" name="Graphic 745">
                <a:extLst>
                  <a:ext uri="{FF2B5EF4-FFF2-40B4-BE49-F238E27FC236}">
                    <a16:creationId xmlns:a16="http://schemas.microsoft.com/office/drawing/2014/main" id="{B781214F-E0B5-8171-F609-5CD403E83AAD}"/>
                  </a:ext>
                </a:extLst>
              </p:cNvPr>
              <p:cNvGrpSpPr/>
              <p:nvPr/>
            </p:nvGrpSpPr>
            <p:grpSpPr>
              <a:xfrm>
                <a:off x="6475666" y="3986974"/>
                <a:ext cx="75723" cy="75723"/>
                <a:chOff x="6475666" y="3986974"/>
                <a:chExt cx="75723" cy="75723"/>
              </a:xfrm>
            </p:grpSpPr>
            <p:sp>
              <p:nvSpPr>
                <p:cNvPr id="16230" name="Freeform: Shape 16229">
                  <a:extLst>
                    <a:ext uri="{FF2B5EF4-FFF2-40B4-BE49-F238E27FC236}">
                      <a16:creationId xmlns:a16="http://schemas.microsoft.com/office/drawing/2014/main" id="{D4766BFE-459C-7919-0A1A-033C139295E7}"/>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1" name="Freeform: Shape 16230">
                  <a:extLst>
                    <a:ext uri="{FF2B5EF4-FFF2-40B4-BE49-F238E27FC236}">
                      <a16:creationId xmlns:a16="http://schemas.microsoft.com/office/drawing/2014/main" id="{B902F947-89FC-B4D6-4046-423B2139AB56}"/>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3" name="Graphic 745">
                <a:extLst>
                  <a:ext uri="{FF2B5EF4-FFF2-40B4-BE49-F238E27FC236}">
                    <a16:creationId xmlns:a16="http://schemas.microsoft.com/office/drawing/2014/main" id="{3C5C177F-111F-56A1-90DD-DFFFAC154569}"/>
                  </a:ext>
                </a:extLst>
              </p:cNvPr>
              <p:cNvGrpSpPr/>
              <p:nvPr/>
            </p:nvGrpSpPr>
            <p:grpSpPr>
              <a:xfrm>
                <a:off x="6229540" y="3936301"/>
                <a:ext cx="75628" cy="75723"/>
                <a:chOff x="6229540" y="3936301"/>
                <a:chExt cx="75628" cy="75723"/>
              </a:xfrm>
            </p:grpSpPr>
            <p:sp>
              <p:nvSpPr>
                <p:cNvPr id="16228" name="Freeform: Shape 16227">
                  <a:extLst>
                    <a:ext uri="{FF2B5EF4-FFF2-40B4-BE49-F238E27FC236}">
                      <a16:creationId xmlns:a16="http://schemas.microsoft.com/office/drawing/2014/main" id="{E832D5AA-1A96-6B8D-1DB5-6F93F128E4DD}"/>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9" name="Freeform: Shape 16228">
                  <a:extLst>
                    <a:ext uri="{FF2B5EF4-FFF2-40B4-BE49-F238E27FC236}">
                      <a16:creationId xmlns:a16="http://schemas.microsoft.com/office/drawing/2014/main" id="{A6E5882F-B86D-FAFB-599C-9E51CF2117E5}"/>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4" name="Graphic 745">
                <a:extLst>
                  <a:ext uri="{FF2B5EF4-FFF2-40B4-BE49-F238E27FC236}">
                    <a16:creationId xmlns:a16="http://schemas.microsoft.com/office/drawing/2014/main" id="{84A8BF78-189C-C5B7-7512-14ACCDBADB9C}"/>
                  </a:ext>
                </a:extLst>
              </p:cNvPr>
              <p:cNvGrpSpPr/>
              <p:nvPr/>
            </p:nvGrpSpPr>
            <p:grpSpPr>
              <a:xfrm>
                <a:off x="5918644" y="3830478"/>
                <a:ext cx="75628" cy="75723"/>
                <a:chOff x="5918644" y="3830478"/>
                <a:chExt cx="75628" cy="75723"/>
              </a:xfrm>
            </p:grpSpPr>
            <p:sp>
              <p:nvSpPr>
                <p:cNvPr id="16226" name="Freeform: Shape 16225">
                  <a:extLst>
                    <a:ext uri="{FF2B5EF4-FFF2-40B4-BE49-F238E27FC236}">
                      <a16:creationId xmlns:a16="http://schemas.microsoft.com/office/drawing/2014/main" id="{5897C5F2-1391-F8B8-02C8-1AFF4BA1E1A9}"/>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7" name="Freeform: Shape 16226">
                  <a:extLst>
                    <a:ext uri="{FF2B5EF4-FFF2-40B4-BE49-F238E27FC236}">
                      <a16:creationId xmlns:a16="http://schemas.microsoft.com/office/drawing/2014/main" id="{3FEDEFFA-727E-6CB5-8465-DC11008968EF}"/>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5" name="Graphic 745">
                <a:extLst>
                  <a:ext uri="{FF2B5EF4-FFF2-40B4-BE49-F238E27FC236}">
                    <a16:creationId xmlns:a16="http://schemas.microsoft.com/office/drawing/2014/main" id="{4865D2FC-3D40-B077-D437-DB0E2B117D9E}"/>
                  </a:ext>
                </a:extLst>
              </p:cNvPr>
              <p:cNvGrpSpPr/>
              <p:nvPr/>
            </p:nvGrpSpPr>
            <p:grpSpPr>
              <a:xfrm>
                <a:off x="5699379" y="3807427"/>
                <a:ext cx="75628" cy="75723"/>
                <a:chOff x="5699379" y="3807427"/>
                <a:chExt cx="75628" cy="75723"/>
              </a:xfrm>
            </p:grpSpPr>
            <p:sp>
              <p:nvSpPr>
                <p:cNvPr id="16224" name="Freeform: Shape 16223">
                  <a:extLst>
                    <a:ext uri="{FF2B5EF4-FFF2-40B4-BE49-F238E27FC236}">
                      <a16:creationId xmlns:a16="http://schemas.microsoft.com/office/drawing/2014/main" id="{9FE3DEDC-4124-60AE-D3F7-A1A8B1CCF67F}"/>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5" name="Freeform: Shape 16224">
                  <a:extLst>
                    <a:ext uri="{FF2B5EF4-FFF2-40B4-BE49-F238E27FC236}">
                      <a16:creationId xmlns:a16="http://schemas.microsoft.com/office/drawing/2014/main" id="{4C8CEB5B-3D24-7C4A-D643-132EF1682CB6}"/>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6" name="Graphic 745">
                <a:extLst>
                  <a:ext uri="{FF2B5EF4-FFF2-40B4-BE49-F238E27FC236}">
                    <a16:creationId xmlns:a16="http://schemas.microsoft.com/office/drawing/2014/main" id="{48B68F1C-82BB-69BB-FA2B-3DE63FF6F8CB}"/>
                  </a:ext>
                </a:extLst>
              </p:cNvPr>
              <p:cNvGrpSpPr/>
              <p:nvPr/>
            </p:nvGrpSpPr>
            <p:grpSpPr>
              <a:xfrm>
                <a:off x="5574125" y="3710177"/>
                <a:ext cx="75628" cy="75628"/>
                <a:chOff x="5574125" y="3710177"/>
                <a:chExt cx="75628" cy="75628"/>
              </a:xfrm>
            </p:grpSpPr>
            <p:sp>
              <p:nvSpPr>
                <p:cNvPr id="16222" name="Freeform: Shape 16221">
                  <a:extLst>
                    <a:ext uri="{FF2B5EF4-FFF2-40B4-BE49-F238E27FC236}">
                      <a16:creationId xmlns:a16="http://schemas.microsoft.com/office/drawing/2014/main" id="{1B0C3566-CCC0-DA00-AA38-94F41EC1E1D7}"/>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3" name="Freeform: Shape 16222">
                  <a:extLst>
                    <a:ext uri="{FF2B5EF4-FFF2-40B4-BE49-F238E27FC236}">
                      <a16:creationId xmlns:a16="http://schemas.microsoft.com/office/drawing/2014/main" id="{A4550FC8-A711-8161-8B8E-68546C6E4A1F}"/>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7" name="Graphic 745">
                <a:extLst>
                  <a:ext uri="{FF2B5EF4-FFF2-40B4-BE49-F238E27FC236}">
                    <a16:creationId xmlns:a16="http://schemas.microsoft.com/office/drawing/2014/main" id="{8AD6C718-35B3-E4D9-9196-31077CB0BB82}"/>
                  </a:ext>
                </a:extLst>
              </p:cNvPr>
              <p:cNvGrpSpPr/>
              <p:nvPr/>
            </p:nvGrpSpPr>
            <p:grpSpPr>
              <a:xfrm>
                <a:off x="5244941" y="3624643"/>
                <a:ext cx="75723" cy="75628"/>
                <a:chOff x="5244941" y="3624643"/>
                <a:chExt cx="75723" cy="75628"/>
              </a:xfrm>
            </p:grpSpPr>
            <p:sp>
              <p:nvSpPr>
                <p:cNvPr id="16220" name="Freeform: Shape 16219">
                  <a:extLst>
                    <a:ext uri="{FF2B5EF4-FFF2-40B4-BE49-F238E27FC236}">
                      <a16:creationId xmlns:a16="http://schemas.microsoft.com/office/drawing/2014/main" id="{30C4EBE3-147F-3C61-700C-8E1AF8A4170B}"/>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1" name="Freeform: Shape 16220">
                  <a:extLst>
                    <a:ext uri="{FF2B5EF4-FFF2-40B4-BE49-F238E27FC236}">
                      <a16:creationId xmlns:a16="http://schemas.microsoft.com/office/drawing/2014/main" id="{BB33902B-AB6F-3D46-E0C9-48C8D1FF14D0}"/>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8" name="Graphic 745">
                <a:extLst>
                  <a:ext uri="{FF2B5EF4-FFF2-40B4-BE49-F238E27FC236}">
                    <a16:creationId xmlns:a16="http://schemas.microsoft.com/office/drawing/2014/main" id="{BD0F63E3-326C-3248-2683-4CEE5F1216E2}"/>
                  </a:ext>
                </a:extLst>
              </p:cNvPr>
              <p:cNvGrpSpPr/>
              <p:nvPr/>
            </p:nvGrpSpPr>
            <p:grpSpPr>
              <a:xfrm>
                <a:off x="5150929" y="3447097"/>
                <a:ext cx="75723" cy="75723"/>
                <a:chOff x="5150929" y="3447097"/>
                <a:chExt cx="75723" cy="75723"/>
              </a:xfrm>
            </p:grpSpPr>
            <p:sp>
              <p:nvSpPr>
                <p:cNvPr id="16218" name="Freeform: Shape 16217">
                  <a:extLst>
                    <a:ext uri="{FF2B5EF4-FFF2-40B4-BE49-F238E27FC236}">
                      <a16:creationId xmlns:a16="http://schemas.microsoft.com/office/drawing/2014/main" id="{D857FBB6-2236-87DA-4F4F-D603CB9C17A5}"/>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9" name="Freeform: Shape 16218">
                  <a:extLst>
                    <a:ext uri="{FF2B5EF4-FFF2-40B4-BE49-F238E27FC236}">
                      <a16:creationId xmlns:a16="http://schemas.microsoft.com/office/drawing/2014/main" id="{753B253B-5FF2-391D-8766-3FD8FD345AEC}"/>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9" name="Graphic 745">
                <a:extLst>
                  <a:ext uri="{FF2B5EF4-FFF2-40B4-BE49-F238E27FC236}">
                    <a16:creationId xmlns:a16="http://schemas.microsoft.com/office/drawing/2014/main" id="{B82D75E9-40AE-189F-99CA-C5B2C9B9B439}"/>
                  </a:ext>
                </a:extLst>
              </p:cNvPr>
              <p:cNvGrpSpPr/>
              <p:nvPr/>
            </p:nvGrpSpPr>
            <p:grpSpPr>
              <a:xfrm>
                <a:off x="4796694" y="3325081"/>
                <a:ext cx="75723" cy="75723"/>
                <a:chOff x="4796694" y="3325081"/>
                <a:chExt cx="75723" cy="75723"/>
              </a:xfrm>
            </p:grpSpPr>
            <p:sp>
              <p:nvSpPr>
                <p:cNvPr id="16216" name="Freeform: Shape 16215">
                  <a:extLst>
                    <a:ext uri="{FF2B5EF4-FFF2-40B4-BE49-F238E27FC236}">
                      <a16:creationId xmlns:a16="http://schemas.microsoft.com/office/drawing/2014/main" id="{52AFDC7D-D4A5-8CBF-40A7-267395F35498}"/>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7" name="Freeform: Shape 16216">
                  <a:extLst>
                    <a:ext uri="{FF2B5EF4-FFF2-40B4-BE49-F238E27FC236}">
                      <a16:creationId xmlns:a16="http://schemas.microsoft.com/office/drawing/2014/main" id="{307FC6DF-F8A7-48A3-D443-A54FE264FF6E}"/>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0" name="Graphic 745">
                <a:extLst>
                  <a:ext uri="{FF2B5EF4-FFF2-40B4-BE49-F238E27FC236}">
                    <a16:creationId xmlns:a16="http://schemas.microsoft.com/office/drawing/2014/main" id="{CE28D41E-036C-EDEF-C425-AB87CE3D8E83}"/>
                  </a:ext>
                </a:extLst>
              </p:cNvPr>
              <p:cNvGrpSpPr/>
              <p:nvPr/>
            </p:nvGrpSpPr>
            <p:grpSpPr>
              <a:xfrm>
                <a:off x="4718494" y="3173920"/>
                <a:ext cx="75628" cy="75628"/>
                <a:chOff x="4718494" y="3173920"/>
                <a:chExt cx="75628" cy="75628"/>
              </a:xfrm>
            </p:grpSpPr>
            <p:sp>
              <p:nvSpPr>
                <p:cNvPr id="16214" name="Freeform: Shape 16213">
                  <a:extLst>
                    <a:ext uri="{FF2B5EF4-FFF2-40B4-BE49-F238E27FC236}">
                      <a16:creationId xmlns:a16="http://schemas.microsoft.com/office/drawing/2014/main" id="{160888CA-A764-F9EC-7A2D-7F637466DC96}"/>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5" name="Freeform: Shape 16214">
                  <a:extLst>
                    <a:ext uri="{FF2B5EF4-FFF2-40B4-BE49-F238E27FC236}">
                      <a16:creationId xmlns:a16="http://schemas.microsoft.com/office/drawing/2014/main" id="{7307E622-506F-0155-6562-24BB5E54484B}"/>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1" name="Graphic 745">
                <a:extLst>
                  <a:ext uri="{FF2B5EF4-FFF2-40B4-BE49-F238E27FC236}">
                    <a16:creationId xmlns:a16="http://schemas.microsoft.com/office/drawing/2014/main" id="{29899F29-C7C4-0078-A4CE-71D5D5CFBF4E}"/>
                  </a:ext>
                </a:extLst>
              </p:cNvPr>
              <p:cNvGrpSpPr/>
              <p:nvPr/>
            </p:nvGrpSpPr>
            <p:grpSpPr>
              <a:xfrm>
                <a:off x="4527994" y="3072955"/>
                <a:ext cx="75628" cy="75723"/>
                <a:chOff x="4527994" y="3072955"/>
                <a:chExt cx="75628" cy="75723"/>
              </a:xfrm>
            </p:grpSpPr>
            <p:sp>
              <p:nvSpPr>
                <p:cNvPr id="16212" name="Freeform: Shape 16211">
                  <a:extLst>
                    <a:ext uri="{FF2B5EF4-FFF2-40B4-BE49-F238E27FC236}">
                      <a16:creationId xmlns:a16="http://schemas.microsoft.com/office/drawing/2014/main" id="{F2CEA09E-9C49-EF9A-48D9-4A6FE6A8BBA5}"/>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3" name="Freeform: Shape 16212">
                  <a:extLst>
                    <a:ext uri="{FF2B5EF4-FFF2-40B4-BE49-F238E27FC236}">
                      <a16:creationId xmlns:a16="http://schemas.microsoft.com/office/drawing/2014/main" id="{6927C5D5-4DB1-A876-B5ED-83F9548DDBB3}"/>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2" name="Graphic 745">
                <a:extLst>
                  <a:ext uri="{FF2B5EF4-FFF2-40B4-BE49-F238E27FC236}">
                    <a16:creationId xmlns:a16="http://schemas.microsoft.com/office/drawing/2014/main" id="{A1368DAE-ECA9-6462-FA8B-8AD260AE6B91}"/>
                  </a:ext>
                </a:extLst>
              </p:cNvPr>
              <p:cNvGrpSpPr/>
              <p:nvPr/>
            </p:nvGrpSpPr>
            <p:grpSpPr>
              <a:xfrm>
                <a:off x="4457414" y="3047809"/>
                <a:ext cx="75723" cy="75723"/>
                <a:chOff x="4457414" y="3047809"/>
                <a:chExt cx="75723" cy="75723"/>
              </a:xfrm>
            </p:grpSpPr>
            <p:sp>
              <p:nvSpPr>
                <p:cNvPr id="16210" name="Freeform: Shape 16209">
                  <a:extLst>
                    <a:ext uri="{FF2B5EF4-FFF2-40B4-BE49-F238E27FC236}">
                      <a16:creationId xmlns:a16="http://schemas.microsoft.com/office/drawing/2014/main" id="{C3F1FA53-054F-C47D-473E-45FE97ABBA1B}"/>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1" name="Freeform: Shape 16210">
                  <a:extLst>
                    <a:ext uri="{FF2B5EF4-FFF2-40B4-BE49-F238E27FC236}">
                      <a16:creationId xmlns:a16="http://schemas.microsoft.com/office/drawing/2014/main" id="{BFA2C905-0B90-AF84-C156-CA50DC54537F}"/>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3" name="Graphic 745">
                <a:extLst>
                  <a:ext uri="{FF2B5EF4-FFF2-40B4-BE49-F238E27FC236}">
                    <a16:creationId xmlns:a16="http://schemas.microsoft.com/office/drawing/2014/main" id="{DA8590D6-586B-5BF5-4728-F52E485E9C4C}"/>
                  </a:ext>
                </a:extLst>
              </p:cNvPr>
              <p:cNvGrpSpPr/>
              <p:nvPr/>
            </p:nvGrpSpPr>
            <p:grpSpPr>
              <a:xfrm>
                <a:off x="4358925" y="3014471"/>
                <a:ext cx="75723" cy="75723"/>
                <a:chOff x="4358925" y="3014471"/>
                <a:chExt cx="75723" cy="75723"/>
              </a:xfrm>
            </p:grpSpPr>
            <p:sp>
              <p:nvSpPr>
                <p:cNvPr id="16208" name="Freeform: Shape 16207">
                  <a:extLst>
                    <a:ext uri="{FF2B5EF4-FFF2-40B4-BE49-F238E27FC236}">
                      <a16:creationId xmlns:a16="http://schemas.microsoft.com/office/drawing/2014/main" id="{73E1E2FD-113C-9ED3-CC22-6AA5036D818A}"/>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9" name="Freeform: Shape 16208">
                  <a:extLst>
                    <a:ext uri="{FF2B5EF4-FFF2-40B4-BE49-F238E27FC236}">
                      <a16:creationId xmlns:a16="http://schemas.microsoft.com/office/drawing/2014/main" id="{0B3E1BEE-BA9C-D6B0-943D-B10D23E3B7D9}"/>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4" name="Graphic 745">
                <a:extLst>
                  <a:ext uri="{FF2B5EF4-FFF2-40B4-BE49-F238E27FC236}">
                    <a16:creationId xmlns:a16="http://schemas.microsoft.com/office/drawing/2014/main" id="{09350C16-7415-B10D-8AE3-5639E0AB9DFE}"/>
                  </a:ext>
                </a:extLst>
              </p:cNvPr>
              <p:cNvGrpSpPr/>
              <p:nvPr/>
            </p:nvGrpSpPr>
            <p:grpSpPr>
              <a:xfrm>
                <a:off x="4350448" y="3001898"/>
                <a:ext cx="75723" cy="75723"/>
                <a:chOff x="4350448" y="3001898"/>
                <a:chExt cx="75723" cy="75723"/>
              </a:xfrm>
            </p:grpSpPr>
            <p:sp>
              <p:nvSpPr>
                <p:cNvPr id="16206" name="Freeform: Shape 16205">
                  <a:extLst>
                    <a:ext uri="{FF2B5EF4-FFF2-40B4-BE49-F238E27FC236}">
                      <a16:creationId xmlns:a16="http://schemas.microsoft.com/office/drawing/2014/main" id="{F64B1167-617B-F4D5-8597-09C0FE76CCE6}"/>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7" name="Freeform: Shape 16206">
                  <a:extLst>
                    <a:ext uri="{FF2B5EF4-FFF2-40B4-BE49-F238E27FC236}">
                      <a16:creationId xmlns:a16="http://schemas.microsoft.com/office/drawing/2014/main" id="{224D0A17-B3B3-B8A9-ECD6-F13D41804655}"/>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5" name="Graphic 745">
                <a:extLst>
                  <a:ext uri="{FF2B5EF4-FFF2-40B4-BE49-F238E27FC236}">
                    <a16:creationId xmlns:a16="http://schemas.microsoft.com/office/drawing/2014/main" id="{C69DB53B-2E38-0511-9AE3-932200B6B88C}"/>
                  </a:ext>
                </a:extLst>
              </p:cNvPr>
              <p:cNvGrpSpPr/>
              <p:nvPr/>
            </p:nvGrpSpPr>
            <p:grpSpPr>
              <a:xfrm>
                <a:off x="4301775" y="2881883"/>
                <a:ext cx="75723" cy="75723"/>
                <a:chOff x="4301775" y="2881883"/>
                <a:chExt cx="75723" cy="75723"/>
              </a:xfrm>
            </p:grpSpPr>
            <p:sp>
              <p:nvSpPr>
                <p:cNvPr id="16204" name="Freeform: Shape 16203">
                  <a:extLst>
                    <a:ext uri="{FF2B5EF4-FFF2-40B4-BE49-F238E27FC236}">
                      <a16:creationId xmlns:a16="http://schemas.microsoft.com/office/drawing/2014/main" id="{BC0A1A32-4468-ACC4-0F9E-D1EFFE8999D3}"/>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5" name="Freeform: Shape 16204">
                  <a:extLst>
                    <a:ext uri="{FF2B5EF4-FFF2-40B4-BE49-F238E27FC236}">
                      <a16:creationId xmlns:a16="http://schemas.microsoft.com/office/drawing/2014/main" id="{8A03E9FC-5751-12BD-9451-B0EEB986F25D}"/>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6" name="Graphic 745">
                <a:extLst>
                  <a:ext uri="{FF2B5EF4-FFF2-40B4-BE49-F238E27FC236}">
                    <a16:creationId xmlns:a16="http://schemas.microsoft.com/office/drawing/2014/main" id="{49F090DD-DD21-6665-5EAE-72E4C476EDDB}"/>
                  </a:ext>
                </a:extLst>
              </p:cNvPr>
              <p:cNvGrpSpPr/>
              <p:nvPr/>
            </p:nvGrpSpPr>
            <p:grpSpPr>
              <a:xfrm>
                <a:off x="3954018" y="2741485"/>
                <a:ext cx="75723" cy="75723"/>
                <a:chOff x="3954018" y="2741485"/>
                <a:chExt cx="75723" cy="75723"/>
              </a:xfrm>
            </p:grpSpPr>
            <p:sp>
              <p:nvSpPr>
                <p:cNvPr id="16202" name="Freeform: Shape 16201">
                  <a:extLst>
                    <a:ext uri="{FF2B5EF4-FFF2-40B4-BE49-F238E27FC236}">
                      <a16:creationId xmlns:a16="http://schemas.microsoft.com/office/drawing/2014/main" id="{EF3ADFC6-68B2-3986-EAAB-FF48084C4474}"/>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3" name="Freeform: Shape 16202">
                  <a:extLst>
                    <a:ext uri="{FF2B5EF4-FFF2-40B4-BE49-F238E27FC236}">
                      <a16:creationId xmlns:a16="http://schemas.microsoft.com/office/drawing/2014/main" id="{7E2B955E-96F1-500A-3EDD-1B5E8F90185D}"/>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7" name="Graphic 745">
                <a:extLst>
                  <a:ext uri="{FF2B5EF4-FFF2-40B4-BE49-F238E27FC236}">
                    <a16:creationId xmlns:a16="http://schemas.microsoft.com/office/drawing/2014/main" id="{BC163293-665C-67AE-E0A6-580A11B372E8}"/>
                  </a:ext>
                </a:extLst>
              </p:cNvPr>
              <p:cNvGrpSpPr/>
              <p:nvPr/>
            </p:nvGrpSpPr>
            <p:grpSpPr>
              <a:xfrm>
                <a:off x="3935825" y="2741485"/>
                <a:ext cx="75628" cy="75723"/>
                <a:chOff x="3935825" y="2741485"/>
                <a:chExt cx="75628" cy="75723"/>
              </a:xfrm>
            </p:grpSpPr>
            <p:sp>
              <p:nvSpPr>
                <p:cNvPr id="16200" name="Freeform: Shape 16199">
                  <a:extLst>
                    <a:ext uri="{FF2B5EF4-FFF2-40B4-BE49-F238E27FC236}">
                      <a16:creationId xmlns:a16="http://schemas.microsoft.com/office/drawing/2014/main" id="{88265209-6675-983D-3442-AB57A5AD8177}"/>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1" name="Freeform: Shape 16200">
                  <a:extLst>
                    <a:ext uri="{FF2B5EF4-FFF2-40B4-BE49-F238E27FC236}">
                      <a16:creationId xmlns:a16="http://schemas.microsoft.com/office/drawing/2014/main" id="{25100257-AE04-5B95-B5C4-F57989A2C2B7}"/>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8" name="Graphic 745">
                <a:extLst>
                  <a:ext uri="{FF2B5EF4-FFF2-40B4-BE49-F238E27FC236}">
                    <a16:creationId xmlns:a16="http://schemas.microsoft.com/office/drawing/2014/main" id="{BE9B8D64-BC82-D425-26E7-2983B08252F0}"/>
                  </a:ext>
                </a:extLst>
              </p:cNvPr>
              <p:cNvGrpSpPr/>
              <p:nvPr/>
            </p:nvGrpSpPr>
            <p:grpSpPr>
              <a:xfrm>
                <a:off x="3916203" y="2706623"/>
                <a:ext cx="75723" cy="75723"/>
                <a:chOff x="3916203" y="2706623"/>
                <a:chExt cx="75723" cy="75723"/>
              </a:xfrm>
            </p:grpSpPr>
            <p:sp>
              <p:nvSpPr>
                <p:cNvPr id="16198" name="Freeform: Shape 16197">
                  <a:extLst>
                    <a:ext uri="{FF2B5EF4-FFF2-40B4-BE49-F238E27FC236}">
                      <a16:creationId xmlns:a16="http://schemas.microsoft.com/office/drawing/2014/main" id="{781087BF-53E0-01BA-1644-749648EB2A19}"/>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9" name="Freeform: Shape 16198">
                  <a:extLst>
                    <a:ext uri="{FF2B5EF4-FFF2-40B4-BE49-F238E27FC236}">
                      <a16:creationId xmlns:a16="http://schemas.microsoft.com/office/drawing/2014/main" id="{F032A357-F1DB-AFE6-7455-012A09DCA5F9}"/>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9" name="Graphic 745">
                <a:extLst>
                  <a:ext uri="{FF2B5EF4-FFF2-40B4-BE49-F238E27FC236}">
                    <a16:creationId xmlns:a16="http://schemas.microsoft.com/office/drawing/2014/main" id="{C25D9CCE-59E2-68E2-DBB5-3650A171E3D1}"/>
                  </a:ext>
                </a:extLst>
              </p:cNvPr>
              <p:cNvGrpSpPr/>
              <p:nvPr/>
            </p:nvGrpSpPr>
            <p:grpSpPr>
              <a:xfrm>
                <a:off x="3916203" y="2733293"/>
                <a:ext cx="75723" cy="75723"/>
                <a:chOff x="3916203" y="2733293"/>
                <a:chExt cx="75723" cy="75723"/>
              </a:xfrm>
            </p:grpSpPr>
            <p:sp>
              <p:nvSpPr>
                <p:cNvPr id="16196" name="Freeform: Shape 16195">
                  <a:extLst>
                    <a:ext uri="{FF2B5EF4-FFF2-40B4-BE49-F238E27FC236}">
                      <a16:creationId xmlns:a16="http://schemas.microsoft.com/office/drawing/2014/main" id="{8B42CC46-D3D6-C030-0673-FDD8628BBE0C}"/>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7" name="Freeform: Shape 16196">
                  <a:extLst>
                    <a:ext uri="{FF2B5EF4-FFF2-40B4-BE49-F238E27FC236}">
                      <a16:creationId xmlns:a16="http://schemas.microsoft.com/office/drawing/2014/main" id="{5DBBEEEF-89AB-0930-EFFD-CEE8310CB017}"/>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0" name="Graphic 745">
                <a:extLst>
                  <a:ext uri="{FF2B5EF4-FFF2-40B4-BE49-F238E27FC236}">
                    <a16:creationId xmlns:a16="http://schemas.microsoft.com/office/drawing/2014/main" id="{ABBA60C8-FFCC-96D8-33FE-5E2902C9AF37}"/>
                  </a:ext>
                </a:extLst>
              </p:cNvPr>
              <p:cNvGrpSpPr/>
              <p:nvPr/>
            </p:nvGrpSpPr>
            <p:grpSpPr>
              <a:xfrm>
                <a:off x="3486150" y="2509837"/>
                <a:ext cx="75723" cy="75723"/>
                <a:chOff x="3486150" y="2509837"/>
                <a:chExt cx="75723" cy="75723"/>
              </a:xfrm>
            </p:grpSpPr>
            <p:sp>
              <p:nvSpPr>
                <p:cNvPr id="16194" name="Freeform: Shape 16193">
                  <a:extLst>
                    <a:ext uri="{FF2B5EF4-FFF2-40B4-BE49-F238E27FC236}">
                      <a16:creationId xmlns:a16="http://schemas.microsoft.com/office/drawing/2014/main" id="{78ADB3A0-6E08-E652-964C-E9C817C0E37A}"/>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5" name="Freeform: Shape 16194">
                  <a:extLst>
                    <a:ext uri="{FF2B5EF4-FFF2-40B4-BE49-F238E27FC236}">
                      <a16:creationId xmlns:a16="http://schemas.microsoft.com/office/drawing/2014/main" id="{840E48E4-3DE4-91E8-F7B2-4272973B1AE3}"/>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1" name="Graphic 745">
                <a:extLst>
                  <a:ext uri="{FF2B5EF4-FFF2-40B4-BE49-F238E27FC236}">
                    <a16:creationId xmlns:a16="http://schemas.microsoft.com/office/drawing/2014/main" id="{7BD59729-332C-E2D7-5967-9FB6677A72AE}"/>
                  </a:ext>
                </a:extLst>
              </p:cNvPr>
              <p:cNvGrpSpPr/>
              <p:nvPr/>
            </p:nvGrpSpPr>
            <p:grpSpPr>
              <a:xfrm>
                <a:off x="4306633" y="2894932"/>
                <a:ext cx="75723" cy="75628"/>
                <a:chOff x="4306633" y="2894932"/>
                <a:chExt cx="75723" cy="75628"/>
              </a:xfrm>
            </p:grpSpPr>
            <p:sp>
              <p:nvSpPr>
                <p:cNvPr id="16192" name="Freeform: Shape 16191">
                  <a:extLst>
                    <a:ext uri="{FF2B5EF4-FFF2-40B4-BE49-F238E27FC236}">
                      <a16:creationId xmlns:a16="http://schemas.microsoft.com/office/drawing/2014/main" id="{5A8451DF-49EE-90E0-5584-652EDA4A5FED}"/>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3" name="Freeform: Shape 16192">
                  <a:extLst>
                    <a:ext uri="{FF2B5EF4-FFF2-40B4-BE49-F238E27FC236}">
                      <a16:creationId xmlns:a16="http://schemas.microsoft.com/office/drawing/2014/main" id="{3B6DD398-C95C-C318-48A4-A35DB2AC28E7}"/>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2" name="Graphic 745">
                <a:extLst>
                  <a:ext uri="{FF2B5EF4-FFF2-40B4-BE49-F238E27FC236}">
                    <a16:creationId xmlns:a16="http://schemas.microsoft.com/office/drawing/2014/main" id="{7B07517B-A636-6F23-3914-EB421C607544}"/>
                  </a:ext>
                </a:extLst>
              </p:cNvPr>
              <p:cNvGrpSpPr/>
              <p:nvPr/>
            </p:nvGrpSpPr>
            <p:grpSpPr>
              <a:xfrm>
                <a:off x="4312634" y="2905410"/>
                <a:ext cx="75628" cy="75723"/>
                <a:chOff x="4312634" y="2905410"/>
                <a:chExt cx="75628" cy="75723"/>
              </a:xfrm>
            </p:grpSpPr>
            <p:sp>
              <p:nvSpPr>
                <p:cNvPr id="16190" name="Freeform: Shape 16189">
                  <a:extLst>
                    <a:ext uri="{FF2B5EF4-FFF2-40B4-BE49-F238E27FC236}">
                      <a16:creationId xmlns:a16="http://schemas.microsoft.com/office/drawing/2014/main" id="{97A5B90F-EE61-7100-9F31-80E5A3CDDEB2}"/>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1" name="Freeform: Shape 16190">
                  <a:extLst>
                    <a:ext uri="{FF2B5EF4-FFF2-40B4-BE49-F238E27FC236}">
                      <a16:creationId xmlns:a16="http://schemas.microsoft.com/office/drawing/2014/main" id="{412A5FF1-C9CF-A4BF-0E38-809D9D58E769}"/>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3" name="Graphic 745">
                <a:extLst>
                  <a:ext uri="{FF2B5EF4-FFF2-40B4-BE49-F238E27FC236}">
                    <a16:creationId xmlns:a16="http://schemas.microsoft.com/office/drawing/2014/main" id="{B60D2A7B-7F3D-1998-57BC-21B0BDAC5E7B}"/>
                  </a:ext>
                </a:extLst>
              </p:cNvPr>
              <p:cNvGrpSpPr/>
              <p:nvPr/>
            </p:nvGrpSpPr>
            <p:grpSpPr>
              <a:xfrm>
                <a:off x="4321111" y="2915602"/>
                <a:ext cx="75723" cy="75628"/>
                <a:chOff x="4321111" y="2915602"/>
                <a:chExt cx="75723" cy="75628"/>
              </a:xfrm>
            </p:grpSpPr>
            <p:sp>
              <p:nvSpPr>
                <p:cNvPr id="16188" name="Freeform: Shape 16187">
                  <a:extLst>
                    <a:ext uri="{FF2B5EF4-FFF2-40B4-BE49-F238E27FC236}">
                      <a16:creationId xmlns:a16="http://schemas.microsoft.com/office/drawing/2014/main" id="{0E1D7F9E-DF86-5E0F-2926-9815EB003A52}"/>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9" name="Freeform: Shape 16188">
                  <a:extLst>
                    <a:ext uri="{FF2B5EF4-FFF2-40B4-BE49-F238E27FC236}">
                      <a16:creationId xmlns:a16="http://schemas.microsoft.com/office/drawing/2014/main" id="{097483CB-C715-EA52-C302-C3AC68C35D92}"/>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4" name="Graphic 745">
                <a:extLst>
                  <a:ext uri="{FF2B5EF4-FFF2-40B4-BE49-F238E27FC236}">
                    <a16:creationId xmlns:a16="http://schemas.microsoft.com/office/drawing/2014/main" id="{9355C014-A23D-4D0C-86F9-3EACE4BB1A88}"/>
                  </a:ext>
                </a:extLst>
              </p:cNvPr>
              <p:cNvGrpSpPr/>
              <p:nvPr/>
            </p:nvGrpSpPr>
            <p:grpSpPr>
              <a:xfrm>
                <a:off x="4334256" y="2915602"/>
                <a:ext cx="75628" cy="75628"/>
                <a:chOff x="4334256" y="2915602"/>
                <a:chExt cx="75628" cy="75628"/>
              </a:xfrm>
            </p:grpSpPr>
            <p:sp>
              <p:nvSpPr>
                <p:cNvPr id="16186" name="Freeform: Shape 16185">
                  <a:extLst>
                    <a:ext uri="{FF2B5EF4-FFF2-40B4-BE49-F238E27FC236}">
                      <a16:creationId xmlns:a16="http://schemas.microsoft.com/office/drawing/2014/main" id="{A3D62228-E6CD-5231-6172-816C0A533870}"/>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7" name="Freeform: Shape 16186">
                  <a:extLst>
                    <a:ext uri="{FF2B5EF4-FFF2-40B4-BE49-F238E27FC236}">
                      <a16:creationId xmlns:a16="http://schemas.microsoft.com/office/drawing/2014/main" id="{09503453-2EBF-09F0-D77B-0213D907D900}"/>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5" name="Graphic 745">
                <a:extLst>
                  <a:ext uri="{FF2B5EF4-FFF2-40B4-BE49-F238E27FC236}">
                    <a16:creationId xmlns:a16="http://schemas.microsoft.com/office/drawing/2014/main" id="{1A6B00F1-0FD1-569A-F60E-68176ED32C2F}"/>
                  </a:ext>
                </a:extLst>
              </p:cNvPr>
              <p:cNvGrpSpPr/>
              <p:nvPr/>
            </p:nvGrpSpPr>
            <p:grpSpPr>
              <a:xfrm>
                <a:off x="4344543" y="2966656"/>
                <a:ext cx="75628" cy="75628"/>
                <a:chOff x="4344543" y="2966656"/>
                <a:chExt cx="75628" cy="75628"/>
              </a:xfrm>
            </p:grpSpPr>
            <p:sp>
              <p:nvSpPr>
                <p:cNvPr id="16184" name="Freeform: Shape 16183">
                  <a:extLst>
                    <a:ext uri="{FF2B5EF4-FFF2-40B4-BE49-F238E27FC236}">
                      <a16:creationId xmlns:a16="http://schemas.microsoft.com/office/drawing/2014/main" id="{3CE9500B-6621-ECA6-245E-0AD856841689}"/>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5" name="Freeform: Shape 16184">
                  <a:extLst>
                    <a:ext uri="{FF2B5EF4-FFF2-40B4-BE49-F238E27FC236}">
                      <a16:creationId xmlns:a16="http://schemas.microsoft.com/office/drawing/2014/main" id="{52316CF2-6042-D332-A096-91EA24AC4315}"/>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6" name="Graphic 745">
                <a:extLst>
                  <a:ext uri="{FF2B5EF4-FFF2-40B4-BE49-F238E27FC236}">
                    <a16:creationId xmlns:a16="http://schemas.microsoft.com/office/drawing/2014/main" id="{B567BAA6-A660-BE4D-8706-2745C693464F}"/>
                  </a:ext>
                </a:extLst>
              </p:cNvPr>
              <p:cNvGrpSpPr/>
              <p:nvPr/>
            </p:nvGrpSpPr>
            <p:grpSpPr>
              <a:xfrm>
                <a:off x="4344543" y="2981134"/>
                <a:ext cx="75628" cy="75723"/>
                <a:chOff x="4344543" y="2981134"/>
                <a:chExt cx="75628" cy="75723"/>
              </a:xfrm>
            </p:grpSpPr>
            <p:sp>
              <p:nvSpPr>
                <p:cNvPr id="16182" name="Freeform: Shape 16181">
                  <a:extLst>
                    <a:ext uri="{FF2B5EF4-FFF2-40B4-BE49-F238E27FC236}">
                      <a16:creationId xmlns:a16="http://schemas.microsoft.com/office/drawing/2014/main" id="{3A5CAE9C-5A76-9CD0-3ECC-0B053C255EC1}"/>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3" name="Freeform: Shape 16182">
                  <a:extLst>
                    <a:ext uri="{FF2B5EF4-FFF2-40B4-BE49-F238E27FC236}">
                      <a16:creationId xmlns:a16="http://schemas.microsoft.com/office/drawing/2014/main" id="{A04E8497-8F97-EEF6-7F85-2CFB82742CC8}"/>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7" name="Graphic 745">
                <a:extLst>
                  <a:ext uri="{FF2B5EF4-FFF2-40B4-BE49-F238E27FC236}">
                    <a16:creationId xmlns:a16="http://schemas.microsoft.com/office/drawing/2014/main" id="{DF4BCEF5-D8FF-64F1-987F-5A9B417F1A47}"/>
                  </a:ext>
                </a:extLst>
              </p:cNvPr>
              <p:cNvGrpSpPr/>
              <p:nvPr/>
            </p:nvGrpSpPr>
            <p:grpSpPr>
              <a:xfrm>
                <a:off x="4350448" y="3006375"/>
                <a:ext cx="75723" cy="75723"/>
                <a:chOff x="4350448" y="3006375"/>
                <a:chExt cx="75723" cy="75723"/>
              </a:xfrm>
            </p:grpSpPr>
            <p:sp>
              <p:nvSpPr>
                <p:cNvPr id="16180" name="Freeform: Shape 16179">
                  <a:extLst>
                    <a:ext uri="{FF2B5EF4-FFF2-40B4-BE49-F238E27FC236}">
                      <a16:creationId xmlns:a16="http://schemas.microsoft.com/office/drawing/2014/main" id="{A8A33C0F-8BA1-7644-E15F-475D4A1F4D71}"/>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1" name="Freeform: Shape 16180">
                  <a:extLst>
                    <a:ext uri="{FF2B5EF4-FFF2-40B4-BE49-F238E27FC236}">
                      <a16:creationId xmlns:a16="http://schemas.microsoft.com/office/drawing/2014/main" id="{35506731-4D33-62CE-F62D-149BBB5C8DF3}"/>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8" name="Graphic 745">
                <a:extLst>
                  <a:ext uri="{FF2B5EF4-FFF2-40B4-BE49-F238E27FC236}">
                    <a16:creationId xmlns:a16="http://schemas.microsoft.com/office/drawing/2014/main" id="{232D957E-3E8F-5374-A3F4-7398CF49B8DD}"/>
                  </a:ext>
                </a:extLst>
              </p:cNvPr>
              <p:cNvGrpSpPr/>
              <p:nvPr/>
            </p:nvGrpSpPr>
            <p:grpSpPr>
              <a:xfrm>
                <a:off x="4727829" y="3184397"/>
                <a:ext cx="75628" cy="75723"/>
                <a:chOff x="4727829" y="3184397"/>
                <a:chExt cx="75628" cy="75723"/>
              </a:xfrm>
            </p:grpSpPr>
            <p:sp>
              <p:nvSpPr>
                <p:cNvPr id="16178" name="Freeform: Shape 16177">
                  <a:extLst>
                    <a:ext uri="{FF2B5EF4-FFF2-40B4-BE49-F238E27FC236}">
                      <a16:creationId xmlns:a16="http://schemas.microsoft.com/office/drawing/2014/main" id="{F1303639-656D-4288-1975-D5BF605DBA01}"/>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9" name="Freeform: Shape 16178">
                  <a:extLst>
                    <a:ext uri="{FF2B5EF4-FFF2-40B4-BE49-F238E27FC236}">
                      <a16:creationId xmlns:a16="http://schemas.microsoft.com/office/drawing/2014/main" id="{AC22976B-0034-EB02-2185-4FC2DB151570}"/>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9" name="Graphic 745">
                <a:extLst>
                  <a:ext uri="{FF2B5EF4-FFF2-40B4-BE49-F238E27FC236}">
                    <a16:creationId xmlns:a16="http://schemas.microsoft.com/office/drawing/2014/main" id="{268A1FF8-8507-57A5-0771-8C1098E41883}"/>
                  </a:ext>
                </a:extLst>
              </p:cNvPr>
              <p:cNvGrpSpPr/>
              <p:nvPr/>
            </p:nvGrpSpPr>
            <p:grpSpPr>
              <a:xfrm>
                <a:off x="4736973" y="3189350"/>
                <a:ext cx="75723" cy="75628"/>
                <a:chOff x="4736973" y="3189350"/>
                <a:chExt cx="75723" cy="75628"/>
              </a:xfrm>
            </p:grpSpPr>
            <p:sp>
              <p:nvSpPr>
                <p:cNvPr id="16176" name="Freeform: Shape 16175">
                  <a:extLst>
                    <a:ext uri="{FF2B5EF4-FFF2-40B4-BE49-F238E27FC236}">
                      <a16:creationId xmlns:a16="http://schemas.microsoft.com/office/drawing/2014/main" id="{95D492A1-8185-E7FB-82A6-23713515E85A}"/>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7" name="Freeform: Shape 16176">
                  <a:extLst>
                    <a:ext uri="{FF2B5EF4-FFF2-40B4-BE49-F238E27FC236}">
                      <a16:creationId xmlns:a16="http://schemas.microsoft.com/office/drawing/2014/main" id="{38C63F0F-D266-83D6-7362-13FCA5835C19}"/>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0" name="Graphic 745">
                <a:extLst>
                  <a:ext uri="{FF2B5EF4-FFF2-40B4-BE49-F238E27FC236}">
                    <a16:creationId xmlns:a16="http://schemas.microsoft.com/office/drawing/2014/main" id="{AF94F0DC-83B5-F0B1-18C8-FA57F90B8B7D}"/>
                  </a:ext>
                </a:extLst>
              </p:cNvPr>
              <p:cNvGrpSpPr/>
              <p:nvPr/>
            </p:nvGrpSpPr>
            <p:grpSpPr>
              <a:xfrm>
                <a:off x="4749165" y="3206305"/>
                <a:ext cx="75628" cy="75723"/>
                <a:chOff x="4749165" y="3206305"/>
                <a:chExt cx="75628" cy="75723"/>
              </a:xfrm>
            </p:grpSpPr>
            <p:sp>
              <p:nvSpPr>
                <p:cNvPr id="16174" name="Freeform: Shape 16173">
                  <a:extLst>
                    <a:ext uri="{FF2B5EF4-FFF2-40B4-BE49-F238E27FC236}">
                      <a16:creationId xmlns:a16="http://schemas.microsoft.com/office/drawing/2014/main" id="{783E31B2-C17F-A98B-13A7-291A60A3300C}"/>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5" name="Freeform: Shape 16174">
                  <a:extLst>
                    <a:ext uri="{FF2B5EF4-FFF2-40B4-BE49-F238E27FC236}">
                      <a16:creationId xmlns:a16="http://schemas.microsoft.com/office/drawing/2014/main" id="{8AEE12C2-E93C-F515-199C-8BDE2095C341}"/>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1" name="Graphic 745">
                <a:extLst>
                  <a:ext uri="{FF2B5EF4-FFF2-40B4-BE49-F238E27FC236}">
                    <a16:creationId xmlns:a16="http://schemas.microsoft.com/office/drawing/2014/main" id="{E374497A-CD43-EF23-680F-0B10A1047D39}"/>
                  </a:ext>
                </a:extLst>
              </p:cNvPr>
              <p:cNvGrpSpPr/>
              <p:nvPr/>
            </p:nvGrpSpPr>
            <p:grpSpPr>
              <a:xfrm>
                <a:off x="4756308" y="3216496"/>
                <a:ext cx="75723" cy="75628"/>
                <a:chOff x="4756308" y="3216496"/>
                <a:chExt cx="75723" cy="75628"/>
              </a:xfrm>
            </p:grpSpPr>
            <p:sp>
              <p:nvSpPr>
                <p:cNvPr id="16172" name="Freeform: Shape 16171">
                  <a:extLst>
                    <a:ext uri="{FF2B5EF4-FFF2-40B4-BE49-F238E27FC236}">
                      <a16:creationId xmlns:a16="http://schemas.microsoft.com/office/drawing/2014/main" id="{A19A71B8-6063-08BF-4ADC-322668250391}"/>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3" name="Freeform: Shape 16172">
                  <a:extLst>
                    <a:ext uri="{FF2B5EF4-FFF2-40B4-BE49-F238E27FC236}">
                      <a16:creationId xmlns:a16="http://schemas.microsoft.com/office/drawing/2014/main" id="{D0B198B2-CFF2-EFD3-1357-C7BFC9824F99}"/>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2" name="Graphic 745">
                <a:extLst>
                  <a:ext uri="{FF2B5EF4-FFF2-40B4-BE49-F238E27FC236}">
                    <a16:creationId xmlns:a16="http://schemas.microsoft.com/office/drawing/2014/main" id="{5DDA7F01-82D1-3F32-3267-4BB93880AE6D}"/>
                  </a:ext>
                </a:extLst>
              </p:cNvPr>
              <p:cNvGrpSpPr/>
              <p:nvPr/>
            </p:nvGrpSpPr>
            <p:grpSpPr>
              <a:xfrm>
                <a:off x="4758880" y="3238785"/>
                <a:ext cx="75628" cy="75628"/>
                <a:chOff x="4758880" y="3238785"/>
                <a:chExt cx="75628" cy="75628"/>
              </a:xfrm>
            </p:grpSpPr>
            <p:sp>
              <p:nvSpPr>
                <p:cNvPr id="16170" name="Freeform: Shape 16169">
                  <a:extLst>
                    <a:ext uri="{FF2B5EF4-FFF2-40B4-BE49-F238E27FC236}">
                      <a16:creationId xmlns:a16="http://schemas.microsoft.com/office/drawing/2014/main" id="{7EB73781-1BCB-4FD9-A80F-3C26E9532122}"/>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1" name="Freeform: Shape 16170">
                  <a:extLst>
                    <a:ext uri="{FF2B5EF4-FFF2-40B4-BE49-F238E27FC236}">
                      <a16:creationId xmlns:a16="http://schemas.microsoft.com/office/drawing/2014/main" id="{77E834C8-9F5C-429C-2D2D-030BDC73D468}"/>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3" name="Graphic 745">
                <a:extLst>
                  <a:ext uri="{FF2B5EF4-FFF2-40B4-BE49-F238E27FC236}">
                    <a16:creationId xmlns:a16="http://schemas.microsoft.com/office/drawing/2014/main" id="{FAAADAF8-E61B-558B-5580-55C538A3AC86}"/>
                  </a:ext>
                </a:extLst>
              </p:cNvPr>
              <p:cNvGrpSpPr/>
              <p:nvPr/>
            </p:nvGrpSpPr>
            <p:grpSpPr>
              <a:xfrm>
                <a:off x="4765643" y="3249548"/>
                <a:ext cx="75723" cy="75723"/>
                <a:chOff x="4765643" y="3249548"/>
                <a:chExt cx="75723" cy="75723"/>
              </a:xfrm>
            </p:grpSpPr>
            <p:sp>
              <p:nvSpPr>
                <p:cNvPr id="16168" name="Freeform: Shape 16167">
                  <a:extLst>
                    <a:ext uri="{FF2B5EF4-FFF2-40B4-BE49-F238E27FC236}">
                      <a16:creationId xmlns:a16="http://schemas.microsoft.com/office/drawing/2014/main" id="{84D196B2-E435-A959-381A-0431D2E494AB}"/>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9" name="Freeform: Shape 16168">
                  <a:extLst>
                    <a:ext uri="{FF2B5EF4-FFF2-40B4-BE49-F238E27FC236}">
                      <a16:creationId xmlns:a16="http://schemas.microsoft.com/office/drawing/2014/main" id="{7DCC74AC-A753-7368-A3FF-5715F5F23A84}"/>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4" name="Graphic 745">
                <a:extLst>
                  <a:ext uri="{FF2B5EF4-FFF2-40B4-BE49-F238E27FC236}">
                    <a16:creationId xmlns:a16="http://schemas.microsoft.com/office/drawing/2014/main" id="{6D6A6DAC-EEFF-96A4-7E98-84105E3A2896}"/>
                  </a:ext>
                </a:extLst>
              </p:cNvPr>
              <p:cNvGrpSpPr/>
              <p:nvPr/>
            </p:nvGrpSpPr>
            <p:grpSpPr>
              <a:xfrm>
                <a:off x="4768881" y="3267169"/>
                <a:ext cx="75723" cy="75628"/>
                <a:chOff x="4768881" y="3267169"/>
                <a:chExt cx="75723" cy="75628"/>
              </a:xfrm>
            </p:grpSpPr>
            <p:sp>
              <p:nvSpPr>
                <p:cNvPr id="16166" name="Freeform: Shape 16165">
                  <a:extLst>
                    <a:ext uri="{FF2B5EF4-FFF2-40B4-BE49-F238E27FC236}">
                      <a16:creationId xmlns:a16="http://schemas.microsoft.com/office/drawing/2014/main" id="{D89E482E-A744-8FEA-219B-7D190670EE7B}"/>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7" name="Freeform: Shape 16166">
                  <a:extLst>
                    <a:ext uri="{FF2B5EF4-FFF2-40B4-BE49-F238E27FC236}">
                      <a16:creationId xmlns:a16="http://schemas.microsoft.com/office/drawing/2014/main" id="{360931EF-6BDD-228C-E806-983A6C5B9262}"/>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5" name="Graphic 745">
                <a:extLst>
                  <a:ext uri="{FF2B5EF4-FFF2-40B4-BE49-F238E27FC236}">
                    <a16:creationId xmlns:a16="http://schemas.microsoft.com/office/drawing/2014/main" id="{BFA8DB96-E13C-4D2E-A9BA-1020888B00D9}"/>
                  </a:ext>
                </a:extLst>
              </p:cNvPr>
              <p:cNvGrpSpPr/>
              <p:nvPr/>
            </p:nvGrpSpPr>
            <p:grpSpPr>
              <a:xfrm>
                <a:off x="4771739" y="3287458"/>
                <a:ext cx="75628" cy="75723"/>
                <a:chOff x="4771739" y="3287458"/>
                <a:chExt cx="75628" cy="75723"/>
              </a:xfrm>
            </p:grpSpPr>
            <p:sp>
              <p:nvSpPr>
                <p:cNvPr id="16164" name="Freeform: Shape 16163">
                  <a:extLst>
                    <a:ext uri="{FF2B5EF4-FFF2-40B4-BE49-F238E27FC236}">
                      <a16:creationId xmlns:a16="http://schemas.microsoft.com/office/drawing/2014/main" id="{CAA535D0-E7A6-0E82-C374-98B69AFF90C4}"/>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5" name="Freeform: Shape 16164">
                  <a:extLst>
                    <a:ext uri="{FF2B5EF4-FFF2-40B4-BE49-F238E27FC236}">
                      <a16:creationId xmlns:a16="http://schemas.microsoft.com/office/drawing/2014/main" id="{02FA712A-56D1-D497-FFC1-504964476E01}"/>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6" name="Graphic 745">
                <a:extLst>
                  <a:ext uri="{FF2B5EF4-FFF2-40B4-BE49-F238E27FC236}">
                    <a16:creationId xmlns:a16="http://schemas.microsoft.com/office/drawing/2014/main" id="{1F860671-DEDF-5182-FEBD-0B0294688BEC}"/>
                  </a:ext>
                </a:extLst>
              </p:cNvPr>
              <p:cNvGrpSpPr/>
              <p:nvPr/>
            </p:nvGrpSpPr>
            <p:grpSpPr>
              <a:xfrm>
                <a:off x="4771739" y="3299935"/>
                <a:ext cx="75628" cy="75723"/>
                <a:chOff x="4771739" y="3299935"/>
                <a:chExt cx="75628" cy="75723"/>
              </a:xfrm>
            </p:grpSpPr>
            <p:sp>
              <p:nvSpPr>
                <p:cNvPr id="16162" name="Freeform: Shape 16161">
                  <a:extLst>
                    <a:ext uri="{FF2B5EF4-FFF2-40B4-BE49-F238E27FC236}">
                      <a16:creationId xmlns:a16="http://schemas.microsoft.com/office/drawing/2014/main" id="{D9D3B0A7-E552-A30C-E6D6-2729DFC66963}"/>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3" name="Freeform: Shape 16162">
                  <a:extLst>
                    <a:ext uri="{FF2B5EF4-FFF2-40B4-BE49-F238E27FC236}">
                      <a16:creationId xmlns:a16="http://schemas.microsoft.com/office/drawing/2014/main" id="{2898D40F-5F97-2F1D-CFC9-D1825D7E4CE9}"/>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7" name="Graphic 745">
                <a:extLst>
                  <a:ext uri="{FF2B5EF4-FFF2-40B4-BE49-F238E27FC236}">
                    <a16:creationId xmlns:a16="http://schemas.microsoft.com/office/drawing/2014/main" id="{F8710C14-2F08-A77B-CE9C-8C786B596837}"/>
                  </a:ext>
                </a:extLst>
              </p:cNvPr>
              <p:cNvGrpSpPr/>
              <p:nvPr/>
            </p:nvGrpSpPr>
            <p:grpSpPr>
              <a:xfrm>
                <a:off x="4771739" y="3310127"/>
                <a:ext cx="75628" cy="75628"/>
                <a:chOff x="4771739" y="3310127"/>
                <a:chExt cx="75628" cy="75628"/>
              </a:xfrm>
            </p:grpSpPr>
            <p:sp>
              <p:nvSpPr>
                <p:cNvPr id="16160" name="Freeform: Shape 16159">
                  <a:extLst>
                    <a:ext uri="{FF2B5EF4-FFF2-40B4-BE49-F238E27FC236}">
                      <a16:creationId xmlns:a16="http://schemas.microsoft.com/office/drawing/2014/main" id="{7F85737D-8851-B80D-F501-79661213D7E4}"/>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1" name="Freeform: Shape 16160">
                  <a:extLst>
                    <a:ext uri="{FF2B5EF4-FFF2-40B4-BE49-F238E27FC236}">
                      <a16:creationId xmlns:a16="http://schemas.microsoft.com/office/drawing/2014/main" id="{E9DE5E7C-0AB2-B398-4E86-C85A42D27606}"/>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8" name="Graphic 745">
                <a:extLst>
                  <a:ext uri="{FF2B5EF4-FFF2-40B4-BE49-F238E27FC236}">
                    <a16:creationId xmlns:a16="http://schemas.microsoft.com/office/drawing/2014/main" id="{B6866E1F-CDBD-7D50-0318-4F5DE09FFE78}"/>
                  </a:ext>
                </a:extLst>
              </p:cNvPr>
              <p:cNvGrpSpPr/>
              <p:nvPr/>
            </p:nvGrpSpPr>
            <p:grpSpPr>
              <a:xfrm>
                <a:off x="4778502" y="3316604"/>
                <a:ext cx="75723" cy="75628"/>
                <a:chOff x="4778502" y="3316604"/>
                <a:chExt cx="75723" cy="75628"/>
              </a:xfrm>
            </p:grpSpPr>
            <p:sp>
              <p:nvSpPr>
                <p:cNvPr id="16158" name="Freeform: Shape 16157">
                  <a:extLst>
                    <a:ext uri="{FF2B5EF4-FFF2-40B4-BE49-F238E27FC236}">
                      <a16:creationId xmlns:a16="http://schemas.microsoft.com/office/drawing/2014/main" id="{930C4DF4-5886-F9A5-0282-6CDD0B3FABE0}"/>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9" name="Freeform: Shape 16158">
                  <a:extLst>
                    <a:ext uri="{FF2B5EF4-FFF2-40B4-BE49-F238E27FC236}">
                      <a16:creationId xmlns:a16="http://schemas.microsoft.com/office/drawing/2014/main" id="{CEF0FA05-D526-FDA8-2E85-E3ECD5D945FB}"/>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9" name="Graphic 745">
                <a:extLst>
                  <a:ext uri="{FF2B5EF4-FFF2-40B4-BE49-F238E27FC236}">
                    <a16:creationId xmlns:a16="http://schemas.microsoft.com/office/drawing/2014/main" id="{ECD158B9-222E-22F6-75B8-3910C3792491}"/>
                  </a:ext>
                </a:extLst>
              </p:cNvPr>
              <p:cNvGrpSpPr/>
              <p:nvPr/>
            </p:nvGrpSpPr>
            <p:grpSpPr>
              <a:xfrm>
                <a:off x="5163883" y="3466528"/>
                <a:ext cx="75723" cy="75723"/>
                <a:chOff x="5163883" y="3466528"/>
                <a:chExt cx="75723" cy="75723"/>
              </a:xfrm>
            </p:grpSpPr>
            <p:sp>
              <p:nvSpPr>
                <p:cNvPr id="16156" name="Freeform: Shape 16155">
                  <a:extLst>
                    <a:ext uri="{FF2B5EF4-FFF2-40B4-BE49-F238E27FC236}">
                      <a16:creationId xmlns:a16="http://schemas.microsoft.com/office/drawing/2014/main" id="{27C80488-C3A5-497B-A39B-FE3FFE0D0515}"/>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7" name="Freeform: Shape 16156">
                  <a:extLst>
                    <a:ext uri="{FF2B5EF4-FFF2-40B4-BE49-F238E27FC236}">
                      <a16:creationId xmlns:a16="http://schemas.microsoft.com/office/drawing/2014/main" id="{071D72E9-6819-21E1-B6ED-0D4353BCAED7}"/>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0" name="Graphic 745">
                <a:extLst>
                  <a:ext uri="{FF2B5EF4-FFF2-40B4-BE49-F238E27FC236}">
                    <a16:creationId xmlns:a16="http://schemas.microsoft.com/office/drawing/2014/main" id="{22A41F07-4D0C-1CDC-1FE4-89C0AB713CB6}"/>
                  </a:ext>
                </a:extLst>
              </p:cNvPr>
              <p:cNvGrpSpPr/>
              <p:nvPr/>
            </p:nvGrpSpPr>
            <p:grpSpPr>
              <a:xfrm>
                <a:off x="5180171" y="3471385"/>
                <a:ext cx="75628" cy="75723"/>
                <a:chOff x="5180171" y="3471385"/>
                <a:chExt cx="75628" cy="75723"/>
              </a:xfrm>
            </p:grpSpPr>
            <p:sp>
              <p:nvSpPr>
                <p:cNvPr id="16154" name="Freeform: Shape 16153">
                  <a:extLst>
                    <a:ext uri="{FF2B5EF4-FFF2-40B4-BE49-F238E27FC236}">
                      <a16:creationId xmlns:a16="http://schemas.microsoft.com/office/drawing/2014/main" id="{098A5F37-E991-250B-CF55-BA3B5C4EC1B0}"/>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5" name="Freeform: Shape 16154">
                  <a:extLst>
                    <a:ext uri="{FF2B5EF4-FFF2-40B4-BE49-F238E27FC236}">
                      <a16:creationId xmlns:a16="http://schemas.microsoft.com/office/drawing/2014/main" id="{5F46EFC6-8C36-57D8-9996-CE34B7E357DB}"/>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1" name="Graphic 745">
                <a:extLst>
                  <a:ext uri="{FF2B5EF4-FFF2-40B4-BE49-F238E27FC236}">
                    <a16:creationId xmlns:a16="http://schemas.microsoft.com/office/drawing/2014/main" id="{CD504375-570E-DBD6-FA59-EA5BE9F3DBB6}"/>
                  </a:ext>
                </a:extLst>
              </p:cNvPr>
              <p:cNvGrpSpPr/>
              <p:nvPr/>
            </p:nvGrpSpPr>
            <p:grpSpPr>
              <a:xfrm>
                <a:off x="5196554" y="3504342"/>
                <a:ext cx="75723" cy="75723"/>
                <a:chOff x="5196554" y="3504342"/>
                <a:chExt cx="75723" cy="75723"/>
              </a:xfrm>
            </p:grpSpPr>
            <p:sp>
              <p:nvSpPr>
                <p:cNvPr id="16152" name="Freeform: Shape 16151">
                  <a:extLst>
                    <a:ext uri="{FF2B5EF4-FFF2-40B4-BE49-F238E27FC236}">
                      <a16:creationId xmlns:a16="http://schemas.microsoft.com/office/drawing/2014/main" id="{848F1363-11B5-04F6-5008-6075C8191C98}"/>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3" name="Freeform: Shape 16152">
                  <a:extLst>
                    <a:ext uri="{FF2B5EF4-FFF2-40B4-BE49-F238E27FC236}">
                      <a16:creationId xmlns:a16="http://schemas.microsoft.com/office/drawing/2014/main" id="{EA856D1E-FCBA-7DFD-E9FC-361B63EB91AD}"/>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2" name="Graphic 745">
                <a:extLst>
                  <a:ext uri="{FF2B5EF4-FFF2-40B4-BE49-F238E27FC236}">
                    <a16:creationId xmlns:a16="http://schemas.microsoft.com/office/drawing/2014/main" id="{BAEEA72D-4C61-1669-4552-2C98EAF8C3D7}"/>
                  </a:ext>
                </a:extLst>
              </p:cNvPr>
              <p:cNvGrpSpPr/>
              <p:nvPr/>
            </p:nvGrpSpPr>
            <p:grpSpPr>
              <a:xfrm>
                <a:off x="5196554" y="3535870"/>
                <a:ext cx="75723" cy="75628"/>
                <a:chOff x="5196554" y="3535870"/>
                <a:chExt cx="75723" cy="75628"/>
              </a:xfrm>
            </p:grpSpPr>
            <p:sp>
              <p:nvSpPr>
                <p:cNvPr id="16150" name="Freeform: Shape 16149">
                  <a:extLst>
                    <a:ext uri="{FF2B5EF4-FFF2-40B4-BE49-F238E27FC236}">
                      <a16:creationId xmlns:a16="http://schemas.microsoft.com/office/drawing/2014/main" id="{CF9AE9FC-8292-67E3-B8E0-2D5BEFD16EC4}"/>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1" name="Freeform: Shape 16150">
                  <a:extLst>
                    <a:ext uri="{FF2B5EF4-FFF2-40B4-BE49-F238E27FC236}">
                      <a16:creationId xmlns:a16="http://schemas.microsoft.com/office/drawing/2014/main" id="{A93241B3-983D-F9ED-00D8-7821D97E1CE1}"/>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3" name="Graphic 745">
                <a:extLst>
                  <a:ext uri="{FF2B5EF4-FFF2-40B4-BE49-F238E27FC236}">
                    <a16:creationId xmlns:a16="http://schemas.microsoft.com/office/drawing/2014/main" id="{10413C31-7182-B688-B651-A3B0FF15A428}"/>
                  </a:ext>
                </a:extLst>
              </p:cNvPr>
              <p:cNvGrpSpPr/>
              <p:nvPr/>
            </p:nvGrpSpPr>
            <p:grpSpPr>
              <a:xfrm>
                <a:off x="5201793" y="3560158"/>
                <a:ext cx="75628" cy="75723"/>
                <a:chOff x="5201793" y="3560158"/>
                <a:chExt cx="75628" cy="75723"/>
              </a:xfrm>
            </p:grpSpPr>
            <p:sp>
              <p:nvSpPr>
                <p:cNvPr id="16148" name="Freeform: Shape 16147">
                  <a:extLst>
                    <a:ext uri="{FF2B5EF4-FFF2-40B4-BE49-F238E27FC236}">
                      <a16:creationId xmlns:a16="http://schemas.microsoft.com/office/drawing/2014/main" id="{E01726EF-1E7E-5DB4-CFE1-78943476999A}"/>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9" name="Freeform: Shape 16148">
                  <a:extLst>
                    <a:ext uri="{FF2B5EF4-FFF2-40B4-BE49-F238E27FC236}">
                      <a16:creationId xmlns:a16="http://schemas.microsoft.com/office/drawing/2014/main" id="{8228AF25-41BF-A760-122D-C4AEFB7F8839}"/>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4" name="Graphic 745">
                <a:extLst>
                  <a:ext uri="{FF2B5EF4-FFF2-40B4-BE49-F238E27FC236}">
                    <a16:creationId xmlns:a16="http://schemas.microsoft.com/office/drawing/2014/main" id="{1A300125-092A-93AF-C3C3-86DACC18527D}"/>
                  </a:ext>
                </a:extLst>
              </p:cNvPr>
              <p:cNvGrpSpPr/>
              <p:nvPr/>
            </p:nvGrpSpPr>
            <p:grpSpPr>
              <a:xfrm>
                <a:off x="5204174" y="3580066"/>
                <a:ext cx="75723" cy="75723"/>
                <a:chOff x="5204174" y="3580066"/>
                <a:chExt cx="75723" cy="75723"/>
              </a:xfrm>
            </p:grpSpPr>
            <p:sp>
              <p:nvSpPr>
                <p:cNvPr id="16146" name="Freeform: Shape 16145">
                  <a:extLst>
                    <a:ext uri="{FF2B5EF4-FFF2-40B4-BE49-F238E27FC236}">
                      <a16:creationId xmlns:a16="http://schemas.microsoft.com/office/drawing/2014/main" id="{7E498911-450D-E129-ECD7-FB7B7B5DE971}"/>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7" name="Freeform: Shape 16146">
                  <a:extLst>
                    <a:ext uri="{FF2B5EF4-FFF2-40B4-BE49-F238E27FC236}">
                      <a16:creationId xmlns:a16="http://schemas.microsoft.com/office/drawing/2014/main" id="{94AFB3A7-CC26-979C-4576-DF0E3EDCCEFF}"/>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5" name="Graphic 745">
                <a:extLst>
                  <a:ext uri="{FF2B5EF4-FFF2-40B4-BE49-F238E27FC236}">
                    <a16:creationId xmlns:a16="http://schemas.microsoft.com/office/drawing/2014/main" id="{87A3D3A9-2881-21C6-2F9C-24F056C4E544}"/>
                  </a:ext>
                </a:extLst>
              </p:cNvPr>
              <p:cNvGrpSpPr/>
              <p:nvPr/>
            </p:nvGrpSpPr>
            <p:grpSpPr>
              <a:xfrm>
                <a:off x="5217985" y="3580066"/>
                <a:ext cx="75723" cy="75723"/>
                <a:chOff x="5217985" y="3580066"/>
                <a:chExt cx="75723" cy="75723"/>
              </a:xfrm>
            </p:grpSpPr>
            <p:sp>
              <p:nvSpPr>
                <p:cNvPr id="16144" name="Freeform: Shape 16143">
                  <a:extLst>
                    <a:ext uri="{FF2B5EF4-FFF2-40B4-BE49-F238E27FC236}">
                      <a16:creationId xmlns:a16="http://schemas.microsoft.com/office/drawing/2014/main" id="{C984F04A-939D-AE34-841B-C9FE33A8EE85}"/>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5" name="Freeform: Shape 16144">
                  <a:extLst>
                    <a:ext uri="{FF2B5EF4-FFF2-40B4-BE49-F238E27FC236}">
                      <a16:creationId xmlns:a16="http://schemas.microsoft.com/office/drawing/2014/main" id="{8CF1200C-29F4-8C71-6192-7B762700A187}"/>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6" name="Graphic 745">
                <a:extLst>
                  <a:ext uri="{FF2B5EF4-FFF2-40B4-BE49-F238E27FC236}">
                    <a16:creationId xmlns:a16="http://schemas.microsoft.com/office/drawing/2014/main" id="{336BAA71-92A7-29D9-05DD-F5D98E42FCBD}"/>
                  </a:ext>
                </a:extLst>
              </p:cNvPr>
              <p:cNvGrpSpPr/>
              <p:nvPr/>
            </p:nvGrpSpPr>
            <p:grpSpPr>
              <a:xfrm>
                <a:off x="5196554" y="3517772"/>
                <a:ext cx="75723" cy="75723"/>
                <a:chOff x="5196554" y="3517772"/>
                <a:chExt cx="75723" cy="75723"/>
              </a:xfrm>
            </p:grpSpPr>
            <p:sp>
              <p:nvSpPr>
                <p:cNvPr id="16142" name="Freeform: Shape 16141">
                  <a:extLst>
                    <a:ext uri="{FF2B5EF4-FFF2-40B4-BE49-F238E27FC236}">
                      <a16:creationId xmlns:a16="http://schemas.microsoft.com/office/drawing/2014/main" id="{11A04801-83C7-D138-8AA0-B14200B17E83}"/>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3" name="Freeform: Shape 16142">
                  <a:extLst>
                    <a:ext uri="{FF2B5EF4-FFF2-40B4-BE49-F238E27FC236}">
                      <a16:creationId xmlns:a16="http://schemas.microsoft.com/office/drawing/2014/main" id="{E9D972CD-20CF-5771-378C-59D4D816455F}"/>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7" name="Graphic 745">
                <a:extLst>
                  <a:ext uri="{FF2B5EF4-FFF2-40B4-BE49-F238E27FC236}">
                    <a16:creationId xmlns:a16="http://schemas.microsoft.com/office/drawing/2014/main" id="{76618F14-21D4-1A7C-6B2A-06BE313FEA48}"/>
                  </a:ext>
                </a:extLst>
              </p:cNvPr>
              <p:cNvGrpSpPr/>
              <p:nvPr/>
            </p:nvGrpSpPr>
            <p:grpSpPr>
              <a:xfrm>
                <a:off x="5234463" y="3624643"/>
                <a:ext cx="75628" cy="75628"/>
                <a:chOff x="5234463" y="3624643"/>
                <a:chExt cx="75628" cy="75628"/>
              </a:xfrm>
            </p:grpSpPr>
            <p:sp>
              <p:nvSpPr>
                <p:cNvPr id="16140" name="Freeform: Shape 16139">
                  <a:extLst>
                    <a:ext uri="{FF2B5EF4-FFF2-40B4-BE49-F238E27FC236}">
                      <a16:creationId xmlns:a16="http://schemas.microsoft.com/office/drawing/2014/main" id="{3CDE6E77-3832-C713-74D6-3E2CE57095F9}"/>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1" name="Freeform: Shape 16140">
                  <a:extLst>
                    <a:ext uri="{FF2B5EF4-FFF2-40B4-BE49-F238E27FC236}">
                      <a16:creationId xmlns:a16="http://schemas.microsoft.com/office/drawing/2014/main" id="{EA3ABF65-C7D8-ABA1-0ACB-A9469C0EF018}"/>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8" name="Graphic 745">
                <a:extLst>
                  <a:ext uri="{FF2B5EF4-FFF2-40B4-BE49-F238E27FC236}">
                    <a16:creationId xmlns:a16="http://schemas.microsoft.com/office/drawing/2014/main" id="{465FA5B7-957E-6F2C-FEB3-0B0D5E9BC500}"/>
                  </a:ext>
                </a:extLst>
              </p:cNvPr>
              <p:cNvGrpSpPr/>
              <p:nvPr/>
            </p:nvGrpSpPr>
            <p:grpSpPr>
              <a:xfrm>
                <a:off x="5591079" y="3728751"/>
                <a:ext cx="75723" cy="75723"/>
                <a:chOff x="5591079" y="3728751"/>
                <a:chExt cx="75723" cy="75723"/>
              </a:xfrm>
            </p:grpSpPr>
            <p:sp>
              <p:nvSpPr>
                <p:cNvPr id="16138" name="Freeform: Shape 16137">
                  <a:extLst>
                    <a:ext uri="{FF2B5EF4-FFF2-40B4-BE49-F238E27FC236}">
                      <a16:creationId xmlns:a16="http://schemas.microsoft.com/office/drawing/2014/main" id="{67FEF369-77F6-C184-8128-89EF5378F1C9}"/>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9" name="Freeform: Shape 16138">
                  <a:extLst>
                    <a:ext uri="{FF2B5EF4-FFF2-40B4-BE49-F238E27FC236}">
                      <a16:creationId xmlns:a16="http://schemas.microsoft.com/office/drawing/2014/main" id="{75FA0293-6535-63E4-4B95-4131BE40CBBA}"/>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9" name="Graphic 745">
                <a:extLst>
                  <a:ext uri="{FF2B5EF4-FFF2-40B4-BE49-F238E27FC236}">
                    <a16:creationId xmlns:a16="http://schemas.microsoft.com/office/drawing/2014/main" id="{B66A4AC4-DE59-CEA0-1051-BADFBDB369F7}"/>
                  </a:ext>
                </a:extLst>
              </p:cNvPr>
              <p:cNvGrpSpPr/>
              <p:nvPr/>
            </p:nvGrpSpPr>
            <p:grpSpPr>
              <a:xfrm>
                <a:off x="5602509" y="3737323"/>
                <a:ext cx="75628" cy="75628"/>
                <a:chOff x="5602509" y="3737323"/>
                <a:chExt cx="75628" cy="75628"/>
              </a:xfrm>
            </p:grpSpPr>
            <p:sp>
              <p:nvSpPr>
                <p:cNvPr id="16136" name="Freeform: Shape 16135">
                  <a:extLst>
                    <a:ext uri="{FF2B5EF4-FFF2-40B4-BE49-F238E27FC236}">
                      <a16:creationId xmlns:a16="http://schemas.microsoft.com/office/drawing/2014/main" id="{D487BD66-0B29-B7AB-0AC4-FD4B4DAEE418}"/>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7" name="Freeform: Shape 16136">
                  <a:extLst>
                    <a:ext uri="{FF2B5EF4-FFF2-40B4-BE49-F238E27FC236}">
                      <a16:creationId xmlns:a16="http://schemas.microsoft.com/office/drawing/2014/main" id="{2D01920B-D567-D538-DAD5-F04D11AD9461}"/>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0" name="Graphic 745">
                <a:extLst>
                  <a:ext uri="{FF2B5EF4-FFF2-40B4-BE49-F238E27FC236}">
                    <a16:creationId xmlns:a16="http://schemas.microsoft.com/office/drawing/2014/main" id="{2F155E1B-7429-FF76-D561-58031DBA5D42}"/>
                  </a:ext>
                </a:extLst>
              </p:cNvPr>
              <p:cNvGrpSpPr/>
              <p:nvPr/>
            </p:nvGrpSpPr>
            <p:grpSpPr>
              <a:xfrm>
                <a:off x="5615844" y="3747991"/>
                <a:ext cx="75723" cy="75723"/>
                <a:chOff x="5615844" y="3747991"/>
                <a:chExt cx="75723" cy="75723"/>
              </a:xfrm>
            </p:grpSpPr>
            <p:sp>
              <p:nvSpPr>
                <p:cNvPr id="16134" name="Freeform: Shape 16133">
                  <a:extLst>
                    <a:ext uri="{FF2B5EF4-FFF2-40B4-BE49-F238E27FC236}">
                      <a16:creationId xmlns:a16="http://schemas.microsoft.com/office/drawing/2014/main" id="{2FFFCC26-6D4A-9E94-DD99-3FC37B977E3E}"/>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5" name="Freeform: Shape 16134">
                  <a:extLst>
                    <a:ext uri="{FF2B5EF4-FFF2-40B4-BE49-F238E27FC236}">
                      <a16:creationId xmlns:a16="http://schemas.microsoft.com/office/drawing/2014/main" id="{0EBF952D-AAD0-356D-3564-DEE1893162B2}"/>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1" name="Graphic 745">
                <a:extLst>
                  <a:ext uri="{FF2B5EF4-FFF2-40B4-BE49-F238E27FC236}">
                    <a16:creationId xmlns:a16="http://schemas.microsoft.com/office/drawing/2014/main" id="{8A8273AE-14B2-BA4B-6622-2015118C3AFE}"/>
                  </a:ext>
                </a:extLst>
              </p:cNvPr>
              <p:cNvGrpSpPr/>
              <p:nvPr/>
            </p:nvGrpSpPr>
            <p:grpSpPr>
              <a:xfrm>
                <a:off x="5631275" y="3761803"/>
                <a:ext cx="75628" cy="75628"/>
                <a:chOff x="5631275" y="3761803"/>
                <a:chExt cx="75628" cy="75628"/>
              </a:xfrm>
            </p:grpSpPr>
            <p:sp>
              <p:nvSpPr>
                <p:cNvPr id="16132" name="Freeform: Shape 16131">
                  <a:extLst>
                    <a:ext uri="{FF2B5EF4-FFF2-40B4-BE49-F238E27FC236}">
                      <a16:creationId xmlns:a16="http://schemas.microsoft.com/office/drawing/2014/main" id="{49EC2B8E-51A4-A17A-79AC-28A3AF374D98}"/>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3" name="Freeform: Shape 16132">
                  <a:extLst>
                    <a:ext uri="{FF2B5EF4-FFF2-40B4-BE49-F238E27FC236}">
                      <a16:creationId xmlns:a16="http://schemas.microsoft.com/office/drawing/2014/main" id="{D9FE3F99-A235-4596-6871-7C01CEB8818C}"/>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2" name="Graphic 745">
                <a:extLst>
                  <a:ext uri="{FF2B5EF4-FFF2-40B4-BE49-F238E27FC236}">
                    <a16:creationId xmlns:a16="http://schemas.microsoft.com/office/drawing/2014/main" id="{67F2CAF2-A96E-A3F3-EAB4-5CB63D3B2FBC}"/>
                  </a:ext>
                </a:extLst>
              </p:cNvPr>
              <p:cNvGrpSpPr/>
              <p:nvPr/>
            </p:nvGrpSpPr>
            <p:grpSpPr>
              <a:xfrm>
                <a:off x="5642229" y="3780948"/>
                <a:ext cx="75628" cy="75723"/>
                <a:chOff x="5642229" y="3780948"/>
                <a:chExt cx="75628" cy="75723"/>
              </a:xfrm>
            </p:grpSpPr>
            <p:sp>
              <p:nvSpPr>
                <p:cNvPr id="16130" name="Freeform: Shape 16129">
                  <a:extLst>
                    <a:ext uri="{FF2B5EF4-FFF2-40B4-BE49-F238E27FC236}">
                      <a16:creationId xmlns:a16="http://schemas.microsoft.com/office/drawing/2014/main" id="{C07C21CB-DE10-EDA4-3E66-8AC80FEDDF7B}"/>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1" name="Freeform: Shape 16130">
                  <a:extLst>
                    <a:ext uri="{FF2B5EF4-FFF2-40B4-BE49-F238E27FC236}">
                      <a16:creationId xmlns:a16="http://schemas.microsoft.com/office/drawing/2014/main" id="{A855B274-8BEB-DB28-73D2-7D2AA82FE4FE}"/>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3" name="Graphic 745">
                <a:extLst>
                  <a:ext uri="{FF2B5EF4-FFF2-40B4-BE49-F238E27FC236}">
                    <a16:creationId xmlns:a16="http://schemas.microsoft.com/office/drawing/2014/main" id="{F2C0CD7E-89E5-DC46-A11C-F949075AA191}"/>
                  </a:ext>
                </a:extLst>
              </p:cNvPr>
              <p:cNvGrpSpPr/>
              <p:nvPr/>
            </p:nvGrpSpPr>
            <p:grpSpPr>
              <a:xfrm>
                <a:off x="5649753" y="3792664"/>
                <a:ext cx="75723" cy="75723"/>
                <a:chOff x="5649753" y="3792664"/>
                <a:chExt cx="75723" cy="75723"/>
              </a:xfrm>
            </p:grpSpPr>
            <p:sp>
              <p:nvSpPr>
                <p:cNvPr id="16128" name="Freeform: Shape 16127">
                  <a:extLst>
                    <a:ext uri="{FF2B5EF4-FFF2-40B4-BE49-F238E27FC236}">
                      <a16:creationId xmlns:a16="http://schemas.microsoft.com/office/drawing/2014/main" id="{F280BFF3-FB09-AE10-B6F7-0123BA6F2628}"/>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9" name="Freeform: Shape 16128">
                  <a:extLst>
                    <a:ext uri="{FF2B5EF4-FFF2-40B4-BE49-F238E27FC236}">
                      <a16:creationId xmlns:a16="http://schemas.microsoft.com/office/drawing/2014/main" id="{9865626F-B967-3535-BBCD-BC843F43D439}"/>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4" name="Graphic 745">
                <a:extLst>
                  <a:ext uri="{FF2B5EF4-FFF2-40B4-BE49-F238E27FC236}">
                    <a16:creationId xmlns:a16="http://schemas.microsoft.com/office/drawing/2014/main" id="{F60206DF-8651-8EE5-892D-36F5BE56DF81}"/>
                  </a:ext>
                </a:extLst>
              </p:cNvPr>
              <p:cNvGrpSpPr/>
              <p:nvPr/>
            </p:nvGrpSpPr>
            <p:grpSpPr>
              <a:xfrm>
                <a:off x="5666803" y="3792664"/>
                <a:ext cx="75723" cy="75723"/>
                <a:chOff x="5666803" y="3792664"/>
                <a:chExt cx="75723" cy="75723"/>
              </a:xfrm>
            </p:grpSpPr>
            <p:sp>
              <p:nvSpPr>
                <p:cNvPr id="16126" name="Freeform: Shape 16125">
                  <a:extLst>
                    <a:ext uri="{FF2B5EF4-FFF2-40B4-BE49-F238E27FC236}">
                      <a16:creationId xmlns:a16="http://schemas.microsoft.com/office/drawing/2014/main" id="{9E6EFFD7-177E-B039-0B8C-8657DD0B3FEE}"/>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7" name="Freeform: Shape 16126">
                  <a:extLst>
                    <a:ext uri="{FF2B5EF4-FFF2-40B4-BE49-F238E27FC236}">
                      <a16:creationId xmlns:a16="http://schemas.microsoft.com/office/drawing/2014/main" id="{4192E85A-9A33-F97A-43EB-BD30150BF4AC}"/>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5" name="Graphic 745">
                <a:extLst>
                  <a:ext uri="{FF2B5EF4-FFF2-40B4-BE49-F238E27FC236}">
                    <a16:creationId xmlns:a16="http://schemas.microsoft.com/office/drawing/2014/main" id="{C76CCCA6-A256-AB62-CABF-E379A6884CEC}"/>
                  </a:ext>
                </a:extLst>
              </p:cNvPr>
              <p:cNvGrpSpPr/>
              <p:nvPr/>
            </p:nvGrpSpPr>
            <p:grpSpPr>
              <a:xfrm>
                <a:off x="5680043" y="3792664"/>
                <a:ext cx="75723" cy="75723"/>
                <a:chOff x="5680043" y="3792664"/>
                <a:chExt cx="75723" cy="75723"/>
              </a:xfrm>
            </p:grpSpPr>
            <p:sp>
              <p:nvSpPr>
                <p:cNvPr id="16124" name="Freeform: Shape 16123">
                  <a:extLst>
                    <a:ext uri="{FF2B5EF4-FFF2-40B4-BE49-F238E27FC236}">
                      <a16:creationId xmlns:a16="http://schemas.microsoft.com/office/drawing/2014/main" id="{2CFEDE54-FAA7-3776-A28E-3846AAF232F4}"/>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5" name="Freeform: Shape 16124">
                  <a:extLst>
                    <a:ext uri="{FF2B5EF4-FFF2-40B4-BE49-F238E27FC236}">
                      <a16:creationId xmlns:a16="http://schemas.microsoft.com/office/drawing/2014/main" id="{4DBC552E-F606-7FA9-B80A-3571DD18E704}"/>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6" name="Graphic 745">
                <a:extLst>
                  <a:ext uri="{FF2B5EF4-FFF2-40B4-BE49-F238E27FC236}">
                    <a16:creationId xmlns:a16="http://schemas.microsoft.com/office/drawing/2014/main" id="{44B21F56-4CD2-BAD5-317F-DBD639C311B4}"/>
                  </a:ext>
                </a:extLst>
              </p:cNvPr>
              <p:cNvGrpSpPr/>
              <p:nvPr/>
            </p:nvGrpSpPr>
            <p:grpSpPr>
              <a:xfrm>
                <a:off x="5972937" y="3841051"/>
                <a:ext cx="75723" cy="75723"/>
                <a:chOff x="5972937" y="3841051"/>
                <a:chExt cx="75723" cy="75723"/>
              </a:xfrm>
            </p:grpSpPr>
            <p:sp>
              <p:nvSpPr>
                <p:cNvPr id="16122" name="Freeform: Shape 16121">
                  <a:extLst>
                    <a:ext uri="{FF2B5EF4-FFF2-40B4-BE49-F238E27FC236}">
                      <a16:creationId xmlns:a16="http://schemas.microsoft.com/office/drawing/2014/main" id="{D6CE2FE7-E30F-5A57-7736-99371051A3B3}"/>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3" name="Freeform: Shape 16122">
                  <a:extLst>
                    <a:ext uri="{FF2B5EF4-FFF2-40B4-BE49-F238E27FC236}">
                      <a16:creationId xmlns:a16="http://schemas.microsoft.com/office/drawing/2014/main" id="{55AAEE88-CFF3-8F43-923A-D29571EAC9BA}"/>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7" name="Graphic 745">
                <a:extLst>
                  <a:ext uri="{FF2B5EF4-FFF2-40B4-BE49-F238E27FC236}">
                    <a16:creationId xmlns:a16="http://schemas.microsoft.com/office/drawing/2014/main" id="{C9FACC4D-F925-E144-FA41-AF67A103567F}"/>
                  </a:ext>
                </a:extLst>
              </p:cNvPr>
              <p:cNvGrpSpPr/>
              <p:nvPr/>
            </p:nvGrpSpPr>
            <p:grpSpPr>
              <a:xfrm>
                <a:off x="6008560" y="3841051"/>
                <a:ext cx="75723" cy="75723"/>
                <a:chOff x="6008560" y="3841051"/>
                <a:chExt cx="75723" cy="75723"/>
              </a:xfrm>
            </p:grpSpPr>
            <p:sp>
              <p:nvSpPr>
                <p:cNvPr id="16120" name="Freeform: Shape 16119">
                  <a:extLst>
                    <a:ext uri="{FF2B5EF4-FFF2-40B4-BE49-F238E27FC236}">
                      <a16:creationId xmlns:a16="http://schemas.microsoft.com/office/drawing/2014/main" id="{6AA50CBC-D89F-20A5-7B38-722DCC0A898F}"/>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1" name="Freeform: Shape 16120">
                  <a:extLst>
                    <a:ext uri="{FF2B5EF4-FFF2-40B4-BE49-F238E27FC236}">
                      <a16:creationId xmlns:a16="http://schemas.microsoft.com/office/drawing/2014/main" id="{3672F8F1-5AA9-13F4-5CE4-F5BB8BCAF99A}"/>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8" name="Graphic 745">
                <a:extLst>
                  <a:ext uri="{FF2B5EF4-FFF2-40B4-BE49-F238E27FC236}">
                    <a16:creationId xmlns:a16="http://schemas.microsoft.com/office/drawing/2014/main" id="{239C7F49-E16D-744E-9A6E-F1E30183214E}"/>
                  </a:ext>
                </a:extLst>
              </p:cNvPr>
              <p:cNvGrpSpPr/>
              <p:nvPr/>
            </p:nvGrpSpPr>
            <p:grpSpPr>
              <a:xfrm>
                <a:off x="6024848" y="3841051"/>
                <a:ext cx="75628" cy="75723"/>
                <a:chOff x="6024848" y="3841051"/>
                <a:chExt cx="75628" cy="75723"/>
              </a:xfrm>
            </p:grpSpPr>
            <p:sp>
              <p:nvSpPr>
                <p:cNvPr id="16118" name="Freeform: Shape 16117">
                  <a:extLst>
                    <a:ext uri="{FF2B5EF4-FFF2-40B4-BE49-F238E27FC236}">
                      <a16:creationId xmlns:a16="http://schemas.microsoft.com/office/drawing/2014/main" id="{5C174A8D-0DEB-B10D-119F-1FB61EAE4528}"/>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9" name="Freeform: Shape 16118">
                  <a:extLst>
                    <a:ext uri="{FF2B5EF4-FFF2-40B4-BE49-F238E27FC236}">
                      <a16:creationId xmlns:a16="http://schemas.microsoft.com/office/drawing/2014/main" id="{AD6431D1-15D7-1665-6E95-FA7E86552709}"/>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9" name="Graphic 745">
                <a:extLst>
                  <a:ext uri="{FF2B5EF4-FFF2-40B4-BE49-F238E27FC236}">
                    <a16:creationId xmlns:a16="http://schemas.microsoft.com/office/drawing/2014/main" id="{30FB8804-CE02-7E27-AB8A-F38EF5D81A61}"/>
                  </a:ext>
                </a:extLst>
              </p:cNvPr>
              <p:cNvGrpSpPr/>
              <p:nvPr/>
            </p:nvGrpSpPr>
            <p:grpSpPr>
              <a:xfrm>
                <a:off x="6036564" y="3841051"/>
                <a:ext cx="75723" cy="75723"/>
                <a:chOff x="6036564" y="3841051"/>
                <a:chExt cx="75723" cy="75723"/>
              </a:xfrm>
            </p:grpSpPr>
            <p:sp>
              <p:nvSpPr>
                <p:cNvPr id="16116" name="Freeform: Shape 16115">
                  <a:extLst>
                    <a:ext uri="{FF2B5EF4-FFF2-40B4-BE49-F238E27FC236}">
                      <a16:creationId xmlns:a16="http://schemas.microsoft.com/office/drawing/2014/main" id="{D1A6DC03-AF81-5B0D-7221-6D701A674DF0}"/>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7" name="Freeform: Shape 16116">
                  <a:extLst>
                    <a:ext uri="{FF2B5EF4-FFF2-40B4-BE49-F238E27FC236}">
                      <a16:creationId xmlns:a16="http://schemas.microsoft.com/office/drawing/2014/main" id="{F11FD15E-372D-3703-534E-2EECD93758E1}"/>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0" name="Graphic 745">
                <a:extLst>
                  <a:ext uri="{FF2B5EF4-FFF2-40B4-BE49-F238E27FC236}">
                    <a16:creationId xmlns:a16="http://schemas.microsoft.com/office/drawing/2014/main" id="{950907E4-CFE3-EFC8-7BC0-12D196BDF9E9}"/>
                  </a:ext>
                </a:extLst>
              </p:cNvPr>
              <p:cNvGrpSpPr/>
              <p:nvPr/>
            </p:nvGrpSpPr>
            <p:grpSpPr>
              <a:xfrm>
                <a:off x="6052756" y="3871435"/>
                <a:ext cx="75723" cy="75723"/>
                <a:chOff x="6052756" y="3871435"/>
                <a:chExt cx="75723" cy="75723"/>
              </a:xfrm>
            </p:grpSpPr>
            <p:sp>
              <p:nvSpPr>
                <p:cNvPr id="16114" name="Freeform: Shape 16113">
                  <a:extLst>
                    <a:ext uri="{FF2B5EF4-FFF2-40B4-BE49-F238E27FC236}">
                      <a16:creationId xmlns:a16="http://schemas.microsoft.com/office/drawing/2014/main" id="{61598F38-E92E-BC4B-4370-3360FF94FD5A}"/>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5" name="Freeform: Shape 16114">
                  <a:extLst>
                    <a:ext uri="{FF2B5EF4-FFF2-40B4-BE49-F238E27FC236}">
                      <a16:creationId xmlns:a16="http://schemas.microsoft.com/office/drawing/2014/main" id="{1500DC8F-D654-A3E5-EC23-5392E0E35E82}"/>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1" name="Graphic 745">
                <a:extLst>
                  <a:ext uri="{FF2B5EF4-FFF2-40B4-BE49-F238E27FC236}">
                    <a16:creationId xmlns:a16="http://schemas.microsoft.com/office/drawing/2014/main" id="{7983C4AF-4DDF-DDAE-7D98-9F28DAE0E678}"/>
                  </a:ext>
                </a:extLst>
              </p:cNvPr>
              <p:cNvGrpSpPr/>
              <p:nvPr/>
            </p:nvGrpSpPr>
            <p:grpSpPr>
              <a:xfrm>
                <a:off x="6066567" y="3871435"/>
                <a:ext cx="75723" cy="75723"/>
                <a:chOff x="6066567" y="3871435"/>
                <a:chExt cx="75723" cy="75723"/>
              </a:xfrm>
            </p:grpSpPr>
            <p:sp>
              <p:nvSpPr>
                <p:cNvPr id="16112" name="Freeform: Shape 16111">
                  <a:extLst>
                    <a:ext uri="{FF2B5EF4-FFF2-40B4-BE49-F238E27FC236}">
                      <a16:creationId xmlns:a16="http://schemas.microsoft.com/office/drawing/2014/main" id="{3E8F192F-47D5-F8E8-82BD-DE31EF7BB7D0}"/>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3" name="Freeform: Shape 16112">
                  <a:extLst>
                    <a:ext uri="{FF2B5EF4-FFF2-40B4-BE49-F238E27FC236}">
                      <a16:creationId xmlns:a16="http://schemas.microsoft.com/office/drawing/2014/main" id="{B453702C-890B-F3F4-73EA-11934D53BF13}"/>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2" name="Graphic 745">
                <a:extLst>
                  <a:ext uri="{FF2B5EF4-FFF2-40B4-BE49-F238E27FC236}">
                    <a16:creationId xmlns:a16="http://schemas.microsoft.com/office/drawing/2014/main" id="{BE936F3A-9540-96ED-E37C-96C6073B8EFB}"/>
                  </a:ext>
                </a:extLst>
              </p:cNvPr>
              <p:cNvGrpSpPr/>
              <p:nvPr/>
            </p:nvGrpSpPr>
            <p:grpSpPr>
              <a:xfrm>
                <a:off x="6074378" y="3888104"/>
                <a:ext cx="75723" cy="75628"/>
                <a:chOff x="6074378" y="3888104"/>
                <a:chExt cx="75723" cy="75628"/>
              </a:xfrm>
            </p:grpSpPr>
            <p:sp>
              <p:nvSpPr>
                <p:cNvPr id="16110" name="Freeform: Shape 16109">
                  <a:extLst>
                    <a:ext uri="{FF2B5EF4-FFF2-40B4-BE49-F238E27FC236}">
                      <a16:creationId xmlns:a16="http://schemas.microsoft.com/office/drawing/2014/main" id="{8DD31CCC-2A96-91BE-F20F-671E9DBD430A}"/>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1" name="Freeform: Shape 16110">
                  <a:extLst>
                    <a:ext uri="{FF2B5EF4-FFF2-40B4-BE49-F238E27FC236}">
                      <a16:creationId xmlns:a16="http://schemas.microsoft.com/office/drawing/2014/main" id="{33E3032D-1963-D068-6A3F-CBD1281ECA4B}"/>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3" name="Graphic 745">
                <a:extLst>
                  <a:ext uri="{FF2B5EF4-FFF2-40B4-BE49-F238E27FC236}">
                    <a16:creationId xmlns:a16="http://schemas.microsoft.com/office/drawing/2014/main" id="{F168D2DE-5E04-14E9-99D5-0B17116E604E}"/>
                  </a:ext>
                </a:extLst>
              </p:cNvPr>
              <p:cNvGrpSpPr/>
              <p:nvPr/>
            </p:nvGrpSpPr>
            <p:grpSpPr>
              <a:xfrm>
                <a:off x="6088856" y="3909345"/>
                <a:ext cx="75723" cy="75628"/>
                <a:chOff x="6088856" y="3909345"/>
                <a:chExt cx="75723" cy="75628"/>
              </a:xfrm>
            </p:grpSpPr>
            <p:sp>
              <p:nvSpPr>
                <p:cNvPr id="16108" name="Freeform: Shape 16107">
                  <a:extLst>
                    <a:ext uri="{FF2B5EF4-FFF2-40B4-BE49-F238E27FC236}">
                      <a16:creationId xmlns:a16="http://schemas.microsoft.com/office/drawing/2014/main" id="{724EC7E2-09A7-1C9A-9905-A6F59210711F}"/>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9" name="Freeform: Shape 16108">
                  <a:extLst>
                    <a:ext uri="{FF2B5EF4-FFF2-40B4-BE49-F238E27FC236}">
                      <a16:creationId xmlns:a16="http://schemas.microsoft.com/office/drawing/2014/main" id="{A66B0AEE-7610-5B4A-036B-98585C8CFA9D}"/>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4" name="Graphic 745">
                <a:extLst>
                  <a:ext uri="{FF2B5EF4-FFF2-40B4-BE49-F238E27FC236}">
                    <a16:creationId xmlns:a16="http://schemas.microsoft.com/office/drawing/2014/main" id="{7A937A49-1410-328E-5700-5DFE22D5C375}"/>
                  </a:ext>
                </a:extLst>
              </p:cNvPr>
              <p:cNvGrpSpPr/>
              <p:nvPr/>
            </p:nvGrpSpPr>
            <p:grpSpPr>
              <a:xfrm>
                <a:off x="6112287" y="3909345"/>
                <a:ext cx="75628" cy="75628"/>
                <a:chOff x="6112287" y="3909345"/>
                <a:chExt cx="75628" cy="75628"/>
              </a:xfrm>
            </p:grpSpPr>
            <p:sp>
              <p:nvSpPr>
                <p:cNvPr id="16106" name="Freeform: Shape 16105">
                  <a:extLst>
                    <a:ext uri="{FF2B5EF4-FFF2-40B4-BE49-F238E27FC236}">
                      <a16:creationId xmlns:a16="http://schemas.microsoft.com/office/drawing/2014/main" id="{5826974F-4C37-C5B9-DD6E-C5BC84AC0C64}"/>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7" name="Freeform: Shape 16106">
                  <a:extLst>
                    <a:ext uri="{FF2B5EF4-FFF2-40B4-BE49-F238E27FC236}">
                      <a16:creationId xmlns:a16="http://schemas.microsoft.com/office/drawing/2014/main" id="{DAC3BD83-AD7B-CC01-9781-DFD42B29FAE7}"/>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5" name="Graphic 745">
                <a:extLst>
                  <a:ext uri="{FF2B5EF4-FFF2-40B4-BE49-F238E27FC236}">
                    <a16:creationId xmlns:a16="http://schemas.microsoft.com/office/drawing/2014/main" id="{D3BBBDF2-8E47-7454-25D5-85CFA39F4FA3}"/>
                  </a:ext>
                </a:extLst>
              </p:cNvPr>
              <p:cNvGrpSpPr/>
              <p:nvPr/>
            </p:nvGrpSpPr>
            <p:grpSpPr>
              <a:xfrm>
                <a:off x="6100476" y="3909345"/>
                <a:ext cx="75723" cy="75628"/>
                <a:chOff x="6100476" y="3909345"/>
                <a:chExt cx="75723" cy="75628"/>
              </a:xfrm>
            </p:grpSpPr>
            <p:sp>
              <p:nvSpPr>
                <p:cNvPr id="16104" name="Freeform: Shape 16103">
                  <a:extLst>
                    <a:ext uri="{FF2B5EF4-FFF2-40B4-BE49-F238E27FC236}">
                      <a16:creationId xmlns:a16="http://schemas.microsoft.com/office/drawing/2014/main" id="{DAF8C220-6A15-218F-2E87-43E1B8A6B3B3}"/>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5" name="Freeform: Shape 16104">
                  <a:extLst>
                    <a:ext uri="{FF2B5EF4-FFF2-40B4-BE49-F238E27FC236}">
                      <a16:creationId xmlns:a16="http://schemas.microsoft.com/office/drawing/2014/main" id="{F179B610-AFAD-46A3-9831-A324BF5C8C6D}"/>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6" name="Graphic 745">
                <a:extLst>
                  <a:ext uri="{FF2B5EF4-FFF2-40B4-BE49-F238E27FC236}">
                    <a16:creationId xmlns:a16="http://schemas.microsoft.com/office/drawing/2014/main" id="{E78AB493-FB21-8382-54E6-92EF89B61E6A}"/>
                  </a:ext>
                </a:extLst>
              </p:cNvPr>
              <p:cNvGrpSpPr/>
              <p:nvPr/>
            </p:nvGrpSpPr>
            <p:grpSpPr>
              <a:xfrm>
                <a:off x="6900100" y="4071937"/>
                <a:ext cx="75723" cy="75723"/>
                <a:chOff x="6900100" y="4071937"/>
                <a:chExt cx="75723" cy="75723"/>
              </a:xfrm>
            </p:grpSpPr>
            <p:sp>
              <p:nvSpPr>
                <p:cNvPr id="16102" name="Freeform: Shape 16101">
                  <a:extLst>
                    <a:ext uri="{FF2B5EF4-FFF2-40B4-BE49-F238E27FC236}">
                      <a16:creationId xmlns:a16="http://schemas.microsoft.com/office/drawing/2014/main" id="{E2065D5B-D735-017E-15AD-7519DF9343FE}"/>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3" name="Freeform: Shape 16102">
                  <a:extLst>
                    <a:ext uri="{FF2B5EF4-FFF2-40B4-BE49-F238E27FC236}">
                      <a16:creationId xmlns:a16="http://schemas.microsoft.com/office/drawing/2014/main" id="{A7916528-BC6A-A4EE-7812-1753036346EF}"/>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7" name="Graphic 745">
                <a:extLst>
                  <a:ext uri="{FF2B5EF4-FFF2-40B4-BE49-F238E27FC236}">
                    <a16:creationId xmlns:a16="http://schemas.microsoft.com/office/drawing/2014/main" id="{C747B59B-D982-6F28-A75E-40DF02646059}"/>
                  </a:ext>
                </a:extLst>
              </p:cNvPr>
              <p:cNvGrpSpPr/>
              <p:nvPr/>
            </p:nvGrpSpPr>
            <p:grpSpPr>
              <a:xfrm>
                <a:off x="6962298" y="4156328"/>
                <a:ext cx="75723" cy="75628"/>
                <a:chOff x="6962298" y="4156328"/>
                <a:chExt cx="75723" cy="75628"/>
              </a:xfrm>
            </p:grpSpPr>
            <p:sp>
              <p:nvSpPr>
                <p:cNvPr id="16100" name="Freeform: Shape 16099">
                  <a:extLst>
                    <a:ext uri="{FF2B5EF4-FFF2-40B4-BE49-F238E27FC236}">
                      <a16:creationId xmlns:a16="http://schemas.microsoft.com/office/drawing/2014/main" id="{5F250CEC-E570-D53D-DB56-3125C4A51D12}"/>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1" name="Freeform: Shape 16100">
                  <a:extLst>
                    <a:ext uri="{FF2B5EF4-FFF2-40B4-BE49-F238E27FC236}">
                      <a16:creationId xmlns:a16="http://schemas.microsoft.com/office/drawing/2014/main" id="{57877338-7B65-9282-F8CC-322FBFC1CE18}"/>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8" name="Graphic 745">
                <a:extLst>
                  <a:ext uri="{FF2B5EF4-FFF2-40B4-BE49-F238E27FC236}">
                    <a16:creationId xmlns:a16="http://schemas.microsoft.com/office/drawing/2014/main" id="{F52B74FA-047A-1809-1B30-5B10FAD0F1B8}"/>
                  </a:ext>
                </a:extLst>
              </p:cNvPr>
              <p:cNvGrpSpPr/>
              <p:nvPr/>
            </p:nvGrpSpPr>
            <p:grpSpPr>
              <a:xfrm>
                <a:off x="6946773" y="4131087"/>
                <a:ext cx="75723" cy="75628"/>
                <a:chOff x="6946773" y="4131087"/>
                <a:chExt cx="75723" cy="75628"/>
              </a:xfrm>
            </p:grpSpPr>
            <p:sp>
              <p:nvSpPr>
                <p:cNvPr id="16098" name="Freeform: Shape 16097">
                  <a:extLst>
                    <a:ext uri="{FF2B5EF4-FFF2-40B4-BE49-F238E27FC236}">
                      <a16:creationId xmlns:a16="http://schemas.microsoft.com/office/drawing/2014/main" id="{28CC0C70-5A17-0176-7D02-51ADDC7C24EF}"/>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9" name="Freeform: Shape 16098">
                  <a:extLst>
                    <a:ext uri="{FF2B5EF4-FFF2-40B4-BE49-F238E27FC236}">
                      <a16:creationId xmlns:a16="http://schemas.microsoft.com/office/drawing/2014/main" id="{95FF508D-E8A6-9C14-BF9B-783B9E7DD4CB}"/>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9" name="Graphic 745">
                <a:extLst>
                  <a:ext uri="{FF2B5EF4-FFF2-40B4-BE49-F238E27FC236}">
                    <a16:creationId xmlns:a16="http://schemas.microsoft.com/office/drawing/2014/main" id="{5057E677-C2C1-3811-5451-9D6236DD2856}"/>
                  </a:ext>
                </a:extLst>
              </p:cNvPr>
              <p:cNvGrpSpPr/>
              <p:nvPr/>
            </p:nvGrpSpPr>
            <p:grpSpPr>
              <a:xfrm>
                <a:off x="6926865" y="4104322"/>
                <a:ext cx="75723" cy="75723"/>
                <a:chOff x="6926865" y="4104322"/>
                <a:chExt cx="75723" cy="75723"/>
              </a:xfrm>
            </p:grpSpPr>
            <p:sp>
              <p:nvSpPr>
                <p:cNvPr id="16096" name="Freeform: Shape 16095">
                  <a:extLst>
                    <a:ext uri="{FF2B5EF4-FFF2-40B4-BE49-F238E27FC236}">
                      <a16:creationId xmlns:a16="http://schemas.microsoft.com/office/drawing/2014/main" id="{180CF114-FFC1-4995-DE50-561C05729B12}"/>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7" name="Freeform: Shape 16096">
                  <a:extLst>
                    <a:ext uri="{FF2B5EF4-FFF2-40B4-BE49-F238E27FC236}">
                      <a16:creationId xmlns:a16="http://schemas.microsoft.com/office/drawing/2014/main" id="{1D7D633C-3A7B-400C-18F2-DD29B9D603E8}"/>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0" name="Graphic 745">
                <a:extLst>
                  <a:ext uri="{FF2B5EF4-FFF2-40B4-BE49-F238E27FC236}">
                    <a16:creationId xmlns:a16="http://schemas.microsoft.com/office/drawing/2014/main" id="{1C0FF1F0-B595-6111-BED6-900F76F3D602}"/>
                  </a:ext>
                </a:extLst>
              </p:cNvPr>
              <p:cNvGrpSpPr/>
              <p:nvPr/>
            </p:nvGrpSpPr>
            <p:grpSpPr>
              <a:xfrm>
                <a:off x="6912864" y="4104322"/>
                <a:ext cx="75723" cy="75723"/>
                <a:chOff x="6912864" y="4104322"/>
                <a:chExt cx="75723" cy="75723"/>
              </a:xfrm>
            </p:grpSpPr>
            <p:sp>
              <p:nvSpPr>
                <p:cNvPr id="16094" name="Freeform: Shape 16093">
                  <a:extLst>
                    <a:ext uri="{FF2B5EF4-FFF2-40B4-BE49-F238E27FC236}">
                      <a16:creationId xmlns:a16="http://schemas.microsoft.com/office/drawing/2014/main" id="{077A8C1F-FDA6-7F50-4C7D-70DD30046F96}"/>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5" name="Freeform: Shape 16094">
                  <a:extLst>
                    <a:ext uri="{FF2B5EF4-FFF2-40B4-BE49-F238E27FC236}">
                      <a16:creationId xmlns:a16="http://schemas.microsoft.com/office/drawing/2014/main" id="{30F3F1D7-712A-FDCF-1FCA-585A456ACFDD}"/>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1" name="Graphic 745">
                <a:extLst>
                  <a:ext uri="{FF2B5EF4-FFF2-40B4-BE49-F238E27FC236}">
                    <a16:creationId xmlns:a16="http://schemas.microsoft.com/office/drawing/2014/main" id="{E0F2205E-882C-0A2B-9C9A-A95D6D5044E6}"/>
                  </a:ext>
                </a:extLst>
              </p:cNvPr>
              <p:cNvGrpSpPr/>
              <p:nvPr/>
            </p:nvGrpSpPr>
            <p:grpSpPr>
              <a:xfrm>
                <a:off x="7032117" y="4185284"/>
                <a:ext cx="75723" cy="75723"/>
                <a:chOff x="7032117" y="4185284"/>
                <a:chExt cx="75723" cy="75723"/>
              </a:xfrm>
            </p:grpSpPr>
            <p:sp>
              <p:nvSpPr>
                <p:cNvPr id="16092" name="Freeform: Shape 16091">
                  <a:extLst>
                    <a:ext uri="{FF2B5EF4-FFF2-40B4-BE49-F238E27FC236}">
                      <a16:creationId xmlns:a16="http://schemas.microsoft.com/office/drawing/2014/main" id="{E7FF204D-DA1C-48FC-3694-BA87CECA9E24}"/>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3" name="Freeform: Shape 16092">
                  <a:extLst>
                    <a:ext uri="{FF2B5EF4-FFF2-40B4-BE49-F238E27FC236}">
                      <a16:creationId xmlns:a16="http://schemas.microsoft.com/office/drawing/2014/main" id="{C8030EE5-FF60-0CC2-D0E0-955F686C3598}"/>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2" name="Graphic 745">
                <a:extLst>
                  <a:ext uri="{FF2B5EF4-FFF2-40B4-BE49-F238E27FC236}">
                    <a16:creationId xmlns:a16="http://schemas.microsoft.com/office/drawing/2014/main" id="{5B91AAFA-3714-993C-1DD7-CB27E9370BC9}"/>
                  </a:ext>
                </a:extLst>
              </p:cNvPr>
              <p:cNvGrpSpPr/>
              <p:nvPr/>
            </p:nvGrpSpPr>
            <p:grpSpPr>
              <a:xfrm>
                <a:off x="7742872" y="4275772"/>
                <a:ext cx="75723" cy="75723"/>
                <a:chOff x="7742872" y="4275772"/>
                <a:chExt cx="75723" cy="75723"/>
              </a:xfrm>
            </p:grpSpPr>
            <p:sp>
              <p:nvSpPr>
                <p:cNvPr id="16090" name="Freeform: Shape 16089">
                  <a:extLst>
                    <a:ext uri="{FF2B5EF4-FFF2-40B4-BE49-F238E27FC236}">
                      <a16:creationId xmlns:a16="http://schemas.microsoft.com/office/drawing/2014/main" id="{D3ADAD37-17F6-851E-9C8B-50F3FF1D93E7}"/>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1" name="Freeform: Shape 16090">
                  <a:extLst>
                    <a:ext uri="{FF2B5EF4-FFF2-40B4-BE49-F238E27FC236}">
                      <a16:creationId xmlns:a16="http://schemas.microsoft.com/office/drawing/2014/main" id="{CAE07174-E8DE-D1F2-0D98-0413E6E217B8}"/>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3" name="Graphic 745">
                <a:extLst>
                  <a:ext uri="{FF2B5EF4-FFF2-40B4-BE49-F238E27FC236}">
                    <a16:creationId xmlns:a16="http://schemas.microsoft.com/office/drawing/2014/main" id="{D0F8B62C-D6CE-A651-C2DA-2A8B1282195F}"/>
                  </a:ext>
                </a:extLst>
              </p:cNvPr>
              <p:cNvGrpSpPr/>
              <p:nvPr/>
            </p:nvGrpSpPr>
            <p:grpSpPr>
              <a:xfrm>
                <a:off x="7766399" y="4275772"/>
                <a:ext cx="75628" cy="75723"/>
                <a:chOff x="7766399" y="4275772"/>
                <a:chExt cx="75628" cy="75723"/>
              </a:xfrm>
            </p:grpSpPr>
            <p:sp>
              <p:nvSpPr>
                <p:cNvPr id="16088" name="Freeform: Shape 16087">
                  <a:extLst>
                    <a:ext uri="{FF2B5EF4-FFF2-40B4-BE49-F238E27FC236}">
                      <a16:creationId xmlns:a16="http://schemas.microsoft.com/office/drawing/2014/main" id="{8F4A1B3E-64D6-D3E4-51F8-E3CD8B38F15F}"/>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9" name="Freeform: Shape 16088">
                  <a:extLst>
                    <a:ext uri="{FF2B5EF4-FFF2-40B4-BE49-F238E27FC236}">
                      <a16:creationId xmlns:a16="http://schemas.microsoft.com/office/drawing/2014/main" id="{B5411525-DAA8-E703-211E-1F21D9FA102E}"/>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4" name="Graphic 745">
                <a:extLst>
                  <a:ext uri="{FF2B5EF4-FFF2-40B4-BE49-F238E27FC236}">
                    <a16:creationId xmlns:a16="http://schemas.microsoft.com/office/drawing/2014/main" id="{1986428E-3A4F-C2CC-C38D-E178958A196B}"/>
                  </a:ext>
                </a:extLst>
              </p:cNvPr>
              <p:cNvGrpSpPr/>
              <p:nvPr/>
            </p:nvGrpSpPr>
            <p:grpSpPr>
              <a:xfrm>
                <a:off x="7787449" y="4275772"/>
                <a:ext cx="75723" cy="75723"/>
                <a:chOff x="7787449" y="4275772"/>
                <a:chExt cx="75723" cy="75723"/>
              </a:xfrm>
            </p:grpSpPr>
            <p:sp>
              <p:nvSpPr>
                <p:cNvPr id="16086" name="Freeform: Shape 16085">
                  <a:extLst>
                    <a:ext uri="{FF2B5EF4-FFF2-40B4-BE49-F238E27FC236}">
                      <a16:creationId xmlns:a16="http://schemas.microsoft.com/office/drawing/2014/main" id="{8CEC4D72-87E4-99A1-D846-030D7386FE54}"/>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7" name="Freeform: Shape 16086">
                  <a:extLst>
                    <a:ext uri="{FF2B5EF4-FFF2-40B4-BE49-F238E27FC236}">
                      <a16:creationId xmlns:a16="http://schemas.microsoft.com/office/drawing/2014/main" id="{41D70891-C17F-4C7E-6779-B1AB8EE01080}"/>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5" name="Graphic 745">
                <a:extLst>
                  <a:ext uri="{FF2B5EF4-FFF2-40B4-BE49-F238E27FC236}">
                    <a16:creationId xmlns:a16="http://schemas.microsoft.com/office/drawing/2014/main" id="{FF592FDF-4F55-E0C2-77AA-A825260E6E4A}"/>
                  </a:ext>
                </a:extLst>
              </p:cNvPr>
              <p:cNvGrpSpPr/>
              <p:nvPr/>
            </p:nvGrpSpPr>
            <p:grpSpPr>
              <a:xfrm>
                <a:off x="7793545" y="4275772"/>
                <a:ext cx="75628" cy="75723"/>
                <a:chOff x="7793545" y="4275772"/>
                <a:chExt cx="75628" cy="75723"/>
              </a:xfrm>
            </p:grpSpPr>
            <p:sp>
              <p:nvSpPr>
                <p:cNvPr id="16084" name="Freeform: Shape 16083">
                  <a:extLst>
                    <a:ext uri="{FF2B5EF4-FFF2-40B4-BE49-F238E27FC236}">
                      <a16:creationId xmlns:a16="http://schemas.microsoft.com/office/drawing/2014/main" id="{FCC9D968-D49A-5D66-5CCE-2538910DAF0A}"/>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5" name="Freeform: Shape 16084">
                  <a:extLst>
                    <a:ext uri="{FF2B5EF4-FFF2-40B4-BE49-F238E27FC236}">
                      <a16:creationId xmlns:a16="http://schemas.microsoft.com/office/drawing/2014/main" id="{028C03D9-FE12-BFEB-6A2C-74CDDDB5582D}"/>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6" name="Graphic 745">
                <a:extLst>
                  <a:ext uri="{FF2B5EF4-FFF2-40B4-BE49-F238E27FC236}">
                    <a16:creationId xmlns:a16="http://schemas.microsoft.com/office/drawing/2014/main" id="{474B8EF5-38FD-5B31-0D2E-735A6E4D9FDF}"/>
                  </a:ext>
                </a:extLst>
              </p:cNvPr>
              <p:cNvGrpSpPr/>
              <p:nvPr/>
            </p:nvGrpSpPr>
            <p:grpSpPr>
              <a:xfrm>
                <a:off x="7821453" y="4275772"/>
                <a:ext cx="75723" cy="75723"/>
                <a:chOff x="7821453" y="4275772"/>
                <a:chExt cx="75723" cy="75723"/>
              </a:xfrm>
            </p:grpSpPr>
            <p:sp>
              <p:nvSpPr>
                <p:cNvPr id="16082" name="Freeform: Shape 16081">
                  <a:extLst>
                    <a:ext uri="{FF2B5EF4-FFF2-40B4-BE49-F238E27FC236}">
                      <a16:creationId xmlns:a16="http://schemas.microsoft.com/office/drawing/2014/main" id="{70AFECF1-5583-4677-9DF5-9A71B7FBBA07}"/>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3" name="Freeform: Shape 16082">
                  <a:extLst>
                    <a:ext uri="{FF2B5EF4-FFF2-40B4-BE49-F238E27FC236}">
                      <a16:creationId xmlns:a16="http://schemas.microsoft.com/office/drawing/2014/main" id="{0F1226A9-71C8-F4BF-086E-CFCF248244B2}"/>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7" name="Graphic 745">
                <a:extLst>
                  <a:ext uri="{FF2B5EF4-FFF2-40B4-BE49-F238E27FC236}">
                    <a16:creationId xmlns:a16="http://schemas.microsoft.com/office/drawing/2014/main" id="{0CF26E26-F86B-C5F3-451A-55C1B2A9E293}"/>
                  </a:ext>
                </a:extLst>
              </p:cNvPr>
              <p:cNvGrpSpPr/>
              <p:nvPr/>
            </p:nvGrpSpPr>
            <p:grpSpPr>
              <a:xfrm>
                <a:off x="7807737" y="4275772"/>
                <a:ext cx="75628" cy="75723"/>
                <a:chOff x="7807737" y="4275772"/>
                <a:chExt cx="75628" cy="75723"/>
              </a:xfrm>
            </p:grpSpPr>
            <p:sp>
              <p:nvSpPr>
                <p:cNvPr id="16080" name="Freeform: Shape 16079">
                  <a:extLst>
                    <a:ext uri="{FF2B5EF4-FFF2-40B4-BE49-F238E27FC236}">
                      <a16:creationId xmlns:a16="http://schemas.microsoft.com/office/drawing/2014/main" id="{F1DE1F03-6773-DB95-F9EF-9A955312DE21}"/>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1" name="Freeform: Shape 16080">
                  <a:extLst>
                    <a:ext uri="{FF2B5EF4-FFF2-40B4-BE49-F238E27FC236}">
                      <a16:creationId xmlns:a16="http://schemas.microsoft.com/office/drawing/2014/main" id="{C38566FA-BC6E-FA92-5072-117B91D5E6CE}"/>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8" name="Graphic 745">
                <a:extLst>
                  <a:ext uri="{FF2B5EF4-FFF2-40B4-BE49-F238E27FC236}">
                    <a16:creationId xmlns:a16="http://schemas.microsoft.com/office/drawing/2014/main" id="{A985CB86-7BF1-B203-76BE-0FAF17D16265}"/>
                  </a:ext>
                </a:extLst>
              </p:cNvPr>
              <p:cNvGrpSpPr/>
              <p:nvPr/>
            </p:nvGrpSpPr>
            <p:grpSpPr>
              <a:xfrm>
                <a:off x="8174545" y="4275772"/>
                <a:ext cx="75628" cy="75723"/>
                <a:chOff x="8174545" y="4275772"/>
                <a:chExt cx="75628" cy="75723"/>
              </a:xfrm>
            </p:grpSpPr>
            <p:sp>
              <p:nvSpPr>
                <p:cNvPr id="16078" name="Freeform: Shape 16077">
                  <a:extLst>
                    <a:ext uri="{FF2B5EF4-FFF2-40B4-BE49-F238E27FC236}">
                      <a16:creationId xmlns:a16="http://schemas.microsoft.com/office/drawing/2014/main" id="{1373235E-F96D-A279-2A71-CDAF6C0101DD}"/>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9" name="Freeform: Shape 16078">
                  <a:extLst>
                    <a:ext uri="{FF2B5EF4-FFF2-40B4-BE49-F238E27FC236}">
                      <a16:creationId xmlns:a16="http://schemas.microsoft.com/office/drawing/2014/main" id="{B32E6459-3A0D-F45E-9209-FB04BA2D3AC3}"/>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9" name="Graphic 745">
                <a:extLst>
                  <a:ext uri="{FF2B5EF4-FFF2-40B4-BE49-F238E27FC236}">
                    <a16:creationId xmlns:a16="http://schemas.microsoft.com/office/drawing/2014/main" id="{2F772D4D-567F-0B62-CA07-638E97C7229A}"/>
                  </a:ext>
                </a:extLst>
              </p:cNvPr>
              <p:cNvGrpSpPr/>
              <p:nvPr/>
            </p:nvGrpSpPr>
            <p:grpSpPr>
              <a:xfrm>
                <a:off x="8189118" y="4275772"/>
                <a:ext cx="75723" cy="75723"/>
                <a:chOff x="8189118" y="4275772"/>
                <a:chExt cx="75723" cy="75723"/>
              </a:xfrm>
            </p:grpSpPr>
            <p:sp>
              <p:nvSpPr>
                <p:cNvPr id="16076" name="Freeform: Shape 16075">
                  <a:extLst>
                    <a:ext uri="{FF2B5EF4-FFF2-40B4-BE49-F238E27FC236}">
                      <a16:creationId xmlns:a16="http://schemas.microsoft.com/office/drawing/2014/main" id="{A827417B-FDA8-83BB-5C51-04B83329D081}"/>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7" name="Freeform: Shape 16076">
                  <a:extLst>
                    <a:ext uri="{FF2B5EF4-FFF2-40B4-BE49-F238E27FC236}">
                      <a16:creationId xmlns:a16="http://schemas.microsoft.com/office/drawing/2014/main" id="{934847CF-014C-D322-3772-8FF9A254D3E0}"/>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0" name="Graphic 745">
                <a:extLst>
                  <a:ext uri="{FF2B5EF4-FFF2-40B4-BE49-F238E27FC236}">
                    <a16:creationId xmlns:a16="http://schemas.microsoft.com/office/drawing/2014/main" id="{E99A683F-F048-6699-3C62-020F50F835C6}"/>
                  </a:ext>
                </a:extLst>
              </p:cNvPr>
              <p:cNvGrpSpPr/>
              <p:nvPr/>
            </p:nvGrpSpPr>
            <p:grpSpPr>
              <a:xfrm>
                <a:off x="8212359" y="4275772"/>
                <a:ext cx="75723" cy="75723"/>
                <a:chOff x="8212359" y="4275772"/>
                <a:chExt cx="75723" cy="75723"/>
              </a:xfrm>
            </p:grpSpPr>
            <p:sp>
              <p:nvSpPr>
                <p:cNvPr id="16074" name="Freeform: Shape 16073">
                  <a:extLst>
                    <a:ext uri="{FF2B5EF4-FFF2-40B4-BE49-F238E27FC236}">
                      <a16:creationId xmlns:a16="http://schemas.microsoft.com/office/drawing/2014/main" id="{F5EB8E2C-8F63-A1B0-8D4E-6F139E59DCED}"/>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5" name="Freeform: Shape 16074">
                  <a:extLst>
                    <a:ext uri="{FF2B5EF4-FFF2-40B4-BE49-F238E27FC236}">
                      <a16:creationId xmlns:a16="http://schemas.microsoft.com/office/drawing/2014/main" id="{FBEDD568-7770-CA6C-60AB-41AFC51A2EBE}"/>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1" name="Graphic 745">
                <a:extLst>
                  <a:ext uri="{FF2B5EF4-FFF2-40B4-BE49-F238E27FC236}">
                    <a16:creationId xmlns:a16="http://schemas.microsoft.com/office/drawing/2014/main" id="{4DA87D5F-1EE7-553C-1AA5-9928BB479A56}"/>
                  </a:ext>
                </a:extLst>
              </p:cNvPr>
              <p:cNvGrpSpPr/>
              <p:nvPr/>
            </p:nvGrpSpPr>
            <p:grpSpPr>
              <a:xfrm>
                <a:off x="8226933" y="4275772"/>
                <a:ext cx="75723" cy="75723"/>
                <a:chOff x="8226933" y="4275772"/>
                <a:chExt cx="75723" cy="75723"/>
              </a:xfrm>
            </p:grpSpPr>
            <p:sp>
              <p:nvSpPr>
                <p:cNvPr id="16072" name="Freeform: Shape 16071">
                  <a:extLst>
                    <a:ext uri="{FF2B5EF4-FFF2-40B4-BE49-F238E27FC236}">
                      <a16:creationId xmlns:a16="http://schemas.microsoft.com/office/drawing/2014/main" id="{01EE2DD6-2046-D05D-F55A-DCCA8F4EDEF8}"/>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3" name="Freeform: Shape 16072">
                  <a:extLst>
                    <a:ext uri="{FF2B5EF4-FFF2-40B4-BE49-F238E27FC236}">
                      <a16:creationId xmlns:a16="http://schemas.microsoft.com/office/drawing/2014/main" id="{B0A7C7A2-6D0F-532C-04F4-7B81C2676DF4}"/>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968" name="Freeform: Shape 15967">
              <a:extLst>
                <a:ext uri="{FF2B5EF4-FFF2-40B4-BE49-F238E27FC236}">
                  <a16:creationId xmlns:a16="http://schemas.microsoft.com/office/drawing/2014/main" id="{4CCD15C2-73BC-FB4F-D55E-AFE583A095BC}"/>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aphicFrame>
        <p:nvGraphicFramePr>
          <p:cNvPr id="5" name="Table 4">
            <a:extLst>
              <a:ext uri="{FF2B5EF4-FFF2-40B4-BE49-F238E27FC236}">
                <a16:creationId xmlns:a16="http://schemas.microsoft.com/office/drawing/2014/main" id="{C799798C-24A8-ABA7-EB35-9BD7328BADDF}"/>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5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8</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grpSp>
        <p:nvGrpSpPr>
          <p:cNvPr id="15321" name="Group 15320">
            <a:extLst>
              <a:ext uri="{FF2B5EF4-FFF2-40B4-BE49-F238E27FC236}">
                <a16:creationId xmlns:a16="http://schemas.microsoft.com/office/drawing/2014/main" id="{E5E4E2F6-B30B-41DD-D6FE-96E7FBD806B3}"/>
              </a:ext>
            </a:extLst>
          </p:cNvPr>
          <p:cNvGrpSpPr/>
          <p:nvPr/>
        </p:nvGrpSpPr>
        <p:grpSpPr>
          <a:xfrm>
            <a:off x="8595610" y="1841319"/>
            <a:ext cx="3422910" cy="4317887"/>
            <a:chOff x="8095933" y="1892105"/>
            <a:chExt cx="3422910" cy="4317887"/>
          </a:xfrm>
        </p:grpSpPr>
        <p:sp>
          <p:nvSpPr>
            <p:cNvPr id="14707" name="Rectangle 14706">
              <a:extLst>
                <a:ext uri="{FF2B5EF4-FFF2-40B4-BE49-F238E27FC236}">
                  <a16:creationId xmlns:a16="http://schemas.microsoft.com/office/drawing/2014/main" id="{022F10E6-717C-8308-447C-39AF54982068}"/>
                </a:ext>
              </a:extLst>
            </p:cNvPr>
            <p:cNvSpPr/>
            <p:nvPr/>
          </p:nvSpPr>
          <p:spPr>
            <a:xfrm>
              <a:off x="9296400" y="1893537"/>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F4633316-E91A-F584-0DF7-497B7C9E1027}"/>
                </a:ext>
              </a:extLst>
            </p:cNvPr>
            <p:cNvGrpSpPr/>
            <p:nvPr/>
          </p:nvGrpSpPr>
          <p:grpSpPr>
            <a:xfrm>
              <a:off x="8095933" y="5588589"/>
              <a:ext cx="3422910" cy="621403"/>
              <a:chOff x="6947747" y="5927550"/>
              <a:chExt cx="3422910" cy="621403"/>
            </a:xfrm>
          </p:grpSpPr>
          <p:grpSp>
            <p:nvGrpSpPr>
              <p:cNvPr id="15243" name="Group 15242">
                <a:extLst>
                  <a:ext uri="{FF2B5EF4-FFF2-40B4-BE49-F238E27FC236}">
                    <a16:creationId xmlns:a16="http://schemas.microsoft.com/office/drawing/2014/main" id="{7A288F10-BB17-B6C6-D5B0-C732F2D7F289}"/>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3F7F111D-40EC-0AE9-3D80-30FE5F6A2CF8}"/>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84CDE1E5-4533-9B8C-37A2-FB81D5FA65AC}"/>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1D73E90B-26AA-E2E3-8898-E2558BBE42F8}"/>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722876B4-28B8-9FA0-8B46-CA7FBF9ADAE4}"/>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8C1C8E3D-93FE-D098-DB64-B064DAB4E71D}"/>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FF7BC406-2E79-B139-66F3-C17ABD25075D}"/>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C81C150E-BE35-82F7-FA49-E6E716418F60}"/>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8F3F37DE-4B93-9BAF-9135-1FF7FD493827}"/>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7C8D90A8-B275-1475-1622-C45F7C81BDE3}"/>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91EB8E47-E43C-2B7C-3EA2-646CDA5E7DF7}"/>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50E44B7D-96C4-49AD-8C4E-CBFDACB9CBF6}"/>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3BD770EE-843A-785D-F068-9DB1872E7163}"/>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805DEE11-88C4-A5B0-B347-B1DF9C67F5A8}"/>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27F2AE7D-689C-6CBD-7123-5FBE3FD240C2}"/>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14715" name="Group 14714">
              <a:extLst>
                <a:ext uri="{FF2B5EF4-FFF2-40B4-BE49-F238E27FC236}">
                  <a16:creationId xmlns:a16="http://schemas.microsoft.com/office/drawing/2014/main" id="{6D4A4A84-6496-485A-5114-82066FBD1101}"/>
                </a:ext>
              </a:extLst>
            </p:cNvPr>
            <p:cNvGrpSpPr>
              <a:grpSpLocks/>
            </p:cNvGrpSpPr>
            <p:nvPr/>
          </p:nvGrpSpPr>
          <p:grpSpPr>
            <a:xfrm>
              <a:off x="8995305" y="4125526"/>
              <a:ext cx="752890" cy="162000"/>
              <a:chOff x="4774830" y="5018189"/>
              <a:chExt cx="752890" cy="162000"/>
            </a:xfrm>
          </p:grpSpPr>
          <p:sp>
            <p:nvSpPr>
              <p:cNvPr id="15288" name="Oval 15287">
                <a:extLst>
                  <a:ext uri="{FF2B5EF4-FFF2-40B4-BE49-F238E27FC236}">
                    <a16:creationId xmlns:a16="http://schemas.microsoft.com/office/drawing/2014/main" id="{A192BA9D-D670-F944-C192-7091BB8639FD}"/>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89" name="Group 15288">
                <a:extLst>
                  <a:ext uri="{FF2B5EF4-FFF2-40B4-BE49-F238E27FC236}">
                    <a16:creationId xmlns:a16="http://schemas.microsoft.com/office/drawing/2014/main" id="{CB77B892-EE14-E598-8274-7DE8F899F48A}"/>
                  </a:ext>
                </a:extLst>
              </p:cNvPr>
              <p:cNvGrpSpPr>
                <a:grpSpLocks/>
              </p:cNvGrpSpPr>
              <p:nvPr/>
            </p:nvGrpSpPr>
            <p:grpSpPr>
              <a:xfrm>
                <a:off x="4774830" y="5018189"/>
                <a:ext cx="752890" cy="162000"/>
                <a:chOff x="3115805" y="2070402"/>
                <a:chExt cx="140336" cy="162000"/>
              </a:xfrm>
            </p:grpSpPr>
            <p:cxnSp>
              <p:nvCxnSpPr>
                <p:cNvPr id="15290" name="Straight Connector 15289">
                  <a:extLst>
                    <a:ext uri="{FF2B5EF4-FFF2-40B4-BE49-F238E27FC236}">
                      <a16:creationId xmlns:a16="http://schemas.microsoft.com/office/drawing/2014/main" id="{B7D55B4C-6FFD-693A-7FA6-8F2D1E96CCBF}"/>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15291" name="Straight Connector 15290">
                  <a:extLst>
                    <a:ext uri="{FF2B5EF4-FFF2-40B4-BE49-F238E27FC236}">
                      <a16:creationId xmlns:a16="http://schemas.microsoft.com/office/drawing/2014/main" id="{1D7B0B2A-BF0E-D4E1-1189-82543A854F7E}"/>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5292" name="Straight Connector 15291">
                  <a:extLst>
                    <a:ext uri="{FF2B5EF4-FFF2-40B4-BE49-F238E27FC236}">
                      <a16:creationId xmlns:a16="http://schemas.microsoft.com/office/drawing/2014/main" id="{08BA166C-B21C-7A15-CE53-82F12859BF35}"/>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14718" name="Group 14717">
              <a:extLst>
                <a:ext uri="{FF2B5EF4-FFF2-40B4-BE49-F238E27FC236}">
                  <a16:creationId xmlns:a16="http://schemas.microsoft.com/office/drawing/2014/main" id="{47AE4124-343A-0C58-726E-A0393CEB7C09}"/>
                </a:ext>
              </a:extLst>
            </p:cNvPr>
            <p:cNvGrpSpPr>
              <a:grpSpLocks/>
            </p:cNvGrpSpPr>
            <p:nvPr/>
          </p:nvGrpSpPr>
          <p:grpSpPr>
            <a:xfrm>
              <a:off x="8904210" y="5052014"/>
              <a:ext cx="832326" cy="162000"/>
              <a:chOff x="4829944" y="4340228"/>
              <a:chExt cx="832326" cy="162000"/>
            </a:xfrm>
          </p:grpSpPr>
          <p:sp>
            <p:nvSpPr>
              <p:cNvPr id="15273" name="Oval 15272">
                <a:extLst>
                  <a:ext uri="{FF2B5EF4-FFF2-40B4-BE49-F238E27FC236}">
                    <a16:creationId xmlns:a16="http://schemas.microsoft.com/office/drawing/2014/main" id="{C7619092-A6D2-7149-2D1B-2D7FFE6146D2}"/>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74" name="Group 15273">
                <a:extLst>
                  <a:ext uri="{FF2B5EF4-FFF2-40B4-BE49-F238E27FC236}">
                    <a16:creationId xmlns:a16="http://schemas.microsoft.com/office/drawing/2014/main" id="{9E3882E5-1E7D-07A1-1FF5-E5CC7F3B9C40}"/>
                  </a:ext>
                </a:extLst>
              </p:cNvPr>
              <p:cNvGrpSpPr>
                <a:grpSpLocks/>
              </p:cNvGrpSpPr>
              <p:nvPr/>
            </p:nvGrpSpPr>
            <p:grpSpPr>
              <a:xfrm>
                <a:off x="4829944" y="4340228"/>
                <a:ext cx="832326" cy="162000"/>
                <a:chOff x="3115219" y="2070402"/>
                <a:chExt cx="108588" cy="162000"/>
              </a:xfrm>
            </p:grpSpPr>
            <p:cxnSp>
              <p:nvCxnSpPr>
                <p:cNvPr id="15277" name="Straight Connector 15276">
                  <a:extLst>
                    <a:ext uri="{FF2B5EF4-FFF2-40B4-BE49-F238E27FC236}">
                      <a16:creationId xmlns:a16="http://schemas.microsoft.com/office/drawing/2014/main" id="{CEA632A9-DB4D-D090-B43D-4F58972D5CCA}"/>
                    </a:ext>
                  </a:extLst>
                </p:cNvPr>
                <p:cNvCxnSpPr>
                  <a:cxnSpLocks/>
                </p:cNvCxnSpPr>
                <p:nvPr/>
              </p:nvCxnSpPr>
              <p:spPr>
                <a:xfrm flipH="1">
                  <a:off x="3115219" y="2151402"/>
                  <a:ext cx="108493" cy="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5" name="Straight Connector 15274">
                  <a:extLst>
                    <a:ext uri="{FF2B5EF4-FFF2-40B4-BE49-F238E27FC236}">
                      <a16:creationId xmlns:a16="http://schemas.microsoft.com/office/drawing/2014/main" id="{61751657-2200-E414-3017-8E8675BB6F83}"/>
                    </a:ext>
                  </a:extLst>
                </p:cNvPr>
                <p:cNvCxnSpPr>
                  <a:cxnSpLocks/>
                </p:cNvCxnSpPr>
                <p:nvPr/>
              </p:nvCxnSpPr>
              <p:spPr>
                <a:xfrm>
                  <a:off x="3115805" y="2070402"/>
                  <a:ext cx="0" cy="16200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6" name="Straight Connector 15275">
                  <a:extLst>
                    <a:ext uri="{FF2B5EF4-FFF2-40B4-BE49-F238E27FC236}">
                      <a16:creationId xmlns:a16="http://schemas.microsoft.com/office/drawing/2014/main" id="{4EDB2E1B-4D3B-6113-050A-9DF5513DFFD3}"/>
                    </a:ext>
                  </a:extLst>
                </p:cNvPr>
                <p:cNvCxnSpPr>
                  <a:cxnSpLocks/>
                </p:cNvCxnSpPr>
                <p:nvPr/>
              </p:nvCxnSpPr>
              <p:spPr>
                <a:xfrm>
                  <a:off x="3223807" y="2070402"/>
                  <a:ext cx="0" cy="162000"/>
                </a:xfrm>
                <a:prstGeom prst="line">
                  <a:avLst/>
                </a:prstGeom>
                <a:solidFill>
                  <a:schemeClr val="tx2">
                    <a:lumMod val="75000"/>
                    <a:lumOff val="25000"/>
                  </a:schemeClr>
                </a:solidFill>
                <a:ln w="9525" cap="flat" cmpd="sng" algn="ctr">
                  <a:solidFill>
                    <a:srgbClr val="000000"/>
                  </a:solidFill>
                  <a:prstDash val="solid"/>
                </a:ln>
                <a:effectLst/>
              </p:spPr>
            </p:cxnSp>
          </p:grpSp>
        </p:grpSp>
        <p:grpSp>
          <p:nvGrpSpPr>
            <p:cNvPr id="15233" name="Group 15232">
              <a:extLst>
                <a:ext uri="{FF2B5EF4-FFF2-40B4-BE49-F238E27FC236}">
                  <a16:creationId xmlns:a16="http://schemas.microsoft.com/office/drawing/2014/main" id="{6CB10F93-0EAA-0796-FF68-5102407F3D8A}"/>
                </a:ext>
              </a:extLst>
            </p:cNvPr>
            <p:cNvGrpSpPr>
              <a:grpSpLocks/>
            </p:cNvGrpSpPr>
            <p:nvPr/>
          </p:nvGrpSpPr>
          <p:grpSpPr>
            <a:xfrm>
              <a:off x="9187327" y="3180927"/>
              <a:ext cx="515622" cy="203289"/>
              <a:chOff x="4713766" y="3682352"/>
              <a:chExt cx="515622" cy="203289"/>
            </a:xfrm>
          </p:grpSpPr>
          <p:sp>
            <p:nvSpPr>
              <p:cNvPr id="15258" name="Oval 15257">
                <a:extLst>
                  <a:ext uri="{FF2B5EF4-FFF2-40B4-BE49-F238E27FC236}">
                    <a16:creationId xmlns:a16="http://schemas.microsoft.com/office/drawing/2014/main" id="{269AB0FD-4B8D-E264-164F-B3B07B47FA6A}"/>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59" name="Group 15258">
                <a:extLst>
                  <a:ext uri="{FF2B5EF4-FFF2-40B4-BE49-F238E27FC236}">
                    <a16:creationId xmlns:a16="http://schemas.microsoft.com/office/drawing/2014/main" id="{5814393F-A39A-4842-9268-EE15A2856743}"/>
                  </a:ext>
                </a:extLst>
              </p:cNvPr>
              <p:cNvGrpSpPr>
                <a:grpSpLocks/>
              </p:cNvGrpSpPr>
              <p:nvPr/>
            </p:nvGrpSpPr>
            <p:grpSpPr>
              <a:xfrm>
                <a:off x="4713766" y="3702996"/>
                <a:ext cx="515622" cy="162000"/>
                <a:chOff x="3115805" y="2073465"/>
                <a:chExt cx="89927" cy="162000"/>
              </a:xfrm>
            </p:grpSpPr>
            <p:cxnSp>
              <p:nvCxnSpPr>
                <p:cNvPr id="15260" name="Straight Connector 15259">
                  <a:extLst>
                    <a:ext uri="{FF2B5EF4-FFF2-40B4-BE49-F238E27FC236}">
                      <a16:creationId xmlns:a16="http://schemas.microsoft.com/office/drawing/2014/main" id="{86189B33-B573-0C95-BDDE-62C842778183}"/>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15261" name="Straight Connector 15260">
                  <a:extLst>
                    <a:ext uri="{FF2B5EF4-FFF2-40B4-BE49-F238E27FC236}">
                      <a16:creationId xmlns:a16="http://schemas.microsoft.com/office/drawing/2014/main" id="{70E99EA7-329D-E994-6EDC-7F67BE5573BA}"/>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15262" name="Straight Connector 15261">
                  <a:extLst>
                    <a:ext uri="{FF2B5EF4-FFF2-40B4-BE49-F238E27FC236}">
                      <a16:creationId xmlns:a16="http://schemas.microsoft.com/office/drawing/2014/main" id="{95F68920-FC7D-DFC8-D56B-201135FB5D0A}"/>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15234" name="Straight Connector 15233">
              <a:extLst>
                <a:ext uri="{FF2B5EF4-FFF2-40B4-BE49-F238E27FC236}">
                  <a16:creationId xmlns:a16="http://schemas.microsoft.com/office/drawing/2014/main" id="{801C6D12-64DE-87CC-185D-8F5856E7A423}"/>
                </a:ext>
              </a:extLst>
            </p:cNvPr>
            <p:cNvCxnSpPr>
              <a:cxnSpLocks/>
            </p:cNvCxnSpPr>
            <p:nvPr/>
          </p:nvCxnSpPr>
          <p:spPr>
            <a:xfrm>
              <a:off x="9782256" y="1892105"/>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C282DE73-C235-EA82-62F8-B1178230415D}"/>
                </a:ext>
              </a:extLst>
            </p:cNvPr>
            <p:cNvGrpSpPr>
              <a:grpSpLocks/>
            </p:cNvGrpSpPr>
            <p:nvPr/>
          </p:nvGrpSpPr>
          <p:grpSpPr>
            <a:xfrm>
              <a:off x="9291527" y="2236222"/>
              <a:ext cx="467997" cy="231865"/>
              <a:chOff x="4760816" y="3665683"/>
              <a:chExt cx="467997" cy="231865"/>
            </a:xfrm>
          </p:grpSpPr>
          <p:sp>
            <p:nvSpPr>
              <p:cNvPr id="15311" name="Oval 15310">
                <a:extLst>
                  <a:ext uri="{FF2B5EF4-FFF2-40B4-BE49-F238E27FC236}">
                    <a16:creationId xmlns:a16="http://schemas.microsoft.com/office/drawing/2014/main" id="{0F5B705B-A43A-1426-F4FA-E750D8EE51D8}"/>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F95DA1FB-BA75-6115-C422-B4C4C5992544}"/>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8F50B1F1-4CF0-A43D-20A0-C1E21A5B2314}"/>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5105620E-D966-8070-829A-7CC39FE61AA4}"/>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D6877880-066F-7370-0F69-4EA3149B6CBC}"/>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sp>
        <p:nvSpPr>
          <p:cNvPr id="2" name="Text Placeholder 1">
            <a:extLst>
              <a:ext uri="{FF2B5EF4-FFF2-40B4-BE49-F238E27FC236}">
                <a16:creationId xmlns:a16="http://schemas.microsoft.com/office/drawing/2014/main" id="{004A0094-947A-F95E-A303-62303E086E2B}"/>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3182" name="Rectangle 13181" hidden="1">
            <a:extLst>
              <a:ext uri="{FF2B5EF4-FFF2-40B4-BE49-F238E27FC236}">
                <a16:creationId xmlns:a16="http://schemas.microsoft.com/office/drawing/2014/main" id="{F4F2730A-8F00-04A3-74CC-868657E7BE61}"/>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E083D25C-407A-7C4F-276D-55587910E0BF}"/>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7EB05445-4332-2FD2-F8D0-6141026BBCBC}"/>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049A04CF-3465-7330-612C-E50B810BF209}"/>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282A4950-216C-2AB4-D303-E45AF99C8050}"/>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A51D2BA5-0F7E-FC6A-CB10-1BBF6B26DA9B}"/>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C4B11856-44DB-4A82-34DB-462A72C87C3A}"/>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0D4C581F-CF94-8D0D-6F4C-CBE34F8F79D5}"/>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E332D205-847B-C17D-77B5-3FE1E4A5B6C4}"/>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164FE52E-527E-9400-F228-473F880E02C9}"/>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A83F0B72-910F-4B30-AFAB-23D20071455D}"/>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A72AC051-9167-6FE6-E3E9-098426F3E307}"/>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C55F5B28-555A-92BE-0F4C-10991E291641}"/>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6B477466-43D4-A399-75C3-638C3C56DDD6}"/>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B67B0546-B455-8809-E7AA-8B7F058AA1FB}"/>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5F8589A4-9F47-D765-5120-5FA3CB7F5B75}"/>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E3082CB3-1784-DAF8-E8A1-72E5CB88EDC4}"/>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52939898-D210-C96F-590E-7C26772C79FF}"/>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A5AC426B-5CD8-6EC5-F600-292DD737D6E5}"/>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BA957C59-785A-C8BF-265E-A92251B136D4}"/>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E335F078-7C3A-7512-CE91-4F2F7163370C}"/>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38E7EFD8-8362-81A4-4CF1-F592529C8835}"/>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5256C65C-E903-4B82-2B2D-315C487C0FB6}"/>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D85AC8A4-3DEC-7F89-E5E4-F55FDD3591C3}"/>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36C0DF49-4BAE-0F97-E5D9-2805346E1B12}"/>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1CEB3A0A-42B0-927E-3826-F1FC54DB8092}"/>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79D67CC9-B8B4-B0A3-EBF5-BF169DB68B7B}"/>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8A38CB0B-9839-55F1-795B-6F91F320AC62}"/>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5EA86D42-FCF0-2367-D6E6-7AC0EA383C7A}"/>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DF92335E-FAA7-009C-5925-28CBD95248FE}"/>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E476DD6C-F2BD-B3BE-C589-FED6E322082A}"/>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6A32390F-4873-8AB7-950E-32428B44F3D4}"/>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4E0279C1-6877-BC01-99EB-104164B02700}"/>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40A67297-0DDE-A04D-CB1C-BB2B77B52B5F}"/>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87E660C6-85D8-0C53-2830-5C0E4AF55940}"/>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088531DD-8155-2EA0-1578-F2B11BA8D606}"/>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FFE63C33-271C-113D-2306-B5CB37039F79}"/>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6E79E2D1-FF8D-F5F8-BD3E-B6B25F1C247F}"/>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D998F173-9C11-B2BA-30E1-3F4B7528C261}"/>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60EFA415-9966-C617-8864-ECC4D5EFC965}"/>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EF9FDCCB-B6FA-060D-BC3D-6B13C6456BEE}"/>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D205E6C4-CB9C-FF30-3998-A35E2E641D30}"/>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8518E6FF-4AEC-0C52-9A6F-509FEA8C9203}"/>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3B858DCA-520C-2D04-3517-5739B03296FA}"/>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FC0E4B04-D605-2803-4764-A809A400FFE5}"/>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7B8318F4-587D-4F12-DDE6-0F74A89CD20C}"/>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238C0A9E-807D-0C68-9C17-6A8CE60C6316}"/>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0F188F1A-E2AD-7843-DBE4-6B1B2B94248A}"/>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3C9A6A8B-2065-47BE-61E2-63A4397D6E52}"/>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4DDEE758-DDD3-9048-FE4B-8F830D1E0024}"/>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84F4A597-38D3-C49E-38D3-AAFD4822F214}"/>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747E9A0A-0273-CB4F-8122-34B7D75D5FB6}"/>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E4787464-5357-5894-3203-1CF4739DC5B3}"/>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E98436BD-B07E-EDC7-10EB-45378F9A78A2}"/>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5A40ABEE-23F3-7147-8C23-FF0AC441E6B1}"/>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DFE071CA-4A25-B2D4-B71E-7C1A098D218A}"/>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A9CF0579-8C92-81F3-241B-5597DE2688AD}"/>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9CFD6F00-F3A2-8286-2585-9E923B76FA24}"/>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6C46B15A-FF34-12BE-3D66-66A57A06E788}"/>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AB1C3880-422C-9480-CE94-9698E0C9C47A}"/>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C1D28392-E929-B229-4163-EA06B5E6A5D2}"/>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3D95C6AE-1B5D-1DF8-C9F0-87BB8FE95465}"/>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69390925-09DE-C89F-8095-334C4F5506E2}"/>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E609E745-07E1-282A-1B35-C9E7717748F5}"/>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6E186B6E-3195-2036-7B6E-B8A269B590CD}"/>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A77ACAFD-3A9B-04BB-E11F-E07B16BFBAF5}"/>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32D3CB88-693B-4E0F-6019-927D02583CC8}"/>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1713C737-4FFF-759A-80E9-51E080126D9B}"/>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00E24805-FABE-DC24-D1B6-8EC3383EB7A3}"/>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F37B4234-EB3E-9A85-9CB3-24671FCCB2EF}"/>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EF3F37C8-36C2-D687-74F2-DA8D1CD13005}"/>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1D890623-5347-286A-E5C1-866DFD9A4565}"/>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DAAE3AA0-D268-FD45-4436-978F7F218977}"/>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03DFDCDB-2590-45B9-F746-5F4A85474540}"/>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36C3A41F-67A3-EDC3-DF09-DDAD484F366B}"/>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5E1ED602-B799-947D-CA43-DDF5A284E1A7}"/>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3F644E07-4C38-34BC-7494-D912BC72EEBE}"/>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AA4CE32B-0F3E-910D-9509-B568948ED7A7}"/>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A65376B9-93B0-7CFE-A97E-353F8FB9D6C2}"/>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1AC5F932-58D4-749D-90E5-A8E4895D5428}"/>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EFD47009-8138-4A07-8048-C7A56A1EA3BD}"/>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B7706CE7-7C5F-1B2F-F2F1-A9E2554C6A2F}"/>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9CFBA9AD-4619-7712-287A-89146B15201E}"/>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FE8C3587-CCC8-03D9-74F2-41FD0145AC5F}"/>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7F56BA97-F1F2-3EC7-B90E-99787486F5E8}"/>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F40456EE-8687-493A-3135-0E4BFDE4AF90}"/>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502F27FD-FBF9-778E-6783-42CF90F6D4DB}"/>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1919B628-902A-0D57-9388-FE6F1B00AF55}"/>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45C93A08-352C-A021-E2EA-8499C060E866}"/>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4DDF0150-922D-D5D3-7407-116EE30D5A1F}"/>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E241A78B-6892-A0CF-3432-AED956CADDEB}"/>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D72EF3CE-0F7B-86DE-5A4D-A83C1BCCF786}"/>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B91D3D2B-4110-6F28-9563-693813314884}"/>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389423A6-9DAC-56AD-FBA7-26792C564FB5}"/>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4EBE406B-F2A3-1F62-8EAB-549DBB480967}"/>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9392A092-0E39-9B78-ABA4-0F854E90C73A}"/>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733239EB-163C-D204-A602-CF7CBE4857DB}"/>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A8119DB3-27A9-1DD0-C904-B9BA8EA5E53F}"/>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91C3EFC1-E5E8-FFC5-F81D-7DD2080CF8B9}"/>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9760A13C-9E82-30DF-F8E8-3D6BC2D1A163}"/>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424FC52C-C239-B755-9162-9FDF851AB030}"/>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08A5C764-42A3-67B4-F0DE-5CEC1110A874}"/>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4D3DBFC7-237A-0638-C6AA-A5543EAC1492}"/>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70FAFC7F-42EF-168A-3545-9C4F7EFBF476}"/>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0D998424-1EB3-F807-5DF2-22ADB921072F}"/>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E0A1FA95-7900-EC67-FED7-C3A9C0A79075}"/>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DF123D6A-C28A-3913-D163-E32138635E35}"/>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0C4AA81C-4767-3811-B817-A4EBB975644D}"/>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44B0A330-0DC1-462A-DA55-4CA111E138F7}"/>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3C43F687-7472-0116-3D21-3F4EE1B0DA82}"/>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EA2C679D-E596-BD08-FB68-59AF7825CA6C}"/>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A1AFB844-0D03-8120-5C28-4016655DE2AA}"/>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67399B84-D980-D6DB-A720-C29506C3303B}"/>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734A2421-AB90-1452-620E-2B60BC9671C0}"/>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4B5512B7-90C5-3FF9-0D98-D2C4671020B1}"/>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A9D439E6-9C9F-6C1C-098B-635AAE04319C}"/>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CC632B8B-78D8-4D10-9424-154F570C5D22}"/>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756EE3A1-D9BD-FD4D-34C0-B7C4C709301D}"/>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1F89E470-DCC4-8722-BCE2-C8575592815C}"/>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77E8425A-AF00-8AF1-CDF3-B90DB210DBE3}"/>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97B1FF1F-C14B-6FDE-9741-A7B14CE870AA}"/>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5FFE1985-6C0B-CB9D-37A5-1D21B14759EF}"/>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1649AAEA-1445-FD74-8C89-0C667E0C6217}"/>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E3133A84-75C7-D86B-0515-EBB42BB9EA87}"/>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E6D1D4F5-01C9-4C10-9314-C963A891A8F3}"/>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8B305505-ED34-6712-D340-D7E187EB6E70}"/>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38FE14D5-EFBC-1DD4-CC9D-1905902AC3C4}"/>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D4C3E2B4-9167-7B4E-2513-037D00DF232F}"/>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68C2697A-0A6D-5404-40FE-3C678F7D285E}"/>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8D618992-B57C-5ED8-6E6A-68E735CFB48F}"/>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4B9C4A05-36AE-6A02-9E62-A9A81D67D778}"/>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DA91A24E-B177-9A85-759D-89A974CAEF46}"/>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EE16C618-A171-E31B-D989-1D170E8AD0F0}"/>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76633024-E484-5BFF-C6D0-F5C8CEB26B9C}"/>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85919E72-1E4A-2390-E2A3-EC5B8C854904}"/>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F6013AB6-3781-4544-B783-2560746FEE62}"/>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1EA69A9B-0868-B2F1-C13B-EB0C6164AD0D}"/>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63A52CE1-49C2-E840-91B7-970F210D60DF}"/>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CFC79E15-963A-53F7-1B6C-6D275AD38AF1}"/>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9EEBBE49-3E07-DC85-040A-6BD703D1345E}"/>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26E39077-EC6D-6BFE-271D-ED74837DB40B}"/>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56AD5448-E532-0272-872D-4F72CC31A8CD}"/>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79612705-2902-72FA-F956-6FB5391050DA}"/>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745AB824-5FD9-61F6-0B20-827B8E82F8C6}"/>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8D3DFB2F-CD51-7723-385B-C9609E36E7D8}"/>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422163BD-67AF-8D75-AC3A-D5C45D9D81A4}"/>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41FA6249-39A8-2316-A431-855FC867C0BA}"/>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194F1DEE-098B-A5A8-933F-D36D77DF75F9}"/>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CD6E5044-D1F6-9B0C-DC00-CF668B8CAA35}"/>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0D5D6F6A-E9F7-3F6D-818C-E73FE6756207}"/>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392DB6D2-F845-4A08-FECA-2AE4FDD67D8A}"/>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6C4AD8B9-E921-8BF3-AC02-8B1CA0563322}"/>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95EC9D30-B562-10A3-CEE8-07C91E4AB595}"/>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0EF9DD10-337A-3143-953D-EFA00CFA2F55}"/>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707541D9-C038-4121-6742-97A84EAD5579}"/>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212D0A56-99D9-9944-8C98-7DDE1ED54403}"/>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750F3892-0FB5-E9D7-8422-D4B08227508E}"/>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B51D0EC7-A25B-D3DF-36E3-875BB8876782}"/>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E9D9A57A-D6C1-7515-026D-B297399FCF54}"/>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31451AF5-8337-3766-0D78-D4CF31EE120E}"/>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F5576CC1-FB08-0B78-CCBD-37E23D2AC82D}"/>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0099FA0D-BFCA-3F56-3D33-8832B831E918}"/>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3A36E2B8-12AD-73B1-D859-CF07C2278870}"/>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C8E29324-57E6-D85E-3FB5-606AE15BDE16}"/>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D77F6575-A507-26A2-26E1-10199CE36B59}"/>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A156F1C2-5D58-DE29-6F63-63E1DB5FF25A}"/>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2EDA9C52-D330-A967-24DB-1CE5E90D8DB9}"/>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85612E76-8418-F321-8144-CAC231ACEFAB}"/>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2935B902-0BDB-37A1-4FCE-95661557ECB0}"/>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9B71D73A-D27C-3D4F-A10D-3DA168688484}"/>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681E58B9-A145-F29F-F678-A1FE2E51C984}"/>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CB9B8707-E1CC-9B32-1FD6-45333E649818}"/>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F65E609E-AB68-B45C-B20F-8D68C53D7BC2}"/>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34FD3423-EFCB-95E8-DD4D-5E3DDE853CBF}"/>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224FC826-D905-65D8-A01D-1B33A161FBE6}"/>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3120246C-2239-2E68-CA71-7D99AE23CC89}"/>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D7FBC0B7-B6C9-33C4-845C-F7D796CCD7D2}"/>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20F3F765-24F6-6233-8E51-04A7DD204833}"/>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95063C12-1E6D-DAD7-058F-D1F29BEA4478}"/>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7470FF8A-7380-617B-05D2-19E2CB54B97E}"/>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6FDBE0E3-413F-B5E2-B329-F1694C7AC8AE}"/>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C4C2AAC7-7B09-4B0D-EA43-32227F68485F}"/>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6937593F-0962-CE13-95EE-018A13D0A479}"/>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80A97D75-E2E7-E1A0-8514-DC76EC921AF1}"/>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E86F3923-1EA8-1704-0E21-0268FCB69802}"/>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D7FEC15D-4EC7-8983-B2DF-B3955A4FB9D7}"/>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333FF0D2-989D-BB9B-2826-1A8A12B26D07}"/>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6C2B2BB1-08B8-1F3C-E961-3F3E6CA7D9A9}"/>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F31121E3-9148-4F20-7CB9-A96E572613AF}"/>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C32973DE-3665-3332-13AC-27CCD4BF20E0}"/>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0DB1B146-23BC-021E-9805-DF59CD664BAE}"/>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B1EE74E1-ABF9-DA74-AD78-AA2B7BC156C4}"/>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CD0CE25B-6DCB-18A6-2CB0-6AAE9CD2132A}"/>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3D91DA7E-68EE-811D-91BD-587C5A15AEE7}"/>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9FD5C589-2E60-2C69-AEAC-FB0634C25EED}"/>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068A7400-FFF4-CF8B-56BB-EA1363052029}"/>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90185B02-388E-0063-B351-9A29FC8EBABF}"/>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62445B1E-C9E3-2159-4F5B-DA7CF805B410}"/>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F7922441-6662-AE7C-32D5-5A79C691F1C1}"/>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E02968AE-6E53-D69B-1E31-CF992F1026CB}"/>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535F890D-09C5-4190-1161-7E4CCCD64FDE}"/>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2AFC7668-6F3E-EE36-8838-38470697457E}"/>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3C2A4EE6-B398-E6D4-DBB7-A6654286B072}"/>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42E1FF10-C7A2-5837-8F1A-A6A71AED7B33}"/>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A779EF32-181D-3D2C-D823-8B1D0386615D}"/>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030D611C-4558-F8EF-EABE-3274BB882AB2}"/>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1F1E1BFF-C249-6DC8-1C80-73B9AED7EE33}"/>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B24C1499-7FAF-2639-EBF3-0D7A90D8C121}"/>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276C4DA7-A260-445A-775B-7A67E1F3D853}"/>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6BE5C448-8856-00D8-04A8-A1DD8E406DAB}"/>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9DCAB63D-9995-F149-9F01-C3CF11C6B2F2}"/>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A928F768-0F11-FBD4-5BB7-0C2BEBDB0E0E}"/>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B18036E4-7E5C-5CCC-9E08-E1FA02A5F46E}"/>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9633B790-CAA9-7D1D-E1E6-983104A03F36}"/>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66B54B76-2175-606F-1B92-AC7A766850DE}"/>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BF62B6A5-703A-C562-8A6B-32694AD0F679}"/>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BD1BAB25-594E-C4CB-F489-1BF09E9853D5}"/>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3F790483-E731-A1E9-03B9-B95FE1E64F29}"/>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54BE675D-0C99-FCCB-777B-E011AE7D9FF4}"/>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31422B9A-C0D1-4F69-A04D-AC354B140078}"/>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4FBFB660-F836-71F4-ED6B-1291B8814E46}"/>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FE46A670-EA0F-DCA4-E23F-06FBE9C5DD15}"/>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7A7E8FB8-C775-65E4-A25D-5A509D8B5B83}"/>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99E67509-CA41-4F96-7CE9-4253CAF5C7FF}"/>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4E7CDF77-E99E-7962-9F56-02295731658F}"/>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97B08D56-CAAE-4AB6-58F7-B27D8A0BFFF5}"/>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7BC52FD6-E427-25A3-CDC6-A347FE1A1D28}"/>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4136AF6C-6658-2692-39D8-CE8D27DE1CB8}"/>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A5882619-678D-611D-AD18-0712E49232B0}"/>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DBEC7DFB-F4A0-7BA0-ECD9-4C3128CA8087}"/>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898809C1-D5C0-A18B-FD11-6095FA4494AC}"/>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869DFC95-771F-B28A-63A8-D302510B8B40}"/>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BEC4CED4-1E17-76A8-DB6E-0EA0E3C1F2A5}"/>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70B1E9F3-F35E-5AF9-926F-9FC7470E995D}"/>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F49845E4-A3E7-D0B2-D881-559DD750CD62}"/>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65F5C9FB-0E9D-AE4B-8A80-C630F2490604}"/>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2792B170-7D47-59CB-668E-0646325BDCE3}"/>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BCE39B77-33AA-7A53-EEB3-55967EE7FD0E}"/>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04407C0A-CB0C-D1CF-B3AF-62071CD41FBE}"/>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567048EE-B080-4488-6CAD-E491DC42E4BC}"/>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41C2B3AB-07BF-C0EF-4DD1-DA8636E5A08F}"/>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0BC470E4-67D6-75F1-E959-AA45E6C44D56}"/>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64BAB4FB-3264-2351-F795-7BB64AE8959F}"/>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1C57F866-636B-6498-B9CF-52114711E068}"/>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CA1E572F-50AA-D588-8C41-894BFD71C5EB}"/>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9FA6C08B-9EDB-03A0-EE6A-CFDBAEF560B0}"/>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B9F8A653-89B5-CD6C-6429-505069293BAE}"/>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A16B597B-0205-6DDF-63F4-8911FAF27269}"/>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E655BA29-C87D-B977-6FD4-4C974EF36643}"/>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4D8FBA90-DBE3-D60A-481B-DE25624E5C61}"/>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C7558495-5D6A-BA89-56F2-C3C5E9BD11CB}"/>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A27F536B-CFD5-AFFD-E3DB-5864F162CC90}"/>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76ED3E9B-FB82-FBBE-D928-2B5BD060716D}"/>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4959C888-68CD-4815-E4B9-8AA0E608AABC}"/>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4FC15113-5DA0-2AA0-04AA-328DA609DD98}"/>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6DCB2AB9-2886-47D3-5738-D6D61B71D52D}"/>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DC7E5AA3-754B-D6E4-870F-F56FEDE13FCD}"/>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B15DF403-9A22-B7B6-88C5-01D425CA6CA4}"/>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B7825F7A-1714-4375-B7F1-D8489502DD7D}"/>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4329E394-067C-A74F-C159-1A98C96C4CAE}"/>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5299F0B1-B156-8AA5-9C17-1AFDAF88AE6A}"/>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9820D9E4-4194-392E-6B3D-29699FC7F4F8}"/>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DC98FEBE-1CC5-9235-0053-3A77A3240172}"/>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ECF4D28B-C9F2-D224-C7C6-CCE5714F955A}"/>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47E6455A-377E-2C3C-E432-81066F762410}"/>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8B882C51-342E-353D-E04C-B15FC66F4C2F}"/>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2AC31637-01A4-4B47-B0A9-2EC37AC3C452}"/>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BC4D7DB1-28DE-54FD-AE3A-F2736E58CB58}"/>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C43CC2DE-1745-A230-142A-69DE99DBA141}"/>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464919C5-AEA4-4D5C-A497-60B708DE895B}"/>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A41187BA-96C2-689D-62D6-8BA5C98EFE07}"/>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125CFF07-66C6-6E99-6406-01BDF52CAB56}"/>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39924854-B3C6-FF7D-AC08-5E44636473D0}"/>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C24E5744-C02C-27A1-1F52-29265AF85629}"/>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6EA61C02-24CC-03FF-FE6B-93B6AA12274F}"/>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2E1446D3-7672-C459-2D13-E0E2A447FF21}"/>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775F6FE8-67AB-9D68-F700-43DC00D50CFE}"/>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C04700FE-19A8-15C7-7E3C-36981C5D8D4B}"/>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061196F0-17F8-464D-DF2E-0CE8D62826B5}"/>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48D0A8E9-717B-7C64-584F-9874C40D35F0}"/>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6748A5A1-FB41-0D81-2F5B-CBEFB7EAD5A3}"/>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BA58D372-9E96-CA3A-385E-99175D4504CE}"/>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8B29FE51-4B90-5B89-5835-2061CD9BAC1E}"/>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82AA66EA-A7E8-5F75-52D9-0736297BA38E}"/>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8BE7A960-D6AC-4C1F-6C72-09D57A3115C5}"/>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3F868DB8-E05B-3254-10BB-1020E5BAF9C4}"/>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6FAC1E52-B7EF-6973-AF32-40E46CE12FD9}"/>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1D7735AA-02B8-CEFB-1327-2570B76E998B}"/>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AD0CCD15-AA87-3FF4-289D-97326E5F2BD4}"/>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4EEE7F65-791E-4A92-1EBF-F344CD25D6AD}"/>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45132DD4-EBA0-5B4B-5CB7-81F23736788E}"/>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BB5D0C22-1E95-8DF2-B6F6-1C04A089F3EC}"/>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4FFACFAC-978B-349E-C738-EF95D75FE379}"/>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A0CC53DC-94F1-4FB0-88B6-C43DCC58FC7A}"/>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8BFCFC5A-3A34-9F21-4538-B9ED39106804}"/>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4109CCB0-0980-35A5-98D4-911A18775F27}"/>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7DDEC0EF-E121-E51D-6BAE-72795A77C352}"/>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5865F24D-980C-CCDA-E51F-1C3382A1C813}"/>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3C059C55-F78F-2CB0-6D67-3AE4C735FC14}"/>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5AF57810-6B60-6CE1-8A73-3445349892C2}"/>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8906F36C-9107-2013-2E5B-174ABAF4CF20}"/>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CF55CED8-1281-BC13-CC2B-925705FCACEB}"/>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A82F6CB7-19F9-28D1-7417-0080304162AE}"/>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4ED5C81B-9713-66A4-3007-4AE2A25E6A77}"/>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31CF8551-4E36-838D-1236-36DEC5F21C13}"/>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B64982E9-BEF5-7E1F-3E95-69A99F9AA792}"/>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6D0F4BC6-B69D-D800-2D81-CC3F38A2A87D}"/>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D0599887-038D-A843-A89D-B712711F9DB9}"/>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BE75129F-4018-5E50-BF81-8C0BE82F915D}"/>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FE153F57-12CE-7807-AD40-5847A6CCC911}"/>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B6080445-DFE8-97B9-9DA7-329873CDD1C8}"/>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B82E9F49-A0FC-9390-069C-4DDA9ECAA10F}"/>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2707DEB2-8B0C-832F-EB79-288DC0AB5121}"/>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9C94317D-2682-D268-88D3-E29B0647B266}"/>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E737B88E-F6CF-6C92-12A1-4380504CC63E}"/>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AA486F27-58B7-C794-814C-3E27ACFAE411}"/>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D8CDB2A2-3B21-FBAE-CFC6-2F7B717F7883}"/>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5949616E-1ACD-A180-30B4-8B2C1BA7435F}"/>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EE39FB93-E2AD-EAE4-4491-839477588A84}"/>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4C5C5728-F45B-7251-1661-CEA4DFF0B24B}"/>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7A4B1C6D-0E58-2128-119F-F654D4EA3400}"/>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BA39B6DD-06BB-D2D6-1E6A-D7567D761955}"/>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5B1A353E-D266-11D7-59F5-FE785BE6E41A}"/>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FB20FE55-8F92-7893-744B-0E7217196EDF}"/>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8FCF904C-C5BE-E7BE-43C4-766B63EB8B75}"/>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0BFAADE5-3006-D848-09CD-97D48E7F2079}"/>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D70CDE26-FD5A-13CF-A581-8A6987F40A01}"/>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6F70F026-8A3E-3D61-6A22-45009A7238AD}"/>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BB6EE8B2-B4F0-EDF8-8237-0F1E4D79804B}"/>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4B6AA9B9-11CC-6234-1F3F-B446A9B2A63F}"/>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E7D84DFB-FCF7-A6F4-3F85-AD5E9644140B}"/>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6F928D9A-2C3E-24CD-EC3E-36B6C5D8EFE2}"/>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8263D196-C198-8F2B-A499-3ADDCB98172D}"/>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34F4237F-EE4B-D408-7C06-0D27D6740F86}"/>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403541C5-4AFB-9DB9-648B-DD94A10ADF6E}"/>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8E5807E8-F81A-67FA-9958-138C7FA9D20B}"/>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700F4008-5DFE-9FE6-5403-4BA24A5658DE}"/>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BE4586C2-F51D-87B1-AB00-C19ECB3C2498}"/>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D51C3BCE-EE05-8D7F-5FBD-2384041C32DD}"/>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43CAF974-CFF4-31A6-C859-A572DDBD361F}"/>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973DAB91-4CFB-D669-F9F5-9F1452612DBB}"/>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1CB76BE7-C771-4073-469B-D9B73EED0DEC}"/>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918DAF7A-EA3E-B192-D087-BCF265A9C90D}"/>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F1055B49-404D-4DC1-B86A-7F3CDB018896}"/>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9194AF37-A0E6-8D09-1C38-D53DCE7B56AF}"/>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EA904098-9EFA-80F3-BE7B-AA38B166BF32}"/>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4EFCE030-BFE1-E13A-0BB7-4DAFCF7F816E}"/>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921F191E-919E-4AA1-47C7-502E37D62D49}"/>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0157061E-A86F-134D-A3DB-FDA12DCEFB94}"/>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825063AF-E4CB-F3B4-1AA3-0548BE59F4DF}"/>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48CB9292-C6F4-29AC-81A6-04FD4BE15EF1}"/>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B43DD6A9-F68D-9AB6-AED9-A6BA3529F1CC}"/>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5880F701-87DC-324C-3E25-354CBBE1122F}"/>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DF304F54-08EE-7D5D-F745-4270392AFB87}"/>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72DDE0A4-7FA7-E82D-DA04-9BB62A08807A}"/>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908200A0-E345-F425-6178-35371FC4D9E4}"/>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C9B9C9EE-2B07-845D-8A47-65C8A900E42E}"/>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FF831B3F-29BD-1D9A-C5D3-3FCB257C4B97}"/>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CB6EEB5E-FD93-0FE2-89FE-45D79968309C}"/>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0C247896-297F-4CF0-4CEA-421F22DB6552}"/>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11B2DA5C-17E0-8711-C975-0E593CB9A6C1}"/>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B646EF46-0D78-8019-685E-D312BA3E5B14}"/>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CB2FDE0E-F2C7-587C-B44A-9A4C5B66140E}"/>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465F3FFE-73D1-A824-C2B2-60AD1635F9A9}"/>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49C18F52-E461-6386-3E44-63F489CB40BC}"/>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56354004-6DE8-62B6-72F2-2978AD3629A5}"/>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47F25C60-38B0-E689-A0DA-2E429F7EB7E7}"/>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FDE1414A-C98E-0948-10AD-865170BF9F28}"/>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E5D06E6C-46F8-13B3-4F18-E95F2DC2A134}"/>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FE89557B-180C-CBBD-7288-8841AEF1BFF5}"/>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E4ED5AD2-EB95-6D3B-28EB-9B267C62AFAC}"/>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7A11DFF3-4C88-E6AE-C7D6-3AD586105D8C}"/>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C9B6F2D5-DFB9-BBBB-90D1-ABF2FBF31567}"/>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E34D4D1D-FFD4-330D-4144-E5799F315C14}"/>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8DC876A2-AEAF-9152-272A-558D49ED5866}"/>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C3843AC8-0252-E96C-3347-693919C3213B}"/>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9DD597A9-AC3C-5D0D-DBDC-3BB63D547BF1}"/>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0BF9B879-C683-2A60-5995-D2381ED84D15}"/>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EE0F4F59-2C9A-357E-25B0-F550B7A6D7F3}"/>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1A895A3D-F057-A386-07BD-E77501DFB28A}"/>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93573C1E-A6F4-8CA7-E302-9DD720D97E8E}"/>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29AF94F8-9DCA-27C7-31C2-4AA7C4CE32EB}"/>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84746780-E1E1-DAB4-6932-C38454427D79}"/>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501B818A-37B2-6F3A-3E52-C14EC02FB83C}"/>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E8393786-C9EE-85C1-E976-698E5AFE9B47}"/>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A8FA3FE5-ECFC-3A21-8A3B-4121DD6A0BE8}"/>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BFEB58EA-C11D-8A98-E691-64A059FC64A6}"/>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9B83901E-D451-994B-0935-783B13D80CC7}"/>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D07B7D55-0A79-CA44-5E97-3B6761C7B040}"/>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F35C89AC-9D88-B60B-8601-3ABF96E3FEE3}"/>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80CDD215-DA2D-7979-F554-63BB01952417}"/>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7585396A-6D89-6A05-B4E1-5F0D85EBB698}"/>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6C2DB942-311A-3B6E-6A73-E4CEDA530AEF}"/>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E0E1EDC8-6F7B-3530-D668-9B07AEB4F344}"/>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38EA8449-EFB2-596E-B022-2E4679257BD4}"/>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5A771517-5A86-6333-B44A-5F4AF5A729CE}"/>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04CA08C3-3B0A-EB08-6D82-EECA18E6F8DF}"/>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D3D84D0B-FE6C-D71B-6C95-6FF6DACD0640}"/>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4B027B10-771A-BA01-394F-74119337D104}"/>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87F92F7F-E693-03BE-D337-7A19330810D5}"/>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5EF276D6-D32F-97AB-F367-C340B10941C3}"/>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8E2F9DC3-8C1E-1CD9-B079-0562187E915B}"/>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96C74F82-2942-92EC-186E-E7B544AF989E}"/>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B53D92D4-3174-543E-A25D-102AABB130AA}"/>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D875A929-7899-4215-E364-B07F183BB941}"/>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4B9E39F9-778D-BDF9-8A83-45746F5142E7}"/>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F181B4C3-4157-BF0D-BDC1-4347E3FE03A8}"/>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2F1438EF-5AAC-2EC5-D8A7-070748A4D981}"/>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A35E5671-B6CD-A066-2833-49B398008B6B}"/>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3600AD12-A762-B937-3B77-339499566257}"/>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4EEEB742-3173-18F3-2B44-8C23DDC0C73C}"/>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CA8A015B-50B2-2290-A8E4-0D3EB3AFB0DB}"/>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ABD27B16-6788-1320-E671-6B9C1BDEBE2A}"/>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843BC6F8-D3B2-3F2D-1211-32C1497194BF}"/>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F28E8920-0576-0A96-55E2-F00F76D776E9}"/>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52E8A282-8E6B-FCD1-46DE-F14C4DA1BA2E}"/>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56343106-B015-73F7-7690-074535C5058A}"/>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4B9765F5-CFBF-41EC-F34F-0AE09C01CDA7}"/>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F96D18A2-8FD3-35FB-E423-2735CB62F809}"/>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68AFCA8D-29AD-BC98-C255-35E041E12CF4}"/>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9382A321-3638-0BD5-7B22-F74EC4CA1955}"/>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B63AC474-E0A1-FBBE-38F1-4FAB09D8C4D2}"/>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A1484DD7-CEED-AFC1-08AE-45480328EF6A}"/>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7B6A3476-CDAD-7B89-43AB-0571866BCD67}"/>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4F58F4A5-DB48-C401-6D3B-0BC311974765}"/>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D4C0B963-57B4-DCF3-4F87-A33ED6AE3C14}"/>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2A168C47-4783-B7AB-DC7F-450F1268D70A}"/>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2D161A47-03DA-5048-07B4-F44C2A409214}"/>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6005B60D-AE0B-09AD-C0AA-D93FCC32DA6D}"/>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2FE27C19-38D5-AD01-84C8-DAD1A762671F}"/>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7B8D2D92-8FAC-C2A8-5B95-2581EF41DC29}"/>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717AD895-6D16-9CD7-A2C8-0BE6C6DA6EDC}"/>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38A01621-991D-BEB6-B97D-65DE66A8D6AD}"/>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19865479-9B23-430C-F425-CF6CBE739C81}"/>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66FEA591-E7B7-DAC5-02C5-6A6CBF69E7C6}"/>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9789A258-EE5E-9859-51B9-7DE8601FC1AE}"/>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7964710E-2891-282B-61B8-79EF691CC1CF}"/>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4260D881-544B-97CB-C5A2-44FB986CD91F}"/>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080F7573-CA44-91E4-DEB4-89321AC01191}"/>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9D6CB7D1-82CA-BECD-7006-BF02F0ADA972}"/>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5CFB5317-91AE-EFD7-5448-1BF41E1CD4FA}"/>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997AE0CD-85FB-204B-3B61-9A8F307D37E1}"/>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CBEE4A6F-B248-E7D5-25C8-BAFFFBEC604F}"/>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D2570710-44EB-F701-D6A3-5AF2C6FE6A99}"/>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B78F7A01-A44F-8E1D-041C-9616A4982CB2}"/>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65EF4BDD-7F6C-7006-D28A-E0C7ABAB975B}"/>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04EA780E-3938-3430-D79F-414D0DED61A0}"/>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B6B9558C-9945-62F9-2394-413EDBEC64C0}"/>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7C42DA11-1CA4-96EF-86FC-385DC6F3AD5F}"/>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91615146-FEA6-D02E-FB52-DEE23F5804EF}"/>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B65BDE64-F39B-5E10-DE56-7D190C673D3A}"/>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FF5E07E0-CA01-7853-BAE8-315B445BA4A9}"/>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7430E76E-9A5E-CBF3-EA95-A78DD3DB9135}"/>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52504A1F-ACC0-AF36-EB74-605C6D2BED4C}"/>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EB8D65D0-E857-517B-20F7-C257D51CD3AE}"/>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2614876D-F280-DD00-5C8D-71A557B4EFF2}"/>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62F4D6BA-C947-76B1-9757-E4B519AC307D}"/>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CAE56FC7-2796-6C7F-82D3-E3CF82EC5F15}"/>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945B5B14-5A0C-F2EA-7A97-FBEC3EC591DE}"/>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15D4D5B2-E142-A26E-4FD9-20693B9DDF11}"/>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0003ACD2-1412-1201-C9C9-53EF263B3C25}"/>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4C5D5328-127C-4F13-B11C-30B3C6072BD9}"/>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204C96C3-4049-30B6-1A6F-9975C054D017}"/>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8794C5BD-5BF7-50BD-9550-B109AD753F54}"/>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9A793EF5-CA4F-1F30-112C-74C0B144CA62}"/>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752A1EF8-4A29-7AB2-5600-9118138A2D21}"/>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993E3686-6391-7168-FF05-D75D6E163544}"/>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A0AFDB8E-71CC-8D39-6CFF-C29F15DED74B}"/>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382267F5-7C87-0FFE-D713-F4D434FA8C10}"/>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EB2F6036-B1F0-C78F-FBF4-D53475B83A62}"/>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09854BAE-8284-1AB3-DF9D-0BF79A4806EB}"/>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4EC02B17-543B-E92A-3E4E-4A456FC283DE}"/>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6D313EBA-15E6-3FAF-6AE9-6BDAD3B6086C}"/>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11EF3A0A-8DF0-A3C2-1224-CAF6FA398978}"/>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360F8958-340D-56B3-6855-C11843804F69}"/>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BF76E1BB-B6C0-21A4-8E7F-BAE7CE707439}"/>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9D26BAA1-FE48-F741-07BB-142F8F6ABBD0}"/>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532AC706-879B-FAE0-D1D2-75955FF74205}"/>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02D421E6-8081-C9C6-FECD-C3A5DF53064F}"/>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CE841136-52E3-3A68-277A-6399B8326EDC}"/>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EBE297A1-1E75-95BE-6E63-944C0F48D4C1}"/>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FFDEFED0-3ABF-1390-BE29-DD6044FA86DF}"/>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E526E269-E164-FAF6-8A72-47DFEE77BC25}"/>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9EC38BC4-86CC-F533-A34C-7769C663CB59}"/>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BA2BA0D3-319E-9C4B-811D-5C4C2F96DCDF}"/>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EC194D66-CFED-8D88-5806-8C01413C7359}"/>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E25B6041-F4E1-ADAE-AD7A-C9CC26EF6208}"/>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3612BEE4-86FF-53D1-6557-349E0D654AFE}"/>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033A86B0-4EE5-F6E5-6392-2672036D6640}"/>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7C43BDD5-06D0-6D40-D72E-20526530C7E0}"/>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B9EA2E41-DD81-BF68-6B44-ABEAD7BF663A}"/>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26C2F13D-91A3-BDBC-05C8-CE5D0712F72B}"/>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ECABB53C-2F12-B14D-169D-A798CFCCF09F}"/>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9C9B696B-5628-5654-F2E2-9F09B898D32A}"/>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EBD1E07C-3A66-93DE-3F0E-4E0D603B241C}"/>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346A38B2-55F4-C38D-FC92-106BCEFB0D49}"/>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13D83382-C723-7473-A1B4-74DDCDCBC8E7}"/>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2583C6CC-3381-B4B1-B865-119D162B710F}"/>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A63E091C-620B-B9F7-C310-1D88B183518E}"/>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00EDEC6D-9B7F-CB29-2A83-E6C637A132C9}"/>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F53A899C-3A70-7DA3-73CF-1F4F72225063}"/>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287DFFC9-7ECC-CC5D-D2EF-086389A498EC}"/>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F8DD4FE2-AAFF-97C6-5611-4D7D1E2DC605}"/>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6767FAA3-09C8-A455-B636-4B5756E3F366}"/>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4C29983E-7417-6A0F-431A-E5F5FA8FA8F6}"/>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93B5E444-9DEB-28FF-B286-A7D7A35FC720}"/>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672C2DE4-ABD9-9AE8-4D58-DABC801C30F7}"/>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0BD49F23-AEE0-8486-AE72-F513E71124CA}"/>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D1614CD4-EFA8-689F-BF3E-C52C6A7EA1C8}"/>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5C5EB779-0D11-28D7-B0F1-301198B98F2D}"/>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346ECE39-2986-1F59-E0E7-50350F20C0B8}"/>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8FF5543F-6B16-2109-8FE0-BD410F0A24E3}"/>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6B88F8F1-295B-5989-9477-F2F27E6EE362}"/>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4BB9C772-06C7-C2BB-8A53-E430C46EBA2A}"/>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61DB8FFE-6D37-914F-E82D-9A11DD78ABBC}"/>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ADDA991A-E25A-70E0-49B2-389CE9944A99}"/>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516B7E7E-AB18-1168-461B-02F224BAFFB1}"/>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BC1853EE-245D-C8F7-5F43-FBBDA0847566}"/>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F2F32470-A928-0F40-3BB4-73A5F90149F4}"/>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768BA140-BD40-D175-28E9-B33FDB209C24}"/>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60DC1959-18B6-37CD-0807-9C301F500545}"/>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F64B3EE0-1920-A652-282A-1FB4D6A534D5}"/>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6E0FA031-3EC9-A782-C76C-07D581E7F586}"/>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9CC278A7-2081-10E5-E13C-E1CD019A6E23}"/>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945734AA-4A22-896F-DFBF-E09C69589C9F}"/>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64173127-9E70-273C-2A94-B021A9BAAFF9}"/>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5F3F451B-0EAC-9E6E-5909-4D6BA9AA1538}"/>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0AF46280-271F-8994-0D27-FA617FDC2AEB}"/>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11379DFF-B48D-3768-535F-4084C856962A}"/>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263CE4A2-4B86-D184-36B8-EBF5CED8C606}"/>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10282B8F-4A5E-F218-1138-AA2C2FBFF92C}"/>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1218B7A5-0A8C-30D0-E475-4CD871C01211}"/>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798F07FB-F9C8-82E1-A157-B06AE7B01D68}"/>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6AAA690D-F3F1-08FF-D586-BD2FF1800BB1}"/>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894C5A78-766C-6BBF-BDF0-7A90BCA0EABA}"/>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268A887A-30CD-3E9A-878B-0041425B3E77}"/>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499E2907-8537-F8A3-8267-B6E72973899A}"/>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754D36F9-459A-1EF0-DF3F-144877B48113}"/>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797F718B-03B5-03BA-C18F-BFA5FFC2C549}"/>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EB4A7185-95FE-879B-E12C-A48505F94832}"/>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AEC5714E-3695-A031-CEC4-3800BD15743C}"/>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32BC861C-4DB9-6FEB-8C2C-F460A8A73C35}"/>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825C74FE-8BDA-E1EA-97DB-1AB2E6E8035C}"/>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20D14CB3-973D-CB48-6B7E-19F66B5521FA}"/>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646AA9C7-2BAC-5461-0F02-49BB30891BE4}"/>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C8C0D2A9-9CCA-1B7F-3B65-31CC76C1F735}"/>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77DD70E8-F37D-E81B-B877-0CFD94C32A96}"/>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04870510-6C4B-1AD4-9168-C40F4E776912}"/>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2D569754-C28E-2D85-DFF8-1D5A4B7B175C}"/>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A65E701B-005E-5E61-7C67-E6C133C3B8BF}"/>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9CC75E10-25F2-3D64-015F-F673A85C75DA}"/>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BB492796-2607-FF67-78C3-F58659F8295C}"/>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7D0FC175-ED5D-3714-A231-DEE87C36B76D}"/>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0FDBD5DC-B3F8-D9B0-54A7-E1DE2CD1A5A0}"/>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0F365BF1-27EE-78CF-D65E-57065F2B9CE2}"/>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4EF8D95F-730C-C609-5D93-DA9D4582D3A6}"/>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A42F5454-5CD6-2320-EE6A-6945E9CCB07F}"/>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81DE0AB8-8B25-1A9F-3F0E-644392F2F49B}"/>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290ECE35-0320-5A20-B3FB-215470B445AC}"/>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FBA467AD-0F34-B946-21E9-DDC8456E5518}"/>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4CB33AC1-646F-B33F-C4AE-D11B0C6239C9}"/>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AD85C691-D0EA-4D12-2D63-8E3FED3A50C7}"/>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65842F68-3AAE-0B54-66C9-9FBBA7421CCD}"/>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4E80B963-62CF-9FE3-E24E-0BF6A6E4BAD9}"/>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D168EF9A-BE52-1F63-1254-05460EED033A}"/>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0411BEF2-7469-9768-548E-A31AEF4FED36}"/>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D0999968-499B-24D3-D016-E4882A463D10}"/>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D7FDDB98-747E-98B9-D15E-012329781F83}"/>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2837FC21-E3F7-B10C-DAC2-3CB1C2D51A31}"/>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43459174-5132-2670-DD54-79DCAC4869A7}"/>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6CE57D95-4538-CDDB-C651-730023BF27F6}"/>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8699B9E7-F6B7-2107-B750-1C930CF9AE7A}"/>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99E48467-0404-4615-0E20-AEBC0DC53769}"/>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ABC07470-624C-E0E6-45DB-D007C30A537C}"/>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67F1A61B-5EA8-5E5B-F3AA-56220D9FE94A}"/>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C86C8B5B-24BD-AB19-FC88-0E53809A119A}"/>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C0D0F73C-D27A-5B0F-F129-FD77C92CA350}"/>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33D33BB5-B6AB-4EB0-3781-C113B015B1B5}"/>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A52ABE49-5A95-CB10-E72D-BB5A8A6126FE}"/>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D75A9373-0163-A737-170E-36FC0DF7D6BC}"/>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C2E995C7-5A2F-E968-1C14-AC4F0455DE90}"/>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DC6F376E-E5A2-0503-2D86-207972E6CB6F}"/>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C68FA572-29D7-AE7A-7BF9-AFE4B6D0E830}"/>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A989D459-39EF-461C-7676-C1A684EAAE6B}"/>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8247A649-A23E-2139-651B-B4F95E8396E3}"/>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5A3FEFF2-DC6D-8CF1-EB9D-FC990A41FEE8}"/>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AEB97841-7F26-5B67-C6FA-AA9A90A472A1}"/>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69CA8A72-3523-0C71-7545-68F6FAE6FFEA}"/>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8751288E-2AC9-18EB-9AD1-077060F71A20}"/>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F14141B3-9BB7-9E5E-854F-7A6D17A9D2EC}"/>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07662F71-8982-826E-7B89-582ADC41F8A5}"/>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4DE42FE2-5549-1283-5D72-2FCBDD1EA581}"/>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E02C2F7F-10A3-782C-8452-79BA287D2722}"/>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802D73FB-CE8F-1597-3A2B-CD7517EEC8E9}"/>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526209B9-A8AB-3F45-88E8-0622729F286B}"/>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3A359C60-CA5B-58FC-5A68-63064E7974C1}"/>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8D6D3DCF-78A4-1E85-0834-F2AAD6040D82}"/>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4AA7AF0E-E77F-58FC-B33D-D1A0722F9AB1}"/>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7553E7B5-9C0F-5202-B2F2-D473CCD2ACD6}"/>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4461FB19-9D3C-A709-FA2C-7D0E7BF34190}"/>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2962461F-7357-71E3-ADAA-1E1B947E3E96}"/>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2D0E79C2-C80D-9947-E176-97102541EDC1}"/>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786AFF7C-003E-106F-399B-E6E44FF18011}"/>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FCD2AD5E-1B4A-5D5A-DD5B-44142F4BB24A}"/>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D8ED4A99-1E8C-CD23-C97A-871C2C6C0CA9}"/>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3891F6E2-A155-A374-2168-4A631199664B}"/>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79AE247B-2039-92AE-E404-9942E821E20E}"/>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85375A2B-4A17-443B-B8C2-B39F279F9297}"/>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83C0837C-7141-7E51-3B50-BDE78F6557D6}"/>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C9FD8C95-5300-D3D6-8E35-C746D341A690}"/>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B3739D23-829F-9ABF-D618-651E7DD28BDC}"/>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92F026B2-D254-F082-7A5F-8FA3CFB73745}"/>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299E78AE-D3F8-2EAD-6470-9579B063CE51}"/>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D66A2369-5283-C0A0-5D70-00962190E48C}"/>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CF369489-6060-8376-6760-C13DE47E1B6E}"/>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58C82E64-5608-FA0C-AFF0-BFA6C995FD0E}"/>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A4E12652-E3D4-7A2C-2DC0-B99C02D2F34B}"/>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44EF6121-6860-177D-ADFE-A98A1ACDED73}"/>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7662FBCB-30C1-E37D-830F-49F2A15C872E}"/>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E3CFECB4-0706-BE58-760D-C73E6010CB38}"/>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96A10846-217B-FA69-492E-61159895BE11}"/>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A487F112-7CCC-CF4C-551A-8ACFCC540F9B}"/>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63690F9E-150A-36F1-FF05-1C685F1C3FA7}"/>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B10F47BA-4FE4-6C47-F90E-0048FC338A6E}"/>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1ABE3A1D-A424-72AE-75AD-A1C399D76EA1}"/>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D1AA4FE4-98A7-634F-8CD9-0DA6B58E9F4A}"/>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58A0E598-02A1-2581-3719-8758DD63630C}"/>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BB225BC1-1598-9E3D-BD83-3064A0D7FBC8}"/>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D55C1D70-F52B-975F-61DC-36D49709E220}"/>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E300D730-5368-877A-E200-A7F9E8C37F76}"/>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51C884C8-49A2-1D0E-9660-6189AFC62CE4}"/>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6DF730A1-7E9D-9EC5-C1E7-CF4877B4B668}"/>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4DE792B9-8A02-1EB9-1BCA-9E4F3CBB7943}"/>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63CACA35-0FCC-A35B-EF5E-1BE93E5A9AF9}"/>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02B59DC2-A846-75D5-9330-A9087C31AB15}"/>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E9643597-8E9B-B867-923C-1625B85FD523}"/>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B6130B5C-3A39-B894-D14F-0E5B4DF3C4C3}"/>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215C54E7-EC12-A8EF-CFDC-8F6AE8833492}"/>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26A69293-79EF-3189-FA75-73C3994ECC73}"/>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41FB46F2-D64B-FD82-846D-83E0D2A6FC74}"/>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783EEBDA-614E-BDC2-828F-21225E64153E}"/>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7C2B17F7-1A25-71D1-D674-4D1FE6C97295}"/>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FBA7D7C5-9269-8E3A-B15A-1022FABDA660}"/>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0832119E-171D-5A38-93F8-8D422FD2127B}"/>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676F1E9D-1C1C-D39D-E1EA-42BAF8E100C0}"/>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B1ACE75D-5F09-2233-9B54-55127DC9BD88}"/>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E0540405-8D6D-E8D0-8539-EEE72A015637}"/>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8EB42DD1-BAC9-99F1-79D2-578E576D7CC7}"/>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54730FF5-4FCC-61CB-3A64-D41BD11EA362}"/>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127D618F-6C05-0E91-ABE5-1FCC4172DDA7}"/>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FFC32A4A-7D4A-115F-BD08-BC4C8583E7F2}"/>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323A2FCB-942C-5B34-0D16-38D2088DF885}"/>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3381F941-EF62-2A54-E63B-F6B92E3BB41B}"/>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86775294-D440-A9E2-F72A-868C4CD5EF77}"/>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00EDB275-DC5F-C719-CC80-3C1FA4100E59}"/>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FDBD0FA9-0F7D-65B2-9718-206971A0D704}"/>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170D3D15-8B8E-A18C-9076-BB2C2D83F206}"/>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AD40B478-80B1-7A62-6E0F-6881884FB00F}"/>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F6D4A067-20B8-E957-9F89-E4249A8596F3}"/>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89CC14A5-D7C0-E075-5109-AF6E22022BD4}"/>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9BA0526B-A6FA-CD99-74B2-448BB82D6F6F}"/>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F1870DB2-5E29-0BB2-206D-9B03FED4FB8D}"/>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CA53BF3F-3F7D-DB1D-80A2-CFBA9B8E0618}"/>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B41C55F9-85AF-D3CD-BC9F-4EE0CAF70C11}"/>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4075D5CE-5D60-39C5-0428-4E930B6311F0}"/>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31653EA9-31F7-9C3B-CBB8-B06E2228F82D}"/>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B3E8C9FE-F63B-A935-3CD5-F1F7F636451F}"/>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3541AEEE-C6B7-E312-0112-0F6AF1DA9C23}"/>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79EF5A26-8D10-5E7F-4FB6-C255DD112D88}"/>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3D84E768-5388-8144-AF1A-3AE4ADB6F395}"/>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70F9C631-BFAD-D557-2002-C947AA023AD6}"/>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501C47D3-FBA9-235E-6F31-AF70B282260B}"/>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EFF1B8C3-3C4A-1F67-2B30-5A464F3A95AB}"/>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DD01163A-6C6A-A144-2EA1-063DE55C97F7}"/>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318CB2D2-48FE-9E87-0241-71ECD8C46991}"/>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4B86692D-D33B-3726-D98B-3DDD18F50B0C}"/>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62581AD1-B75E-1BBB-BC22-D08EAA12B6DE}"/>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EF834C56-BB9A-8077-6622-A8AB32659FD6}"/>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AE835AB9-C047-C6E7-B76E-3AC8DB7CDD6D}"/>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85A0D47F-A4CC-782E-116B-8500C86BB9A3}"/>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166C3E6C-5329-AB14-0399-596FA2098089}"/>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515A44BB-BFCC-B1EB-C6F9-E95D213B7ABA}"/>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AE1A5447-2C86-82D9-5FD6-219520A1FFCD}"/>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6E760FDF-01C3-2E9F-FBB7-48D479945818}"/>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890F5809-90A6-D9E6-657F-60CF2B4D001E}"/>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8D91E217-A58A-CD29-BA10-65611835DFB8}"/>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8D70CB66-202B-387E-1594-811626F22B91}"/>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B94DB2ED-C8D7-005E-EF95-5A13C41A2232}"/>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A639F32F-2E67-371C-5CE0-0C00F576B6E1}"/>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32FE89E0-906D-C81A-3972-73CAB53A94EC}"/>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093732EE-CE34-D1AB-C2F2-FA2C119AED10}"/>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9C86F22B-C782-AFD0-6D75-BF8F1FED607A}"/>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1E3EB06B-5DB9-A93E-23EF-7C31AF94779D}"/>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4DB14A02-4C1F-2C43-A67A-0F9A38D05404}"/>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9C7266BB-7D8E-9020-0307-9EDD6AE909D0}"/>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1E769B6E-0131-A321-9E9A-72FDC726B854}"/>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08D69B00-601D-DC47-DE5D-1434BE166686}"/>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14DC2D60-C009-F6EB-7493-17F85BD2F5A2}"/>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A12D2555-6EBF-0835-3309-9BAE0093B058}"/>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99F25A9B-83A0-3E30-E408-C0F16C1BCBD7}"/>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377D1D8B-AC24-F282-F310-3B209D4D0E5D}"/>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6FCA2DC3-E4AF-9971-F19C-DECA1B48CE42}"/>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DD50B6AE-03C6-367C-AB74-3A14E6A3EDE6}"/>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D5CE18C8-03A9-03A7-56D3-79D79A0CE671}"/>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CF13AEE2-615C-F53B-3B36-E172DEBE642F}"/>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D5CA457B-2341-25A4-0753-965FADE2FA69}"/>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C9D70705-32CD-8FDD-1C32-5C0687B1A50F}"/>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C4C97B6E-8174-BE88-8A88-CE005E9AAE28}"/>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51949F3B-79A7-FC63-9510-7CA91EB51CF2}"/>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7546B1A6-6A5D-B0C1-FDED-A1788BE19040}"/>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BE1C9096-6163-7B5E-8940-4EA045AB5472}"/>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7A56B387-59AC-68F6-F6CE-682FCB89D39D}"/>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53C3BFB9-718C-BC9B-4DEA-15BAC04D029D}"/>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36C85F4D-80A9-6764-F05C-0430A571D630}"/>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2083B6B2-DE98-6522-5E9E-BD515D0A7EB9}"/>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0DD1C84C-403B-6C49-8F9E-FE3366DAC56A}"/>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FA40F598-8EC3-3DB2-9370-30A59A582CC4}"/>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56B52277-7E7A-D3B1-467E-11EAA86DF157}"/>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0F5CA1B4-DF01-D171-7A72-20E03689FE11}"/>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87232F6B-5C5E-D867-2F2F-06321F3AAADE}"/>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DCAE0271-462A-6F4D-B381-FD094A2A8AC7}"/>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DB080DAB-028C-6586-ECDD-4599592EBC9D}"/>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3F091BA4-BBB5-EAFC-8FF8-77E22DB28D7C}"/>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A28174FE-F26A-0CB3-1732-DABFBC06F408}"/>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76018F42-4D4B-4650-C3FE-5B35442F1A18}"/>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6D49B61F-59ED-D07F-E94C-1482DEEF8F28}"/>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5723EE19-C32D-2BD6-B05B-7C625C9F9C6E}"/>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958A163F-EC11-1090-2555-716E56DD1A85}"/>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E2346037-E6E9-00BB-CD77-AFE9D2B75304}"/>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1F7A4C17-4F43-3503-67C6-04619284876F}"/>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2F566C03-FFD4-4721-C705-942A5BD3D16F}"/>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A7B0E2BD-91F6-CA72-D442-2A3CF5A3CABA}"/>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DF6D9AEC-8A08-AB2D-25DD-3FD100FA413A}"/>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0B2E8932-940F-846A-740A-3EADF5D66CBE}"/>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12167BA9-AF2C-06FF-B026-58B64BDF7351}"/>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64555271-8E18-057C-F77D-CFF9C9674C70}"/>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18C3DBF3-F4EC-BAE0-7A6F-3864B0A31580}"/>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11F2792A-3F41-93B5-1146-5D0FEF594088}"/>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3F834781-650C-8E62-ED52-245FEFC9E86F}"/>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ED93AE8B-5DE6-2BC0-612E-10C6515C4F13}"/>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6C4EECCD-9399-AD12-F1DD-AFD908100C08}"/>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95B6AE2E-88D1-65E6-3BEA-6BE50C798E61}"/>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C0FCFA80-D530-0BC2-C86B-E91F9A6C3130}"/>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C6C613FE-541C-FFB2-FD81-5D65B5A4E713}"/>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13519E46-EB92-94AC-5175-C479BA4D1758}"/>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8819FF8B-AB25-D4FE-5C1E-68C617C5C219}"/>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E0C6F79A-46BA-04BD-68D7-A39D1A7A3D67}"/>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44026E1B-C606-DBBE-24F1-D91D2C2E63C2}"/>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A3862BBC-5FD0-CBC2-A9C8-7D6A95C563A0}"/>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76B7AB21-4B2A-245B-EE7B-06556AB13608}"/>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08B30481-490D-EBA8-B4F5-78AAE785C762}"/>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459FB1A9-0611-E214-E853-4E919C882A3B}"/>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F6ADAE97-F666-ECE5-B1EF-13BD57B7FBBD}"/>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85B111E9-5ACA-2183-648E-568C8E66DED4}"/>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B001EBB0-4802-EA7A-A4EF-2A54ACFFC56F}"/>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2E93EF99-8951-D1DE-9C2C-D5E054161971}"/>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A88D5CC2-988B-42E9-617C-6A9B7CA55E9F}"/>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A04A9AFE-B6E6-AB8F-2828-C18407958887}"/>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8186EA91-A511-9FC6-3B0F-E9545F567835}"/>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F1FE901D-BEA6-E022-559C-2B0A9D76DCD9}"/>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D8BC714C-3FBE-318F-E9B3-8A46EC0BA49D}"/>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0E08E3A7-DD63-AFE3-4DE8-C326223AE924}"/>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D0F590B1-D43E-D2CF-299C-663D0AF84506}"/>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F38EE7D7-AC24-3DA3-5038-5E943069469B}"/>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31134AC4-A368-2156-4C32-76F09A9B3FBD}"/>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463E1117-E5A0-3EE2-9C56-0D96650553F7}"/>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8D97107D-4D5F-BA60-447D-26F6D697B4B3}"/>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CBADA73E-D848-8051-812A-F710748D369E}"/>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CC3751CB-6446-B119-E406-10C262535101}"/>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58D1F529-7042-A845-679B-494CD0E07BBC}"/>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01CBA1D5-17EB-249B-F722-7DD9A493863B}"/>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D0C5E2E8-47CD-2618-8B2F-92650DC9500A}"/>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46C650CB-FCC4-7F6E-A587-D31678ABD2E7}"/>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CBACB5C1-4CCE-A1D5-744E-938BD713A101}"/>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4721B9C1-0A3F-7E2E-FBE7-014DB901628A}"/>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4814288D-95DA-8185-0CE9-C9C880F8D9BD}"/>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2688DB34-CB0C-1D80-439D-3C87BB2FFF0E}"/>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83414FC6-E850-1945-B6EF-75FBFB59E44B}"/>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8AB494E1-CAEA-944E-5DA4-8107345643B6}"/>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22B802E0-C72D-9890-D57A-9DC2FC3EDA4C}"/>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81E56E8C-B8A5-961D-66DA-EE8936B17BB3}"/>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761C61D3-FD21-DBEC-5A37-4AB8A36ADB33}"/>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EA5BC144-80E6-41B1-C87D-78413B74BDDD}"/>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C7609803-82A4-FA33-1860-5EFEAA046353}"/>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B6CE0685-D8FE-298A-0A5F-00808D3FA464}"/>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70B85BC1-A6A3-E33E-711E-2FE690C17F9D}"/>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523AF296-8BC9-292B-0881-75D74866BEF9}"/>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20360E88-DC61-8552-A010-833B220EF796}"/>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4FFF9781-126D-D714-ED51-0DF44D561B9C}"/>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56A568F8-F72F-4C73-56F9-8FC282FAF069}"/>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1DE44A9A-7925-6299-2AF9-D712D9F3F1C3}"/>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33529DC6-202B-3642-0B5D-C5AA756D4FD3}"/>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65AA5D82-54FA-2AA6-82B3-8461FB15B711}"/>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D8BBF29C-636F-2ADB-DAFF-6CEEBD03F92C}"/>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7A506D37-17F4-1BD9-659F-D6EE5F936B40}"/>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87EC4E4C-E69E-799E-7930-7750CE048FA7}"/>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B54B2D4B-076E-2760-7952-A19D6FBD2917}"/>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B7B9DFF8-EACC-6386-EAA1-3821DD9A22D9}"/>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5C49C021-E88D-1153-0DC8-2ED502855198}"/>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49C98D35-C34A-91CF-1FBA-9F50ED0026F2}"/>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2325B7F4-DBD5-3FAB-4FE7-8A215EDC546B}"/>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8BB0A9A7-C42D-2ADE-3D63-B4A844F2A13B}"/>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0CC44813-D0A6-7494-A65E-8EFAFE0A88BF}"/>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DCB4B0D8-18CC-DFEB-6427-E2EECD05DEA2}"/>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2C9EC218-AFFB-062E-7E20-DBFD5F2422F1}"/>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E5C70F28-46B8-0E44-0E06-9E0D7802D09B}"/>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23CA2B4E-58D3-C1F4-7D7F-B3657CDF5E7A}"/>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D65B255E-705A-EE56-F76F-96800827DAEF}"/>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E70E4C9A-1960-510D-D747-8E2C0E8865F6}"/>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CB1CC9C2-022F-9489-C08F-403A02C22AE7}"/>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EE71739B-F475-5B32-6E42-0710F5E0D29D}"/>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5761C9DA-D9AE-EBA6-98E0-3714D7A08AF0}"/>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F16747DF-94A3-4944-52F2-6C10221B92EE}"/>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1F404BC0-D8FE-0DEF-294D-90280C080F8C}"/>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81418934-BA65-41AA-5FBE-92C44D12F3F6}"/>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C6EC28A3-DD33-AB31-D1E3-33FC6E7F6804}"/>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18FEC6E5-9FE9-91D8-28C2-799D8AF0CAA5}"/>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807BF8C6-2F7E-267E-45A3-55ED8B88EB55}"/>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5168FAAF-740D-4559-118D-C8F6D783E0C4}"/>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7FC1DB74-11D9-6623-2C5C-DAC4466D3372}"/>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F5CA1F93-CE5A-EADB-FBB3-CD0825A333EB}"/>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815BD44B-348C-440F-2576-ADE3D66358FF}"/>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ADE805FA-5B70-0746-13EA-B2681A3DB68C}"/>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EFDC1A5B-793C-671B-9802-526E25557771}"/>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5C273270-4CE5-7D8E-AFE5-AE609C32694D}"/>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803EBF35-A61E-D396-EC92-C12913AA3F01}"/>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A7E2A1DC-9D70-83B9-14E5-CA49C180A8F9}"/>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ACC5BA66-CA5E-4907-C96E-1D73DB1FDA58}"/>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2E7A31D3-6FCA-1FFB-7C71-B6121141D3CF}"/>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1D2E3995-1A6C-C151-62CC-DD02380DBA80}"/>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D620FF70-BAF4-A58A-10D2-2573AD3D5D0B}"/>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4356F45D-3F70-E981-5944-72F569E691D6}"/>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C532D321-0861-6E5D-924F-BDA939759DFC}"/>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9E5C2F3C-8F07-C873-3743-48523C7D2CB5}"/>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1622B892-862E-D1D0-94EA-3FC1C58562D6}"/>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13BCDB73-7DD7-9286-B367-B67C08E7B9FF}"/>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4E369286-A91A-851B-5DE0-9BF84715E02B}"/>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56A4CB17-DCCA-8A94-A490-1702DD8F0ABE}"/>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7B4C22F5-531B-C3F5-0D8A-FECCD3873A73}"/>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6DC12689-FA25-00CC-9644-CBAB36BC47A8}"/>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DD1C75E3-1C35-A511-2ED0-590482B17C6A}"/>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0DEEECBB-4F40-6C3C-6043-6376273EF61C}"/>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70C3479E-4F45-0BBF-B1C8-8670B0583EAC}"/>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28F626D0-CB0E-6DC8-0099-EBD56E3DB924}"/>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DFB7BC21-BC0F-CA95-27AE-D109F91BFE9A}"/>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539D6927-54AD-73D5-7897-D3FF21463C36}"/>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9B8F6A34-18AB-BE08-9CA2-159404570C6F}"/>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065A1406-73D8-00A0-5946-403D40F0D41E}"/>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5AB49054-F18B-9C6A-78F1-88C9458CB044}"/>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FBF4EFBF-C56F-AD4C-D2FC-CBCC649929D4}"/>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80A013F7-E572-450B-C6DA-D6AD5D04BC49}"/>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E4AA7E98-89F4-8A80-5E62-DA0A548EC844}"/>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FC0FE431-FB9A-0839-6571-7DEDFFE866CA}"/>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DD8E38E5-CC33-5852-DE52-EA6378C4D0F7}"/>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E5D3FE6F-0DA5-3C2A-EB80-688F8A2B7461}"/>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C1AF5389-AE92-A1D1-76D4-C83FAC0F0B9E}"/>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D10C31E8-4CDC-E32D-F5BB-CEF28C7B10AF}"/>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BC4F6014-4694-4397-9642-F975CF292571}"/>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48C09D49-5401-0A69-4DEA-E1EC4B243D78}"/>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263DA36F-C55B-392A-5B5C-2467025CF99A}"/>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229D5A70-E894-B128-4DB8-E823E1F88E83}"/>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C12B9AA2-D93E-B4AF-A624-667E14ECF968}"/>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79BC4945-DCB1-4B61-515B-D6712C4FA2AD}"/>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A998EDB9-8C01-A156-F599-AAC1E88F792B}"/>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0831FA0E-F2D7-A669-99D4-E67589DEC06A}"/>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F9701A2C-D183-73B4-D45F-016317A0C9A9}"/>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0C59A5D5-468A-1947-E64F-4A74B108ACB5}"/>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35707F31-B5B1-CBC5-A404-DCADEF1904FC}"/>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F5C6DE82-A3A4-267C-F3E6-E8F420E334FF}"/>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3046C364-77F7-F7BD-9466-CA6589ECF296}"/>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CB153CDE-EBC6-E054-C392-8796F781C2F9}"/>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26655AC0-F115-246D-DB91-446B7F452544}"/>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945D6803-2571-1AA4-8973-20F45D452AAC}"/>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B981329E-8196-C4CB-9B61-32DD56070C24}"/>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CEE50BED-11CC-15C0-32CE-066168D060D2}"/>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82D194D0-A958-1CED-F04C-DEA143959B8D}"/>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A7D33E7C-930C-79B0-EE8F-060B1176A550}"/>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638D9C18-0EF6-B616-0DAA-1E2D9FE5321D}"/>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B4C0D1D0-8657-16F1-3B29-2A0104793950}"/>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434EDF47-1143-6100-6E5C-990D0D84B147}"/>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D7B12EB4-4066-5376-2867-B3990E0E768D}"/>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E4B27D0D-3A3A-1F77-DEB0-9911CFC5DFB7}"/>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51C40A32-B474-806D-EE9E-4536D945CBCF}"/>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9E2B12BF-487F-4C24-B228-3D22D5F200E7}"/>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59873608-EAA8-430B-7C49-1B7AD82816E2}"/>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2D16CD00-9092-B8FD-0ADA-4E67BAB68FAA}"/>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DCD03629-FE4E-3B27-59D9-2B4B595E7787}"/>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E109595F-D0D7-2094-3A61-90B0F6992A6D}"/>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9ECAB531-028C-8546-F7C2-7CD8F3F4EC3B}"/>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247CC293-BD4F-FD5C-4788-5213A1E15F37}"/>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F3A37C33-EBC0-CE5E-A64E-F19500237D38}"/>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CE2E2F8F-5E86-3F40-1E98-DCCEA03A0A85}"/>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D4B667CA-5EED-4CAC-E6C1-81D8A103E942}"/>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A80128F5-864E-868E-83B8-B37FF6A45B44}"/>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5B27ED3B-9F07-47A3-BFBE-36242C3C859E}"/>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59C02C68-8F8D-58B1-C3E0-D64485B9DCC0}"/>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69BDBD51-7449-594E-EBF3-E91F2AB2BECB}"/>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D7AFCC4D-F404-04AE-C24E-50EFB8F14753}"/>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FDC2E3D2-68C3-FB72-B20D-3D82CF562290}"/>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E1C9862C-9FBB-07C3-1E61-F5B72CC23DF7}"/>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24C0FCFE-F1CF-945A-78E8-2C46650A4F3E}"/>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68831809-A33C-9B3C-CF63-28ADF512567A}"/>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6B01A5D8-E276-1012-A1CC-D928C2782919}"/>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81B83B7B-9138-C237-B18F-5DA9813DE3B4}"/>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7D5EF98F-970C-6BC4-9E92-5FEAB77548CD}"/>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BDA2ABF0-148A-9F0B-8F92-A26F06C0D567}"/>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0CBC7460-7FF3-6278-3363-7297ECCF0769}"/>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B8D5E317-DFDA-FF65-0843-B531C8924FFA}"/>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D0E85516-14DA-4F43-0205-EB1F0B39FA8F}"/>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7A5E7950-7028-B29F-320A-43B540B95DC7}"/>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674F03E6-381D-C6E4-2EAE-BA844EE61552}"/>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2B01EBFF-DD20-147A-96AA-1A8391B74D95}"/>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ACD02334-E858-59F2-917E-DCF686778BF9}"/>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91AD0E26-3BBE-ED9F-4B12-88FCA1A54063}"/>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E765A074-F268-9048-91D7-3FCB5F4A876F}"/>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3F2DB16A-C3EF-BB5E-F32F-025EF749C2DA}"/>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95C1889A-D543-058F-C74C-693D5EEACAE0}"/>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BD893402-4EAC-A560-A4D1-3554FFD7AD12}"/>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8B13A4E8-AEE6-D4A1-5B62-17519385875F}"/>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8E3F7B39-2653-ECA8-E097-D034458BD3E7}"/>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6E7BE228-4924-A339-BD69-BC5E014FD77C}"/>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CCC5D438-76D3-B41E-D4FD-EABC88EEED11}"/>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C886A314-2AAD-2272-9D3A-4ABD88B34D52}"/>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B7C6EC48-2B57-C26F-A684-9961C2E3B6ED}"/>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900A6278-C7F2-19A4-09C0-A041B9323BD0}"/>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564C6E34-CEF4-DFD2-937F-AA7C382459BB}"/>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99555932-3F28-F0FB-9782-F7BFA9A50725}"/>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4B200DD2-4B8B-DDD5-7E09-073190CD73DF}"/>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18C5D732-ADE1-AC1F-C3A7-1337B53ABE60}"/>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7593CAE4-A18A-C391-7EEC-3BADE73EE455}"/>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32A6BC8C-FF14-47DA-C20A-4E15765A02F9}"/>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19A10B28-157B-A3CE-840F-C7FDBF917659}"/>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3FAD6111-1601-DE3D-6694-42F55AF3DEE8}"/>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D6FDEB67-981E-859E-4AA5-973094F860B6}"/>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66B6C83A-1151-43CA-BC1F-095B68711F9F}"/>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252E6641-D31B-6FBB-1609-FF5618512093}"/>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27D02470-B1DD-70EA-E039-0E594B701402}"/>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DF63368C-E144-18CB-7639-871C920F94E7}"/>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9C145E33-6889-56CC-4C1A-0CB4FE54989A}"/>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FBE31577-18C3-1496-4FA5-962AA235F8A7}"/>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E63E6AEE-9233-BBCA-CD87-0DC1C912D664}"/>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C0680378-713E-6D47-68E3-DA98B342BE60}"/>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77CBAB3C-60D5-F40E-EE53-07621C3D2DCB}"/>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C43D0284-0BCC-D44F-3B48-A3696ED5CCD6}"/>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5502007B-2844-3DC7-DCA5-37ABD1936F2A}"/>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9324C99B-BAF4-5DB1-EDA0-4C43781215C9}"/>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2828ADFE-0355-34CB-C6FA-AE98C86E7CCD}"/>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4F557E69-B9F6-2239-C628-20AF8C1FD288}"/>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3FD2649A-7E89-0E2C-D0F6-EDAF71DCAD94}"/>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A57F76FF-96C3-626F-72A9-245130E6F487}"/>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DFC759E7-38EE-FCAF-C012-299CCB602FA9}"/>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1C1A71BD-5E47-EBD6-D027-17038CFFC800}"/>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17D91D92-FE33-BA42-828B-849C5977F623}"/>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33887D79-AB7A-F569-64E1-46AA175EE0B2}"/>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6D5E674E-B18D-47EB-700B-C180F549CF97}"/>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5F79AF5B-6766-50D3-3864-03089ACCA6A1}"/>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89846576-D90C-359D-D3CC-3A29ECBFEE0C}"/>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BA31E880-0801-B3BA-F41C-35737FBC9B30}"/>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1FEAC8C0-481A-8506-348F-0206BDFA2E3F}"/>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A6C019A1-1AA3-4BB3-3F39-AE4FFEECE405}"/>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98DBCD96-7AB8-DE46-1C72-2820B089833C}"/>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DF5B3703-878B-B344-39C0-42F380D26750}"/>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DFAA88C6-6323-AF62-0B9D-7CA7CAFE2017}"/>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F88F4765-5162-DCBA-E7E1-245F886D79A1}"/>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66CAE8E1-DDE1-F2D7-9856-35136ED8CA7B}"/>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FBC1A896-8CB8-65D1-14BD-44DFCA392864}"/>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1AD9809E-9EFA-B06F-B3A2-2E3C8F131037}"/>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D049F5A1-22B0-6965-F16B-FAFE6D581BFB}"/>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74C467AE-F0B4-17A8-674E-C9AC24A55BDA}"/>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89D1445F-B847-2E24-E23A-6FA68B3D8E23}"/>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4362AAD5-51C8-843B-B068-DD4AD92F69BD}"/>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25863C97-D09A-592D-1791-68CD29DB546B}"/>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8500E278-63DB-291B-BD22-C0CC18725EB5}"/>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9BCBA59D-D969-DC82-4406-C4EBAE2CF293}"/>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B91F4A08-AB21-0D8F-8B24-AE6040251168}"/>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2D04D234-FB51-E01A-5DDE-D8AE1D7E0E06}"/>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E90BEA81-1AA4-0C3A-7277-320A4C3D8328}"/>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7098261A-BA67-DAAC-5CF4-A7C4778EFDFF}"/>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636773F8-B011-A035-83A4-DED9D7B0E7CA}"/>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DD3FD8EA-BB49-2748-D39C-E95BD2C9CA05}"/>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C47CAB36-A112-4240-E43E-E45994C08B81}"/>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D756CEA7-7F8C-F891-E063-E60BBDAFFEAB}"/>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111AF91C-5A61-AD3C-9AD5-87359E2E1A8F}"/>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A1448F54-5836-A920-96DD-CB25982248A9}"/>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3762742C-7E97-D5D5-A585-23ECE466D7D6}"/>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3C0F165C-5896-EE21-790A-CA6BAC1677BD}"/>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EFA7F688-EA8E-5B19-FE8A-3610308955D4}"/>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362AA244-7622-76F0-8CB2-CFC83C0253AA}"/>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1670680B-E0D3-BACA-8907-4026E8471533}"/>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628960FB-6C14-13E8-D3F0-7D3D31BA951B}"/>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7232D23F-F5AE-AB77-5CE9-485A6BF3CCBF}"/>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0DF8F942-7FF7-ECED-C898-29B39C209C3D}"/>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7C85A5FC-5B7E-7633-03F6-BF8C4592157B}"/>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58820AEF-B76E-99D6-D3C9-D8C26A7ADE77}"/>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83E61B8F-657D-B70A-AA43-20DBC45A58FF}"/>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DD30BDB2-3D20-6E0B-B320-0AC2DA315C9E}"/>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D26637E6-CCAF-0F13-2246-4D14EB62796B}"/>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BE5061F3-C0F5-D02C-416C-BF2278E9A45B}"/>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E1786910-FCF2-96DF-A336-F766D1B6E357}"/>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03699911-F884-D6EE-6567-A25A44743D00}"/>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96BF39AE-4D8A-DE67-41A6-333F35965483}"/>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D6F320BE-A81A-7CEB-B4FB-E487484ED7B8}"/>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83A1CA96-63C4-0755-0A25-D12CEFE7273F}"/>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63EAC206-336A-20C3-4932-586E36F2F954}"/>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38637F26-8735-26EF-02FE-7643A0F671A0}"/>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24506705-D4F3-C551-FFB4-3E388832E24B}"/>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C600A1C2-A7E7-5AB2-6984-950A1D3FB63D}"/>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E0CA8787-D548-E048-532F-23596A7C26F8}"/>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8D16FA00-EA22-7CF9-3121-70F07AC7C52B}"/>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071CE64B-CBD5-F22B-3F68-FA76D48C4361}"/>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04ED750B-40D7-C38A-C1C1-EF09341A8A0E}"/>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5BA820DD-C20D-BB48-B314-77953A7F7C04}"/>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96262323-9439-F5E5-4C69-897BF2ED1B39}"/>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08F5D2CE-F11C-41E5-5F6E-7FC83432D05C}"/>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649C6D21-5BAA-35D1-AF7E-69ECFAE74D8A}"/>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2D926247-1EA7-E04F-FAEE-8FE062EB0772}"/>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99D45CF2-9633-8AF5-712B-928188FEEF1E}"/>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B99D03A9-E6EA-C133-B5DB-6CE7940B22C5}"/>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804203D9-26AB-80E0-7A56-3FC6A420024F}"/>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3B8310C6-6FB7-6B18-76B8-6B97C6C4FC21}"/>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0F7BC649-34CD-ABCC-C20A-A8C374C5DD54}"/>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A29FFC37-C62C-0108-F0FA-60A29F664CB9}"/>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DBA4A5A5-F057-72D1-2602-95549ED5CC3D}"/>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AE860279-E627-53D3-B3C0-88A582614E88}"/>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1D176CEB-5D65-6533-B97B-EE71118E5AF6}"/>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451FC535-14C3-63CD-B341-4BD1720134ED}"/>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22A74E71-187A-6760-B581-D73D6A57B69D}"/>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822FD0B8-9F33-CD19-869D-44444609BCE1}"/>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ABE059EF-AD03-62FB-229F-E179FBD24595}"/>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F06AC679-F6F1-5054-FD4B-0BE140C77FF3}"/>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8E6A5866-2CE3-3DAB-7514-BBEAE4317A0E}"/>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5AFB93BA-9CDE-26E2-2674-3906EAEDB4E8}"/>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61E1EFDB-11FA-0B72-EB25-92096A959893}"/>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99420E1C-8E0E-F71A-87EA-80F99724631D}"/>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34C6DB62-9FB8-2967-8482-160ECD9B2E81}"/>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86BB483D-592F-C596-7957-A97F1D6A298E}"/>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A42059EB-EDB5-1EE6-ADE2-371E1784BD6B}"/>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ED38C87B-3705-6ECF-210E-F852A9D2E0DE}"/>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6BD91213-4915-766D-ED94-D087AFB908B1}"/>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337A0FEC-DFE2-341F-1621-904C2E6BEB84}"/>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6EA3867B-7C35-61B6-8DD8-E3915104D9CD}"/>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A79FC031-917D-A726-87AB-BF657C0E85D7}"/>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cxnSp>
        <p:nvCxnSpPr>
          <p:cNvPr id="12510" name="Straight Connector 12509">
            <a:extLst>
              <a:ext uri="{FF2B5EF4-FFF2-40B4-BE49-F238E27FC236}">
                <a16:creationId xmlns:a16="http://schemas.microsoft.com/office/drawing/2014/main" id="{FA5164B8-0C52-482A-EA8F-CAB92F714B60}"/>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5BAA839E-CA28-7CCB-1111-EA22E3F782EF}"/>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E3F23FFD-AAE1-C600-1DEE-CEF02665D9D1}"/>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7B6271D5-87F2-6FD5-7E69-C3389E8C1DCE}"/>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DB2E4EBB-25CF-4FB1-6B99-3E5D683D062F}"/>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0040113A-B047-02C4-886A-10F5ED601A34}"/>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DFCEB974-73E2-3AAB-423D-A6575A014FF1}"/>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04812CF0-C67B-61D5-8F30-889789C0E218}"/>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ACB2DC8F-D105-038B-D975-F4E7488B0FC2}"/>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1B3B2E5F-D2DA-3BDD-DC44-F0D11D7D6B83}"/>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16ED2A06-F761-3812-9091-5EA4F54AEC6D}"/>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255A36D1-79AB-C53B-60E4-BD3BFCA98938}"/>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FB39B750-5492-CADB-B77E-2AD29D593599}"/>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2F68DC22-E9D7-EF9C-C145-E391176EAF50}"/>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E2C41EA9-9577-C9C8-0D4C-84D2AA3E85FB}"/>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87A7FE29-F1F4-21A5-6A0B-C28FFBF41E74}"/>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06FEB2C0-73B2-5E73-1AE7-5DA4E0E028AC}"/>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31ACF24C-1B16-A64A-E282-5181FA1867BA}"/>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819A6AE0-F599-6AC1-8361-3BAAC7BAACEB}"/>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A7E67020-949A-777D-DF66-B4858C8737B1}"/>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F44083F6-39D0-1683-8440-973D9B7B953A}"/>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06C7F8E0-5001-A0D3-8A84-6D9C5E4EE0C6}"/>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32760247-F54E-835D-1F1F-EC3BF7624DC4}"/>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71E4E67E-C637-609E-41BE-B2C4C22BF1C3}"/>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354EEE3B-0581-877E-4172-08A2BCE689CD}"/>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26C09F30-CF12-7379-CDE5-60AFFB2876B0}"/>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9A2CC4F0-53AD-1E75-9CD2-AEB03A9FC12F}"/>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9F483337-7776-EBF2-9D6F-165E8CD22863}"/>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DC48F712-BB3D-5987-6DA9-A88866244EA0}"/>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BAD4ADD1-ABD7-573E-6104-5E23D1EC29F1}"/>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16293908-797A-CE8E-07D8-803933D2E916}"/>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D3D3330F-F018-AFD6-DC73-F2633D39906C}"/>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E0C2DE40-85F8-7FF9-AA70-503F90FA0877}"/>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2E2915F1-DEE6-E6C4-3053-56B038B760A6}"/>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DE54D773-71FB-6AE5-D6EA-9B2D8CCD37D6}"/>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DF32DFF3-2D8D-E589-38C0-C81B4DD61C2E}"/>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759C9151-FE69-F671-618E-DEA0BC5C38BF}"/>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F969969C-2F15-7E0F-A0EA-D6A608455692}"/>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BA4A75A3-7DB8-C7D7-DBF6-8360568DA3B1}"/>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B51C20CF-94FC-6025-34A5-C73B1DB00E79}"/>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B812A95E-DE6E-CD5E-1349-ED62E45D0F18}"/>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807241D2-8BB7-2EDB-195A-AB55CF3375CA}"/>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510A28FE-403D-3736-7F00-6479126C9813}"/>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1A8327FF-3870-C735-CC91-2247EACA9BE0}"/>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66715B89-7698-57D9-56B3-54E870A4FBF0}"/>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A97B6769-FAC8-4BCA-EAA2-32F207869282}"/>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AE85835B-CDDC-8047-85FD-CE3EF1B5AB71}"/>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C68D23FF-F5CF-1166-A6E2-F47C10F501C8}"/>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90122C0C-DAC7-106F-1E89-CFF5B2D9051A}"/>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5A38D18E-16AF-4BE6-844F-93BA9FB96C1E}"/>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5C7781FF-3DEB-9249-C9DF-346E33C50E1C}"/>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cxnSp>
        <p:nvCxnSpPr>
          <p:cNvPr id="18028" name="Straight Connector 18027">
            <a:extLst>
              <a:ext uri="{FF2B5EF4-FFF2-40B4-BE49-F238E27FC236}">
                <a16:creationId xmlns:a16="http://schemas.microsoft.com/office/drawing/2014/main" id="{DFCD6A6D-8D9E-3F81-BE87-D2C7D50BFBAF}"/>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6" name="Group 5">
            <a:extLst>
              <a:ext uri="{FF2B5EF4-FFF2-40B4-BE49-F238E27FC236}">
                <a16:creationId xmlns:a16="http://schemas.microsoft.com/office/drawing/2014/main" id="{883022AF-2A8C-6C17-BE73-9825F3F3CAFF}"/>
              </a:ext>
            </a:extLst>
          </p:cNvPr>
          <p:cNvGrpSpPr/>
          <p:nvPr/>
        </p:nvGrpSpPr>
        <p:grpSpPr>
          <a:xfrm>
            <a:off x="714940" y="1482475"/>
            <a:ext cx="6798425" cy="1935956"/>
            <a:chOff x="1040606" y="1476375"/>
            <a:chExt cx="6090949" cy="1935956"/>
          </a:xfrm>
        </p:grpSpPr>
        <p:grpSp>
          <p:nvGrpSpPr>
            <p:cNvPr id="15" name="Graphic 1583">
              <a:extLst>
                <a:ext uri="{FF2B5EF4-FFF2-40B4-BE49-F238E27FC236}">
                  <a16:creationId xmlns:a16="http://schemas.microsoft.com/office/drawing/2014/main" id="{89D688B3-057B-D889-3D2F-D7C455C5DFC5}"/>
                </a:ext>
              </a:extLst>
            </p:cNvPr>
            <p:cNvGrpSpPr/>
            <p:nvPr/>
          </p:nvGrpSpPr>
          <p:grpSpPr>
            <a:xfrm>
              <a:off x="1469675" y="1616392"/>
              <a:ext cx="5661880" cy="1795939"/>
              <a:chOff x="4136421" y="2810065"/>
              <a:chExt cx="4244530" cy="1346358"/>
            </a:xfrm>
          </p:grpSpPr>
          <p:grpSp>
            <p:nvGrpSpPr>
              <p:cNvPr id="17" name="Graphic 1583">
                <a:extLst>
                  <a:ext uri="{FF2B5EF4-FFF2-40B4-BE49-F238E27FC236}">
                    <a16:creationId xmlns:a16="http://schemas.microsoft.com/office/drawing/2014/main" id="{20B1CA32-6C4E-2A66-54AE-9257A7700DBE}"/>
                  </a:ext>
                </a:extLst>
              </p:cNvPr>
              <p:cNvGrpSpPr/>
              <p:nvPr/>
            </p:nvGrpSpPr>
            <p:grpSpPr>
              <a:xfrm>
                <a:off x="8305323" y="4080700"/>
                <a:ext cx="75628" cy="75723"/>
                <a:chOff x="8305323" y="4080700"/>
                <a:chExt cx="75628" cy="75723"/>
              </a:xfrm>
            </p:grpSpPr>
            <p:sp>
              <p:nvSpPr>
                <p:cNvPr id="14644" name="Freeform: Shape 14643">
                  <a:extLst>
                    <a:ext uri="{FF2B5EF4-FFF2-40B4-BE49-F238E27FC236}">
                      <a16:creationId xmlns:a16="http://schemas.microsoft.com/office/drawing/2014/main" id="{C51749C5-CE04-5FCC-2ED0-FF596656A92F}"/>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5" name="Freeform: Shape 14644">
                  <a:extLst>
                    <a:ext uri="{FF2B5EF4-FFF2-40B4-BE49-F238E27FC236}">
                      <a16:creationId xmlns:a16="http://schemas.microsoft.com/office/drawing/2014/main" id="{F99D94D7-ABE1-33DC-237A-D71C55384036}"/>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 name="Graphic 1583">
                <a:extLst>
                  <a:ext uri="{FF2B5EF4-FFF2-40B4-BE49-F238E27FC236}">
                    <a16:creationId xmlns:a16="http://schemas.microsoft.com/office/drawing/2014/main" id="{9709A71C-BFF7-B3C8-023D-2A800F12C737}"/>
                  </a:ext>
                </a:extLst>
              </p:cNvPr>
              <p:cNvGrpSpPr/>
              <p:nvPr/>
            </p:nvGrpSpPr>
            <p:grpSpPr>
              <a:xfrm>
                <a:off x="7934800" y="4080700"/>
                <a:ext cx="75628" cy="75723"/>
                <a:chOff x="7934800" y="4080700"/>
                <a:chExt cx="75628" cy="75723"/>
              </a:xfrm>
            </p:grpSpPr>
            <p:sp>
              <p:nvSpPr>
                <p:cNvPr id="14642" name="Freeform: Shape 14641">
                  <a:extLst>
                    <a:ext uri="{FF2B5EF4-FFF2-40B4-BE49-F238E27FC236}">
                      <a16:creationId xmlns:a16="http://schemas.microsoft.com/office/drawing/2014/main" id="{D18F3F1C-4BFF-8949-0C36-BFD0D6CCFC1D}"/>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3" name="Freeform: Shape 14642">
                  <a:extLst>
                    <a:ext uri="{FF2B5EF4-FFF2-40B4-BE49-F238E27FC236}">
                      <a16:creationId xmlns:a16="http://schemas.microsoft.com/office/drawing/2014/main" id="{6416E7F4-5B58-8A0E-0B21-95333B2FA429}"/>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 name="Graphic 1583">
                <a:extLst>
                  <a:ext uri="{FF2B5EF4-FFF2-40B4-BE49-F238E27FC236}">
                    <a16:creationId xmlns:a16="http://schemas.microsoft.com/office/drawing/2014/main" id="{1E1A1720-FC2D-0FCF-06BB-F80060827F51}"/>
                  </a:ext>
                </a:extLst>
              </p:cNvPr>
              <p:cNvGrpSpPr/>
              <p:nvPr/>
            </p:nvGrpSpPr>
            <p:grpSpPr>
              <a:xfrm>
                <a:off x="7923561" y="4080700"/>
                <a:ext cx="75628" cy="75723"/>
                <a:chOff x="7923561" y="4080700"/>
                <a:chExt cx="75628" cy="75723"/>
              </a:xfrm>
            </p:grpSpPr>
            <p:sp>
              <p:nvSpPr>
                <p:cNvPr id="14640" name="Freeform: Shape 14639">
                  <a:extLst>
                    <a:ext uri="{FF2B5EF4-FFF2-40B4-BE49-F238E27FC236}">
                      <a16:creationId xmlns:a16="http://schemas.microsoft.com/office/drawing/2014/main" id="{D6505DB1-7185-6DA0-EDB7-B5E51D55C878}"/>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41" name="Freeform: Shape 14640">
                  <a:extLst>
                    <a:ext uri="{FF2B5EF4-FFF2-40B4-BE49-F238E27FC236}">
                      <a16:creationId xmlns:a16="http://schemas.microsoft.com/office/drawing/2014/main" id="{D9CD995E-B2A3-5104-C491-1BE661E99A1B}"/>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 name="Graphic 1583">
                <a:extLst>
                  <a:ext uri="{FF2B5EF4-FFF2-40B4-BE49-F238E27FC236}">
                    <a16:creationId xmlns:a16="http://schemas.microsoft.com/office/drawing/2014/main" id="{C92A920F-1365-DA8D-2442-E88EF1772CBA}"/>
                  </a:ext>
                </a:extLst>
              </p:cNvPr>
              <p:cNvGrpSpPr/>
              <p:nvPr/>
            </p:nvGrpSpPr>
            <p:grpSpPr>
              <a:xfrm>
                <a:off x="7590281" y="4080700"/>
                <a:ext cx="75723" cy="75723"/>
                <a:chOff x="7590281" y="4080700"/>
                <a:chExt cx="75723" cy="75723"/>
              </a:xfrm>
            </p:grpSpPr>
            <p:sp>
              <p:nvSpPr>
                <p:cNvPr id="14638" name="Freeform: Shape 14637">
                  <a:extLst>
                    <a:ext uri="{FF2B5EF4-FFF2-40B4-BE49-F238E27FC236}">
                      <a16:creationId xmlns:a16="http://schemas.microsoft.com/office/drawing/2014/main" id="{F472D2F6-0FD8-4C86-5515-EB7C1CC06F7A}"/>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9" name="Freeform: Shape 14638">
                  <a:extLst>
                    <a:ext uri="{FF2B5EF4-FFF2-40B4-BE49-F238E27FC236}">
                      <a16:creationId xmlns:a16="http://schemas.microsoft.com/office/drawing/2014/main" id="{C9F87110-EB33-F87C-974E-39A0265A37AD}"/>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 name="Graphic 1583">
                <a:extLst>
                  <a:ext uri="{FF2B5EF4-FFF2-40B4-BE49-F238E27FC236}">
                    <a16:creationId xmlns:a16="http://schemas.microsoft.com/office/drawing/2014/main" id="{82826D29-10B6-EE46-4774-FD7D3AFF950E}"/>
                  </a:ext>
                </a:extLst>
              </p:cNvPr>
              <p:cNvGrpSpPr/>
              <p:nvPr/>
            </p:nvGrpSpPr>
            <p:grpSpPr>
              <a:xfrm>
                <a:off x="7565040" y="4080700"/>
                <a:ext cx="75723" cy="75723"/>
                <a:chOff x="7565040" y="4080700"/>
                <a:chExt cx="75723" cy="75723"/>
              </a:xfrm>
            </p:grpSpPr>
            <p:sp>
              <p:nvSpPr>
                <p:cNvPr id="14635" name="Freeform: Shape 14634">
                  <a:extLst>
                    <a:ext uri="{FF2B5EF4-FFF2-40B4-BE49-F238E27FC236}">
                      <a16:creationId xmlns:a16="http://schemas.microsoft.com/office/drawing/2014/main" id="{79CD9F8C-B0DB-9282-A84C-4C40356FFFFB}"/>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6" name="Freeform: Shape 14635">
                  <a:extLst>
                    <a:ext uri="{FF2B5EF4-FFF2-40B4-BE49-F238E27FC236}">
                      <a16:creationId xmlns:a16="http://schemas.microsoft.com/office/drawing/2014/main" id="{F59C06BF-C045-5303-27A7-885FEA46B458}"/>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 name="Graphic 1583">
                <a:extLst>
                  <a:ext uri="{FF2B5EF4-FFF2-40B4-BE49-F238E27FC236}">
                    <a16:creationId xmlns:a16="http://schemas.microsoft.com/office/drawing/2014/main" id="{220B7B1F-803C-FF3D-37F1-0C6E6493B46B}"/>
                  </a:ext>
                </a:extLst>
              </p:cNvPr>
              <p:cNvGrpSpPr/>
              <p:nvPr/>
            </p:nvGrpSpPr>
            <p:grpSpPr>
              <a:xfrm>
                <a:off x="7541799" y="3949826"/>
                <a:ext cx="75723" cy="75723"/>
                <a:chOff x="7541799" y="3949826"/>
                <a:chExt cx="75723" cy="75723"/>
              </a:xfrm>
            </p:grpSpPr>
            <p:sp>
              <p:nvSpPr>
                <p:cNvPr id="14632" name="Freeform: Shape 14631">
                  <a:extLst>
                    <a:ext uri="{FF2B5EF4-FFF2-40B4-BE49-F238E27FC236}">
                      <a16:creationId xmlns:a16="http://schemas.microsoft.com/office/drawing/2014/main" id="{509C7848-E23F-9458-E143-4009B6CBF4AF}"/>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4" name="Freeform: Shape 14633">
                  <a:extLst>
                    <a:ext uri="{FF2B5EF4-FFF2-40B4-BE49-F238E27FC236}">
                      <a16:creationId xmlns:a16="http://schemas.microsoft.com/office/drawing/2014/main" id="{ABA825D2-527C-A214-1760-51DD975B4DC5}"/>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 name="Graphic 1583">
                <a:extLst>
                  <a:ext uri="{FF2B5EF4-FFF2-40B4-BE49-F238E27FC236}">
                    <a16:creationId xmlns:a16="http://schemas.microsoft.com/office/drawing/2014/main" id="{2C1C599D-7DC8-59DD-B6C3-BF4E5C915C39}"/>
                  </a:ext>
                </a:extLst>
              </p:cNvPr>
              <p:cNvGrpSpPr/>
              <p:nvPr/>
            </p:nvGrpSpPr>
            <p:grpSpPr>
              <a:xfrm>
                <a:off x="7272146" y="3949826"/>
                <a:ext cx="75723" cy="75723"/>
                <a:chOff x="7272146" y="3949826"/>
                <a:chExt cx="75723" cy="75723"/>
              </a:xfrm>
            </p:grpSpPr>
            <p:sp>
              <p:nvSpPr>
                <p:cNvPr id="14630" name="Freeform: Shape 14629">
                  <a:extLst>
                    <a:ext uri="{FF2B5EF4-FFF2-40B4-BE49-F238E27FC236}">
                      <a16:creationId xmlns:a16="http://schemas.microsoft.com/office/drawing/2014/main" id="{DFD5F6EE-F00B-6246-BE82-83CA9A0EB363}"/>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31" name="Freeform: Shape 14630">
                  <a:extLst>
                    <a:ext uri="{FF2B5EF4-FFF2-40B4-BE49-F238E27FC236}">
                      <a16:creationId xmlns:a16="http://schemas.microsoft.com/office/drawing/2014/main" id="{925E4415-86E9-E223-6D09-66E0730A2AA6}"/>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 name="Graphic 1583">
                <a:extLst>
                  <a:ext uri="{FF2B5EF4-FFF2-40B4-BE49-F238E27FC236}">
                    <a16:creationId xmlns:a16="http://schemas.microsoft.com/office/drawing/2014/main" id="{9FE210CE-78D1-133F-967C-6F2C4935F189}"/>
                  </a:ext>
                </a:extLst>
              </p:cNvPr>
              <p:cNvGrpSpPr/>
              <p:nvPr/>
            </p:nvGrpSpPr>
            <p:grpSpPr>
              <a:xfrm>
                <a:off x="7220330" y="3850290"/>
                <a:ext cx="75628" cy="75723"/>
                <a:chOff x="7220330" y="3850290"/>
                <a:chExt cx="75628" cy="75723"/>
              </a:xfrm>
            </p:grpSpPr>
            <p:sp>
              <p:nvSpPr>
                <p:cNvPr id="14628" name="Freeform: Shape 14627">
                  <a:extLst>
                    <a:ext uri="{FF2B5EF4-FFF2-40B4-BE49-F238E27FC236}">
                      <a16:creationId xmlns:a16="http://schemas.microsoft.com/office/drawing/2014/main" id="{4317EB08-EF95-37EA-59EE-8312692010C3}"/>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9" name="Freeform: Shape 14628">
                  <a:extLst>
                    <a:ext uri="{FF2B5EF4-FFF2-40B4-BE49-F238E27FC236}">
                      <a16:creationId xmlns:a16="http://schemas.microsoft.com/office/drawing/2014/main" id="{475962EC-F4D8-4471-E3E6-B47541EE5C5B}"/>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5" name="Graphic 1583">
                <a:extLst>
                  <a:ext uri="{FF2B5EF4-FFF2-40B4-BE49-F238E27FC236}">
                    <a16:creationId xmlns:a16="http://schemas.microsoft.com/office/drawing/2014/main" id="{03D58297-40F4-2F3D-C45C-00EAF3F5ECD7}"/>
                  </a:ext>
                </a:extLst>
              </p:cNvPr>
              <p:cNvGrpSpPr/>
              <p:nvPr/>
            </p:nvGrpSpPr>
            <p:grpSpPr>
              <a:xfrm>
                <a:off x="7176515" y="3850290"/>
                <a:ext cx="75723" cy="75723"/>
                <a:chOff x="7176515" y="3850290"/>
                <a:chExt cx="75723" cy="75723"/>
              </a:xfrm>
            </p:grpSpPr>
            <p:sp>
              <p:nvSpPr>
                <p:cNvPr id="14626" name="Freeform: Shape 14625">
                  <a:extLst>
                    <a:ext uri="{FF2B5EF4-FFF2-40B4-BE49-F238E27FC236}">
                      <a16:creationId xmlns:a16="http://schemas.microsoft.com/office/drawing/2014/main" id="{3B7DF55C-BDEC-A494-27BD-B3EFC3539DFB}"/>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7" name="Freeform: Shape 14626">
                  <a:extLst>
                    <a:ext uri="{FF2B5EF4-FFF2-40B4-BE49-F238E27FC236}">
                      <a16:creationId xmlns:a16="http://schemas.microsoft.com/office/drawing/2014/main" id="{4392C523-D52C-E295-AC44-90ECC163D6BB}"/>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6" name="Graphic 1583">
                <a:extLst>
                  <a:ext uri="{FF2B5EF4-FFF2-40B4-BE49-F238E27FC236}">
                    <a16:creationId xmlns:a16="http://schemas.microsoft.com/office/drawing/2014/main" id="{973DF272-EAB4-1DDD-20F1-95BE8F11C790}"/>
                  </a:ext>
                </a:extLst>
              </p:cNvPr>
              <p:cNvGrpSpPr/>
              <p:nvPr/>
            </p:nvGrpSpPr>
            <p:grpSpPr>
              <a:xfrm>
                <a:off x="6829996" y="3789520"/>
                <a:ext cx="75723" cy="75628"/>
                <a:chOff x="6829996" y="3789520"/>
                <a:chExt cx="75723" cy="75628"/>
              </a:xfrm>
            </p:grpSpPr>
            <p:sp>
              <p:nvSpPr>
                <p:cNvPr id="14576" name="Freeform: Shape 14575">
                  <a:extLst>
                    <a:ext uri="{FF2B5EF4-FFF2-40B4-BE49-F238E27FC236}">
                      <a16:creationId xmlns:a16="http://schemas.microsoft.com/office/drawing/2014/main" id="{515D3C8C-DAE1-BA84-13D2-6F984BB8228E}"/>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25" name="Freeform: Shape 14624">
                  <a:extLst>
                    <a:ext uri="{FF2B5EF4-FFF2-40B4-BE49-F238E27FC236}">
                      <a16:creationId xmlns:a16="http://schemas.microsoft.com/office/drawing/2014/main" id="{63F93E0D-5DD5-69A9-F3FD-9779B5FBD512}"/>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 name="Graphic 1583">
                <a:extLst>
                  <a:ext uri="{FF2B5EF4-FFF2-40B4-BE49-F238E27FC236}">
                    <a16:creationId xmlns:a16="http://schemas.microsoft.com/office/drawing/2014/main" id="{30FB34E4-0070-9188-125F-5AC135658046}"/>
                  </a:ext>
                </a:extLst>
              </p:cNvPr>
              <p:cNvGrpSpPr/>
              <p:nvPr/>
            </p:nvGrpSpPr>
            <p:grpSpPr>
              <a:xfrm>
                <a:off x="6816280" y="3789520"/>
                <a:ext cx="75723" cy="75628"/>
                <a:chOff x="6816280" y="3789520"/>
                <a:chExt cx="75723" cy="75628"/>
              </a:xfrm>
            </p:grpSpPr>
            <p:sp>
              <p:nvSpPr>
                <p:cNvPr id="14574" name="Freeform: Shape 14573">
                  <a:extLst>
                    <a:ext uri="{FF2B5EF4-FFF2-40B4-BE49-F238E27FC236}">
                      <a16:creationId xmlns:a16="http://schemas.microsoft.com/office/drawing/2014/main" id="{9EC9B521-D299-EB17-9293-22E7366BFDC3}"/>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5" name="Freeform: Shape 14574">
                  <a:extLst>
                    <a:ext uri="{FF2B5EF4-FFF2-40B4-BE49-F238E27FC236}">
                      <a16:creationId xmlns:a16="http://schemas.microsoft.com/office/drawing/2014/main" id="{E328F17E-02DA-1F2F-0918-94969493BA97}"/>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8" name="Graphic 1583">
                <a:extLst>
                  <a:ext uri="{FF2B5EF4-FFF2-40B4-BE49-F238E27FC236}">
                    <a16:creationId xmlns:a16="http://schemas.microsoft.com/office/drawing/2014/main" id="{4CAA0B43-5612-1ACB-D776-58ED13E30E9D}"/>
                  </a:ext>
                </a:extLst>
              </p:cNvPr>
              <p:cNvGrpSpPr/>
              <p:nvPr/>
            </p:nvGrpSpPr>
            <p:grpSpPr>
              <a:xfrm>
                <a:off x="6795325" y="3789520"/>
                <a:ext cx="75723" cy="75628"/>
                <a:chOff x="6795325" y="3789520"/>
                <a:chExt cx="75723" cy="75628"/>
              </a:xfrm>
            </p:grpSpPr>
            <p:sp>
              <p:nvSpPr>
                <p:cNvPr id="14572" name="Freeform: Shape 14571">
                  <a:extLst>
                    <a:ext uri="{FF2B5EF4-FFF2-40B4-BE49-F238E27FC236}">
                      <a16:creationId xmlns:a16="http://schemas.microsoft.com/office/drawing/2014/main" id="{413EAE6C-8CD4-3013-22E2-74FB34A82F1A}"/>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3" name="Freeform: Shape 14572">
                  <a:extLst>
                    <a:ext uri="{FF2B5EF4-FFF2-40B4-BE49-F238E27FC236}">
                      <a16:creationId xmlns:a16="http://schemas.microsoft.com/office/drawing/2014/main" id="{0517C8C2-B817-0A77-3EA4-F809E4A20F20}"/>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9" name="Graphic 1583">
                <a:extLst>
                  <a:ext uri="{FF2B5EF4-FFF2-40B4-BE49-F238E27FC236}">
                    <a16:creationId xmlns:a16="http://schemas.microsoft.com/office/drawing/2014/main" id="{435D39FD-D282-7627-C305-866F7194DB02}"/>
                  </a:ext>
                </a:extLst>
              </p:cNvPr>
              <p:cNvGrpSpPr/>
              <p:nvPr/>
            </p:nvGrpSpPr>
            <p:grpSpPr>
              <a:xfrm>
                <a:off x="6781990" y="3789520"/>
                <a:ext cx="75628" cy="75628"/>
                <a:chOff x="6781990" y="3789520"/>
                <a:chExt cx="75628" cy="75628"/>
              </a:xfrm>
            </p:grpSpPr>
            <p:sp>
              <p:nvSpPr>
                <p:cNvPr id="14570" name="Freeform: Shape 14569">
                  <a:extLst>
                    <a:ext uri="{FF2B5EF4-FFF2-40B4-BE49-F238E27FC236}">
                      <a16:creationId xmlns:a16="http://schemas.microsoft.com/office/drawing/2014/main" id="{491188BF-5972-3675-9607-5F20AE6DDC6C}"/>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1" name="Freeform: Shape 14570">
                  <a:extLst>
                    <a:ext uri="{FF2B5EF4-FFF2-40B4-BE49-F238E27FC236}">
                      <a16:creationId xmlns:a16="http://schemas.microsoft.com/office/drawing/2014/main" id="{53A6021A-3BBB-0B8D-6D11-400BA943A335}"/>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0" name="Graphic 1583">
                <a:extLst>
                  <a:ext uri="{FF2B5EF4-FFF2-40B4-BE49-F238E27FC236}">
                    <a16:creationId xmlns:a16="http://schemas.microsoft.com/office/drawing/2014/main" id="{7334D536-3770-66F3-80A4-05FC4330D43A}"/>
                  </a:ext>
                </a:extLst>
              </p:cNvPr>
              <p:cNvGrpSpPr/>
              <p:nvPr/>
            </p:nvGrpSpPr>
            <p:grpSpPr>
              <a:xfrm>
                <a:off x="6768845" y="3789520"/>
                <a:ext cx="75723" cy="75628"/>
                <a:chOff x="6768845" y="3789520"/>
                <a:chExt cx="75723" cy="75628"/>
              </a:xfrm>
            </p:grpSpPr>
            <p:sp>
              <p:nvSpPr>
                <p:cNvPr id="14568" name="Freeform: Shape 14567">
                  <a:extLst>
                    <a:ext uri="{FF2B5EF4-FFF2-40B4-BE49-F238E27FC236}">
                      <a16:creationId xmlns:a16="http://schemas.microsoft.com/office/drawing/2014/main" id="{5AF79B38-0875-FF1E-4C9F-5D32747AC76E}"/>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9" name="Freeform: Shape 14568">
                  <a:extLst>
                    <a:ext uri="{FF2B5EF4-FFF2-40B4-BE49-F238E27FC236}">
                      <a16:creationId xmlns:a16="http://schemas.microsoft.com/office/drawing/2014/main" id="{A9DDC23E-D2B7-72E0-A3ED-52F9BA94A9CA}"/>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1" name="Graphic 1583">
                <a:extLst>
                  <a:ext uri="{FF2B5EF4-FFF2-40B4-BE49-F238E27FC236}">
                    <a16:creationId xmlns:a16="http://schemas.microsoft.com/office/drawing/2014/main" id="{E074CD04-09E3-A365-E4D1-498755FE2108}"/>
                  </a:ext>
                </a:extLst>
              </p:cNvPr>
              <p:cNvGrpSpPr/>
              <p:nvPr/>
            </p:nvGrpSpPr>
            <p:grpSpPr>
              <a:xfrm>
                <a:off x="6443757" y="3789520"/>
                <a:ext cx="75723" cy="75628"/>
                <a:chOff x="6443757" y="3789520"/>
                <a:chExt cx="75723" cy="75628"/>
              </a:xfrm>
            </p:grpSpPr>
            <p:sp>
              <p:nvSpPr>
                <p:cNvPr id="14566" name="Freeform: Shape 14565">
                  <a:extLst>
                    <a:ext uri="{FF2B5EF4-FFF2-40B4-BE49-F238E27FC236}">
                      <a16:creationId xmlns:a16="http://schemas.microsoft.com/office/drawing/2014/main" id="{36705720-8D0A-0E5F-AACA-A284FF17E462}"/>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7" name="Freeform: Shape 14566">
                  <a:extLst>
                    <a:ext uri="{FF2B5EF4-FFF2-40B4-BE49-F238E27FC236}">
                      <a16:creationId xmlns:a16="http://schemas.microsoft.com/office/drawing/2014/main" id="{EA425540-B6FB-5458-4633-AB7119A20F48}"/>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2" name="Graphic 1583">
                <a:extLst>
                  <a:ext uri="{FF2B5EF4-FFF2-40B4-BE49-F238E27FC236}">
                    <a16:creationId xmlns:a16="http://schemas.microsoft.com/office/drawing/2014/main" id="{BBC2DDC1-C37C-A1CE-7DD2-5C43B55D944C}"/>
                  </a:ext>
                </a:extLst>
              </p:cNvPr>
              <p:cNvGrpSpPr/>
              <p:nvPr/>
            </p:nvGrpSpPr>
            <p:grpSpPr>
              <a:xfrm>
                <a:off x="6430422" y="3789520"/>
                <a:ext cx="75628" cy="75628"/>
                <a:chOff x="6430422" y="3789520"/>
                <a:chExt cx="75628" cy="75628"/>
              </a:xfrm>
            </p:grpSpPr>
            <p:sp>
              <p:nvSpPr>
                <p:cNvPr id="14564" name="Freeform: Shape 14563">
                  <a:extLst>
                    <a:ext uri="{FF2B5EF4-FFF2-40B4-BE49-F238E27FC236}">
                      <a16:creationId xmlns:a16="http://schemas.microsoft.com/office/drawing/2014/main" id="{75F865E2-F666-6781-210A-C11E0F6868D7}"/>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5" name="Freeform: Shape 14564">
                  <a:extLst>
                    <a:ext uri="{FF2B5EF4-FFF2-40B4-BE49-F238E27FC236}">
                      <a16:creationId xmlns:a16="http://schemas.microsoft.com/office/drawing/2014/main" id="{D398FCA6-FB92-A21C-1373-ADFDF924F9E8}"/>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3" name="Graphic 1583">
                <a:extLst>
                  <a:ext uri="{FF2B5EF4-FFF2-40B4-BE49-F238E27FC236}">
                    <a16:creationId xmlns:a16="http://schemas.microsoft.com/office/drawing/2014/main" id="{F874656D-874F-0205-0F39-512A11ED3802}"/>
                  </a:ext>
                </a:extLst>
              </p:cNvPr>
              <p:cNvGrpSpPr/>
              <p:nvPr/>
            </p:nvGrpSpPr>
            <p:grpSpPr>
              <a:xfrm>
                <a:off x="6417277" y="3789520"/>
                <a:ext cx="75723" cy="75628"/>
                <a:chOff x="6417277" y="3789520"/>
                <a:chExt cx="75723" cy="75628"/>
              </a:xfrm>
            </p:grpSpPr>
            <p:sp>
              <p:nvSpPr>
                <p:cNvPr id="14562" name="Freeform: Shape 14561">
                  <a:extLst>
                    <a:ext uri="{FF2B5EF4-FFF2-40B4-BE49-F238E27FC236}">
                      <a16:creationId xmlns:a16="http://schemas.microsoft.com/office/drawing/2014/main" id="{45676716-FC46-E925-1BCC-F756D58BAF90}"/>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3" name="Freeform: Shape 14562">
                  <a:extLst>
                    <a:ext uri="{FF2B5EF4-FFF2-40B4-BE49-F238E27FC236}">
                      <a16:creationId xmlns:a16="http://schemas.microsoft.com/office/drawing/2014/main" id="{7FF687F8-48DD-2DAF-1CDD-1F9FF77F1700}"/>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4" name="Graphic 1583">
                <a:extLst>
                  <a:ext uri="{FF2B5EF4-FFF2-40B4-BE49-F238E27FC236}">
                    <a16:creationId xmlns:a16="http://schemas.microsoft.com/office/drawing/2014/main" id="{CFCC16E5-C85B-6416-0C03-0DF153762AD3}"/>
                  </a:ext>
                </a:extLst>
              </p:cNvPr>
              <p:cNvGrpSpPr/>
              <p:nvPr/>
            </p:nvGrpSpPr>
            <p:grpSpPr>
              <a:xfrm>
                <a:off x="6400704" y="3746277"/>
                <a:ext cx="75723" cy="75723"/>
                <a:chOff x="6400704" y="3746277"/>
                <a:chExt cx="75723" cy="75723"/>
              </a:xfrm>
            </p:grpSpPr>
            <p:sp>
              <p:nvSpPr>
                <p:cNvPr id="14560" name="Freeform: Shape 14559">
                  <a:extLst>
                    <a:ext uri="{FF2B5EF4-FFF2-40B4-BE49-F238E27FC236}">
                      <a16:creationId xmlns:a16="http://schemas.microsoft.com/office/drawing/2014/main" id="{1A1E0DFC-E130-15BD-F7E1-88637FAA9481}"/>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1" name="Freeform: Shape 14560">
                  <a:extLst>
                    <a:ext uri="{FF2B5EF4-FFF2-40B4-BE49-F238E27FC236}">
                      <a16:creationId xmlns:a16="http://schemas.microsoft.com/office/drawing/2014/main" id="{5EA87FB0-7D74-0A4A-CB87-8EF02AB71B01}"/>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5" name="Graphic 1583">
                <a:extLst>
                  <a:ext uri="{FF2B5EF4-FFF2-40B4-BE49-F238E27FC236}">
                    <a16:creationId xmlns:a16="http://schemas.microsoft.com/office/drawing/2014/main" id="{F8A31599-7EA4-3005-576D-53A330CCA5AE}"/>
                  </a:ext>
                </a:extLst>
              </p:cNvPr>
              <p:cNvGrpSpPr/>
              <p:nvPr/>
            </p:nvGrpSpPr>
            <p:grpSpPr>
              <a:xfrm>
                <a:off x="6387369" y="3746277"/>
                <a:ext cx="75723" cy="75723"/>
                <a:chOff x="6387369" y="3746277"/>
                <a:chExt cx="75723" cy="75723"/>
              </a:xfrm>
            </p:grpSpPr>
            <p:sp>
              <p:nvSpPr>
                <p:cNvPr id="14558" name="Freeform: Shape 14557">
                  <a:extLst>
                    <a:ext uri="{FF2B5EF4-FFF2-40B4-BE49-F238E27FC236}">
                      <a16:creationId xmlns:a16="http://schemas.microsoft.com/office/drawing/2014/main" id="{A215538D-3389-E960-AA61-A25DB0BF2EB6}"/>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9" name="Freeform: Shape 14558">
                  <a:extLst>
                    <a:ext uri="{FF2B5EF4-FFF2-40B4-BE49-F238E27FC236}">
                      <a16:creationId xmlns:a16="http://schemas.microsoft.com/office/drawing/2014/main" id="{E2B2FE69-743D-6250-C273-F004A42B7B46}"/>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6" name="Graphic 1583">
                <a:extLst>
                  <a:ext uri="{FF2B5EF4-FFF2-40B4-BE49-F238E27FC236}">
                    <a16:creationId xmlns:a16="http://schemas.microsoft.com/office/drawing/2014/main" id="{9D0D07D8-9A4F-ADD5-0B84-9F5BAE0FF814}"/>
                  </a:ext>
                </a:extLst>
              </p:cNvPr>
              <p:cNvGrpSpPr/>
              <p:nvPr/>
            </p:nvGrpSpPr>
            <p:grpSpPr>
              <a:xfrm>
                <a:off x="6374320" y="3746277"/>
                <a:ext cx="75628" cy="75723"/>
                <a:chOff x="6374320" y="3746277"/>
                <a:chExt cx="75628" cy="75723"/>
              </a:xfrm>
            </p:grpSpPr>
            <p:sp>
              <p:nvSpPr>
                <p:cNvPr id="14556" name="Freeform: Shape 14555">
                  <a:extLst>
                    <a:ext uri="{FF2B5EF4-FFF2-40B4-BE49-F238E27FC236}">
                      <a16:creationId xmlns:a16="http://schemas.microsoft.com/office/drawing/2014/main" id="{E8D40245-8979-2F60-DC23-26EA6CE3EB9A}"/>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7" name="Freeform: Shape 14556">
                  <a:extLst>
                    <a:ext uri="{FF2B5EF4-FFF2-40B4-BE49-F238E27FC236}">
                      <a16:creationId xmlns:a16="http://schemas.microsoft.com/office/drawing/2014/main" id="{EABADF18-3CA0-D112-B0A2-755F5C2C3567}"/>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7" name="Graphic 1583">
                <a:extLst>
                  <a:ext uri="{FF2B5EF4-FFF2-40B4-BE49-F238E27FC236}">
                    <a16:creationId xmlns:a16="http://schemas.microsoft.com/office/drawing/2014/main" id="{4091437A-481E-C59C-47A1-DF10E30974E8}"/>
                  </a:ext>
                </a:extLst>
              </p:cNvPr>
              <p:cNvGrpSpPr/>
              <p:nvPr/>
            </p:nvGrpSpPr>
            <p:grpSpPr>
              <a:xfrm>
                <a:off x="6244208" y="3746277"/>
                <a:ext cx="75723" cy="75723"/>
                <a:chOff x="6244208" y="3746277"/>
                <a:chExt cx="75723" cy="75723"/>
              </a:xfrm>
            </p:grpSpPr>
            <p:sp>
              <p:nvSpPr>
                <p:cNvPr id="14554" name="Freeform: Shape 14553">
                  <a:extLst>
                    <a:ext uri="{FF2B5EF4-FFF2-40B4-BE49-F238E27FC236}">
                      <a16:creationId xmlns:a16="http://schemas.microsoft.com/office/drawing/2014/main" id="{B2629C09-50D7-AE97-BC7B-158924859757}"/>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5" name="Freeform: Shape 14554">
                  <a:extLst>
                    <a:ext uri="{FF2B5EF4-FFF2-40B4-BE49-F238E27FC236}">
                      <a16:creationId xmlns:a16="http://schemas.microsoft.com/office/drawing/2014/main" id="{79CE8539-AF6E-3CDB-6F95-0A9ED69A294D}"/>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8" name="Graphic 1583">
                <a:extLst>
                  <a:ext uri="{FF2B5EF4-FFF2-40B4-BE49-F238E27FC236}">
                    <a16:creationId xmlns:a16="http://schemas.microsoft.com/office/drawing/2014/main" id="{C4691F61-3D43-97C4-72A5-BA9B799CD9BB}"/>
                  </a:ext>
                </a:extLst>
              </p:cNvPr>
              <p:cNvGrpSpPr/>
              <p:nvPr/>
            </p:nvGrpSpPr>
            <p:grpSpPr>
              <a:xfrm>
                <a:off x="6229635" y="3746277"/>
                <a:ext cx="75628" cy="75723"/>
                <a:chOff x="6229635" y="3746277"/>
                <a:chExt cx="75628" cy="75723"/>
              </a:xfrm>
            </p:grpSpPr>
            <p:sp>
              <p:nvSpPr>
                <p:cNvPr id="14552" name="Freeform: Shape 14551">
                  <a:extLst>
                    <a:ext uri="{FF2B5EF4-FFF2-40B4-BE49-F238E27FC236}">
                      <a16:creationId xmlns:a16="http://schemas.microsoft.com/office/drawing/2014/main" id="{E86FE4B7-4001-CA33-3AFF-A2398F83204F}"/>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3" name="Freeform: Shape 14552">
                  <a:extLst>
                    <a:ext uri="{FF2B5EF4-FFF2-40B4-BE49-F238E27FC236}">
                      <a16:creationId xmlns:a16="http://schemas.microsoft.com/office/drawing/2014/main" id="{892D8D38-F076-E1F8-6401-D64C202BAEBB}"/>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9" name="Graphic 1583">
                <a:extLst>
                  <a:ext uri="{FF2B5EF4-FFF2-40B4-BE49-F238E27FC236}">
                    <a16:creationId xmlns:a16="http://schemas.microsoft.com/office/drawing/2014/main" id="{45CDA1E1-706B-F41D-C3C1-4F9FF569BF24}"/>
                  </a:ext>
                </a:extLst>
              </p:cNvPr>
              <p:cNvGrpSpPr/>
              <p:nvPr/>
            </p:nvGrpSpPr>
            <p:grpSpPr>
              <a:xfrm>
                <a:off x="6184296" y="3746277"/>
                <a:ext cx="75723" cy="75723"/>
                <a:chOff x="6184296" y="3746277"/>
                <a:chExt cx="75723" cy="75723"/>
              </a:xfrm>
            </p:grpSpPr>
            <p:sp>
              <p:nvSpPr>
                <p:cNvPr id="14550" name="Freeform: Shape 14549">
                  <a:extLst>
                    <a:ext uri="{FF2B5EF4-FFF2-40B4-BE49-F238E27FC236}">
                      <a16:creationId xmlns:a16="http://schemas.microsoft.com/office/drawing/2014/main" id="{542B7B53-AB2F-4E3D-2E7D-B3245980BFFC}"/>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1" name="Freeform: Shape 14550">
                  <a:extLst>
                    <a:ext uri="{FF2B5EF4-FFF2-40B4-BE49-F238E27FC236}">
                      <a16:creationId xmlns:a16="http://schemas.microsoft.com/office/drawing/2014/main" id="{9D16489C-A41E-8FC6-0F8C-FA0CAD499DD7}"/>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0" name="Graphic 1583">
                <a:extLst>
                  <a:ext uri="{FF2B5EF4-FFF2-40B4-BE49-F238E27FC236}">
                    <a16:creationId xmlns:a16="http://schemas.microsoft.com/office/drawing/2014/main" id="{02C9175C-7FF3-E6BE-DFDD-7F87DF862DCD}"/>
                  </a:ext>
                </a:extLst>
              </p:cNvPr>
              <p:cNvGrpSpPr/>
              <p:nvPr/>
            </p:nvGrpSpPr>
            <p:grpSpPr>
              <a:xfrm>
                <a:off x="6095618" y="3746277"/>
                <a:ext cx="75723" cy="75723"/>
                <a:chOff x="6095618" y="3746277"/>
                <a:chExt cx="75723" cy="75723"/>
              </a:xfrm>
            </p:grpSpPr>
            <p:sp>
              <p:nvSpPr>
                <p:cNvPr id="14548" name="Freeform: Shape 14547">
                  <a:extLst>
                    <a:ext uri="{FF2B5EF4-FFF2-40B4-BE49-F238E27FC236}">
                      <a16:creationId xmlns:a16="http://schemas.microsoft.com/office/drawing/2014/main" id="{6CC5DB9C-7B28-CDFA-7872-CEF362DA7BDC}"/>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9" name="Freeform: Shape 14548">
                  <a:extLst>
                    <a:ext uri="{FF2B5EF4-FFF2-40B4-BE49-F238E27FC236}">
                      <a16:creationId xmlns:a16="http://schemas.microsoft.com/office/drawing/2014/main" id="{23301C54-BF57-4611-D313-A8DC39C8C970}"/>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1" name="Graphic 1583">
                <a:extLst>
                  <a:ext uri="{FF2B5EF4-FFF2-40B4-BE49-F238E27FC236}">
                    <a16:creationId xmlns:a16="http://schemas.microsoft.com/office/drawing/2014/main" id="{03CA2AD5-27F7-E43D-8FC7-085D948C95BD}"/>
                  </a:ext>
                </a:extLst>
              </p:cNvPr>
              <p:cNvGrpSpPr/>
              <p:nvPr/>
            </p:nvGrpSpPr>
            <p:grpSpPr>
              <a:xfrm>
                <a:off x="6086379" y="3746277"/>
                <a:ext cx="75723" cy="75723"/>
                <a:chOff x="6086379" y="3746277"/>
                <a:chExt cx="75723" cy="75723"/>
              </a:xfrm>
            </p:grpSpPr>
            <p:sp>
              <p:nvSpPr>
                <p:cNvPr id="14546" name="Freeform: Shape 14545">
                  <a:extLst>
                    <a:ext uri="{FF2B5EF4-FFF2-40B4-BE49-F238E27FC236}">
                      <a16:creationId xmlns:a16="http://schemas.microsoft.com/office/drawing/2014/main" id="{A798110B-729C-0785-E4BF-CA8CCD5CE75B}"/>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7" name="Freeform: Shape 14546">
                  <a:extLst>
                    <a:ext uri="{FF2B5EF4-FFF2-40B4-BE49-F238E27FC236}">
                      <a16:creationId xmlns:a16="http://schemas.microsoft.com/office/drawing/2014/main" id="{D30C27F1-1C1B-D986-6FD8-D51BEE6FD0DE}"/>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2" name="Graphic 1583">
                <a:extLst>
                  <a:ext uri="{FF2B5EF4-FFF2-40B4-BE49-F238E27FC236}">
                    <a16:creationId xmlns:a16="http://schemas.microsoft.com/office/drawing/2014/main" id="{4727FE40-437D-E21E-0794-EFF649822D82}"/>
                  </a:ext>
                </a:extLst>
              </p:cNvPr>
              <p:cNvGrpSpPr/>
              <p:nvPr/>
            </p:nvGrpSpPr>
            <p:grpSpPr>
              <a:xfrm>
                <a:off x="6050089" y="3687603"/>
                <a:ext cx="75723" cy="75723"/>
                <a:chOff x="6050089" y="3687603"/>
                <a:chExt cx="75723" cy="75723"/>
              </a:xfrm>
            </p:grpSpPr>
            <p:sp>
              <p:nvSpPr>
                <p:cNvPr id="14544" name="Freeform: Shape 14543">
                  <a:extLst>
                    <a:ext uri="{FF2B5EF4-FFF2-40B4-BE49-F238E27FC236}">
                      <a16:creationId xmlns:a16="http://schemas.microsoft.com/office/drawing/2014/main" id="{A0EB53D5-ACC4-0537-EEBA-D009355F2ADD}"/>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5" name="Freeform: Shape 14544">
                  <a:extLst>
                    <a:ext uri="{FF2B5EF4-FFF2-40B4-BE49-F238E27FC236}">
                      <a16:creationId xmlns:a16="http://schemas.microsoft.com/office/drawing/2014/main" id="{00CCE5DF-CB40-1ABE-F8EB-3043258F2578}"/>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3" name="Graphic 1583">
                <a:extLst>
                  <a:ext uri="{FF2B5EF4-FFF2-40B4-BE49-F238E27FC236}">
                    <a16:creationId xmlns:a16="http://schemas.microsoft.com/office/drawing/2014/main" id="{E9DEA29C-0829-2E69-712C-2E76FC2885EB}"/>
                  </a:ext>
                </a:extLst>
              </p:cNvPr>
              <p:cNvGrpSpPr/>
              <p:nvPr/>
            </p:nvGrpSpPr>
            <p:grpSpPr>
              <a:xfrm>
                <a:off x="6040849" y="3687603"/>
                <a:ext cx="75723" cy="75723"/>
                <a:chOff x="6040849" y="3687603"/>
                <a:chExt cx="75723" cy="75723"/>
              </a:xfrm>
            </p:grpSpPr>
            <p:sp>
              <p:nvSpPr>
                <p:cNvPr id="14542" name="Freeform: Shape 14541">
                  <a:extLst>
                    <a:ext uri="{FF2B5EF4-FFF2-40B4-BE49-F238E27FC236}">
                      <a16:creationId xmlns:a16="http://schemas.microsoft.com/office/drawing/2014/main" id="{F297CED0-149F-7511-177A-2A37F2B2A81A}"/>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3" name="Freeform: Shape 14542">
                  <a:extLst>
                    <a:ext uri="{FF2B5EF4-FFF2-40B4-BE49-F238E27FC236}">
                      <a16:creationId xmlns:a16="http://schemas.microsoft.com/office/drawing/2014/main" id="{ED231EE6-38CE-A0C7-C529-589D51D96298}"/>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4" name="Graphic 1583">
                <a:extLst>
                  <a:ext uri="{FF2B5EF4-FFF2-40B4-BE49-F238E27FC236}">
                    <a16:creationId xmlns:a16="http://schemas.microsoft.com/office/drawing/2014/main" id="{E27C7C17-A71F-07A1-7091-187F1D3F6304}"/>
                  </a:ext>
                </a:extLst>
              </p:cNvPr>
              <p:cNvGrpSpPr/>
              <p:nvPr/>
            </p:nvGrpSpPr>
            <p:grpSpPr>
              <a:xfrm>
                <a:off x="6032277" y="3578542"/>
                <a:ext cx="75723" cy="75628"/>
                <a:chOff x="6032277" y="3578542"/>
                <a:chExt cx="75723" cy="75628"/>
              </a:xfrm>
            </p:grpSpPr>
            <p:sp>
              <p:nvSpPr>
                <p:cNvPr id="14540" name="Freeform: Shape 14539">
                  <a:extLst>
                    <a:ext uri="{FF2B5EF4-FFF2-40B4-BE49-F238E27FC236}">
                      <a16:creationId xmlns:a16="http://schemas.microsoft.com/office/drawing/2014/main" id="{AB2F0707-4314-2CC2-A09C-7585A6AB57CC}"/>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1" name="Freeform: Shape 14540">
                  <a:extLst>
                    <a:ext uri="{FF2B5EF4-FFF2-40B4-BE49-F238E27FC236}">
                      <a16:creationId xmlns:a16="http://schemas.microsoft.com/office/drawing/2014/main" id="{71A37E69-E52E-BE27-F7DB-FD5AF1B6A50C}"/>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5" name="Graphic 1583">
                <a:extLst>
                  <a:ext uri="{FF2B5EF4-FFF2-40B4-BE49-F238E27FC236}">
                    <a16:creationId xmlns:a16="http://schemas.microsoft.com/office/drawing/2014/main" id="{809EFC69-9D1B-7734-6319-8D5D376C21F0}"/>
                  </a:ext>
                </a:extLst>
              </p:cNvPr>
              <p:cNvGrpSpPr/>
              <p:nvPr/>
            </p:nvGrpSpPr>
            <p:grpSpPr>
              <a:xfrm>
                <a:off x="6023133" y="3578542"/>
                <a:ext cx="75628" cy="75628"/>
                <a:chOff x="6023133" y="3578542"/>
                <a:chExt cx="75628" cy="75628"/>
              </a:xfrm>
            </p:grpSpPr>
            <p:sp>
              <p:nvSpPr>
                <p:cNvPr id="14538" name="Freeform: Shape 14537">
                  <a:extLst>
                    <a:ext uri="{FF2B5EF4-FFF2-40B4-BE49-F238E27FC236}">
                      <a16:creationId xmlns:a16="http://schemas.microsoft.com/office/drawing/2014/main" id="{8F63565F-5F03-F080-3BF1-5BAA7CBFA16A}"/>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9" name="Freeform: Shape 14538">
                  <a:extLst>
                    <a:ext uri="{FF2B5EF4-FFF2-40B4-BE49-F238E27FC236}">
                      <a16:creationId xmlns:a16="http://schemas.microsoft.com/office/drawing/2014/main" id="{8D2637CD-0C82-555D-A7D6-74B8840BD077}"/>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6" name="Graphic 1583">
                <a:extLst>
                  <a:ext uri="{FF2B5EF4-FFF2-40B4-BE49-F238E27FC236}">
                    <a16:creationId xmlns:a16="http://schemas.microsoft.com/office/drawing/2014/main" id="{CD549700-750C-8B5A-9BA7-28671C0EAEF7}"/>
                  </a:ext>
                </a:extLst>
              </p:cNvPr>
              <p:cNvGrpSpPr/>
              <p:nvPr/>
            </p:nvGrpSpPr>
            <p:grpSpPr>
              <a:xfrm>
                <a:off x="5692711" y="3553300"/>
                <a:ext cx="75723" cy="75628"/>
                <a:chOff x="5692711" y="3553300"/>
                <a:chExt cx="75723" cy="75628"/>
              </a:xfrm>
            </p:grpSpPr>
            <p:sp>
              <p:nvSpPr>
                <p:cNvPr id="14536" name="Freeform: Shape 14535">
                  <a:extLst>
                    <a:ext uri="{FF2B5EF4-FFF2-40B4-BE49-F238E27FC236}">
                      <a16:creationId xmlns:a16="http://schemas.microsoft.com/office/drawing/2014/main" id="{879811F6-C3A7-60F5-D1DB-2FB6673AF0FA}"/>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7" name="Freeform: Shape 14536">
                  <a:extLst>
                    <a:ext uri="{FF2B5EF4-FFF2-40B4-BE49-F238E27FC236}">
                      <a16:creationId xmlns:a16="http://schemas.microsoft.com/office/drawing/2014/main" id="{D111122D-689D-94EE-785D-AC34CF8FF60D}"/>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7" name="Graphic 1583">
                <a:extLst>
                  <a:ext uri="{FF2B5EF4-FFF2-40B4-BE49-F238E27FC236}">
                    <a16:creationId xmlns:a16="http://schemas.microsoft.com/office/drawing/2014/main" id="{00E6E3A6-4396-E909-C5A0-544035C0357D}"/>
                  </a:ext>
                </a:extLst>
              </p:cNvPr>
              <p:cNvGrpSpPr/>
              <p:nvPr/>
            </p:nvGrpSpPr>
            <p:grpSpPr>
              <a:xfrm>
                <a:off x="5662993" y="3515391"/>
                <a:ext cx="75628" cy="75723"/>
                <a:chOff x="5662993" y="3515391"/>
                <a:chExt cx="75628" cy="75723"/>
              </a:xfrm>
            </p:grpSpPr>
            <p:sp>
              <p:nvSpPr>
                <p:cNvPr id="14534" name="Freeform: Shape 14533">
                  <a:extLst>
                    <a:ext uri="{FF2B5EF4-FFF2-40B4-BE49-F238E27FC236}">
                      <a16:creationId xmlns:a16="http://schemas.microsoft.com/office/drawing/2014/main" id="{68C3F6B0-A9FD-82AC-2AA4-6C89C442B354}"/>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5" name="Freeform: Shape 14534">
                  <a:extLst>
                    <a:ext uri="{FF2B5EF4-FFF2-40B4-BE49-F238E27FC236}">
                      <a16:creationId xmlns:a16="http://schemas.microsoft.com/office/drawing/2014/main" id="{A5603B48-693D-5DC2-C2BD-DE672C0535CA}"/>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8" name="Graphic 1583">
                <a:extLst>
                  <a:ext uri="{FF2B5EF4-FFF2-40B4-BE49-F238E27FC236}">
                    <a16:creationId xmlns:a16="http://schemas.microsoft.com/office/drawing/2014/main" id="{D773A274-FD7A-3C71-2161-25EF71F27F42}"/>
                  </a:ext>
                </a:extLst>
              </p:cNvPr>
              <p:cNvGrpSpPr/>
              <p:nvPr/>
            </p:nvGrpSpPr>
            <p:grpSpPr>
              <a:xfrm>
                <a:off x="5648038" y="3515391"/>
                <a:ext cx="75628" cy="75723"/>
                <a:chOff x="5648038" y="3515391"/>
                <a:chExt cx="75628" cy="75723"/>
              </a:xfrm>
            </p:grpSpPr>
            <p:sp>
              <p:nvSpPr>
                <p:cNvPr id="14532" name="Freeform: Shape 14531">
                  <a:extLst>
                    <a:ext uri="{FF2B5EF4-FFF2-40B4-BE49-F238E27FC236}">
                      <a16:creationId xmlns:a16="http://schemas.microsoft.com/office/drawing/2014/main" id="{6BFC5545-D0F9-460A-B03D-06C5B303898C}"/>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3" name="Freeform: Shape 14532">
                  <a:extLst>
                    <a:ext uri="{FF2B5EF4-FFF2-40B4-BE49-F238E27FC236}">
                      <a16:creationId xmlns:a16="http://schemas.microsoft.com/office/drawing/2014/main" id="{7F779D04-4F68-BE56-F930-AF08F185DD50}"/>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9" name="Graphic 1583">
                <a:extLst>
                  <a:ext uri="{FF2B5EF4-FFF2-40B4-BE49-F238E27FC236}">
                    <a16:creationId xmlns:a16="http://schemas.microsoft.com/office/drawing/2014/main" id="{9CAF9F18-CCF3-9830-B5B0-45C2D81F93EB}"/>
                  </a:ext>
                </a:extLst>
              </p:cNvPr>
              <p:cNvGrpSpPr/>
              <p:nvPr/>
            </p:nvGrpSpPr>
            <p:grpSpPr>
              <a:xfrm>
                <a:off x="5632894" y="3474433"/>
                <a:ext cx="75628" cy="75628"/>
                <a:chOff x="5632894" y="3474433"/>
                <a:chExt cx="75628" cy="75628"/>
              </a:xfrm>
            </p:grpSpPr>
            <p:sp>
              <p:nvSpPr>
                <p:cNvPr id="14530" name="Freeform: Shape 14529">
                  <a:extLst>
                    <a:ext uri="{FF2B5EF4-FFF2-40B4-BE49-F238E27FC236}">
                      <a16:creationId xmlns:a16="http://schemas.microsoft.com/office/drawing/2014/main" id="{792696E7-429B-88D0-646B-46D8CD40C67D}"/>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1" name="Freeform: Shape 14530">
                  <a:extLst>
                    <a:ext uri="{FF2B5EF4-FFF2-40B4-BE49-F238E27FC236}">
                      <a16:creationId xmlns:a16="http://schemas.microsoft.com/office/drawing/2014/main" id="{CD67B871-FDD8-20D1-70E1-FF38C2FBD298}"/>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2" name="Graphic 1583">
                <a:extLst>
                  <a:ext uri="{FF2B5EF4-FFF2-40B4-BE49-F238E27FC236}">
                    <a16:creationId xmlns:a16="http://schemas.microsoft.com/office/drawing/2014/main" id="{6B4D8A45-8A09-BE5E-F211-F595B5811DBB}"/>
                  </a:ext>
                </a:extLst>
              </p:cNvPr>
              <p:cNvGrpSpPr/>
              <p:nvPr/>
            </p:nvGrpSpPr>
            <p:grpSpPr>
              <a:xfrm>
                <a:off x="5429154" y="3396614"/>
                <a:ext cx="75723" cy="75628"/>
                <a:chOff x="5429154" y="3396614"/>
                <a:chExt cx="75723" cy="75628"/>
              </a:xfrm>
            </p:grpSpPr>
            <p:sp>
              <p:nvSpPr>
                <p:cNvPr id="14528" name="Freeform: Shape 14527">
                  <a:extLst>
                    <a:ext uri="{FF2B5EF4-FFF2-40B4-BE49-F238E27FC236}">
                      <a16:creationId xmlns:a16="http://schemas.microsoft.com/office/drawing/2014/main" id="{73634F8C-D6DD-F7C1-F52B-E39C75370661}"/>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29" name="Freeform: Shape 14528">
                  <a:extLst>
                    <a:ext uri="{FF2B5EF4-FFF2-40B4-BE49-F238E27FC236}">
                      <a16:creationId xmlns:a16="http://schemas.microsoft.com/office/drawing/2014/main" id="{18440481-4BB2-959F-C3F2-F770A9BCDF27}"/>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3" name="Graphic 1583">
                <a:extLst>
                  <a:ext uri="{FF2B5EF4-FFF2-40B4-BE49-F238E27FC236}">
                    <a16:creationId xmlns:a16="http://schemas.microsoft.com/office/drawing/2014/main" id="{1FAF9E0A-FC88-C550-8611-EFA2D8A268E0}"/>
                  </a:ext>
                </a:extLst>
              </p:cNvPr>
              <p:cNvGrpSpPr/>
              <p:nvPr/>
            </p:nvGrpSpPr>
            <p:grpSpPr>
              <a:xfrm>
                <a:off x="5315235" y="3375278"/>
                <a:ext cx="75628" cy="75723"/>
                <a:chOff x="5315235" y="3375278"/>
                <a:chExt cx="75628" cy="75723"/>
              </a:xfrm>
            </p:grpSpPr>
            <p:sp>
              <p:nvSpPr>
                <p:cNvPr id="14270" name="Freeform: Shape 14269">
                  <a:extLst>
                    <a:ext uri="{FF2B5EF4-FFF2-40B4-BE49-F238E27FC236}">
                      <a16:creationId xmlns:a16="http://schemas.microsoft.com/office/drawing/2014/main" id="{8E9CA668-A78B-E597-2345-A21C6178C1EA}"/>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71" name="Freeform: Shape 14270">
                  <a:extLst>
                    <a:ext uri="{FF2B5EF4-FFF2-40B4-BE49-F238E27FC236}">
                      <a16:creationId xmlns:a16="http://schemas.microsoft.com/office/drawing/2014/main" id="{6EFD9141-FF04-F033-CD2E-4A6BB3B1ABFF}"/>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 name="Graphic 1583">
                <a:extLst>
                  <a:ext uri="{FF2B5EF4-FFF2-40B4-BE49-F238E27FC236}">
                    <a16:creationId xmlns:a16="http://schemas.microsoft.com/office/drawing/2014/main" id="{B8ACBE9A-5CCB-D4E6-AFF2-EEC206AE78E2}"/>
                  </a:ext>
                </a:extLst>
              </p:cNvPr>
              <p:cNvGrpSpPr/>
              <p:nvPr/>
            </p:nvGrpSpPr>
            <p:grpSpPr>
              <a:xfrm>
                <a:off x="5284850" y="3341560"/>
                <a:ext cx="75628" cy="75723"/>
                <a:chOff x="5284850" y="3341560"/>
                <a:chExt cx="75628" cy="75723"/>
              </a:xfrm>
            </p:grpSpPr>
            <p:sp>
              <p:nvSpPr>
                <p:cNvPr id="14268" name="Freeform: Shape 14267">
                  <a:extLst>
                    <a:ext uri="{FF2B5EF4-FFF2-40B4-BE49-F238E27FC236}">
                      <a16:creationId xmlns:a16="http://schemas.microsoft.com/office/drawing/2014/main" id="{4DBAD73E-3C5D-9261-125E-4DC193DFE43E}"/>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9" name="Freeform: Shape 14268">
                  <a:extLst>
                    <a:ext uri="{FF2B5EF4-FFF2-40B4-BE49-F238E27FC236}">
                      <a16:creationId xmlns:a16="http://schemas.microsoft.com/office/drawing/2014/main" id="{598E2190-6AA0-A4C5-D10E-364E5663C672}"/>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 name="Graphic 1583">
                <a:extLst>
                  <a:ext uri="{FF2B5EF4-FFF2-40B4-BE49-F238E27FC236}">
                    <a16:creationId xmlns:a16="http://schemas.microsoft.com/office/drawing/2014/main" id="{78959DA5-D883-44E0-C827-17C2E875E54A}"/>
                  </a:ext>
                </a:extLst>
              </p:cNvPr>
              <p:cNvGrpSpPr/>
              <p:nvPr/>
            </p:nvGrpSpPr>
            <p:grpSpPr>
              <a:xfrm>
                <a:off x="5269039" y="3313842"/>
                <a:ext cx="75628" cy="75723"/>
                <a:chOff x="5269039" y="3313842"/>
                <a:chExt cx="75628" cy="75723"/>
              </a:xfrm>
            </p:grpSpPr>
            <p:sp>
              <p:nvSpPr>
                <p:cNvPr id="14266" name="Freeform: Shape 14265">
                  <a:extLst>
                    <a:ext uri="{FF2B5EF4-FFF2-40B4-BE49-F238E27FC236}">
                      <a16:creationId xmlns:a16="http://schemas.microsoft.com/office/drawing/2014/main" id="{63E8E18D-D0DD-E2F4-2AE4-6C5C878C2090}"/>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7" name="Freeform: Shape 14266">
                  <a:extLst>
                    <a:ext uri="{FF2B5EF4-FFF2-40B4-BE49-F238E27FC236}">
                      <a16:creationId xmlns:a16="http://schemas.microsoft.com/office/drawing/2014/main" id="{B6AD9FBA-BBAD-577A-5876-907BA043C178}"/>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 name="Graphic 1583">
                <a:extLst>
                  <a:ext uri="{FF2B5EF4-FFF2-40B4-BE49-F238E27FC236}">
                    <a16:creationId xmlns:a16="http://schemas.microsoft.com/office/drawing/2014/main" id="{B80566EA-696A-61B4-BDE9-545582972C02}"/>
                  </a:ext>
                </a:extLst>
              </p:cNvPr>
              <p:cNvGrpSpPr/>
              <p:nvPr/>
            </p:nvGrpSpPr>
            <p:grpSpPr>
              <a:xfrm>
                <a:off x="5246941" y="3293554"/>
                <a:ext cx="75723" cy="75628"/>
                <a:chOff x="5246941" y="3293554"/>
                <a:chExt cx="75723" cy="75628"/>
              </a:xfrm>
            </p:grpSpPr>
            <p:sp>
              <p:nvSpPr>
                <p:cNvPr id="14264" name="Freeform: Shape 14263">
                  <a:extLst>
                    <a:ext uri="{FF2B5EF4-FFF2-40B4-BE49-F238E27FC236}">
                      <a16:creationId xmlns:a16="http://schemas.microsoft.com/office/drawing/2014/main" id="{D984CF68-F909-AD97-3584-5E01FEC58EE3}"/>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5" name="Freeform: Shape 14264">
                  <a:extLst>
                    <a:ext uri="{FF2B5EF4-FFF2-40B4-BE49-F238E27FC236}">
                      <a16:creationId xmlns:a16="http://schemas.microsoft.com/office/drawing/2014/main" id="{6E6B1211-E3E4-B29B-D98E-C412054705BF}"/>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7" name="Graphic 1583">
                <a:extLst>
                  <a:ext uri="{FF2B5EF4-FFF2-40B4-BE49-F238E27FC236}">
                    <a16:creationId xmlns:a16="http://schemas.microsoft.com/office/drawing/2014/main" id="{6F6A49D6-56EF-4E06-3C8A-93459BC40684}"/>
                  </a:ext>
                </a:extLst>
              </p:cNvPr>
              <p:cNvGrpSpPr/>
              <p:nvPr/>
            </p:nvGrpSpPr>
            <p:grpSpPr>
              <a:xfrm>
                <a:off x="5179599" y="3270122"/>
                <a:ext cx="75723" cy="75723"/>
                <a:chOff x="5179599" y="3270122"/>
                <a:chExt cx="75723" cy="75723"/>
              </a:xfrm>
            </p:grpSpPr>
            <p:sp>
              <p:nvSpPr>
                <p:cNvPr id="14262" name="Freeform: Shape 14261">
                  <a:extLst>
                    <a:ext uri="{FF2B5EF4-FFF2-40B4-BE49-F238E27FC236}">
                      <a16:creationId xmlns:a16="http://schemas.microsoft.com/office/drawing/2014/main" id="{B41D32C3-B97D-1C1A-22D7-8D7D81A4AC32}"/>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3" name="Freeform: Shape 14262">
                  <a:extLst>
                    <a:ext uri="{FF2B5EF4-FFF2-40B4-BE49-F238E27FC236}">
                      <a16:creationId xmlns:a16="http://schemas.microsoft.com/office/drawing/2014/main" id="{0EB4CEDA-0F6D-7D9D-690B-1170DDDDCAB7}"/>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8" name="Graphic 1583">
                <a:extLst>
                  <a:ext uri="{FF2B5EF4-FFF2-40B4-BE49-F238E27FC236}">
                    <a16:creationId xmlns:a16="http://schemas.microsoft.com/office/drawing/2014/main" id="{E4016C05-1BE0-57EF-9848-58BF1672E501}"/>
                  </a:ext>
                </a:extLst>
              </p:cNvPr>
              <p:cNvGrpSpPr/>
              <p:nvPr/>
            </p:nvGrpSpPr>
            <p:grpSpPr>
              <a:xfrm>
                <a:off x="4918233" y="3223926"/>
                <a:ext cx="75628" cy="75628"/>
                <a:chOff x="4918233" y="3223926"/>
                <a:chExt cx="75628" cy="75628"/>
              </a:xfrm>
            </p:grpSpPr>
            <p:sp>
              <p:nvSpPr>
                <p:cNvPr id="14260" name="Freeform: Shape 14259">
                  <a:extLst>
                    <a:ext uri="{FF2B5EF4-FFF2-40B4-BE49-F238E27FC236}">
                      <a16:creationId xmlns:a16="http://schemas.microsoft.com/office/drawing/2014/main" id="{50D955D0-3310-FBBC-358A-880388B470FC}"/>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1" name="Freeform: Shape 14260">
                  <a:extLst>
                    <a:ext uri="{FF2B5EF4-FFF2-40B4-BE49-F238E27FC236}">
                      <a16:creationId xmlns:a16="http://schemas.microsoft.com/office/drawing/2014/main" id="{9ED2BD50-D069-30D3-D649-1A71A48095AC}"/>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 name="Graphic 1583">
                <a:extLst>
                  <a:ext uri="{FF2B5EF4-FFF2-40B4-BE49-F238E27FC236}">
                    <a16:creationId xmlns:a16="http://schemas.microsoft.com/office/drawing/2014/main" id="{790B80D4-74CC-8C26-8C64-61FE0CBD66D1}"/>
                  </a:ext>
                </a:extLst>
              </p:cNvPr>
              <p:cNvGrpSpPr/>
              <p:nvPr/>
            </p:nvGrpSpPr>
            <p:grpSpPr>
              <a:xfrm>
                <a:off x="4912137" y="3214782"/>
                <a:ext cx="75628" cy="75723"/>
                <a:chOff x="4912137" y="3214782"/>
                <a:chExt cx="75628" cy="75723"/>
              </a:xfrm>
            </p:grpSpPr>
            <p:sp>
              <p:nvSpPr>
                <p:cNvPr id="14258" name="Freeform: Shape 14257">
                  <a:extLst>
                    <a:ext uri="{FF2B5EF4-FFF2-40B4-BE49-F238E27FC236}">
                      <a16:creationId xmlns:a16="http://schemas.microsoft.com/office/drawing/2014/main" id="{1DA7D544-8BE9-7178-E772-9328BA484775}"/>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9" name="Freeform: Shape 14258">
                  <a:extLst>
                    <a:ext uri="{FF2B5EF4-FFF2-40B4-BE49-F238E27FC236}">
                      <a16:creationId xmlns:a16="http://schemas.microsoft.com/office/drawing/2014/main" id="{6B474D64-8B29-C460-A8F4-8CAC2A280C3C}"/>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 name="Graphic 1583">
                <a:extLst>
                  <a:ext uri="{FF2B5EF4-FFF2-40B4-BE49-F238E27FC236}">
                    <a16:creationId xmlns:a16="http://schemas.microsoft.com/office/drawing/2014/main" id="{96385DDD-73F6-5C65-53A3-3C4744F29A28}"/>
                  </a:ext>
                </a:extLst>
              </p:cNvPr>
              <p:cNvGrpSpPr/>
              <p:nvPr/>
            </p:nvGrpSpPr>
            <p:grpSpPr>
              <a:xfrm>
                <a:off x="4907470" y="3206590"/>
                <a:ext cx="75723" cy="75723"/>
                <a:chOff x="4907470" y="3206590"/>
                <a:chExt cx="75723" cy="75723"/>
              </a:xfrm>
            </p:grpSpPr>
            <p:sp>
              <p:nvSpPr>
                <p:cNvPr id="14256" name="Freeform: Shape 14255">
                  <a:extLst>
                    <a:ext uri="{FF2B5EF4-FFF2-40B4-BE49-F238E27FC236}">
                      <a16:creationId xmlns:a16="http://schemas.microsoft.com/office/drawing/2014/main" id="{83708960-50AE-3EFC-1274-4AC509211A67}"/>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7" name="Freeform: Shape 14256">
                  <a:extLst>
                    <a:ext uri="{FF2B5EF4-FFF2-40B4-BE49-F238E27FC236}">
                      <a16:creationId xmlns:a16="http://schemas.microsoft.com/office/drawing/2014/main" id="{CD961068-2D80-2176-CE02-5C0D0470F433}"/>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 name="Graphic 1583">
                <a:extLst>
                  <a:ext uri="{FF2B5EF4-FFF2-40B4-BE49-F238E27FC236}">
                    <a16:creationId xmlns:a16="http://schemas.microsoft.com/office/drawing/2014/main" id="{80A3FF64-9AE9-3EA2-4D0B-BC49299039BE}"/>
                  </a:ext>
                </a:extLst>
              </p:cNvPr>
              <p:cNvGrpSpPr/>
              <p:nvPr/>
            </p:nvGrpSpPr>
            <p:grpSpPr>
              <a:xfrm>
                <a:off x="4888420" y="3176968"/>
                <a:ext cx="75628" cy="75628"/>
                <a:chOff x="4888420" y="3176968"/>
                <a:chExt cx="75628" cy="75628"/>
              </a:xfrm>
            </p:grpSpPr>
            <p:sp>
              <p:nvSpPr>
                <p:cNvPr id="14254" name="Freeform: Shape 14253">
                  <a:extLst>
                    <a:ext uri="{FF2B5EF4-FFF2-40B4-BE49-F238E27FC236}">
                      <a16:creationId xmlns:a16="http://schemas.microsoft.com/office/drawing/2014/main" id="{47DCAAE3-4DBC-A23E-D1A5-4D82108C4A34}"/>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5" name="Freeform: Shape 14254">
                  <a:extLst>
                    <a:ext uri="{FF2B5EF4-FFF2-40B4-BE49-F238E27FC236}">
                      <a16:creationId xmlns:a16="http://schemas.microsoft.com/office/drawing/2014/main" id="{4E19B3FC-66F5-1C8D-0ABF-975160AC72F5}"/>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2" name="Graphic 1583">
                <a:extLst>
                  <a:ext uri="{FF2B5EF4-FFF2-40B4-BE49-F238E27FC236}">
                    <a16:creationId xmlns:a16="http://schemas.microsoft.com/office/drawing/2014/main" id="{136611D3-FFC2-4FB0-9FE1-CD6569A736DB}"/>
                  </a:ext>
                </a:extLst>
              </p:cNvPr>
              <p:cNvGrpSpPr/>
              <p:nvPr/>
            </p:nvGrpSpPr>
            <p:grpSpPr>
              <a:xfrm>
                <a:off x="4855463" y="3132867"/>
                <a:ext cx="75723" cy="75723"/>
                <a:chOff x="4855463" y="3132867"/>
                <a:chExt cx="75723" cy="75723"/>
              </a:xfrm>
            </p:grpSpPr>
            <p:sp>
              <p:nvSpPr>
                <p:cNvPr id="14252" name="Freeform: Shape 14251">
                  <a:extLst>
                    <a:ext uri="{FF2B5EF4-FFF2-40B4-BE49-F238E27FC236}">
                      <a16:creationId xmlns:a16="http://schemas.microsoft.com/office/drawing/2014/main" id="{C68B0826-B0E1-F79C-630F-93BA1E67F9DB}"/>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3" name="Freeform: Shape 14252">
                  <a:extLst>
                    <a:ext uri="{FF2B5EF4-FFF2-40B4-BE49-F238E27FC236}">
                      <a16:creationId xmlns:a16="http://schemas.microsoft.com/office/drawing/2014/main" id="{172E8629-A015-76CB-CF70-25686EB15BAD}"/>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3" name="Graphic 1583">
                <a:extLst>
                  <a:ext uri="{FF2B5EF4-FFF2-40B4-BE49-F238E27FC236}">
                    <a16:creationId xmlns:a16="http://schemas.microsoft.com/office/drawing/2014/main" id="{5D251CA8-FB81-E7DB-47E7-8FF39DEDABD0}"/>
                  </a:ext>
                </a:extLst>
              </p:cNvPr>
              <p:cNvGrpSpPr/>
              <p:nvPr/>
            </p:nvGrpSpPr>
            <p:grpSpPr>
              <a:xfrm>
                <a:off x="4834603" y="3097339"/>
                <a:ext cx="75723" cy="75628"/>
                <a:chOff x="4834603" y="3097339"/>
                <a:chExt cx="75723" cy="75628"/>
              </a:xfrm>
            </p:grpSpPr>
            <p:sp>
              <p:nvSpPr>
                <p:cNvPr id="14250" name="Freeform: Shape 14249">
                  <a:extLst>
                    <a:ext uri="{FF2B5EF4-FFF2-40B4-BE49-F238E27FC236}">
                      <a16:creationId xmlns:a16="http://schemas.microsoft.com/office/drawing/2014/main" id="{8FC8E104-9734-6746-84E8-E61FF46E3F8E}"/>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1" name="Freeform: Shape 14250">
                  <a:extLst>
                    <a:ext uri="{FF2B5EF4-FFF2-40B4-BE49-F238E27FC236}">
                      <a16:creationId xmlns:a16="http://schemas.microsoft.com/office/drawing/2014/main" id="{ABC5917D-5C94-6272-2421-B46E361151D6}"/>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7" name="Graphic 1583">
                <a:extLst>
                  <a:ext uri="{FF2B5EF4-FFF2-40B4-BE49-F238E27FC236}">
                    <a16:creationId xmlns:a16="http://schemas.microsoft.com/office/drawing/2014/main" id="{1F8C5EE6-510A-02D3-115F-DDF12B016AAA}"/>
                  </a:ext>
                </a:extLst>
              </p:cNvPr>
              <p:cNvGrpSpPr/>
              <p:nvPr/>
            </p:nvGrpSpPr>
            <p:grpSpPr>
              <a:xfrm>
                <a:off x="4626101" y="3097339"/>
                <a:ext cx="75628" cy="75628"/>
                <a:chOff x="4626101" y="3097339"/>
                <a:chExt cx="75628" cy="75628"/>
              </a:xfrm>
            </p:grpSpPr>
            <p:sp>
              <p:nvSpPr>
                <p:cNvPr id="14248" name="Freeform: Shape 14247">
                  <a:extLst>
                    <a:ext uri="{FF2B5EF4-FFF2-40B4-BE49-F238E27FC236}">
                      <a16:creationId xmlns:a16="http://schemas.microsoft.com/office/drawing/2014/main" id="{7350D27F-18F3-92B6-7745-39A02E77A89F}"/>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9" name="Freeform: Shape 14248">
                  <a:extLst>
                    <a:ext uri="{FF2B5EF4-FFF2-40B4-BE49-F238E27FC236}">
                      <a16:creationId xmlns:a16="http://schemas.microsoft.com/office/drawing/2014/main" id="{148BEDB6-C21E-CD06-51D7-5FCC2618F63E}"/>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8" name="Graphic 1583">
                <a:extLst>
                  <a:ext uri="{FF2B5EF4-FFF2-40B4-BE49-F238E27FC236}">
                    <a16:creationId xmlns:a16="http://schemas.microsoft.com/office/drawing/2014/main" id="{09C47878-ACA9-99F6-76A9-5704DEC2EA67}"/>
                  </a:ext>
                </a:extLst>
              </p:cNvPr>
              <p:cNvGrpSpPr/>
              <p:nvPr/>
            </p:nvGrpSpPr>
            <p:grpSpPr>
              <a:xfrm>
                <a:off x="4555807" y="3053524"/>
                <a:ext cx="75723" cy="75723"/>
                <a:chOff x="4555807" y="3053524"/>
                <a:chExt cx="75723" cy="75723"/>
              </a:xfrm>
            </p:grpSpPr>
            <p:sp>
              <p:nvSpPr>
                <p:cNvPr id="14246" name="Freeform: Shape 14245">
                  <a:extLst>
                    <a:ext uri="{FF2B5EF4-FFF2-40B4-BE49-F238E27FC236}">
                      <a16:creationId xmlns:a16="http://schemas.microsoft.com/office/drawing/2014/main" id="{ED5BE221-B8C0-04D1-6F1A-DF1A56D835DD}"/>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7" name="Freeform: Shape 14246">
                  <a:extLst>
                    <a:ext uri="{FF2B5EF4-FFF2-40B4-BE49-F238E27FC236}">
                      <a16:creationId xmlns:a16="http://schemas.microsoft.com/office/drawing/2014/main" id="{DBE51286-BFC2-E8E4-6173-D684B570CA11}"/>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09" name="Graphic 1583">
                <a:extLst>
                  <a:ext uri="{FF2B5EF4-FFF2-40B4-BE49-F238E27FC236}">
                    <a16:creationId xmlns:a16="http://schemas.microsoft.com/office/drawing/2014/main" id="{083938DF-A43B-72C1-3FC5-BFC350E73EC8}"/>
                  </a:ext>
                </a:extLst>
              </p:cNvPr>
              <p:cNvGrpSpPr/>
              <p:nvPr/>
            </p:nvGrpSpPr>
            <p:grpSpPr>
              <a:xfrm>
                <a:off x="4504753" y="2948939"/>
                <a:ext cx="75628" cy="75723"/>
                <a:chOff x="4504753" y="2948939"/>
                <a:chExt cx="75628" cy="75723"/>
              </a:xfrm>
            </p:grpSpPr>
            <p:sp>
              <p:nvSpPr>
                <p:cNvPr id="14244" name="Freeform: Shape 14243">
                  <a:extLst>
                    <a:ext uri="{FF2B5EF4-FFF2-40B4-BE49-F238E27FC236}">
                      <a16:creationId xmlns:a16="http://schemas.microsoft.com/office/drawing/2014/main" id="{654208AD-0A37-81FB-72E2-9A0475ADAA98}"/>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5" name="Freeform: Shape 14244">
                  <a:extLst>
                    <a:ext uri="{FF2B5EF4-FFF2-40B4-BE49-F238E27FC236}">
                      <a16:creationId xmlns:a16="http://schemas.microsoft.com/office/drawing/2014/main" id="{B7F37DAB-4969-5E16-8D2B-9A7D92C55ED0}"/>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0" name="Graphic 1583">
                <a:extLst>
                  <a:ext uri="{FF2B5EF4-FFF2-40B4-BE49-F238E27FC236}">
                    <a16:creationId xmlns:a16="http://schemas.microsoft.com/office/drawing/2014/main" id="{2B730996-7646-7BC3-36BA-4574F88B1259}"/>
                  </a:ext>
                </a:extLst>
              </p:cNvPr>
              <p:cNvGrpSpPr/>
              <p:nvPr/>
            </p:nvGrpSpPr>
            <p:grpSpPr>
              <a:xfrm>
                <a:off x="4510277" y="2958369"/>
                <a:ext cx="75628" cy="75723"/>
                <a:chOff x="4510277" y="2958369"/>
                <a:chExt cx="75628" cy="75723"/>
              </a:xfrm>
            </p:grpSpPr>
            <p:sp>
              <p:nvSpPr>
                <p:cNvPr id="14242" name="Freeform: Shape 14241">
                  <a:extLst>
                    <a:ext uri="{FF2B5EF4-FFF2-40B4-BE49-F238E27FC236}">
                      <a16:creationId xmlns:a16="http://schemas.microsoft.com/office/drawing/2014/main" id="{0B667E8D-C9F1-7D6A-40C9-71E82BE19119}"/>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3" name="Freeform: Shape 14242">
                  <a:extLst>
                    <a:ext uri="{FF2B5EF4-FFF2-40B4-BE49-F238E27FC236}">
                      <a16:creationId xmlns:a16="http://schemas.microsoft.com/office/drawing/2014/main" id="{62F0198D-4397-D275-7472-583AF2A62164}"/>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1" name="Graphic 1583">
                <a:extLst>
                  <a:ext uri="{FF2B5EF4-FFF2-40B4-BE49-F238E27FC236}">
                    <a16:creationId xmlns:a16="http://schemas.microsoft.com/office/drawing/2014/main" id="{6EB4CCBC-CA94-5A59-43AB-B3E29CB513F2}"/>
                  </a:ext>
                </a:extLst>
              </p:cNvPr>
              <p:cNvGrpSpPr/>
              <p:nvPr/>
            </p:nvGrpSpPr>
            <p:grpSpPr>
              <a:xfrm>
                <a:off x="4517992" y="2970561"/>
                <a:ext cx="75723" cy="75628"/>
                <a:chOff x="4517992" y="2970561"/>
                <a:chExt cx="75723" cy="75628"/>
              </a:xfrm>
            </p:grpSpPr>
            <p:sp>
              <p:nvSpPr>
                <p:cNvPr id="14240" name="Freeform: Shape 14239">
                  <a:extLst>
                    <a:ext uri="{FF2B5EF4-FFF2-40B4-BE49-F238E27FC236}">
                      <a16:creationId xmlns:a16="http://schemas.microsoft.com/office/drawing/2014/main" id="{2EB46019-4C37-ACE3-E2BE-53014D121E7F}"/>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41" name="Freeform: Shape 14240">
                  <a:extLst>
                    <a:ext uri="{FF2B5EF4-FFF2-40B4-BE49-F238E27FC236}">
                      <a16:creationId xmlns:a16="http://schemas.microsoft.com/office/drawing/2014/main" id="{F3639EAE-AD6B-F540-CC55-486492EE68A8}"/>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2" name="Graphic 1583">
                <a:extLst>
                  <a:ext uri="{FF2B5EF4-FFF2-40B4-BE49-F238E27FC236}">
                    <a16:creationId xmlns:a16="http://schemas.microsoft.com/office/drawing/2014/main" id="{D94DA233-566F-3A46-B119-ED8C00F46792}"/>
                  </a:ext>
                </a:extLst>
              </p:cNvPr>
              <p:cNvGrpSpPr/>
              <p:nvPr/>
            </p:nvGrpSpPr>
            <p:grpSpPr>
              <a:xfrm>
                <a:off x="4525708" y="2982277"/>
                <a:ext cx="75723" cy="75628"/>
                <a:chOff x="4525708" y="2982277"/>
                <a:chExt cx="75723" cy="75628"/>
              </a:xfrm>
            </p:grpSpPr>
            <p:sp>
              <p:nvSpPr>
                <p:cNvPr id="14238" name="Freeform: Shape 14237">
                  <a:extLst>
                    <a:ext uri="{FF2B5EF4-FFF2-40B4-BE49-F238E27FC236}">
                      <a16:creationId xmlns:a16="http://schemas.microsoft.com/office/drawing/2014/main" id="{51627FBE-DE3E-E49F-86D5-5C7ACCAD7F67}"/>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9" name="Freeform: Shape 14238">
                  <a:extLst>
                    <a:ext uri="{FF2B5EF4-FFF2-40B4-BE49-F238E27FC236}">
                      <a16:creationId xmlns:a16="http://schemas.microsoft.com/office/drawing/2014/main" id="{403ED7DE-17A5-2B21-1C12-680FE60828F0}"/>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3" name="Graphic 1583">
                <a:extLst>
                  <a:ext uri="{FF2B5EF4-FFF2-40B4-BE49-F238E27FC236}">
                    <a16:creationId xmlns:a16="http://schemas.microsoft.com/office/drawing/2014/main" id="{C73E8CD0-3A0A-24C0-998C-7CD82E9872D1}"/>
                  </a:ext>
                </a:extLst>
              </p:cNvPr>
              <p:cNvGrpSpPr/>
              <p:nvPr/>
            </p:nvGrpSpPr>
            <p:grpSpPr>
              <a:xfrm>
                <a:off x="4534280" y="2993516"/>
                <a:ext cx="75628" cy="75628"/>
                <a:chOff x="4534280" y="2993516"/>
                <a:chExt cx="75628" cy="75628"/>
              </a:xfrm>
            </p:grpSpPr>
            <p:sp>
              <p:nvSpPr>
                <p:cNvPr id="14236" name="Freeform: Shape 14235">
                  <a:extLst>
                    <a:ext uri="{FF2B5EF4-FFF2-40B4-BE49-F238E27FC236}">
                      <a16:creationId xmlns:a16="http://schemas.microsoft.com/office/drawing/2014/main" id="{6F41CDE0-08E7-9EAF-846C-A40553F64C4F}"/>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7" name="Freeform: Shape 14236">
                  <a:extLst>
                    <a:ext uri="{FF2B5EF4-FFF2-40B4-BE49-F238E27FC236}">
                      <a16:creationId xmlns:a16="http://schemas.microsoft.com/office/drawing/2014/main" id="{37017DF9-98CC-BEAA-18D3-0FF9F701FF15}"/>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4" name="Graphic 1583">
                <a:extLst>
                  <a:ext uri="{FF2B5EF4-FFF2-40B4-BE49-F238E27FC236}">
                    <a16:creationId xmlns:a16="http://schemas.microsoft.com/office/drawing/2014/main" id="{1D4EB950-9644-6070-BBB7-4EAB6F375B7F}"/>
                  </a:ext>
                </a:extLst>
              </p:cNvPr>
              <p:cNvGrpSpPr/>
              <p:nvPr/>
            </p:nvGrpSpPr>
            <p:grpSpPr>
              <a:xfrm>
                <a:off x="4544281" y="3005327"/>
                <a:ext cx="75723" cy="75723"/>
                <a:chOff x="4544281" y="3005327"/>
                <a:chExt cx="75723" cy="75723"/>
              </a:xfrm>
            </p:grpSpPr>
            <p:sp>
              <p:nvSpPr>
                <p:cNvPr id="14234" name="Freeform: Shape 14233">
                  <a:extLst>
                    <a:ext uri="{FF2B5EF4-FFF2-40B4-BE49-F238E27FC236}">
                      <a16:creationId xmlns:a16="http://schemas.microsoft.com/office/drawing/2014/main" id="{F96CB433-E49D-2C0E-287A-BD4636663466}"/>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5" name="Freeform: Shape 14234">
                  <a:extLst>
                    <a:ext uri="{FF2B5EF4-FFF2-40B4-BE49-F238E27FC236}">
                      <a16:creationId xmlns:a16="http://schemas.microsoft.com/office/drawing/2014/main" id="{67337FF4-CB5A-FC6D-0EB0-6CF27B08DBAB}"/>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5" name="Graphic 1583">
                <a:extLst>
                  <a:ext uri="{FF2B5EF4-FFF2-40B4-BE49-F238E27FC236}">
                    <a16:creationId xmlns:a16="http://schemas.microsoft.com/office/drawing/2014/main" id="{57C93430-9636-EE5F-A7DF-0952279C2612}"/>
                  </a:ext>
                </a:extLst>
              </p:cNvPr>
              <p:cNvGrpSpPr/>
              <p:nvPr/>
            </p:nvGrpSpPr>
            <p:grpSpPr>
              <a:xfrm>
                <a:off x="4555807" y="3035712"/>
                <a:ext cx="75723" cy="75723"/>
                <a:chOff x="4555807" y="3035712"/>
                <a:chExt cx="75723" cy="75723"/>
              </a:xfrm>
            </p:grpSpPr>
            <p:sp>
              <p:nvSpPr>
                <p:cNvPr id="14232" name="Freeform: Shape 14231">
                  <a:extLst>
                    <a:ext uri="{FF2B5EF4-FFF2-40B4-BE49-F238E27FC236}">
                      <a16:creationId xmlns:a16="http://schemas.microsoft.com/office/drawing/2014/main" id="{FED43431-5DD4-4E76-30DB-01BA53756F84}"/>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3" name="Freeform: Shape 14232">
                  <a:extLst>
                    <a:ext uri="{FF2B5EF4-FFF2-40B4-BE49-F238E27FC236}">
                      <a16:creationId xmlns:a16="http://schemas.microsoft.com/office/drawing/2014/main" id="{D0DD1FD6-590E-BB47-572C-CEB8EED7F43C}"/>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6" name="Graphic 1583">
                <a:extLst>
                  <a:ext uri="{FF2B5EF4-FFF2-40B4-BE49-F238E27FC236}">
                    <a16:creationId xmlns:a16="http://schemas.microsoft.com/office/drawing/2014/main" id="{937826FF-448E-A65B-ECDB-2E629D3A3FD4}"/>
                  </a:ext>
                </a:extLst>
              </p:cNvPr>
              <p:cNvGrpSpPr/>
              <p:nvPr/>
            </p:nvGrpSpPr>
            <p:grpSpPr>
              <a:xfrm>
                <a:off x="4542567" y="3024663"/>
                <a:ext cx="75723" cy="75628"/>
                <a:chOff x="4542567" y="3024663"/>
                <a:chExt cx="75723" cy="75628"/>
              </a:xfrm>
            </p:grpSpPr>
            <p:sp>
              <p:nvSpPr>
                <p:cNvPr id="14230" name="Freeform: Shape 14229">
                  <a:extLst>
                    <a:ext uri="{FF2B5EF4-FFF2-40B4-BE49-F238E27FC236}">
                      <a16:creationId xmlns:a16="http://schemas.microsoft.com/office/drawing/2014/main" id="{9595D7C8-E3D7-DE89-F79B-1A4D16C10E12}"/>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31" name="Freeform: Shape 14230">
                  <a:extLst>
                    <a:ext uri="{FF2B5EF4-FFF2-40B4-BE49-F238E27FC236}">
                      <a16:creationId xmlns:a16="http://schemas.microsoft.com/office/drawing/2014/main" id="{36AEF566-F6E3-7F88-A996-EEBA6290F496}"/>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7" name="Graphic 1583">
                <a:extLst>
                  <a:ext uri="{FF2B5EF4-FFF2-40B4-BE49-F238E27FC236}">
                    <a16:creationId xmlns:a16="http://schemas.microsoft.com/office/drawing/2014/main" id="{772CDA2A-2317-06A1-E33F-1E248D2FEC30}"/>
                  </a:ext>
                </a:extLst>
              </p:cNvPr>
              <p:cNvGrpSpPr/>
              <p:nvPr/>
            </p:nvGrpSpPr>
            <p:grpSpPr>
              <a:xfrm>
                <a:off x="4369879" y="2860166"/>
                <a:ext cx="75723" cy="75723"/>
                <a:chOff x="4369879" y="2860166"/>
                <a:chExt cx="75723" cy="75723"/>
              </a:xfrm>
            </p:grpSpPr>
            <p:sp>
              <p:nvSpPr>
                <p:cNvPr id="14228" name="Freeform: Shape 14227">
                  <a:extLst>
                    <a:ext uri="{FF2B5EF4-FFF2-40B4-BE49-F238E27FC236}">
                      <a16:creationId xmlns:a16="http://schemas.microsoft.com/office/drawing/2014/main" id="{71C9FE24-92A0-3319-B3F2-AE1077B41FFA}"/>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9" name="Freeform: Shape 14228">
                  <a:extLst>
                    <a:ext uri="{FF2B5EF4-FFF2-40B4-BE49-F238E27FC236}">
                      <a16:creationId xmlns:a16="http://schemas.microsoft.com/office/drawing/2014/main" id="{79A7B165-F88C-1159-31B8-D9D394DDCEC3}"/>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8" name="Graphic 1583">
                <a:extLst>
                  <a:ext uri="{FF2B5EF4-FFF2-40B4-BE49-F238E27FC236}">
                    <a16:creationId xmlns:a16="http://schemas.microsoft.com/office/drawing/2014/main" id="{D4243ACF-52EC-BABC-68CE-EC2D0B831023}"/>
                  </a:ext>
                </a:extLst>
              </p:cNvPr>
              <p:cNvGrpSpPr/>
              <p:nvPr/>
            </p:nvGrpSpPr>
            <p:grpSpPr>
              <a:xfrm>
                <a:off x="4156804" y="2823971"/>
                <a:ext cx="75723" cy="75723"/>
                <a:chOff x="4156804" y="2823971"/>
                <a:chExt cx="75723" cy="75723"/>
              </a:xfrm>
            </p:grpSpPr>
            <p:sp>
              <p:nvSpPr>
                <p:cNvPr id="14226" name="Freeform: Shape 14225">
                  <a:extLst>
                    <a:ext uri="{FF2B5EF4-FFF2-40B4-BE49-F238E27FC236}">
                      <a16:creationId xmlns:a16="http://schemas.microsoft.com/office/drawing/2014/main" id="{ABB028CA-E130-8DC5-7B93-3C72C8C7D0BA}"/>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7" name="Freeform: Shape 14226">
                  <a:extLst>
                    <a:ext uri="{FF2B5EF4-FFF2-40B4-BE49-F238E27FC236}">
                      <a16:creationId xmlns:a16="http://schemas.microsoft.com/office/drawing/2014/main" id="{C47BF604-4ACF-4883-161E-A7BDE72569BD}"/>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9" name="Graphic 1583">
                <a:extLst>
                  <a:ext uri="{FF2B5EF4-FFF2-40B4-BE49-F238E27FC236}">
                    <a16:creationId xmlns:a16="http://schemas.microsoft.com/office/drawing/2014/main" id="{560991CB-C1FE-1C41-B86F-CD09DBE8DE0A}"/>
                  </a:ext>
                </a:extLst>
              </p:cNvPr>
              <p:cNvGrpSpPr/>
              <p:nvPr/>
            </p:nvGrpSpPr>
            <p:grpSpPr>
              <a:xfrm>
                <a:off x="4136421" y="2810065"/>
                <a:ext cx="75723" cy="75628"/>
                <a:chOff x="4136421" y="2810065"/>
                <a:chExt cx="75723" cy="75628"/>
              </a:xfrm>
            </p:grpSpPr>
            <p:sp>
              <p:nvSpPr>
                <p:cNvPr id="14224" name="Freeform: Shape 14223">
                  <a:extLst>
                    <a:ext uri="{FF2B5EF4-FFF2-40B4-BE49-F238E27FC236}">
                      <a16:creationId xmlns:a16="http://schemas.microsoft.com/office/drawing/2014/main" id="{0CC90B73-B5AD-C372-869E-136FC9C3DBAA}"/>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5" name="Freeform: Shape 14224">
                  <a:extLst>
                    <a:ext uri="{FF2B5EF4-FFF2-40B4-BE49-F238E27FC236}">
                      <a16:creationId xmlns:a16="http://schemas.microsoft.com/office/drawing/2014/main" id="{13E58B15-7F42-3265-2F53-57B250375C8D}"/>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0" name="Graphic 1583">
                <a:extLst>
                  <a:ext uri="{FF2B5EF4-FFF2-40B4-BE49-F238E27FC236}">
                    <a16:creationId xmlns:a16="http://schemas.microsoft.com/office/drawing/2014/main" id="{CF8588DE-1963-417A-9CBE-73506A393AD7}"/>
                  </a:ext>
                </a:extLst>
              </p:cNvPr>
              <p:cNvGrpSpPr/>
              <p:nvPr/>
            </p:nvGrpSpPr>
            <p:grpSpPr>
              <a:xfrm>
                <a:off x="5287517" y="3375278"/>
                <a:ext cx="75723" cy="75723"/>
                <a:chOff x="5287517" y="3375278"/>
                <a:chExt cx="75723" cy="75723"/>
              </a:xfrm>
            </p:grpSpPr>
            <p:sp>
              <p:nvSpPr>
                <p:cNvPr id="14222" name="Freeform: Shape 14221">
                  <a:extLst>
                    <a:ext uri="{FF2B5EF4-FFF2-40B4-BE49-F238E27FC236}">
                      <a16:creationId xmlns:a16="http://schemas.microsoft.com/office/drawing/2014/main" id="{5A339262-ACDE-5D8E-5B38-9FA6624C93D2}"/>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3" name="Freeform: Shape 14222">
                  <a:extLst>
                    <a:ext uri="{FF2B5EF4-FFF2-40B4-BE49-F238E27FC236}">
                      <a16:creationId xmlns:a16="http://schemas.microsoft.com/office/drawing/2014/main" id="{D06A7517-F588-D952-A1D3-684778E7F1CC}"/>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1" name="Graphic 1583">
                <a:extLst>
                  <a:ext uri="{FF2B5EF4-FFF2-40B4-BE49-F238E27FC236}">
                    <a16:creationId xmlns:a16="http://schemas.microsoft.com/office/drawing/2014/main" id="{780AB870-206F-882F-B40B-B93D0C56FADE}"/>
                  </a:ext>
                </a:extLst>
              </p:cNvPr>
              <p:cNvGrpSpPr/>
              <p:nvPr/>
            </p:nvGrpSpPr>
            <p:grpSpPr>
              <a:xfrm>
                <a:off x="5299709" y="3375278"/>
                <a:ext cx="75723" cy="75723"/>
                <a:chOff x="5299709" y="3375278"/>
                <a:chExt cx="75723" cy="75723"/>
              </a:xfrm>
            </p:grpSpPr>
            <p:sp>
              <p:nvSpPr>
                <p:cNvPr id="14220" name="Freeform: Shape 14219">
                  <a:extLst>
                    <a:ext uri="{FF2B5EF4-FFF2-40B4-BE49-F238E27FC236}">
                      <a16:creationId xmlns:a16="http://schemas.microsoft.com/office/drawing/2014/main" id="{808DE5BA-B9B3-33D6-FC6E-F8D5197EB2B6}"/>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21" name="Freeform: Shape 14220">
                  <a:extLst>
                    <a:ext uri="{FF2B5EF4-FFF2-40B4-BE49-F238E27FC236}">
                      <a16:creationId xmlns:a16="http://schemas.microsoft.com/office/drawing/2014/main" id="{FDDDE885-68E5-3B75-AA3A-CCD299FE3D8C}"/>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2" name="Graphic 1583">
                <a:extLst>
                  <a:ext uri="{FF2B5EF4-FFF2-40B4-BE49-F238E27FC236}">
                    <a16:creationId xmlns:a16="http://schemas.microsoft.com/office/drawing/2014/main" id="{DE89328E-A621-BACC-7DB1-14FCC8ACC25B}"/>
                  </a:ext>
                </a:extLst>
              </p:cNvPr>
              <p:cNvGrpSpPr/>
              <p:nvPr/>
            </p:nvGrpSpPr>
            <p:grpSpPr>
              <a:xfrm>
                <a:off x="5656611" y="3553300"/>
                <a:ext cx="75628" cy="75628"/>
                <a:chOff x="5656611" y="3553300"/>
                <a:chExt cx="75628" cy="75628"/>
              </a:xfrm>
            </p:grpSpPr>
            <p:sp>
              <p:nvSpPr>
                <p:cNvPr id="18238" name="Freeform: Shape 18237">
                  <a:extLst>
                    <a:ext uri="{FF2B5EF4-FFF2-40B4-BE49-F238E27FC236}">
                      <a16:creationId xmlns:a16="http://schemas.microsoft.com/office/drawing/2014/main" id="{61994554-C440-235D-B052-A0F32C0D759A}"/>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9" name="Freeform: Shape 18238">
                  <a:extLst>
                    <a:ext uri="{FF2B5EF4-FFF2-40B4-BE49-F238E27FC236}">
                      <a16:creationId xmlns:a16="http://schemas.microsoft.com/office/drawing/2014/main" id="{B1E166AA-1871-688D-CE41-9D09DD600E4E}"/>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3" name="Graphic 1583">
                <a:extLst>
                  <a:ext uri="{FF2B5EF4-FFF2-40B4-BE49-F238E27FC236}">
                    <a16:creationId xmlns:a16="http://schemas.microsoft.com/office/drawing/2014/main" id="{D6523E45-7FEB-D2C1-C231-043571AD37BB}"/>
                  </a:ext>
                </a:extLst>
              </p:cNvPr>
              <p:cNvGrpSpPr/>
              <p:nvPr/>
            </p:nvGrpSpPr>
            <p:grpSpPr>
              <a:xfrm>
                <a:off x="5668612" y="3553300"/>
                <a:ext cx="75723" cy="75628"/>
                <a:chOff x="5668612" y="3553300"/>
                <a:chExt cx="75723" cy="75628"/>
              </a:xfrm>
            </p:grpSpPr>
            <p:sp>
              <p:nvSpPr>
                <p:cNvPr id="18236" name="Freeform: Shape 18235">
                  <a:extLst>
                    <a:ext uri="{FF2B5EF4-FFF2-40B4-BE49-F238E27FC236}">
                      <a16:creationId xmlns:a16="http://schemas.microsoft.com/office/drawing/2014/main" id="{06647223-2620-C0F2-CF85-B5DBAFFB291F}"/>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7" name="Freeform: Shape 18236">
                  <a:extLst>
                    <a:ext uri="{FF2B5EF4-FFF2-40B4-BE49-F238E27FC236}">
                      <a16:creationId xmlns:a16="http://schemas.microsoft.com/office/drawing/2014/main" id="{06E609C8-3D98-C4FA-F16B-0D47F1AA2829}"/>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4" name="Graphic 1583">
                <a:extLst>
                  <a:ext uri="{FF2B5EF4-FFF2-40B4-BE49-F238E27FC236}">
                    <a16:creationId xmlns:a16="http://schemas.microsoft.com/office/drawing/2014/main" id="{028EEF7E-8AB5-3D9F-AA4F-885C7493549F}"/>
                  </a:ext>
                </a:extLst>
              </p:cNvPr>
              <p:cNvGrpSpPr/>
              <p:nvPr/>
            </p:nvGrpSpPr>
            <p:grpSpPr>
              <a:xfrm>
                <a:off x="5680709" y="3553300"/>
                <a:ext cx="75723" cy="75628"/>
                <a:chOff x="5680709" y="3553300"/>
                <a:chExt cx="75723" cy="75628"/>
              </a:xfrm>
            </p:grpSpPr>
            <p:sp>
              <p:nvSpPr>
                <p:cNvPr id="18234" name="Freeform: Shape 18233">
                  <a:extLst>
                    <a:ext uri="{FF2B5EF4-FFF2-40B4-BE49-F238E27FC236}">
                      <a16:creationId xmlns:a16="http://schemas.microsoft.com/office/drawing/2014/main" id="{C5288CFD-9EE9-382E-0EF6-C5C8D7581BF9}"/>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5" name="Freeform: Shape 18234">
                  <a:extLst>
                    <a:ext uri="{FF2B5EF4-FFF2-40B4-BE49-F238E27FC236}">
                      <a16:creationId xmlns:a16="http://schemas.microsoft.com/office/drawing/2014/main" id="{61CA1C12-2CAD-A076-9750-7C6AA27CBD85}"/>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5" name="Graphic 1583">
                <a:extLst>
                  <a:ext uri="{FF2B5EF4-FFF2-40B4-BE49-F238E27FC236}">
                    <a16:creationId xmlns:a16="http://schemas.microsoft.com/office/drawing/2014/main" id="{28A0E7B2-771D-63C0-6D6A-71E67BC8A271}"/>
                  </a:ext>
                </a:extLst>
              </p:cNvPr>
              <p:cNvGrpSpPr/>
              <p:nvPr/>
            </p:nvGrpSpPr>
            <p:grpSpPr>
              <a:xfrm>
                <a:off x="6040659" y="3606450"/>
                <a:ext cx="75628" cy="75723"/>
                <a:chOff x="6040659" y="3606450"/>
                <a:chExt cx="75628" cy="75723"/>
              </a:xfrm>
            </p:grpSpPr>
            <p:sp>
              <p:nvSpPr>
                <p:cNvPr id="18232" name="Freeform: Shape 18231">
                  <a:extLst>
                    <a:ext uri="{FF2B5EF4-FFF2-40B4-BE49-F238E27FC236}">
                      <a16:creationId xmlns:a16="http://schemas.microsoft.com/office/drawing/2014/main" id="{E3A33065-00A4-9919-EE40-39C753F57A31}"/>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3" name="Freeform: Shape 18232">
                  <a:extLst>
                    <a:ext uri="{FF2B5EF4-FFF2-40B4-BE49-F238E27FC236}">
                      <a16:creationId xmlns:a16="http://schemas.microsoft.com/office/drawing/2014/main" id="{B3590DD5-7CAB-61CC-FF6A-99862A4ECC86}"/>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6" name="Graphic 1583">
                <a:extLst>
                  <a:ext uri="{FF2B5EF4-FFF2-40B4-BE49-F238E27FC236}">
                    <a16:creationId xmlns:a16="http://schemas.microsoft.com/office/drawing/2014/main" id="{8A83DC12-5ADE-A625-CD32-44B6078F382C}"/>
                  </a:ext>
                </a:extLst>
              </p:cNvPr>
              <p:cNvGrpSpPr/>
              <p:nvPr/>
            </p:nvGrpSpPr>
            <p:grpSpPr>
              <a:xfrm>
                <a:off x="6040659" y="3657218"/>
                <a:ext cx="75628" cy="75723"/>
                <a:chOff x="6040659" y="3657218"/>
                <a:chExt cx="75628" cy="75723"/>
              </a:xfrm>
            </p:grpSpPr>
            <p:sp>
              <p:nvSpPr>
                <p:cNvPr id="18230" name="Freeform: Shape 18229">
                  <a:extLst>
                    <a:ext uri="{FF2B5EF4-FFF2-40B4-BE49-F238E27FC236}">
                      <a16:creationId xmlns:a16="http://schemas.microsoft.com/office/drawing/2014/main" id="{DEC6A0A0-660B-5EBD-23AD-8B16D0BD3FEF}"/>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31" name="Freeform: Shape 18230">
                  <a:extLst>
                    <a:ext uri="{FF2B5EF4-FFF2-40B4-BE49-F238E27FC236}">
                      <a16:creationId xmlns:a16="http://schemas.microsoft.com/office/drawing/2014/main" id="{F54CBD89-0308-E6CE-6BCD-82345794AD96}"/>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7" name="Graphic 1583">
                <a:extLst>
                  <a:ext uri="{FF2B5EF4-FFF2-40B4-BE49-F238E27FC236}">
                    <a16:creationId xmlns:a16="http://schemas.microsoft.com/office/drawing/2014/main" id="{9BB93AA0-CE50-8175-1481-DB898DE0590C}"/>
                  </a:ext>
                </a:extLst>
              </p:cNvPr>
              <p:cNvGrpSpPr/>
              <p:nvPr/>
            </p:nvGrpSpPr>
            <p:grpSpPr>
              <a:xfrm>
                <a:off x="7192517" y="3850290"/>
                <a:ext cx="75723" cy="75723"/>
                <a:chOff x="7192517" y="3850290"/>
                <a:chExt cx="75723" cy="75723"/>
              </a:xfrm>
            </p:grpSpPr>
            <p:sp>
              <p:nvSpPr>
                <p:cNvPr id="18228" name="Freeform: Shape 18227">
                  <a:extLst>
                    <a:ext uri="{FF2B5EF4-FFF2-40B4-BE49-F238E27FC236}">
                      <a16:creationId xmlns:a16="http://schemas.microsoft.com/office/drawing/2014/main" id="{AC9F47DD-7879-36A1-A1CC-8A6D355B63CC}"/>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29" name="Freeform: Shape 18228">
                  <a:extLst>
                    <a:ext uri="{FF2B5EF4-FFF2-40B4-BE49-F238E27FC236}">
                      <a16:creationId xmlns:a16="http://schemas.microsoft.com/office/drawing/2014/main" id="{6E70AE10-A8A8-A556-6E44-6EB515DADBAC}"/>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 name="Freeform: Shape 15">
              <a:extLst>
                <a:ext uri="{FF2B5EF4-FFF2-40B4-BE49-F238E27FC236}">
                  <a16:creationId xmlns:a16="http://schemas.microsoft.com/office/drawing/2014/main" id="{23F69686-A918-4C7E-C02B-A0D1E07D1FDF}"/>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984" name="Group 18983">
            <a:extLst>
              <a:ext uri="{FF2B5EF4-FFF2-40B4-BE49-F238E27FC236}">
                <a16:creationId xmlns:a16="http://schemas.microsoft.com/office/drawing/2014/main" id="{D4B1E5ED-C881-B4CE-308A-BC3287257137}"/>
              </a:ext>
            </a:extLst>
          </p:cNvPr>
          <p:cNvGrpSpPr/>
          <p:nvPr/>
        </p:nvGrpSpPr>
        <p:grpSpPr>
          <a:xfrm>
            <a:off x="834913" y="4133989"/>
            <a:ext cx="2385787" cy="523220"/>
            <a:chOff x="1283828" y="4129371"/>
            <a:chExt cx="2090677" cy="523220"/>
          </a:xfrm>
        </p:grpSpPr>
        <p:sp>
          <p:nvSpPr>
            <p:cNvPr id="18985" name="TextBox 18984">
              <a:extLst>
                <a:ext uri="{FF2B5EF4-FFF2-40B4-BE49-F238E27FC236}">
                  <a16:creationId xmlns:a16="http://schemas.microsoft.com/office/drawing/2014/main" id="{BE684179-A140-8C60-A929-9662CE394D54}"/>
                </a:ext>
              </a:extLst>
            </p:cNvPr>
            <p:cNvSpPr txBox="1"/>
            <p:nvPr/>
          </p:nvSpPr>
          <p:spPr>
            <a:xfrm>
              <a:off x="1680132" y="4129371"/>
              <a:ext cx="169437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18986" name="Group 18985">
              <a:extLst>
                <a:ext uri="{FF2B5EF4-FFF2-40B4-BE49-F238E27FC236}">
                  <a16:creationId xmlns:a16="http://schemas.microsoft.com/office/drawing/2014/main" id="{888F60AE-9CF2-81F5-528B-D5B2658C40EC}"/>
                </a:ext>
              </a:extLst>
            </p:cNvPr>
            <p:cNvGrpSpPr/>
            <p:nvPr/>
          </p:nvGrpSpPr>
          <p:grpSpPr>
            <a:xfrm>
              <a:off x="1289304" y="4278446"/>
              <a:ext cx="334470" cy="72000"/>
              <a:chOff x="2459420" y="3626363"/>
              <a:chExt cx="313728" cy="72000"/>
            </a:xfrm>
          </p:grpSpPr>
          <p:cxnSp>
            <p:nvCxnSpPr>
              <p:cNvPr id="18990" name="Straight Connector 18989">
                <a:extLst>
                  <a:ext uri="{FF2B5EF4-FFF2-40B4-BE49-F238E27FC236}">
                    <a16:creationId xmlns:a16="http://schemas.microsoft.com/office/drawing/2014/main" id="{6F467D3A-AA0E-755C-60E3-19292B8D8A3D}"/>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8991" name="Straight Connector 18990">
                <a:extLst>
                  <a:ext uri="{FF2B5EF4-FFF2-40B4-BE49-F238E27FC236}">
                    <a16:creationId xmlns:a16="http://schemas.microsoft.com/office/drawing/2014/main" id="{D58353DB-513F-41C2-D31E-49A84EC39B57}"/>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8987" name="Group 18986">
              <a:extLst>
                <a:ext uri="{FF2B5EF4-FFF2-40B4-BE49-F238E27FC236}">
                  <a16:creationId xmlns:a16="http://schemas.microsoft.com/office/drawing/2014/main" id="{9F88B214-50CC-9DD2-55D9-16D99F972699}"/>
                </a:ext>
              </a:extLst>
            </p:cNvPr>
            <p:cNvGrpSpPr/>
            <p:nvPr/>
          </p:nvGrpSpPr>
          <p:grpSpPr>
            <a:xfrm>
              <a:off x="1283828" y="4464183"/>
              <a:ext cx="345421" cy="72000"/>
              <a:chOff x="2454284" y="3812100"/>
              <a:chExt cx="324000" cy="72000"/>
            </a:xfrm>
          </p:grpSpPr>
          <p:cxnSp>
            <p:nvCxnSpPr>
              <p:cNvPr id="18988" name="Straight Connector 18987">
                <a:extLst>
                  <a:ext uri="{FF2B5EF4-FFF2-40B4-BE49-F238E27FC236}">
                    <a16:creationId xmlns:a16="http://schemas.microsoft.com/office/drawing/2014/main" id="{6156F726-4433-F889-4FB2-A96F46039B1F}"/>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8989" name="Straight Connector 18988">
                <a:extLst>
                  <a:ext uri="{FF2B5EF4-FFF2-40B4-BE49-F238E27FC236}">
                    <a16:creationId xmlns:a16="http://schemas.microsoft.com/office/drawing/2014/main" id="{7191F498-48CE-4DAC-228A-EA81867778FF}"/>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
        <p:nvSpPr>
          <p:cNvPr id="4" name="TextBox 3">
            <a:extLst>
              <a:ext uri="{FF2B5EF4-FFF2-40B4-BE49-F238E27FC236}">
                <a16:creationId xmlns:a16="http://schemas.microsoft.com/office/drawing/2014/main" id="{A841CAD1-176F-7E9D-163A-26CE31948CC9}"/>
              </a:ext>
            </a:extLst>
          </p:cNvPr>
          <p:cNvSpPr txBox="1"/>
          <p:nvPr/>
        </p:nvSpPr>
        <p:spPr>
          <a:xfrm>
            <a:off x="4826643" y="3641066"/>
            <a:ext cx="21422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PTEN cut-off: ≥99%</a:t>
            </a:r>
          </a:p>
        </p:txBody>
      </p:sp>
    </p:spTree>
    <p:extLst>
      <p:ext uri="{BB962C8B-B14F-4D97-AF65-F5344CB8AC3E}">
        <p14:creationId xmlns:p14="http://schemas.microsoft.com/office/powerpoint/2010/main" val="22352893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E69FF-EF66-D4BB-BFDE-443828C28179}"/>
            </a:ext>
          </a:extLst>
        </p:cNvPr>
        <p:cNvGrpSpPr/>
        <p:nvPr/>
      </p:nvGrpSpPr>
      <p:grpSpPr>
        <a:xfrm>
          <a:off x="0" y="0"/>
          <a:ext cx="0" cy="0"/>
          <a:chOff x="0" y="0"/>
          <a:chExt cx="0" cy="0"/>
        </a:xfrm>
      </p:grpSpPr>
      <p:grpSp>
        <p:nvGrpSpPr>
          <p:cNvPr id="18207" name="Group 18206">
            <a:extLst>
              <a:ext uri="{FF2B5EF4-FFF2-40B4-BE49-F238E27FC236}">
                <a16:creationId xmlns:a16="http://schemas.microsoft.com/office/drawing/2014/main" id="{EBD86990-CA7E-E856-28A7-6BDC1D9B8C22}"/>
              </a:ext>
            </a:extLst>
          </p:cNvPr>
          <p:cNvGrpSpPr/>
          <p:nvPr/>
        </p:nvGrpSpPr>
        <p:grpSpPr>
          <a:xfrm>
            <a:off x="714940" y="1482475"/>
            <a:ext cx="6798425" cy="1935956"/>
            <a:chOff x="1040606" y="1476375"/>
            <a:chExt cx="6090949" cy="1935956"/>
          </a:xfrm>
        </p:grpSpPr>
        <p:grpSp>
          <p:nvGrpSpPr>
            <p:cNvPr id="18208" name="Graphic 1583">
              <a:extLst>
                <a:ext uri="{FF2B5EF4-FFF2-40B4-BE49-F238E27FC236}">
                  <a16:creationId xmlns:a16="http://schemas.microsoft.com/office/drawing/2014/main" id="{FFC0D579-53F4-7664-9E73-271D715FF7EE}"/>
                </a:ext>
              </a:extLst>
            </p:cNvPr>
            <p:cNvGrpSpPr/>
            <p:nvPr/>
          </p:nvGrpSpPr>
          <p:grpSpPr>
            <a:xfrm>
              <a:off x="1469675" y="1616392"/>
              <a:ext cx="5661880" cy="1795939"/>
              <a:chOff x="4136421" y="2810065"/>
              <a:chExt cx="4244530" cy="1346358"/>
            </a:xfrm>
          </p:grpSpPr>
          <p:grpSp>
            <p:nvGrpSpPr>
              <p:cNvPr id="18210" name="Graphic 1583">
                <a:extLst>
                  <a:ext uri="{FF2B5EF4-FFF2-40B4-BE49-F238E27FC236}">
                    <a16:creationId xmlns:a16="http://schemas.microsoft.com/office/drawing/2014/main" id="{16A71351-FD46-1894-385D-B064F86F7F33}"/>
                  </a:ext>
                </a:extLst>
              </p:cNvPr>
              <p:cNvGrpSpPr/>
              <p:nvPr/>
            </p:nvGrpSpPr>
            <p:grpSpPr>
              <a:xfrm>
                <a:off x="8305323" y="4080700"/>
                <a:ext cx="75628" cy="75723"/>
                <a:chOff x="8305323" y="4080700"/>
                <a:chExt cx="75628" cy="75723"/>
              </a:xfrm>
            </p:grpSpPr>
            <p:sp>
              <p:nvSpPr>
                <p:cNvPr id="18307" name="Freeform: Shape 18306">
                  <a:extLst>
                    <a:ext uri="{FF2B5EF4-FFF2-40B4-BE49-F238E27FC236}">
                      <a16:creationId xmlns:a16="http://schemas.microsoft.com/office/drawing/2014/main" id="{0CCE8FE0-3A62-93CF-2895-17B934C13FCD}"/>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8" name="Freeform: Shape 18307">
                  <a:extLst>
                    <a:ext uri="{FF2B5EF4-FFF2-40B4-BE49-F238E27FC236}">
                      <a16:creationId xmlns:a16="http://schemas.microsoft.com/office/drawing/2014/main" id="{89516272-A064-A052-487F-990A31A3C617}"/>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1" name="Graphic 1583">
                <a:extLst>
                  <a:ext uri="{FF2B5EF4-FFF2-40B4-BE49-F238E27FC236}">
                    <a16:creationId xmlns:a16="http://schemas.microsoft.com/office/drawing/2014/main" id="{4CD6A146-AD1C-093F-2D2D-75BD27D6AAAC}"/>
                  </a:ext>
                </a:extLst>
              </p:cNvPr>
              <p:cNvGrpSpPr/>
              <p:nvPr/>
            </p:nvGrpSpPr>
            <p:grpSpPr>
              <a:xfrm>
                <a:off x="7934800" y="4080700"/>
                <a:ext cx="75628" cy="75723"/>
                <a:chOff x="7934800" y="4080700"/>
                <a:chExt cx="75628" cy="75723"/>
              </a:xfrm>
            </p:grpSpPr>
            <p:sp>
              <p:nvSpPr>
                <p:cNvPr id="18305" name="Freeform: Shape 18304">
                  <a:extLst>
                    <a:ext uri="{FF2B5EF4-FFF2-40B4-BE49-F238E27FC236}">
                      <a16:creationId xmlns:a16="http://schemas.microsoft.com/office/drawing/2014/main" id="{780947C0-ED8B-7AB8-697E-83BDDBAE3C22}"/>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6" name="Freeform: Shape 18305">
                  <a:extLst>
                    <a:ext uri="{FF2B5EF4-FFF2-40B4-BE49-F238E27FC236}">
                      <a16:creationId xmlns:a16="http://schemas.microsoft.com/office/drawing/2014/main" id="{5E64DA15-6052-D58A-6358-99868710BFB5}"/>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2" name="Graphic 1583">
                <a:extLst>
                  <a:ext uri="{FF2B5EF4-FFF2-40B4-BE49-F238E27FC236}">
                    <a16:creationId xmlns:a16="http://schemas.microsoft.com/office/drawing/2014/main" id="{10235767-17D3-C028-1F50-F21EA6D402DC}"/>
                  </a:ext>
                </a:extLst>
              </p:cNvPr>
              <p:cNvGrpSpPr/>
              <p:nvPr/>
            </p:nvGrpSpPr>
            <p:grpSpPr>
              <a:xfrm>
                <a:off x="7923561" y="4080700"/>
                <a:ext cx="75628" cy="75723"/>
                <a:chOff x="7923561" y="4080700"/>
                <a:chExt cx="75628" cy="75723"/>
              </a:xfrm>
            </p:grpSpPr>
            <p:sp>
              <p:nvSpPr>
                <p:cNvPr id="18303" name="Freeform: Shape 18302">
                  <a:extLst>
                    <a:ext uri="{FF2B5EF4-FFF2-40B4-BE49-F238E27FC236}">
                      <a16:creationId xmlns:a16="http://schemas.microsoft.com/office/drawing/2014/main" id="{3BF95F3C-D6BF-DBAA-D87B-4AA7B2222367}"/>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4" name="Freeform: Shape 18303">
                  <a:extLst>
                    <a:ext uri="{FF2B5EF4-FFF2-40B4-BE49-F238E27FC236}">
                      <a16:creationId xmlns:a16="http://schemas.microsoft.com/office/drawing/2014/main" id="{9032B77B-E3E0-595C-4556-08ED6D0465AF}"/>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3" name="Graphic 1583">
                <a:extLst>
                  <a:ext uri="{FF2B5EF4-FFF2-40B4-BE49-F238E27FC236}">
                    <a16:creationId xmlns:a16="http://schemas.microsoft.com/office/drawing/2014/main" id="{C7B712BB-BE12-9DCB-8E95-8066FC621092}"/>
                  </a:ext>
                </a:extLst>
              </p:cNvPr>
              <p:cNvGrpSpPr/>
              <p:nvPr/>
            </p:nvGrpSpPr>
            <p:grpSpPr>
              <a:xfrm>
                <a:off x="7590281" y="4080700"/>
                <a:ext cx="75723" cy="75723"/>
                <a:chOff x="7590281" y="4080700"/>
                <a:chExt cx="75723" cy="75723"/>
              </a:xfrm>
            </p:grpSpPr>
            <p:sp>
              <p:nvSpPr>
                <p:cNvPr id="18301" name="Freeform: Shape 18300">
                  <a:extLst>
                    <a:ext uri="{FF2B5EF4-FFF2-40B4-BE49-F238E27FC236}">
                      <a16:creationId xmlns:a16="http://schemas.microsoft.com/office/drawing/2014/main" id="{EDD2AC1F-184F-E0F8-6BD3-5CB89CD9EDA7}"/>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2" name="Freeform: Shape 18301">
                  <a:extLst>
                    <a:ext uri="{FF2B5EF4-FFF2-40B4-BE49-F238E27FC236}">
                      <a16:creationId xmlns:a16="http://schemas.microsoft.com/office/drawing/2014/main" id="{6B28F343-D35A-5714-E2C2-EEB66F7F3C7D}"/>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4" name="Graphic 1583">
                <a:extLst>
                  <a:ext uri="{FF2B5EF4-FFF2-40B4-BE49-F238E27FC236}">
                    <a16:creationId xmlns:a16="http://schemas.microsoft.com/office/drawing/2014/main" id="{4DC7B9FD-EDB4-8C1D-9E1D-867EC052754A}"/>
                  </a:ext>
                </a:extLst>
              </p:cNvPr>
              <p:cNvGrpSpPr/>
              <p:nvPr/>
            </p:nvGrpSpPr>
            <p:grpSpPr>
              <a:xfrm>
                <a:off x="7565040" y="4080700"/>
                <a:ext cx="75723" cy="75723"/>
                <a:chOff x="7565040" y="4080700"/>
                <a:chExt cx="75723" cy="75723"/>
              </a:xfrm>
            </p:grpSpPr>
            <p:sp>
              <p:nvSpPr>
                <p:cNvPr id="18299" name="Freeform: Shape 18298">
                  <a:extLst>
                    <a:ext uri="{FF2B5EF4-FFF2-40B4-BE49-F238E27FC236}">
                      <a16:creationId xmlns:a16="http://schemas.microsoft.com/office/drawing/2014/main" id="{188CB2D8-C4F1-4F29-864E-8C5E8C79BF9E}"/>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0" name="Freeform: Shape 18299">
                  <a:extLst>
                    <a:ext uri="{FF2B5EF4-FFF2-40B4-BE49-F238E27FC236}">
                      <a16:creationId xmlns:a16="http://schemas.microsoft.com/office/drawing/2014/main" id="{35C17E60-B949-195F-E230-B131586F1081}"/>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5" name="Graphic 1583">
                <a:extLst>
                  <a:ext uri="{FF2B5EF4-FFF2-40B4-BE49-F238E27FC236}">
                    <a16:creationId xmlns:a16="http://schemas.microsoft.com/office/drawing/2014/main" id="{F8707A9E-FFD2-FA25-5FE9-08B91865C6FB}"/>
                  </a:ext>
                </a:extLst>
              </p:cNvPr>
              <p:cNvGrpSpPr/>
              <p:nvPr/>
            </p:nvGrpSpPr>
            <p:grpSpPr>
              <a:xfrm>
                <a:off x="7541799" y="3949826"/>
                <a:ext cx="75723" cy="75723"/>
                <a:chOff x="7541799" y="3949826"/>
                <a:chExt cx="75723" cy="75723"/>
              </a:xfrm>
            </p:grpSpPr>
            <p:sp>
              <p:nvSpPr>
                <p:cNvPr id="18297" name="Freeform: Shape 18296">
                  <a:extLst>
                    <a:ext uri="{FF2B5EF4-FFF2-40B4-BE49-F238E27FC236}">
                      <a16:creationId xmlns:a16="http://schemas.microsoft.com/office/drawing/2014/main" id="{879A2E88-94B3-4423-C616-A154D8674874}"/>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8" name="Freeform: Shape 18297">
                  <a:extLst>
                    <a:ext uri="{FF2B5EF4-FFF2-40B4-BE49-F238E27FC236}">
                      <a16:creationId xmlns:a16="http://schemas.microsoft.com/office/drawing/2014/main" id="{614BEB03-4CA6-ED72-37F4-E230F057C611}"/>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6" name="Graphic 1583">
                <a:extLst>
                  <a:ext uri="{FF2B5EF4-FFF2-40B4-BE49-F238E27FC236}">
                    <a16:creationId xmlns:a16="http://schemas.microsoft.com/office/drawing/2014/main" id="{FE807F4F-F314-F25C-9849-22D737AD41A7}"/>
                  </a:ext>
                </a:extLst>
              </p:cNvPr>
              <p:cNvGrpSpPr/>
              <p:nvPr/>
            </p:nvGrpSpPr>
            <p:grpSpPr>
              <a:xfrm>
                <a:off x="7272146" y="3949826"/>
                <a:ext cx="75723" cy="75723"/>
                <a:chOff x="7272146" y="3949826"/>
                <a:chExt cx="75723" cy="75723"/>
              </a:xfrm>
            </p:grpSpPr>
            <p:sp>
              <p:nvSpPr>
                <p:cNvPr id="18295" name="Freeform: Shape 18294">
                  <a:extLst>
                    <a:ext uri="{FF2B5EF4-FFF2-40B4-BE49-F238E27FC236}">
                      <a16:creationId xmlns:a16="http://schemas.microsoft.com/office/drawing/2014/main" id="{D3453ADC-03C6-4F99-7CE4-B29CBA7CB39C}"/>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6" name="Freeform: Shape 18295">
                  <a:extLst>
                    <a:ext uri="{FF2B5EF4-FFF2-40B4-BE49-F238E27FC236}">
                      <a16:creationId xmlns:a16="http://schemas.microsoft.com/office/drawing/2014/main" id="{43FE0BD7-7A2B-F484-0916-3337A774DB01}"/>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7" name="Graphic 1583">
                <a:extLst>
                  <a:ext uri="{FF2B5EF4-FFF2-40B4-BE49-F238E27FC236}">
                    <a16:creationId xmlns:a16="http://schemas.microsoft.com/office/drawing/2014/main" id="{40F175E0-C80A-752E-15B7-6EAD1205F364}"/>
                  </a:ext>
                </a:extLst>
              </p:cNvPr>
              <p:cNvGrpSpPr/>
              <p:nvPr/>
            </p:nvGrpSpPr>
            <p:grpSpPr>
              <a:xfrm>
                <a:off x="7220330" y="3850290"/>
                <a:ext cx="75628" cy="75723"/>
                <a:chOff x="7220330" y="3850290"/>
                <a:chExt cx="75628" cy="75723"/>
              </a:xfrm>
            </p:grpSpPr>
            <p:sp>
              <p:nvSpPr>
                <p:cNvPr id="18293" name="Freeform: Shape 18292">
                  <a:extLst>
                    <a:ext uri="{FF2B5EF4-FFF2-40B4-BE49-F238E27FC236}">
                      <a16:creationId xmlns:a16="http://schemas.microsoft.com/office/drawing/2014/main" id="{E6C62D85-25F8-B687-5990-1471B64B4841}"/>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4" name="Freeform: Shape 18293">
                  <a:extLst>
                    <a:ext uri="{FF2B5EF4-FFF2-40B4-BE49-F238E27FC236}">
                      <a16:creationId xmlns:a16="http://schemas.microsoft.com/office/drawing/2014/main" id="{37A8AC35-B633-D396-C582-2939DC4636D0}"/>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8" name="Graphic 1583">
                <a:extLst>
                  <a:ext uri="{FF2B5EF4-FFF2-40B4-BE49-F238E27FC236}">
                    <a16:creationId xmlns:a16="http://schemas.microsoft.com/office/drawing/2014/main" id="{A32BD681-0376-60D8-C1CD-DBDFB5F1388E}"/>
                  </a:ext>
                </a:extLst>
              </p:cNvPr>
              <p:cNvGrpSpPr/>
              <p:nvPr/>
            </p:nvGrpSpPr>
            <p:grpSpPr>
              <a:xfrm>
                <a:off x="7176515" y="3850290"/>
                <a:ext cx="75723" cy="75723"/>
                <a:chOff x="7176515" y="3850290"/>
                <a:chExt cx="75723" cy="75723"/>
              </a:xfrm>
            </p:grpSpPr>
            <p:sp>
              <p:nvSpPr>
                <p:cNvPr id="18291" name="Freeform: Shape 18290">
                  <a:extLst>
                    <a:ext uri="{FF2B5EF4-FFF2-40B4-BE49-F238E27FC236}">
                      <a16:creationId xmlns:a16="http://schemas.microsoft.com/office/drawing/2014/main" id="{F6131E30-ED26-B6C6-3AFB-1B370E39C192}"/>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2" name="Freeform: Shape 18291">
                  <a:extLst>
                    <a:ext uri="{FF2B5EF4-FFF2-40B4-BE49-F238E27FC236}">
                      <a16:creationId xmlns:a16="http://schemas.microsoft.com/office/drawing/2014/main" id="{D6D58915-4585-7089-E3C1-E1D84BF7C0FB}"/>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19" name="Graphic 1583">
                <a:extLst>
                  <a:ext uri="{FF2B5EF4-FFF2-40B4-BE49-F238E27FC236}">
                    <a16:creationId xmlns:a16="http://schemas.microsoft.com/office/drawing/2014/main" id="{3DF26D2D-D95B-3AD1-45B0-FA70B5E31A7E}"/>
                  </a:ext>
                </a:extLst>
              </p:cNvPr>
              <p:cNvGrpSpPr/>
              <p:nvPr/>
            </p:nvGrpSpPr>
            <p:grpSpPr>
              <a:xfrm>
                <a:off x="6829996" y="3789520"/>
                <a:ext cx="75723" cy="75628"/>
                <a:chOff x="6829996" y="3789520"/>
                <a:chExt cx="75723" cy="75628"/>
              </a:xfrm>
            </p:grpSpPr>
            <p:sp>
              <p:nvSpPr>
                <p:cNvPr id="18289" name="Freeform: Shape 18288">
                  <a:extLst>
                    <a:ext uri="{FF2B5EF4-FFF2-40B4-BE49-F238E27FC236}">
                      <a16:creationId xmlns:a16="http://schemas.microsoft.com/office/drawing/2014/main" id="{0A8A89EA-22D9-D263-3D6A-5EECDA1EEBAC}"/>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90" name="Freeform: Shape 18289">
                  <a:extLst>
                    <a:ext uri="{FF2B5EF4-FFF2-40B4-BE49-F238E27FC236}">
                      <a16:creationId xmlns:a16="http://schemas.microsoft.com/office/drawing/2014/main" id="{DCC5C930-EE64-0A3D-E040-E8EEBA902503}"/>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0" name="Graphic 1583">
                <a:extLst>
                  <a:ext uri="{FF2B5EF4-FFF2-40B4-BE49-F238E27FC236}">
                    <a16:creationId xmlns:a16="http://schemas.microsoft.com/office/drawing/2014/main" id="{8E3CF31E-F097-904F-9837-6EBAEDEF77B5}"/>
                  </a:ext>
                </a:extLst>
              </p:cNvPr>
              <p:cNvGrpSpPr/>
              <p:nvPr/>
            </p:nvGrpSpPr>
            <p:grpSpPr>
              <a:xfrm>
                <a:off x="6816280" y="3789520"/>
                <a:ext cx="75723" cy="75628"/>
                <a:chOff x="6816280" y="3789520"/>
                <a:chExt cx="75723" cy="75628"/>
              </a:xfrm>
            </p:grpSpPr>
            <p:sp>
              <p:nvSpPr>
                <p:cNvPr id="18287" name="Freeform: Shape 18286">
                  <a:extLst>
                    <a:ext uri="{FF2B5EF4-FFF2-40B4-BE49-F238E27FC236}">
                      <a16:creationId xmlns:a16="http://schemas.microsoft.com/office/drawing/2014/main" id="{65B826C6-1D2D-D26D-1612-6E1A01B0D0CA}"/>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8" name="Freeform: Shape 18287">
                  <a:extLst>
                    <a:ext uri="{FF2B5EF4-FFF2-40B4-BE49-F238E27FC236}">
                      <a16:creationId xmlns:a16="http://schemas.microsoft.com/office/drawing/2014/main" id="{82E9B1FD-7552-5129-3E3B-2C054DE8F7D4}"/>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1" name="Graphic 1583">
                <a:extLst>
                  <a:ext uri="{FF2B5EF4-FFF2-40B4-BE49-F238E27FC236}">
                    <a16:creationId xmlns:a16="http://schemas.microsoft.com/office/drawing/2014/main" id="{3FBE9976-CFE9-8C9F-BB12-A13DB809818F}"/>
                  </a:ext>
                </a:extLst>
              </p:cNvPr>
              <p:cNvGrpSpPr/>
              <p:nvPr/>
            </p:nvGrpSpPr>
            <p:grpSpPr>
              <a:xfrm>
                <a:off x="6795325" y="3789520"/>
                <a:ext cx="75723" cy="75628"/>
                <a:chOff x="6795325" y="3789520"/>
                <a:chExt cx="75723" cy="75628"/>
              </a:xfrm>
            </p:grpSpPr>
            <p:sp>
              <p:nvSpPr>
                <p:cNvPr id="18285" name="Freeform: Shape 18284">
                  <a:extLst>
                    <a:ext uri="{FF2B5EF4-FFF2-40B4-BE49-F238E27FC236}">
                      <a16:creationId xmlns:a16="http://schemas.microsoft.com/office/drawing/2014/main" id="{1218D31A-A0F1-AA07-0968-BA6472264D32}"/>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6" name="Freeform: Shape 18285">
                  <a:extLst>
                    <a:ext uri="{FF2B5EF4-FFF2-40B4-BE49-F238E27FC236}">
                      <a16:creationId xmlns:a16="http://schemas.microsoft.com/office/drawing/2014/main" id="{AA981DAA-0981-F480-4429-CDFBDAE4D8DB}"/>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2" name="Graphic 1583">
                <a:extLst>
                  <a:ext uri="{FF2B5EF4-FFF2-40B4-BE49-F238E27FC236}">
                    <a16:creationId xmlns:a16="http://schemas.microsoft.com/office/drawing/2014/main" id="{E5927017-1F6D-75F8-E6B1-DBEE6898D8BC}"/>
                  </a:ext>
                </a:extLst>
              </p:cNvPr>
              <p:cNvGrpSpPr/>
              <p:nvPr/>
            </p:nvGrpSpPr>
            <p:grpSpPr>
              <a:xfrm>
                <a:off x="6781990" y="3789520"/>
                <a:ext cx="75628" cy="75628"/>
                <a:chOff x="6781990" y="3789520"/>
                <a:chExt cx="75628" cy="75628"/>
              </a:xfrm>
            </p:grpSpPr>
            <p:sp>
              <p:nvSpPr>
                <p:cNvPr id="18283" name="Freeform: Shape 18282">
                  <a:extLst>
                    <a:ext uri="{FF2B5EF4-FFF2-40B4-BE49-F238E27FC236}">
                      <a16:creationId xmlns:a16="http://schemas.microsoft.com/office/drawing/2014/main" id="{A22F0475-952D-3D3A-3A32-06D9701E3894}"/>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4" name="Freeform: Shape 18283">
                  <a:extLst>
                    <a:ext uri="{FF2B5EF4-FFF2-40B4-BE49-F238E27FC236}">
                      <a16:creationId xmlns:a16="http://schemas.microsoft.com/office/drawing/2014/main" id="{E3CB5178-83B6-F70A-3786-464A3D82CAFF}"/>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3" name="Graphic 1583">
                <a:extLst>
                  <a:ext uri="{FF2B5EF4-FFF2-40B4-BE49-F238E27FC236}">
                    <a16:creationId xmlns:a16="http://schemas.microsoft.com/office/drawing/2014/main" id="{5B6359B5-FEEC-3209-0A2A-660267A0BDE5}"/>
                  </a:ext>
                </a:extLst>
              </p:cNvPr>
              <p:cNvGrpSpPr/>
              <p:nvPr/>
            </p:nvGrpSpPr>
            <p:grpSpPr>
              <a:xfrm>
                <a:off x="6768845" y="3789520"/>
                <a:ext cx="75723" cy="75628"/>
                <a:chOff x="6768845" y="3789520"/>
                <a:chExt cx="75723" cy="75628"/>
              </a:xfrm>
            </p:grpSpPr>
            <p:sp>
              <p:nvSpPr>
                <p:cNvPr id="18281" name="Freeform: Shape 18280">
                  <a:extLst>
                    <a:ext uri="{FF2B5EF4-FFF2-40B4-BE49-F238E27FC236}">
                      <a16:creationId xmlns:a16="http://schemas.microsoft.com/office/drawing/2014/main" id="{68CAF795-B15F-71A6-8267-8E454E801B88}"/>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2" name="Freeform: Shape 18281">
                  <a:extLst>
                    <a:ext uri="{FF2B5EF4-FFF2-40B4-BE49-F238E27FC236}">
                      <a16:creationId xmlns:a16="http://schemas.microsoft.com/office/drawing/2014/main" id="{A9F68028-A78A-8DCE-20AF-337BC1BB59AC}"/>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4" name="Graphic 1583">
                <a:extLst>
                  <a:ext uri="{FF2B5EF4-FFF2-40B4-BE49-F238E27FC236}">
                    <a16:creationId xmlns:a16="http://schemas.microsoft.com/office/drawing/2014/main" id="{13FEF0B2-584E-35ED-7AA7-E145E009B3A5}"/>
                  </a:ext>
                </a:extLst>
              </p:cNvPr>
              <p:cNvGrpSpPr/>
              <p:nvPr/>
            </p:nvGrpSpPr>
            <p:grpSpPr>
              <a:xfrm>
                <a:off x="6443757" y="3789520"/>
                <a:ext cx="75723" cy="75628"/>
                <a:chOff x="6443757" y="3789520"/>
                <a:chExt cx="75723" cy="75628"/>
              </a:xfrm>
            </p:grpSpPr>
            <p:sp>
              <p:nvSpPr>
                <p:cNvPr id="18279" name="Freeform: Shape 18278">
                  <a:extLst>
                    <a:ext uri="{FF2B5EF4-FFF2-40B4-BE49-F238E27FC236}">
                      <a16:creationId xmlns:a16="http://schemas.microsoft.com/office/drawing/2014/main" id="{6998F200-6745-A8D3-8B8A-D9BB5B88959B}"/>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0" name="Freeform: Shape 18279">
                  <a:extLst>
                    <a:ext uri="{FF2B5EF4-FFF2-40B4-BE49-F238E27FC236}">
                      <a16:creationId xmlns:a16="http://schemas.microsoft.com/office/drawing/2014/main" id="{75D1BC13-74CD-4F8F-F0C1-2F336CA610C7}"/>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5" name="Graphic 1583">
                <a:extLst>
                  <a:ext uri="{FF2B5EF4-FFF2-40B4-BE49-F238E27FC236}">
                    <a16:creationId xmlns:a16="http://schemas.microsoft.com/office/drawing/2014/main" id="{A9130632-BBDB-2D99-AED1-B93632961130}"/>
                  </a:ext>
                </a:extLst>
              </p:cNvPr>
              <p:cNvGrpSpPr/>
              <p:nvPr/>
            </p:nvGrpSpPr>
            <p:grpSpPr>
              <a:xfrm>
                <a:off x="6430422" y="3789520"/>
                <a:ext cx="75628" cy="75628"/>
                <a:chOff x="6430422" y="3789520"/>
                <a:chExt cx="75628" cy="75628"/>
              </a:xfrm>
            </p:grpSpPr>
            <p:sp>
              <p:nvSpPr>
                <p:cNvPr id="18277" name="Freeform: Shape 18276">
                  <a:extLst>
                    <a:ext uri="{FF2B5EF4-FFF2-40B4-BE49-F238E27FC236}">
                      <a16:creationId xmlns:a16="http://schemas.microsoft.com/office/drawing/2014/main" id="{C76C6BF9-C07C-6976-A60E-F9EBF5CD9872}"/>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8" name="Freeform: Shape 18277">
                  <a:extLst>
                    <a:ext uri="{FF2B5EF4-FFF2-40B4-BE49-F238E27FC236}">
                      <a16:creationId xmlns:a16="http://schemas.microsoft.com/office/drawing/2014/main" id="{68D514EB-AAB1-7700-B753-7F39305CFC9D}"/>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6" name="Graphic 1583">
                <a:extLst>
                  <a:ext uri="{FF2B5EF4-FFF2-40B4-BE49-F238E27FC236}">
                    <a16:creationId xmlns:a16="http://schemas.microsoft.com/office/drawing/2014/main" id="{C7711145-FF30-C935-6A25-16754C83823D}"/>
                  </a:ext>
                </a:extLst>
              </p:cNvPr>
              <p:cNvGrpSpPr/>
              <p:nvPr/>
            </p:nvGrpSpPr>
            <p:grpSpPr>
              <a:xfrm>
                <a:off x="6417277" y="3789520"/>
                <a:ext cx="75723" cy="75628"/>
                <a:chOff x="6417277" y="3789520"/>
                <a:chExt cx="75723" cy="75628"/>
              </a:xfrm>
            </p:grpSpPr>
            <p:sp>
              <p:nvSpPr>
                <p:cNvPr id="18275" name="Freeform: Shape 18274">
                  <a:extLst>
                    <a:ext uri="{FF2B5EF4-FFF2-40B4-BE49-F238E27FC236}">
                      <a16:creationId xmlns:a16="http://schemas.microsoft.com/office/drawing/2014/main" id="{4D570C18-5DF5-417A-A912-10E4C4007607}"/>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6" name="Freeform: Shape 18275">
                  <a:extLst>
                    <a:ext uri="{FF2B5EF4-FFF2-40B4-BE49-F238E27FC236}">
                      <a16:creationId xmlns:a16="http://schemas.microsoft.com/office/drawing/2014/main" id="{34461F3D-0BD4-C478-A5BF-AEF4EB25FB8E}"/>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7" name="Graphic 1583">
                <a:extLst>
                  <a:ext uri="{FF2B5EF4-FFF2-40B4-BE49-F238E27FC236}">
                    <a16:creationId xmlns:a16="http://schemas.microsoft.com/office/drawing/2014/main" id="{F152D300-508D-39E0-FE44-F715ED26D3E6}"/>
                  </a:ext>
                </a:extLst>
              </p:cNvPr>
              <p:cNvGrpSpPr/>
              <p:nvPr/>
            </p:nvGrpSpPr>
            <p:grpSpPr>
              <a:xfrm>
                <a:off x="6400704" y="3746277"/>
                <a:ext cx="75723" cy="75723"/>
                <a:chOff x="6400704" y="3746277"/>
                <a:chExt cx="75723" cy="75723"/>
              </a:xfrm>
            </p:grpSpPr>
            <p:sp>
              <p:nvSpPr>
                <p:cNvPr id="18273" name="Freeform: Shape 18272">
                  <a:extLst>
                    <a:ext uri="{FF2B5EF4-FFF2-40B4-BE49-F238E27FC236}">
                      <a16:creationId xmlns:a16="http://schemas.microsoft.com/office/drawing/2014/main" id="{2BF6AE9D-B2BC-886A-733C-12D96CAD6A53}"/>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4" name="Freeform: Shape 18273">
                  <a:extLst>
                    <a:ext uri="{FF2B5EF4-FFF2-40B4-BE49-F238E27FC236}">
                      <a16:creationId xmlns:a16="http://schemas.microsoft.com/office/drawing/2014/main" id="{881E011A-6330-11B6-EAE7-F891DD5EC79D}"/>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8" name="Graphic 1583">
                <a:extLst>
                  <a:ext uri="{FF2B5EF4-FFF2-40B4-BE49-F238E27FC236}">
                    <a16:creationId xmlns:a16="http://schemas.microsoft.com/office/drawing/2014/main" id="{447597C8-9820-1289-99C2-33F63F9097BF}"/>
                  </a:ext>
                </a:extLst>
              </p:cNvPr>
              <p:cNvGrpSpPr/>
              <p:nvPr/>
            </p:nvGrpSpPr>
            <p:grpSpPr>
              <a:xfrm>
                <a:off x="6387369" y="3746277"/>
                <a:ext cx="75723" cy="75723"/>
                <a:chOff x="6387369" y="3746277"/>
                <a:chExt cx="75723" cy="75723"/>
              </a:xfrm>
            </p:grpSpPr>
            <p:sp>
              <p:nvSpPr>
                <p:cNvPr id="18271" name="Freeform: Shape 18270">
                  <a:extLst>
                    <a:ext uri="{FF2B5EF4-FFF2-40B4-BE49-F238E27FC236}">
                      <a16:creationId xmlns:a16="http://schemas.microsoft.com/office/drawing/2014/main" id="{D940DC99-0FA7-5F14-F4D5-AEF8C685E02A}"/>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2" name="Freeform: Shape 18271">
                  <a:extLst>
                    <a:ext uri="{FF2B5EF4-FFF2-40B4-BE49-F238E27FC236}">
                      <a16:creationId xmlns:a16="http://schemas.microsoft.com/office/drawing/2014/main" id="{6E89F43A-1949-B861-1CEC-F4E85EE8BFF1}"/>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29" name="Graphic 1583">
                <a:extLst>
                  <a:ext uri="{FF2B5EF4-FFF2-40B4-BE49-F238E27FC236}">
                    <a16:creationId xmlns:a16="http://schemas.microsoft.com/office/drawing/2014/main" id="{C902DFAC-F5C8-6BD9-C882-6F91B076357F}"/>
                  </a:ext>
                </a:extLst>
              </p:cNvPr>
              <p:cNvGrpSpPr/>
              <p:nvPr/>
            </p:nvGrpSpPr>
            <p:grpSpPr>
              <a:xfrm>
                <a:off x="6374320" y="3746277"/>
                <a:ext cx="75628" cy="75723"/>
                <a:chOff x="6374320" y="3746277"/>
                <a:chExt cx="75628" cy="75723"/>
              </a:xfrm>
            </p:grpSpPr>
            <p:sp>
              <p:nvSpPr>
                <p:cNvPr id="18269" name="Freeform: Shape 18268">
                  <a:extLst>
                    <a:ext uri="{FF2B5EF4-FFF2-40B4-BE49-F238E27FC236}">
                      <a16:creationId xmlns:a16="http://schemas.microsoft.com/office/drawing/2014/main" id="{37703C20-4A73-9707-87E7-C1E2A6747AF8}"/>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70" name="Freeform: Shape 18269">
                  <a:extLst>
                    <a:ext uri="{FF2B5EF4-FFF2-40B4-BE49-F238E27FC236}">
                      <a16:creationId xmlns:a16="http://schemas.microsoft.com/office/drawing/2014/main" id="{B465EDB6-D3CF-B6B7-3B1F-26B9D037825D}"/>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0" name="Graphic 1583">
                <a:extLst>
                  <a:ext uri="{FF2B5EF4-FFF2-40B4-BE49-F238E27FC236}">
                    <a16:creationId xmlns:a16="http://schemas.microsoft.com/office/drawing/2014/main" id="{AE63D439-C2D5-BE88-4E6E-7C8D04C8FAFF}"/>
                  </a:ext>
                </a:extLst>
              </p:cNvPr>
              <p:cNvGrpSpPr/>
              <p:nvPr/>
            </p:nvGrpSpPr>
            <p:grpSpPr>
              <a:xfrm>
                <a:off x="6244208" y="3746277"/>
                <a:ext cx="75723" cy="75723"/>
                <a:chOff x="6244208" y="3746277"/>
                <a:chExt cx="75723" cy="75723"/>
              </a:xfrm>
            </p:grpSpPr>
            <p:sp>
              <p:nvSpPr>
                <p:cNvPr id="18267" name="Freeform: Shape 18266">
                  <a:extLst>
                    <a:ext uri="{FF2B5EF4-FFF2-40B4-BE49-F238E27FC236}">
                      <a16:creationId xmlns:a16="http://schemas.microsoft.com/office/drawing/2014/main" id="{267862C7-5DD5-6880-1D28-572D9E00ED9D}"/>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8" name="Freeform: Shape 18267">
                  <a:extLst>
                    <a:ext uri="{FF2B5EF4-FFF2-40B4-BE49-F238E27FC236}">
                      <a16:creationId xmlns:a16="http://schemas.microsoft.com/office/drawing/2014/main" id="{A4F478E4-4A36-075F-85DE-8837D05BF0C7}"/>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1" name="Graphic 1583">
                <a:extLst>
                  <a:ext uri="{FF2B5EF4-FFF2-40B4-BE49-F238E27FC236}">
                    <a16:creationId xmlns:a16="http://schemas.microsoft.com/office/drawing/2014/main" id="{6B49FC03-B74D-5BF5-FEEE-3FD498E1C41C}"/>
                  </a:ext>
                </a:extLst>
              </p:cNvPr>
              <p:cNvGrpSpPr/>
              <p:nvPr/>
            </p:nvGrpSpPr>
            <p:grpSpPr>
              <a:xfrm>
                <a:off x="6229635" y="3746277"/>
                <a:ext cx="75628" cy="75723"/>
                <a:chOff x="6229635" y="3746277"/>
                <a:chExt cx="75628" cy="75723"/>
              </a:xfrm>
            </p:grpSpPr>
            <p:sp>
              <p:nvSpPr>
                <p:cNvPr id="18265" name="Freeform: Shape 18264">
                  <a:extLst>
                    <a:ext uri="{FF2B5EF4-FFF2-40B4-BE49-F238E27FC236}">
                      <a16:creationId xmlns:a16="http://schemas.microsoft.com/office/drawing/2014/main" id="{1F0CA8D8-AAF6-CAC4-F41D-9E736675101C}"/>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6" name="Freeform: Shape 18265">
                  <a:extLst>
                    <a:ext uri="{FF2B5EF4-FFF2-40B4-BE49-F238E27FC236}">
                      <a16:creationId xmlns:a16="http://schemas.microsoft.com/office/drawing/2014/main" id="{3F4D3DB3-D404-6A41-1BA9-915B9E6BC57E}"/>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2" name="Graphic 1583">
                <a:extLst>
                  <a:ext uri="{FF2B5EF4-FFF2-40B4-BE49-F238E27FC236}">
                    <a16:creationId xmlns:a16="http://schemas.microsoft.com/office/drawing/2014/main" id="{3EC86558-B50F-DFFD-F334-ABBEC7E57A53}"/>
                  </a:ext>
                </a:extLst>
              </p:cNvPr>
              <p:cNvGrpSpPr/>
              <p:nvPr/>
            </p:nvGrpSpPr>
            <p:grpSpPr>
              <a:xfrm>
                <a:off x="6184296" y="3746277"/>
                <a:ext cx="75723" cy="75723"/>
                <a:chOff x="6184296" y="3746277"/>
                <a:chExt cx="75723" cy="75723"/>
              </a:xfrm>
            </p:grpSpPr>
            <p:sp>
              <p:nvSpPr>
                <p:cNvPr id="18263" name="Freeform: Shape 18262">
                  <a:extLst>
                    <a:ext uri="{FF2B5EF4-FFF2-40B4-BE49-F238E27FC236}">
                      <a16:creationId xmlns:a16="http://schemas.microsoft.com/office/drawing/2014/main" id="{476B71B8-2117-B3CC-86E7-7E117F2405C7}"/>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4" name="Freeform: Shape 18263">
                  <a:extLst>
                    <a:ext uri="{FF2B5EF4-FFF2-40B4-BE49-F238E27FC236}">
                      <a16:creationId xmlns:a16="http://schemas.microsoft.com/office/drawing/2014/main" id="{116DABA4-DF6F-3DFC-737D-2FDFDFA218CD}"/>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3" name="Graphic 1583">
                <a:extLst>
                  <a:ext uri="{FF2B5EF4-FFF2-40B4-BE49-F238E27FC236}">
                    <a16:creationId xmlns:a16="http://schemas.microsoft.com/office/drawing/2014/main" id="{3ED446D1-798A-C255-2F23-29413F1E3E94}"/>
                  </a:ext>
                </a:extLst>
              </p:cNvPr>
              <p:cNvGrpSpPr/>
              <p:nvPr/>
            </p:nvGrpSpPr>
            <p:grpSpPr>
              <a:xfrm>
                <a:off x="6095618" y="3746277"/>
                <a:ext cx="75723" cy="75723"/>
                <a:chOff x="6095618" y="3746277"/>
                <a:chExt cx="75723" cy="75723"/>
              </a:xfrm>
            </p:grpSpPr>
            <p:sp>
              <p:nvSpPr>
                <p:cNvPr id="18261" name="Freeform: Shape 18260">
                  <a:extLst>
                    <a:ext uri="{FF2B5EF4-FFF2-40B4-BE49-F238E27FC236}">
                      <a16:creationId xmlns:a16="http://schemas.microsoft.com/office/drawing/2014/main" id="{8CCA897F-E679-3D14-EA02-29BBB09D7603}"/>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2" name="Freeform: Shape 18261">
                  <a:extLst>
                    <a:ext uri="{FF2B5EF4-FFF2-40B4-BE49-F238E27FC236}">
                      <a16:creationId xmlns:a16="http://schemas.microsoft.com/office/drawing/2014/main" id="{C0684E76-CB73-76EF-1F5B-283505638920}"/>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4" name="Graphic 1583">
                <a:extLst>
                  <a:ext uri="{FF2B5EF4-FFF2-40B4-BE49-F238E27FC236}">
                    <a16:creationId xmlns:a16="http://schemas.microsoft.com/office/drawing/2014/main" id="{36154A6D-9D76-5D6E-13BA-9398ED6FD975}"/>
                  </a:ext>
                </a:extLst>
              </p:cNvPr>
              <p:cNvGrpSpPr/>
              <p:nvPr/>
            </p:nvGrpSpPr>
            <p:grpSpPr>
              <a:xfrm>
                <a:off x="6086379" y="3746277"/>
                <a:ext cx="75723" cy="75723"/>
                <a:chOff x="6086379" y="3746277"/>
                <a:chExt cx="75723" cy="75723"/>
              </a:xfrm>
            </p:grpSpPr>
            <p:sp>
              <p:nvSpPr>
                <p:cNvPr id="18259" name="Freeform: Shape 18258">
                  <a:extLst>
                    <a:ext uri="{FF2B5EF4-FFF2-40B4-BE49-F238E27FC236}">
                      <a16:creationId xmlns:a16="http://schemas.microsoft.com/office/drawing/2014/main" id="{FB560404-1C29-1F98-DA98-FFB0A42F35D7}"/>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0" name="Freeform: Shape 18259">
                  <a:extLst>
                    <a:ext uri="{FF2B5EF4-FFF2-40B4-BE49-F238E27FC236}">
                      <a16:creationId xmlns:a16="http://schemas.microsoft.com/office/drawing/2014/main" id="{F20A48A1-94AD-DF0A-657F-5E7E002627BD}"/>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5" name="Graphic 1583">
                <a:extLst>
                  <a:ext uri="{FF2B5EF4-FFF2-40B4-BE49-F238E27FC236}">
                    <a16:creationId xmlns:a16="http://schemas.microsoft.com/office/drawing/2014/main" id="{92856EC4-D422-E126-296B-FC1729DA4164}"/>
                  </a:ext>
                </a:extLst>
              </p:cNvPr>
              <p:cNvGrpSpPr/>
              <p:nvPr/>
            </p:nvGrpSpPr>
            <p:grpSpPr>
              <a:xfrm>
                <a:off x="6050089" y="3687603"/>
                <a:ext cx="75723" cy="75723"/>
                <a:chOff x="6050089" y="3687603"/>
                <a:chExt cx="75723" cy="75723"/>
              </a:xfrm>
            </p:grpSpPr>
            <p:sp>
              <p:nvSpPr>
                <p:cNvPr id="18257" name="Freeform: Shape 18256">
                  <a:extLst>
                    <a:ext uri="{FF2B5EF4-FFF2-40B4-BE49-F238E27FC236}">
                      <a16:creationId xmlns:a16="http://schemas.microsoft.com/office/drawing/2014/main" id="{A222C8FF-B378-9D66-569D-C6722BB09DB4}"/>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8" name="Freeform: Shape 18257">
                  <a:extLst>
                    <a:ext uri="{FF2B5EF4-FFF2-40B4-BE49-F238E27FC236}">
                      <a16:creationId xmlns:a16="http://schemas.microsoft.com/office/drawing/2014/main" id="{97517D19-44E9-B873-937C-1AFA4630DE3C}"/>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6" name="Graphic 1583">
                <a:extLst>
                  <a:ext uri="{FF2B5EF4-FFF2-40B4-BE49-F238E27FC236}">
                    <a16:creationId xmlns:a16="http://schemas.microsoft.com/office/drawing/2014/main" id="{1658A28E-E54D-97E8-50DE-F88D18859F2B}"/>
                  </a:ext>
                </a:extLst>
              </p:cNvPr>
              <p:cNvGrpSpPr/>
              <p:nvPr/>
            </p:nvGrpSpPr>
            <p:grpSpPr>
              <a:xfrm>
                <a:off x="6040849" y="3687603"/>
                <a:ext cx="75723" cy="75723"/>
                <a:chOff x="6040849" y="3687603"/>
                <a:chExt cx="75723" cy="75723"/>
              </a:xfrm>
            </p:grpSpPr>
            <p:sp>
              <p:nvSpPr>
                <p:cNvPr id="18255" name="Freeform: Shape 18254">
                  <a:extLst>
                    <a:ext uri="{FF2B5EF4-FFF2-40B4-BE49-F238E27FC236}">
                      <a16:creationId xmlns:a16="http://schemas.microsoft.com/office/drawing/2014/main" id="{DC5FE5DE-1086-90A2-2D37-2F0829446593}"/>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6" name="Freeform: Shape 18255">
                  <a:extLst>
                    <a:ext uri="{FF2B5EF4-FFF2-40B4-BE49-F238E27FC236}">
                      <a16:creationId xmlns:a16="http://schemas.microsoft.com/office/drawing/2014/main" id="{4B31CF76-E0A7-086A-9061-302530251F87}"/>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7" name="Graphic 1583">
                <a:extLst>
                  <a:ext uri="{FF2B5EF4-FFF2-40B4-BE49-F238E27FC236}">
                    <a16:creationId xmlns:a16="http://schemas.microsoft.com/office/drawing/2014/main" id="{D7C5BB09-76FF-7E45-91F0-195EE48D88BD}"/>
                  </a:ext>
                </a:extLst>
              </p:cNvPr>
              <p:cNvGrpSpPr/>
              <p:nvPr/>
            </p:nvGrpSpPr>
            <p:grpSpPr>
              <a:xfrm>
                <a:off x="6032277" y="3578542"/>
                <a:ext cx="75723" cy="75628"/>
                <a:chOff x="6032277" y="3578542"/>
                <a:chExt cx="75723" cy="75628"/>
              </a:xfrm>
            </p:grpSpPr>
            <p:sp>
              <p:nvSpPr>
                <p:cNvPr id="18253" name="Freeform: Shape 18252">
                  <a:extLst>
                    <a:ext uri="{FF2B5EF4-FFF2-40B4-BE49-F238E27FC236}">
                      <a16:creationId xmlns:a16="http://schemas.microsoft.com/office/drawing/2014/main" id="{C9AF1F48-65AD-C080-7F6A-24CE1BCB3811}"/>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4" name="Freeform: Shape 18253">
                  <a:extLst>
                    <a:ext uri="{FF2B5EF4-FFF2-40B4-BE49-F238E27FC236}">
                      <a16:creationId xmlns:a16="http://schemas.microsoft.com/office/drawing/2014/main" id="{44DAD687-3B65-4352-E7B1-A6B4F4F479BC}"/>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8" name="Graphic 1583">
                <a:extLst>
                  <a:ext uri="{FF2B5EF4-FFF2-40B4-BE49-F238E27FC236}">
                    <a16:creationId xmlns:a16="http://schemas.microsoft.com/office/drawing/2014/main" id="{D698CE52-FC14-6638-E434-163AE9B3CD42}"/>
                  </a:ext>
                </a:extLst>
              </p:cNvPr>
              <p:cNvGrpSpPr/>
              <p:nvPr/>
            </p:nvGrpSpPr>
            <p:grpSpPr>
              <a:xfrm>
                <a:off x="6023133" y="3578542"/>
                <a:ext cx="75628" cy="75628"/>
                <a:chOff x="6023133" y="3578542"/>
                <a:chExt cx="75628" cy="75628"/>
              </a:xfrm>
            </p:grpSpPr>
            <p:sp>
              <p:nvSpPr>
                <p:cNvPr id="18251" name="Freeform: Shape 18250">
                  <a:extLst>
                    <a:ext uri="{FF2B5EF4-FFF2-40B4-BE49-F238E27FC236}">
                      <a16:creationId xmlns:a16="http://schemas.microsoft.com/office/drawing/2014/main" id="{193AEB9B-85FA-A090-5E6F-00D375607B6E}"/>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2" name="Freeform: Shape 18251">
                  <a:extLst>
                    <a:ext uri="{FF2B5EF4-FFF2-40B4-BE49-F238E27FC236}">
                      <a16:creationId xmlns:a16="http://schemas.microsoft.com/office/drawing/2014/main" id="{BE59B6CE-B6F7-90C5-4572-EA4CB602763F}"/>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239" name="Graphic 1583">
                <a:extLst>
                  <a:ext uri="{FF2B5EF4-FFF2-40B4-BE49-F238E27FC236}">
                    <a16:creationId xmlns:a16="http://schemas.microsoft.com/office/drawing/2014/main" id="{F8AB14E4-281F-0D7A-AA9C-A5B1401005E8}"/>
                  </a:ext>
                </a:extLst>
              </p:cNvPr>
              <p:cNvGrpSpPr/>
              <p:nvPr/>
            </p:nvGrpSpPr>
            <p:grpSpPr>
              <a:xfrm>
                <a:off x="5692711" y="3553300"/>
                <a:ext cx="75723" cy="75628"/>
                <a:chOff x="5692711" y="3553300"/>
                <a:chExt cx="75723" cy="75628"/>
              </a:xfrm>
            </p:grpSpPr>
            <p:sp>
              <p:nvSpPr>
                <p:cNvPr id="18249" name="Freeform: Shape 18248">
                  <a:extLst>
                    <a:ext uri="{FF2B5EF4-FFF2-40B4-BE49-F238E27FC236}">
                      <a16:creationId xmlns:a16="http://schemas.microsoft.com/office/drawing/2014/main" id="{D19675D9-FADC-BC9C-C258-E72836E23CD0}"/>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50" name="Freeform: Shape 18249">
                  <a:extLst>
                    <a:ext uri="{FF2B5EF4-FFF2-40B4-BE49-F238E27FC236}">
                      <a16:creationId xmlns:a16="http://schemas.microsoft.com/office/drawing/2014/main" id="{7D1B3BEA-EEF5-A1D9-9F0F-49BE342C47DD}"/>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1" name="Graphic 1583">
                <a:extLst>
                  <a:ext uri="{FF2B5EF4-FFF2-40B4-BE49-F238E27FC236}">
                    <a16:creationId xmlns:a16="http://schemas.microsoft.com/office/drawing/2014/main" id="{A2C9B7BA-9C9B-AD6A-1575-AB61718B68CD}"/>
                  </a:ext>
                </a:extLst>
              </p:cNvPr>
              <p:cNvGrpSpPr/>
              <p:nvPr/>
            </p:nvGrpSpPr>
            <p:grpSpPr>
              <a:xfrm>
                <a:off x="5662993" y="3515391"/>
                <a:ext cx="75628" cy="75723"/>
                <a:chOff x="5662993" y="3515391"/>
                <a:chExt cx="75628" cy="75723"/>
              </a:xfrm>
            </p:grpSpPr>
            <p:sp>
              <p:nvSpPr>
                <p:cNvPr id="18247" name="Freeform: Shape 18246">
                  <a:extLst>
                    <a:ext uri="{FF2B5EF4-FFF2-40B4-BE49-F238E27FC236}">
                      <a16:creationId xmlns:a16="http://schemas.microsoft.com/office/drawing/2014/main" id="{A5F937B8-5415-2B35-0CD0-20B2029CBDA0}"/>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8" name="Freeform: Shape 18247">
                  <a:extLst>
                    <a:ext uri="{FF2B5EF4-FFF2-40B4-BE49-F238E27FC236}">
                      <a16:creationId xmlns:a16="http://schemas.microsoft.com/office/drawing/2014/main" id="{A1B41840-9AF7-7092-2EC0-028F10734ED0}"/>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2" name="Graphic 1583">
                <a:extLst>
                  <a:ext uri="{FF2B5EF4-FFF2-40B4-BE49-F238E27FC236}">
                    <a16:creationId xmlns:a16="http://schemas.microsoft.com/office/drawing/2014/main" id="{7ECFB27D-583A-0060-9FE3-5EF1D0A2ADA9}"/>
                  </a:ext>
                </a:extLst>
              </p:cNvPr>
              <p:cNvGrpSpPr/>
              <p:nvPr/>
            </p:nvGrpSpPr>
            <p:grpSpPr>
              <a:xfrm>
                <a:off x="5648038" y="3515391"/>
                <a:ext cx="75628" cy="75723"/>
                <a:chOff x="5648038" y="3515391"/>
                <a:chExt cx="75628" cy="75723"/>
              </a:xfrm>
            </p:grpSpPr>
            <p:sp>
              <p:nvSpPr>
                <p:cNvPr id="18245" name="Freeform: Shape 18244">
                  <a:extLst>
                    <a:ext uri="{FF2B5EF4-FFF2-40B4-BE49-F238E27FC236}">
                      <a16:creationId xmlns:a16="http://schemas.microsoft.com/office/drawing/2014/main" id="{2239EA5C-36CF-304A-1A08-4A07616B44CE}"/>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6" name="Freeform: Shape 18245">
                  <a:extLst>
                    <a:ext uri="{FF2B5EF4-FFF2-40B4-BE49-F238E27FC236}">
                      <a16:creationId xmlns:a16="http://schemas.microsoft.com/office/drawing/2014/main" id="{B98233F8-C4D6-1264-9436-8EC538327AF8}"/>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3" name="Graphic 1583">
                <a:extLst>
                  <a:ext uri="{FF2B5EF4-FFF2-40B4-BE49-F238E27FC236}">
                    <a16:creationId xmlns:a16="http://schemas.microsoft.com/office/drawing/2014/main" id="{155D20D9-7C97-01AF-FE5C-BE649C87AC19}"/>
                  </a:ext>
                </a:extLst>
              </p:cNvPr>
              <p:cNvGrpSpPr/>
              <p:nvPr/>
            </p:nvGrpSpPr>
            <p:grpSpPr>
              <a:xfrm>
                <a:off x="5632894" y="3474433"/>
                <a:ext cx="75628" cy="75628"/>
                <a:chOff x="5632894" y="3474433"/>
                <a:chExt cx="75628" cy="75628"/>
              </a:xfrm>
            </p:grpSpPr>
            <p:sp>
              <p:nvSpPr>
                <p:cNvPr id="18243" name="Freeform: Shape 18242">
                  <a:extLst>
                    <a:ext uri="{FF2B5EF4-FFF2-40B4-BE49-F238E27FC236}">
                      <a16:creationId xmlns:a16="http://schemas.microsoft.com/office/drawing/2014/main" id="{560502EA-EADF-4F49-80F7-809CFC2D4997}"/>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4" name="Freeform: Shape 18243">
                  <a:extLst>
                    <a:ext uri="{FF2B5EF4-FFF2-40B4-BE49-F238E27FC236}">
                      <a16:creationId xmlns:a16="http://schemas.microsoft.com/office/drawing/2014/main" id="{DDE43D69-C006-7663-A653-A82AD25957DC}"/>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4" name="Graphic 1583">
                <a:extLst>
                  <a:ext uri="{FF2B5EF4-FFF2-40B4-BE49-F238E27FC236}">
                    <a16:creationId xmlns:a16="http://schemas.microsoft.com/office/drawing/2014/main" id="{8229F4E0-0F41-265E-B579-A97BDC32B430}"/>
                  </a:ext>
                </a:extLst>
              </p:cNvPr>
              <p:cNvGrpSpPr/>
              <p:nvPr/>
            </p:nvGrpSpPr>
            <p:grpSpPr>
              <a:xfrm>
                <a:off x="5429154" y="3396614"/>
                <a:ext cx="75723" cy="75628"/>
                <a:chOff x="5429154" y="3396614"/>
                <a:chExt cx="75723" cy="75628"/>
              </a:xfrm>
            </p:grpSpPr>
            <p:sp>
              <p:nvSpPr>
                <p:cNvPr id="18241" name="Freeform: Shape 18240">
                  <a:extLst>
                    <a:ext uri="{FF2B5EF4-FFF2-40B4-BE49-F238E27FC236}">
                      <a16:creationId xmlns:a16="http://schemas.microsoft.com/office/drawing/2014/main" id="{BC1512C8-5B84-B7C6-48C4-0FC079F19CA2}"/>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2" name="Freeform: Shape 18241">
                  <a:extLst>
                    <a:ext uri="{FF2B5EF4-FFF2-40B4-BE49-F238E27FC236}">
                      <a16:creationId xmlns:a16="http://schemas.microsoft.com/office/drawing/2014/main" id="{5E081DAD-BC78-F422-A0E0-C00B62562D24}"/>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5" name="Graphic 1583">
                <a:extLst>
                  <a:ext uri="{FF2B5EF4-FFF2-40B4-BE49-F238E27FC236}">
                    <a16:creationId xmlns:a16="http://schemas.microsoft.com/office/drawing/2014/main" id="{A41A7DE7-F844-6826-198B-CCEC719C2981}"/>
                  </a:ext>
                </a:extLst>
              </p:cNvPr>
              <p:cNvGrpSpPr/>
              <p:nvPr/>
            </p:nvGrpSpPr>
            <p:grpSpPr>
              <a:xfrm>
                <a:off x="5315235" y="3375278"/>
                <a:ext cx="75628" cy="75723"/>
                <a:chOff x="5315235" y="3375278"/>
                <a:chExt cx="75628" cy="75723"/>
              </a:xfrm>
            </p:grpSpPr>
            <p:sp>
              <p:nvSpPr>
                <p:cNvPr id="14631" name="Freeform: Shape 14630">
                  <a:extLst>
                    <a:ext uri="{FF2B5EF4-FFF2-40B4-BE49-F238E27FC236}">
                      <a16:creationId xmlns:a16="http://schemas.microsoft.com/office/drawing/2014/main" id="{7ABC825F-7531-CAA4-B35A-B16F0676923C}"/>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0" name="Freeform: Shape 18239">
                  <a:extLst>
                    <a:ext uri="{FF2B5EF4-FFF2-40B4-BE49-F238E27FC236}">
                      <a16:creationId xmlns:a16="http://schemas.microsoft.com/office/drawing/2014/main" id="{03F614F3-B43F-A398-B363-F923F5D3BFA8}"/>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6" name="Graphic 1583">
                <a:extLst>
                  <a:ext uri="{FF2B5EF4-FFF2-40B4-BE49-F238E27FC236}">
                    <a16:creationId xmlns:a16="http://schemas.microsoft.com/office/drawing/2014/main" id="{1D106E56-202E-279D-818B-42792418C629}"/>
                  </a:ext>
                </a:extLst>
              </p:cNvPr>
              <p:cNvGrpSpPr/>
              <p:nvPr/>
            </p:nvGrpSpPr>
            <p:grpSpPr>
              <a:xfrm>
                <a:off x="5284850" y="3341560"/>
                <a:ext cx="75628" cy="75723"/>
                <a:chOff x="5284850" y="3341560"/>
                <a:chExt cx="75628" cy="75723"/>
              </a:xfrm>
            </p:grpSpPr>
            <p:sp>
              <p:nvSpPr>
                <p:cNvPr id="14573" name="Freeform: Shape 14572">
                  <a:extLst>
                    <a:ext uri="{FF2B5EF4-FFF2-40B4-BE49-F238E27FC236}">
                      <a16:creationId xmlns:a16="http://schemas.microsoft.com/office/drawing/2014/main" id="{34E16D14-BCA3-DA66-C281-F62A1BD9195E}"/>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4" name="Freeform: Shape 14573">
                  <a:extLst>
                    <a:ext uri="{FF2B5EF4-FFF2-40B4-BE49-F238E27FC236}">
                      <a16:creationId xmlns:a16="http://schemas.microsoft.com/office/drawing/2014/main" id="{0A8C4B32-1836-65BC-CBF3-56F03A0723EC}"/>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7" name="Graphic 1583">
                <a:extLst>
                  <a:ext uri="{FF2B5EF4-FFF2-40B4-BE49-F238E27FC236}">
                    <a16:creationId xmlns:a16="http://schemas.microsoft.com/office/drawing/2014/main" id="{0C455A81-07BD-0E8C-7F91-7E4495777ECA}"/>
                  </a:ext>
                </a:extLst>
              </p:cNvPr>
              <p:cNvGrpSpPr/>
              <p:nvPr/>
            </p:nvGrpSpPr>
            <p:grpSpPr>
              <a:xfrm>
                <a:off x="5269039" y="3313842"/>
                <a:ext cx="75628" cy="75723"/>
                <a:chOff x="5269039" y="3313842"/>
                <a:chExt cx="75628" cy="75723"/>
              </a:xfrm>
            </p:grpSpPr>
            <p:sp>
              <p:nvSpPr>
                <p:cNvPr id="14571" name="Freeform: Shape 14570">
                  <a:extLst>
                    <a:ext uri="{FF2B5EF4-FFF2-40B4-BE49-F238E27FC236}">
                      <a16:creationId xmlns:a16="http://schemas.microsoft.com/office/drawing/2014/main" id="{19E72CA5-5B04-AC1F-151E-EE7B85DD7C90}"/>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2" name="Freeform: Shape 14571">
                  <a:extLst>
                    <a:ext uri="{FF2B5EF4-FFF2-40B4-BE49-F238E27FC236}">
                      <a16:creationId xmlns:a16="http://schemas.microsoft.com/office/drawing/2014/main" id="{16F6EA8E-DF40-7D50-7F12-3360BB5C38BC}"/>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8" name="Graphic 1583">
                <a:extLst>
                  <a:ext uri="{FF2B5EF4-FFF2-40B4-BE49-F238E27FC236}">
                    <a16:creationId xmlns:a16="http://schemas.microsoft.com/office/drawing/2014/main" id="{12ED78CC-CFFA-C00E-8D11-D37E9980892C}"/>
                  </a:ext>
                </a:extLst>
              </p:cNvPr>
              <p:cNvGrpSpPr/>
              <p:nvPr/>
            </p:nvGrpSpPr>
            <p:grpSpPr>
              <a:xfrm>
                <a:off x="5246941" y="3293554"/>
                <a:ext cx="75723" cy="75628"/>
                <a:chOff x="5246941" y="3293554"/>
                <a:chExt cx="75723" cy="75628"/>
              </a:xfrm>
            </p:grpSpPr>
            <p:sp>
              <p:nvSpPr>
                <p:cNvPr id="14569" name="Freeform: Shape 14568">
                  <a:extLst>
                    <a:ext uri="{FF2B5EF4-FFF2-40B4-BE49-F238E27FC236}">
                      <a16:creationId xmlns:a16="http://schemas.microsoft.com/office/drawing/2014/main" id="{D9E25EB4-1978-56F1-5DC5-D92FE5606ACE}"/>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70" name="Freeform: Shape 14569">
                  <a:extLst>
                    <a:ext uri="{FF2B5EF4-FFF2-40B4-BE49-F238E27FC236}">
                      <a16:creationId xmlns:a16="http://schemas.microsoft.com/office/drawing/2014/main" id="{A4395E8F-014D-A9CE-ED03-1547602B2F95}"/>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29" name="Graphic 1583">
                <a:extLst>
                  <a:ext uri="{FF2B5EF4-FFF2-40B4-BE49-F238E27FC236}">
                    <a16:creationId xmlns:a16="http://schemas.microsoft.com/office/drawing/2014/main" id="{5B24BB60-8041-0DC6-0FBF-342598A09DDC}"/>
                  </a:ext>
                </a:extLst>
              </p:cNvPr>
              <p:cNvGrpSpPr/>
              <p:nvPr/>
            </p:nvGrpSpPr>
            <p:grpSpPr>
              <a:xfrm>
                <a:off x="5179599" y="3270122"/>
                <a:ext cx="75723" cy="75723"/>
                <a:chOff x="5179599" y="3270122"/>
                <a:chExt cx="75723" cy="75723"/>
              </a:xfrm>
            </p:grpSpPr>
            <p:sp>
              <p:nvSpPr>
                <p:cNvPr id="14567" name="Freeform: Shape 14566">
                  <a:extLst>
                    <a:ext uri="{FF2B5EF4-FFF2-40B4-BE49-F238E27FC236}">
                      <a16:creationId xmlns:a16="http://schemas.microsoft.com/office/drawing/2014/main" id="{7B59A5F7-4920-0B1E-F39E-E51D25E738EC}"/>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8" name="Freeform: Shape 14567">
                  <a:extLst>
                    <a:ext uri="{FF2B5EF4-FFF2-40B4-BE49-F238E27FC236}">
                      <a16:creationId xmlns:a16="http://schemas.microsoft.com/office/drawing/2014/main" id="{31CD2206-2832-1628-BAA8-9EE473ACB499}"/>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0" name="Graphic 1583">
                <a:extLst>
                  <a:ext uri="{FF2B5EF4-FFF2-40B4-BE49-F238E27FC236}">
                    <a16:creationId xmlns:a16="http://schemas.microsoft.com/office/drawing/2014/main" id="{F132FDF4-877A-6B22-22E1-3A48AB720ADB}"/>
                  </a:ext>
                </a:extLst>
              </p:cNvPr>
              <p:cNvGrpSpPr/>
              <p:nvPr/>
            </p:nvGrpSpPr>
            <p:grpSpPr>
              <a:xfrm>
                <a:off x="4918233" y="3223926"/>
                <a:ext cx="75628" cy="75628"/>
                <a:chOff x="4918233" y="3223926"/>
                <a:chExt cx="75628" cy="75628"/>
              </a:xfrm>
            </p:grpSpPr>
            <p:sp>
              <p:nvSpPr>
                <p:cNvPr id="14565" name="Freeform: Shape 14564">
                  <a:extLst>
                    <a:ext uri="{FF2B5EF4-FFF2-40B4-BE49-F238E27FC236}">
                      <a16:creationId xmlns:a16="http://schemas.microsoft.com/office/drawing/2014/main" id="{D2BDBB4D-EDC5-3DEA-3B1D-F2F749D0F17C}"/>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6" name="Freeform: Shape 14565">
                  <a:extLst>
                    <a:ext uri="{FF2B5EF4-FFF2-40B4-BE49-F238E27FC236}">
                      <a16:creationId xmlns:a16="http://schemas.microsoft.com/office/drawing/2014/main" id="{6E16E237-767A-464E-C06C-31FE0F4CD62A}"/>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1" name="Graphic 1583">
                <a:extLst>
                  <a:ext uri="{FF2B5EF4-FFF2-40B4-BE49-F238E27FC236}">
                    <a16:creationId xmlns:a16="http://schemas.microsoft.com/office/drawing/2014/main" id="{46E675E4-DBF6-C3AC-E4E0-A1DF63304002}"/>
                  </a:ext>
                </a:extLst>
              </p:cNvPr>
              <p:cNvGrpSpPr/>
              <p:nvPr/>
            </p:nvGrpSpPr>
            <p:grpSpPr>
              <a:xfrm>
                <a:off x="4912137" y="3214782"/>
                <a:ext cx="75628" cy="75723"/>
                <a:chOff x="4912137" y="3214782"/>
                <a:chExt cx="75628" cy="75723"/>
              </a:xfrm>
            </p:grpSpPr>
            <p:sp>
              <p:nvSpPr>
                <p:cNvPr id="14563" name="Freeform: Shape 14562">
                  <a:extLst>
                    <a:ext uri="{FF2B5EF4-FFF2-40B4-BE49-F238E27FC236}">
                      <a16:creationId xmlns:a16="http://schemas.microsoft.com/office/drawing/2014/main" id="{DCA9CCDA-FBE6-A6C8-FD1A-D0D8CFFE2066}"/>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4" name="Freeform: Shape 14563">
                  <a:extLst>
                    <a:ext uri="{FF2B5EF4-FFF2-40B4-BE49-F238E27FC236}">
                      <a16:creationId xmlns:a16="http://schemas.microsoft.com/office/drawing/2014/main" id="{ACAF0D7C-80CC-22A8-534B-9F2156A1D7E6}"/>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2" name="Graphic 1583">
                <a:extLst>
                  <a:ext uri="{FF2B5EF4-FFF2-40B4-BE49-F238E27FC236}">
                    <a16:creationId xmlns:a16="http://schemas.microsoft.com/office/drawing/2014/main" id="{7AA63C27-F2B0-2B0F-5984-A376DAF10C45}"/>
                  </a:ext>
                </a:extLst>
              </p:cNvPr>
              <p:cNvGrpSpPr/>
              <p:nvPr/>
            </p:nvGrpSpPr>
            <p:grpSpPr>
              <a:xfrm>
                <a:off x="4907470" y="3206590"/>
                <a:ext cx="75723" cy="75723"/>
                <a:chOff x="4907470" y="3206590"/>
                <a:chExt cx="75723" cy="75723"/>
              </a:xfrm>
            </p:grpSpPr>
            <p:sp>
              <p:nvSpPr>
                <p:cNvPr id="14561" name="Freeform: Shape 14560">
                  <a:extLst>
                    <a:ext uri="{FF2B5EF4-FFF2-40B4-BE49-F238E27FC236}">
                      <a16:creationId xmlns:a16="http://schemas.microsoft.com/office/drawing/2014/main" id="{FB64A15F-07DD-B88C-6900-AB99AABBAE54}"/>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2" name="Freeform: Shape 14561">
                  <a:extLst>
                    <a:ext uri="{FF2B5EF4-FFF2-40B4-BE49-F238E27FC236}">
                      <a16:creationId xmlns:a16="http://schemas.microsoft.com/office/drawing/2014/main" id="{F2BC4CF7-540A-6C0E-30AD-007E9B1A60C9}"/>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3" name="Graphic 1583">
                <a:extLst>
                  <a:ext uri="{FF2B5EF4-FFF2-40B4-BE49-F238E27FC236}">
                    <a16:creationId xmlns:a16="http://schemas.microsoft.com/office/drawing/2014/main" id="{F2A443E1-4C79-B206-44F8-56693E0BB7A4}"/>
                  </a:ext>
                </a:extLst>
              </p:cNvPr>
              <p:cNvGrpSpPr/>
              <p:nvPr/>
            </p:nvGrpSpPr>
            <p:grpSpPr>
              <a:xfrm>
                <a:off x="4888420" y="3176968"/>
                <a:ext cx="75628" cy="75628"/>
                <a:chOff x="4888420" y="3176968"/>
                <a:chExt cx="75628" cy="75628"/>
              </a:xfrm>
            </p:grpSpPr>
            <p:sp>
              <p:nvSpPr>
                <p:cNvPr id="14559" name="Freeform: Shape 14558">
                  <a:extLst>
                    <a:ext uri="{FF2B5EF4-FFF2-40B4-BE49-F238E27FC236}">
                      <a16:creationId xmlns:a16="http://schemas.microsoft.com/office/drawing/2014/main" id="{2018667C-1B9B-EE52-A41F-129F40AC3501}"/>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60" name="Freeform: Shape 14559">
                  <a:extLst>
                    <a:ext uri="{FF2B5EF4-FFF2-40B4-BE49-F238E27FC236}">
                      <a16:creationId xmlns:a16="http://schemas.microsoft.com/office/drawing/2014/main" id="{93E8C172-2F4F-20BE-9D37-60BDEA66A71A}"/>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4" name="Graphic 1583">
                <a:extLst>
                  <a:ext uri="{FF2B5EF4-FFF2-40B4-BE49-F238E27FC236}">
                    <a16:creationId xmlns:a16="http://schemas.microsoft.com/office/drawing/2014/main" id="{671F6675-ED57-DC41-7778-8F84A27BD43E}"/>
                  </a:ext>
                </a:extLst>
              </p:cNvPr>
              <p:cNvGrpSpPr/>
              <p:nvPr/>
            </p:nvGrpSpPr>
            <p:grpSpPr>
              <a:xfrm>
                <a:off x="4855463" y="3132867"/>
                <a:ext cx="75723" cy="75723"/>
                <a:chOff x="4855463" y="3132867"/>
                <a:chExt cx="75723" cy="75723"/>
              </a:xfrm>
            </p:grpSpPr>
            <p:sp>
              <p:nvSpPr>
                <p:cNvPr id="14557" name="Freeform: Shape 14556">
                  <a:extLst>
                    <a:ext uri="{FF2B5EF4-FFF2-40B4-BE49-F238E27FC236}">
                      <a16:creationId xmlns:a16="http://schemas.microsoft.com/office/drawing/2014/main" id="{ABFCCD07-AA27-29B6-2038-16973708D93C}"/>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8" name="Freeform: Shape 14557">
                  <a:extLst>
                    <a:ext uri="{FF2B5EF4-FFF2-40B4-BE49-F238E27FC236}">
                      <a16:creationId xmlns:a16="http://schemas.microsoft.com/office/drawing/2014/main" id="{A06B1947-6EE7-0E69-3969-06FBEBBCCA6B}"/>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5" name="Graphic 1583">
                <a:extLst>
                  <a:ext uri="{FF2B5EF4-FFF2-40B4-BE49-F238E27FC236}">
                    <a16:creationId xmlns:a16="http://schemas.microsoft.com/office/drawing/2014/main" id="{2E480513-0768-9C84-F15D-5C74307A8C83}"/>
                  </a:ext>
                </a:extLst>
              </p:cNvPr>
              <p:cNvGrpSpPr/>
              <p:nvPr/>
            </p:nvGrpSpPr>
            <p:grpSpPr>
              <a:xfrm>
                <a:off x="4834603" y="3097339"/>
                <a:ext cx="75723" cy="75628"/>
                <a:chOff x="4834603" y="3097339"/>
                <a:chExt cx="75723" cy="75628"/>
              </a:xfrm>
            </p:grpSpPr>
            <p:sp>
              <p:nvSpPr>
                <p:cNvPr id="14555" name="Freeform: Shape 14554">
                  <a:extLst>
                    <a:ext uri="{FF2B5EF4-FFF2-40B4-BE49-F238E27FC236}">
                      <a16:creationId xmlns:a16="http://schemas.microsoft.com/office/drawing/2014/main" id="{4025C9D0-C940-1C64-2D79-9F1661D69327}"/>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6" name="Freeform: Shape 14555">
                  <a:extLst>
                    <a:ext uri="{FF2B5EF4-FFF2-40B4-BE49-F238E27FC236}">
                      <a16:creationId xmlns:a16="http://schemas.microsoft.com/office/drawing/2014/main" id="{40020DEC-346E-60AE-413F-9A13E8551D32}"/>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6" name="Graphic 1583">
                <a:extLst>
                  <a:ext uri="{FF2B5EF4-FFF2-40B4-BE49-F238E27FC236}">
                    <a16:creationId xmlns:a16="http://schemas.microsoft.com/office/drawing/2014/main" id="{6CD49C82-53F0-0576-EEAD-BB9B5A0E728D}"/>
                  </a:ext>
                </a:extLst>
              </p:cNvPr>
              <p:cNvGrpSpPr/>
              <p:nvPr/>
            </p:nvGrpSpPr>
            <p:grpSpPr>
              <a:xfrm>
                <a:off x="4626101" y="3097339"/>
                <a:ext cx="75628" cy="75628"/>
                <a:chOff x="4626101" y="3097339"/>
                <a:chExt cx="75628" cy="75628"/>
              </a:xfrm>
            </p:grpSpPr>
            <p:sp>
              <p:nvSpPr>
                <p:cNvPr id="14553" name="Freeform: Shape 14552">
                  <a:extLst>
                    <a:ext uri="{FF2B5EF4-FFF2-40B4-BE49-F238E27FC236}">
                      <a16:creationId xmlns:a16="http://schemas.microsoft.com/office/drawing/2014/main" id="{5F1F8598-B35D-1423-4E02-916198B210E0}"/>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4" name="Freeform: Shape 14553">
                  <a:extLst>
                    <a:ext uri="{FF2B5EF4-FFF2-40B4-BE49-F238E27FC236}">
                      <a16:creationId xmlns:a16="http://schemas.microsoft.com/office/drawing/2014/main" id="{7BC44ED1-A29A-2F29-73DA-6839A7735D0F}"/>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7" name="Graphic 1583">
                <a:extLst>
                  <a:ext uri="{FF2B5EF4-FFF2-40B4-BE49-F238E27FC236}">
                    <a16:creationId xmlns:a16="http://schemas.microsoft.com/office/drawing/2014/main" id="{3223D006-011E-3C1C-1E41-FE2436157581}"/>
                  </a:ext>
                </a:extLst>
              </p:cNvPr>
              <p:cNvGrpSpPr/>
              <p:nvPr/>
            </p:nvGrpSpPr>
            <p:grpSpPr>
              <a:xfrm>
                <a:off x="4555807" y="3053524"/>
                <a:ext cx="75723" cy="75723"/>
                <a:chOff x="4555807" y="3053524"/>
                <a:chExt cx="75723" cy="75723"/>
              </a:xfrm>
            </p:grpSpPr>
            <p:sp>
              <p:nvSpPr>
                <p:cNvPr id="14551" name="Freeform: Shape 14550">
                  <a:extLst>
                    <a:ext uri="{FF2B5EF4-FFF2-40B4-BE49-F238E27FC236}">
                      <a16:creationId xmlns:a16="http://schemas.microsoft.com/office/drawing/2014/main" id="{F025F0D7-DE67-1E70-2A23-7ED8DF4C4ED7}"/>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2" name="Freeform: Shape 14551">
                  <a:extLst>
                    <a:ext uri="{FF2B5EF4-FFF2-40B4-BE49-F238E27FC236}">
                      <a16:creationId xmlns:a16="http://schemas.microsoft.com/office/drawing/2014/main" id="{B354F6D2-A4E6-F89C-A273-808BB45840B2}"/>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8" name="Graphic 1583">
                <a:extLst>
                  <a:ext uri="{FF2B5EF4-FFF2-40B4-BE49-F238E27FC236}">
                    <a16:creationId xmlns:a16="http://schemas.microsoft.com/office/drawing/2014/main" id="{39D61EA9-5248-CFCD-DCCC-E51BD109650C}"/>
                  </a:ext>
                </a:extLst>
              </p:cNvPr>
              <p:cNvGrpSpPr/>
              <p:nvPr/>
            </p:nvGrpSpPr>
            <p:grpSpPr>
              <a:xfrm>
                <a:off x="4504753" y="2948939"/>
                <a:ext cx="75628" cy="75723"/>
                <a:chOff x="4504753" y="2948939"/>
                <a:chExt cx="75628" cy="75723"/>
              </a:xfrm>
            </p:grpSpPr>
            <p:sp>
              <p:nvSpPr>
                <p:cNvPr id="14549" name="Freeform: Shape 14548">
                  <a:extLst>
                    <a:ext uri="{FF2B5EF4-FFF2-40B4-BE49-F238E27FC236}">
                      <a16:creationId xmlns:a16="http://schemas.microsoft.com/office/drawing/2014/main" id="{D0874AB3-8D2F-CD4E-4A00-C7203AA3AA1A}"/>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50" name="Freeform: Shape 14549">
                  <a:extLst>
                    <a:ext uri="{FF2B5EF4-FFF2-40B4-BE49-F238E27FC236}">
                      <a16:creationId xmlns:a16="http://schemas.microsoft.com/office/drawing/2014/main" id="{364F2A2B-2B6B-6E1F-E380-948058685011}"/>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39" name="Graphic 1583">
                <a:extLst>
                  <a:ext uri="{FF2B5EF4-FFF2-40B4-BE49-F238E27FC236}">
                    <a16:creationId xmlns:a16="http://schemas.microsoft.com/office/drawing/2014/main" id="{F3167DBA-D2C9-1FF7-9573-6B1E053139EA}"/>
                  </a:ext>
                </a:extLst>
              </p:cNvPr>
              <p:cNvGrpSpPr/>
              <p:nvPr/>
            </p:nvGrpSpPr>
            <p:grpSpPr>
              <a:xfrm>
                <a:off x="4510277" y="2958369"/>
                <a:ext cx="75628" cy="75723"/>
                <a:chOff x="4510277" y="2958369"/>
                <a:chExt cx="75628" cy="75723"/>
              </a:xfrm>
            </p:grpSpPr>
            <p:sp>
              <p:nvSpPr>
                <p:cNvPr id="14547" name="Freeform: Shape 14546">
                  <a:extLst>
                    <a:ext uri="{FF2B5EF4-FFF2-40B4-BE49-F238E27FC236}">
                      <a16:creationId xmlns:a16="http://schemas.microsoft.com/office/drawing/2014/main" id="{FEA2B1B8-30BA-31E7-44BC-0915327D551D}"/>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8" name="Freeform: Shape 14547">
                  <a:extLst>
                    <a:ext uri="{FF2B5EF4-FFF2-40B4-BE49-F238E27FC236}">
                      <a16:creationId xmlns:a16="http://schemas.microsoft.com/office/drawing/2014/main" id="{054D75EE-34F6-4F06-C81A-0772348BF3F9}"/>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0" name="Graphic 1583">
                <a:extLst>
                  <a:ext uri="{FF2B5EF4-FFF2-40B4-BE49-F238E27FC236}">
                    <a16:creationId xmlns:a16="http://schemas.microsoft.com/office/drawing/2014/main" id="{A11C52BD-C41D-D5D2-E76A-224E5C2A82DD}"/>
                  </a:ext>
                </a:extLst>
              </p:cNvPr>
              <p:cNvGrpSpPr/>
              <p:nvPr/>
            </p:nvGrpSpPr>
            <p:grpSpPr>
              <a:xfrm>
                <a:off x="4517992" y="2970561"/>
                <a:ext cx="75723" cy="75628"/>
                <a:chOff x="4517992" y="2970561"/>
                <a:chExt cx="75723" cy="75628"/>
              </a:xfrm>
            </p:grpSpPr>
            <p:sp>
              <p:nvSpPr>
                <p:cNvPr id="14545" name="Freeform: Shape 14544">
                  <a:extLst>
                    <a:ext uri="{FF2B5EF4-FFF2-40B4-BE49-F238E27FC236}">
                      <a16:creationId xmlns:a16="http://schemas.microsoft.com/office/drawing/2014/main" id="{E27CB232-368B-9751-110E-8F4EBA358AD3}"/>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6" name="Freeform: Shape 14545">
                  <a:extLst>
                    <a:ext uri="{FF2B5EF4-FFF2-40B4-BE49-F238E27FC236}">
                      <a16:creationId xmlns:a16="http://schemas.microsoft.com/office/drawing/2014/main" id="{B477DF62-B2A9-4678-FBE5-069B6A4581CD}"/>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1" name="Graphic 1583">
                <a:extLst>
                  <a:ext uri="{FF2B5EF4-FFF2-40B4-BE49-F238E27FC236}">
                    <a16:creationId xmlns:a16="http://schemas.microsoft.com/office/drawing/2014/main" id="{C23C7435-1DBB-081E-6B9A-71DAE8A4CC7C}"/>
                  </a:ext>
                </a:extLst>
              </p:cNvPr>
              <p:cNvGrpSpPr/>
              <p:nvPr/>
            </p:nvGrpSpPr>
            <p:grpSpPr>
              <a:xfrm>
                <a:off x="4525708" y="2982277"/>
                <a:ext cx="75723" cy="75628"/>
                <a:chOff x="4525708" y="2982277"/>
                <a:chExt cx="75723" cy="75628"/>
              </a:xfrm>
            </p:grpSpPr>
            <p:sp>
              <p:nvSpPr>
                <p:cNvPr id="14543" name="Freeform: Shape 14542">
                  <a:extLst>
                    <a:ext uri="{FF2B5EF4-FFF2-40B4-BE49-F238E27FC236}">
                      <a16:creationId xmlns:a16="http://schemas.microsoft.com/office/drawing/2014/main" id="{A499AED2-E264-BF92-DE1B-DBDC548E51DF}"/>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4" name="Freeform: Shape 14543">
                  <a:extLst>
                    <a:ext uri="{FF2B5EF4-FFF2-40B4-BE49-F238E27FC236}">
                      <a16:creationId xmlns:a16="http://schemas.microsoft.com/office/drawing/2014/main" id="{1C479E07-E7BC-38AA-A862-FA6C8A780C20}"/>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2" name="Graphic 1583">
                <a:extLst>
                  <a:ext uri="{FF2B5EF4-FFF2-40B4-BE49-F238E27FC236}">
                    <a16:creationId xmlns:a16="http://schemas.microsoft.com/office/drawing/2014/main" id="{B56ECBF4-A1F1-5625-284F-200753D358A5}"/>
                  </a:ext>
                </a:extLst>
              </p:cNvPr>
              <p:cNvGrpSpPr/>
              <p:nvPr/>
            </p:nvGrpSpPr>
            <p:grpSpPr>
              <a:xfrm>
                <a:off x="4534280" y="2993516"/>
                <a:ext cx="75628" cy="75628"/>
                <a:chOff x="4534280" y="2993516"/>
                <a:chExt cx="75628" cy="75628"/>
              </a:xfrm>
            </p:grpSpPr>
            <p:sp>
              <p:nvSpPr>
                <p:cNvPr id="14541" name="Freeform: Shape 14540">
                  <a:extLst>
                    <a:ext uri="{FF2B5EF4-FFF2-40B4-BE49-F238E27FC236}">
                      <a16:creationId xmlns:a16="http://schemas.microsoft.com/office/drawing/2014/main" id="{41D15DF4-C6BD-A298-58C8-B895B43BD065}"/>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2" name="Freeform: Shape 14541">
                  <a:extLst>
                    <a:ext uri="{FF2B5EF4-FFF2-40B4-BE49-F238E27FC236}">
                      <a16:creationId xmlns:a16="http://schemas.microsoft.com/office/drawing/2014/main" id="{7C0AA53C-CF0B-F8B4-F412-90D17D708DAD}"/>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3" name="Graphic 1583">
                <a:extLst>
                  <a:ext uri="{FF2B5EF4-FFF2-40B4-BE49-F238E27FC236}">
                    <a16:creationId xmlns:a16="http://schemas.microsoft.com/office/drawing/2014/main" id="{824E1D2F-69CF-5AA9-024F-237C12D64492}"/>
                  </a:ext>
                </a:extLst>
              </p:cNvPr>
              <p:cNvGrpSpPr/>
              <p:nvPr/>
            </p:nvGrpSpPr>
            <p:grpSpPr>
              <a:xfrm>
                <a:off x="4544281" y="3005327"/>
                <a:ext cx="75723" cy="75723"/>
                <a:chOff x="4544281" y="3005327"/>
                <a:chExt cx="75723" cy="75723"/>
              </a:xfrm>
            </p:grpSpPr>
            <p:sp>
              <p:nvSpPr>
                <p:cNvPr id="14539" name="Freeform: Shape 14538">
                  <a:extLst>
                    <a:ext uri="{FF2B5EF4-FFF2-40B4-BE49-F238E27FC236}">
                      <a16:creationId xmlns:a16="http://schemas.microsoft.com/office/drawing/2014/main" id="{395B638C-784D-2903-0410-44D97CAB253D}"/>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40" name="Freeform: Shape 14539">
                  <a:extLst>
                    <a:ext uri="{FF2B5EF4-FFF2-40B4-BE49-F238E27FC236}">
                      <a16:creationId xmlns:a16="http://schemas.microsoft.com/office/drawing/2014/main" id="{A373F4C2-198B-32AB-A160-9FAA28F80C61}"/>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4" name="Graphic 1583">
                <a:extLst>
                  <a:ext uri="{FF2B5EF4-FFF2-40B4-BE49-F238E27FC236}">
                    <a16:creationId xmlns:a16="http://schemas.microsoft.com/office/drawing/2014/main" id="{9CEE9A7C-B6AA-0AD8-A515-48A648C010D5}"/>
                  </a:ext>
                </a:extLst>
              </p:cNvPr>
              <p:cNvGrpSpPr/>
              <p:nvPr/>
            </p:nvGrpSpPr>
            <p:grpSpPr>
              <a:xfrm>
                <a:off x="4555807" y="3035712"/>
                <a:ext cx="75723" cy="75723"/>
                <a:chOff x="4555807" y="3035712"/>
                <a:chExt cx="75723" cy="75723"/>
              </a:xfrm>
            </p:grpSpPr>
            <p:sp>
              <p:nvSpPr>
                <p:cNvPr id="14537" name="Freeform: Shape 14536">
                  <a:extLst>
                    <a:ext uri="{FF2B5EF4-FFF2-40B4-BE49-F238E27FC236}">
                      <a16:creationId xmlns:a16="http://schemas.microsoft.com/office/drawing/2014/main" id="{C4A79A91-63A4-E3F1-4AA3-5D5491F23755}"/>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8" name="Freeform: Shape 14537">
                  <a:extLst>
                    <a:ext uri="{FF2B5EF4-FFF2-40B4-BE49-F238E27FC236}">
                      <a16:creationId xmlns:a16="http://schemas.microsoft.com/office/drawing/2014/main" id="{F8B74EF5-8CE0-B3BA-7941-2A9DED043D97}"/>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5" name="Graphic 1583">
                <a:extLst>
                  <a:ext uri="{FF2B5EF4-FFF2-40B4-BE49-F238E27FC236}">
                    <a16:creationId xmlns:a16="http://schemas.microsoft.com/office/drawing/2014/main" id="{2108B068-263A-9A4F-2F7D-C6763A8BB379}"/>
                  </a:ext>
                </a:extLst>
              </p:cNvPr>
              <p:cNvGrpSpPr/>
              <p:nvPr/>
            </p:nvGrpSpPr>
            <p:grpSpPr>
              <a:xfrm>
                <a:off x="4542567" y="3024663"/>
                <a:ext cx="75723" cy="75628"/>
                <a:chOff x="4542567" y="3024663"/>
                <a:chExt cx="75723" cy="75628"/>
              </a:xfrm>
            </p:grpSpPr>
            <p:sp>
              <p:nvSpPr>
                <p:cNvPr id="14535" name="Freeform: Shape 14534">
                  <a:extLst>
                    <a:ext uri="{FF2B5EF4-FFF2-40B4-BE49-F238E27FC236}">
                      <a16:creationId xmlns:a16="http://schemas.microsoft.com/office/drawing/2014/main" id="{8582B46B-A921-E60D-3002-955499936467}"/>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6" name="Freeform: Shape 14535">
                  <a:extLst>
                    <a:ext uri="{FF2B5EF4-FFF2-40B4-BE49-F238E27FC236}">
                      <a16:creationId xmlns:a16="http://schemas.microsoft.com/office/drawing/2014/main" id="{1430F937-2A80-BC40-1EFE-3EE5604E4CCB}"/>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6" name="Graphic 1583">
                <a:extLst>
                  <a:ext uri="{FF2B5EF4-FFF2-40B4-BE49-F238E27FC236}">
                    <a16:creationId xmlns:a16="http://schemas.microsoft.com/office/drawing/2014/main" id="{D3FDF85B-5D30-7BF5-1C10-6CEC49F1B852}"/>
                  </a:ext>
                </a:extLst>
              </p:cNvPr>
              <p:cNvGrpSpPr/>
              <p:nvPr/>
            </p:nvGrpSpPr>
            <p:grpSpPr>
              <a:xfrm>
                <a:off x="4369879" y="2860166"/>
                <a:ext cx="75723" cy="75723"/>
                <a:chOff x="4369879" y="2860166"/>
                <a:chExt cx="75723" cy="75723"/>
              </a:xfrm>
            </p:grpSpPr>
            <p:sp>
              <p:nvSpPr>
                <p:cNvPr id="14533" name="Freeform: Shape 14532">
                  <a:extLst>
                    <a:ext uri="{FF2B5EF4-FFF2-40B4-BE49-F238E27FC236}">
                      <a16:creationId xmlns:a16="http://schemas.microsoft.com/office/drawing/2014/main" id="{4C2291A5-708E-5FA5-9455-3368F62B9DDC}"/>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4" name="Freeform: Shape 14533">
                  <a:extLst>
                    <a:ext uri="{FF2B5EF4-FFF2-40B4-BE49-F238E27FC236}">
                      <a16:creationId xmlns:a16="http://schemas.microsoft.com/office/drawing/2014/main" id="{864C7E65-46FD-51A1-F98C-A693133FC285}"/>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7" name="Graphic 1583">
                <a:extLst>
                  <a:ext uri="{FF2B5EF4-FFF2-40B4-BE49-F238E27FC236}">
                    <a16:creationId xmlns:a16="http://schemas.microsoft.com/office/drawing/2014/main" id="{5B20ADC8-9604-12A4-CE40-84F8F7E05404}"/>
                  </a:ext>
                </a:extLst>
              </p:cNvPr>
              <p:cNvGrpSpPr/>
              <p:nvPr/>
            </p:nvGrpSpPr>
            <p:grpSpPr>
              <a:xfrm>
                <a:off x="4156804" y="2823971"/>
                <a:ext cx="75723" cy="75723"/>
                <a:chOff x="4156804" y="2823971"/>
                <a:chExt cx="75723" cy="75723"/>
              </a:xfrm>
            </p:grpSpPr>
            <p:sp>
              <p:nvSpPr>
                <p:cNvPr id="14531" name="Freeform: Shape 14530">
                  <a:extLst>
                    <a:ext uri="{FF2B5EF4-FFF2-40B4-BE49-F238E27FC236}">
                      <a16:creationId xmlns:a16="http://schemas.microsoft.com/office/drawing/2014/main" id="{09D3153D-1AE8-1242-8E4E-4903B2085610}"/>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2" name="Freeform: Shape 14531">
                  <a:extLst>
                    <a:ext uri="{FF2B5EF4-FFF2-40B4-BE49-F238E27FC236}">
                      <a16:creationId xmlns:a16="http://schemas.microsoft.com/office/drawing/2014/main" id="{D2BD3C3E-53CE-FFF3-888E-DD004EC936CF}"/>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8" name="Graphic 1583">
                <a:extLst>
                  <a:ext uri="{FF2B5EF4-FFF2-40B4-BE49-F238E27FC236}">
                    <a16:creationId xmlns:a16="http://schemas.microsoft.com/office/drawing/2014/main" id="{126A162A-22F9-272C-CF69-365F71E6C6FA}"/>
                  </a:ext>
                </a:extLst>
              </p:cNvPr>
              <p:cNvGrpSpPr/>
              <p:nvPr/>
            </p:nvGrpSpPr>
            <p:grpSpPr>
              <a:xfrm>
                <a:off x="4136421" y="2810065"/>
                <a:ext cx="75723" cy="75628"/>
                <a:chOff x="4136421" y="2810065"/>
                <a:chExt cx="75723" cy="75628"/>
              </a:xfrm>
            </p:grpSpPr>
            <p:sp>
              <p:nvSpPr>
                <p:cNvPr id="14529" name="Freeform: Shape 14528">
                  <a:extLst>
                    <a:ext uri="{FF2B5EF4-FFF2-40B4-BE49-F238E27FC236}">
                      <a16:creationId xmlns:a16="http://schemas.microsoft.com/office/drawing/2014/main" id="{EDB6E58C-A2CE-EB45-05CA-6F0990671224}"/>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30" name="Freeform: Shape 14529">
                  <a:extLst>
                    <a:ext uri="{FF2B5EF4-FFF2-40B4-BE49-F238E27FC236}">
                      <a16:creationId xmlns:a16="http://schemas.microsoft.com/office/drawing/2014/main" id="{52E08F78-6C8A-5A37-915B-F181666E4C82}"/>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49" name="Graphic 1583">
                <a:extLst>
                  <a:ext uri="{FF2B5EF4-FFF2-40B4-BE49-F238E27FC236}">
                    <a16:creationId xmlns:a16="http://schemas.microsoft.com/office/drawing/2014/main" id="{A8B531E9-78ED-D09E-5B84-CFF7FC408A99}"/>
                  </a:ext>
                </a:extLst>
              </p:cNvPr>
              <p:cNvGrpSpPr/>
              <p:nvPr/>
            </p:nvGrpSpPr>
            <p:grpSpPr>
              <a:xfrm>
                <a:off x="5287517" y="3375278"/>
                <a:ext cx="75723" cy="75723"/>
                <a:chOff x="5287517" y="3375278"/>
                <a:chExt cx="75723" cy="75723"/>
              </a:xfrm>
            </p:grpSpPr>
            <p:sp>
              <p:nvSpPr>
                <p:cNvPr id="14271" name="Freeform: Shape 14270">
                  <a:extLst>
                    <a:ext uri="{FF2B5EF4-FFF2-40B4-BE49-F238E27FC236}">
                      <a16:creationId xmlns:a16="http://schemas.microsoft.com/office/drawing/2014/main" id="{7C854397-EE4F-3468-CA92-FFC4FEA2BE27}"/>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28" name="Freeform: Shape 14527">
                  <a:extLst>
                    <a:ext uri="{FF2B5EF4-FFF2-40B4-BE49-F238E27FC236}">
                      <a16:creationId xmlns:a16="http://schemas.microsoft.com/office/drawing/2014/main" id="{67163DED-F44D-2462-7E3F-55F7DCBE3B09}"/>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0" name="Graphic 1583">
                <a:extLst>
                  <a:ext uri="{FF2B5EF4-FFF2-40B4-BE49-F238E27FC236}">
                    <a16:creationId xmlns:a16="http://schemas.microsoft.com/office/drawing/2014/main" id="{77970EEB-7EFD-3391-0C9E-6EA7E78B34ED}"/>
                  </a:ext>
                </a:extLst>
              </p:cNvPr>
              <p:cNvGrpSpPr/>
              <p:nvPr/>
            </p:nvGrpSpPr>
            <p:grpSpPr>
              <a:xfrm>
                <a:off x="5299709" y="3375278"/>
                <a:ext cx="75723" cy="75723"/>
                <a:chOff x="5299709" y="3375278"/>
                <a:chExt cx="75723" cy="75723"/>
              </a:xfrm>
            </p:grpSpPr>
            <p:sp>
              <p:nvSpPr>
                <p:cNvPr id="14269" name="Freeform: Shape 14268">
                  <a:extLst>
                    <a:ext uri="{FF2B5EF4-FFF2-40B4-BE49-F238E27FC236}">
                      <a16:creationId xmlns:a16="http://schemas.microsoft.com/office/drawing/2014/main" id="{A06A5185-6515-4E97-48E2-43668E3CAE43}"/>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70" name="Freeform: Shape 14269">
                  <a:extLst>
                    <a:ext uri="{FF2B5EF4-FFF2-40B4-BE49-F238E27FC236}">
                      <a16:creationId xmlns:a16="http://schemas.microsoft.com/office/drawing/2014/main" id="{C980E993-DAFC-25BF-9F98-FED65EB0D0C0}"/>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1" name="Graphic 1583">
                <a:extLst>
                  <a:ext uri="{FF2B5EF4-FFF2-40B4-BE49-F238E27FC236}">
                    <a16:creationId xmlns:a16="http://schemas.microsoft.com/office/drawing/2014/main" id="{48E96373-133D-A186-CD89-526084607B2B}"/>
                  </a:ext>
                </a:extLst>
              </p:cNvPr>
              <p:cNvGrpSpPr/>
              <p:nvPr/>
            </p:nvGrpSpPr>
            <p:grpSpPr>
              <a:xfrm>
                <a:off x="5656611" y="3553300"/>
                <a:ext cx="75628" cy="75628"/>
                <a:chOff x="5656611" y="3553300"/>
                <a:chExt cx="75628" cy="75628"/>
              </a:xfrm>
            </p:grpSpPr>
            <p:sp>
              <p:nvSpPr>
                <p:cNvPr id="14267" name="Freeform: Shape 14266">
                  <a:extLst>
                    <a:ext uri="{FF2B5EF4-FFF2-40B4-BE49-F238E27FC236}">
                      <a16:creationId xmlns:a16="http://schemas.microsoft.com/office/drawing/2014/main" id="{20500835-EE63-CAF6-7B8F-20EA37CB736B}"/>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8" name="Freeform: Shape 14267">
                  <a:extLst>
                    <a:ext uri="{FF2B5EF4-FFF2-40B4-BE49-F238E27FC236}">
                      <a16:creationId xmlns:a16="http://schemas.microsoft.com/office/drawing/2014/main" id="{761ABA8C-287A-60B6-2722-7F95BD8BB2F7}"/>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2" name="Graphic 1583">
                <a:extLst>
                  <a:ext uri="{FF2B5EF4-FFF2-40B4-BE49-F238E27FC236}">
                    <a16:creationId xmlns:a16="http://schemas.microsoft.com/office/drawing/2014/main" id="{2AFEA304-E4C9-3023-BD86-E0741D913C21}"/>
                  </a:ext>
                </a:extLst>
              </p:cNvPr>
              <p:cNvGrpSpPr/>
              <p:nvPr/>
            </p:nvGrpSpPr>
            <p:grpSpPr>
              <a:xfrm>
                <a:off x="5668612" y="3553300"/>
                <a:ext cx="75723" cy="75628"/>
                <a:chOff x="5668612" y="3553300"/>
                <a:chExt cx="75723" cy="75628"/>
              </a:xfrm>
            </p:grpSpPr>
            <p:sp>
              <p:nvSpPr>
                <p:cNvPr id="14265" name="Freeform: Shape 14264">
                  <a:extLst>
                    <a:ext uri="{FF2B5EF4-FFF2-40B4-BE49-F238E27FC236}">
                      <a16:creationId xmlns:a16="http://schemas.microsoft.com/office/drawing/2014/main" id="{5C4E85FD-145F-A361-1D2F-735178421BC8}"/>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6" name="Freeform: Shape 14265">
                  <a:extLst>
                    <a:ext uri="{FF2B5EF4-FFF2-40B4-BE49-F238E27FC236}">
                      <a16:creationId xmlns:a16="http://schemas.microsoft.com/office/drawing/2014/main" id="{7D756D73-7C34-55D0-6141-F4D3049BF9D5}"/>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3" name="Graphic 1583">
                <a:extLst>
                  <a:ext uri="{FF2B5EF4-FFF2-40B4-BE49-F238E27FC236}">
                    <a16:creationId xmlns:a16="http://schemas.microsoft.com/office/drawing/2014/main" id="{F3DEDB9C-8183-D3D8-A690-739608326919}"/>
                  </a:ext>
                </a:extLst>
              </p:cNvPr>
              <p:cNvGrpSpPr/>
              <p:nvPr/>
            </p:nvGrpSpPr>
            <p:grpSpPr>
              <a:xfrm>
                <a:off x="5680709" y="3553300"/>
                <a:ext cx="75723" cy="75628"/>
                <a:chOff x="5680709" y="3553300"/>
                <a:chExt cx="75723" cy="75628"/>
              </a:xfrm>
            </p:grpSpPr>
            <p:sp>
              <p:nvSpPr>
                <p:cNvPr id="14263" name="Freeform: Shape 14262">
                  <a:extLst>
                    <a:ext uri="{FF2B5EF4-FFF2-40B4-BE49-F238E27FC236}">
                      <a16:creationId xmlns:a16="http://schemas.microsoft.com/office/drawing/2014/main" id="{61999FCF-B56B-7E68-CF79-BE0288D211AB}"/>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4" name="Freeform: Shape 14263">
                  <a:extLst>
                    <a:ext uri="{FF2B5EF4-FFF2-40B4-BE49-F238E27FC236}">
                      <a16:creationId xmlns:a16="http://schemas.microsoft.com/office/drawing/2014/main" id="{F573095F-8BBF-F9E0-3C76-42139689FC24}"/>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4" name="Graphic 1583">
                <a:extLst>
                  <a:ext uri="{FF2B5EF4-FFF2-40B4-BE49-F238E27FC236}">
                    <a16:creationId xmlns:a16="http://schemas.microsoft.com/office/drawing/2014/main" id="{78B0A0AB-1DCB-E946-5388-40142D100F75}"/>
                  </a:ext>
                </a:extLst>
              </p:cNvPr>
              <p:cNvGrpSpPr/>
              <p:nvPr/>
            </p:nvGrpSpPr>
            <p:grpSpPr>
              <a:xfrm>
                <a:off x="6040659" y="3606450"/>
                <a:ext cx="75628" cy="75723"/>
                <a:chOff x="6040659" y="3606450"/>
                <a:chExt cx="75628" cy="75723"/>
              </a:xfrm>
            </p:grpSpPr>
            <p:sp>
              <p:nvSpPr>
                <p:cNvPr id="14261" name="Freeform: Shape 14260">
                  <a:extLst>
                    <a:ext uri="{FF2B5EF4-FFF2-40B4-BE49-F238E27FC236}">
                      <a16:creationId xmlns:a16="http://schemas.microsoft.com/office/drawing/2014/main" id="{2B2F7B44-342F-CD87-FC7A-A9AF36FC3AD3}"/>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2" name="Freeform: Shape 14261">
                  <a:extLst>
                    <a:ext uri="{FF2B5EF4-FFF2-40B4-BE49-F238E27FC236}">
                      <a16:creationId xmlns:a16="http://schemas.microsoft.com/office/drawing/2014/main" id="{41990E75-8355-4291-F8C3-1D55770C433E}"/>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5" name="Graphic 1583">
                <a:extLst>
                  <a:ext uri="{FF2B5EF4-FFF2-40B4-BE49-F238E27FC236}">
                    <a16:creationId xmlns:a16="http://schemas.microsoft.com/office/drawing/2014/main" id="{D1125DD6-93C5-7670-F256-7F82EDA212C7}"/>
                  </a:ext>
                </a:extLst>
              </p:cNvPr>
              <p:cNvGrpSpPr/>
              <p:nvPr/>
            </p:nvGrpSpPr>
            <p:grpSpPr>
              <a:xfrm>
                <a:off x="6040659" y="3657218"/>
                <a:ext cx="75628" cy="75723"/>
                <a:chOff x="6040659" y="3657218"/>
                <a:chExt cx="75628" cy="75723"/>
              </a:xfrm>
            </p:grpSpPr>
            <p:sp>
              <p:nvSpPr>
                <p:cNvPr id="14259" name="Freeform: Shape 14258">
                  <a:extLst>
                    <a:ext uri="{FF2B5EF4-FFF2-40B4-BE49-F238E27FC236}">
                      <a16:creationId xmlns:a16="http://schemas.microsoft.com/office/drawing/2014/main" id="{583600DD-EF76-7A73-2B6E-AAE6275CB012}"/>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60" name="Freeform: Shape 14259">
                  <a:extLst>
                    <a:ext uri="{FF2B5EF4-FFF2-40B4-BE49-F238E27FC236}">
                      <a16:creationId xmlns:a16="http://schemas.microsoft.com/office/drawing/2014/main" id="{939E0212-9386-0F94-F4A4-6EF5F124B6AB}"/>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56" name="Graphic 1583">
                <a:extLst>
                  <a:ext uri="{FF2B5EF4-FFF2-40B4-BE49-F238E27FC236}">
                    <a16:creationId xmlns:a16="http://schemas.microsoft.com/office/drawing/2014/main" id="{04793CBE-52EC-3CA0-8C5D-607EB931606F}"/>
                  </a:ext>
                </a:extLst>
              </p:cNvPr>
              <p:cNvGrpSpPr/>
              <p:nvPr/>
            </p:nvGrpSpPr>
            <p:grpSpPr>
              <a:xfrm>
                <a:off x="7192517" y="3850290"/>
                <a:ext cx="75723" cy="75723"/>
                <a:chOff x="7192517" y="3850290"/>
                <a:chExt cx="75723" cy="75723"/>
              </a:xfrm>
            </p:grpSpPr>
            <p:sp>
              <p:nvSpPr>
                <p:cNvPr id="14257" name="Freeform: Shape 14256">
                  <a:extLst>
                    <a:ext uri="{FF2B5EF4-FFF2-40B4-BE49-F238E27FC236}">
                      <a16:creationId xmlns:a16="http://schemas.microsoft.com/office/drawing/2014/main" id="{BB5F4BD7-88B7-A21F-6F11-4D0EBEC06A13}"/>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58" name="Freeform: Shape 14257">
                  <a:extLst>
                    <a:ext uri="{FF2B5EF4-FFF2-40B4-BE49-F238E27FC236}">
                      <a16:creationId xmlns:a16="http://schemas.microsoft.com/office/drawing/2014/main" id="{0CC4FE68-690D-6CA9-2C21-AB5B02F9FB8E}"/>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8209" name="Freeform: Shape 18208">
              <a:extLst>
                <a:ext uri="{FF2B5EF4-FFF2-40B4-BE49-F238E27FC236}">
                  <a16:creationId xmlns:a16="http://schemas.microsoft.com/office/drawing/2014/main" id="{B834BEF7-8D65-82EA-9E7D-2241B0E23BA6}"/>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09" name="Group 18308">
            <a:extLst>
              <a:ext uri="{FF2B5EF4-FFF2-40B4-BE49-F238E27FC236}">
                <a16:creationId xmlns:a16="http://schemas.microsoft.com/office/drawing/2014/main" id="{DA8E3B7E-E365-22CA-CE6F-55C7397A77CF}"/>
              </a:ext>
            </a:extLst>
          </p:cNvPr>
          <p:cNvGrpSpPr/>
          <p:nvPr/>
        </p:nvGrpSpPr>
        <p:grpSpPr>
          <a:xfrm>
            <a:off x="712999" y="1488358"/>
            <a:ext cx="6801804" cy="2364808"/>
            <a:chOff x="3500437" y="2424112"/>
            <a:chExt cx="5189696" cy="2012441"/>
          </a:xfrm>
        </p:grpSpPr>
        <p:grpSp>
          <p:nvGrpSpPr>
            <p:cNvPr id="18310" name="Graphic 1393">
              <a:extLst>
                <a:ext uri="{FF2B5EF4-FFF2-40B4-BE49-F238E27FC236}">
                  <a16:creationId xmlns:a16="http://schemas.microsoft.com/office/drawing/2014/main" id="{A5CC1D06-9DFE-CEF2-D0F2-2EC5A759593D}"/>
                </a:ext>
              </a:extLst>
            </p:cNvPr>
            <p:cNvGrpSpPr/>
            <p:nvPr/>
          </p:nvGrpSpPr>
          <p:grpSpPr>
            <a:xfrm>
              <a:off x="3868102" y="2496216"/>
              <a:ext cx="4822031" cy="1940337"/>
              <a:chOff x="3868102" y="2496216"/>
              <a:chExt cx="4822031" cy="1940337"/>
            </a:xfrm>
          </p:grpSpPr>
          <p:grpSp>
            <p:nvGrpSpPr>
              <p:cNvPr id="18312" name="Graphic 1393">
                <a:extLst>
                  <a:ext uri="{FF2B5EF4-FFF2-40B4-BE49-F238E27FC236}">
                    <a16:creationId xmlns:a16="http://schemas.microsoft.com/office/drawing/2014/main" id="{9BB64C40-2AF1-0A7D-56F5-BF3C3CAA0A3B}"/>
                  </a:ext>
                </a:extLst>
              </p:cNvPr>
              <p:cNvGrpSpPr/>
              <p:nvPr/>
            </p:nvGrpSpPr>
            <p:grpSpPr>
              <a:xfrm>
                <a:off x="8614409" y="4360830"/>
                <a:ext cx="75723" cy="75723"/>
                <a:chOff x="8614409" y="4360830"/>
                <a:chExt cx="75723" cy="75723"/>
              </a:xfrm>
            </p:grpSpPr>
            <p:sp>
              <p:nvSpPr>
                <p:cNvPr id="18637" name="Freeform: Shape 18636">
                  <a:extLst>
                    <a:ext uri="{FF2B5EF4-FFF2-40B4-BE49-F238E27FC236}">
                      <a16:creationId xmlns:a16="http://schemas.microsoft.com/office/drawing/2014/main" id="{8070D674-AA44-B0E6-01D6-1DEF96D6BAFD}"/>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38" name="Freeform: Shape 18637">
                  <a:extLst>
                    <a:ext uri="{FF2B5EF4-FFF2-40B4-BE49-F238E27FC236}">
                      <a16:creationId xmlns:a16="http://schemas.microsoft.com/office/drawing/2014/main" id="{D852E94F-073B-A4F9-7DA4-8FDF0AB6351A}"/>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3" name="Graphic 1393">
                <a:extLst>
                  <a:ext uri="{FF2B5EF4-FFF2-40B4-BE49-F238E27FC236}">
                    <a16:creationId xmlns:a16="http://schemas.microsoft.com/office/drawing/2014/main" id="{92075443-60B5-5CE9-82D6-58F77CBB863B}"/>
                  </a:ext>
                </a:extLst>
              </p:cNvPr>
              <p:cNvGrpSpPr/>
              <p:nvPr/>
            </p:nvGrpSpPr>
            <p:grpSpPr>
              <a:xfrm>
                <a:off x="8599264" y="4360830"/>
                <a:ext cx="75723" cy="75723"/>
                <a:chOff x="8599264" y="4360830"/>
                <a:chExt cx="75723" cy="75723"/>
              </a:xfrm>
            </p:grpSpPr>
            <p:sp>
              <p:nvSpPr>
                <p:cNvPr id="18635" name="Freeform: Shape 18634">
                  <a:extLst>
                    <a:ext uri="{FF2B5EF4-FFF2-40B4-BE49-F238E27FC236}">
                      <a16:creationId xmlns:a16="http://schemas.microsoft.com/office/drawing/2014/main" id="{D67BE418-AC54-A10C-5AE4-46D3E5924A07}"/>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36" name="Freeform: Shape 18635">
                  <a:extLst>
                    <a:ext uri="{FF2B5EF4-FFF2-40B4-BE49-F238E27FC236}">
                      <a16:creationId xmlns:a16="http://schemas.microsoft.com/office/drawing/2014/main" id="{2EB39A0B-5AC7-17A4-D0B4-21F46DCB2D23}"/>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4" name="Graphic 1393">
                <a:extLst>
                  <a:ext uri="{FF2B5EF4-FFF2-40B4-BE49-F238E27FC236}">
                    <a16:creationId xmlns:a16="http://schemas.microsoft.com/office/drawing/2014/main" id="{0BF82453-F60F-2E0E-88D7-3149ABDE9AF9}"/>
                  </a:ext>
                </a:extLst>
              </p:cNvPr>
              <p:cNvGrpSpPr/>
              <p:nvPr/>
            </p:nvGrpSpPr>
            <p:grpSpPr>
              <a:xfrm>
                <a:off x="8461819" y="3949446"/>
                <a:ext cx="75723" cy="75723"/>
                <a:chOff x="8461819" y="3949446"/>
                <a:chExt cx="75723" cy="75723"/>
              </a:xfrm>
            </p:grpSpPr>
            <p:sp>
              <p:nvSpPr>
                <p:cNvPr id="18633" name="Freeform: Shape 18632">
                  <a:extLst>
                    <a:ext uri="{FF2B5EF4-FFF2-40B4-BE49-F238E27FC236}">
                      <a16:creationId xmlns:a16="http://schemas.microsoft.com/office/drawing/2014/main" id="{FCE1FAE3-EA68-9F70-CCFE-E0247C8FF950}"/>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34" name="Freeform: Shape 18633">
                  <a:extLst>
                    <a:ext uri="{FF2B5EF4-FFF2-40B4-BE49-F238E27FC236}">
                      <a16:creationId xmlns:a16="http://schemas.microsoft.com/office/drawing/2014/main" id="{46DF10DF-ADE5-8708-E6A9-86581AF58187}"/>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5" name="Graphic 1393">
                <a:extLst>
                  <a:ext uri="{FF2B5EF4-FFF2-40B4-BE49-F238E27FC236}">
                    <a16:creationId xmlns:a16="http://schemas.microsoft.com/office/drawing/2014/main" id="{CB8B4F02-6D5A-015F-905F-450E067C0C24}"/>
                  </a:ext>
                </a:extLst>
              </p:cNvPr>
              <p:cNvGrpSpPr/>
              <p:nvPr/>
            </p:nvGrpSpPr>
            <p:grpSpPr>
              <a:xfrm>
                <a:off x="8232933" y="3949446"/>
                <a:ext cx="75723" cy="75723"/>
                <a:chOff x="8232933" y="3949446"/>
                <a:chExt cx="75723" cy="75723"/>
              </a:xfrm>
            </p:grpSpPr>
            <p:sp>
              <p:nvSpPr>
                <p:cNvPr id="18631" name="Freeform: Shape 18630">
                  <a:extLst>
                    <a:ext uri="{FF2B5EF4-FFF2-40B4-BE49-F238E27FC236}">
                      <a16:creationId xmlns:a16="http://schemas.microsoft.com/office/drawing/2014/main" id="{EA34241F-1D14-5E1A-FB51-31D3775D9F6F}"/>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32" name="Freeform: Shape 18631">
                  <a:extLst>
                    <a:ext uri="{FF2B5EF4-FFF2-40B4-BE49-F238E27FC236}">
                      <a16:creationId xmlns:a16="http://schemas.microsoft.com/office/drawing/2014/main" id="{3E48B471-B992-756F-B498-34F72EB08507}"/>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6" name="Graphic 1393">
                <a:extLst>
                  <a:ext uri="{FF2B5EF4-FFF2-40B4-BE49-F238E27FC236}">
                    <a16:creationId xmlns:a16="http://schemas.microsoft.com/office/drawing/2014/main" id="{603EE510-FC45-E884-C78F-6E032FE44185}"/>
                  </a:ext>
                </a:extLst>
              </p:cNvPr>
              <p:cNvGrpSpPr/>
              <p:nvPr/>
            </p:nvGrpSpPr>
            <p:grpSpPr>
              <a:xfrm>
                <a:off x="8210454" y="3949446"/>
                <a:ext cx="75723" cy="75723"/>
                <a:chOff x="8210454" y="3949446"/>
                <a:chExt cx="75723" cy="75723"/>
              </a:xfrm>
            </p:grpSpPr>
            <p:sp>
              <p:nvSpPr>
                <p:cNvPr id="18629" name="Freeform: Shape 18628">
                  <a:extLst>
                    <a:ext uri="{FF2B5EF4-FFF2-40B4-BE49-F238E27FC236}">
                      <a16:creationId xmlns:a16="http://schemas.microsoft.com/office/drawing/2014/main" id="{5399B3DF-DBA0-207E-A1D8-714A7E4E2170}"/>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30" name="Freeform: Shape 18629">
                  <a:extLst>
                    <a:ext uri="{FF2B5EF4-FFF2-40B4-BE49-F238E27FC236}">
                      <a16:creationId xmlns:a16="http://schemas.microsoft.com/office/drawing/2014/main" id="{BBA2409F-354D-AFED-93DD-0A5B0E86FEA4}"/>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7" name="Graphic 1393">
                <a:extLst>
                  <a:ext uri="{FF2B5EF4-FFF2-40B4-BE49-F238E27FC236}">
                    <a16:creationId xmlns:a16="http://schemas.microsoft.com/office/drawing/2014/main" id="{331189C9-8555-AE93-7FF2-B079AED429A3}"/>
                  </a:ext>
                </a:extLst>
              </p:cNvPr>
              <p:cNvGrpSpPr/>
              <p:nvPr/>
            </p:nvGrpSpPr>
            <p:grpSpPr>
              <a:xfrm>
                <a:off x="8183689" y="3949446"/>
                <a:ext cx="75723" cy="75723"/>
                <a:chOff x="8183689" y="3949446"/>
                <a:chExt cx="75723" cy="75723"/>
              </a:xfrm>
            </p:grpSpPr>
            <p:sp>
              <p:nvSpPr>
                <p:cNvPr id="18627" name="Freeform: Shape 18626">
                  <a:extLst>
                    <a:ext uri="{FF2B5EF4-FFF2-40B4-BE49-F238E27FC236}">
                      <a16:creationId xmlns:a16="http://schemas.microsoft.com/office/drawing/2014/main" id="{5569A6FE-870F-86BA-5859-23180075CB89}"/>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8" name="Freeform: Shape 18627">
                  <a:extLst>
                    <a:ext uri="{FF2B5EF4-FFF2-40B4-BE49-F238E27FC236}">
                      <a16:creationId xmlns:a16="http://schemas.microsoft.com/office/drawing/2014/main" id="{4399A5A7-3E79-0A92-F120-795F610F6E1C}"/>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8" name="Graphic 1393">
                <a:extLst>
                  <a:ext uri="{FF2B5EF4-FFF2-40B4-BE49-F238E27FC236}">
                    <a16:creationId xmlns:a16="http://schemas.microsoft.com/office/drawing/2014/main" id="{3BBD0225-137E-ED6D-B69B-421667B6E700}"/>
                  </a:ext>
                </a:extLst>
              </p:cNvPr>
              <p:cNvGrpSpPr/>
              <p:nvPr/>
            </p:nvGrpSpPr>
            <p:grpSpPr>
              <a:xfrm>
                <a:off x="8161495" y="3949446"/>
                <a:ext cx="75723" cy="75723"/>
                <a:chOff x="8161495" y="3949446"/>
                <a:chExt cx="75723" cy="75723"/>
              </a:xfrm>
            </p:grpSpPr>
            <p:sp>
              <p:nvSpPr>
                <p:cNvPr id="18625" name="Freeform: Shape 18624">
                  <a:extLst>
                    <a:ext uri="{FF2B5EF4-FFF2-40B4-BE49-F238E27FC236}">
                      <a16:creationId xmlns:a16="http://schemas.microsoft.com/office/drawing/2014/main" id="{53857299-BA69-EC97-7DC2-ACD6C944D2AC}"/>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6" name="Freeform: Shape 18625">
                  <a:extLst>
                    <a:ext uri="{FF2B5EF4-FFF2-40B4-BE49-F238E27FC236}">
                      <a16:creationId xmlns:a16="http://schemas.microsoft.com/office/drawing/2014/main" id="{F9E9C9F4-BDA8-947F-AD5D-4AA827CFE8F2}"/>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19" name="Graphic 1393">
                <a:extLst>
                  <a:ext uri="{FF2B5EF4-FFF2-40B4-BE49-F238E27FC236}">
                    <a16:creationId xmlns:a16="http://schemas.microsoft.com/office/drawing/2014/main" id="{1CEE527D-18D0-DFEC-F151-914269DCC106}"/>
                  </a:ext>
                </a:extLst>
              </p:cNvPr>
              <p:cNvGrpSpPr/>
              <p:nvPr/>
            </p:nvGrpSpPr>
            <p:grpSpPr>
              <a:xfrm>
                <a:off x="8065769" y="3949446"/>
                <a:ext cx="75628" cy="75723"/>
                <a:chOff x="8065769" y="3949446"/>
                <a:chExt cx="75628" cy="75723"/>
              </a:xfrm>
            </p:grpSpPr>
            <p:sp>
              <p:nvSpPr>
                <p:cNvPr id="18623" name="Freeform: Shape 18622">
                  <a:extLst>
                    <a:ext uri="{FF2B5EF4-FFF2-40B4-BE49-F238E27FC236}">
                      <a16:creationId xmlns:a16="http://schemas.microsoft.com/office/drawing/2014/main" id="{0B4E41CA-9DDB-4DD5-FAE1-6A97BBCF8C85}"/>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4" name="Freeform: Shape 18623">
                  <a:extLst>
                    <a:ext uri="{FF2B5EF4-FFF2-40B4-BE49-F238E27FC236}">
                      <a16:creationId xmlns:a16="http://schemas.microsoft.com/office/drawing/2014/main" id="{8BEFDFBD-5CD2-9058-A2D5-A23A29FB2A78}"/>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0" name="Graphic 1393">
                <a:extLst>
                  <a:ext uri="{FF2B5EF4-FFF2-40B4-BE49-F238E27FC236}">
                    <a16:creationId xmlns:a16="http://schemas.microsoft.com/office/drawing/2014/main" id="{926270BE-36F0-F775-0FED-758103CA0788}"/>
                  </a:ext>
                </a:extLst>
              </p:cNvPr>
              <p:cNvGrpSpPr/>
              <p:nvPr/>
            </p:nvGrpSpPr>
            <p:grpSpPr>
              <a:xfrm>
                <a:off x="7829263" y="3949446"/>
                <a:ext cx="75628" cy="75723"/>
                <a:chOff x="7829263" y="3949446"/>
                <a:chExt cx="75628" cy="75723"/>
              </a:xfrm>
            </p:grpSpPr>
            <p:sp>
              <p:nvSpPr>
                <p:cNvPr id="18621" name="Freeform: Shape 18620">
                  <a:extLst>
                    <a:ext uri="{FF2B5EF4-FFF2-40B4-BE49-F238E27FC236}">
                      <a16:creationId xmlns:a16="http://schemas.microsoft.com/office/drawing/2014/main" id="{C089EAD8-76ED-DE30-DB66-168D71E9DB26}"/>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2" name="Freeform: Shape 18621">
                  <a:extLst>
                    <a:ext uri="{FF2B5EF4-FFF2-40B4-BE49-F238E27FC236}">
                      <a16:creationId xmlns:a16="http://schemas.microsoft.com/office/drawing/2014/main" id="{5DAAB832-39A5-D6C3-AE5C-F06B823A0966}"/>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1" name="Graphic 1393">
                <a:extLst>
                  <a:ext uri="{FF2B5EF4-FFF2-40B4-BE49-F238E27FC236}">
                    <a16:creationId xmlns:a16="http://schemas.microsoft.com/office/drawing/2014/main" id="{61A37121-34BC-B411-83F7-9FF68662CB80}"/>
                  </a:ext>
                </a:extLst>
              </p:cNvPr>
              <p:cNvGrpSpPr/>
              <p:nvPr/>
            </p:nvGrpSpPr>
            <p:grpSpPr>
              <a:xfrm>
                <a:off x="7784115" y="3949446"/>
                <a:ext cx="75723" cy="75723"/>
                <a:chOff x="7784115" y="3949446"/>
                <a:chExt cx="75723" cy="75723"/>
              </a:xfrm>
            </p:grpSpPr>
            <p:sp>
              <p:nvSpPr>
                <p:cNvPr id="18619" name="Freeform: Shape 18618">
                  <a:extLst>
                    <a:ext uri="{FF2B5EF4-FFF2-40B4-BE49-F238E27FC236}">
                      <a16:creationId xmlns:a16="http://schemas.microsoft.com/office/drawing/2014/main" id="{76FD050B-8A61-2EEA-E90C-78817C7990B2}"/>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0" name="Freeform: Shape 18619">
                  <a:extLst>
                    <a:ext uri="{FF2B5EF4-FFF2-40B4-BE49-F238E27FC236}">
                      <a16:creationId xmlns:a16="http://schemas.microsoft.com/office/drawing/2014/main" id="{4DFC0902-048B-0996-CBA0-40A71EA0D59A}"/>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2" name="Graphic 1393">
                <a:extLst>
                  <a:ext uri="{FF2B5EF4-FFF2-40B4-BE49-F238E27FC236}">
                    <a16:creationId xmlns:a16="http://schemas.microsoft.com/office/drawing/2014/main" id="{BF00DF42-2870-2629-B936-844D12D8C94D}"/>
                  </a:ext>
                </a:extLst>
              </p:cNvPr>
              <p:cNvGrpSpPr/>
              <p:nvPr/>
            </p:nvGrpSpPr>
            <p:grpSpPr>
              <a:xfrm>
                <a:off x="7746301" y="3949446"/>
                <a:ext cx="75723" cy="75723"/>
                <a:chOff x="7746301" y="3949446"/>
                <a:chExt cx="75723" cy="75723"/>
              </a:xfrm>
            </p:grpSpPr>
            <p:sp>
              <p:nvSpPr>
                <p:cNvPr id="18617" name="Freeform: Shape 18616">
                  <a:extLst>
                    <a:ext uri="{FF2B5EF4-FFF2-40B4-BE49-F238E27FC236}">
                      <a16:creationId xmlns:a16="http://schemas.microsoft.com/office/drawing/2014/main" id="{166C209C-6D0F-EAB2-5C80-9973340AF0C4}"/>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18" name="Freeform: Shape 18617">
                  <a:extLst>
                    <a:ext uri="{FF2B5EF4-FFF2-40B4-BE49-F238E27FC236}">
                      <a16:creationId xmlns:a16="http://schemas.microsoft.com/office/drawing/2014/main" id="{496BEA75-4601-51ED-60DB-88789F99AF9A}"/>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3" name="Graphic 1393">
                <a:extLst>
                  <a:ext uri="{FF2B5EF4-FFF2-40B4-BE49-F238E27FC236}">
                    <a16:creationId xmlns:a16="http://schemas.microsoft.com/office/drawing/2014/main" id="{0237A293-E048-68F8-75DF-EF5297753D77}"/>
                  </a:ext>
                </a:extLst>
              </p:cNvPr>
              <p:cNvGrpSpPr/>
              <p:nvPr/>
            </p:nvGrpSpPr>
            <p:grpSpPr>
              <a:xfrm>
                <a:off x="7757159" y="3949446"/>
                <a:ext cx="75723" cy="75723"/>
                <a:chOff x="7757159" y="3949446"/>
                <a:chExt cx="75723" cy="75723"/>
              </a:xfrm>
            </p:grpSpPr>
            <p:sp>
              <p:nvSpPr>
                <p:cNvPr id="18615" name="Freeform: Shape 18614">
                  <a:extLst>
                    <a:ext uri="{FF2B5EF4-FFF2-40B4-BE49-F238E27FC236}">
                      <a16:creationId xmlns:a16="http://schemas.microsoft.com/office/drawing/2014/main" id="{00D230B5-8975-1130-0E6D-AE00C4BCA837}"/>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16" name="Freeform: Shape 18615">
                  <a:extLst>
                    <a:ext uri="{FF2B5EF4-FFF2-40B4-BE49-F238E27FC236}">
                      <a16:creationId xmlns:a16="http://schemas.microsoft.com/office/drawing/2014/main" id="{13BBA943-68F7-307A-7042-1A462F91E4E2}"/>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4" name="Graphic 1393">
                <a:extLst>
                  <a:ext uri="{FF2B5EF4-FFF2-40B4-BE49-F238E27FC236}">
                    <a16:creationId xmlns:a16="http://schemas.microsoft.com/office/drawing/2014/main" id="{FD0537B2-7DC4-4D59-7167-2A318EC6BF56}"/>
                  </a:ext>
                </a:extLst>
              </p:cNvPr>
              <p:cNvGrpSpPr/>
              <p:nvPr/>
            </p:nvGrpSpPr>
            <p:grpSpPr>
              <a:xfrm>
                <a:off x="7769923" y="3949446"/>
                <a:ext cx="75723" cy="75723"/>
                <a:chOff x="7769923" y="3949446"/>
                <a:chExt cx="75723" cy="75723"/>
              </a:xfrm>
            </p:grpSpPr>
            <p:sp>
              <p:nvSpPr>
                <p:cNvPr id="18613" name="Freeform: Shape 18612">
                  <a:extLst>
                    <a:ext uri="{FF2B5EF4-FFF2-40B4-BE49-F238E27FC236}">
                      <a16:creationId xmlns:a16="http://schemas.microsoft.com/office/drawing/2014/main" id="{D2090EA3-744A-37A7-B801-CD5C6A9B288C}"/>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14" name="Freeform: Shape 18613">
                  <a:extLst>
                    <a:ext uri="{FF2B5EF4-FFF2-40B4-BE49-F238E27FC236}">
                      <a16:creationId xmlns:a16="http://schemas.microsoft.com/office/drawing/2014/main" id="{97AC5689-2986-D611-9D0D-AF8BED66D07B}"/>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5" name="Graphic 1393">
                <a:extLst>
                  <a:ext uri="{FF2B5EF4-FFF2-40B4-BE49-F238E27FC236}">
                    <a16:creationId xmlns:a16="http://schemas.microsoft.com/office/drawing/2014/main" id="{F469EB89-801B-9C4E-4979-AA042625820F}"/>
                  </a:ext>
                </a:extLst>
              </p:cNvPr>
              <p:cNvGrpSpPr/>
              <p:nvPr/>
            </p:nvGrpSpPr>
            <p:grpSpPr>
              <a:xfrm>
                <a:off x="7732108" y="3897153"/>
                <a:ext cx="75723" cy="75723"/>
                <a:chOff x="7732108" y="3897153"/>
                <a:chExt cx="75723" cy="75723"/>
              </a:xfrm>
            </p:grpSpPr>
            <p:sp>
              <p:nvSpPr>
                <p:cNvPr id="18611" name="Freeform: Shape 18610">
                  <a:extLst>
                    <a:ext uri="{FF2B5EF4-FFF2-40B4-BE49-F238E27FC236}">
                      <a16:creationId xmlns:a16="http://schemas.microsoft.com/office/drawing/2014/main" id="{7F256586-39E3-999D-0723-741F2EEE3C3B}"/>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12" name="Freeform: Shape 18611">
                  <a:extLst>
                    <a:ext uri="{FF2B5EF4-FFF2-40B4-BE49-F238E27FC236}">
                      <a16:creationId xmlns:a16="http://schemas.microsoft.com/office/drawing/2014/main" id="{BFF0370B-93E4-F0FD-CFD0-99540FF880D2}"/>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6" name="Graphic 1393">
                <a:extLst>
                  <a:ext uri="{FF2B5EF4-FFF2-40B4-BE49-F238E27FC236}">
                    <a16:creationId xmlns:a16="http://schemas.microsoft.com/office/drawing/2014/main" id="{3E15F80D-3EF2-9873-08FF-9D3BFBC2929E}"/>
                  </a:ext>
                </a:extLst>
              </p:cNvPr>
              <p:cNvGrpSpPr/>
              <p:nvPr/>
            </p:nvGrpSpPr>
            <p:grpSpPr>
              <a:xfrm>
                <a:off x="7708486" y="3897153"/>
                <a:ext cx="75628" cy="75723"/>
                <a:chOff x="7708486" y="3897153"/>
                <a:chExt cx="75628" cy="75723"/>
              </a:xfrm>
            </p:grpSpPr>
            <p:sp>
              <p:nvSpPr>
                <p:cNvPr id="18609" name="Freeform: Shape 18608">
                  <a:extLst>
                    <a:ext uri="{FF2B5EF4-FFF2-40B4-BE49-F238E27FC236}">
                      <a16:creationId xmlns:a16="http://schemas.microsoft.com/office/drawing/2014/main" id="{F4A00F07-DD4A-1FC3-560E-C19E98CF314C}"/>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10" name="Freeform: Shape 18609">
                  <a:extLst>
                    <a:ext uri="{FF2B5EF4-FFF2-40B4-BE49-F238E27FC236}">
                      <a16:creationId xmlns:a16="http://schemas.microsoft.com/office/drawing/2014/main" id="{495B87FD-179B-40C2-5156-FB7C89FF7D6A}"/>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7" name="Graphic 1393">
                <a:extLst>
                  <a:ext uri="{FF2B5EF4-FFF2-40B4-BE49-F238E27FC236}">
                    <a16:creationId xmlns:a16="http://schemas.microsoft.com/office/drawing/2014/main" id="{65A8A664-0E7A-7C45-A8C2-80DE697EDAFB}"/>
                  </a:ext>
                </a:extLst>
              </p:cNvPr>
              <p:cNvGrpSpPr/>
              <p:nvPr/>
            </p:nvGrpSpPr>
            <p:grpSpPr>
              <a:xfrm>
                <a:off x="7427213" y="3851719"/>
                <a:ext cx="75628" cy="75723"/>
                <a:chOff x="7427213" y="3851719"/>
                <a:chExt cx="75628" cy="75723"/>
              </a:xfrm>
            </p:grpSpPr>
            <p:sp>
              <p:nvSpPr>
                <p:cNvPr id="18607" name="Freeform: Shape 18606">
                  <a:extLst>
                    <a:ext uri="{FF2B5EF4-FFF2-40B4-BE49-F238E27FC236}">
                      <a16:creationId xmlns:a16="http://schemas.microsoft.com/office/drawing/2014/main" id="{4F577424-2CDD-B2F8-55DE-0C84842B2A52}"/>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8" name="Freeform: Shape 18607">
                  <a:extLst>
                    <a:ext uri="{FF2B5EF4-FFF2-40B4-BE49-F238E27FC236}">
                      <a16:creationId xmlns:a16="http://schemas.microsoft.com/office/drawing/2014/main" id="{BF36B34B-D632-9B2E-D5C2-1CDF9A6507A4}"/>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8" name="Graphic 1393">
                <a:extLst>
                  <a:ext uri="{FF2B5EF4-FFF2-40B4-BE49-F238E27FC236}">
                    <a16:creationId xmlns:a16="http://schemas.microsoft.com/office/drawing/2014/main" id="{00408595-D235-E5D1-5CE8-5C4BA8F0FE74}"/>
                  </a:ext>
                </a:extLst>
              </p:cNvPr>
              <p:cNvGrpSpPr/>
              <p:nvPr/>
            </p:nvGrpSpPr>
            <p:grpSpPr>
              <a:xfrm>
                <a:off x="7367968" y="3813905"/>
                <a:ext cx="75723" cy="75723"/>
                <a:chOff x="7367968" y="3813905"/>
                <a:chExt cx="75723" cy="75723"/>
              </a:xfrm>
            </p:grpSpPr>
            <p:sp>
              <p:nvSpPr>
                <p:cNvPr id="18605" name="Freeform: Shape 18604">
                  <a:extLst>
                    <a:ext uri="{FF2B5EF4-FFF2-40B4-BE49-F238E27FC236}">
                      <a16:creationId xmlns:a16="http://schemas.microsoft.com/office/drawing/2014/main" id="{E8E4C0F8-F00B-7D82-F95E-D84F4FDB9936}"/>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6" name="Freeform: Shape 18605">
                  <a:extLst>
                    <a:ext uri="{FF2B5EF4-FFF2-40B4-BE49-F238E27FC236}">
                      <a16:creationId xmlns:a16="http://schemas.microsoft.com/office/drawing/2014/main" id="{942D2A7C-7EBA-3FD3-F2AC-3444BB81FE4E}"/>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29" name="Graphic 1393">
                <a:extLst>
                  <a:ext uri="{FF2B5EF4-FFF2-40B4-BE49-F238E27FC236}">
                    <a16:creationId xmlns:a16="http://schemas.microsoft.com/office/drawing/2014/main" id="{193807C9-9EC7-7D71-369B-DC8C698D3684}"/>
                  </a:ext>
                </a:extLst>
              </p:cNvPr>
              <p:cNvGrpSpPr/>
              <p:nvPr/>
            </p:nvGrpSpPr>
            <p:grpSpPr>
              <a:xfrm>
                <a:off x="7235475" y="3748659"/>
                <a:ext cx="75628" cy="75723"/>
                <a:chOff x="7235475" y="3748659"/>
                <a:chExt cx="75628" cy="75723"/>
              </a:xfrm>
            </p:grpSpPr>
            <p:sp>
              <p:nvSpPr>
                <p:cNvPr id="18603" name="Freeform: Shape 18602">
                  <a:extLst>
                    <a:ext uri="{FF2B5EF4-FFF2-40B4-BE49-F238E27FC236}">
                      <a16:creationId xmlns:a16="http://schemas.microsoft.com/office/drawing/2014/main" id="{5503F6D3-C391-ECA9-6D83-8FEB2DE34B82}"/>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4" name="Freeform: Shape 18603">
                  <a:extLst>
                    <a:ext uri="{FF2B5EF4-FFF2-40B4-BE49-F238E27FC236}">
                      <a16:creationId xmlns:a16="http://schemas.microsoft.com/office/drawing/2014/main" id="{0F927619-14E1-66EF-3DBF-FFE826817C93}"/>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0" name="Graphic 1393">
                <a:extLst>
                  <a:ext uri="{FF2B5EF4-FFF2-40B4-BE49-F238E27FC236}">
                    <a16:creationId xmlns:a16="http://schemas.microsoft.com/office/drawing/2014/main" id="{B3E32D13-1549-7377-7C7C-422F312D2A9D}"/>
                  </a:ext>
                </a:extLst>
              </p:cNvPr>
              <p:cNvGrpSpPr/>
              <p:nvPr/>
            </p:nvGrpSpPr>
            <p:grpSpPr>
              <a:xfrm>
                <a:off x="7284624" y="3748659"/>
                <a:ext cx="75628" cy="75723"/>
                <a:chOff x="7284624" y="3748659"/>
                <a:chExt cx="75628" cy="75723"/>
              </a:xfrm>
            </p:grpSpPr>
            <p:sp>
              <p:nvSpPr>
                <p:cNvPr id="18601" name="Freeform: Shape 18600">
                  <a:extLst>
                    <a:ext uri="{FF2B5EF4-FFF2-40B4-BE49-F238E27FC236}">
                      <a16:creationId xmlns:a16="http://schemas.microsoft.com/office/drawing/2014/main" id="{1791D5EA-C86E-6D6C-C433-ABCE406FEB24}"/>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2" name="Freeform: Shape 18601">
                  <a:extLst>
                    <a:ext uri="{FF2B5EF4-FFF2-40B4-BE49-F238E27FC236}">
                      <a16:creationId xmlns:a16="http://schemas.microsoft.com/office/drawing/2014/main" id="{28846180-C9C3-EF01-BF14-FDA04F9E5DAD}"/>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1" name="Graphic 1393">
                <a:extLst>
                  <a:ext uri="{FF2B5EF4-FFF2-40B4-BE49-F238E27FC236}">
                    <a16:creationId xmlns:a16="http://schemas.microsoft.com/office/drawing/2014/main" id="{309DE5F6-BA7A-8C2D-F32C-3A3B1C2E3801}"/>
                  </a:ext>
                </a:extLst>
              </p:cNvPr>
              <p:cNvGrpSpPr/>
              <p:nvPr/>
            </p:nvGrpSpPr>
            <p:grpSpPr>
              <a:xfrm>
                <a:off x="7023163" y="3695128"/>
                <a:ext cx="75723" cy="75723"/>
                <a:chOff x="7023163" y="3695128"/>
                <a:chExt cx="75723" cy="75723"/>
              </a:xfrm>
            </p:grpSpPr>
            <p:sp>
              <p:nvSpPr>
                <p:cNvPr id="18599" name="Freeform: Shape 18598">
                  <a:extLst>
                    <a:ext uri="{FF2B5EF4-FFF2-40B4-BE49-F238E27FC236}">
                      <a16:creationId xmlns:a16="http://schemas.microsoft.com/office/drawing/2014/main" id="{522DBD0B-740C-B230-DB94-A65E96CF2C99}"/>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0" name="Freeform: Shape 18599">
                  <a:extLst>
                    <a:ext uri="{FF2B5EF4-FFF2-40B4-BE49-F238E27FC236}">
                      <a16:creationId xmlns:a16="http://schemas.microsoft.com/office/drawing/2014/main" id="{8CD2E314-93F5-1770-F098-0133D133D0DE}"/>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2" name="Graphic 1393">
                <a:extLst>
                  <a:ext uri="{FF2B5EF4-FFF2-40B4-BE49-F238E27FC236}">
                    <a16:creationId xmlns:a16="http://schemas.microsoft.com/office/drawing/2014/main" id="{A13C11B0-866D-264B-DD79-2225E59CC43E}"/>
                  </a:ext>
                </a:extLst>
              </p:cNvPr>
              <p:cNvGrpSpPr/>
              <p:nvPr/>
            </p:nvGrpSpPr>
            <p:grpSpPr>
              <a:xfrm>
                <a:off x="6927532" y="3695128"/>
                <a:ext cx="75628" cy="75723"/>
                <a:chOff x="6927532" y="3695128"/>
                <a:chExt cx="75628" cy="75723"/>
              </a:xfrm>
            </p:grpSpPr>
            <p:sp>
              <p:nvSpPr>
                <p:cNvPr id="18597" name="Freeform: Shape 18596">
                  <a:extLst>
                    <a:ext uri="{FF2B5EF4-FFF2-40B4-BE49-F238E27FC236}">
                      <a16:creationId xmlns:a16="http://schemas.microsoft.com/office/drawing/2014/main" id="{4261EDA9-CB62-2725-E053-21085A07255B}"/>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98" name="Freeform: Shape 18597">
                  <a:extLst>
                    <a:ext uri="{FF2B5EF4-FFF2-40B4-BE49-F238E27FC236}">
                      <a16:creationId xmlns:a16="http://schemas.microsoft.com/office/drawing/2014/main" id="{F293EEEF-C10F-5DB7-33FF-273E63071DA2}"/>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3" name="Graphic 1393">
                <a:extLst>
                  <a:ext uri="{FF2B5EF4-FFF2-40B4-BE49-F238E27FC236}">
                    <a16:creationId xmlns:a16="http://schemas.microsoft.com/office/drawing/2014/main" id="{5F9777EA-5ADD-8A68-C2ED-EE88F9449006}"/>
                  </a:ext>
                </a:extLst>
              </p:cNvPr>
              <p:cNvGrpSpPr/>
              <p:nvPr/>
            </p:nvGrpSpPr>
            <p:grpSpPr>
              <a:xfrm>
                <a:off x="6911720" y="3695128"/>
                <a:ext cx="75723" cy="75723"/>
                <a:chOff x="6911720" y="3695128"/>
                <a:chExt cx="75723" cy="75723"/>
              </a:xfrm>
            </p:grpSpPr>
            <p:sp>
              <p:nvSpPr>
                <p:cNvPr id="18595" name="Freeform: Shape 18594">
                  <a:extLst>
                    <a:ext uri="{FF2B5EF4-FFF2-40B4-BE49-F238E27FC236}">
                      <a16:creationId xmlns:a16="http://schemas.microsoft.com/office/drawing/2014/main" id="{2F41A388-7A00-7683-9EC3-F837A63FE406}"/>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96" name="Freeform: Shape 18595">
                  <a:extLst>
                    <a:ext uri="{FF2B5EF4-FFF2-40B4-BE49-F238E27FC236}">
                      <a16:creationId xmlns:a16="http://schemas.microsoft.com/office/drawing/2014/main" id="{557F8AA1-B33A-CBBA-32D8-B9706B1222D5}"/>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4" name="Graphic 1393">
                <a:extLst>
                  <a:ext uri="{FF2B5EF4-FFF2-40B4-BE49-F238E27FC236}">
                    <a16:creationId xmlns:a16="http://schemas.microsoft.com/office/drawing/2014/main" id="{9C364889-2967-9E18-7A70-4068AD35C0FB}"/>
                  </a:ext>
                </a:extLst>
              </p:cNvPr>
              <p:cNvGrpSpPr/>
              <p:nvPr/>
            </p:nvGrpSpPr>
            <p:grpSpPr>
              <a:xfrm>
                <a:off x="6839330" y="3669220"/>
                <a:ext cx="75723" cy="75723"/>
                <a:chOff x="6839330" y="3669220"/>
                <a:chExt cx="75723" cy="75723"/>
              </a:xfrm>
            </p:grpSpPr>
            <p:sp>
              <p:nvSpPr>
                <p:cNvPr id="18593" name="Freeform: Shape 18592">
                  <a:extLst>
                    <a:ext uri="{FF2B5EF4-FFF2-40B4-BE49-F238E27FC236}">
                      <a16:creationId xmlns:a16="http://schemas.microsoft.com/office/drawing/2014/main" id="{B00055C0-7AE7-86C9-6C91-5DB7BD6456E1}"/>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94" name="Freeform: Shape 18593">
                  <a:extLst>
                    <a:ext uri="{FF2B5EF4-FFF2-40B4-BE49-F238E27FC236}">
                      <a16:creationId xmlns:a16="http://schemas.microsoft.com/office/drawing/2014/main" id="{52468479-1A27-F345-13A5-9A8592639C66}"/>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5" name="Graphic 1393">
                <a:extLst>
                  <a:ext uri="{FF2B5EF4-FFF2-40B4-BE49-F238E27FC236}">
                    <a16:creationId xmlns:a16="http://schemas.microsoft.com/office/drawing/2014/main" id="{3411B2D1-5E32-DFDC-859D-B86F2B77C19A}"/>
                  </a:ext>
                </a:extLst>
              </p:cNvPr>
              <p:cNvGrpSpPr/>
              <p:nvPr/>
            </p:nvGrpSpPr>
            <p:grpSpPr>
              <a:xfrm>
                <a:off x="6510337" y="3646170"/>
                <a:ext cx="75723" cy="75628"/>
                <a:chOff x="6510337" y="3646170"/>
                <a:chExt cx="75723" cy="75628"/>
              </a:xfrm>
            </p:grpSpPr>
            <p:sp>
              <p:nvSpPr>
                <p:cNvPr id="18591" name="Freeform: Shape 18590">
                  <a:extLst>
                    <a:ext uri="{FF2B5EF4-FFF2-40B4-BE49-F238E27FC236}">
                      <a16:creationId xmlns:a16="http://schemas.microsoft.com/office/drawing/2014/main" id="{4FC7CCAD-F5FE-67D4-C802-B5DD875CF86F}"/>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92" name="Freeform: Shape 18591">
                  <a:extLst>
                    <a:ext uri="{FF2B5EF4-FFF2-40B4-BE49-F238E27FC236}">
                      <a16:creationId xmlns:a16="http://schemas.microsoft.com/office/drawing/2014/main" id="{135D46C9-2A53-4C5C-61F0-CE3DAA887F29}"/>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6" name="Graphic 1393">
                <a:extLst>
                  <a:ext uri="{FF2B5EF4-FFF2-40B4-BE49-F238E27FC236}">
                    <a16:creationId xmlns:a16="http://schemas.microsoft.com/office/drawing/2014/main" id="{59E59F85-73EB-980E-4B10-E7FFD7CC7200}"/>
                  </a:ext>
                </a:extLst>
              </p:cNvPr>
              <p:cNvGrpSpPr/>
              <p:nvPr/>
            </p:nvGrpSpPr>
            <p:grpSpPr>
              <a:xfrm>
                <a:off x="6460902" y="3646170"/>
                <a:ext cx="75723" cy="75628"/>
                <a:chOff x="6460902" y="3646170"/>
                <a:chExt cx="75723" cy="75628"/>
              </a:xfrm>
            </p:grpSpPr>
            <p:sp>
              <p:nvSpPr>
                <p:cNvPr id="18589" name="Freeform: Shape 18588">
                  <a:extLst>
                    <a:ext uri="{FF2B5EF4-FFF2-40B4-BE49-F238E27FC236}">
                      <a16:creationId xmlns:a16="http://schemas.microsoft.com/office/drawing/2014/main" id="{434CF592-83B2-F7FB-3A79-65245A0C49CD}"/>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90" name="Freeform: Shape 18589">
                  <a:extLst>
                    <a:ext uri="{FF2B5EF4-FFF2-40B4-BE49-F238E27FC236}">
                      <a16:creationId xmlns:a16="http://schemas.microsoft.com/office/drawing/2014/main" id="{168E27F2-3013-5ECA-A6A0-6847A7EC761E}"/>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7" name="Graphic 1393">
                <a:extLst>
                  <a:ext uri="{FF2B5EF4-FFF2-40B4-BE49-F238E27FC236}">
                    <a16:creationId xmlns:a16="http://schemas.microsoft.com/office/drawing/2014/main" id="{9687EF8E-EA4D-D81E-4214-912AF91D25B0}"/>
                  </a:ext>
                </a:extLst>
              </p:cNvPr>
              <p:cNvGrpSpPr/>
              <p:nvPr/>
            </p:nvGrpSpPr>
            <p:grpSpPr>
              <a:xfrm>
                <a:off x="6470808" y="3646170"/>
                <a:ext cx="75723" cy="75628"/>
                <a:chOff x="6470808" y="3646170"/>
                <a:chExt cx="75723" cy="75628"/>
              </a:xfrm>
            </p:grpSpPr>
            <p:sp>
              <p:nvSpPr>
                <p:cNvPr id="18587" name="Freeform: Shape 18586">
                  <a:extLst>
                    <a:ext uri="{FF2B5EF4-FFF2-40B4-BE49-F238E27FC236}">
                      <a16:creationId xmlns:a16="http://schemas.microsoft.com/office/drawing/2014/main" id="{0179238A-4E77-A217-2B8D-C0B98C247BDC}"/>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8" name="Freeform: Shape 18587">
                  <a:extLst>
                    <a:ext uri="{FF2B5EF4-FFF2-40B4-BE49-F238E27FC236}">
                      <a16:creationId xmlns:a16="http://schemas.microsoft.com/office/drawing/2014/main" id="{A8689A8A-1EA0-5393-FE1D-E58F32F130B4}"/>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8" name="Graphic 1393">
                <a:extLst>
                  <a:ext uri="{FF2B5EF4-FFF2-40B4-BE49-F238E27FC236}">
                    <a16:creationId xmlns:a16="http://schemas.microsoft.com/office/drawing/2014/main" id="{DDD571B3-3603-2C6D-0E06-ADEE8025EE22}"/>
                  </a:ext>
                </a:extLst>
              </p:cNvPr>
              <p:cNvGrpSpPr/>
              <p:nvPr/>
            </p:nvGrpSpPr>
            <p:grpSpPr>
              <a:xfrm>
                <a:off x="6480714" y="3646170"/>
                <a:ext cx="75723" cy="75628"/>
                <a:chOff x="6480714" y="3646170"/>
                <a:chExt cx="75723" cy="75628"/>
              </a:xfrm>
            </p:grpSpPr>
            <p:sp>
              <p:nvSpPr>
                <p:cNvPr id="18585" name="Freeform: Shape 18584">
                  <a:extLst>
                    <a:ext uri="{FF2B5EF4-FFF2-40B4-BE49-F238E27FC236}">
                      <a16:creationId xmlns:a16="http://schemas.microsoft.com/office/drawing/2014/main" id="{356EC999-6A4C-A96D-75F7-BBDF865EBCB9}"/>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6" name="Freeform: Shape 18585">
                  <a:extLst>
                    <a:ext uri="{FF2B5EF4-FFF2-40B4-BE49-F238E27FC236}">
                      <a16:creationId xmlns:a16="http://schemas.microsoft.com/office/drawing/2014/main" id="{C6C18AEF-50BA-29D2-9D1B-A52DF2307D5C}"/>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39" name="Graphic 1393">
                <a:extLst>
                  <a:ext uri="{FF2B5EF4-FFF2-40B4-BE49-F238E27FC236}">
                    <a16:creationId xmlns:a16="http://schemas.microsoft.com/office/drawing/2014/main" id="{620DAE0C-7044-9206-B22F-6B090484606F}"/>
                  </a:ext>
                </a:extLst>
              </p:cNvPr>
              <p:cNvGrpSpPr/>
              <p:nvPr/>
            </p:nvGrpSpPr>
            <p:grpSpPr>
              <a:xfrm>
                <a:off x="6490620" y="3646170"/>
                <a:ext cx="75628" cy="75628"/>
                <a:chOff x="6490620" y="3646170"/>
                <a:chExt cx="75628" cy="75628"/>
              </a:xfrm>
            </p:grpSpPr>
            <p:sp>
              <p:nvSpPr>
                <p:cNvPr id="18583" name="Freeform: Shape 18582">
                  <a:extLst>
                    <a:ext uri="{FF2B5EF4-FFF2-40B4-BE49-F238E27FC236}">
                      <a16:creationId xmlns:a16="http://schemas.microsoft.com/office/drawing/2014/main" id="{4AE6F2A1-3613-AEE3-9EE2-7360512EE873}"/>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4" name="Freeform: Shape 18583">
                  <a:extLst>
                    <a:ext uri="{FF2B5EF4-FFF2-40B4-BE49-F238E27FC236}">
                      <a16:creationId xmlns:a16="http://schemas.microsoft.com/office/drawing/2014/main" id="{B766FA77-2AED-EF0F-0C0C-5FD889AF45AD}"/>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0" name="Graphic 1393">
                <a:extLst>
                  <a:ext uri="{FF2B5EF4-FFF2-40B4-BE49-F238E27FC236}">
                    <a16:creationId xmlns:a16="http://schemas.microsoft.com/office/drawing/2014/main" id="{2209D76F-7ADA-334C-CF51-8BAC3A1B59D8}"/>
                  </a:ext>
                </a:extLst>
              </p:cNvPr>
              <p:cNvGrpSpPr/>
              <p:nvPr/>
            </p:nvGrpSpPr>
            <p:grpSpPr>
              <a:xfrm>
                <a:off x="6500431" y="3646170"/>
                <a:ext cx="75723" cy="75628"/>
                <a:chOff x="6500431" y="3646170"/>
                <a:chExt cx="75723" cy="75628"/>
              </a:xfrm>
            </p:grpSpPr>
            <p:sp>
              <p:nvSpPr>
                <p:cNvPr id="18581" name="Freeform: Shape 18580">
                  <a:extLst>
                    <a:ext uri="{FF2B5EF4-FFF2-40B4-BE49-F238E27FC236}">
                      <a16:creationId xmlns:a16="http://schemas.microsoft.com/office/drawing/2014/main" id="{B1B7C775-0E01-87F4-8B76-1CAEC3028BCE}"/>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2" name="Freeform: Shape 18581">
                  <a:extLst>
                    <a:ext uri="{FF2B5EF4-FFF2-40B4-BE49-F238E27FC236}">
                      <a16:creationId xmlns:a16="http://schemas.microsoft.com/office/drawing/2014/main" id="{EA954124-96F6-FF48-E764-E3FBED82E7E0}"/>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1" name="Graphic 1393">
                <a:extLst>
                  <a:ext uri="{FF2B5EF4-FFF2-40B4-BE49-F238E27FC236}">
                    <a16:creationId xmlns:a16="http://schemas.microsoft.com/office/drawing/2014/main" id="{18D8C73C-7ABE-DFDA-2280-F130B3A3F7E0}"/>
                  </a:ext>
                </a:extLst>
              </p:cNvPr>
              <p:cNvGrpSpPr/>
              <p:nvPr/>
            </p:nvGrpSpPr>
            <p:grpSpPr>
              <a:xfrm>
                <a:off x="6452139" y="3598449"/>
                <a:ext cx="75723" cy="75628"/>
                <a:chOff x="6452139" y="3598449"/>
                <a:chExt cx="75723" cy="75628"/>
              </a:xfrm>
            </p:grpSpPr>
            <p:sp>
              <p:nvSpPr>
                <p:cNvPr id="18579" name="Freeform: Shape 18578">
                  <a:extLst>
                    <a:ext uri="{FF2B5EF4-FFF2-40B4-BE49-F238E27FC236}">
                      <a16:creationId xmlns:a16="http://schemas.microsoft.com/office/drawing/2014/main" id="{F7265537-BD8F-B01D-DDE1-5A09C21F93E2}"/>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0" name="Freeform: Shape 18579">
                  <a:extLst>
                    <a:ext uri="{FF2B5EF4-FFF2-40B4-BE49-F238E27FC236}">
                      <a16:creationId xmlns:a16="http://schemas.microsoft.com/office/drawing/2014/main" id="{C4D459F0-9920-7C34-6AD9-C53C7046FCC9}"/>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2" name="Graphic 1393">
                <a:extLst>
                  <a:ext uri="{FF2B5EF4-FFF2-40B4-BE49-F238E27FC236}">
                    <a16:creationId xmlns:a16="http://schemas.microsoft.com/office/drawing/2014/main" id="{6AA3F5A7-0EBE-7B5B-D377-BE1E6F90B123}"/>
                  </a:ext>
                </a:extLst>
              </p:cNvPr>
              <p:cNvGrpSpPr/>
              <p:nvPr/>
            </p:nvGrpSpPr>
            <p:grpSpPr>
              <a:xfrm>
                <a:off x="6402704" y="3598449"/>
                <a:ext cx="75723" cy="75628"/>
                <a:chOff x="6402704" y="3598449"/>
                <a:chExt cx="75723" cy="75628"/>
              </a:xfrm>
            </p:grpSpPr>
            <p:sp>
              <p:nvSpPr>
                <p:cNvPr id="18577" name="Freeform: Shape 18576">
                  <a:extLst>
                    <a:ext uri="{FF2B5EF4-FFF2-40B4-BE49-F238E27FC236}">
                      <a16:creationId xmlns:a16="http://schemas.microsoft.com/office/drawing/2014/main" id="{DD1519C8-25B9-6E75-B466-E94CD5B6C0EB}"/>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78" name="Freeform: Shape 18577">
                  <a:extLst>
                    <a:ext uri="{FF2B5EF4-FFF2-40B4-BE49-F238E27FC236}">
                      <a16:creationId xmlns:a16="http://schemas.microsoft.com/office/drawing/2014/main" id="{C6AEDF76-C4F7-D212-98CB-9B205B3D0343}"/>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3" name="Graphic 1393">
                <a:extLst>
                  <a:ext uri="{FF2B5EF4-FFF2-40B4-BE49-F238E27FC236}">
                    <a16:creationId xmlns:a16="http://schemas.microsoft.com/office/drawing/2014/main" id="{035AF651-149D-0EF7-8C5A-AFB87C4EC475}"/>
                  </a:ext>
                </a:extLst>
              </p:cNvPr>
              <p:cNvGrpSpPr/>
              <p:nvPr/>
            </p:nvGrpSpPr>
            <p:grpSpPr>
              <a:xfrm>
                <a:off x="6256876" y="3598449"/>
                <a:ext cx="75723" cy="75628"/>
                <a:chOff x="6256876" y="3598449"/>
                <a:chExt cx="75723" cy="75628"/>
              </a:xfrm>
            </p:grpSpPr>
            <p:sp>
              <p:nvSpPr>
                <p:cNvPr id="18575" name="Freeform: Shape 18574">
                  <a:extLst>
                    <a:ext uri="{FF2B5EF4-FFF2-40B4-BE49-F238E27FC236}">
                      <a16:creationId xmlns:a16="http://schemas.microsoft.com/office/drawing/2014/main" id="{D54B419D-BFEA-0264-0338-F802D4C07090}"/>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76" name="Freeform: Shape 18575">
                  <a:extLst>
                    <a:ext uri="{FF2B5EF4-FFF2-40B4-BE49-F238E27FC236}">
                      <a16:creationId xmlns:a16="http://schemas.microsoft.com/office/drawing/2014/main" id="{8C1EBB03-6462-DB10-8824-883636CFC746}"/>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4" name="Graphic 1393">
                <a:extLst>
                  <a:ext uri="{FF2B5EF4-FFF2-40B4-BE49-F238E27FC236}">
                    <a16:creationId xmlns:a16="http://schemas.microsoft.com/office/drawing/2014/main" id="{E2F7B990-7961-C7BD-7D68-925EB9D3F9FE}"/>
                  </a:ext>
                </a:extLst>
              </p:cNvPr>
              <p:cNvGrpSpPr/>
              <p:nvPr/>
            </p:nvGrpSpPr>
            <p:grpSpPr>
              <a:xfrm>
                <a:off x="6239827" y="3598449"/>
                <a:ext cx="75723" cy="75628"/>
                <a:chOff x="6239827" y="3598449"/>
                <a:chExt cx="75723" cy="75628"/>
              </a:xfrm>
            </p:grpSpPr>
            <p:sp>
              <p:nvSpPr>
                <p:cNvPr id="18573" name="Freeform: Shape 18572">
                  <a:extLst>
                    <a:ext uri="{FF2B5EF4-FFF2-40B4-BE49-F238E27FC236}">
                      <a16:creationId xmlns:a16="http://schemas.microsoft.com/office/drawing/2014/main" id="{926B49BA-DAD0-4C4F-F826-C8B5D9E1190E}"/>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74" name="Freeform: Shape 18573">
                  <a:extLst>
                    <a:ext uri="{FF2B5EF4-FFF2-40B4-BE49-F238E27FC236}">
                      <a16:creationId xmlns:a16="http://schemas.microsoft.com/office/drawing/2014/main" id="{6DB171AD-CD99-106C-7883-BF58A0262DE1}"/>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5" name="Graphic 1393">
                <a:extLst>
                  <a:ext uri="{FF2B5EF4-FFF2-40B4-BE49-F238E27FC236}">
                    <a16:creationId xmlns:a16="http://schemas.microsoft.com/office/drawing/2014/main" id="{4580C093-C888-A081-436D-6F01AC9BB208}"/>
                  </a:ext>
                </a:extLst>
              </p:cNvPr>
              <p:cNvGrpSpPr/>
              <p:nvPr/>
            </p:nvGrpSpPr>
            <p:grpSpPr>
              <a:xfrm>
                <a:off x="6193059" y="3598449"/>
                <a:ext cx="75628" cy="75628"/>
                <a:chOff x="6193059" y="3598449"/>
                <a:chExt cx="75628" cy="75628"/>
              </a:xfrm>
            </p:grpSpPr>
            <p:sp>
              <p:nvSpPr>
                <p:cNvPr id="18571" name="Freeform: Shape 18570">
                  <a:extLst>
                    <a:ext uri="{FF2B5EF4-FFF2-40B4-BE49-F238E27FC236}">
                      <a16:creationId xmlns:a16="http://schemas.microsoft.com/office/drawing/2014/main" id="{6A346E0D-8701-D040-6065-8B908AD532B9}"/>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72" name="Freeform: Shape 18571">
                  <a:extLst>
                    <a:ext uri="{FF2B5EF4-FFF2-40B4-BE49-F238E27FC236}">
                      <a16:creationId xmlns:a16="http://schemas.microsoft.com/office/drawing/2014/main" id="{47C95F1D-B9BC-1F7D-B8FE-BD2E256BBB95}"/>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6" name="Graphic 1393">
                <a:extLst>
                  <a:ext uri="{FF2B5EF4-FFF2-40B4-BE49-F238E27FC236}">
                    <a16:creationId xmlns:a16="http://schemas.microsoft.com/office/drawing/2014/main" id="{CD4B8B77-D75D-90C7-0A37-00842EBC889A}"/>
                  </a:ext>
                </a:extLst>
              </p:cNvPr>
              <p:cNvGrpSpPr/>
              <p:nvPr/>
            </p:nvGrpSpPr>
            <p:grpSpPr>
              <a:xfrm>
                <a:off x="6090284" y="3598449"/>
                <a:ext cx="75723" cy="75628"/>
                <a:chOff x="6090284" y="3598449"/>
                <a:chExt cx="75723" cy="75628"/>
              </a:xfrm>
            </p:grpSpPr>
            <p:sp>
              <p:nvSpPr>
                <p:cNvPr id="18569" name="Freeform: Shape 18568">
                  <a:extLst>
                    <a:ext uri="{FF2B5EF4-FFF2-40B4-BE49-F238E27FC236}">
                      <a16:creationId xmlns:a16="http://schemas.microsoft.com/office/drawing/2014/main" id="{9ADE625A-8646-B0C7-DB92-3DD1CB496126}"/>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70" name="Freeform: Shape 18569">
                  <a:extLst>
                    <a:ext uri="{FF2B5EF4-FFF2-40B4-BE49-F238E27FC236}">
                      <a16:creationId xmlns:a16="http://schemas.microsoft.com/office/drawing/2014/main" id="{2FE01BBC-18B8-DDC9-C453-99DFBF85D8C5}"/>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7" name="Graphic 1393">
                <a:extLst>
                  <a:ext uri="{FF2B5EF4-FFF2-40B4-BE49-F238E27FC236}">
                    <a16:creationId xmlns:a16="http://schemas.microsoft.com/office/drawing/2014/main" id="{A8647A76-B699-528A-51F8-FADA33FBF03D}"/>
                  </a:ext>
                </a:extLst>
              </p:cNvPr>
              <p:cNvGrpSpPr/>
              <p:nvPr/>
            </p:nvGrpSpPr>
            <p:grpSpPr>
              <a:xfrm>
                <a:off x="6076949" y="3598449"/>
                <a:ext cx="75723" cy="75628"/>
                <a:chOff x="6076949" y="3598449"/>
                <a:chExt cx="75723" cy="75628"/>
              </a:xfrm>
            </p:grpSpPr>
            <p:sp>
              <p:nvSpPr>
                <p:cNvPr id="18567" name="Freeform: Shape 18566">
                  <a:extLst>
                    <a:ext uri="{FF2B5EF4-FFF2-40B4-BE49-F238E27FC236}">
                      <a16:creationId xmlns:a16="http://schemas.microsoft.com/office/drawing/2014/main" id="{5247B3F0-CC1B-C141-83E6-41A745897814}"/>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8" name="Freeform: Shape 18567">
                  <a:extLst>
                    <a:ext uri="{FF2B5EF4-FFF2-40B4-BE49-F238E27FC236}">
                      <a16:creationId xmlns:a16="http://schemas.microsoft.com/office/drawing/2014/main" id="{40D93948-D558-5D4A-372D-79F9426BF2E2}"/>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8" name="Graphic 1393">
                <a:extLst>
                  <a:ext uri="{FF2B5EF4-FFF2-40B4-BE49-F238E27FC236}">
                    <a16:creationId xmlns:a16="http://schemas.microsoft.com/office/drawing/2014/main" id="{769A19CE-3DE9-911D-566C-BFD7A938EB7C}"/>
                  </a:ext>
                </a:extLst>
              </p:cNvPr>
              <p:cNvGrpSpPr/>
              <p:nvPr/>
            </p:nvGrpSpPr>
            <p:grpSpPr>
              <a:xfrm>
                <a:off x="5979032" y="3475291"/>
                <a:ext cx="75628" cy="75723"/>
                <a:chOff x="5979032" y="3475291"/>
                <a:chExt cx="75628" cy="75723"/>
              </a:xfrm>
            </p:grpSpPr>
            <p:sp>
              <p:nvSpPr>
                <p:cNvPr id="18565" name="Freeform: Shape 18564">
                  <a:extLst>
                    <a:ext uri="{FF2B5EF4-FFF2-40B4-BE49-F238E27FC236}">
                      <a16:creationId xmlns:a16="http://schemas.microsoft.com/office/drawing/2014/main" id="{9C806C0B-489C-1E8D-E139-5AA5DD4F3327}"/>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6" name="Freeform: Shape 18565">
                  <a:extLst>
                    <a:ext uri="{FF2B5EF4-FFF2-40B4-BE49-F238E27FC236}">
                      <a16:creationId xmlns:a16="http://schemas.microsoft.com/office/drawing/2014/main" id="{37C4853B-9C86-62EF-458E-FE96442AA532}"/>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49" name="Graphic 1393">
                <a:extLst>
                  <a:ext uri="{FF2B5EF4-FFF2-40B4-BE49-F238E27FC236}">
                    <a16:creationId xmlns:a16="http://schemas.microsoft.com/office/drawing/2014/main" id="{E05E5364-D49E-CC30-F3BF-4CC2CF6C8D66}"/>
                  </a:ext>
                </a:extLst>
              </p:cNvPr>
              <p:cNvGrpSpPr/>
              <p:nvPr/>
            </p:nvGrpSpPr>
            <p:grpSpPr>
              <a:xfrm>
                <a:off x="5727953" y="3446907"/>
                <a:ext cx="75628" cy="75628"/>
                <a:chOff x="5727953" y="3446907"/>
                <a:chExt cx="75628" cy="75628"/>
              </a:xfrm>
            </p:grpSpPr>
            <p:sp>
              <p:nvSpPr>
                <p:cNvPr id="18563" name="Freeform: Shape 18562">
                  <a:extLst>
                    <a:ext uri="{FF2B5EF4-FFF2-40B4-BE49-F238E27FC236}">
                      <a16:creationId xmlns:a16="http://schemas.microsoft.com/office/drawing/2014/main" id="{67197CFC-9861-B21B-DC87-A95BAE868822}"/>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4" name="Freeform: Shape 18563">
                  <a:extLst>
                    <a:ext uri="{FF2B5EF4-FFF2-40B4-BE49-F238E27FC236}">
                      <a16:creationId xmlns:a16="http://schemas.microsoft.com/office/drawing/2014/main" id="{B5C3F6B8-5F73-84E4-281B-2DB7A68CCEA8}"/>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0" name="Graphic 1393">
                <a:extLst>
                  <a:ext uri="{FF2B5EF4-FFF2-40B4-BE49-F238E27FC236}">
                    <a16:creationId xmlns:a16="http://schemas.microsoft.com/office/drawing/2014/main" id="{26775278-6032-5B8F-272E-F8E267CC4FEF}"/>
                  </a:ext>
                </a:extLst>
              </p:cNvPr>
              <p:cNvGrpSpPr/>
              <p:nvPr/>
            </p:nvGrpSpPr>
            <p:grpSpPr>
              <a:xfrm>
                <a:off x="5503544" y="3315557"/>
                <a:ext cx="75723" cy="75723"/>
                <a:chOff x="5503544" y="3315557"/>
                <a:chExt cx="75723" cy="75723"/>
              </a:xfrm>
            </p:grpSpPr>
            <p:sp>
              <p:nvSpPr>
                <p:cNvPr id="18561" name="Freeform: Shape 18560">
                  <a:extLst>
                    <a:ext uri="{FF2B5EF4-FFF2-40B4-BE49-F238E27FC236}">
                      <a16:creationId xmlns:a16="http://schemas.microsoft.com/office/drawing/2014/main" id="{2A426C04-88D4-89CD-DAD2-CE42270999FC}"/>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2" name="Freeform: Shape 18561">
                  <a:extLst>
                    <a:ext uri="{FF2B5EF4-FFF2-40B4-BE49-F238E27FC236}">
                      <a16:creationId xmlns:a16="http://schemas.microsoft.com/office/drawing/2014/main" id="{72AF258D-A9C4-0BCE-E1F1-D9AAD192B18F}"/>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1" name="Graphic 1393">
                <a:extLst>
                  <a:ext uri="{FF2B5EF4-FFF2-40B4-BE49-F238E27FC236}">
                    <a16:creationId xmlns:a16="http://schemas.microsoft.com/office/drawing/2014/main" id="{267D1F74-873B-CA1B-5E05-B413010CC17A}"/>
                  </a:ext>
                </a:extLst>
              </p:cNvPr>
              <p:cNvGrpSpPr/>
              <p:nvPr/>
            </p:nvGrpSpPr>
            <p:grpSpPr>
              <a:xfrm>
                <a:off x="5335428" y="3264884"/>
                <a:ext cx="75723" cy="75628"/>
                <a:chOff x="5335428" y="3264884"/>
                <a:chExt cx="75723" cy="75628"/>
              </a:xfrm>
            </p:grpSpPr>
            <p:sp>
              <p:nvSpPr>
                <p:cNvPr id="18559" name="Freeform: Shape 18558">
                  <a:extLst>
                    <a:ext uri="{FF2B5EF4-FFF2-40B4-BE49-F238E27FC236}">
                      <a16:creationId xmlns:a16="http://schemas.microsoft.com/office/drawing/2014/main" id="{1F82C41C-D0D0-9756-7827-066A9B0C7FE2}"/>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0" name="Freeform: Shape 18559">
                  <a:extLst>
                    <a:ext uri="{FF2B5EF4-FFF2-40B4-BE49-F238E27FC236}">
                      <a16:creationId xmlns:a16="http://schemas.microsoft.com/office/drawing/2014/main" id="{EBE75D4A-AEEC-625E-11F3-99FD85C56C55}"/>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2" name="Graphic 1393">
                <a:extLst>
                  <a:ext uri="{FF2B5EF4-FFF2-40B4-BE49-F238E27FC236}">
                    <a16:creationId xmlns:a16="http://schemas.microsoft.com/office/drawing/2014/main" id="{44154FCD-DBE8-62DE-A9E4-D2B683B6C675}"/>
                  </a:ext>
                </a:extLst>
              </p:cNvPr>
              <p:cNvGrpSpPr/>
              <p:nvPr/>
            </p:nvGrpSpPr>
            <p:grpSpPr>
              <a:xfrm>
                <a:off x="5266181" y="3264884"/>
                <a:ext cx="75628" cy="75628"/>
                <a:chOff x="5266181" y="3264884"/>
                <a:chExt cx="75628" cy="75628"/>
              </a:xfrm>
            </p:grpSpPr>
            <p:sp>
              <p:nvSpPr>
                <p:cNvPr id="18557" name="Freeform: Shape 18556">
                  <a:extLst>
                    <a:ext uri="{FF2B5EF4-FFF2-40B4-BE49-F238E27FC236}">
                      <a16:creationId xmlns:a16="http://schemas.microsoft.com/office/drawing/2014/main" id="{80051F0D-3DC1-A1E8-3D02-BD4DEDA1BD1B}"/>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58" name="Freeform: Shape 18557">
                  <a:extLst>
                    <a:ext uri="{FF2B5EF4-FFF2-40B4-BE49-F238E27FC236}">
                      <a16:creationId xmlns:a16="http://schemas.microsoft.com/office/drawing/2014/main" id="{75B7F13B-639A-0505-7B4A-4C08EA77727D}"/>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3" name="Graphic 1393">
                <a:extLst>
                  <a:ext uri="{FF2B5EF4-FFF2-40B4-BE49-F238E27FC236}">
                    <a16:creationId xmlns:a16="http://schemas.microsoft.com/office/drawing/2014/main" id="{A5BA2B4E-978F-2D9E-6243-0275B9ABB564}"/>
                  </a:ext>
                </a:extLst>
              </p:cNvPr>
              <p:cNvGrpSpPr/>
              <p:nvPr/>
            </p:nvGrpSpPr>
            <p:grpSpPr>
              <a:xfrm>
                <a:off x="5051678" y="3139916"/>
                <a:ext cx="75723" cy="75723"/>
                <a:chOff x="5051678" y="3139916"/>
                <a:chExt cx="75723" cy="75723"/>
              </a:xfrm>
            </p:grpSpPr>
            <p:sp>
              <p:nvSpPr>
                <p:cNvPr id="18555" name="Freeform: Shape 18554">
                  <a:extLst>
                    <a:ext uri="{FF2B5EF4-FFF2-40B4-BE49-F238E27FC236}">
                      <a16:creationId xmlns:a16="http://schemas.microsoft.com/office/drawing/2014/main" id="{5CD8BE60-DAA1-121C-DBBF-D44F9AFDB61A}"/>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56" name="Freeform: Shape 18555">
                  <a:extLst>
                    <a:ext uri="{FF2B5EF4-FFF2-40B4-BE49-F238E27FC236}">
                      <a16:creationId xmlns:a16="http://schemas.microsoft.com/office/drawing/2014/main" id="{F9D47D46-6403-33FD-E12C-4C43EC9CE3FB}"/>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4" name="Graphic 1393">
                <a:extLst>
                  <a:ext uri="{FF2B5EF4-FFF2-40B4-BE49-F238E27FC236}">
                    <a16:creationId xmlns:a16="http://schemas.microsoft.com/office/drawing/2014/main" id="{36DB8E7A-B1F0-CBFE-F5F2-560E4067EFB5}"/>
                  </a:ext>
                </a:extLst>
              </p:cNvPr>
              <p:cNvGrpSpPr/>
              <p:nvPr/>
            </p:nvGrpSpPr>
            <p:grpSpPr>
              <a:xfrm>
                <a:off x="4771834" y="3080289"/>
                <a:ext cx="75723" cy="75723"/>
                <a:chOff x="4771834" y="3080289"/>
                <a:chExt cx="75723" cy="75723"/>
              </a:xfrm>
            </p:grpSpPr>
            <p:sp>
              <p:nvSpPr>
                <p:cNvPr id="18553" name="Freeform: Shape 18552">
                  <a:extLst>
                    <a:ext uri="{FF2B5EF4-FFF2-40B4-BE49-F238E27FC236}">
                      <a16:creationId xmlns:a16="http://schemas.microsoft.com/office/drawing/2014/main" id="{05EE521D-34F4-D878-F75E-AE92C1BC7023}"/>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54" name="Freeform: Shape 18553">
                  <a:extLst>
                    <a:ext uri="{FF2B5EF4-FFF2-40B4-BE49-F238E27FC236}">
                      <a16:creationId xmlns:a16="http://schemas.microsoft.com/office/drawing/2014/main" id="{37290261-0735-8CAE-011B-274A2D26F8D3}"/>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5" name="Graphic 1393">
                <a:extLst>
                  <a:ext uri="{FF2B5EF4-FFF2-40B4-BE49-F238E27FC236}">
                    <a16:creationId xmlns:a16="http://schemas.microsoft.com/office/drawing/2014/main" id="{A1B7DBE4-A33C-D017-E548-A43CCBF9B2DB}"/>
                  </a:ext>
                </a:extLst>
              </p:cNvPr>
              <p:cNvGrpSpPr/>
              <p:nvPr/>
            </p:nvGrpSpPr>
            <p:grpSpPr>
              <a:xfrm>
                <a:off x="4719256" y="2926461"/>
                <a:ext cx="75723" cy="75723"/>
                <a:chOff x="4719256" y="2926461"/>
                <a:chExt cx="75723" cy="75723"/>
              </a:xfrm>
            </p:grpSpPr>
            <p:sp>
              <p:nvSpPr>
                <p:cNvPr id="18551" name="Freeform: Shape 18550">
                  <a:extLst>
                    <a:ext uri="{FF2B5EF4-FFF2-40B4-BE49-F238E27FC236}">
                      <a16:creationId xmlns:a16="http://schemas.microsoft.com/office/drawing/2014/main" id="{275F07A6-015D-403F-6514-75079C415903}"/>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52" name="Freeform: Shape 18551">
                  <a:extLst>
                    <a:ext uri="{FF2B5EF4-FFF2-40B4-BE49-F238E27FC236}">
                      <a16:creationId xmlns:a16="http://schemas.microsoft.com/office/drawing/2014/main" id="{5B5DFB9D-AAC5-E5BE-4BC2-7842EEDDA0A5}"/>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6" name="Graphic 1393">
                <a:extLst>
                  <a:ext uri="{FF2B5EF4-FFF2-40B4-BE49-F238E27FC236}">
                    <a16:creationId xmlns:a16="http://schemas.microsoft.com/office/drawing/2014/main" id="{D7567AF9-0BAE-5DFC-F10A-CE3DB51EE356}"/>
                  </a:ext>
                </a:extLst>
              </p:cNvPr>
              <p:cNvGrpSpPr/>
              <p:nvPr/>
            </p:nvGrpSpPr>
            <p:grpSpPr>
              <a:xfrm>
                <a:off x="4684299" y="2858357"/>
                <a:ext cx="75723" cy="75628"/>
                <a:chOff x="4684299" y="2858357"/>
                <a:chExt cx="75723" cy="75628"/>
              </a:xfrm>
            </p:grpSpPr>
            <p:sp>
              <p:nvSpPr>
                <p:cNvPr id="18549" name="Freeform: Shape 18548">
                  <a:extLst>
                    <a:ext uri="{FF2B5EF4-FFF2-40B4-BE49-F238E27FC236}">
                      <a16:creationId xmlns:a16="http://schemas.microsoft.com/office/drawing/2014/main" id="{DA832A99-1357-A697-E361-0E55E0991450}"/>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50" name="Freeform: Shape 18549">
                  <a:extLst>
                    <a:ext uri="{FF2B5EF4-FFF2-40B4-BE49-F238E27FC236}">
                      <a16:creationId xmlns:a16="http://schemas.microsoft.com/office/drawing/2014/main" id="{9B184109-093D-358D-0094-03453CEB75CD}"/>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7" name="Graphic 1393">
                <a:extLst>
                  <a:ext uri="{FF2B5EF4-FFF2-40B4-BE49-F238E27FC236}">
                    <a16:creationId xmlns:a16="http://schemas.microsoft.com/office/drawing/2014/main" id="{CD9DB587-6370-90B9-C1FC-D4579D74730C}"/>
                  </a:ext>
                </a:extLst>
              </p:cNvPr>
              <p:cNvGrpSpPr/>
              <p:nvPr/>
            </p:nvGrpSpPr>
            <p:grpSpPr>
              <a:xfrm>
                <a:off x="4659439" y="2844641"/>
                <a:ext cx="75628" cy="75723"/>
                <a:chOff x="4659439" y="2844641"/>
                <a:chExt cx="75628" cy="75723"/>
              </a:xfrm>
            </p:grpSpPr>
            <p:sp>
              <p:nvSpPr>
                <p:cNvPr id="18547" name="Freeform: Shape 18546">
                  <a:extLst>
                    <a:ext uri="{FF2B5EF4-FFF2-40B4-BE49-F238E27FC236}">
                      <a16:creationId xmlns:a16="http://schemas.microsoft.com/office/drawing/2014/main" id="{5A744B33-1CDF-0553-0D17-66ACE3F91238}"/>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8" name="Freeform: Shape 18547">
                  <a:extLst>
                    <a:ext uri="{FF2B5EF4-FFF2-40B4-BE49-F238E27FC236}">
                      <a16:creationId xmlns:a16="http://schemas.microsoft.com/office/drawing/2014/main" id="{2514AC31-5C1A-6958-50E6-FA20BA508DF8}"/>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8" name="Graphic 1393">
                <a:extLst>
                  <a:ext uri="{FF2B5EF4-FFF2-40B4-BE49-F238E27FC236}">
                    <a16:creationId xmlns:a16="http://schemas.microsoft.com/office/drawing/2014/main" id="{828C0989-3AF1-306B-AE27-836481490DF3}"/>
                  </a:ext>
                </a:extLst>
              </p:cNvPr>
              <p:cNvGrpSpPr/>
              <p:nvPr/>
            </p:nvGrpSpPr>
            <p:grpSpPr>
              <a:xfrm>
                <a:off x="4633531" y="2834925"/>
                <a:ext cx="75723" cy="75628"/>
                <a:chOff x="4633531" y="2834925"/>
                <a:chExt cx="75723" cy="75628"/>
              </a:xfrm>
            </p:grpSpPr>
            <p:sp>
              <p:nvSpPr>
                <p:cNvPr id="18545" name="Freeform: Shape 18544">
                  <a:extLst>
                    <a:ext uri="{FF2B5EF4-FFF2-40B4-BE49-F238E27FC236}">
                      <a16:creationId xmlns:a16="http://schemas.microsoft.com/office/drawing/2014/main" id="{740A2787-C01E-77F1-3263-C5266CD8341D}"/>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6" name="Freeform: Shape 18545">
                  <a:extLst>
                    <a:ext uri="{FF2B5EF4-FFF2-40B4-BE49-F238E27FC236}">
                      <a16:creationId xmlns:a16="http://schemas.microsoft.com/office/drawing/2014/main" id="{A7A30AD4-A836-51FF-8431-B424BA15DFDC}"/>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59" name="Graphic 1393">
                <a:extLst>
                  <a:ext uri="{FF2B5EF4-FFF2-40B4-BE49-F238E27FC236}">
                    <a16:creationId xmlns:a16="http://schemas.microsoft.com/office/drawing/2014/main" id="{BB48E773-BBC1-E484-6F2E-A69A6F601186}"/>
                  </a:ext>
                </a:extLst>
              </p:cNvPr>
              <p:cNvGrpSpPr/>
              <p:nvPr/>
            </p:nvGrpSpPr>
            <p:grpSpPr>
              <a:xfrm>
                <a:off x="4496180" y="2802350"/>
                <a:ext cx="75628" cy="75723"/>
                <a:chOff x="4496180" y="2802350"/>
                <a:chExt cx="75628" cy="75723"/>
              </a:xfrm>
            </p:grpSpPr>
            <p:sp>
              <p:nvSpPr>
                <p:cNvPr id="18543" name="Freeform: Shape 18542">
                  <a:extLst>
                    <a:ext uri="{FF2B5EF4-FFF2-40B4-BE49-F238E27FC236}">
                      <a16:creationId xmlns:a16="http://schemas.microsoft.com/office/drawing/2014/main" id="{0119592D-67F5-F63F-D2C1-430056692799}"/>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4" name="Freeform: Shape 18543">
                  <a:extLst>
                    <a:ext uri="{FF2B5EF4-FFF2-40B4-BE49-F238E27FC236}">
                      <a16:creationId xmlns:a16="http://schemas.microsoft.com/office/drawing/2014/main" id="{EF39AA03-E6F5-0DBA-F77B-748E5178391F}"/>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0" name="Graphic 1393">
                <a:extLst>
                  <a:ext uri="{FF2B5EF4-FFF2-40B4-BE49-F238E27FC236}">
                    <a16:creationId xmlns:a16="http://schemas.microsoft.com/office/drawing/2014/main" id="{3C377BD9-1C56-A804-6FB0-13F0969A5AC5}"/>
                  </a:ext>
                </a:extLst>
              </p:cNvPr>
              <p:cNvGrpSpPr/>
              <p:nvPr/>
            </p:nvGrpSpPr>
            <p:grpSpPr>
              <a:xfrm>
                <a:off x="4423504" y="2802350"/>
                <a:ext cx="75723" cy="75723"/>
                <a:chOff x="4423504" y="2802350"/>
                <a:chExt cx="75723" cy="75723"/>
              </a:xfrm>
            </p:grpSpPr>
            <p:sp>
              <p:nvSpPr>
                <p:cNvPr id="18541" name="Freeform: Shape 18540">
                  <a:extLst>
                    <a:ext uri="{FF2B5EF4-FFF2-40B4-BE49-F238E27FC236}">
                      <a16:creationId xmlns:a16="http://schemas.microsoft.com/office/drawing/2014/main" id="{0A804702-F4A7-D82C-D114-AF78E14EA94A}"/>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2" name="Freeform: Shape 18541">
                  <a:extLst>
                    <a:ext uri="{FF2B5EF4-FFF2-40B4-BE49-F238E27FC236}">
                      <a16:creationId xmlns:a16="http://schemas.microsoft.com/office/drawing/2014/main" id="{C9FAD205-2933-8D33-D1E6-5BA69507DF17}"/>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1" name="Graphic 1393">
                <a:extLst>
                  <a:ext uri="{FF2B5EF4-FFF2-40B4-BE49-F238E27FC236}">
                    <a16:creationId xmlns:a16="http://schemas.microsoft.com/office/drawing/2014/main" id="{1EE4EFA7-4FCC-51CA-2FB6-6FB658232079}"/>
                  </a:ext>
                </a:extLst>
              </p:cNvPr>
              <p:cNvGrpSpPr/>
              <p:nvPr/>
            </p:nvGrpSpPr>
            <p:grpSpPr>
              <a:xfrm>
                <a:off x="4200048" y="2591085"/>
                <a:ext cx="75723" cy="75723"/>
                <a:chOff x="4200048" y="2591085"/>
                <a:chExt cx="75723" cy="75723"/>
              </a:xfrm>
            </p:grpSpPr>
            <p:sp>
              <p:nvSpPr>
                <p:cNvPr id="18539" name="Freeform: Shape 18538">
                  <a:extLst>
                    <a:ext uri="{FF2B5EF4-FFF2-40B4-BE49-F238E27FC236}">
                      <a16:creationId xmlns:a16="http://schemas.microsoft.com/office/drawing/2014/main" id="{BD46046E-2372-20E8-5512-A4C94F8FFB52}"/>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0" name="Freeform: Shape 18539">
                  <a:extLst>
                    <a:ext uri="{FF2B5EF4-FFF2-40B4-BE49-F238E27FC236}">
                      <a16:creationId xmlns:a16="http://schemas.microsoft.com/office/drawing/2014/main" id="{3E4A1A97-E846-F747-2C65-01BA62607C3A}"/>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2" name="Graphic 1393">
                <a:extLst>
                  <a:ext uri="{FF2B5EF4-FFF2-40B4-BE49-F238E27FC236}">
                    <a16:creationId xmlns:a16="http://schemas.microsoft.com/office/drawing/2014/main" id="{B3B984B4-062A-5BCA-3412-62C35BE7E578}"/>
                  </a:ext>
                </a:extLst>
              </p:cNvPr>
              <p:cNvGrpSpPr/>
              <p:nvPr/>
            </p:nvGrpSpPr>
            <p:grpSpPr>
              <a:xfrm>
                <a:off x="4130801" y="2566130"/>
                <a:ext cx="75628" cy="75723"/>
                <a:chOff x="4130801" y="2566130"/>
                <a:chExt cx="75628" cy="75723"/>
              </a:xfrm>
            </p:grpSpPr>
            <p:sp>
              <p:nvSpPr>
                <p:cNvPr id="18537" name="Freeform: Shape 18536">
                  <a:extLst>
                    <a:ext uri="{FF2B5EF4-FFF2-40B4-BE49-F238E27FC236}">
                      <a16:creationId xmlns:a16="http://schemas.microsoft.com/office/drawing/2014/main" id="{A39D38FB-0D23-EFD1-2DE6-00B45D6B7E46}"/>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38" name="Freeform: Shape 18537">
                  <a:extLst>
                    <a:ext uri="{FF2B5EF4-FFF2-40B4-BE49-F238E27FC236}">
                      <a16:creationId xmlns:a16="http://schemas.microsoft.com/office/drawing/2014/main" id="{1E57E41B-EDD1-57C5-53DA-B8257DAD325D}"/>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3" name="Graphic 1393">
                <a:extLst>
                  <a:ext uri="{FF2B5EF4-FFF2-40B4-BE49-F238E27FC236}">
                    <a16:creationId xmlns:a16="http://schemas.microsoft.com/office/drawing/2014/main" id="{113C9D87-55F8-F3EF-E908-D2FC84B54A7B}"/>
                  </a:ext>
                </a:extLst>
              </p:cNvPr>
              <p:cNvGrpSpPr/>
              <p:nvPr/>
            </p:nvGrpSpPr>
            <p:grpSpPr>
              <a:xfrm>
                <a:off x="3892676" y="2527268"/>
                <a:ext cx="75628" cy="75723"/>
                <a:chOff x="3892676" y="2527268"/>
                <a:chExt cx="75628" cy="75723"/>
              </a:xfrm>
            </p:grpSpPr>
            <p:sp>
              <p:nvSpPr>
                <p:cNvPr id="18535" name="Freeform: Shape 18534">
                  <a:extLst>
                    <a:ext uri="{FF2B5EF4-FFF2-40B4-BE49-F238E27FC236}">
                      <a16:creationId xmlns:a16="http://schemas.microsoft.com/office/drawing/2014/main" id="{600C8193-2E87-D7CF-9B52-FAF14DF985C8}"/>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36" name="Freeform: Shape 18535">
                  <a:extLst>
                    <a:ext uri="{FF2B5EF4-FFF2-40B4-BE49-F238E27FC236}">
                      <a16:creationId xmlns:a16="http://schemas.microsoft.com/office/drawing/2014/main" id="{DB1A4055-3745-1316-9E0D-30C21A10E578}"/>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4" name="Graphic 1393">
                <a:extLst>
                  <a:ext uri="{FF2B5EF4-FFF2-40B4-BE49-F238E27FC236}">
                    <a16:creationId xmlns:a16="http://schemas.microsoft.com/office/drawing/2014/main" id="{3FD176F0-1BC8-B88F-7BF1-D557283C3A32}"/>
                  </a:ext>
                </a:extLst>
              </p:cNvPr>
              <p:cNvGrpSpPr/>
              <p:nvPr/>
            </p:nvGrpSpPr>
            <p:grpSpPr>
              <a:xfrm>
                <a:off x="3868102" y="2496216"/>
                <a:ext cx="75723" cy="75723"/>
                <a:chOff x="3868102" y="2496216"/>
                <a:chExt cx="75723" cy="75723"/>
              </a:xfrm>
            </p:grpSpPr>
            <p:sp>
              <p:nvSpPr>
                <p:cNvPr id="18533" name="Freeform: Shape 18532">
                  <a:extLst>
                    <a:ext uri="{FF2B5EF4-FFF2-40B4-BE49-F238E27FC236}">
                      <a16:creationId xmlns:a16="http://schemas.microsoft.com/office/drawing/2014/main" id="{8FC0B31F-5AF5-6722-62C1-65A0FFBF344E}"/>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34" name="Freeform: Shape 18533">
                  <a:extLst>
                    <a:ext uri="{FF2B5EF4-FFF2-40B4-BE49-F238E27FC236}">
                      <a16:creationId xmlns:a16="http://schemas.microsoft.com/office/drawing/2014/main" id="{49BBBAE6-597A-2038-93CD-2D7631008CF0}"/>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5" name="Graphic 1393">
                <a:extLst>
                  <a:ext uri="{FF2B5EF4-FFF2-40B4-BE49-F238E27FC236}">
                    <a16:creationId xmlns:a16="http://schemas.microsoft.com/office/drawing/2014/main" id="{EA7B95F1-44BD-D162-0695-A23F2352A9DD}"/>
                  </a:ext>
                </a:extLst>
              </p:cNvPr>
              <p:cNvGrpSpPr/>
              <p:nvPr/>
            </p:nvGrpSpPr>
            <p:grpSpPr>
              <a:xfrm>
                <a:off x="4228623" y="2608135"/>
                <a:ext cx="75723" cy="75723"/>
                <a:chOff x="4228623" y="2608135"/>
                <a:chExt cx="75723" cy="75723"/>
              </a:xfrm>
            </p:grpSpPr>
            <p:sp>
              <p:nvSpPr>
                <p:cNvPr id="18531" name="Freeform: Shape 18530">
                  <a:extLst>
                    <a:ext uri="{FF2B5EF4-FFF2-40B4-BE49-F238E27FC236}">
                      <a16:creationId xmlns:a16="http://schemas.microsoft.com/office/drawing/2014/main" id="{874453A5-C7C1-4265-BE7C-DC7ADD75E766}"/>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32" name="Freeform: Shape 18531">
                  <a:extLst>
                    <a:ext uri="{FF2B5EF4-FFF2-40B4-BE49-F238E27FC236}">
                      <a16:creationId xmlns:a16="http://schemas.microsoft.com/office/drawing/2014/main" id="{25F90C1A-67EF-C3D9-70A5-9C649CC1FE9F}"/>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6" name="Graphic 1393">
                <a:extLst>
                  <a:ext uri="{FF2B5EF4-FFF2-40B4-BE49-F238E27FC236}">
                    <a16:creationId xmlns:a16="http://schemas.microsoft.com/office/drawing/2014/main" id="{F97F8679-94A7-8A8C-0FF2-77EA93FE2E7B}"/>
                  </a:ext>
                </a:extLst>
              </p:cNvPr>
              <p:cNvGrpSpPr/>
              <p:nvPr/>
            </p:nvGrpSpPr>
            <p:grpSpPr>
              <a:xfrm>
                <a:off x="4281868" y="2633948"/>
                <a:ext cx="75628" cy="75723"/>
                <a:chOff x="4281868" y="2633948"/>
                <a:chExt cx="75628" cy="75723"/>
              </a:xfrm>
            </p:grpSpPr>
            <p:sp>
              <p:nvSpPr>
                <p:cNvPr id="18529" name="Freeform: Shape 18528">
                  <a:extLst>
                    <a:ext uri="{FF2B5EF4-FFF2-40B4-BE49-F238E27FC236}">
                      <a16:creationId xmlns:a16="http://schemas.microsoft.com/office/drawing/2014/main" id="{02EEDC86-7FEE-D61A-82F2-3114BCAAC9E9}"/>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30" name="Freeform: Shape 18529">
                  <a:extLst>
                    <a:ext uri="{FF2B5EF4-FFF2-40B4-BE49-F238E27FC236}">
                      <a16:creationId xmlns:a16="http://schemas.microsoft.com/office/drawing/2014/main" id="{CFC29A6C-4F33-9AD1-9ED7-77520667B95A}"/>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7" name="Graphic 1393">
                <a:extLst>
                  <a:ext uri="{FF2B5EF4-FFF2-40B4-BE49-F238E27FC236}">
                    <a16:creationId xmlns:a16="http://schemas.microsoft.com/office/drawing/2014/main" id="{6E6EAAF4-2859-DD27-1CDA-3DCBB9F8D84B}"/>
                  </a:ext>
                </a:extLst>
              </p:cNvPr>
              <p:cNvGrpSpPr/>
              <p:nvPr/>
            </p:nvGrpSpPr>
            <p:grpSpPr>
              <a:xfrm>
                <a:off x="4289011" y="2656427"/>
                <a:ext cx="75723" cy="75723"/>
                <a:chOff x="4289011" y="2656427"/>
                <a:chExt cx="75723" cy="75723"/>
              </a:xfrm>
            </p:grpSpPr>
            <p:sp>
              <p:nvSpPr>
                <p:cNvPr id="18527" name="Freeform: Shape 18526">
                  <a:extLst>
                    <a:ext uri="{FF2B5EF4-FFF2-40B4-BE49-F238E27FC236}">
                      <a16:creationId xmlns:a16="http://schemas.microsoft.com/office/drawing/2014/main" id="{60934B81-1AF2-83A4-C1E5-ADDF023005D4}"/>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8" name="Freeform: Shape 18527">
                  <a:extLst>
                    <a:ext uri="{FF2B5EF4-FFF2-40B4-BE49-F238E27FC236}">
                      <a16:creationId xmlns:a16="http://schemas.microsoft.com/office/drawing/2014/main" id="{5F68FC29-FC02-B262-44B5-FEA16BC5557C}"/>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8" name="Graphic 1393">
                <a:extLst>
                  <a:ext uri="{FF2B5EF4-FFF2-40B4-BE49-F238E27FC236}">
                    <a16:creationId xmlns:a16="http://schemas.microsoft.com/office/drawing/2014/main" id="{6057ABDE-B345-CD43-2FAF-9685F15D8E25}"/>
                  </a:ext>
                </a:extLst>
              </p:cNvPr>
              <p:cNvGrpSpPr/>
              <p:nvPr/>
            </p:nvGrpSpPr>
            <p:grpSpPr>
              <a:xfrm>
                <a:off x="4297584" y="2656427"/>
                <a:ext cx="75628" cy="75723"/>
                <a:chOff x="4297584" y="2656427"/>
                <a:chExt cx="75628" cy="75723"/>
              </a:xfrm>
            </p:grpSpPr>
            <p:sp>
              <p:nvSpPr>
                <p:cNvPr id="18525" name="Freeform: Shape 18524">
                  <a:extLst>
                    <a:ext uri="{FF2B5EF4-FFF2-40B4-BE49-F238E27FC236}">
                      <a16:creationId xmlns:a16="http://schemas.microsoft.com/office/drawing/2014/main" id="{D62ED3B2-DD6F-C795-894B-678BF66E432F}"/>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6" name="Freeform: Shape 18525">
                  <a:extLst>
                    <a:ext uri="{FF2B5EF4-FFF2-40B4-BE49-F238E27FC236}">
                      <a16:creationId xmlns:a16="http://schemas.microsoft.com/office/drawing/2014/main" id="{4061DFD6-C79F-CD80-E245-3473F37FDED2}"/>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69" name="Graphic 1393">
                <a:extLst>
                  <a:ext uri="{FF2B5EF4-FFF2-40B4-BE49-F238E27FC236}">
                    <a16:creationId xmlns:a16="http://schemas.microsoft.com/office/drawing/2014/main" id="{68DFBA3D-2B9B-C1F2-5888-D493A8B4451B}"/>
                  </a:ext>
                </a:extLst>
              </p:cNvPr>
              <p:cNvGrpSpPr/>
              <p:nvPr/>
            </p:nvGrpSpPr>
            <p:grpSpPr>
              <a:xfrm>
                <a:off x="4301584" y="2676810"/>
                <a:ext cx="75628" cy="75723"/>
                <a:chOff x="4301584" y="2676810"/>
                <a:chExt cx="75628" cy="75723"/>
              </a:xfrm>
            </p:grpSpPr>
            <p:sp>
              <p:nvSpPr>
                <p:cNvPr id="18523" name="Freeform: Shape 18522">
                  <a:extLst>
                    <a:ext uri="{FF2B5EF4-FFF2-40B4-BE49-F238E27FC236}">
                      <a16:creationId xmlns:a16="http://schemas.microsoft.com/office/drawing/2014/main" id="{54E51D59-EFAE-00F7-36D6-483A16446C51}"/>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4" name="Freeform: Shape 18523">
                  <a:extLst>
                    <a:ext uri="{FF2B5EF4-FFF2-40B4-BE49-F238E27FC236}">
                      <a16:creationId xmlns:a16="http://schemas.microsoft.com/office/drawing/2014/main" id="{A234CFFD-3ADB-9BD4-2E2D-9C261ECA1057}"/>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0" name="Graphic 1393">
                <a:extLst>
                  <a:ext uri="{FF2B5EF4-FFF2-40B4-BE49-F238E27FC236}">
                    <a16:creationId xmlns:a16="http://schemas.microsoft.com/office/drawing/2014/main" id="{6FE7BF85-040A-3B1C-42B1-7D7C311D75CE}"/>
                  </a:ext>
                </a:extLst>
              </p:cNvPr>
              <p:cNvGrpSpPr/>
              <p:nvPr/>
            </p:nvGrpSpPr>
            <p:grpSpPr>
              <a:xfrm>
                <a:off x="4307299" y="2683859"/>
                <a:ext cx="75723" cy="75628"/>
                <a:chOff x="4307299" y="2683859"/>
                <a:chExt cx="75723" cy="75628"/>
              </a:xfrm>
            </p:grpSpPr>
            <p:sp>
              <p:nvSpPr>
                <p:cNvPr id="18521" name="Freeform: Shape 18520">
                  <a:extLst>
                    <a:ext uri="{FF2B5EF4-FFF2-40B4-BE49-F238E27FC236}">
                      <a16:creationId xmlns:a16="http://schemas.microsoft.com/office/drawing/2014/main" id="{187BC0DF-5946-4FDF-E251-1C3DDFDAFBCB}"/>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2" name="Freeform: Shape 18521">
                  <a:extLst>
                    <a:ext uri="{FF2B5EF4-FFF2-40B4-BE49-F238E27FC236}">
                      <a16:creationId xmlns:a16="http://schemas.microsoft.com/office/drawing/2014/main" id="{840F5419-9EFA-E078-E16B-986291E75DBE}"/>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1" name="Graphic 1393">
                <a:extLst>
                  <a:ext uri="{FF2B5EF4-FFF2-40B4-BE49-F238E27FC236}">
                    <a16:creationId xmlns:a16="http://schemas.microsoft.com/office/drawing/2014/main" id="{4720AF75-1F3D-44F2-E758-E86FEC27E66C}"/>
                  </a:ext>
                </a:extLst>
              </p:cNvPr>
              <p:cNvGrpSpPr/>
              <p:nvPr/>
            </p:nvGrpSpPr>
            <p:grpSpPr>
              <a:xfrm>
                <a:off x="4313681" y="2694336"/>
                <a:ext cx="75723" cy="75628"/>
                <a:chOff x="4313681" y="2694336"/>
                <a:chExt cx="75723" cy="75628"/>
              </a:xfrm>
            </p:grpSpPr>
            <p:sp>
              <p:nvSpPr>
                <p:cNvPr id="18519" name="Freeform: Shape 18518">
                  <a:extLst>
                    <a:ext uri="{FF2B5EF4-FFF2-40B4-BE49-F238E27FC236}">
                      <a16:creationId xmlns:a16="http://schemas.microsoft.com/office/drawing/2014/main" id="{CA4AA861-C324-49D7-5ED7-A8937C67D1E5}"/>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0" name="Freeform: Shape 18519">
                  <a:extLst>
                    <a:ext uri="{FF2B5EF4-FFF2-40B4-BE49-F238E27FC236}">
                      <a16:creationId xmlns:a16="http://schemas.microsoft.com/office/drawing/2014/main" id="{C580BF12-1099-A478-23BE-C2ACBB532AB2}"/>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2" name="Graphic 1393">
                <a:extLst>
                  <a:ext uri="{FF2B5EF4-FFF2-40B4-BE49-F238E27FC236}">
                    <a16:creationId xmlns:a16="http://schemas.microsoft.com/office/drawing/2014/main" id="{1F6F6B35-EAC7-91CD-11D5-7FCF84A4A1AF}"/>
                  </a:ext>
                </a:extLst>
              </p:cNvPr>
              <p:cNvGrpSpPr/>
              <p:nvPr/>
            </p:nvGrpSpPr>
            <p:grpSpPr>
              <a:xfrm>
                <a:off x="4322539" y="2703766"/>
                <a:ext cx="75723" cy="75628"/>
                <a:chOff x="4322539" y="2703766"/>
                <a:chExt cx="75723" cy="75628"/>
              </a:xfrm>
            </p:grpSpPr>
            <p:sp>
              <p:nvSpPr>
                <p:cNvPr id="18517" name="Freeform: Shape 18516">
                  <a:extLst>
                    <a:ext uri="{FF2B5EF4-FFF2-40B4-BE49-F238E27FC236}">
                      <a16:creationId xmlns:a16="http://schemas.microsoft.com/office/drawing/2014/main" id="{D0FEBA78-67EF-DD97-9754-4B34AA11349D}"/>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18" name="Freeform: Shape 18517">
                  <a:extLst>
                    <a:ext uri="{FF2B5EF4-FFF2-40B4-BE49-F238E27FC236}">
                      <a16:creationId xmlns:a16="http://schemas.microsoft.com/office/drawing/2014/main" id="{BB988973-1BA6-6D6E-3020-F7DF647184EF}"/>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3" name="Graphic 1393">
                <a:extLst>
                  <a:ext uri="{FF2B5EF4-FFF2-40B4-BE49-F238E27FC236}">
                    <a16:creationId xmlns:a16="http://schemas.microsoft.com/office/drawing/2014/main" id="{3F4C2E59-2FDF-A08D-CED3-ED75221D8EF5}"/>
                  </a:ext>
                </a:extLst>
              </p:cNvPr>
              <p:cNvGrpSpPr/>
              <p:nvPr/>
            </p:nvGrpSpPr>
            <p:grpSpPr>
              <a:xfrm>
                <a:off x="4331302" y="2718054"/>
                <a:ext cx="75723" cy="75723"/>
                <a:chOff x="4331302" y="2718054"/>
                <a:chExt cx="75723" cy="75723"/>
              </a:xfrm>
            </p:grpSpPr>
            <p:sp>
              <p:nvSpPr>
                <p:cNvPr id="18515" name="Freeform: Shape 18514">
                  <a:extLst>
                    <a:ext uri="{FF2B5EF4-FFF2-40B4-BE49-F238E27FC236}">
                      <a16:creationId xmlns:a16="http://schemas.microsoft.com/office/drawing/2014/main" id="{186C5C0A-9229-4FC4-ADD0-3B152CB97EAF}"/>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16" name="Freeform: Shape 18515">
                  <a:extLst>
                    <a:ext uri="{FF2B5EF4-FFF2-40B4-BE49-F238E27FC236}">
                      <a16:creationId xmlns:a16="http://schemas.microsoft.com/office/drawing/2014/main" id="{369E680A-841C-376C-7CD7-A5FC955C47BF}"/>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4" name="Graphic 1393">
                <a:extLst>
                  <a:ext uri="{FF2B5EF4-FFF2-40B4-BE49-F238E27FC236}">
                    <a16:creationId xmlns:a16="http://schemas.microsoft.com/office/drawing/2014/main" id="{F7A4D114-72B1-35EB-60E8-5B03F90F4170}"/>
                  </a:ext>
                </a:extLst>
              </p:cNvPr>
              <p:cNvGrpSpPr/>
              <p:nvPr/>
            </p:nvGrpSpPr>
            <p:grpSpPr>
              <a:xfrm>
                <a:off x="4340732" y="2734246"/>
                <a:ext cx="75723" cy="75723"/>
                <a:chOff x="4340732" y="2734246"/>
                <a:chExt cx="75723" cy="75723"/>
              </a:xfrm>
            </p:grpSpPr>
            <p:sp>
              <p:nvSpPr>
                <p:cNvPr id="18513" name="Freeform: Shape 18512">
                  <a:extLst>
                    <a:ext uri="{FF2B5EF4-FFF2-40B4-BE49-F238E27FC236}">
                      <a16:creationId xmlns:a16="http://schemas.microsoft.com/office/drawing/2014/main" id="{C2BE44A0-1499-AFAE-A87F-61FF0F740A55}"/>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14" name="Freeform: Shape 18513">
                  <a:extLst>
                    <a:ext uri="{FF2B5EF4-FFF2-40B4-BE49-F238E27FC236}">
                      <a16:creationId xmlns:a16="http://schemas.microsoft.com/office/drawing/2014/main" id="{0C2E023F-2690-E9D1-AD54-230DE01B91ED}"/>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5" name="Graphic 1393">
                <a:extLst>
                  <a:ext uri="{FF2B5EF4-FFF2-40B4-BE49-F238E27FC236}">
                    <a16:creationId xmlns:a16="http://schemas.microsoft.com/office/drawing/2014/main" id="{AAB78E71-F3ED-5188-E547-F37A20908C08}"/>
                  </a:ext>
                </a:extLst>
              </p:cNvPr>
              <p:cNvGrpSpPr/>
              <p:nvPr/>
            </p:nvGrpSpPr>
            <p:grpSpPr>
              <a:xfrm>
                <a:off x="4348543" y="2742819"/>
                <a:ext cx="75628" cy="75628"/>
                <a:chOff x="4348543" y="2742819"/>
                <a:chExt cx="75628" cy="75628"/>
              </a:xfrm>
            </p:grpSpPr>
            <p:sp>
              <p:nvSpPr>
                <p:cNvPr id="18511" name="Freeform: Shape 18510">
                  <a:extLst>
                    <a:ext uri="{FF2B5EF4-FFF2-40B4-BE49-F238E27FC236}">
                      <a16:creationId xmlns:a16="http://schemas.microsoft.com/office/drawing/2014/main" id="{1E937598-B54B-0178-7558-D1D0E5BC4C87}"/>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12" name="Freeform: Shape 18511">
                  <a:extLst>
                    <a:ext uri="{FF2B5EF4-FFF2-40B4-BE49-F238E27FC236}">
                      <a16:creationId xmlns:a16="http://schemas.microsoft.com/office/drawing/2014/main" id="{13B632FF-022C-BB80-CB95-AB7A599675DD}"/>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6" name="Graphic 1393">
                <a:extLst>
                  <a:ext uri="{FF2B5EF4-FFF2-40B4-BE49-F238E27FC236}">
                    <a16:creationId xmlns:a16="http://schemas.microsoft.com/office/drawing/2014/main" id="{02224730-03FE-3F1A-1781-B221CA3D6E35}"/>
                  </a:ext>
                </a:extLst>
              </p:cNvPr>
              <p:cNvGrpSpPr/>
              <p:nvPr/>
            </p:nvGrpSpPr>
            <p:grpSpPr>
              <a:xfrm>
                <a:off x="4360354" y="2759487"/>
                <a:ext cx="75723" cy="75723"/>
                <a:chOff x="4360354" y="2759487"/>
                <a:chExt cx="75723" cy="75723"/>
              </a:xfrm>
            </p:grpSpPr>
            <p:sp>
              <p:nvSpPr>
                <p:cNvPr id="18509" name="Freeform: Shape 18508">
                  <a:extLst>
                    <a:ext uri="{FF2B5EF4-FFF2-40B4-BE49-F238E27FC236}">
                      <a16:creationId xmlns:a16="http://schemas.microsoft.com/office/drawing/2014/main" id="{EA802990-474D-DEAC-F206-3F5BA7979A32}"/>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10" name="Freeform: Shape 18509">
                  <a:extLst>
                    <a:ext uri="{FF2B5EF4-FFF2-40B4-BE49-F238E27FC236}">
                      <a16:creationId xmlns:a16="http://schemas.microsoft.com/office/drawing/2014/main" id="{506022D2-4F5D-342D-42FF-C4B3E069FB47}"/>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7" name="Graphic 1393">
                <a:extLst>
                  <a:ext uri="{FF2B5EF4-FFF2-40B4-BE49-F238E27FC236}">
                    <a16:creationId xmlns:a16="http://schemas.microsoft.com/office/drawing/2014/main" id="{FE72BDCF-B9A6-2D23-7D6D-5C1988F949B7}"/>
                  </a:ext>
                </a:extLst>
              </p:cNvPr>
              <p:cNvGrpSpPr/>
              <p:nvPr/>
            </p:nvGrpSpPr>
            <p:grpSpPr>
              <a:xfrm>
                <a:off x="4725542" y="2957988"/>
                <a:ext cx="75723" cy="75723"/>
                <a:chOff x="4725542" y="2957988"/>
                <a:chExt cx="75723" cy="75723"/>
              </a:xfrm>
            </p:grpSpPr>
            <p:sp>
              <p:nvSpPr>
                <p:cNvPr id="18507" name="Freeform: Shape 18506">
                  <a:extLst>
                    <a:ext uri="{FF2B5EF4-FFF2-40B4-BE49-F238E27FC236}">
                      <a16:creationId xmlns:a16="http://schemas.microsoft.com/office/drawing/2014/main" id="{5D30DA71-D868-D3DF-621B-C949D67AD9F9}"/>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8" name="Freeform: Shape 18507">
                  <a:extLst>
                    <a:ext uri="{FF2B5EF4-FFF2-40B4-BE49-F238E27FC236}">
                      <a16:creationId xmlns:a16="http://schemas.microsoft.com/office/drawing/2014/main" id="{E482153B-6DB3-40C0-6137-DF78CF5F46E2}"/>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8" name="Graphic 1393">
                <a:extLst>
                  <a:ext uri="{FF2B5EF4-FFF2-40B4-BE49-F238E27FC236}">
                    <a16:creationId xmlns:a16="http://schemas.microsoft.com/office/drawing/2014/main" id="{2048C1AB-F6D7-AFBA-8689-1ACFA388210C}"/>
                  </a:ext>
                </a:extLst>
              </p:cNvPr>
              <p:cNvGrpSpPr/>
              <p:nvPr/>
            </p:nvGrpSpPr>
            <p:grpSpPr>
              <a:xfrm>
                <a:off x="4737734" y="2997803"/>
                <a:ext cx="75723" cy="75723"/>
                <a:chOff x="4737734" y="2997803"/>
                <a:chExt cx="75723" cy="75723"/>
              </a:xfrm>
            </p:grpSpPr>
            <p:sp>
              <p:nvSpPr>
                <p:cNvPr id="18505" name="Freeform: Shape 18504">
                  <a:extLst>
                    <a:ext uri="{FF2B5EF4-FFF2-40B4-BE49-F238E27FC236}">
                      <a16:creationId xmlns:a16="http://schemas.microsoft.com/office/drawing/2014/main" id="{5CE852C6-E391-F5E3-5CDB-F3494DF72404}"/>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6" name="Freeform: Shape 18505">
                  <a:extLst>
                    <a:ext uri="{FF2B5EF4-FFF2-40B4-BE49-F238E27FC236}">
                      <a16:creationId xmlns:a16="http://schemas.microsoft.com/office/drawing/2014/main" id="{63D0B40B-307A-5D13-D384-F2CDF858065A}"/>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79" name="Graphic 1393">
                <a:extLst>
                  <a:ext uri="{FF2B5EF4-FFF2-40B4-BE49-F238E27FC236}">
                    <a16:creationId xmlns:a16="http://schemas.microsoft.com/office/drawing/2014/main" id="{605F0B1B-762D-1FE4-8AFA-D35150C263A9}"/>
                  </a:ext>
                </a:extLst>
              </p:cNvPr>
              <p:cNvGrpSpPr/>
              <p:nvPr/>
            </p:nvGrpSpPr>
            <p:grpSpPr>
              <a:xfrm>
                <a:off x="4748116" y="3035712"/>
                <a:ext cx="75723" cy="75628"/>
                <a:chOff x="4748116" y="3035712"/>
                <a:chExt cx="75723" cy="75628"/>
              </a:xfrm>
            </p:grpSpPr>
            <p:sp>
              <p:nvSpPr>
                <p:cNvPr id="18503" name="Freeform: Shape 18502">
                  <a:extLst>
                    <a:ext uri="{FF2B5EF4-FFF2-40B4-BE49-F238E27FC236}">
                      <a16:creationId xmlns:a16="http://schemas.microsoft.com/office/drawing/2014/main" id="{2895F4D0-86A6-9933-3B82-F0A9D056C37C}"/>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4" name="Freeform: Shape 18503">
                  <a:extLst>
                    <a:ext uri="{FF2B5EF4-FFF2-40B4-BE49-F238E27FC236}">
                      <a16:creationId xmlns:a16="http://schemas.microsoft.com/office/drawing/2014/main" id="{981A5119-0808-B691-616D-0803D0512CBC}"/>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0" name="Graphic 1393">
                <a:extLst>
                  <a:ext uri="{FF2B5EF4-FFF2-40B4-BE49-F238E27FC236}">
                    <a16:creationId xmlns:a16="http://schemas.microsoft.com/office/drawing/2014/main" id="{22C1C77C-655D-7987-0E89-EC48822F8379}"/>
                  </a:ext>
                </a:extLst>
              </p:cNvPr>
              <p:cNvGrpSpPr/>
              <p:nvPr/>
            </p:nvGrpSpPr>
            <p:grpSpPr>
              <a:xfrm>
                <a:off x="4760023" y="3035712"/>
                <a:ext cx="75723" cy="75628"/>
                <a:chOff x="4760023" y="3035712"/>
                <a:chExt cx="75723" cy="75628"/>
              </a:xfrm>
            </p:grpSpPr>
            <p:sp>
              <p:nvSpPr>
                <p:cNvPr id="18501" name="Freeform: Shape 18500">
                  <a:extLst>
                    <a:ext uri="{FF2B5EF4-FFF2-40B4-BE49-F238E27FC236}">
                      <a16:creationId xmlns:a16="http://schemas.microsoft.com/office/drawing/2014/main" id="{1E86A8A9-8800-B02A-460D-13287B20287A}"/>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2" name="Freeform: Shape 18501">
                  <a:extLst>
                    <a:ext uri="{FF2B5EF4-FFF2-40B4-BE49-F238E27FC236}">
                      <a16:creationId xmlns:a16="http://schemas.microsoft.com/office/drawing/2014/main" id="{14D2D405-B375-EE3E-8742-D2F1D9481CFF}"/>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1" name="Graphic 1393">
                <a:extLst>
                  <a:ext uri="{FF2B5EF4-FFF2-40B4-BE49-F238E27FC236}">
                    <a16:creationId xmlns:a16="http://schemas.microsoft.com/office/drawing/2014/main" id="{89D6C0E0-A7B6-6F46-85B6-5885B006F477}"/>
                  </a:ext>
                </a:extLst>
              </p:cNvPr>
              <p:cNvGrpSpPr/>
              <p:nvPr/>
            </p:nvGrpSpPr>
            <p:grpSpPr>
              <a:xfrm>
                <a:off x="5101113" y="3149536"/>
                <a:ext cx="75628" cy="75723"/>
                <a:chOff x="5101113" y="3149536"/>
                <a:chExt cx="75628" cy="75723"/>
              </a:xfrm>
            </p:grpSpPr>
            <p:sp>
              <p:nvSpPr>
                <p:cNvPr id="18499" name="Freeform: Shape 18498">
                  <a:extLst>
                    <a:ext uri="{FF2B5EF4-FFF2-40B4-BE49-F238E27FC236}">
                      <a16:creationId xmlns:a16="http://schemas.microsoft.com/office/drawing/2014/main" id="{E1EFC821-D3D1-5B93-435F-EEA121FC0C14}"/>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0" name="Freeform: Shape 18499">
                  <a:extLst>
                    <a:ext uri="{FF2B5EF4-FFF2-40B4-BE49-F238E27FC236}">
                      <a16:creationId xmlns:a16="http://schemas.microsoft.com/office/drawing/2014/main" id="{50B3B0B5-97CB-C903-0E30-32F763B1A7B0}"/>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2" name="Graphic 1393">
                <a:extLst>
                  <a:ext uri="{FF2B5EF4-FFF2-40B4-BE49-F238E27FC236}">
                    <a16:creationId xmlns:a16="http://schemas.microsoft.com/office/drawing/2014/main" id="{E729AE9D-EC46-87C7-428E-5DBB7E233844}"/>
                  </a:ext>
                </a:extLst>
              </p:cNvPr>
              <p:cNvGrpSpPr/>
              <p:nvPr/>
            </p:nvGrpSpPr>
            <p:grpSpPr>
              <a:xfrm>
                <a:off x="5127402" y="3149536"/>
                <a:ext cx="75723" cy="75723"/>
                <a:chOff x="5127402" y="3149536"/>
                <a:chExt cx="75723" cy="75723"/>
              </a:xfrm>
            </p:grpSpPr>
            <p:sp>
              <p:nvSpPr>
                <p:cNvPr id="18497" name="Freeform: Shape 18496">
                  <a:extLst>
                    <a:ext uri="{FF2B5EF4-FFF2-40B4-BE49-F238E27FC236}">
                      <a16:creationId xmlns:a16="http://schemas.microsoft.com/office/drawing/2014/main" id="{7E256C24-9417-CBFB-6580-52335C31A23F}"/>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98" name="Freeform: Shape 18497">
                  <a:extLst>
                    <a:ext uri="{FF2B5EF4-FFF2-40B4-BE49-F238E27FC236}">
                      <a16:creationId xmlns:a16="http://schemas.microsoft.com/office/drawing/2014/main" id="{1B410366-41FF-340A-7226-DC8C2851747F}"/>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3" name="Graphic 1393">
                <a:extLst>
                  <a:ext uri="{FF2B5EF4-FFF2-40B4-BE49-F238E27FC236}">
                    <a16:creationId xmlns:a16="http://schemas.microsoft.com/office/drawing/2014/main" id="{0E8C7A88-F33D-1117-AB3D-FA5D9B1FC1D9}"/>
                  </a:ext>
                </a:extLst>
              </p:cNvPr>
              <p:cNvGrpSpPr/>
              <p:nvPr/>
            </p:nvGrpSpPr>
            <p:grpSpPr>
              <a:xfrm>
                <a:off x="5144833" y="3157061"/>
                <a:ext cx="75723" cy="75723"/>
                <a:chOff x="5144833" y="3157061"/>
                <a:chExt cx="75723" cy="75723"/>
              </a:xfrm>
            </p:grpSpPr>
            <p:sp>
              <p:nvSpPr>
                <p:cNvPr id="18495" name="Freeform: Shape 18494">
                  <a:extLst>
                    <a:ext uri="{FF2B5EF4-FFF2-40B4-BE49-F238E27FC236}">
                      <a16:creationId xmlns:a16="http://schemas.microsoft.com/office/drawing/2014/main" id="{4ED9F8CD-3FC6-2396-F6BB-226F95F3C7C6}"/>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96" name="Freeform: Shape 18495">
                  <a:extLst>
                    <a:ext uri="{FF2B5EF4-FFF2-40B4-BE49-F238E27FC236}">
                      <a16:creationId xmlns:a16="http://schemas.microsoft.com/office/drawing/2014/main" id="{B68EAF07-0839-7D32-D29E-246260519628}"/>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4" name="Graphic 1393">
                <a:extLst>
                  <a:ext uri="{FF2B5EF4-FFF2-40B4-BE49-F238E27FC236}">
                    <a16:creationId xmlns:a16="http://schemas.microsoft.com/office/drawing/2014/main" id="{1DB97A8C-E497-367B-CE1C-C6A7FA9629F3}"/>
                  </a:ext>
                </a:extLst>
              </p:cNvPr>
              <p:cNvGrpSpPr/>
              <p:nvPr/>
            </p:nvGrpSpPr>
            <p:grpSpPr>
              <a:xfrm>
                <a:off x="5158263" y="3164776"/>
                <a:ext cx="75628" cy="75723"/>
                <a:chOff x="5158263" y="3164776"/>
                <a:chExt cx="75628" cy="75723"/>
              </a:xfrm>
            </p:grpSpPr>
            <p:sp>
              <p:nvSpPr>
                <p:cNvPr id="18493" name="Freeform: Shape 18492">
                  <a:extLst>
                    <a:ext uri="{FF2B5EF4-FFF2-40B4-BE49-F238E27FC236}">
                      <a16:creationId xmlns:a16="http://schemas.microsoft.com/office/drawing/2014/main" id="{BC622054-9CCE-5311-9D5C-797F831FCE34}"/>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94" name="Freeform: Shape 18493">
                  <a:extLst>
                    <a:ext uri="{FF2B5EF4-FFF2-40B4-BE49-F238E27FC236}">
                      <a16:creationId xmlns:a16="http://schemas.microsoft.com/office/drawing/2014/main" id="{21E96DCB-A0D8-B35D-C3EF-579AF176DFD4}"/>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5" name="Graphic 1393">
                <a:extLst>
                  <a:ext uri="{FF2B5EF4-FFF2-40B4-BE49-F238E27FC236}">
                    <a16:creationId xmlns:a16="http://schemas.microsoft.com/office/drawing/2014/main" id="{735F3DBA-83EC-2F84-4EBD-E406C9E8501C}"/>
                  </a:ext>
                </a:extLst>
              </p:cNvPr>
              <p:cNvGrpSpPr/>
              <p:nvPr/>
            </p:nvGrpSpPr>
            <p:grpSpPr>
              <a:xfrm>
                <a:off x="5163216" y="3173158"/>
                <a:ext cx="75723" cy="75723"/>
                <a:chOff x="5163216" y="3173158"/>
                <a:chExt cx="75723" cy="75723"/>
              </a:xfrm>
            </p:grpSpPr>
            <p:sp>
              <p:nvSpPr>
                <p:cNvPr id="18491" name="Freeform: Shape 18490">
                  <a:extLst>
                    <a:ext uri="{FF2B5EF4-FFF2-40B4-BE49-F238E27FC236}">
                      <a16:creationId xmlns:a16="http://schemas.microsoft.com/office/drawing/2014/main" id="{1FD0184F-F2FD-8EBC-B26A-AD6E51F57689}"/>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92" name="Freeform: Shape 18491">
                  <a:extLst>
                    <a:ext uri="{FF2B5EF4-FFF2-40B4-BE49-F238E27FC236}">
                      <a16:creationId xmlns:a16="http://schemas.microsoft.com/office/drawing/2014/main" id="{5355B00D-6E26-A246-7495-FF2FE873D7B6}"/>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6" name="Graphic 1393">
                <a:extLst>
                  <a:ext uri="{FF2B5EF4-FFF2-40B4-BE49-F238E27FC236}">
                    <a16:creationId xmlns:a16="http://schemas.microsoft.com/office/drawing/2014/main" id="{C23DC3A1-167D-4A6D-F2A2-7667778CB00D}"/>
                  </a:ext>
                </a:extLst>
              </p:cNvPr>
              <p:cNvGrpSpPr/>
              <p:nvPr/>
            </p:nvGrpSpPr>
            <p:grpSpPr>
              <a:xfrm>
                <a:off x="5169312" y="3185636"/>
                <a:ext cx="75723" cy="75723"/>
                <a:chOff x="5169312" y="3185636"/>
                <a:chExt cx="75723" cy="75723"/>
              </a:xfrm>
            </p:grpSpPr>
            <p:sp>
              <p:nvSpPr>
                <p:cNvPr id="18489" name="Freeform: Shape 18488">
                  <a:extLst>
                    <a:ext uri="{FF2B5EF4-FFF2-40B4-BE49-F238E27FC236}">
                      <a16:creationId xmlns:a16="http://schemas.microsoft.com/office/drawing/2014/main" id="{42AE9BD1-DB49-9AA2-62D1-5DB24A6A3985}"/>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90" name="Freeform: Shape 18489">
                  <a:extLst>
                    <a:ext uri="{FF2B5EF4-FFF2-40B4-BE49-F238E27FC236}">
                      <a16:creationId xmlns:a16="http://schemas.microsoft.com/office/drawing/2014/main" id="{626A6E54-1637-E45C-D429-6D3422101344}"/>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7" name="Graphic 1393">
                <a:extLst>
                  <a:ext uri="{FF2B5EF4-FFF2-40B4-BE49-F238E27FC236}">
                    <a16:creationId xmlns:a16="http://schemas.microsoft.com/office/drawing/2014/main" id="{687C02C7-458C-160D-C2A9-5A997AF3E5E6}"/>
                  </a:ext>
                </a:extLst>
              </p:cNvPr>
              <p:cNvGrpSpPr/>
              <p:nvPr/>
            </p:nvGrpSpPr>
            <p:grpSpPr>
              <a:xfrm>
                <a:off x="5176741" y="3223545"/>
                <a:ext cx="75723" cy="75628"/>
                <a:chOff x="5176741" y="3223545"/>
                <a:chExt cx="75723" cy="75628"/>
              </a:xfrm>
            </p:grpSpPr>
            <p:sp>
              <p:nvSpPr>
                <p:cNvPr id="18487" name="Freeform: Shape 18486">
                  <a:extLst>
                    <a:ext uri="{FF2B5EF4-FFF2-40B4-BE49-F238E27FC236}">
                      <a16:creationId xmlns:a16="http://schemas.microsoft.com/office/drawing/2014/main" id="{BE1BD98C-90E4-0CD6-11AC-10A3433D3F4E}"/>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8" name="Freeform: Shape 18487">
                  <a:extLst>
                    <a:ext uri="{FF2B5EF4-FFF2-40B4-BE49-F238E27FC236}">
                      <a16:creationId xmlns:a16="http://schemas.microsoft.com/office/drawing/2014/main" id="{F1FF4793-E463-FDF3-BA2E-6EC0FB51CA97}"/>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8" name="Graphic 1393">
                <a:extLst>
                  <a:ext uri="{FF2B5EF4-FFF2-40B4-BE49-F238E27FC236}">
                    <a16:creationId xmlns:a16="http://schemas.microsoft.com/office/drawing/2014/main" id="{7C5B3D5C-D521-1039-8CA8-B90AEE917657}"/>
                  </a:ext>
                </a:extLst>
              </p:cNvPr>
              <p:cNvGrpSpPr/>
              <p:nvPr/>
            </p:nvGrpSpPr>
            <p:grpSpPr>
              <a:xfrm>
                <a:off x="5182742" y="3234785"/>
                <a:ext cx="75628" cy="75628"/>
                <a:chOff x="5182742" y="3234785"/>
                <a:chExt cx="75628" cy="75628"/>
              </a:xfrm>
            </p:grpSpPr>
            <p:sp>
              <p:nvSpPr>
                <p:cNvPr id="18485" name="Freeform: Shape 18484">
                  <a:extLst>
                    <a:ext uri="{FF2B5EF4-FFF2-40B4-BE49-F238E27FC236}">
                      <a16:creationId xmlns:a16="http://schemas.microsoft.com/office/drawing/2014/main" id="{59EE973D-89A7-00CE-C0E5-18699E1FDCA6}"/>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6" name="Freeform: Shape 18485">
                  <a:extLst>
                    <a:ext uri="{FF2B5EF4-FFF2-40B4-BE49-F238E27FC236}">
                      <a16:creationId xmlns:a16="http://schemas.microsoft.com/office/drawing/2014/main" id="{4C494006-4434-6867-669B-10BFB0B9EE96}"/>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89" name="Graphic 1393">
                <a:extLst>
                  <a:ext uri="{FF2B5EF4-FFF2-40B4-BE49-F238E27FC236}">
                    <a16:creationId xmlns:a16="http://schemas.microsoft.com/office/drawing/2014/main" id="{9863512A-1BF5-A368-9E9A-0445755FB52E}"/>
                  </a:ext>
                </a:extLst>
              </p:cNvPr>
              <p:cNvGrpSpPr/>
              <p:nvPr/>
            </p:nvGrpSpPr>
            <p:grpSpPr>
              <a:xfrm>
                <a:off x="5193220" y="3242595"/>
                <a:ext cx="75628" cy="75723"/>
                <a:chOff x="5193220" y="3242595"/>
                <a:chExt cx="75628" cy="75723"/>
              </a:xfrm>
            </p:grpSpPr>
            <p:sp>
              <p:nvSpPr>
                <p:cNvPr id="18483" name="Freeform: Shape 18482">
                  <a:extLst>
                    <a:ext uri="{FF2B5EF4-FFF2-40B4-BE49-F238E27FC236}">
                      <a16:creationId xmlns:a16="http://schemas.microsoft.com/office/drawing/2014/main" id="{FFACE462-EA77-48AB-04ED-D39CE213D0C7}"/>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4" name="Freeform: Shape 18483">
                  <a:extLst>
                    <a:ext uri="{FF2B5EF4-FFF2-40B4-BE49-F238E27FC236}">
                      <a16:creationId xmlns:a16="http://schemas.microsoft.com/office/drawing/2014/main" id="{B602C134-E749-99FB-497D-9EC896A7EC0F}"/>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0" name="Graphic 1393">
                <a:extLst>
                  <a:ext uri="{FF2B5EF4-FFF2-40B4-BE49-F238E27FC236}">
                    <a16:creationId xmlns:a16="http://schemas.microsoft.com/office/drawing/2014/main" id="{18751B27-9ACA-6BA5-7EB2-2FA951F8AA7C}"/>
                  </a:ext>
                </a:extLst>
              </p:cNvPr>
              <p:cNvGrpSpPr/>
              <p:nvPr/>
            </p:nvGrpSpPr>
            <p:grpSpPr>
              <a:xfrm>
                <a:off x="5203126" y="3252597"/>
                <a:ext cx="75628" cy="75723"/>
                <a:chOff x="5203126" y="3252597"/>
                <a:chExt cx="75628" cy="75723"/>
              </a:xfrm>
            </p:grpSpPr>
            <p:sp>
              <p:nvSpPr>
                <p:cNvPr id="18481" name="Freeform: Shape 18480">
                  <a:extLst>
                    <a:ext uri="{FF2B5EF4-FFF2-40B4-BE49-F238E27FC236}">
                      <a16:creationId xmlns:a16="http://schemas.microsoft.com/office/drawing/2014/main" id="{1121F5E0-AD31-E6F5-07E9-03B2834BBAD3}"/>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2" name="Freeform: Shape 18481">
                  <a:extLst>
                    <a:ext uri="{FF2B5EF4-FFF2-40B4-BE49-F238E27FC236}">
                      <a16:creationId xmlns:a16="http://schemas.microsoft.com/office/drawing/2014/main" id="{BB265749-4A87-3AB3-C9F2-517368D613EF}"/>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1" name="Graphic 1393">
                <a:extLst>
                  <a:ext uri="{FF2B5EF4-FFF2-40B4-BE49-F238E27FC236}">
                    <a16:creationId xmlns:a16="http://schemas.microsoft.com/office/drawing/2014/main" id="{4BD39CE0-E173-9C33-8B1B-EC69DCE728B6}"/>
                  </a:ext>
                </a:extLst>
              </p:cNvPr>
              <p:cNvGrpSpPr/>
              <p:nvPr/>
            </p:nvGrpSpPr>
            <p:grpSpPr>
              <a:xfrm>
                <a:off x="5209317" y="3256883"/>
                <a:ext cx="75723" cy="75723"/>
                <a:chOff x="5209317" y="3256883"/>
                <a:chExt cx="75723" cy="75723"/>
              </a:xfrm>
            </p:grpSpPr>
            <p:sp>
              <p:nvSpPr>
                <p:cNvPr id="18479" name="Freeform: Shape 18478">
                  <a:extLst>
                    <a:ext uri="{FF2B5EF4-FFF2-40B4-BE49-F238E27FC236}">
                      <a16:creationId xmlns:a16="http://schemas.microsoft.com/office/drawing/2014/main" id="{92886DF9-1E40-86C1-CFAC-DEBD476DC9DA}"/>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0" name="Freeform: Shape 18479">
                  <a:extLst>
                    <a:ext uri="{FF2B5EF4-FFF2-40B4-BE49-F238E27FC236}">
                      <a16:creationId xmlns:a16="http://schemas.microsoft.com/office/drawing/2014/main" id="{D47D53B1-3994-20E1-7C98-140DE026B7AB}"/>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2" name="Graphic 1393">
                <a:extLst>
                  <a:ext uri="{FF2B5EF4-FFF2-40B4-BE49-F238E27FC236}">
                    <a16:creationId xmlns:a16="http://schemas.microsoft.com/office/drawing/2014/main" id="{B91B6B34-9B31-C47B-DCCC-AEE38BB32F72}"/>
                  </a:ext>
                </a:extLst>
              </p:cNvPr>
              <p:cNvGrpSpPr/>
              <p:nvPr/>
            </p:nvGrpSpPr>
            <p:grpSpPr>
              <a:xfrm>
                <a:off x="5565552" y="3315557"/>
                <a:ext cx="75723" cy="75723"/>
                <a:chOff x="5565552" y="3315557"/>
                <a:chExt cx="75723" cy="75723"/>
              </a:xfrm>
            </p:grpSpPr>
            <p:sp>
              <p:nvSpPr>
                <p:cNvPr id="18477" name="Freeform: Shape 18476">
                  <a:extLst>
                    <a:ext uri="{FF2B5EF4-FFF2-40B4-BE49-F238E27FC236}">
                      <a16:creationId xmlns:a16="http://schemas.microsoft.com/office/drawing/2014/main" id="{EE965E34-B70B-ABC2-BF16-E9228B35899A}"/>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78" name="Freeform: Shape 18477">
                  <a:extLst>
                    <a:ext uri="{FF2B5EF4-FFF2-40B4-BE49-F238E27FC236}">
                      <a16:creationId xmlns:a16="http://schemas.microsoft.com/office/drawing/2014/main" id="{0BD7389C-A449-EC30-CA4A-09F182FF31FC}"/>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3" name="Graphic 1393">
                <a:extLst>
                  <a:ext uri="{FF2B5EF4-FFF2-40B4-BE49-F238E27FC236}">
                    <a16:creationId xmlns:a16="http://schemas.microsoft.com/office/drawing/2014/main" id="{94B78069-7F4F-4E56-7635-2B8D51B6186E}"/>
                  </a:ext>
                </a:extLst>
              </p:cNvPr>
              <p:cNvGrpSpPr/>
              <p:nvPr/>
            </p:nvGrpSpPr>
            <p:grpSpPr>
              <a:xfrm>
                <a:off x="5579268" y="3321653"/>
                <a:ext cx="75723" cy="75723"/>
                <a:chOff x="5579268" y="3321653"/>
                <a:chExt cx="75723" cy="75723"/>
              </a:xfrm>
            </p:grpSpPr>
            <p:sp>
              <p:nvSpPr>
                <p:cNvPr id="18475" name="Freeform: Shape 18474">
                  <a:extLst>
                    <a:ext uri="{FF2B5EF4-FFF2-40B4-BE49-F238E27FC236}">
                      <a16:creationId xmlns:a16="http://schemas.microsoft.com/office/drawing/2014/main" id="{FCD9F46A-7E60-24D6-CEB6-13E6BC6D168F}"/>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76" name="Freeform: Shape 18475">
                  <a:extLst>
                    <a:ext uri="{FF2B5EF4-FFF2-40B4-BE49-F238E27FC236}">
                      <a16:creationId xmlns:a16="http://schemas.microsoft.com/office/drawing/2014/main" id="{DA7A007D-E666-4DBE-A1B0-BEE941C1DB32}"/>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4" name="Graphic 1393">
                <a:extLst>
                  <a:ext uri="{FF2B5EF4-FFF2-40B4-BE49-F238E27FC236}">
                    <a16:creationId xmlns:a16="http://schemas.microsoft.com/office/drawing/2014/main" id="{6F8F4986-6A92-76EF-5781-D8C1C8A50A35}"/>
                  </a:ext>
                </a:extLst>
              </p:cNvPr>
              <p:cNvGrpSpPr/>
              <p:nvPr/>
            </p:nvGrpSpPr>
            <p:grpSpPr>
              <a:xfrm>
                <a:off x="5583554" y="3338703"/>
                <a:ext cx="75628" cy="75628"/>
                <a:chOff x="5583554" y="3338703"/>
                <a:chExt cx="75628" cy="75628"/>
              </a:xfrm>
            </p:grpSpPr>
            <p:sp>
              <p:nvSpPr>
                <p:cNvPr id="18473" name="Freeform: Shape 18472">
                  <a:extLst>
                    <a:ext uri="{FF2B5EF4-FFF2-40B4-BE49-F238E27FC236}">
                      <a16:creationId xmlns:a16="http://schemas.microsoft.com/office/drawing/2014/main" id="{DC1C3B1B-0739-781D-F97D-76D8AAA46CCF}"/>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74" name="Freeform: Shape 18473">
                  <a:extLst>
                    <a:ext uri="{FF2B5EF4-FFF2-40B4-BE49-F238E27FC236}">
                      <a16:creationId xmlns:a16="http://schemas.microsoft.com/office/drawing/2014/main" id="{709516DA-9D7D-6C61-AA11-258988ECDD47}"/>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5" name="Graphic 1393">
                <a:extLst>
                  <a:ext uri="{FF2B5EF4-FFF2-40B4-BE49-F238E27FC236}">
                    <a16:creationId xmlns:a16="http://schemas.microsoft.com/office/drawing/2014/main" id="{876C32C3-56B9-8373-C07E-69953CD66000}"/>
                  </a:ext>
                </a:extLst>
              </p:cNvPr>
              <p:cNvGrpSpPr/>
              <p:nvPr/>
            </p:nvGrpSpPr>
            <p:grpSpPr>
              <a:xfrm>
                <a:off x="5593270" y="3338703"/>
                <a:ext cx="75628" cy="75628"/>
                <a:chOff x="5593270" y="3338703"/>
                <a:chExt cx="75628" cy="75628"/>
              </a:xfrm>
            </p:grpSpPr>
            <p:sp>
              <p:nvSpPr>
                <p:cNvPr id="18471" name="Freeform: Shape 18470">
                  <a:extLst>
                    <a:ext uri="{FF2B5EF4-FFF2-40B4-BE49-F238E27FC236}">
                      <a16:creationId xmlns:a16="http://schemas.microsoft.com/office/drawing/2014/main" id="{B88E5F43-B52E-0BFD-082B-FD3CECD337AD}"/>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72" name="Freeform: Shape 18471">
                  <a:extLst>
                    <a:ext uri="{FF2B5EF4-FFF2-40B4-BE49-F238E27FC236}">
                      <a16:creationId xmlns:a16="http://schemas.microsoft.com/office/drawing/2014/main" id="{28C2504E-0BE6-3365-AF7F-EF5616F5FAE3}"/>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6" name="Graphic 1393">
                <a:extLst>
                  <a:ext uri="{FF2B5EF4-FFF2-40B4-BE49-F238E27FC236}">
                    <a16:creationId xmlns:a16="http://schemas.microsoft.com/office/drawing/2014/main" id="{023E6062-0BD1-FA08-74C5-57605F52A93E}"/>
                  </a:ext>
                </a:extLst>
              </p:cNvPr>
              <p:cNvGrpSpPr/>
              <p:nvPr/>
            </p:nvGrpSpPr>
            <p:grpSpPr>
              <a:xfrm>
                <a:off x="5603461" y="3338703"/>
                <a:ext cx="75628" cy="75628"/>
                <a:chOff x="5603461" y="3338703"/>
                <a:chExt cx="75628" cy="75628"/>
              </a:xfrm>
            </p:grpSpPr>
            <p:sp>
              <p:nvSpPr>
                <p:cNvPr id="18469" name="Freeform: Shape 18468">
                  <a:extLst>
                    <a:ext uri="{FF2B5EF4-FFF2-40B4-BE49-F238E27FC236}">
                      <a16:creationId xmlns:a16="http://schemas.microsoft.com/office/drawing/2014/main" id="{AE2B3D0C-F613-8598-757C-645BA32254C8}"/>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70" name="Freeform: Shape 18469">
                  <a:extLst>
                    <a:ext uri="{FF2B5EF4-FFF2-40B4-BE49-F238E27FC236}">
                      <a16:creationId xmlns:a16="http://schemas.microsoft.com/office/drawing/2014/main" id="{8F18D308-FC35-7DC9-903C-6455205D074B}"/>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7" name="Graphic 1393">
                <a:extLst>
                  <a:ext uri="{FF2B5EF4-FFF2-40B4-BE49-F238E27FC236}">
                    <a16:creationId xmlns:a16="http://schemas.microsoft.com/office/drawing/2014/main" id="{63A380EE-7FF7-873E-38BF-C11490C6FDD0}"/>
                  </a:ext>
                </a:extLst>
              </p:cNvPr>
              <p:cNvGrpSpPr/>
              <p:nvPr/>
            </p:nvGrpSpPr>
            <p:grpSpPr>
              <a:xfrm>
                <a:off x="5600985" y="3383946"/>
                <a:ext cx="75723" cy="75628"/>
                <a:chOff x="5600985" y="3383946"/>
                <a:chExt cx="75723" cy="75628"/>
              </a:xfrm>
            </p:grpSpPr>
            <p:sp>
              <p:nvSpPr>
                <p:cNvPr id="18467" name="Freeform: Shape 18466">
                  <a:extLst>
                    <a:ext uri="{FF2B5EF4-FFF2-40B4-BE49-F238E27FC236}">
                      <a16:creationId xmlns:a16="http://schemas.microsoft.com/office/drawing/2014/main" id="{09F74AD5-16F4-7A35-BE16-44BFCEFD79F9}"/>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8" name="Freeform: Shape 18467">
                  <a:extLst>
                    <a:ext uri="{FF2B5EF4-FFF2-40B4-BE49-F238E27FC236}">
                      <a16:creationId xmlns:a16="http://schemas.microsoft.com/office/drawing/2014/main" id="{32E56CF4-FA2F-FC67-4B8D-FE76A94D576A}"/>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8" name="Graphic 1393">
                <a:extLst>
                  <a:ext uri="{FF2B5EF4-FFF2-40B4-BE49-F238E27FC236}">
                    <a16:creationId xmlns:a16="http://schemas.microsoft.com/office/drawing/2014/main" id="{823F3BE4-9034-0C3A-9822-FE91DFD32A2D}"/>
                  </a:ext>
                </a:extLst>
              </p:cNvPr>
              <p:cNvGrpSpPr/>
              <p:nvPr/>
            </p:nvGrpSpPr>
            <p:grpSpPr>
              <a:xfrm>
                <a:off x="5611367" y="3391281"/>
                <a:ext cx="75628" cy="75628"/>
                <a:chOff x="5611367" y="3391281"/>
                <a:chExt cx="75628" cy="75628"/>
              </a:xfrm>
            </p:grpSpPr>
            <p:sp>
              <p:nvSpPr>
                <p:cNvPr id="18465" name="Freeform: Shape 18464">
                  <a:extLst>
                    <a:ext uri="{FF2B5EF4-FFF2-40B4-BE49-F238E27FC236}">
                      <a16:creationId xmlns:a16="http://schemas.microsoft.com/office/drawing/2014/main" id="{675CC387-3694-302B-6B07-76DF99DDD3CE}"/>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6" name="Freeform: Shape 18465">
                  <a:extLst>
                    <a:ext uri="{FF2B5EF4-FFF2-40B4-BE49-F238E27FC236}">
                      <a16:creationId xmlns:a16="http://schemas.microsoft.com/office/drawing/2014/main" id="{4DC352DC-A82A-5101-5C5C-CDBBFCAA89C4}"/>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399" name="Graphic 1393">
                <a:extLst>
                  <a:ext uri="{FF2B5EF4-FFF2-40B4-BE49-F238E27FC236}">
                    <a16:creationId xmlns:a16="http://schemas.microsoft.com/office/drawing/2014/main" id="{8CCFBF51-F157-7528-0DF8-6DFB4F50C171}"/>
                  </a:ext>
                </a:extLst>
              </p:cNvPr>
              <p:cNvGrpSpPr/>
              <p:nvPr/>
            </p:nvGrpSpPr>
            <p:grpSpPr>
              <a:xfrm>
                <a:off x="5621368" y="3398805"/>
                <a:ext cx="75723" cy="75723"/>
                <a:chOff x="5621368" y="3398805"/>
                <a:chExt cx="75723" cy="75723"/>
              </a:xfrm>
            </p:grpSpPr>
            <p:sp>
              <p:nvSpPr>
                <p:cNvPr id="18463" name="Freeform: Shape 18462">
                  <a:extLst>
                    <a:ext uri="{FF2B5EF4-FFF2-40B4-BE49-F238E27FC236}">
                      <a16:creationId xmlns:a16="http://schemas.microsoft.com/office/drawing/2014/main" id="{98698871-2EEC-537B-0FFF-FB98FECCCFF5}"/>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4" name="Freeform: Shape 18463">
                  <a:extLst>
                    <a:ext uri="{FF2B5EF4-FFF2-40B4-BE49-F238E27FC236}">
                      <a16:creationId xmlns:a16="http://schemas.microsoft.com/office/drawing/2014/main" id="{DD665496-B70C-C4DC-0F16-BAC211CACFFD}"/>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0" name="Graphic 1393">
                <a:extLst>
                  <a:ext uri="{FF2B5EF4-FFF2-40B4-BE49-F238E27FC236}">
                    <a16:creationId xmlns:a16="http://schemas.microsoft.com/office/drawing/2014/main" id="{571E3BF2-F81E-E5B2-BED2-47C88D9B7E82}"/>
                  </a:ext>
                </a:extLst>
              </p:cNvPr>
              <p:cNvGrpSpPr/>
              <p:nvPr/>
            </p:nvGrpSpPr>
            <p:grpSpPr>
              <a:xfrm>
                <a:off x="5633179" y="3404235"/>
                <a:ext cx="75723" cy="75723"/>
                <a:chOff x="5633179" y="3404235"/>
                <a:chExt cx="75723" cy="75723"/>
              </a:xfrm>
            </p:grpSpPr>
            <p:sp>
              <p:nvSpPr>
                <p:cNvPr id="18461" name="Freeform: Shape 18460">
                  <a:extLst>
                    <a:ext uri="{FF2B5EF4-FFF2-40B4-BE49-F238E27FC236}">
                      <a16:creationId xmlns:a16="http://schemas.microsoft.com/office/drawing/2014/main" id="{6DC2DB4A-5F60-D32E-2F98-D586EFFA8931}"/>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2" name="Freeform: Shape 18461">
                  <a:extLst>
                    <a:ext uri="{FF2B5EF4-FFF2-40B4-BE49-F238E27FC236}">
                      <a16:creationId xmlns:a16="http://schemas.microsoft.com/office/drawing/2014/main" id="{19429EB6-D4AD-2238-7D53-1785F56DF325}"/>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1" name="Graphic 1393">
                <a:extLst>
                  <a:ext uri="{FF2B5EF4-FFF2-40B4-BE49-F238E27FC236}">
                    <a16:creationId xmlns:a16="http://schemas.microsoft.com/office/drawing/2014/main" id="{5A0FE947-A951-36CF-0A17-D4FF78C2F15C}"/>
                  </a:ext>
                </a:extLst>
              </p:cNvPr>
              <p:cNvGrpSpPr/>
              <p:nvPr/>
            </p:nvGrpSpPr>
            <p:grpSpPr>
              <a:xfrm>
                <a:off x="5642990" y="3418046"/>
                <a:ext cx="75628" cy="75723"/>
                <a:chOff x="5642990" y="3418046"/>
                <a:chExt cx="75628" cy="75723"/>
              </a:xfrm>
            </p:grpSpPr>
            <p:sp>
              <p:nvSpPr>
                <p:cNvPr id="18459" name="Freeform: Shape 18458">
                  <a:extLst>
                    <a:ext uri="{FF2B5EF4-FFF2-40B4-BE49-F238E27FC236}">
                      <a16:creationId xmlns:a16="http://schemas.microsoft.com/office/drawing/2014/main" id="{EE7D799F-D547-B476-B77D-19BE270C9C0A}"/>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0" name="Freeform: Shape 18459">
                  <a:extLst>
                    <a:ext uri="{FF2B5EF4-FFF2-40B4-BE49-F238E27FC236}">
                      <a16:creationId xmlns:a16="http://schemas.microsoft.com/office/drawing/2014/main" id="{7D4DB27B-9273-4EC1-6E18-FA5340E67F03}"/>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2" name="Graphic 1393">
                <a:extLst>
                  <a:ext uri="{FF2B5EF4-FFF2-40B4-BE49-F238E27FC236}">
                    <a16:creationId xmlns:a16="http://schemas.microsoft.com/office/drawing/2014/main" id="{ECB68C22-F9E6-304A-2C41-6C484EBBCD20}"/>
                  </a:ext>
                </a:extLst>
              </p:cNvPr>
              <p:cNvGrpSpPr/>
              <p:nvPr/>
            </p:nvGrpSpPr>
            <p:grpSpPr>
              <a:xfrm>
                <a:off x="6005131" y="3484721"/>
                <a:ext cx="75723" cy="75723"/>
                <a:chOff x="6005131" y="3484721"/>
                <a:chExt cx="75723" cy="75723"/>
              </a:xfrm>
            </p:grpSpPr>
            <p:sp>
              <p:nvSpPr>
                <p:cNvPr id="18457" name="Freeform: Shape 18456">
                  <a:extLst>
                    <a:ext uri="{FF2B5EF4-FFF2-40B4-BE49-F238E27FC236}">
                      <a16:creationId xmlns:a16="http://schemas.microsoft.com/office/drawing/2014/main" id="{D714079A-54F3-5928-6444-1ED4DF6FFF17}"/>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8" name="Freeform: Shape 18457">
                  <a:extLst>
                    <a:ext uri="{FF2B5EF4-FFF2-40B4-BE49-F238E27FC236}">
                      <a16:creationId xmlns:a16="http://schemas.microsoft.com/office/drawing/2014/main" id="{B588CD6A-84AB-89E5-AD8F-81C9B51307F2}"/>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3" name="Graphic 1393">
                <a:extLst>
                  <a:ext uri="{FF2B5EF4-FFF2-40B4-BE49-F238E27FC236}">
                    <a16:creationId xmlns:a16="http://schemas.microsoft.com/office/drawing/2014/main" id="{C4712A2F-5262-0E5A-9EB0-3D6F69C074DD}"/>
                  </a:ext>
                </a:extLst>
              </p:cNvPr>
              <p:cNvGrpSpPr/>
              <p:nvPr/>
            </p:nvGrpSpPr>
            <p:grpSpPr>
              <a:xfrm>
                <a:off x="6021609" y="3484721"/>
                <a:ext cx="75628" cy="75723"/>
                <a:chOff x="6021609" y="3484721"/>
                <a:chExt cx="75628" cy="75723"/>
              </a:xfrm>
            </p:grpSpPr>
            <p:sp>
              <p:nvSpPr>
                <p:cNvPr id="18455" name="Freeform: Shape 18454">
                  <a:extLst>
                    <a:ext uri="{FF2B5EF4-FFF2-40B4-BE49-F238E27FC236}">
                      <a16:creationId xmlns:a16="http://schemas.microsoft.com/office/drawing/2014/main" id="{206D8073-A95C-FFE0-2122-732016494A29}"/>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6" name="Freeform: Shape 18455">
                  <a:extLst>
                    <a:ext uri="{FF2B5EF4-FFF2-40B4-BE49-F238E27FC236}">
                      <a16:creationId xmlns:a16="http://schemas.microsoft.com/office/drawing/2014/main" id="{6F5E7D11-026F-21F6-A4C7-A92F6B201706}"/>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4" name="Graphic 1393">
                <a:extLst>
                  <a:ext uri="{FF2B5EF4-FFF2-40B4-BE49-F238E27FC236}">
                    <a16:creationId xmlns:a16="http://schemas.microsoft.com/office/drawing/2014/main" id="{074C11EB-456C-02AB-85A9-1DC064731F74}"/>
                  </a:ext>
                </a:extLst>
              </p:cNvPr>
              <p:cNvGrpSpPr/>
              <p:nvPr/>
            </p:nvGrpSpPr>
            <p:grpSpPr>
              <a:xfrm>
                <a:off x="6029229" y="3535299"/>
                <a:ext cx="75723" cy="75723"/>
                <a:chOff x="6029229" y="3535299"/>
                <a:chExt cx="75723" cy="75723"/>
              </a:xfrm>
            </p:grpSpPr>
            <p:sp>
              <p:nvSpPr>
                <p:cNvPr id="18453" name="Freeform: Shape 18452">
                  <a:extLst>
                    <a:ext uri="{FF2B5EF4-FFF2-40B4-BE49-F238E27FC236}">
                      <a16:creationId xmlns:a16="http://schemas.microsoft.com/office/drawing/2014/main" id="{9264ED93-962A-7EE5-4A17-DB3364A9B9A7}"/>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4" name="Freeform: Shape 18453">
                  <a:extLst>
                    <a:ext uri="{FF2B5EF4-FFF2-40B4-BE49-F238E27FC236}">
                      <a16:creationId xmlns:a16="http://schemas.microsoft.com/office/drawing/2014/main" id="{94EDFF2A-BE6E-A84B-EA43-A1810A10C140}"/>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5" name="Graphic 1393">
                <a:extLst>
                  <a:ext uri="{FF2B5EF4-FFF2-40B4-BE49-F238E27FC236}">
                    <a16:creationId xmlns:a16="http://schemas.microsoft.com/office/drawing/2014/main" id="{88B0B7EB-09C9-9A8E-B91B-A8EA46F3C059}"/>
                  </a:ext>
                </a:extLst>
              </p:cNvPr>
              <p:cNvGrpSpPr/>
              <p:nvPr/>
            </p:nvGrpSpPr>
            <p:grpSpPr>
              <a:xfrm>
                <a:off x="6034658" y="3551015"/>
                <a:ext cx="75723" cy="75723"/>
                <a:chOff x="6034658" y="3551015"/>
                <a:chExt cx="75723" cy="75723"/>
              </a:xfrm>
            </p:grpSpPr>
            <p:sp>
              <p:nvSpPr>
                <p:cNvPr id="18451" name="Freeform: Shape 18450">
                  <a:extLst>
                    <a:ext uri="{FF2B5EF4-FFF2-40B4-BE49-F238E27FC236}">
                      <a16:creationId xmlns:a16="http://schemas.microsoft.com/office/drawing/2014/main" id="{4DE6A87A-5A22-60F2-B013-57B39188D501}"/>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2" name="Freeform: Shape 18451">
                  <a:extLst>
                    <a:ext uri="{FF2B5EF4-FFF2-40B4-BE49-F238E27FC236}">
                      <a16:creationId xmlns:a16="http://schemas.microsoft.com/office/drawing/2014/main" id="{6207881B-B482-3E12-7F55-8292FE6F6CAB}"/>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6" name="Graphic 1393">
                <a:extLst>
                  <a:ext uri="{FF2B5EF4-FFF2-40B4-BE49-F238E27FC236}">
                    <a16:creationId xmlns:a16="http://schemas.microsoft.com/office/drawing/2014/main" id="{D8FD9F86-8307-AF78-B4A0-63DE7E9B8F24}"/>
                  </a:ext>
                </a:extLst>
              </p:cNvPr>
              <p:cNvGrpSpPr/>
              <p:nvPr/>
            </p:nvGrpSpPr>
            <p:grpSpPr>
              <a:xfrm>
                <a:off x="6041040" y="3551015"/>
                <a:ext cx="75723" cy="75723"/>
                <a:chOff x="6041040" y="3551015"/>
                <a:chExt cx="75723" cy="75723"/>
              </a:xfrm>
            </p:grpSpPr>
            <p:sp>
              <p:nvSpPr>
                <p:cNvPr id="18449" name="Freeform: Shape 18448">
                  <a:extLst>
                    <a:ext uri="{FF2B5EF4-FFF2-40B4-BE49-F238E27FC236}">
                      <a16:creationId xmlns:a16="http://schemas.microsoft.com/office/drawing/2014/main" id="{EDEFA849-9393-BC3B-9043-D760754FA005}"/>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50" name="Freeform: Shape 18449">
                  <a:extLst>
                    <a:ext uri="{FF2B5EF4-FFF2-40B4-BE49-F238E27FC236}">
                      <a16:creationId xmlns:a16="http://schemas.microsoft.com/office/drawing/2014/main" id="{39DBAD97-7B6C-D2E5-0520-A32F2DB67CD3}"/>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7" name="Graphic 1393">
                <a:extLst>
                  <a:ext uri="{FF2B5EF4-FFF2-40B4-BE49-F238E27FC236}">
                    <a16:creationId xmlns:a16="http://schemas.microsoft.com/office/drawing/2014/main" id="{A9A563BA-41E0-0418-5A2D-F60F4E360463}"/>
                  </a:ext>
                </a:extLst>
              </p:cNvPr>
              <p:cNvGrpSpPr/>
              <p:nvPr/>
            </p:nvGrpSpPr>
            <p:grpSpPr>
              <a:xfrm>
                <a:off x="6060757" y="3598449"/>
                <a:ext cx="75628" cy="75628"/>
                <a:chOff x="6060757" y="3598449"/>
                <a:chExt cx="75628" cy="75628"/>
              </a:xfrm>
            </p:grpSpPr>
            <p:sp>
              <p:nvSpPr>
                <p:cNvPr id="18447" name="Freeform: Shape 18446">
                  <a:extLst>
                    <a:ext uri="{FF2B5EF4-FFF2-40B4-BE49-F238E27FC236}">
                      <a16:creationId xmlns:a16="http://schemas.microsoft.com/office/drawing/2014/main" id="{3BE16B9B-D32A-F172-B290-EF46D6A10C66}"/>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8" name="Freeform: Shape 18447">
                  <a:extLst>
                    <a:ext uri="{FF2B5EF4-FFF2-40B4-BE49-F238E27FC236}">
                      <a16:creationId xmlns:a16="http://schemas.microsoft.com/office/drawing/2014/main" id="{2052F521-E21C-A470-05D5-5B6A7A9479DA}"/>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8" name="Graphic 1393">
                <a:extLst>
                  <a:ext uri="{FF2B5EF4-FFF2-40B4-BE49-F238E27FC236}">
                    <a16:creationId xmlns:a16="http://schemas.microsoft.com/office/drawing/2014/main" id="{4113D207-DE25-9D94-BE91-AAB2DEFF215B}"/>
                  </a:ext>
                </a:extLst>
              </p:cNvPr>
              <p:cNvGrpSpPr/>
              <p:nvPr/>
            </p:nvGrpSpPr>
            <p:grpSpPr>
              <a:xfrm>
                <a:off x="6415087" y="3598449"/>
                <a:ext cx="75723" cy="75628"/>
                <a:chOff x="6415087" y="3598449"/>
                <a:chExt cx="75723" cy="75628"/>
              </a:xfrm>
            </p:grpSpPr>
            <p:sp>
              <p:nvSpPr>
                <p:cNvPr id="18445" name="Freeform: Shape 18444">
                  <a:extLst>
                    <a:ext uri="{FF2B5EF4-FFF2-40B4-BE49-F238E27FC236}">
                      <a16:creationId xmlns:a16="http://schemas.microsoft.com/office/drawing/2014/main" id="{9E4490AF-B0F3-73C3-FA02-4A46F62B8375}"/>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6" name="Freeform: Shape 18445">
                  <a:extLst>
                    <a:ext uri="{FF2B5EF4-FFF2-40B4-BE49-F238E27FC236}">
                      <a16:creationId xmlns:a16="http://schemas.microsoft.com/office/drawing/2014/main" id="{998F07A8-A4E6-6E29-B436-0DE9FDB19533}"/>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09" name="Graphic 1393">
                <a:extLst>
                  <a:ext uri="{FF2B5EF4-FFF2-40B4-BE49-F238E27FC236}">
                    <a16:creationId xmlns:a16="http://schemas.microsoft.com/office/drawing/2014/main" id="{B60F8F22-75E9-A38B-09BE-B00637451E92}"/>
                  </a:ext>
                </a:extLst>
              </p:cNvPr>
              <p:cNvGrpSpPr/>
              <p:nvPr/>
            </p:nvGrpSpPr>
            <p:grpSpPr>
              <a:xfrm>
                <a:off x="6427469" y="3598449"/>
                <a:ext cx="75628" cy="75628"/>
                <a:chOff x="6427469" y="3598449"/>
                <a:chExt cx="75628" cy="75628"/>
              </a:xfrm>
            </p:grpSpPr>
            <p:sp>
              <p:nvSpPr>
                <p:cNvPr id="18443" name="Freeform: Shape 18442">
                  <a:extLst>
                    <a:ext uri="{FF2B5EF4-FFF2-40B4-BE49-F238E27FC236}">
                      <a16:creationId xmlns:a16="http://schemas.microsoft.com/office/drawing/2014/main" id="{7F37914B-164E-0EC6-F9E8-CA9D6F39A6B2}"/>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4" name="Freeform: Shape 18443">
                  <a:extLst>
                    <a:ext uri="{FF2B5EF4-FFF2-40B4-BE49-F238E27FC236}">
                      <a16:creationId xmlns:a16="http://schemas.microsoft.com/office/drawing/2014/main" id="{2FD59B53-F13E-4737-F575-B783729E62F7}"/>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0" name="Graphic 1393">
                <a:extLst>
                  <a:ext uri="{FF2B5EF4-FFF2-40B4-BE49-F238E27FC236}">
                    <a16:creationId xmlns:a16="http://schemas.microsoft.com/office/drawing/2014/main" id="{81E2B661-FA02-C3EC-1236-83DAE4B6297E}"/>
                  </a:ext>
                </a:extLst>
              </p:cNvPr>
              <p:cNvGrpSpPr/>
              <p:nvPr/>
            </p:nvGrpSpPr>
            <p:grpSpPr>
              <a:xfrm>
                <a:off x="6439756" y="3598449"/>
                <a:ext cx="75723" cy="75628"/>
                <a:chOff x="6439756" y="3598449"/>
                <a:chExt cx="75723" cy="75628"/>
              </a:xfrm>
            </p:grpSpPr>
            <p:sp>
              <p:nvSpPr>
                <p:cNvPr id="18441" name="Freeform: Shape 18440">
                  <a:extLst>
                    <a:ext uri="{FF2B5EF4-FFF2-40B4-BE49-F238E27FC236}">
                      <a16:creationId xmlns:a16="http://schemas.microsoft.com/office/drawing/2014/main" id="{BE22EC67-81A5-9D9B-A365-42372EAA4EB1}"/>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2" name="Freeform: Shape 18441">
                  <a:extLst>
                    <a:ext uri="{FF2B5EF4-FFF2-40B4-BE49-F238E27FC236}">
                      <a16:creationId xmlns:a16="http://schemas.microsoft.com/office/drawing/2014/main" id="{0838A586-DC43-2E32-BF25-D4484AB54453}"/>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1" name="Graphic 1393">
                <a:extLst>
                  <a:ext uri="{FF2B5EF4-FFF2-40B4-BE49-F238E27FC236}">
                    <a16:creationId xmlns:a16="http://schemas.microsoft.com/office/drawing/2014/main" id="{33869DAB-0811-C12E-6DA9-4DF77DDD2E40}"/>
                  </a:ext>
                </a:extLst>
              </p:cNvPr>
              <p:cNvGrpSpPr/>
              <p:nvPr/>
            </p:nvGrpSpPr>
            <p:grpSpPr>
              <a:xfrm>
                <a:off x="6899528" y="3669220"/>
                <a:ext cx="75723" cy="75723"/>
                <a:chOff x="6899528" y="3669220"/>
                <a:chExt cx="75723" cy="75723"/>
              </a:xfrm>
            </p:grpSpPr>
            <p:sp>
              <p:nvSpPr>
                <p:cNvPr id="18439" name="Freeform: Shape 18438">
                  <a:extLst>
                    <a:ext uri="{FF2B5EF4-FFF2-40B4-BE49-F238E27FC236}">
                      <a16:creationId xmlns:a16="http://schemas.microsoft.com/office/drawing/2014/main" id="{82B3DD00-617D-94A6-F61D-BFE8CE11AB32}"/>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0" name="Freeform: Shape 18439">
                  <a:extLst>
                    <a:ext uri="{FF2B5EF4-FFF2-40B4-BE49-F238E27FC236}">
                      <a16:creationId xmlns:a16="http://schemas.microsoft.com/office/drawing/2014/main" id="{BCF3BCF2-C35B-C3CC-1CF8-DF19351CC11A}"/>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2" name="Graphic 1393">
                <a:extLst>
                  <a:ext uri="{FF2B5EF4-FFF2-40B4-BE49-F238E27FC236}">
                    <a16:creationId xmlns:a16="http://schemas.microsoft.com/office/drawing/2014/main" id="{E60B0F48-B934-FBDD-01CA-D19453CC8F61}"/>
                  </a:ext>
                </a:extLst>
              </p:cNvPr>
              <p:cNvGrpSpPr/>
              <p:nvPr/>
            </p:nvGrpSpPr>
            <p:grpSpPr>
              <a:xfrm>
                <a:off x="6884479" y="3669220"/>
                <a:ext cx="75723" cy="75723"/>
                <a:chOff x="6884479" y="3669220"/>
                <a:chExt cx="75723" cy="75723"/>
              </a:xfrm>
            </p:grpSpPr>
            <p:sp>
              <p:nvSpPr>
                <p:cNvPr id="18437" name="Freeform: Shape 18436">
                  <a:extLst>
                    <a:ext uri="{FF2B5EF4-FFF2-40B4-BE49-F238E27FC236}">
                      <a16:creationId xmlns:a16="http://schemas.microsoft.com/office/drawing/2014/main" id="{B041D826-BDC3-89A1-F9C9-B9C7524A60F1}"/>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8" name="Freeform: Shape 18437">
                  <a:extLst>
                    <a:ext uri="{FF2B5EF4-FFF2-40B4-BE49-F238E27FC236}">
                      <a16:creationId xmlns:a16="http://schemas.microsoft.com/office/drawing/2014/main" id="{6BFA17B5-6215-AFEE-08A4-EEB4252694B7}"/>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3" name="Graphic 1393">
                <a:extLst>
                  <a:ext uri="{FF2B5EF4-FFF2-40B4-BE49-F238E27FC236}">
                    <a16:creationId xmlns:a16="http://schemas.microsoft.com/office/drawing/2014/main" id="{0C759E56-F4BF-C889-D445-7A7385911DA3}"/>
                  </a:ext>
                </a:extLst>
              </p:cNvPr>
              <p:cNvGrpSpPr/>
              <p:nvPr/>
            </p:nvGrpSpPr>
            <p:grpSpPr>
              <a:xfrm>
                <a:off x="6869429" y="3669220"/>
                <a:ext cx="75723" cy="75723"/>
                <a:chOff x="6869429" y="3669220"/>
                <a:chExt cx="75723" cy="75723"/>
              </a:xfrm>
            </p:grpSpPr>
            <p:sp>
              <p:nvSpPr>
                <p:cNvPr id="18435" name="Freeform: Shape 18434">
                  <a:extLst>
                    <a:ext uri="{FF2B5EF4-FFF2-40B4-BE49-F238E27FC236}">
                      <a16:creationId xmlns:a16="http://schemas.microsoft.com/office/drawing/2014/main" id="{F75BB9D8-8873-70F0-54A2-8F153323FD5D}"/>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6" name="Freeform: Shape 18435">
                  <a:extLst>
                    <a:ext uri="{FF2B5EF4-FFF2-40B4-BE49-F238E27FC236}">
                      <a16:creationId xmlns:a16="http://schemas.microsoft.com/office/drawing/2014/main" id="{EF9DF3E4-046E-D404-6B44-9C98D166792A}"/>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4" name="Graphic 1393">
                <a:extLst>
                  <a:ext uri="{FF2B5EF4-FFF2-40B4-BE49-F238E27FC236}">
                    <a16:creationId xmlns:a16="http://schemas.microsoft.com/office/drawing/2014/main" id="{FBAC6C9F-69B4-24ED-4CB3-81DF351FDC42}"/>
                  </a:ext>
                </a:extLst>
              </p:cNvPr>
              <p:cNvGrpSpPr/>
              <p:nvPr/>
            </p:nvGrpSpPr>
            <p:grpSpPr>
              <a:xfrm>
                <a:off x="6854380" y="3669220"/>
                <a:ext cx="75723" cy="75723"/>
                <a:chOff x="6854380" y="3669220"/>
                <a:chExt cx="75723" cy="75723"/>
              </a:xfrm>
            </p:grpSpPr>
            <p:sp>
              <p:nvSpPr>
                <p:cNvPr id="18433" name="Freeform: Shape 18432">
                  <a:extLst>
                    <a:ext uri="{FF2B5EF4-FFF2-40B4-BE49-F238E27FC236}">
                      <a16:creationId xmlns:a16="http://schemas.microsoft.com/office/drawing/2014/main" id="{D21ABD33-8EA0-5B12-8F94-79E1A5651C1C}"/>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4" name="Freeform: Shape 18433">
                  <a:extLst>
                    <a:ext uri="{FF2B5EF4-FFF2-40B4-BE49-F238E27FC236}">
                      <a16:creationId xmlns:a16="http://schemas.microsoft.com/office/drawing/2014/main" id="{59930721-41C1-E4C9-80C4-84CF2C59940F}"/>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5" name="Graphic 1393">
                <a:extLst>
                  <a:ext uri="{FF2B5EF4-FFF2-40B4-BE49-F238E27FC236}">
                    <a16:creationId xmlns:a16="http://schemas.microsoft.com/office/drawing/2014/main" id="{9D39D026-6A14-B894-C4C7-0D236612E112}"/>
                  </a:ext>
                </a:extLst>
              </p:cNvPr>
              <p:cNvGrpSpPr/>
              <p:nvPr/>
            </p:nvGrpSpPr>
            <p:grpSpPr>
              <a:xfrm>
                <a:off x="7311103" y="3748659"/>
                <a:ext cx="75723" cy="75723"/>
                <a:chOff x="7311103" y="3748659"/>
                <a:chExt cx="75723" cy="75723"/>
              </a:xfrm>
            </p:grpSpPr>
            <p:sp>
              <p:nvSpPr>
                <p:cNvPr id="18431" name="Freeform: Shape 18430">
                  <a:extLst>
                    <a:ext uri="{FF2B5EF4-FFF2-40B4-BE49-F238E27FC236}">
                      <a16:creationId xmlns:a16="http://schemas.microsoft.com/office/drawing/2014/main" id="{D964650E-3A27-15BA-916B-4BA8B9233FAE}"/>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2" name="Freeform: Shape 18431">
                  <a:extLst>
                    <a:ext uri="{FF2B5EF4-FFF2-40B4-BE49-F238E27FC236}">
                      <a16:creationId xmlns:a16="http://schemas.microsoft.com/office/drawing/2014/main" id="{7B051C73-77AD-ECC9-18A0-FB460556D774}"/>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6" name="Graphic 1393">
                <a:extLst>
                  <a:ext uri="{FF2B5EF4-FFF2-40B4-BE49-F238E27FC236}">
                    <a16:creationId xmlns:a16="http://schemas.microsoft.com/office/drawing/2014/main" id="{4E625D45-7F9D-DBF7-DCA2-C9160515D390}"/>
                  </a:ext>
                </a:extLst>
              </p:cNvPr>
              <p:cNvGrpSpPr/>
              <p:nvPr/>
            </p:nvGrpSpPr>
            <p:grpSpPr>
              <a:xfrm>
                <a:off x="7318057" y="3782568"/>
                <a:ext cx="75723" cy="75628"/>
                <a:chOff x="7318057" y="3782568"/>
                <a:chExt cx="75723" cy="75628"/>
              </a:xfrm>
            </p:grpSpPr>
            <p:sp>
              <p:nvSpPr>
                <p:cNvPr id="18429" name="Freeform: Shape 18428">
                  <a:extLst>
                    <a:ext uri="{FF2B5EF4-FFF2-40B4-BE49-F238E27FC236}">
                      <a16:creationId xmlns:a16="http://schemas.microsoft.com/office/drawing/2014/main" id="{468AD1B2-F14E-30EE-660D-70AF471D44E9}"/>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30" name="Freeform: Shape 18429">
                  <a:extLst>
                    <a:ext uri="{FF2B5EF4-FFF2-40B4-BE49-F238E27FC236}">
                      <a16:creationId xmlns:a16="http://schemas.microsoft.com/office/drawing/2014/main" id="{45DE823A-E8FC-C6F8-CC5C-DBF6C71FA33F}"/>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7" name="Graphic 1393">
                <a:extLst>
                  <a:ext uri="{FF2B5EF4-FFF2-40B4-BE49-F238E27FC236}">
                    <a16:creationId xmlns:a16="http://schemas.microsoft.com/office/drawing/2014/main" id="{3292ED1D-3887-B1E1-2B0D-F28F73613953}"/>
                  </a:ext>
                </a:extLst>
              </p:cNvPr>
              <p:cNvGrpSpPr/>
              <p:nvPr/>
            </p:nvGrpSpPr>
            <p:grpSpPr>
              <a:xfrm>
                <a:off x="7338821" y="3813905"/>
                <a:ext cx="75723" cy="75723"/>
                <a:chOff x="7338821" y="3813905"/>
                <a:chExt cx="75723" cy="75723"/>
              </a:xfrm>
            </p:grpSpPr>
            <p:sp>
              <p:nvSpPr>
                <p:cNvPr id="18427" name="Freeform: Shape 18426">
                  <a:extLst>
                    <a:ext uri="{FF2B5EF4-FFF2-40B4-BE49-F238E27FC236}">
                      <a16:creationId xmlns:a16="http://schemas.microsoft.com/office/drawing/2014/main" id="{2FF49020-2151-E0E4-255F-DECEE60659AD}"/>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8" name="Freeform: Shape 18427">
                  <a:extLst>
                    <a:ext uri="{FF2B5EF4-FFF2-40B4-BE49-F238E27FC236}">
                      <a16:creationId xmlns:a16="http://schemas.microsoft.com/office/drawing/2014/main" id="{25035727-4EE9-78BA-32CA-74F6CADA67BA}"/>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8" name="Graphic 1393">
                <a:extLst>
                  <a:ext uri="{FF2B5EF4-FFF2-40B4-BE49-F238E27FC236}">
                    <a16:creationId xmlns:a16="http://schemas.microsoft.com/office/drawing/2014/main" id="{740E578F-B238-AD88-351F-501AAAAE5DE4}"/>
                  </a:ext>
                </a:extLst>
              </p:cNvPr>
              <p:cNvGrpSpPr/>
              <p:nvPr/>
            </p:nvGrpSpPr>
            <p:grpSpPr>
              <a:xfrm>
                <a:off x="7322438" y="3813905"/>
                <a:ext cx="75723" cy="75723"/>
                <a:chOff x="7322438" y="3813905"/>
                <a:chExt cx="75723" cy="75723"/>
              </a:xfrm>
            </p:grpSpPr>
            <p:sp>
              <p:nvSpPr>
                <p:cNvPr id="18425" name="Freeform: Shape 18424">
                  <a:extLst>
                    <a:ext uri="{FF2B5EF4-FFF2-40B4-BE49-F238E27FC236}">
                      <a16:creationId xmlns:a16="http://schemas.microsoft.com/office/drawing/2014/main" id="{2BD9F851-1A04-5C85-68E9-4D458E7B0F63}"/>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6" name="Freeform: Shape 18425">
                  <a:extLst>
                    <a:ext uri="{FF2B5EF4-FFF2-40B4-BE49-F238E27FC236}">
                      <a16:creationId xmlns:a16="http://schemas.microsoft.com/office/drawing/2014/main" id="{2D994B65-DC0E-ABC0-B47C-F9E018E59F53}"/>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19" name="Graphic 1393">
                <a:extLst>
                  <a:ext uri="{FF2B5EF4-FFF2-40B4-BE49-F238E27FC236}">
                    <a16:creationId xmlns:a16="http://schemas.microsoft.com/office/drawing/2014/main" id="{B9666868-C315-0970-53B8-F5CFA20D5DAF}"/>
                  </a:ext>
                </a:extLst>
              </p:cNvPr>
              <p:cNvGrpSpPr/>
              <p:nvPr/>
            </p:nvGrpSpPr>
            <p:grpSpPr>
              <a:xfrm>
                <a:off x="7719345" y="3897153"/>
                <a:ext cx="75628" cy="75723"/>
                <a:chOff x="7719345" y="3897153"/>
                <a:chExt cx="75628" cy="75723"/>
              </a:xfrm>
            </p:grpSpPr>
            <p:sp>
              <p:nvSpPr>
                <p:cNvPr id="18423" name="Freeform: Shape 18422">
                  <a:extLst>
                    <a:ext uri="{FF2B5EF4-FFF2-40B4-BE49-F238E27FC236}">
                      <a16:creationId xmlns:a16="http://schemas.microsoft.com/office/drawing/2014/main" id="{4F923602-283B-FF34-CE5E-31CC68A7FE70}"/>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4" name="Freeform: Shape 18423">
                  <a:extLst>
                    <a:ext uri="{FF2B5EF4-FFF2-40B4-BE49-F238E27FC236}">
                      <a16:creationId xmlns:a16="http://schemas.microsoft.com/office/drawing/2014/main" id="{38D7CB21-82DF-6561-2E17-ECE96DBF17D2}"/>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420" name="Graphic 1393">
                <a:extLst>
                  <a:ext uri="{FF2B5EF4-FFF2-40B4-BE49-F238E27FC236}">
                    <a16:creationId xmlns:a16="http://schemas.microsoft.com/office/drawing/2014/main" id="{2A52F348-25F7-23C5-6C60-DCE824058BCB}"/>
                  </a:ext>
                </a:extLst>
              </p:cNvPr>
              <p:cNvGrpSpPr/>
              <p:nvPr/>
            </p:nvGrpSpPr>
            <p:grpSpPr>
              <a:xfrm>
                <a:off x="8172640" y="3949446"/>
                <a:ext cx="75628" cy="75723"/>
                <a:chOff x="8172640" y="3949446"/>
                <a:chExt cx="75628" cy="75723"/>
              </a:xfrm>
            </p:grpSpPr>
            <p:sp>
              <p:nvSpPr>
                <p:cNvPr id="18421" name="Freeform: Shape 18420">
                  <a:extLst>
                    <a:ext uri="{FF2B5EF4-FFF2-40B4-BE49-F238E27FC236}">
                      <a16:creationId xmlns:a16="http://schemas.microsoft.com/office/drawing/2014/main" id="{17A011B4-8E81-A379-5E60-6125F45457D2}"/>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2" name="Freeform: Shape 18421">
                  <a:extLst>
                    <a:ext uri="{FF2B5EF4-FFF2-40B4-BE49-F238E27FC236}">
                      <a16:creationId xmlns:a16="http://schemas.microsoft.com/office/drawing/2014/main" id="{CA8C78CB-2CFD-A123-D3E7-50DD95B5453F}"/>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8311" name="Freeform: Shape 18310">
              <a:extLst>
                <a:ext uri="{FF2B5EF4-FFF2-40B4-BE49-F238E27FC236}">
                  <a16:creationId xmlns:a16="http://schemas.microsoft.com/office/drawing/2014/main" id="{88DD1D6C-D4A2-6BCE-DD73-4CA16EE7A37C}"/>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816" name="Group 18815">
            <a:extLst>
              <a:ext uri="{FF2B5EF4-FFF2-40B4-BE49-F238E27FC236}">
                <a16:creationId xmlns:a16="http://schemas.microsoft.com/office/drawing/2014/main" id="{6A7BD179-30A0-1CC6-CC02-957DB44BDD72}"/>
              </a:ext>
            </a:extLst>
          </p:cNvPr>
          <p:cNvGrpSpPr/>
          <p:nvPr/>
        </p:nvGrpSpPr>
        <p:grpSpPr>
          <a:xfrm>
            <a:off x="677822" y="1468806"/>
            <a:ext cx="6832931" cy="2404800"/>
            <a:chOff x="3500437" y="2409824"/>
            <a:chExt cx="5186648" cy="2042255"/>
          </a:xfrm>
        </p:grpSpPr>
        <p:grpSp>
          <p:nvGrpSpPr>
            <p:cNvPr id="18817" name="Graphic 790">
              <a:extLst>
                <a:ext uri="{FF2B5EF4-FFF2-40B4-BE49-F238E27FC236}">
                  <a16:creationId xmlns:a16="http://schemas.microsoft.com/office/drawing/2014/main" id="{CAF018E4-5E24-034E-CBF2-074C788B6CB0}"/>
                </a:ext>
              </a:extLst>
            </p:cNvPr>
            <p:cNvGrpSpPr/>
            <p:nvPr/>
          </p:nvGrpSpPr>
          <p:grpSpPr>
            <a:xfrm>
              <a:off x="3865530" y="2479547"/>
              <a:ext cx="4821555" cy="1972532"/>
              <a:chOff x="3865530" y="2479547"/>
              <a:chExt cx="4821555" cy="1972532"/>
            </a:xfrm>
          </p:grpSpPr>
          <p:grpSp>
            <p:nvGrpSpPr>
              <p:cNvPr id="18819" name="Graphic 790">
                <a:extLst>
                  <a:ext uri="{FF2B5EF4-FFF2-40B4-BE49-F238E27FC236}">
                    <a16:creationId xmlns:a16="http://schemas.microsoft.com/office/drawing/2014/main" id="{74628EF6-166B-E60C-38F6-2AAC6AB2EF61}"/>
                  </a:ext>
                </a:extLst>
              </p:cNvPr>
              <p:cNvGrpSpPr/>
              <p:nvPr/>
            </p:nvGrpSpPr>
            <p:grpSpPr>
              <a:xfrm>
                <a:off x="8601169" y="4376356"/>
                <a:ext cx="75723" cy="75723"/>
                <a:chOff x="8601169" y="4376356"/>
                <a:chExt cx="75723" cy="75723"/>
              </a:xfrm>
            </p:grpSpPr>
            <p:sp>
              <p:nvSpPr>
                <p:cNvPr id="19158" name="Freeform: Shape 19157">
                  <a:extLst>
                    <a:ext uri="{FF2B5EF4-FFF2-40B4-BE49-F238E27FC236}">
                      <a16:creationId xmlns:a16="http://schemas.microsoft.com/office/drawing/2014/main" id="{1D3034DF-3CA3-086C-C71F-598F7F44595F}"/>
                    </a:ext>
                  </a:extLst>
                </p:cNvPr>
                <p:cNvSpPr/>
                <p:nvPr/>
              </p:nvSpPr>
              <p:spPr>
                <a:xfrm>
                  <a:off x="8639079"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9" name="Freeform: Shape 19158">
                  <a:extLst>
                    <a:ext uri="{FF2B5EF4-FFF2-40B4-BE49-F238E27FC236}">
                      <a16:creationId xmlns:a16="http://schemas.microsoft.com/office/drawing/2014/main" id="{7AC9C117-05FA-8A1F-98AA-25982566EA6A}"/>
                    </a:ext>
                  </a:extLst>
                </p:cNvPr>
                <p:cNvSpPr/>
                <p:nvPr/>
              </p:nvSpPr>
              <p:spPr>
                <a:xfrm>
                  <a:off x="8601169" y="44141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0" name="Graphic 790">
                <a:extLst>
                  <a:ext uri="{FF2B5EF4-FFF2-40B4-BE49-F238E27FC236}">
                    <a16:creationId xmlns:a16="http://schemas.microsoft.com/office/drawing/2014/main" id="{DC668369-0302-EFDD-BFE5-F573CBE77BA7}"/>
                  </a:ext>
                </a:extLst>
              </p:cNvPr>
              <p:cNvGrpSpPr/>
              <p:nvPr/>
            </p:nvGrpSpPr>
            <p:grpSpPr>
              <a:xfrm>
                <a:off x="8611456" y="4376356"/>
                <a:ext cx="75628" cy="75723"/>
                <a:chOff x="8611456" y="4376356"/>
                <a:chExt cx="75628" cy="75723"/>
              </a:xfrm>
            </p:grpSpPr>
            <p:sp>
              <p:nvSpPr>
                <p:cNvPr id="19156" name="Freeform: Shape 19155">
                  <a:extLst>
                    <a:ext uri="{FF2B5EF4-FFF2-40B4-BE49-F238E27FC236}">
                      <a16:creationId xmlns:a16="http://schemas.microsoft.com/office/drawing/2014/main" id="{6D61C216-2F49-DE9A-11FC-266A31968194}"/>
                    </a:ext>
                  </a:extLst>
                </p:cNvPr>
                <p:cNvSpPr/>
                <p:nvPr/>
              </p:nvSpPr>
              <p:spPr>
                <a:xfrm>
                  <a:off x="8649271" y="43763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7" name="Freeform: Shape 19156">
                  <a:extLst>
                    <a:ext uri="{FF2B5EF4-FFF2-40B4-BE49-F238E27FC236}">
                      <a16:creationId xmlns:a16="http://schemas.microsoft.com/office/drawing/2014/main" id="{BA8106AB-7FBA-101C-C1E2-725EB3CF38EA}"/>
                    </a:ext>
                  </a:extLst>
                </p:cNvPr>
                <p:cNvSpPr/>
                <p:nvPr/>
              </p:nvSpPr>
              <p:spPr>
                <a:xfrm>
                  <a:off x="8611456" y="44141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1" name="Graphic 790">
                <a:extLst>
                  <a:ext uri="{FF2B5EF4-FFF2-40B4-BE49-F238E27FC236}">
                    <a16:creationId xmlns:a16="http://schemas.microsoft.com/office/drawing/2014/main" id="{E8F413FC-DC01-50CE-7017-BEB039AE1A3A}"/>
                  </a:ext>
                </a:extLst>
              </p:cNvPr>
              <p:cNvGrpSpPr/>
              <p:nvPr/>
            </p:nvGrpSpPr>
            <p:grpSpPr>
              <a:xfrm>
                <a:off x="8583453" y="4106989"/>
                <a:ext cx="75723" cy="75723"/>
                <a:chOff x="8583453" y="4106989"/>
                <a:chExt cx="75723" cy="75723"/>
              </a:xfrm>
            </p:grpSpPr>
            <p:sp>
              <p:nvSpPr>
                <p:cNvPr id="19154" name="Freeform: Shape 19153">
                  <a:extLst>
                    <a:ext uri="{FF2B5EF4-FFF2-40B4-BE49-F238E27FC236}">
                      <a16:creationId xmlns:a16="http://schemas.microsoft.com/office/drawing/2014/main" id="{7B706104-5148-8216-0040-D62FD155A025}"/>
                    </a:ext>
                  </a:extLst>
                </p:cNvPr>
                <p:cNvSpPr/>
                <p:nvPr/>
              </p:nvSpPr>
              <p:spPr>
                <a:xfrm>
                  <a:off x="86212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5" name="Freeform: Shape 19154">
                  <a:extLst>
                    <a:ext uri="{FF2B5EF4-FFF2-40B4-BE49-F238E27FC236}">
                      <a16:creationId xmlns:a16="http://schemas.microsoft.com/office/drawing/2014/main" id="{AB976BE0-F67C-4072-D0AC-D5B89C48B9AB}"/>
                    </a:ext>
                  </a:extLst>
                </p:cNvPr>
                <p:cNvSpPr/>
                <p:nvPr/>
              </p:nvSpPr>
              <p:spPr>
                <a:xfrm>
                  <a:off x="8583453"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2" name="Graphic 790">
                <a:extLst>
                  <a:ext uri="{FF2B5EF4-FFF2-40B4-BE49-F238E27FC236}">
                    <a16:creationId xmlns:a16="http://schemas.microsoft.com/office/drawing/2014/main" id="{FB687691-B691-D1DB-E7ED-84224965C345}"/>
                  </a:ext>
                </a:extLst>
              </p:cNvPr>
              <p:cNvGrpSpPr/>
              <p:nvPr/>
            </p:nvGrpSpPr>
            <p:grpSpPr>
              <a:xfrm>
                <a:off x="8465057" y="4106989"/>
                <a:ext cx="75723" cy="75723"/>
                <a:chOff x="8465057" y="4106989"/>
                <a:chExt cx="75723" cy="75723"/>
              </a:xfrm>
            </p:grpSpPr>
            <p:sp>
              <p:nvSpPr>
                <p:cNvPr id="19152" name="Freeform: Shape 19151">
                  <a:extLst>
                    <a:ext uri="{FF2B5EF4-FFF2-40B4-BE49-F238E27FC236}">
                      <a16:creationId xmlns:a16="http://schemas.microsoft.com/office/drawing/2014/main" id="{ED796A03-B8A8-9AF1-9BEE-D711CBB5BC15}"/>
                    </a:ext>
                  </a:extLst>
                </p:cNvPr>
                <p:cNvSpPr/>
                <p:nvPr/>
              </p:nvSpPr>
              <p:spPr>
                <a:xfrm>
                  <a:off x="8502967" y="41069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3" name="Freeform: Shape 19152">
                  <a:extLst>
                    <a:ext uri="{FF2B5EF4-FFF2-40B4-BE49-F238E27FC236}">
                      <a16:creationId xmlns:a16="http://schemas.microsoft.com/office/drawing/2014/main" id="{CBCEFF53-2E37-702C-A4E8-881EC9BEF85B}"/>
                    </a:ext>
                  </a:extLst>
                </p:cNvPr>
                <p:cNvSpPr/>
                <p:nvPr/>
              </p:nvSpPr>
              <p:spPr>
                <a:xfrm>
                  <a:off x="846505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3" name="Graphic 790">
                <a:extLst>
                  <a:ext uri="{FF2B5EF4-FFF2-40B4-BE49-F238E27FC236}">
                    <a16:creationId xmlns:a16="http://schemas.microsoft.com/office/drawing/2014/main" id="{CAA3D6FF-0019-E6DE-5047-E5963C2D82E5}"/>
                  </a:ext>
                </a:extLst>
              </p:cNvPr>
              <p:cNvGrpSpPr/>
              <p:nvPr/>
            </p:nvGrpSpPr>
            <p:grpSpPr>
              <a:xfrm>
                <a:off x="8070817" y="3932491"/>
                <a:ext cx="75723" cy="75628"/>
                <a:chOff x="8070817" y="3932491"/>
                <a:chExt cx="75723" cy="75628"/>
              </a:xfrm>
            </p:grpSpPr>
            <p:sp>
              <p:nvSpPr>
                <p:cNvPr id="19150" name="Freeform: Shape 19149">
                  <a:extLst>
                    <a:ext uri="{FF2B5EF4-FFF2-40B4-BE49-F238E27FC236}">
                      <a16:creationId xmlns:a16="http://schemas.microsoft.com/office/drawing/2014/main" id="{111BBCD9-8469-2BE3-D695-0804019FFD42}"/>
                    </a:ext>
                  </a:extLst>
                </p:cNvPr>
                <p:cNvSpPr/>
                <p:nvPr/>
              </p:nvSpPr>
              <p:spPr>
                <a:xfrm>
                  <a:off x="8108632"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51" name="Freeform: Shape 19150">
                  <a:extLst>
                    <a:ext uri="{FF2B5EF4-FFF2-40B4-BE49-F238E27FC236}">
                      <a16:creationId xmlns:a16="http://schemas.microsoft.com/office/drawing/2014/main" id="{3935A39F-3058-7169-F68E-E7686DC8E20C}"/>
                    </a:ext>
                  </a:extLst>
                </p:cNvPr>
                <p:cNvSpPr/>
                <p:nvPr/>
              </p:nvSpPr>
              <p:spPr>
                <a:xfrm>
                  <a:off x="8070817"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4" name="Graphic 790">
                <a:extLst>
                  <a:ext uri="{FF2B5EF4-FFF2-40B4-BE49-F238E27FC236}">
                    <a16:creationId xmlns:a16="http://schemas.microsoft.com/office/drawing/2014/main" id="{7395027C-9E16-86E4-76EC-61BA20B01F9C}"/>
                  </a:ext>
                </a:extLst>
              </p:cNvPr>
              <p:cNvGrpSpPr/>
              <p:nvPr/>
            </p:nvGrpSpPr>
            <p:grpSpPr>
              <a:xfrm>
                <a:off x="7717726" y="3838193"/>
                <a:ext cx="75628" cy="75628"/>
                <a:chOff x="7717726" y="3838193"/>
                <a:chExt cx="75628" cy="75628"/>
              </a:xfrm>
            </p:grpSpPr>
            <p:sp>
              <p:nvSpPr>
                <p:cNvPr id="19148" name="Freeform: Shape 19147">
                  <a:extLst>
                    <a:ext uri="{FF2B5EF4-FFF2-40B4-BE49-F238E27FC236}">
                      <a16:creationId xmlns:a16="http://schemas.microsoft.com/office/drawing/2014/main" id="{58C608D1-BC74-4D73-740A-9965428A1D55}"/>
                    </a:ext>
                  </a:extLst>
                </p:cNvPr>
                <p:cNvSpPr/>
                <p:nvPr/>
              </p:nvSpPr>
              <p:spPr>
                <a:xfrm>
                  <a:off x="7755540"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49" name="Freeform: Shape 19148">
                  <a:extLst>
                    <a:ext uri="{FF2B5EF4-FFF2-40B4-BE49-F238E27FC236}">
                      <a16:creationId xmlns:a16="http://schemas.microsoft.com/office/drawing/2014/main" id="{1F50CBF6-887D-E1EF-3D22-E61E940CD22C}"/>
                    </a:ext>
                  </a:extLst>
                </p:cNvPr>
                <p:cNvSpPr/>
                <p:nvPr/>
              </p:nvSpPr>
              <p:spPr>
                <a:xfrm>
                  <a:off x="7717726" y="38760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5" name="Graphic 790">
                <a:extLst>
                  <a:ext uri="{FF2B5EF4-FFF2-40B4-BE49-F238E27FC236}">
                    <a16:creationId xmlns:a16="http://schemas.microsoft.com/office/drawing/2014/main" id="{851046EA-7F9B-F401-2679-ABFABE261DDA}"/>
                  </a:ext>
                </a:extLst>
              </p:cNvPr>
              <p:cNvGrpSpPr/>
              <p:nvPr/>
            </p:nvGrpSpPr>
            <p:grpSpPr>
              <a:xfrm>
                <a:off x="7431499" y="3801712"/>
                <a:ext cx="75723" cy="75723"/>
                <a:chOff x="7431499" y="3801712"/>
                <a:chExt cx="75723" cy="75723"/>
              </a:xfrm>
            </p:grpSpPr>
            <p:sp>
              <p:nvSpPr>
                <p:cNvPr id="19146" name="Freeform: Shape 19145">
                  <a:extLst>
                    <a:ext uri="{FF2B5EF4-FFF2-40B4-BE49-F238E27FC236}">
                      <a16:creationId xmlns:a16="http://schemas.microsoft.com/office/drawing/2014/main" id="{FED221B6-94CA-FFCF-EA8C-B2096A96AADB}"/>
                    </a:ext>
                  </a:extLst>
                </p:cNvPr>
                <p:cNvSpPr/>
                <p:nvPr/>
              </p:nvSpPr>
              <p:spPr>
                <a:xfrm>
                  <a:off x="7469409" y="3801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47" name="Freeform: Shape 19146">
                  <a:extLst>
                    <a:ext uri="{FF2B5EF4-FFF2-40B4-BE49-F238E27FC236}">
                      <a16:creationId xmlns:a16="http://schemas.microsoft.com/office/drawing/2014/main" id="{EC8B8B4D-BBCF-C1DA-A7A9-B02C831D7BF1}"/>
                    </a:ext>
                  </a:extLst>
                </p:cNvPr>
                <p:cNvSpPr/>
                <p:nvPr/>
              </p:nvSpPr>
              <p:spPr>
                <a:xfrm>
                  <a:off x="7431499" y="3839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6" name="Graphic 790">
                <a:extLst>
                  <a:ext uri="{FF2B5EF4-FFF2-40B4-BE49-F238E27FC236}">
                    <a16:creationId xmlns:a16="http://schemas.microsoft.com/office/drawing/2014/main" id="{7B475AFB-CD81-A187-695F-A9201E58558F}"/>
                  </a:ext>
                </a:extLst>
              </p:cNvPr>
              <p:cNvGrpSpPr/>
              <p:nvPr/>
            </p:nvGrpSpPr>
            <p:grpSpPr>
              <a:xfrm>
                <a:off x="7239380" y="3719226"/>
                <a:ext cx="75723" cy="75723"/>
                <a:chOff x="7239380" y="3719226"/>
                <a:chExt cx="75723" cy="75723"/>
              </a:xfrm>
            </p:grpSpPr>
            <p:sp>
              <p:nvSpPr>
                <p:cNvPr id="19144" name="Freeform: Shape 19143">
                  <a:extLst>
                    <a:ext uri="{FF2B5EF4-FFF2-40B4-BE49-F238E27FC236}">
                      <a16:creationId xmlns:a16="http://schemas.microsoft.com/office/drawing/2014/main" id="{53095F38-E67C-9DD5-C7F3-21D340758D68}"/>
                    </a:ext>
                  </a:extLst>
                </p:cNvPr>
                <p:cNvSpPr/>
                <p:nvPr/>
              </p:nvSpPr>
              <p:spPr>
                <a:xfrm>
                  <a:off x="7277290"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45" name="Freeform: Shape 19144">
                  <a:extLst>
                    <a:ext uri="{FF2B5EF4-FFF2-40B4-BE49-F238E27FC236}">
                      <a16:creationId xmlns:a16="http://schemas.microsoft.com/office/drawing/2014/main" id="{8AAC7B86-5F2E-64CC-A2F3-86DBAEF7044A}"/>
                    </a:ext>
                  </a:extLst>
                </p:cNvPr>
                <p:cNvSpPr/>
                <p:nvPr/>
              </p:nvSpPr>
              <p:spPr>
                <a:xfrm>
                  <a:off x="723938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7" name="Graphic 790">
                <a:extLst>
                  <a:ext uri="{FF2B5EF4-FFF2-40B4-BE49-F238E27FC236}">
                    <a16:creationId xmlns:a16="http://schemas.microsoft.com/office/drawing/2014/main" id="{1096F84F-C184-E196-FC87-57050945AB74}"/>
                  </a:ext>
                </a:extLst>
              </p:cNvPr>
              <p:cNvGrpSpPr/>
              <p:nvPr/>
            </p:nvGrpSpPr>
            <p:grpSpPr>
              <a:xfrm>
                <a:off x="7024401" y="3677030"/>
                <a:ext cx="75723" cy="75628"/>
                <a:chOff x="7024401" y="3677030"/>
                <a:chExt cx="75723" cy="75628"/>
              </a:xfrm>
            </p:grpSpPr>
            <p:sp>
              <p:nvSpPr>
                <p:cNvPr id="19142" name="Freeform: Shape 19141">
                  <a:extLst>
                    <a:ext uri="{FF2B5EF4-FFF2-40B4-BE49-F238E27FC236}">
                      <a16:creationId xmlns:a16="http://schemas.microsoft.com/office/drawing/2014/main" id="{9243FBC0-543F-5E60-6551-F65A701571D5}"/>
                    </a:ext>
                  </a:extLst>
                </p:cNvPr>
                <p:cNvSpPr/>
                <p:nvPr/>
              </p:nvSpPr>
              <p:spPr>
                <a:xfrm>
                  <a:off x="7062310"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43" name="Freeform: Shape 19142">
                  <a:extLst>
                    <a:ext uri="{FF2B5EF4-FFF2-40B4-BE49-F238E27FC236}">
                      <a16:creationId xmlns:a16="http://schemas.microsoft.com/office/drawing/2014/main" id="{9C9D4C59-714B-6BD4-C0E9-275AB60CA99E}"/>
                    </a:ext>
                  </a:extLst>
                </p:cNvPr>
                <p:cNvSpPr/>
                <p:nvPr/>
              </p:nvSpPr>
              <p:spPr>
                <a:xfrm>
                  <a:off x="7024401"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8" name="Graphic 790">
                <a:extLst>
                  <a:ext uri="{FF2B5EF4-FFF2-40B4-BE49-F238E27FC236}">
                    <a16:creationId xmlns:a16="http://schemas.microsoft.com/office/drawing/2014/main" id="{38063F4F-8129-BEA9-BD6A-6E191D10BCDE}"/>
                  </a:ext>
                </a:extLst>
              </p:cNvPr>
              <p:cNvGrpSpPr/>
              <p:nvPr/>
            </p:nvGrpSpPr>
            <p:grpSpPr>
              <a:xfrm>
                <a:off x="6938104" y="3677030"/>
                <a:ext cx="75723" cy="75628"/>
                <a:chOff x="6938104" y="3677030"/>
                <a:chExt cx="75723" cy="75628"/>
              </a:xfrm>
            </p:grpSpPr>
            <p:sp>
              <p:nvSpPr>
                <p:cNvPr id="19140" name="Freeform: Shape 19139">
                  <a:extLst>
                    <a:ext uri="{FF2B5EF4-FFF2-40B4-BE49-F238E27FC236}">
                      <a16:creationId xmlns:a16="http://schemas.microsoft.com/office/drawing/2014/main" id="{058904AA-78EA-7C0A-4710-D157525AD147}"/>
                    </a:ext>
                  </a:extLst>
                </p:cNvPr>
                <p:cNvSpPr/>
                <p:nvPr/>
              </p:nvSpPr>
              <p:spPr>
                <a:xfrm>
                  <a:off x="6975919"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41" name="Freeform: Shape 19140">
                  <a:extLst>
                    <a:ext uri="{FF2B5EF4-FFF2-40B4-BE49-F238E27FC236}">
                      <a16:creationId xmlns:a16="http://schemas.microsoft.com/office/drawing/2014/main" id="{A46FDFDD-A1B4-A84A-52C7-9B41C45B5268}"/>
                    </a:ext>
                  </a:extLst>
                </p:cNvPr>
                <p:cNvSpPr/>
                <p:nvPr/>
              </p:nvSpPr>
              <p:spPr>
                <a:xfrm>
                  <a:off x="6938104"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29" name="Graphic 790">
                <a:extLst>
                  <a:ext uri="{FF2B5EF4-FFF2-40B4-BE49-F238E27FC236}">
                    <a16:creationId xmlns:a16="http://schemas.microsoft.com/office/drawing/2014/main" id="{D78807E3-2761-13C0-F686-FA8BD2440427}"/>
                  </a:ext>
                </a:extLst>
              </p:cNvPr>
              <p:cNvGrpSpPr/>
              <p:nvPr/>
            </p:nvGrpSpPr>
            <p:grpSpPr>
              <a:xfrm>
                <a:off x="6838092" y="3652646"/>
                <a:ext cx="75723" cy="75723"/>
                <a:chOff x="6838092" y="3652646"/>
                <a:chExt cx="75723" cy="75723"/>
              </a:xfrm>
            </p:grpSpPr>
            <p:sp>
              <p:nvSpPr>
                <p:cNvPr id="19138" name="Freeform: Shape 19137">
                  <a:extLst>
                    <a:ext uri="{FF2B5EF4-FFF2-40B4-BE49-F238E27FC236}">
                      <a16:creationId xmlns:a16="http://schemas.microsoft.com/office/drawing/2014/main" id="{C9164F16-8E71-A9C1-4479-748732C9EC79}"/>
                    </a:ext>
                  </a:extLst>
                </p:cNvPr>
                <p:cNvSpPr/>
                <p:nvPr/>
              </p:nvSpPr>
              <p:spPr>
                <a:xfrm>
                  <a:off x="687590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9" name="Freeform: Shape 19138">
                  <a:extLst>
                    <a:ext uri="{FF2B5EF4-FFF2-40B4-BE49-F238E27FC236}">
                      <a16:creationId xmlns:a16="http://schemas.microsoft.com/office/drawing/2014/main" id="{18D66061-BA44-26B3-A415-4BDB41F4B1AD}"/>
                    </a:ext>
                  </a:extLst>
                </p:cNvPr>
                <p:cNvSpPr/>
                <p:nvPr/>
              </p:nvSpPr>
              <p:spPr>
                <a:xfrm>
                  <a:off x="6838092"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0" name="Graphic 790">
                <a:extLst>
                  <a:ext uri="{FF2B5EF4-FFF2-40B4-BE49-F238E27FC236}">
                    <a16:creationId xmlns:a16="http://schemas.microsoft.com/office/drawing/2014/main" id="{07EF2D94-3365-2609-4A3E-0D49639FAF9B}"/>
                  </a:ext>
                </a:extLst>
              </p:cNvPr>
              <p:cNvGrpSpPr/>
              <p:nvPr/>
            </p:nvGrpSpPr>
            <p:grpSpPr>
              <a:xfrm>
                <a:off x="6516337" y="3639883"/>
                <a:ext cx="75723" cy="75723"/>
                <a:chOff x="6516337" y="3639883"/>
                <a:chExt cx="75723" cy="75723"/>
              </a:xfrm>
            </p:grpSpPr>
            <p:sp>
              <p:nvSpPr>
                <p:cNvPr id="19136" name="Freeform: Shape 19135">
                  <a:extLst>
                    <a:ext uri="{FF2B5EF4-FFF2-40B4-BE49-F238E27FC236}">
                      <a16:creationId xmlns:a16="http://schemas.microsoft.com/office/drawing/2014/main" id="{4F526D54-A354-BDAC-6BD7-09F6A9C68A00}"/>
                    </a:ext>
                  </a:extLst>
                </p:cNvPr>
                <p:cNvSpPr/>
                <p:nvPr/>
              </p:nvSpPr>
              <p:spPr>
                <a:xfrm>
                  <a:off x="6554152"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7" name="Freeform: Shape 19136">
                  <a:extLst>
                    <a:ext uri="{FF2B5EF4-FFF2-40B4-BE49-F238E27FC236}">
                      <a16:creationId xmlns:a16="http://schemas.microsoft.com/office/drawing/2014/main" id="{ABE7FA29-0A9D-DF55-7A9B-277951814454}"/>
                    </a:ext>
                  </a:extLst>
                </p:cNvPr>
                <p:cNvSpPr/>
                <p:nvPr/>
              </p:nvSpPr>
              <p:spPr>
                <a:xfrm>
                  <a:off x="651633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1" name="Graphic 790">
                <a:extLst>
                  <a:ext uri="{FF2B5EF4-FFF2-40B4-BE49-F238E27FC236}">
                    <a16:creationId xmlns:a16="http://schemas.microsoft.com/office/drawing/2014/main" id="{B072992F-588F-BD38-4BC7-DF10863EABA7}"/>
                  </a:ext>
                </a:extLst>
              </p:cNvPr>
              <p:cNvGrpSpPr/>
              <p:nvPr/>
            </p:nvGrpSpPr>
            <p:grpSpPr>
              <a:xfrm>
                <a:off x="6461950" y="3639883"/>
                <a:ext cx="75628" cy="75723"/>
                <a:chOff x="6461950" y="3639883"/>
                <a:chExt cx="75628" cy="75723"/>
              </a:xfrm>
            </p:grpSpPr>
            <p:sp>
              <p:nvSpPr>
                <p:cNvPr id="19134" name="Freeform: Shape 19133">
                  <a:extLst>
                    <a:ext uri="{FF2B5EF4-FFF2-40B4-BE49-F238E27FC236}">
                      <a16:creationId xmlns:a16="http://schemas.microsoft.com/office/drawing/2014/main" id="{4CE8E760-9193-A275-7E4B-A3A34A305896}"/>
                    </a:ext>
                  </a:extLst>
                </p:cNvPr>
                <p:cNvSpPr/>
                <p:nvPr/>
              </p:nvSpPr>
              <p:spPr>
                <a:xfrm>
                  <a:off x="6499764"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5" name="Freeform: Shape 19134">
                  <a:extLst>
                    <a:ext uri="{FF2B5EF4-FFF2-40B4-BE49-F238E27FC236}">
                      <a16:creationId xmlns:a16="http://schemas.microsoft.com/office/drawing/2014/main" id="{6C8F9B72-E119-3936-F1B5-6BCCC50AAFE2}"/>
                    </a:ext>
                  </a:extLst>
                </p:cNvPr>
                <p:cNvSpPr/>
                <p:nvPr/>
              </p:nvSpPr>
              <p:spPr>
                <a:xfrm>
                  <a:off x="6461950" y="367779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2" name="Graphic 790">
                <a:extLst>
                  <a:ext uri="{FF2B5EF4-FFF2-40B4-BE49-F238E27FC236}">
                    <a16:creationId xmlns:a16="http://schemas.microsoft.com/office/drawing/2014/main" id="{C7525DE4-C326-51B9-07C2-917010A68728}"/>
                  </a:ext>
                </a:extLst>
              </p:cNvPr>
              <p:cNvGrpSpPr/>
              <p:nvPr/>
            </p:nvGrpSpPr>
            <p:grpSpPr>
              <a:xfrm>
                <a:off x="6475475" y="3639883"/>
                <a:ext cx="75723" cy="75723"/>
                <a:chOff x="6475475" y="3639883"/>
                <a:chExt cx="75723" cy="75723"/>
              </a:xfrm>
            </p:grpSpPr>
            <p:sp>
              <p:nvSpPr>
                <p:cNvPr id="19132" name="Freeform: Shape 19131">
                  <a:extLst>
                    <a:ext uri="{FF2B5EF4-FFF2-40B4-BE49-F238E27FC236}">
                      <a16:creationId xmlns:a16="http://schemas.microsoft.com/office/drawing/2014/main" id="{12FC2B2F-5ACE-FFC3-588C-7C9EFFA9C993}"/>
                    </a:ext>
                  </a:extLst>
                </p:cNvPr>
                <p:cNvSpPr/>
                <p:nvPr/>
              </p:nvSpPr>
              <p:spPr>
                <a:xfrm>
                  <a:off x="651338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3" name="Freeform: Shape 19132">
                  <a:extLst>
                    <a:ext uri="{FF2B5EF4-FFF2-40B4-BE49-F238E27FC236}">
                      <a16:creationId xmlns:a16="http://schemas.microsoft.com/office/drawing/2014/main" id="{425170A6-655C-EDF9-8160-9C1A45E0E13B}"/>
                    </a:ext>
                  </a:extLst>
                </p:cNvPr>
                <p:cNvSpPr/>
                <p:nvPr/>
              </p:nvSpPr>
              <p:spPr>
                <a:xfrm>
                  <a:off x="6475475"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3" name="Graphic 790">
                <a:extLst>
                  <a:ext uri="{FF2B5EF4-FFF2-40B4-BE49-F238E27FC236}">
                    <a16:creationId xmlns:a16="http://schemas.microsoft.com/office/drawing/2014/main" id="{871DDB24-13A0-FF5B-E5DE-F175004685F1}"/>
                  </a:ext>
                </a:extLst>
              </p:cNvPr>
              <p:cNvGrpSpPr/>
              <p:nvPr/>
            </p:nvGrpSpPr>
            <p:grpSpPr>
              <a:xfrm>
                <a:off x="6489096" y="3639883"/>
                <a:ext cx="75723" cy="75723"/>
                <a:chOff x="6489096" y="3639883"/>
                <a:chExt cx="75723" cy="75723"/>
              </a:xfrm>
            </p:grpSpPr>
            <p:sp>
              <p:nvSpPr>
                <p:cNvPr id="19130" name="Freeform: Shape 19129">
                  <a:extLst>
                    <a:ext uri="{FF2B5EF4-FFF2-40B4-BE49-F238E27FC236}">
                      <a16:creationId xmlns:a16="http://schemas.microsoft.com/office/drawing/2014/main" id="{E190227C-CCB2-069F-B1ED-1BA1AAACFCC3}"/>
                    </a:ext>
                  </a:extLst>
                </p:cNvPr>
                <p:cNvSpPr/>
                <p:nvPr/>
              </p:nvSpPr>
              <p:spPr>
                <a:xfrm>
                  <a:off x="6527005"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31" name="Freeform: Shape 19130">
                  <a:extLst>
                    <a:ext uri="{FF2B5EF4-FFF2-40B4-BE49-F238E27FC236}">
                      <a16:creationId xmlns:a16="http://schemas.microsoft.com/office/drawing/2014/main" id="{D19FBC7F-F6E6-630A-DCCE-3C897033E00A}"/>
                    </a:ext>
                  </a:extLst>
                </p:cNvPr>
                <p:cNvSpPr/>
                <p:nvPr/>
              </p:nvSpPr>
              <p:spPr>
                <a:xfrm>
                  <a:off x="6489096"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4" name="Graphic 790">
                <a:extLst>
                  <a:ext uri="{FF2B5EF4-FFF2-40B4-BE49-F238E27FC236}">
                    <a16:creationId xmlns:a16="http://schemas.microsoft.com/office/drawing/2014/main" id="{EDD76272-EFAC-73BC-CBB2-FEF5659DD74F}"/>
                  </a:ext>
                </a:extLst>
              </p:cNvPr>
              <p:cNvGrpSpPr/>
              <p:nvPr/>
            </p:nvGrpSpPr>
            <p:grpSpPr>
              <a:xfrm>
                <a:off x="6399847" y="3598449"/>
                <a:ext cx="75628" cy="75723"/>
                <a:chOff x="6399847" y="3598449"/>
                <a:chExt cx="75628" cy="75723"/>
              </a:xfrm>
            </p:grpSpPr>
            <p:sp>
              <p:nvSpPr>
                <p:cNvPr id="19128" name="Freeform: Shape 19127">
                  <a:extLst>
                    <a:ext uri="{FF2B5EF4-FFF2-40B4-BE49-F238E27FC236}">
                      <a16:creationId xmlns:a16="http://schemas.microsoft.com/office/drawing/2014/main" id="{D62E26A7-1FC4-21A3-8D37-30CEBCD19EF7}"/>
                    </a:ext>
                  </a:extLst>
                </p:cNvPr>
                <p:cNvSpPr/>
                <p:nvPr/>
              </p:nvSpPr>
              <p:spPr>
                <a:xfrm>
                  <a:off x="643766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29" name="Freeform: Shape 19128">
                  <a:extLst>
                    <a:ext uri="{FF2B5EF4-FFF2-40B4-BE49-F238E27FC236}">
                      <a16:creationId xmlns:a16="http://schemas.microsoft.com/office/drawing/2014/main" id="{00E6AE63-8E41-55CE-1CAC-671A7565E860}"/>
                    </a:ext>
                  </a:extLst>
                </p:cNvPr>
                <p:cNvSpPr/>
                <p:nvPr/>
              </p:nvSpPr>
              <p:spPr>
                <a:xfrm>
                  <a:off x="6399847" y="363635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5" name="Graphic 790">
                <a:extLst>
                  <a:ext uri="{FF2B5EF4-FFF2-40B4-BE49-F238E27FC236}">
                    <a16:creationId xmlns:a16="http://schemas.microsoft.com/office/drawing/2014/main" id="{D93B1774-F453-0CA8-4AFA-C4AD967F3158}"/>
                  </a:ext>
                </a:extLst>
              </p:cNvPr>
              <p:cNvGrpSpPr/>
              <p:nvPr/>
            </p:nvGrpSpPr>
            <p:grpSpPr>
              <a:xfrm>
                <a:off x="6254590" y="3598449"/>
                <a:ext cx="75723" cy="75723"/>
                <a:chOff x="6254590" y="3598449"/>
                <a:chExt cx="75723" cy="75723"/>
              </a:xfrm>
            </p:grpSpPr>
            <p:sp>
              <p:nvSpPr>
                <p:cNvPr id="19126" name="Freeform: Shape 19125">
                  <a:extLst>
                    <a:ext uri="{FF2B5EF4-FFF2-40B4-BE49-F238E27FC236}">
                      <a16:creationId xmlns:a16="http://schemas.microsoft.com/office/drawing/2014/main" id="{89708FEC-CD48-B62B-B1A7-7E32CAB40B40}"/>
                    </a:ext>
                  </a:extLst>
                </p:cNvPr>
                <p:cNvSpPr/>
                <p:nvPr/>
              </p:nvSpPr>
              <p:spPr>
                <a:xfrm>
                  <a:off x="629240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27" name="Freeform: Shape 19126">
                  <a:extLst>
                    <a:ext uri="{FF2B5EF4-FFF2-40B4-BE49-F238E27FC236}">
                      <a16:creationId xmlns:a16="http://schemas.microsoft.com/office/drawing/2014/main" id="{A2496FCF-CDCE-056E-8791-2AD8FAE7D9C4}"/>
                    </a:ext>
                  </a:extLst>
                </p:cNvPr>
                <p:cNvSpPr/>
                <p:nvPr/>
              </p:nvSpPr>
              <p:spPr>
                <a:xfrm>
                  <a:off x="6254590"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6" name="Graphic 790">
                <a:extLst>
                  <a:ext uri="{FF2B5EF4-FFF2-40B4-BE49-F238E27FC236}">
                    <a16:creationId xmlns:a16="http://schemas.microsoft.com/office/drawing/2014/main" id="{AF260FBA-39C0-9F0B-BAD3-4A98D7F364D6}"/>
                  </a:ext>
                </a:extLst>
              </p:cNvPr>
              <p:cNvGrpSpPr/>
              <p:nvPr/>
            </p:nvGrpSpPr>
            <p:grpSpPr>
              <a:xfrm>
                <a:off x="6192773" y="3598449"/>
                <a:ext cx="75723" cy="75723"/>
                <a:chOff x="6192773" y="3598449"/>
                <a:chExt cx="75723" cy="75723"/>
              </a:xfrm>
            </p:grpSpPr>
            <p:sp>
              <p:nvSpPr>
                <p:cNvPr id="19124" name="Freeform: Shape 19123">
                  <a:extLst>
                    <a:ext uri="{FF2B5EF4-FFF2-40B4-BE49-F238E27FC236}">
                      <a16:creationId xmlns:a16="http://schemas.microsoft.com/office/drawing/2014/main" id="{51BE5314-2947-10AB-A6CC-87C9DA7C9F89}"/>
                    </a:ext>
                  </a:extLst>
                </p:cNvPr>
                <p:cNvSpPr/>
                <p:nvPr/>
              </p:nvSpPr>
              <p:spPr>
                <a:xfrm>
                  <a:off x="6230587"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25" name="Freeform: Shape 19124">
                  <a:extLst>
                    <a:ext uri="{FF2B5EF4-FFF2-40B4-BE49-F238E27FC236}">
                      <a16:creationId xmlns:a16="http://schemas.microsoft.com/office/drawing/2014/main" id="{A8869F5A-1311-87C5-CFF4-ECFBC09DAE4B}"/>
                    </a:ext>
                  </a:extLst>
                </p:cNvPr>
                <p:cNvSpPr/>
                <p:nvPr/>
              </p:nvSpPr>
              <p:spPr>
                <a:xfrm>
                  <a:off x="6192773"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7" name="Graphic 790">
                <a:extLst>
                  <a:ext uri="{FF2B5EF4-FFF2-40B4-BE49-F238E27FC236}">
                    <a16:creationId xmlns:a16="http://schemas.microsoft.com/office/drawing/2014/main" id="{304AAA19-29CB-28F1-25AA-697D44F1A830}"/>
                  </a:ext>
                </a:extLst>
              </p:cNvPr>
              <p:cNvGrpSpPr/>
              <p:nvPr/>
            </p:nvGrpSpPr>
            <p:grpSpPr>
              <a:xfrm>
                <a:off x="6174104" y="3598449"/>
                <a:ext cx="75723" cy="75723"/>
                <a:chOff x="6174104" y="3598449"/>
                <a:chExt cx="75723" cy="75723"/>
              </a:xfrm>
            </p:grpSpPr>
            <p:sp>
              <p:nvSpPr>
                <p:cNvPr id="19122" name="Freeform: Shape 19121">
                  <a:extLst>
                    <a:ext uri="{FF2B5EF4-FFF2-40B4-BE49-F238E27FC236}">
                      <a16:creationId xmlns:a16="http://schemas.microsoft.com/office/drawing/2014/main" id="{31B2975B-1706-0158-DAB9-FBF407FA25BB}"/>
                    </a:ext>
                  </a:extLst>
                </p:cNvPr>
                <p:cNvSpPr/>
                <p:nvPr/>
              </p:nvSpPr>
              <p:spPr>
                <a:xfrm>
                  <a:off x="6212014"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23" name="Freeform: Shape 19122">
                  <a:extLst>
                    <a:ext uri="{FF2B5EF4-FFF2-40B4-BE49-F238E27FC236}">
                      <a16:creationId xmlns:a16="http://schemas.microsoft.com/office/drawing/2014/main" id="{362EFCA1-CD85-8C90-531A-C2DDE62D0180}"/>
                    </a:ext>
                  </a:extLst>
                </p:cNvPr>
                <p:cNvSpPr/>
                <p:nvPr/>
              </p:nvSpPr>
              <p:spPr>
                <a:xfrm>
                  <a:off x="6174104"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8" name="Graphic 790">
                <a:extLst>
                  <a:ext uri="{FF2B5EF4-FFF2-40B4-BE49-F238E27FC236}">
                    <a16:creationId xmlns:a16="http://schemas.microsoft.com/office/drawing/2014/main" id="{122ED365-A884-C398-A23F-81D4952341AA}"/>
                  </a:ext>
                </a:extLst>
              </p:cNvPr>
              <p:cNvGrpSpPr/>
              <p:nvPr/>
            </p:nvGrpSpPr>
            <p:grpSpPr>
              <a:xfrm>
                <a:off x="6096475" y="3598449"/>
                <a:ext cx="75723" cy="75723"/>
                <a:chOff x="6096475" y="3598449"/>
                <a:chExt cx="75723" cy="75723"/>
              </a:xfrm>
            </p:grpSpPr>
            <p:sp>
              <p:nvSpPr>
                <p:cNvPr id="19120" name="Freeform: Shape 19119">
                  <a:extLst>
                    <a:ext uri="{FF2B5EF4-FFF2-40B4-BE49-F238E27FC236}">
                      <a16:creationId xmlns:a16="http://schemas.microsoft.com/office/drawing/2014/main" id="{3FE9D24A-A23C-220F-FEB5-3B931651DA65}"/>
                    </a:ext>
                  </a:extLst>
                </p:cNvPr>
                <p:cNvSpPr/>
                <p:nvPr/>
              </p:nvSpPr>
              <p:spPr>
                <a:xfrm>
                  <a:off x="6134385"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21" name="Freeform: Shape 19120">
                  <a:extLst>
                    <a:ext uri="{FF2B5EF4-FFF2-40B4-BE49-F238E27FC236}">
                      <a16:creationId xmlns:a16="http://schemas.microsoft.com/office/drawing/2014/main" id="{578C9F2B-310C-BEAC-4735-08591F924C17}"/>
                    </a:ext>
                  </a:extLst>
                </p:cNvPr>
                <p:cNvSpPr/>
                <p:nvPr/>
              </p:nvSpPr>
              <p:spPr>
                <a:xfrm>
                  <a:off x="6096475"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39" name="Graphic 790">
                <a:extLst>
                  <a:ext uri="{FF2B5EF4-FFF2-40B4-BE49-F238E27FC236}">
                    <a16:creationId xmlns:a16="http://schemas.microsoft.com/office/drawing/2014/main" id="{88329295-68A2-FBFF-E505-6412EF47E629}"/>
                  </a:ext>
                </a:extLst>
              </p:cNvPr>
              <p:cNvGrpSpPr/>
              <p:nvPr/>
            </p:nvGrpSpPr>
            <p:grpSpPr>
              <a:xfrm>
                <a:off x="6078759" y="3598449"/>
                <a:ext cx="75628" cy="75723"/>
                <a:chOff x="6078759" y="3598449"/>
                <a:chExt cx="75628" cy="75723"/>
              </a:xfrm>
            </p:grpSpPr>
            <p:sp>
              <p:nvSpPr>
                <p:cNvPr id="19118" name="Freeform: Shape 19117">
                  <a:extLst>
                    <a:ext uri="{FF2B5EF4-FFF2-40B4-BE49-F238E27FC236}">
                      <a16:creationId xmlns:a16="http://schemas.microsoft.com/office/drawing/2014/main" id="{00E0A881-8A30-3F44-D320-CDCD31443289}"/>
                    </a:ext>
                  </a:extLst>
                </p:cNvPr>
                <p:cNvSpPr/>
                <p:nvPr/>
              </p:nvSpPr>
              <p:spPr>
                <a:xfrm>
                  <a:off x="6116573"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9" name="Freeform: Shape 19118">
                  <a:extLst>
                    <a:ext uri="{FF2B5EF4-FFF2-40B4-BE49-F238E27FC236}">
                      <a16:creationId xmlns:a16="http://schemas.microsoft.com/office/drawing/2014/main" id="{7D262C38-B6FD-4A80-D8EF-90A92FB5E9E6}"/>
                    </a:ext>
                  </a:extLst>
                </p:cNvPr>
                <p:cNvSpPr/>
                <p:nvPr/>
              </p:nvSpPr>
              <p:spPr>
                <a:xfrm>
                  <a:off x="6078759"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0" name="Graphic 790">
                <a:extLst>
                  <a:ext uri="{FF2B5EF4-FFF2-40B4-BE49-F238E27FC236}">
                    <a16:creationId xmlns:a16="http://schemas.microsoft.com/office/drawing/2014/main" id="{ADBC762C-AA22-736B-8CE7-656798745874}"/>
                  </a:ext>
                </a:extLst>
              </p:cNvPr>
              <p:cNvGrpSpPr/>
              <p:nvPr/>
            </p:nvGrpSpPr>
            <p:grpSpPr>
              <a:xfrm>
                <a:off x="6039135" y="3546442"/>
                <a:ext cx="75723" cy="75628"/>
                <a:chOff x="6039135" y="3546442"/>
                <a:chExt cx="75723" cy="75628"/>
              </a:xfrm>
            </p:grpSpPr>
            <p:sp>
              <p:nvSpPr>
                <p:cNvPr id="19116" name="Freeform: Shape 19115">
                  <a:extLst>
                    <a:ext uri="{FF2B5EF4-FFF2-40B4-BE49-F238E27FC236}">
                      <a16:creationId xmlns:a16="http://schemas.microsoft.com/office/drawing/2014/main" id="{0ED6874F-1548-D060-A919-DE12932CFF75}"/>
                    </a:ext>
                  </a:extLst>
                </p:cNvPr>
                <p:cNvSpPr/>
                <p:nvPr/>
              </p:nvSpPr>
              <p:spPr>
                <a:xfrm>
                  <a:off x="6077044" y="35464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7" name="Freeform: Shape 19116">
                  <a:extLst>
                    <a:ext uri="{FF2B5EF4-FFF2-40B4-BE49-F238E27FC236}">
                      <a16:creationId xmlns:a16="http://schemas.microsoft.com/office/drawing/2014/main" id="{BA07FD3B-18C4-3F20-EFA8-1BEC0988EA0B}"/>
                    </a:ext>
                  </a:extLst>
                </p:cNvPr>
                <p:cNvSpPr/>
                <p:nvPr/>
              </p:nvSpPr>
              <p:spPr>
                <a:xfrm>
                  <a:off x="6039135" y="3584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1" name="Graphic 790">
                <a:extLst>
                  <a:ext uri="{FF2B5EF4-FFF2-40B4-BE49-F238E27FC236}">
                    <a16:creationId xmlns:a16="http://schemas.microsoft.com/office/drawing/2014/main" id="{137609D5-E751-B9AA-0C48-28DCB545190B}"/>
                  </a:ext>
                </a:extLst>
              </p:cNvPr>
              <p:cNvGrpSpPr/>
              <p:nvPr/>
            </p:nvGrpSpPr>
            <p:grpSpPr>
              <a:xfrm>
                <a:off x="5977984" y="3472814"/>
                <a:ext cx="75628" cy="75723"/>
                <a:chOff x="5977984" y="3472814"/>
                <a:chExt cx="75628" cy="75723"/>
              </a:xfrm>
            </p:grpSpPr>
            <p:sp>
              <p:nvSpPr>
                <p:cNvPr id="19114" name="Freeform: Shape 19113">
                  <a:extLst>
                    <a:ext uri="{FF2B5EF4-FFF2-40B4-BE49-F238E27FC236}">
                      <a16:creationId xmlns:a16="http://schemas.microsoft.com/office/drawing/2014/main" id="{503ED840-5435-5B2C-6779-41FEAF88AB12}"/>
                    </a:ext>
                  </a:extLst>
                </p:cNvPr>
                <p:cNvSpPr/>
                <p:nvPr/>
              </p:nvSpPr>
              <p:spPr>
                <a:xfrm>
                  <a:off x="6015799" y="34728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5" name="Freeform: Shape 19114">
                  <a:extLst>
                    <a:ext uri="{FF2B5EF4-FFF2-40B4-BE49-F238E27FC236}">
                      <a16:creationId xmlns:a16="http://schemas.microsoft.com/office/drawing/2014/main" id="{C8B1A27A-361A-3AFA-03D7-09E0B227A7D9}"/>
                    </a:ext>
                  </a:extLst>
                </p:cNvPr>
                <p:cNvSpPr/>
                <p:nvPr/>
              </p:nvSpPr>
              <p:spPr>
                <a:xfrm>
                  <a:off x="5977984" y="35107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2" name="Graphic 790">
                <a:extLst>
                  <a:ext uri="{FF2B5EF4-FFF2-40B4-BE49-F238E27FC236}">
                    <a16:creationId xmlns:a16="http://schemas.microsoft.com/office/drawing/2014/main" id="{E64E07EE-8E06-4B0B-D58F-AB00A42688ED}"/>
                  </a:ext>
                </a:extLst>
              </p:cNvPr>
              <p:cNvGrpSpPr/>
              <p:nvPr/>
            </p:nvGrpSpPr>
            <p:grpSpPr>
              <a:xfrm>
                <a:off x="5730715" y="3443096"/>
                <a:ext cx="75723" cy="75723"/>
                <a:chOff x="5730715" y="3443096"/>
                <a:chExt cx="75723" cy="75723"/>
              </a:xfrm>
            </p:grpSpPr>
            <p:sp>
              <p:nvSpPr>
                <p:cNvPr id="19112" name="Freeform: Shape 19111">
                  <a:extLst>
                    <a:ext uri="{FF2B5EF4-FFF2-40B4-BE49-F238E27FC236}">
                      <a16:creationId xmlns:a16="http://schemas.microsoft.com/office/drawing/2014/main" id="{53DFE18F-4A5C-B98D-988A-CE07F1F0D707}"/>
                    </a:ext>
                  </a:extLst>
                </p:cNvPr>
                <p:cNvSpPr/>
                <p:nvPr/>
              </p:nvSpPr>
              <p:spPr>
                <a:xfrm>
                  <a:off x="5768530" y="3443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3" name="Freeform: Shape 19112">
                  <a:extLst>
                    <a:ext uri="{FF2B5EF4-FFF2-40B4-BE49-F238E27FC236}">
                      <a16:creationId xmlns:a16="http://schemas.microsoft.com/office/drawing/2014/main" id="{3C2975D7-0296-1047-67D1-2857C8584A8B}"/>
                    </a:ext>
                  </a:extLst>
                </p:cNvPr>
                <p:cNvSpPr/>
                <p:nvPr/>
              </p:nvSpPr>
              <p:spPr>
                <a:xfrm>
                  <a:off x="5730715" y="34809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3" name="Graphic 790">
                <a:extLst>
                  <a:ext uri="{FF2B5EF4-FFF2-40B4-BE49-F238E27FC236}">
                    <a16:creationId xmlns:a16="http://schemas.microsoft.com/office/drawing/2014/main" id="{238AABED-ABCA-EFA9-4280-3BEF4BE148B3}"/>
                  </a:ext>
                </a:extLst>
              </p:cNvPr>
              <p:cNvGrpSpPr/>
              <p:nvPr/>
            </p:nvGrpSpPr>
            <p:grpSpPr>
              <a:xfrm>
                <a:off x="5503449" y="3300793"/>
                <a:ext cx="75723" cy="75723"/>
                <a:chOff x="5503449" y="3300793"/>
                <a:chExt cx="75723" cy="75723"/>
              </a:xfrm>
            </p:grpSpPr>
            <p:sp>
              <p:nvSpPr>
                <p:cNvPr id="19110" name="Freeform: Shape 19109">
                  <a:extLst>
                    <a:ext uri="{FF2B5EF4-FFF2-40B4-BE49-F238E27FC236}">
                      <a16:creationId xmlns:a16="http://schemas.microsoft.com/office/drawing/2014/main" id="{62A198C7-55A6-D130-2F67-98F75DE0967C}"/>
                    </a:ext>
                  </a:extLst>
                </p:cNvPr>
                <p:cNvSpPr/>
                <p:nvPr/>
              </p:nvSpPr>
              <p:spPr>
                <a:xfrm>
                  <a:off x="5541263"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11" name="Freeform: Shape 19110">
                  <a:extLst>
                    <a:ext uri="{FF2B5EF4-FFF2-40B4-BE49-F238E27FC236}">
                      <a16:creationId xmlns:a16="http://schemas.microsoft.com/office/drawing/2014/main" id="{867CBAC4-E929-FC29-9D8D-FD37E0477A81}"/>
                    </a:ext>
                  </a:extLst>
                </p:cNvPr>
                <p:cNvSpPr/>
                <p:nvPr/>
              </p:nvSpPr>
              <p:spPr>
                <a:xfrm>
                  <a:off x="5503449"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4" name="Graphic 790">
                <a:extLst>
                  <a:ext uri="{FF2B5EF4-FFF2-40B4-BE49-F238E27FC236}">
                    <a16:creationId xmlns:a16="http://schemas.microsoft.com/office/drawing/2014/main" id="{7DC1FDC4-BD51-2AF7-58B5-652CC3D7D59A}"/>
                  </a:ext>
                </a:extLst>
              </p:cNvPr>
              <p:cNvGrpSpPr/>
              <p:nvPr/>
            </p:nvGrpSpPr>
            <p:grpSpPr>
              <a:xfrm>
                <a:off x="5338095" y="3244786"/>
                <a:ext cx="75628" cy="75723"/>
                <a:chOff x="5338095" y="3244786"/>
                <a:chExt cx="75628" cy="75723"/>
              </a:xfrm>
            </p:grpSpPr>
            <p:sp>
              <p:nvSpPr>
                <p:cNvPr id="19108" name="Freeform: Shape 19107">
                  <a:extLst>
                    <a:ext uri="{FF2B5EF4-FFF2-40B4-BE49-F238E27FC236}">
                      <a16:creationId xmlns:a16="http://schemas.microsoft.com/office/drawing/2014/main" id="{386EAE69-FEAC-09F8-9ABB-165ED2045822}"/>
                    </a:ext>
                  </a:extLst>
                </p:cNvPr>
                <p:cNvSpPr/>
                <p:nvPr/>
              </p:nvSpPr>
              <p:spPr>
                <a:xfrm>
                  <a:off x="5375909"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09" name="Freeform: Shape 19108">
                  <a:extLst>
                    <a:ext uri="{FF2B5EF4-FFF2-40B4-BE49-F238E27FC236}">
                      <a16:creationId xmlns:a16="http://schemas.microsoft.com/office/drawing/2014/main" id="{B19072DD-1D7F-D4EE-2DEE-4D0C050D2218}"/>
                    </a:ext>
                  </a:extLst>
                </p:cNvPr>
                <p:cNvSpPr/>
                <p:nvPr/>
              </p:nvSpPr>
              <p:spPr>
                <a:xfrm>
                  <a:off x="5338095" y="32826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5" name="Graphic 790">
                <a:extLst>
                  <a:ext uri="{FF2B5EF4-FFF2-40B4-BE49-F238E27FC236}">
                    <a16:creationId xmlns:a16="http://schemas.microsoft.com/office/drawing/2014/main" id="{0C8DB0CD-E904-D583-6157-A8324A1F15D5}"/>
                  </a:ext>
                </a:extLst>
              </p:cNvPr>
              <p:cNvGrpSpPr/>
              <p:nvPr/>
            </p:nvGrpSpPr>
            <p:grpSpPr>
              <a:xfrm>
                <a:off x="5268753" y="3244786"/>
                <a:ext cx="75723" cy="75723"/>
                <a:chOff x="5268753" y="3244786"/>
                <a:chExt cx="75723" cy="75723"/>
              </a:xfrm>
            </p:grpSpPr>
            <p:sp>
              <p:nvSpPr>
                <p:cNvPr id="19106" name="Freeform: Shape 19105">
                  <a:extLst>
                    <a:ext uri="{FF2B5EF4-FFF2-40B4-BE49-F238E27FC236}">
                      <a16:creationId xmlns:a16="http://schemas.microsoft.com/office/drawing/2014/main" id="{C0C9BB34-309C-AC2B-6A12-FB94ECDD7AA4}"/>
                    </a:ext>
                  </a:extLst>
                </p:cNvPr>
                <p:cNvSpPr/>
                <p:nvPr/>
              </p:nvSpPr>
              <p:spPr>
                <a:xfrm>
                  <a:off x="5306567"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07" name="Freeform: Shape 19106">
                  <a:extLst>
                    <a:ext uri="{FF2B5EF4-FFF2-40B4-BE49-F238E27FC236}">
                      <a16:creationId xmlns:a16="http://schemas.microsoft.com/office/drawing/2014/main" id="{38C63DA5-7F24-2F8A-69B9-8D50145853C1}"/>
                    </a:ext>
                  </a:extLst>
                </p:cNvPr>
                <p:cNvSpPr/>
                <p:nvPr/>
              </p:nvSpPr>
              <p:spPr>
                <a:xfrm>
                  <a:off x="5268753"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6" name="Graphic 790">
                <a:extLst>
                  <a:ext uri="{FF2B5EF4-FFF2-40B4-BE49-F238E27FC236}">
                    <a16:creationId xmlns:a16="http://schemas.microsoft.com/office/drawing/2014/main" id="{A75B380F-3ADD-1552-A83A-215D64034E63}"/>
                  </a:ext>
                </a:extLst>
              </p:cNvPr>
              <p:cNvGrpSpPr/>
              <p:nvPr/>
            </p:nvGrpSpPr>
            <p:grpSpPr>
              <a:xfrm>
                <a:off x="5234082" y="3244786"/>
                <a:ext cx="75723" cy="75723"/>
                <a:chOff x="5234082" y="3244786"/>
                <a:chExt cx="75723" cy="75723"/>
              </a:xfrm>
            </p:grpSpPr>
            <p:sp>
              <p:nvSpPr>
                <p:cNvPr id="19104" name="Freeform: Shape 19103">
                  <a:extLst>
                    <a:ext uri="{FF2B5EF4-FFF2-40B4-BE49-F238E27FC236}">
                      <a16:creationId xmlns:a16="http://schemas.microsoft.com/office/drawing/2014/main" id="{CC8B4F7C-77F3-3CD9-CA9B-50842DC97560}"/>
                    </a:ext>
                  </a:extLst>
                </p:cNvPr>
                <p:cNvSpPr/>
                <p:nvPr/>
              </p:nvSpPr>
              <p:spPr>
                <a:xfrm>
                  <a:off x="5271991" y="32447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05" name="Freeform: Shape 19104">
                  <a:extLst>
                    <a:ext uri="{FF2B5EF4-FFF2-40B4-BE49-F238E27FC236}">
                      <a16:creationId xmlns:a16="http://schemas.microsoft.com/office/drawing/2014/main" id="{D0E95546-ABCF-83AF-2887-842C1EBD24A3}"/>
                    </a:ext>
                  </a:extLst>
                </p:cNvPr>
                <p:cNvSpPr/>
                <p:nvPr/>
              </p:nvSpPr>
              <p:spPr>
                <a:xfrm>
                  <a:off x="5234082" y="32826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7" name="Graphic 790">
                <a:extLst>
                  <a:ext uri="{FF2B5EF4-FFF2-40B4-BE49-F238E27FC236}">
                    <a16:creationId xmlns:a16="http://schemas.microsoft.com/office/drawing/2014/main" id="{E6D75F68-F56B-E79C-E8BF-03F745B30F1D}"/>
                  </a:ext>
                </a:extLst>
              </p:cNvPr>
              <p:cNvGrpSpPr/>
              <p:nvPr/>
            </p:nvGrpSpPr>
            <p:grpSpPr>
              <a:xfrm>
                <a:off x="5211603" y="3234689"/>
                <a:ext cx="75723" cy="75723"/>
                <a:chOff x="5211603" y="3234689"/>
                <a:chExt cx="75723" cy="75723"/>
              </a:xfrm>
            </p:grpSpPr>
            <p:sp>
              <p:nvSpPr>
                <p:cNvPr id="19102" name="Freeform: Shape 19101">
                  <a:extLst>
                    <a:ext uri="{FF2B5EF4-FFF2-40B4-BE49-F238E27FC236}">
                      <a16:creationId xmlns:a16="http://schemas.microsoft.com/office/drawing/2014/main" id="{7F0D2F9C-A468-5B9C-F5C2-B3EEC0EE99B8}"/>
                    </a:ext>
                  </a:extLst>
                </p:cNvPr>
                <p:cNvSpPr/>
                <p:nvPr/>
              </p:nvSpPr>
              <p:spPr>
                <a:xfrm>
                  <a:off x="5249417" y="32346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03" name="Freeform: Shape 19102">
                  <a:extLst>
                    <a:ext uri="{FF2B5EF4-FFF2-40B4-BE49-F238E27FC236}">
                      <a16:creationId xmlns:a16="http://schemas.microsoft.com/office/drawing/2014/main" id="{F720D8FD-4606-E01A-AA5E-B41A108B1491}"/>
                    </a:ext>
                  </a:extLst>
                </p:cNvPr>
                <p:cNvSpPr/>
                <p:nvPr/>
              </p:nvSpPr>
              <p:spPr>
                <a:xfrm>
                  <a:off x="5211603" y="32725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8" name="Graphic 790">
                <a:extLst>
                  <a:ext uri="{FF2B5EF4-FFF2-40B4-BE49-F238E27FC236}">
                    <a16:creationId xmlns:a16="http://schemas.microsoft.com/office/drawing/2014/main" id="{EDEC10F1-4DA9-6D2B-C0EB-8F100FCE1DD7}"/>
                  </a:ext>
                </a:extLst>
              </p:cNvPr>
              <p:cNvGrpSpPr/>
              <p:nvPr/>
            </p:nvGrpSpPr>
            <p:grpSpPr>
              <a:xfrm>
                <a:off x="5196268" y="3222116"/>
                <a:ext cx="75723" cy="75723"/>
                <a:chOff x="5196268" y="3222116"/>
                <a:chExt cx="75723" cy="75723"/>
              </a:xfrm>
            </p:grpSpPr>
            <p:sp>
              <p:nvSpPr>
                <p:cNvPr id="19100" name="Freeform: Shape 19099">
                  <a:extLst>
                    <a:ext uri="{FF2B5EF4-FFF2-40B4-BE49-F238E27FC236}">
                      <a16:creationId xmlns:a16="http://schemas.microsoft.com/office/drawing/2014/main" id="{C36F5CBE-E190-3DCC-C475-F793F519777E}"/>
                    </a:ext>
                  </a:extLst>
                </p:cNvPr>
                <p:cNvSpPr/>
                <p:nvPr/>
              </p:nvSpPr>
              <p:spPr>
                <a:xfrm>
                  <a:off x="5234082" y="32221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101" name="Freeform: Shape 19100">
                  <a:extLst>
                    <a:ext uri="{FF2B5EF4-FFF2-40B4-BE49-F238E27FC236}">
                      <a16:creationId xmlns:a16="http://schemas.microsoft.com/office/drawing/2014/main" id="{8863D9ED-4046-6E8A-7FFE-9E0955B6074B}"/>
                    </a:ext>
                  </a:extLst>
                </p:cNvPr>
                <p:cNvSpPr/>
                <p:nvPr/>
              </p:nvSpPr>
              <p:spPr>
                <a:xfrm>
                  <a:off x="5196268" y="32600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49" name="Graphic 790">
                <a:extLst>
                  <a:ext uri="{FF2B5EF4-FFF2-40B4-BE49-F238E27FC236}">
                    <a16:creationId xmlns:a16="http://schemas.microsoft.com/office/drawing/2014/main" id="{9A2AAF3B-5A7D-2574-91A9-CDF904084472}"/>
                  </a:ext>
                </a:extLst>
              </p:cNvPr>
              <p:cNvGrpSpPr/>
              <p:nvPr/>
            </p:nvGrpSpPr>
            <p:grpSpPr>
              <a:xfrm>
                <a:off x="5183599" y="3206971"/>
                <a:ext cx="75723" cy="75723"/>
                <a:chOff x="5183599" y="3206971"/>
                <a:chExt cx="75723" cy="75723"/>
              </a:xfrm>
            </p:grpSpPr>
            <p:sp>
              <p:nvSpPr>
                <p:cNvPr id="19098" name="Freeform: Shape 19097">
                  <a:extLst>
                    <a:ext uri="{FF2B5EF4-FFF2-40B4-BE49-F238E27FC236}">
                      <a16:creationId xmlns:a16="http://schemas.microsoft.com/office/drawing/2014/main" id="{DA04B2CD-F01A-2F61-EB30-3BA52259725B}"/>
                    </a:ext>
                  </a:extLst>
                </p:cNvPr>
                <p:cNvSpPr/>
                <p:nvPr/>
              </p:nvSpPr>
              <p:spPr>
                <a:xfrm>
                  <a:off x="5221509" y="3206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9" name="Freeform: Shape 19098">
                  <a:extLst>
                    <a:ext uri="{FF2B5EF4-FFF2-40B4-BE49-F238E27FC236}">
                      <a16:creationId xmlns:a16="http://schemas.microsoft.com/office/drawing/2014/main" id="{E1D0FFC8-C915-935D-12D8-33FA1C44A127}"/>
                    </a:ext>
                  </a:extLst>
                </p:cNvPr>
                <p:cNvSpPr/>
                <p:nvPr/>
              </p:nvSpPr>
              <p:spPr>
                <a:xfrm>
                  <a:off x="5183599" y="32447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0" name="Graphic 790">
                <a:extLst>
                  <a:ext uri="{FF2B5EF4-FFF2-40B4-BE49-F238E27FC236}">
                    <a16:creationId xmlns:a16="http://schemas.microsoft.com/office/drawing/2014/main" id="{4B478CDE-0979-0220-6377-5601A787285D}"/>
                  </a:ext>
                </a:extLst>
              </p:cNvPr>
              <p:cNvGrpSpPr/>
              <p:nvPr/>
            </p:nvGrpSpPr>
            <p:grpSpPr>
              <a:xfrm>
                <a:off x="5171217" y="3173729"/>
                <a:ext cx="75628" cy="75723"/>
                <a:chOff x="5171217" y="3173729"/>
                <a:chExt cx="75628" cy="75723"/>
              </a:xfrm>
            </p:grpSpPr>
            <p:sp>
              <p:nvSpPr>
                <p:cNvPr id="19096" name="Freeform: Shape 19095">
                  <a:extLst>
                    <a:ext uri="{FF2B5EF4-FFF2-40B4-BE49-F238E27FC236}">
                      <a16:creationId xmlns:a16="http://schemas.microsoft.com/office/drawing/2014/main" id="{86E3DB88-4426-DD22-472B-D15AE0CB1FA2}"/>
                    </a:ext>
                  </a:extLst>
                </p:cNvPr>
                <p:cNvSpPr/>
                <p:nvPr/>
              </p:nvSpPr>
              <p:spPr>
                <a:xfrm>
                  <a:off x="5209031" y="3173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7" name="Freeform: Shape 19096">
                  <a:extLst>
                    <a:ext uri="{FF2B5EF4-FFF2-40B4-BE49-F238E27FC236}">
                      <a16:creationId xmlns:a16="http://schemas.microsoft.com/office/drawing/2014/main" id="{E0841933-DA72-5E4F-A586-BDBEFF998AB5}"/>
                    </a:ext>
                  </a:extLst>
                </p:cNvPr>
                <p:cNvSpPr/>
                <p:nvPr/>
              </p:nvSpPr>
              <p:spPr>
                <a:xfrm>
                  <a:off x="5171217" y="3211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1" name="Graphic 790">
                <a:extLst>
                  <a:ext uri="{FF2B5EF4-FFF2-40B4-BE49-F238E27FC236}">
                    <a16:creationId xmlns:a16="http://schemas.microsoft.com/office/drawing/2014/main" id="{020BE236-B0FA-951A-4865-67D74202B950}"/>
                  </a:ext>
                </a:extLst>
              </p:cNvPr>
              <p:cNvGrpSpPr/>
              <p:nvPr/>
            </p:nvGrpSpPr>
            <p:grpSpPr>
              <a:xfrm>
                <a:off x="5158453" y="3158965"/>
                <a:ext cx="75628" cy="75723"/>
                <a:chOff x="5158453" y="3158965"/>
                <a:chExt cx="75628" cy="75723"/>
              </a:xfrm>
            </p:grpSpPr>
            <p:sp>
              <p:nvSpPr>
                <p:cNvPr id="19094" name="Freeform: Shape 19093">
                  <a:extLst>
                    <a:ext uri="{FF2B5EF4-FFF2-40B4-BE49-F238E27FC236}">
                      <a16:creationId xmlns:a16="http://schemas.microsoft.com/office/drawing/2014/main" id="{2F88AF0F-EF83-2E3D-EAC6-E5C55948932C}"/>
                    </a:ext>
                  </a:extLst>
                </p:cNvPr>
                <p:cNvSpPr/>
                <p:nvPr/>
              </p:nvSpPr>
              <p:spPr>
                <a:xfrm>
                  <a:off x="5196268"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5" name="Freeform: Shape 19094">
                  <a:extLst>
                    <a:ext uri="{FF2B5EF4-FFF2-40B4-BE49-F238E27FC236}">
                      <a16:creationId xmlns:a16="http://schemas.microsoft.com/office/drawing/2014/main" id="{E06C4B5D-F4F8-59A7-EB18-8DF6CCE57836}"/>
                    </a:ext>
                  </a:extLst>
                </p:cNvPr>
                <p:cNvSpPr/>
                <p:nvPr/>
              </p:nvSpPr>
              <p:spPr>
                <a:xfrm>
                  <a:off x="5158453" y="319687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2" name="Graphic 790">
                <a:extLst>
                  <a:ext uri="{FF2B5EF4-FFF2-40B4-BE49-F238E27FC236}">
                    <a16:creationId xmlns:a16="http://schemas.microsoft.com/office/drawing/2014/main" id="{3EDC03DD-E046-41CC-B8F3-7B02AC6477FD}"/>
                  </a:ext>
                </a:extLst>
              </p:cNvPr>
              <p:cNvGrpSpPr/>
              <p:nvPr/>
            </p:nvGrpSpPr>
            <p:grpSpPr>
              <a:xfrm>
                <a:off x="5145880" y="3158965"/>
                <a:ext cx="75723" cy="75723"/>
                <a:chOff x="5145880" y="3158965"/>
                <a:chExt cx="75723" cy="75723"/>
              </a:xfrm>
            </p:grpSpPr>
            <p:sp>
              <p:nvSpPr>
                <p:cNvPr id="19092" name="Freeform: Shape 19091">
                  <a:extLst>
                    <a:ext uri="{FF2B5EF4-FFF2-40B4-BE49-F238E27FC236}">
                      <a16:creationId xmlns:a16="http://schemas.microsoft.com/office/drawing/2014/main" id="{C8054EE8-77EC-B0FD-A7A5-543BF02B0193}"/>
                    </a:ext>
                  </a:extLst>
                </p:cNvPr>
                <p:cNvSpPr/>
                <p:nvPr/>
              </p:nvSpPr>
              <p:spPr>
                <a:xfrm>
                  <a:off x="5183695"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3" name="Freeform: Shape 19092">
                  <a:extLst>
                    <a:ext uri="{FF2B5EF4-FFF2-40B4-BE49-F238E27FC236}">
                      <a16:creationId xmlns:a16="http://schemas.microsoft.com/office/drawing/2014/main" id="{B9A873A6-1194-91D1-A749-CC328B41F110}"/>
                    </a:ext>
                  </a:extLst>
                </p:cNvPr>
                <p:cNvSpPr/>
                <p:nvPr/>
              </p:nvSpPr>
              <p:spPr>
                <a:xfrm>
                  <a:off x="5145880"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3" name="Graphic 790">
                <a:extLst>
                  <a:ext uri="{FF2B5EF4-FFF2-40B4-BE49-F238E27FC236}">
                    <a16:creationId xmlns:a16="http://schemas.microsoft.com/office/drawing/2014/main" id="{97BF53E7-4287-974D-9D3C-1B6970FD135C}"/>
                  </a:ext>
                </a:extLst>
              </p:cNvPr>
              <p:cNvGrpSpPr/>
              <p:nvPr/>
            </p:nvGrpSpPr>
            <p:grpSpPr>
              <a:xfrm>
                <a:off x="5133307" y="3158965"/>
                <a:ext cx="75723" cy="75723"/>
                <a:chOff x="5133307" y="3158965"/>
                <a:chExt cx="75723" cy="75723"/>
              </a:xfrm>
            </p:grpSpPr>
            <p:sp>
              <p:nvSpPr>
                <p:cNvPr id="19090" name="Freeform: Shape 19089">
                  <a:extLst>
                    <a:ext uri="{FF2B5EF4-FFF2-40B4-BE49-F238E27FC236}">
                      <a16:creationId xmlns:a16="http://schemas.microsoft.com/office/drawing/2014/main" id="{1CA44EA7-7BBB-5C3B-3B74-C4715B254B21}"/>
                    </a:ext>
                  </a:extLst>
                </p:cNvPr>
                <p:cNvSpPr/>
                <p:nvPr/>
              </p:nvSpPr>
              <p:spPr>
                <a:xfrm>
                  <a:off x="5171217" y="31589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91" name="Freeform: Shape 19090">
                  <a:extLst>
                    <a:ext uri="{FF2B5EF4-FFF2-40B4-BE49-F238E27FC236}">
                      <a16:creationId xmlns:a16="http://schemas.microsoft.com/office/drawing/2014/main" id="{6AEFE351-E0D2-B9B3-AD70-3547B5A12D55}"/>
                    </a:ext>
                  </a:extLst>
                </p:cNvPr>
                <p:cNvSpPr/>
                <p:nvPr/>
              </p:nvSpPr>
              <p:spPr>
                <a:xfrm>
                  <a:off x="5133307" y="31968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4" name="Graphic 790">
                <a:extLst>
                  <a:ext uri="{FF2B5EF4-FFF2-40B4-BE49-F238E27FC236}">
                    <a16:creationId xmlns:a16="http://schemas.microsoft.com/office/drawing/2014/main" id="{9157526C-644D-83AD-71B3-F3DCC14B1178}"/>
                  </a:ext>
                </a:extLst>
              </p:cNvPr>
              <p:cNvGrpSpPr/>
              <p:nvPr/>
            </p:nvGrpSpPr>
            <p:grpSpPr>
              <a:xfrm>
                <a:off x="4973287" y="3133057"/>
                <a:ext cx="75723" cy="75723"/>
                <a:chOff x="4973287" y="3133057"/>
                <a:chExt cx="75723" cy="75723"/>
              </a:xfrm>
            </p:grpSpPr>
            <p:sp>
              <p:nvSpPr>
                <p:cNvPr id="19088" name="Freeform: Shape 19087">
                  <a:extLst>
                    <a:ext uri="{FF2B5EF4-FFF2-40B4-BE49-F238E27FC236}">
                      <a16:creationId xmlns:a16="http://schemas.microsoft.com/office/drawing/2014/main" id="{16E2054E-86A5-6CAF-0700-3733231298ED}"/>
                    </a:ext>
                  </a:extLst>
                </p:cNvPr>
                <p:cNvSpPr/>
                <p:nvPr/>
              </p:nvSpPr>
              <p:spPr>
                <a:xfrm>
                  <a:off x="5011102"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9" name="Freeform: Shape 19088">
                  <a:extLst>
                    <a:ext uri="{FF2B5EF4-FFF2-40B4-BE49-F238E27FC236}">
                      <a16:creationId xmlns:a16="http://schemas.microsoft.com/office/drawing/2014/main" id="{29971E26-44EC-7E2A-317E-70CEA4C65EF2}"/>
                    </a:ext>
                  </a:extLst>
                </p:cNvPr>
                <p:cNvSpPr/>
                <p:nvPr/>
              </p:nvSpPr>
              <p:spPr>
                <a:xfrm>
                  <a:off x="4973287" y="3170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5" name="Graphic 790">
                <a:extLst>
                  <a:ext uri="{FF2B5EF4-FFF2-40B4-BE49-F238E27FC236}">
                    <a16:creationId xmlns:a16="http://schemas.microsoft.com/office/drawing/2014/main" id="{02B03FB2-B005-89D1-3990-E0BC67C4426F}"/>
                  </a:ext>
                </a:extLst>
              </p:cNvPr>
              <p:cNvGrpSpPr/>
              <p:nvPr/>
            </p:nvGrpSpPr>
            <p:grpSpPr>
              <a:xfrm>
                <a:off x="4802980" y="3087052"/>
                <a:ext cx="75723" cy="75723"/>
                <a:chOff x="4802980" y="3087052"/>
                <a:chExt cx="75723" cy="75723"/>
              </a:xfrm>
            </p:grpSpPr>
            <p:sp>
              <p:nvSpPr>
                <p:cNvPr id="19086" name="Freeform: Shape 19085">
                  <a:extLst>
                    <a:ext uri="{FF2B5EF4-FFF2-40B4-BE49-F238E27FC236}">
                      <a16:creationId xmlns:a16="http://schemas.microsoft.com/office/drawing/2014/main" id="{AC016EB6-4BE6-78AC-94C0-1F05EC7CE41E}"/>
                    </a:ext>
                  </a:extLst>
                </p:cNvPr>
                <p:cNvSpPr/>
                <p:nvPr/>
              </p:nvSpPr>
              <p:spPr>
                <a:xfrm>
                  <a:off x="4840795" y="30870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7" name="Freeform: Shape 19086">
                  <a:extLst>
                    <a:ext uri="{FF2B5EF4-FFF2-40B4-BE49-F238E27FC236}">
                      <a16:creationId xmlns:a16="http://schemas.microsoft.com/office/drawing/2014/main" id="{4301C7E5-25F4-7533-00E3-0D7E4C4BF1A9}"/>
                    </a:ext>
                  </a:extLst>
                </p:cNvPr>
                <p:cNvSpPr/>
                <p:nvPr/>
              </p:nvSpPr>
              <p:spPr>
                <a:xfrm>
                  <a:off x="4802980" y="31248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6" name="Graphic 790">
                <a:extLst>
                  <a:ext uri="{FF2B5EF4-FFF2-40B4-BE49-F238E27FC236}">
                    <a16:creationId xmlns:a16="http://schemas.microsoft.com/office/drawing/2014/main" id="{52299C31-8899-2F41-F272-C4FA3F0E5F08}"/>
                  </a:ext>
                </a:extLst>
              </p:cNvPr>
              <p:cNvGrpSpPr/>
              <p:nvPr/>
            </p:nvGrpSpPr>
            <p:grpSpPr>
              <a:xfrm>
                <a:off x="4788502" y="3073240"/>
                <a:ext cx="75723" cy="75723"/>
                <a:chOff x="4788502" y="3073240"/>
                <a:chExt cx="75723" cy="75723"/>
              </a:xfrm>
            </p:grpSpPr>
            <p:sp>
              <p:nvSpPr>
                <p:cNvPr id="19084" name="Freeform: Shape 19083">
                  <a:extLst>
                    <a:ext uri="{FF2B5EF4-FFF2-40B4-BE49-F238E27FC236}">
                      <a16:creationId xmlns:a16="http://schemas.microsoft.com/office/drawing/2014/main" id="{43EF3459-6B28-A7EB-C427-AEEB94E95FBA}"/>
                    </a:ext>
                  </a:extLst>
                </p:cNvPr>
                <p:cNvSpPr/>
                <p:nvPr/>
              </p:nvSpPr>
              <p:spPr>
                <a:xfrm>
                  <a:off x="4826317" y="30732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5" name="Freeform: Shape 19084">
                  <a:extLst>
                    <a:ext uri="{FF2B5EF4-FFF2-40B4-BE49-F238E27FC236}">
                      <a16:creationId xmlns:a16="http://schemas.microsoft.com/office/drawing/2014/main" id="{478BCC7E-98A4-6A5A-76C0-F5E03EAEC7D8}"/>
                    </a:ext>
                  </a:extLst>
                </p:cNvPr>
                <p:cNvSpPr/>
                <p:nvPr/>
              </p:nvSpPr>
              <p:spPr>
                <a:xfrm>
                  <a:off x="4788502" y="3111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7" name="Graphic 790">
                <a:extLst>
                  <a:ext uri="{FF2B5EF4-FFF2-40B4-BE49-F238E27FC236}">
                    <a16:creationId xmlns:a16="http://schemas.microsoft.com/office/drawing/2014/main" id="{6B015833-FF03-372B-1905-6E6C8409A0D3}"/>
                  </a:ext>
                </a:extLst>
              </p:cNvPr>
              <p:cNvGrpSpPr/>
              <p:nvPr/>
            </p:nvGrpSpPr>
            <p:grpSpPr>
              <a:xfrm>
                <a:off x="4634864" y="2850260"/>
                <a:ext cx="75723" cy="75723"/>
                <a:chOff x="4634864" y="2850260"/>
                <a:chExt cx="75723" cy="75723"/>
              </a:xfrm>
            </p:grpSpPr>
            <p:sp>
              <p:nvSpPr>
                <p:cNvPr id="19082" name="Freeform: Shape 19081">
                  <a:extLst>
                    <a:ext uri="{FF2B5EF4-FFF2-40B4-BE49-F238E27FC236}">
                      <a16:creationId xmlns:a16="http://schemas.microsoft.com/office/drawing/2014/main" id="{0080E9CD-617E-C8D7-0271-2B0641BDB033}"/>
                    </a:ext>
                  </a:extLst>
                </p:cNvPr>
                <p:cNvSpPr/>
                <p:nvPr/>
              </p:nvSpPr>
              <p:spPr>
                <a:xfrm>
                  <a:off x="4672774" y="28502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3" name="Freeform: Shape 19082">
                  <a:extLst>
                    <a:ext uri="{FF2B5EF4-FFF2-40B4-BE49-F238E27FC236}">
                      <a16:creationId xmlns:a16="http://schemas.microsoft.com/office/drawing/2014/main" id="{E3592677-99F9-8E02-FD4C-DB021A8027A3}"/>
                    </a:ext>
                  </a:extLst>
                </p:cNvPr>
                <p:cNvSpPr/>
                <p:nvPr/>
              </p:nvSpPr>
              <p:spPr>
                <a:xfrm>
                  <a:off x="4634864" y="28880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8" name="Graphic 790">
                <a:extLst>
                  <a:ext uri="{FF2B5EF4-FFF2-40B4-BE49-F238E27FC236}">
                    <a16:creationId xmlns:a16="http://schemas.microsoft.com/office/drawing/2014/main" id="{49B752F8-D3CC-71D8-2150-E20DC605F3C5}"/>
                  </a:ext>
                </a:extLst>
              </p:cNvPr>
              <p:cNvGrpSpPr/>
              <p:nvPr/>
            </p:nvGrpSpPr>
            <p:grpSpPr>
              <a:xfrm>
                <a:off x="4664106" y="2856928"/>
                <a:ext cx="98964" cy="89630"/>
                <a:chOff x="4664106" y="2856928"/>
                <a:chExt cx="98964" cy="89630"/>
              </a:xfrm>
            </p:grpSpPr>
            <p:sp>
              <p:nvSpPr>
                <p:cNvPr id="19078" name="Freeform: Shape 19077">
                  <a:extLst>
                    <a:ext uri="{FF2B5EF4-FFF2-40B4-BE49-F238E27FC236}">
                      <a16:creationId xmlns:a16="http://schemas.microsoft.com/office/drawing/2014/main" id="{61FAA35D-6FE5-0963-C412-174A2691E817}"/>
                    </a:ext>
                  </a:extLst>
                </p:cNvPr>
                <p:cNvSpPr/>
                <p:nvPr/>
              </p:nvSpPr>
              <p:spPr>
                <a:xfrm>
                  <a:off x="4701920" y="2856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9" name="Freeform: Shape 19078">
                  <a:extLst>
                    <a:ext uri="{FF2B5EF4-FFF2-40B4-BE49-F238E27FC236}">
                      <a16:creationId xmlns:a16="http://schemas.microsoft.com/office/drawing/2014/main" id="{1969B38A-26D7-B430-E0B2-830C763FE553}"/>
                    </a:ext>
                  </a:extLst>
                </p:cNvPr>
                <p:cNvSpPr/>
                <p:nvPr/>
              </p:nvSpPr>
              <p:spPr>
                <a:xfrm>
                  <a:off x="4664106" y="2894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0" name="Freeform: Shape 19079">
                  <a:extLst>
                    <a:ext uri="{FF2B5EF4-FFF2-40B4-BE49-F238E27FC236}">
                      <a16:creationId xmlns:a16="http://schemas.microsoft.com/office/drawing/2014/main" id="{11A99C35-6648-3EF5-0505-C177A4B57D21}"/>
                    </a:ext>
                  </a:extLst>
                </p:cNvPr>
                <p:cNvSpPr/>
                <p:nvPr/>
              </p:nvSpPr>
              <p:spPr>
                <a:xfrm>
                  <a:off x="4725256" y="28708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81" name="Freeform: Shape 19080">
                  <a:extLst>
                    <a:ext uri="{FF2B5EF4-FFF2-40B4-BE49-F238E27FC236}">
                      <a16:creationId xmlns:a16="http://schemas.microsoft.com/office/drawing/2014/main" id="{46483D67-0B20-4716-93A5-FF8228B78912}"/>
                    </a:ext>
                  </a:extLst>
                </p:cNvPr>
                <p:cNvSpPr/>
                <p:nvPr/>
              </p:nvSpPr>
              <p:spPr>
                <a:xfrm>
                  <a:off x="4687347" y="29086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59" name="Graphic 790">
                <a:extLst>
                  <a:ext uri="{FF2B5EF4-FFF2-40B4-BE49-F238E27FC236}">
                    <a16:creationId xmlns:a16="http://schemas.microsoft.com/office/drawing/2014/main" id="{B5C24E62-3911-5253-7859-9CF043462BD2}"/>
                  </a:ext>
                </a:extLst>
              </p:cNvPr>
              <p:cNvGrpSpPr/>
              <p:nvPr/>
            </p:nvGrpSpPr>
            <p:grpSpPr>
              <a:xfrm>
                <a:off x="4725256" y="2932651"/>
                <a:ext cx="75628" cy="75628"/>
                <a:chOff x="4725256" y="2932651"/>
                <a:chExt cx="75628" cy="75628"/>
              </a:xfrm>
            </p:grpSpPr>
            <p:sp>
              <p:nvSpPr>
                <p:cNvPr id="19076" name="Freeform: Shape 19075">
                  <a:extLst>
                    <a:ext uri="{FF2B5EF4-FFF2-40B4-BE49-F238E27FC236}">
                      <a16:creationId xmlns:a16="http://schemas.microsoft.com/office/drawing/2014/main" id="{F5E9ED43-0C1D-BAFF-D7CE-A29D2AE0A49E}"/>
                    </a:ext>
                  </a:extLst>
                </p:cNvPr>
                <p:cNvSpPr/>
                <p:nvPr/>
              </p:nvSpPr>
              <p:spPr>
                <a:xfrm>
                  <a:off x="4763071" y="29326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7" name="Freeform: Shape 19076">
                  <a:extLst>
                    <a:ext uri="{FF2B5EF4-FFF2-40B4-BE49-F238E27FC236}">
                      <a16:creationId xmlns:a16="http://schemas.microsoft.com/office/drawing/2014/main" id="{B9E7488D-30A1-8A86-4FC1-5C6845929C1D}"/>
                    </a:ext>
                  </a:extLst>
                </p:cNvPr>
                <p:cNvSpPr/>
                <p:nvPr/>
              </p:nvSpPr>
              <p:spPr>
                <a:xfrm>
                  <a:off x="4725256" y="2970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0" name="Graphic 790">
                <a:extLst>
                  <a:ext uri="{FF2B5EF4-FFF2-40B4-BE49-F238E27FC236}">
                    <a16:creationId xmlns:a16="http://schemas.microsoft.com/office/drawing/2014/main" id="{D28D2E24-80DB-9E8B-D732-509415572217}"/>
                  </a:ext>
                </a:extLst>
              </p:cNvPr>
              <p:cNvGrpSpPr/>
              <p:nvPr/>
            </p:nvGrpSpPr>
            <p:grpSpPr>
              <a:xfrm>
                <a:off x="4734972" y="2977038"/>
                <a:ext cx="75628" cy="75723"/>
                <a:chOff x="4734972" y="2977038"/>
                <a:chExt cx="75628" cy="75723"/>
              </a:xfrm>
            </p:grpSpPr>
            <p:sp>
              <p:nvSpPr>
                <p:cNvPr id="19074" name="Freeform: Shape 19073">
                  <a:extLst>
                    <a:ext uri="{FF2B5EF4-FFF2-40B4-BE49-F238E27FC236}">
                      <a16:creationId xmlns:a16="http://schemas.microsoft.com/office/drawing/2014/main" id="{D6B22ACE-4DE6-85A9-512C-198B0734BCC4}"/>
                    </a:ext>
                  </a:extLst>
                </p:cNvPr>
                <p:cNvSpPr/>
                <p:nvPr/>
              </p:nvSpPr>
              <p:spPr>
                <a:xfrm>
                  <a:off x="4772786"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5" name="Freeform: Shape 19074">
                  <a:extLst>
                    <a:ext uri="{FF2B5EF4-FFF2-40B4-BE49-F238E27FC236}">
                      <a16:creationId xmlns:a16="http://schemas.microsoft.com/office/drawing/2014/main" id="{D3424A66-99DB-3EAE-7E3D-9D1D02151A11}"/>
                    </a:ext>
                  </a:extLst>
                </p:cNvPr>
                <p:cNvSpPr/>
                <p:nvPr/>
              </p:nvSpPr>
              <p:spPr>
                <a:xfrm>
                  <a:off x="4734972" y="30148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1" name="Graphic 790">
                <a:extLst>
                  <a:ext uri="{FF2B5EF4-FFF2-40B4-BE49-F238E27FC236}">
                    <a16:creationId xmlns:a16="http://schemas.microsoft.com/office/drawing/2014/main" id="{09A132F5-9769-0123-5A2D-56707EE52594}"/>
                  </a:ext>
                </a:extLst>
              </p:cNvPr>
              <p:cNvGrpSpPr/>
              <p:nvPr/>
            </p:nvGrpSpPr>
            <p:grpSpPr>
              <a:xfrm>
                <a:off x="4744021" y="3008280"/>
                <a:ext cx="75723" cy="75723"/>
                <a:chOff x="4744021" y="3008280"/>
                <a:chExt cx="75723" cy="75723"/>
              </a:xfrm>
            </p:grpSpPr>
            <p:sp>
              <p:nvSpPr>
                <p:cNvPr id="19072" name="Freeform: Shape 19071">
                  <a:extLst>
                    <a:ext uri="{FF2B5EF4-FFF2-40B4-BE49-F238E27FC236}">
                      <a16:creationId xmlns:a16="http://schemas.microsoft.com/office/drawing/2014/main" id="{734F191B-F4BA-1B39-2E35-0F2EDD222A32}"/>
                    </a:ext>
                  </a:extLst>
                </p:cNvPr>
                <p:cNvSpPr/>
                <p:nvPr/>
              </p:nvSpPr>
              <p:spPr>
                <a:xfrm>
                  <a:off x="4781835" y="30082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3" name="Freeform: Shape 19072">
                  <a:extLst>
                    <a:ext uri="{FF2B5EF4-FFF2-40B4-BE49-F238E27FC236}">
                      <a16:creationId xmlns:a16="http://schemas.microsoft.com/office/drawing/2014/main" id="{929FC7B0-94FA-1E6D-9F19-F8E4C4DA7074}"/>
                    </a:ext>
                  </a:extLst>
                </p:cNvPr>
                <p:cNvSpPr/>
                <p:nvPr/>
              </p:nvSpPr>
              <p:spPr>
                <a:xfrm>
                  <a:off x="4744021" y="30461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2" name="Graphic 790">
                <a:extLst>
                  <a:ext uri="{FF2B5EF4-FFF2-40B4-BE49-F238E27FC236}">
                    <a16:creationId xmlns:a16="http://schemas.microsoft.com/office/drawing/2014/main" id="{D754F24F-6B7D-FA53-2730-458E094B9F94}"/>
                  </a:ext>
                </a:extLst>
              </p:cNvPr>
              <p:cNvGrpSpPr/>
              <p:nvPr/>
            </p:nvGrpSpPr>
            <p:grpSpPr>
              <a:xfrm>
                <a:off x="4765166" y="3033045"/>
                <a:ext cx="75628" cy="75723"/>
                <a:chOff x="4765166" y="3033045"/>
                <a:chExt cx="75628" cy="75723"/>
              </a:xfrm>
            </p:grpSpPr>
            <p:sp>
              <p:nvSpPr>
                <p:cNvPr id="19070" name="Freeform: Shape 19069">
                  <a:extLst>
                    <a:ext uri="{FF2B5EF4-FFF2-40B4-BE49-F238E27FC236}">
                      <a16:creationId xmlns:a16="http://schemas.microsoft.com/office/drawing/2014/main" id="{0A2C1B9B-B699-A459-EEB4-C1F29DA921D1}"/>
                    </a:ext>
                  </a:extLst>
                </p:cNvPr>
                <p:cNvSpPr/>
                <p:nvPr/>
              </p:nvSpPr>
              <p:spPr>
                <a:xfrm>
                  <a:off x="4802980" y="30330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71" name="Freeform: Shape 19070">
                  <a:extLst>
                    <a:ext uri="{FF2B5EF4-FFF2-40B4-BE49-F238E27FC236}">
                      <a16:creationId xmlns:a16="http://schemas.microsoft.com/office/drawing/2014/main" id="{6AF56A77-0702-2B21-10CF-16D9266B4F19}"/>
                    </a:ext>
                  </a:extLst>
                </p:cNvPr>
                <p:cNvSpPr/>
                <p:nvPr/>
              </p:nvSpPr>
              <p:spPr>
                <a:xfrm>
                  <a:off x="4765166" y="307095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3" name="Graphic 790">
                <a:extLst>
                  <a:ext uri="{FF2B5EF4-FFF2-40B4-BE49-F238E27FC236}">
                    <a16:creationId xmlns:a16="http://schemas.microsoft.com/office/drawing/2014/main" id="{357CFDF3-9167-038D-364E-E982EA7DA97E}"/>
                  </a:ext>
                </a:extLst>
              </p:cNvPr>
              <p:cNvGrpSpPr/>
              <p:nvPr/>
            </p:nvGrpSpPr>
            <p:grpSpPr>
              <a:xfrm>
                <a:off x="4499895" y="2814732"/>
                <a:ext cx="75628" cy="75723"/>
                <a:chOff x="4499895" y="2814732"/>
                <a:chExt cx="75628" cy="75723"/>
              </a:xfrm>
            </p:grpSpPr>
            <p:sp>
              <p:nvSpPr>
                <p:cNvPr id="19068" name="Freeform: Shape 19067">
                  <a:extLst>
                    <a:ext uri="{FF2B5EF4-FFF2-40B4-BE49-F238E27FC236}">
                      <a16:creationId xmlns:a16="http://schemas.microsoft.com/office/drawing/2014/main" id="{0B34DD20-8E8D-7CD1-775F-23B3F8842164}"/>
                    </a:ext>
                  </a:extLst>
                </p:cNvPr>
                <p:cNvSpPr/>
                <p:nvPr/>
              </p:nvSpPr>
              <p:spPr>
                <a:xfrm>
                  <a:off x="4537709" y="28147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69" name="Freeform: Shape 19068">
                  <a:extLst>
                    <a:ext uri="{FF2B5EF4-FFF2-40B4-BE49-F238E27FC236}">
                      <a16:creationId xmlns:a16="http://schemas.microsoft.com/office/drawing/2014/main" id="{7F4A23C1-85C1-E777-452E-715C09E0EB4D}"/>
                    </a:ext>
                  </a:extLst>
                </p:cNvPr>
                <p:cNvSpPr/>
                <p:nvPr/>
              </p:nvSpPr>
              <p:spPr>
                <a:xfrm>
                  <a:off x="4499895" y="2852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4" name="Graphic 790">
                <a:extLst>
                  <a:ext uri="{FF2B5EF4-FFF2-40B4-BE49-F238E27FC236}">
                    <a16:creationId xmlns:a16="http://schemas.microsoft.com/office/drawing/2014/main" id="{276B4960-4945-4927-2945-B95B20DD9809}"/>
                  </a:ext>
                </a:extLst>
              </p:cNvPr>
              <p:cNvGrpSpPr/>
              <p:nvPr/>
            </p:nvGrpSpPr>
            <p:grpSpPr>
              <a:xfrm>
                <a:off x="4424171" y="2808731"/>
                <a:ext cx="75723" cy="75628"/>
                <a:chOff x="4424171" y="2808731"/>
                <a:chExt cx="75723" cy="75628"/>
              </a:xfrm>
            </p:grpSpPr>
            <p:sp>
              <p:nvSpPr>
                <p:cNvPr id="19066" name="Freeform: Shape 19065">
                  <a:extLst>
                    <a:ext uri="{FF2B5EF4-FFF2-40B4-BE49-F238E27FC236}">
                      <a16:creationId xmlns:a16="http://schemas.microsoft.com/office/drawing/2014/main" id="{C99A1188-3CD3-F33B-5686-C6E16E191A0F}"/>
                    </a:ext>
                  </a:extLst>
                </p:cNvPr>
                <p:cNvSpPr/>
                <p:nvPr/>
              </p:nvSpPr>
              <p:spPr>
                <a:xfrm>
                  <a:off x="4461985" y="280873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67" name="Freeform: Shape 19066">
                  <a:extLst>
                    <a:ext uri="{FF2B5EF4-FFF2-40B4-BE49-F238E27FC236}">
                      <a16:creationId xmlns:a16="http://schemas.microsoft.com/office/drawing/2014/main" id="{E1FDEC2B-4251-FA9C-4D2C-63182FA21211}"/>
                    </a:ext>
                  </a:extLst>
                </p:cNvPr>
                <p:cNvSpPr/>
                <p:nvPr/>
              </p:nvSpPr>
              <p:spPr>
                <a:xfrm>
                  <a:off x="4424171" y="2846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5" name="Graphic 790">
                <a:extLst>
                  <a:ext uri="{FF2B5EF4-FFF2-40B4-BE49-F238E27FC236}">
                    <a16:creationId xmlns:a16="http://schemas.microsoft.com/office/drawing/2014/main" id="{9C1AE8ED-2DA5-4402-9B19-8BA7F5C7CE9A}"/>
                  </a:ext>
                </a:extLst>
              </p:cNvPr>
              <p:cNvGrpSpPr/>
              <p:nvPr/>
            </p:nvGrpSpPr>
            <p:grpSpPr>
              <a:xfrm>
                <a:off x="4203286" y="2576416"/>
                <a:ext cx="75723" cy="75723"/>
                <a:chOff x="4203286" y="2576416"/>
                <a:chExt cx="75723" cy="75723"/>
              </a:xfrm>
            </p:grpSpPr>
            <p:sp>
              <p:nvSpPr>
                <p:cNvPr id="19064" name="Freeform: Shape 19063">
                  <a:extLst>
                    <a:ext uri="{FF2B5EF4-FFF2-40B4-BE49-F238E27FC236}">
                      <a16:creationId xmlns:a16="http://schemas.microsoft.com/office/drawing/2014/main" id="{2E9EF742-9786-503C-5AAE-234898ABEA02}"/>
                    </a:ext>
                  </a:extLst>
                </p:cNvPr>
                <p:cNvSpPr/>
                <p:nvPr/>
              </p:nvSpPr>
              <p:spPr>
                <a:xfrm>
                  <a:off x="4241101" y="25764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65" name="Freeform: Shape 19064">
                  <a:extLst>
                    <a:ext uri="{FF2B5EF4-FFF2-40B4-BE49-F238E27FC236}">
                      <a16:creationId xmlns:a16="http://schemas.microsoft.com/office/drawing/2014/main" id="{B0B2E550-8884-3A09-F4FD-5299EA6A81EC}"/>
                    </a:ext>
                  </a:extLst>
                </p:cNvPr>
                <p:cNvSpPr/>
                <p:nvPr/>
              </p:nvSpPr>
              <p:spPr>
                <a:xfrm>
                  <a:off x="4203286" y="26143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6" name="Graphic 790">
                <a:extLst>
                  <a:ext uri="{FF2B5EF4-FFF2-40B4-BE49-F238E27FC236}">
                    <a16:creationId xmlns:a16="http://schemas.microsoft.com/office/drawing/2014/main" id="{DBA4B987-0F62-378F-A3B2-E8E334048AE4}"/>
                  </a:ext>
                </a:extLst>
              </p:cNvPr>
              <p:cNvGrpSpPr/>
              <p:nvPr/>
            </p:nvGrpSpPr>
            <p:grpSpPr>
              <a:xfrm>
                <a:off x="4135849" y="2555176"/>
                <a:ext cx="75723" cy="75723"/>
                <a:chOff x="4135849" y="2555176"/>
                <a:chExt cx="75723" cy="75723"/>
              </a:xfrm>
            </p:grpSpPr>
            <p:sp>
              <p:nvSpPr>
                <p:cNvPr id="19062" name="Freeform: Shape 19061">
                  <a:extLst>
                    <a:ext uri="{FF2B5EF4-FFF2-40B4-BE49-F238E27FC236}">
                      <a16:creationId xmlns:a16="http://schemas.microsoft.com/office/drawing/2014/main" id="{B2A600F6-CA1E-F65B-12A6-9B597C29BF94}"/>
                    </a:ext>
                  </a:extLst>
                </p:cNvPr>
                <p:cNvSpPr/>
                <p:nvPr/>
              </p:nvSpPr>
              <p:spPr>
                <a:xfrm>
                  <a:off x="4173759" y="25551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63" name="Freeform: Shape 19062">
                  <a:extLst>
                    <a:ext uri="{FF2B5EF4-FFF2-40B4-BE49-F238E27FC236}">
                      <a16:creationId xmlns:a16="http://schemas.microsoft.com/office/drawing/2014/main" id="{F795E31D-2434-9B17-D2AC-AFA16DA8B9A9}"/>
                    </a:ext>
                  </a:extLst>
                </p:cNvPr>
                <p:cNvSpPr/>
                <p:nvPr/>
              </p:nvSpPr>
              <p:spPr>
                <a:xfrm>
                  <a:off x="4135849" y="25930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7" name="Graphic 790">
                <a:extLst>
                  <a:ext uri="{FF2B5EF4-FFF2-40B4-BE49-F238E27FC236}">
                    <a16:creationId xmlns:a16="http://schemas.microsoft.com/office/drawing/2014/main" id="{06915423-2BC5-1229-E2FD-1E8F31B307A6}"/>
                  </a:ext>
                </a:extLst>
              </p:cNvPr>
              <p:cNvGrpSpPr/>
              <p:nvPr/>
            </p:nvGrpSpPr>
            <p:grpSpPr>
              <a:xfrm>
                <a:off x="3865530" y="2479547"/>
                <a:ext cx="75723" cy="75628"/>
                <a:chOff x="3865530" y="2479547"/>
                <a:chExt cx="75723" cy="75628"/>
              </a:xfrm>
            </p:grpSpPr>
            <p:sp>
              <p:nvSpPr>
                <p:cNvPr id="19060" name="Freeform: Shape 19059">
                  <a:extLst>
                    <a:ext uri="{FF2B5EF4-FFF2-40B4-BE49-F238E27FC236}">
                      <a16:creationId xmlns:a16="http://schemas.microsoft.com/office/drawing/2014/main" id="{D3F02F44-2AE3-1CBB-965B-365293D481A6}"/>
                    </a:ext>
                  </a:extLst>
                </p:cNvPr>
                <p:cNvSpPr/>
                <p:nvPr/>
              </p:nvSpPr>
              <p:spPr>
                <a:xfrm>
                  <a:off x="3903344" y="24795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61" name="Freeform: Shape 19060">
                  <a:extLst>
                    <a:ext uri="{FF2B5EF4-FFF2-40B4-BE49-F238E27FC236}">
                      <a16:creationId xmlns:a16="http://schemas.microsoft.com/office/drawing/2014/main" id="{DC7E3F68-6661-0C4C-B3AA-AE9106F4A7EF}"/>
                    </a:ext>
                  </a:extLst>
                </p:cNvPr>
                <p:cNvSpPr/>
                <p:nvPr/>
              </p:nvSpPr>
              <p:spPr>
                <a:xfrm>
                  <a:off x="3865530" y="2517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8" name="Graphic 790">
                <a:extLst>
                  <a:ext uri="{FF2B5EF4-FFF2-40B4-BE49-F238E27FC236}">
                    <a16:creationId xmlns:a16="http://schemas.microsoft.com/office/drawing/2014/main" id="{6091445F-FEFA-66AC-EBE7-FE9D7F795404}"/>
                  </a:ext>
                </a:extLst>
              </p:cNvPr>
              <p:cNvGrpSpPr/>
              <p:nvPr/>
            </p:nvGrpSpPr>
            <p:grpSpPr>
              <a:xfrm>
                <a:off x="3922299" y="2514790"/>
                <a:ext cx="75628" cy="75723"/>
                <a:chOff x="3922299" y="2514790"/>
                <a:chExt cx="75628" cy="75723"/>
              </a:xfrm>
            </p:grpSpPr>
            <p:sp>
              <p:nvSpPr>
                <p:cNvPr id="19058" name="Freeform: Shape 19057">
                  <a:extLst>
                    <a:ext uri="{FF2B5EF4-FFF2-40B4-BE49-F238E27FC236}">
                      <a16:creationId xmlns:a16="http://schemas.microsoft.com/office/drawing/2014/main" id="{56D2781B-ACC2-E1BF-1919-B5AF12F26706}"/>
                    </a:ext>
                  </a:extLst>
                </p:cNvPr>
                <p:cNvSpPr/>
                <p:nvPr/>
              </p:nvSpPr>
              <p:spPr>
                <a:xfrm>
                  <a:off x="396011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9" name="Freeform: Shape 19058">
                  <a:extLst>
                    <a:ext uri="{FF2B5EF4-FFF2-40B4-BE49-F238E27FC236}">
                      <a16:creationId xmlns:a16="http://schemas.microsoft.com/office/drawing/2014/main" id="{60CFD348-9E67-5533-F753-A36C465C7BE4}"/>
                    </a:ext>
                  </a:extLst>
                </p:cNvPr>
                <p:cNvSpPr/>
                <p:nvPr/>
              </p:nvSpPr>
              <p:spPr>
                <a:xfrm>
                  <a:off x="3922299"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69" name="Graphic 790">
                <a:extLst>
                  <a:ext uri="{FF2B5EF4-FFF2-40B4-BE49-F238E27FC236}">
                    <a16:creationId xmlns:a16="http://schemas.microsoft.com/office/drawing/2014/main" id="{B4006527-707C-C599-49B8-AA6C8E46733B}"/>
                  </a:ext>
                </a:extLst>
              </p:cNvPr>
              <p:cNvGrpSpPr/>
              <p:nvPr/>
            </p:nvGrpSpPr>
            <p:grpSpPr>
              <a:xfrm>
                <a:off x="3893629" y="2514790"/>
                <a:ext cx="75628" cy="75723"/>
                <a:chOff x="3893629" y="2514790"/>
                <a:chExt cx="75628" cy="75723"/>
              </a:xfrm>
            </p:grpSpPr>
            <p:sp>
              <p:nvSpPr>
                <p:cNvPr id="19056" name="Freeform: Shape 19055">
                  <a:extLst>
                    <a:ext uri="{FF2B5EF4-FFF2-40B4-BE49-F238E27FC236}">
                      <a16:creationId xmlns:a16="http://schemas.microsoft.com/office/drawing/2014/main" id="{0792A864-5BD2-AF36-32EE-AA9B8E2CD3E9}"/>
                    </a:ext>
                  </a:extLst>
                </p:cNvPr>
                <p:cNvSpPr/>
                <p:nvPr/>
              </p:nvSpPr>
              <p:spPr>
                <a:xfrm>
                  <a:off x="3931443"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7" name="Freeform: Shape 19056">
                  <a:extLst>
                    <a:ext uri="{FF2B5EF4-FFF2-40B4-BE49-F238E27FC236}">
                      <a16:creationId xmlns:a16="http://schemas.microsoft.com/office/drawing/2014/main" id="{23390F6D-4358-E509-D195-8C937D5AC648}"/>
                    </a:ext>
                  </a:extLst>
                </p:cNvPr>
                <p:cNvSpPr/>
                <p:nvPr/>
              </p:nvSpPr>
              <p:spPr>
                <a:xfrm>
                  <a:off x="3893629" y="25526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0" name="Graphic 790">
                <a:extLst>
                  <a:ext uri="{FF2B5EF4-FFF2-40B4-BE49-F238E27FC236}">
                    <a16:creationId xmlns:a16="http://schemas.microsoft.com/office/drawing/2014/main" id="{CF3CC04D-1757-FCC0-D6BF-688A128599C9}"/>
                  </a:ext>
                </a:extLst>
              </p:cNvPr>
              <p:cNvGrpSpPr/>
              <p:nvPr/>
            </p:nvGrpSpPr>
            <p:grpSpPr>
              <a:xfrm>
                <a:off x="3909345" y="2514790"/>
                <a:ext cx="75628" cy="75723"/>
                <a:chOff x="3909345" y="2514790"/>
                <a:chExt cx="75628" cy="75723"/>
              </a:xfrm>
            </p:grpSpPr>
            <p:sp>
              <p:nvSpPr>
                <p:cNvPr id="19054" name="Freeform: Shape 19053">
                  <a:extLst>
                    <a:ext uri="{FF2B5EF4-FFF2-40B4-BE49-F238E27FC236}">
                      <a16:creationId xmlns:a16="http://schemas.microsoft.com/office/drawing/2014/main" id="{BC07B78D-41B4-83F1-4AF5-50A4DD0927B4}"/>
                    </a:ext>
                  </a:extLst>
                </p:cNvPr>
                <p:cNvSpPr/>
                <p:nvPr/>
              </p:nvSpPr>
              <p:spPr>
                <a:xfrm>
                  <a:off x="3947159" y="25147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5" name="Freeform: Shape 19054">
                  <a:extLst>
                    <a:ext uri="{FF2B5EF4-FFF2-40B4-BE49-F238E27FC236}">
                      <a16:creationId xmlns:a16="http://schemas.microsoft.com/office/drawing/2014/main" id="{3F6CDF74-6A4A-95D6-16F9-C987F87AAAEA}"/>
                    </a:ext>
                  </a:extLst>
                </p:cNvPr>
                <p:cNvSpPr/>
                <p:nvPr/>
              </p:nvSpPr>
              <p:spPr>
                <a:xfrm>
                  <a:off x="3909345" y="255260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1" name="Graphic 790">
                <a:extLst>
                  <a:ext uri="{FF2B5EF4-FFF2-40B4-BE49-F238E27FC236}">
                    <a16:creationId xmlns:a16="http://schemas.microsoft.com/office/drawing/2014/main" id="{8B3797AE-A818-1C31-DFDA-04F1468B8DD7}"/>
                  </a:ext>
                </a:extLst>
              </p:cNvPr>
              <p:cNvGrpSpPr/>
              <p:nvPr/>
            </p:nvGrpSpPr>
            <p:grpSpPr>
              <a:xfrm>
                <a:off x="4241101" y="2593085"/>
                <a:ext cx="75723" cy="75628"/>
                <a:chOff x="4241101" y="2593085"/>
                <a:chExt cx="75723" cy="75628"/>
              </a:xfrm>
            </p:grpSpPr>
            <p:sp>
              <p:nvSpPr>
                <p:cNvPr id="19052" name="Freeform: Shape 19051">
                  <a:extLst>
                    <a:ext uri="{FF2B5EF4-FFF2-40B4-BE49-F238E27FC236}">
                      <a16:creationId xmlns:a16="http://schemas.microsoft.com/office/drawing/2014/main" id="{424FC846-D870-EA9D-4EC2-2A6A7479B997}"/>
                    </a:ext>
                  </a:extLst>
                </p:cNvPr>
                <p:cNvSpPr/>
                <p:nvPr/>
              </p:nvSpPr>
              <p:spPr>
                <a:xfrm>
                  <a:off x="4279010" y="25930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3" name="Freeform: Shape 19052">
                  <a:extLst>
                    <a:ext uri="{FF2B5EF4-FFF2-40B4-BE49-F238E27FC236}">
                      <a16:creationId xmlns:a16="http://schemas.microsoft.com/office/drawing/2014/main" id="{3CED798D-D7A4-74EA-B040-0AB7BC3B83A6}"/>
                    </a:ext>
                  </a:extLst>
                </p:cNvPr>
                <p:cNvSpPr/>
                <p:nvPr/>
              </p:nvSpPr>
              <p:spPr>
                <a:xfrm>
                  <a:off x="4241101" y="26308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2" name="Graphic 790">
                <a:extLst>
                  <a:ext uri="{FF2B5EF4-FFF2-40B4-BE49-F238E27FC236}">
                    <a16:creationId xmlns:a16="http://schemas.microsoft.com/office/drawing/2014/main" id="{533A857F-BD15-9360-607F-1C87E673024D}"/>
                  </a:ext>
                </a:extLst>
              </p:cNvPr>
              <p:cNvGrpSpPr/>
              <p:nvPr/>
            </p:nvGrpSpPr>
            <p:grpSpPr>
              <a:xfrm>
                <a:off x="4276534" y="2621851"/>
                <a:ext cx="75723" cy="75628"/>
                <a:chOff x="4276534" y="2621851"/>
                <a:chExt cx="75723" cy="75628"/>
              </a:xfrm>
            </p:grpSpPr>
            <p:sp>
              <p:nvSpPr>
                <p:cNvPr id="19050" name="Freeform: Shape 19049">
                  <a:extLst>
                    <a:ext uri="{FF2B5EF4-FFF2-40B4-BE49-F238E27FC236}">
                      <a16:creationId xmlns:a16="http://schemas.microsoft.com/office/drawing/2014/main" id="{681394BA-FA4A-C5A1-3245-F10889EE38EF}"/>
                    </a:ext>
                  </a:extLst>
                </p:cNvPr>
                <p:cNvSpPr/>
                <p:nvPr/>
              </p:nvSpPr>
              <p:spPr>
                <a:xfrm>
                  <a:off x="4314348"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51" name="Freeform: Shape 19050">
                  <a:extLst>
                    <a:ext uri="{FF2B5EF4-FFF2-40B4-BE49-F238E27FC236}">
                      <a16:creationId xmlns:a16="http://schemas.microsoft.com/office/drawing/2014/main" id="{96D27B6E-23F2-2958-086C-7BAAB0645BC9}"/>
                    </a:ext>
                  </a:extLst>
                </p:cNvPr>
                <p:cNvSpPr/>
                <p:nvPr/>
              </p:nvSpPr>
              <p:spPr>
                <a:xfrm>
                  <a:off x="4276534" y="26596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3" name="Graphic 790">
                <a:extLst>
                  <a:ext uri="{FF2B5EF4-FFF2-40B4-BE49-F238E27FC236}">
                    <a16:creationId xmlns:a16="http://schemas.microsoft.com/office/drawing/2014/main" id="{21BC7196-06D2-A386-10F2-233663EA30B3}"/>
                  </a:ext>
                </a:extLst>
              </p:cNvPr>
              <p:cNvGrpSpPr/>
              <p:nvPr/>
            </p:nvGrpSpPr>
            <p:grpSpPr>
              <a:xfrm>
                <a:off x="4283868" y="2621851"/>
                <a:ext cx="75628" cy="75628"/>
                <a:chOff x="4283868" y="2621851"/>
                <a:chExt cx="75628" cy="75628"/>
              </a:xfrm>
            </p:grpSpPr>
            <p:sp>
              <p:nvSpPr>
                <p:cNvPr id="19048" name="Freeform: Shape 19047">
                  <a:extLst>
                    <a:ext uri="{FF2B5EF4-FFF2-40B4-BE49-F238E27FC236}">
                      <a16:creationId xmlns:a16="http://schemas.microsoft.com/office/drawing/2014/main" id="{B776EED6-23E7-9A9E-E053-424F2AE45B9E}"/>
                    </a:ext>
                  </a:extLst>
                </p:cNvPr>
                <p:cNvSpPr/>
                <p:nvPr/>
              </p:nvSpPr>
              <p:spPr>
                <a:xfrm>
                  <a:off x="4321682" y="262185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49" name="Freeform: Shape 19048">
                  <a:extLst>
                    <a:ext uri="{FF2B5EF4-FFF2-40B4-BE49-F238E27FC236}">
                      <a16:creationId xmlns:a16="http://schemas.microsoft.com/office/drawing/2014/main" id="{B314FB4E-2C81-1B7F-2D15-14B64FDB0FDB}"/>
                    </a:ext>
                  </a:extLst>
                </p:cNvPr>
                <p:cNvSpPr/>
                <p:nvPr/>
              </p:nvSpPr>
              <p:spPr>
                <a:xfrm>
                  <a:off x="4283868" y="26596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4" name="Graphic 790">
                <a:extLst>
                  <a:ext uri="{FF2B5EF4-FFF2-40B4-BE49-F238E27FC236}">
                    <a16:creationId xmlns:a16="http://schemas.microsoft.com/office/drawing/2014/main" id="{53C0462D-6467-84F4-506B-C1E54796869A}"/>
                  </a:ext>
                </a:extLst>
              </p:cNvPr>
              <p:cNvGrpSpPr/>
              <p:nvPr/>
            </p:nvGrpSpPr>
            <p:grpSpPr>
              <a:xfrm>
                <a:off x="4295298" y="2656236"/>
                <a:ext cx="75628" cy="75628"/>
                <a:chOff x="4295298" y="2656236"/>
                <a:chExt cx="75628" cy="75628"/>
              </a:xfrm>
            </p:grpSpPr>
            <p:sp>
              <p:nvSpPr>
                <p:cNvPr id="19046" name="Freeform: Shape 19045">
                  <a:extLst>
                    <a:ext uri="{FF2B5EF4-FFF2-40B4-BE49-F238E27FC236}">
                      <a16:creationId xmlns:a16="http://schemas.microsoft.com/office/drawing/2014/main" id="{90BDE17B-17F3-3B2F-E2B0-10296077F638}"/>
                    </a:ext>
                  </a:extLst>
                </p:cNvPr>
                <p:cNvSpPr/>
                <p:nvPr/>
              </p:nvSpPr>
              <p:spPr>
                <a:xfrm>
                  <a:off x="4333112"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47" name="Freeform: Shape 19046">
                  <a:extLst>
                    <a:ext uri="{FF2B5EF4-FFF2-40B4-BE49-F238E27FC236}">
                      <a16:creationId xmlns:a16="http://schemas.microsoft.com/office/drawing/2014/main" id="{8846DCE0-6969-CB37-B31B-D6426D99CD06}"/>
                    </a:ext>
                  </a:extLst>
                </p:cNvPr>
                <p:cNvSpPr/>
                <p:nvPr/>
              </p:nvSpPr>
              <p:spPr>
                <a:xfrm>
                  <a:off x="4295298" y="2694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5" name="Graphic 790">
                <a:extLst>
                  <a:ext uri="{FF2B5EF4-FFF2-40B4-BE49-F238E27FC236}">
                    <a16:creationId xmlns:a16="http://schemas.microsoft.com/office/drawing/2014/main" id="{59C924DA-5074-2465-AA3C-E621D8E4C629}"/>
                  </a:ext>
                </a:extLst>
              </p:cNvPr>
              <p:cNvGrpSpPr/>
              <p:nvPr/>
            </p:nvGrpSpPr>
            <p:grpSpPr>
              <a:xfrm>
                <a:off x="4301584" y="2656236"/>
                <a:ext cx="75628" cy="75628"/>
                <a:chOff x="4301584" y="2656236"/>
                <a:chExt cx="75628" cy="75628"/>
              </a:xfrm>
            </p:grpSpPr>
            <p:sp>
              <p:nvSpPr>
                <p:cNvPr id="19044" name="Freeform: Shape 19043">
                  <a:extLst>
                    <a:ext uri="{FF2B5EF4-FFF2-40B4-BE49-F238E27FC236}">
                      <a16:creationId xmlns:a16="http://schemas.microsoft.com/office/drawing/2014/main" id="{2B2EF151-A72B-FED0-DC30-C5DEBC6C71F5}"/>
                    </a:ext>
                  </a:extLst>
                </p:cNvPr>
                <p:cNvSpPr/>
                <p:nvPr/>
              </p:nvSpPr>
              <p:spPr>
                <a:xfrm>
                  <a:off x="4339399" y="26562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45" name="Freeform: Shape 19044">
                  <a:extLst>
                    <a:ext uri="{FF2B5EF4-FFF2-40B4-BE49-F238E27FC236}">
                      <a16:creationId xmlns:a16="http://schemas.microsoft.com/office/drawing/2014/main" id="{B35DCD35-1D38-1C45-393D-93BE48F6D726}"/>
                    </a:ext>
                  </a:extLst>
                </p:cNvPr>
                <p:cNvSpPr/>
                <p:nvPr/>
              </p:nvSpPr>
              <p:spPr>
                <a:xfrm>
                  <a:off x="4301584" y="2694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6" name="Graphic 790">
                <a:extLst>
                  <a:ext uri="{FF2B5EF4-FFF2-40B4-BE49-F238E27FC236}">
                    <a16:creationId xmlns:a16="http://schemas.microsoft.com/office/drawing/2014/main" id="{831B5B8D-7959-DD4E-F61E-D4637571F037}"/>
                  </a:ext>
                </a:extLst>
              </p:cNvPr>
              <p:cNvGrpSpPr/>
              <p:nvPr/>
            </p:nvGrpSpPr>
            <p:grpSpPr>
              <a:xfrm>
                <a:off x="4307871" y="2685097"/>
                <a:ext cx="75628" cy="75723"/>
                <a:chOff x="4307871" y="2685097"/>
                <a:chExt cx="75628" cy="75723"/>
              </a:xfrm>
            </p:grpSpPr>
            <p:sp>
              <p:nvSpPr>
                <p:cNvPr id="19042" name="Freeform: Shape 19041">
                  <a:extLst>
                    <a:ext uri="{FF2B5EF4-FFF2-40B4-BE49-F238E27FC236}">
                      <a16:creationId xmlns:a16="http://schemas.microsoft.com/office/drawing/2014/main" id="{781C539B-F147-5A60-0A1E-18796442DA7E}"/>
                    </a:ext>
                  </a:extLst>
                </p:cNvPr>
                <p:cNvSpPr/>
                <p:nvPr/>
              </p:nvSpPr>
              <p:spPr>
                <a:xfrm>
                  <a:off x="4345685"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43" name="Freeform: Shape 19042">
                  <a:extLst>
                    <a:ext uri="{FF2B5EF4-FFF2-40B4-BE49-F238E27FC236}">
                      <a16:creationId xmlns:a16="http://schemas.microsoft.com/office/drawing/2014/main" id="{0E3160D3-09D2-FD5F-9694-D4C661939A6E}"/>
                    </a:ext>
                  </a:extLst>
                </p:cNvPr>
                <p:cNvSpPr/>
                <p:nvPr/>
              </p:nvSpPr>
              <p:spPr>
                <a:xfrm>
                  <a:off x="4307871" y="27230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7" name="Graphic 790">
                <a:extLst>
                  <a:ext uri="{FF2B5EF4-FFF2-40B4-BE49-F238E27FC236}">
                    <a16:creationId xmlns:a16="http://schemas.microsoft.com/office/drawing/2014/main" id="{CA676A47-08AC-4191-86F8-498E123733FF}"/>
                  </a:ext>
                </a:extLst>
              </p:cNvPr>
              <p:cNvGrpSpPr/>
              <p:nvPr/>
            </p:nvGrpSpPr>
            <p:grpSpPr>
              <a:xfrm>
                <a:off x="4314348" y="2685097"/>
                <a:ext cx="75723" cy="75723"/>
                <a:chOff x="4314348" y="2685097"/>
                <a:chExt cx="75723" cy="75723"/>
              </a:xfrm>
            </p:grpSpPr>
            <p:sp>
              <p:nvSpPr>
                <p:cNvPr id="19040" name="Freeform: Shape 19039">
                  <a:extLst>
                    <a:ext uri="{FF2B5EF4-FFF2-40B4-BE49-F238E27FC236}">
                      <a16:creationId xmlns:a16="http://schemas.microsoft.com/office/drawing/2014/main" id="{0B3304A5-AE76-4CFF-5AC9-7932649A8275}"/>
                    </a:ext>
                  </a:extLst>
                </p:cNvPr>
                <p:cNvSpPr/>
                <p:nvPr/>
              </p:nvSpPr>
              <p:spPr>
                <a:xfrm>
                  <a:off x="4352257" y="2685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41" name="Freeform: Shape 19040">
                  <a:extLst>
                    <a:ext uri="{FF2B5EF4-FFF2-40B4-BE49-F238E27FC236}">
                      <a16:creationId xmlns:a16="http://schemas.microsoft.com/office/drawing/2014/main" id="{A6E721CE-8E43-1260-9EFF-E4F063FE4A78}"/>
                    </a:ext>
                  </a:extLst>
                </p:cNvPr>
                <p:cNvSpPr/>
                <p:nvPr/>
              </p:nvSpPr>
              <p:spPr>
                <a:xfrm>
                  <a:off x="4314348" y="2723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8" name="Graphic 790">
                <a:extLst>
                  <a:ext uri="{FF2B5EF4-FFF2-40B4-BE49-F238E27FC236}">
                    <a16:creationId xmlns:a16="http://schemas.microsoft.com/office/drawing/2014/main" id="{840B2813-0AC8-D157-1539-C583EC6FA9CB}"/>
                  </a:ext>
                </a:extLst>
              </p:cNvPr>
              <p:cNvGrpSpPr/>
              <p:nvPr/>
            </p:nvGrpSpPr>
            <p:grpSpPr>
              <a:xfrm>
                <a:off x="4330540" y="2716910"/>
                <a:ext cx="75723" cy="75723"/>
                <a:chOff x="4330540" y="2716910"/>
                <a:chExt cx="75723" cy="75723"/>
              </a:xfrm>
            </p:grpSpPr>
            <p:sp>
              <p:nvSpPr>
                <p:cNvPr id="19038" name="Freeform: Shape 19037">
                  <a:extLst>
                    <a:ext uri="{FF2B5EF4-FFF2-40B4-BE49-F238E27FC236}">
                      <a16:creationId xmlns:a16="http://schemas.microsoft.com/office/drawing/2014/main" id="{10D77D12-1460-C9FF-8FC8-D607D9D6837F}"/>
                    </a:ext>
                  </a:extLst>
                </p:cNvPr>
                <p:cNvSpPr/>
                <p:nvPr/>
              </p:nvSpPr>
              <p:spPr>
                <a:xfrm>
                  <a:off x="4368355"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9" name="Freeform: Shape 19038">
                  <a:extLst>
                    <a:ext uri="{FF2B5EF4-FFF2-40B4-BE49-F238E27FC236}">
                      <a16:creationId xmlns:a16="http://schemas.microsoft.com/office/drawing/2014/main" id="{006B08C1-3C08-B4BB-2247-8AE28072A2D9}"/>
                    </a:ext>
                  </a:extLst>
                </p:cNvPr>
                <p:cNvSpPr/>
                <p:nvPr/>
              </p:nvSpPr>
              <p:spPr>
                <a:xfrm>
                  <a:off x="4330540"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79" name="Graphic 790">
                <a:extLst>
                  <a:ext uri="{FF2B5EF4-FFF2-40B4-BE49-F238E27FC236}">
                    <a16:creationId xmlns:a16="http://schemas.microsoft.com/office/drawing/2014/main" id="{9E6A42B7-2303-72DF-10F3-53122BD8C96B}"/>
                  </a:ext>
                </a:extLst>
              </p:cNvPr>
              <p:cNvGrpSpPr/>
              <p:nvPr/>
            </p:nvGrpSpPr>
            <p:grpSpPr>
              <a:xfrm>
                <a:off x="4340827" y="2716910"/>
                <a:ext cx="75723" cy="75723"/>
                <a:chOff x="4340827" y="2716910"/>
                <a:chExt cx="75723" cy="75723"/>
              </a:xfrm>
            </p:grpSpPr>
            <p:sp>
              <p:nvSpPr>
                <p:cNvPr id="19036" name="Freeform: Shape 19035">
                  <a:extLst>
                    <a:ext uri="{FF2B5EF4-FFF2-40B4-BE49-F238E27FC236}">
                      <a16:creationId xmlns:a16="http://schemas.microsoft.com/office/drawing/2014/main" id="{52795E38-7406-A5ED-66B9-1E7224146856}"/>
                    </a:ext>
                  </a:extLst>
                </p:cNvPr>
                <p:cNvSpPr/>
                <p:nvPr/>
              </p:nvSpPr>
              <p:spPr>
                <a:xfrm>
                  <a:off x="4378642" y="2716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7" name="Freeform: Shape 19036">
                  <a:extLst>
                    <a:ext uri="{FF2B5EF4-FFF2-40B4-BE49-F238E27FC236}">
                      <a16:creationId xmlns:a16="http://schemas.microsoft.com/office/drawing/2014/main" id="{CDC14A75-B643-39DB-0715-B714A2B504FC}"/>
                    </a:ext>
                  </a:extLst>
                </p:cNvPr>
                <p:cNvSpPr/>
                <p:nvPr/>
              </p:nvSpPr>
              <p:spPr>
                <a:xfrm>
                  <a:off x="4340827" y="27547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0" name="Graphic 790">
                <a:extLst>
                  <a:ext uri="{FF2B5EF4-FFF2-40B4-BE49-F238E27FC236}">
                    <a16:creationId xmlns:a16="http://schemas.microsoft.com/office/drawing/2014/main" id="{DF331795-00FF-932B-1327-4BC5BEB67001}"/>
                  </a:ext>
                </a:extLst>
              </p:cNvPr>
              <p:cNvGrpSpPr/>
              <p:nvPr/>
            </p:nvGrpSpPr>
            <p:grpSpPr>
              <a:xfrm>
                <a:off x="4340827" y="2754724"/>
                <a:ext cx="75723" cy="75723"/>
                <a:chOff x="4340827" y="2754724"/>
                <a:chExt cx="75723" cy="75723"/>
              </a:xfrm>
            </p:grpSpPr>
            <p:sp>
              <p:nvSpPr>
                <p:cNvPr id="19034" name="Freeform: Shape 19033">
                  <a:extLst>
                    <a:ext uri="{FF2B5EF4-FFF2-40B4-BE49-F238E27FC236}">
                      <a16:creationId xmlns:a16="http://schemas.microsoft.com/office/drawing/2014/main" id="{B3D32756-EDE5-AE94-7EBF-76180AD70999}"/>
                    </a:ext>
                  </a:extLst>
                </p:cNvPr>
                <p:cNvSpPr/>
                <p:nvPr/>
              </p:nvSpPr>
              <p:spPr>
                <a:xfrm>
                  <a:off x="437864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5" name="Freeform: Shape 19034">
                  <a:extLst>
                    <a:ext uri="{FF2B5EF4-FFF2-40B4-BE49-F238E27FC236}">
                      <a16:creationId xmlns:a16="http://schemas.microsoft.com/office/drawing/2014/main" id="{4E850A59-678E-5380-D86B-85253FCB39F1}"/>
                    </a:ext>
                  </a:extLst>
                </p:cNvPr>
                <p:cNvSpPr/>
                <p:nvPr/>
              </p:nvSpPr>
              <p:spPr>
                <a:xfrm>
                  <a:off x="4340827"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1" name="Graphic 790">
                <a:extLst>
                  <a:ext uri="{FF2B5EF4-FFF2-40B4-BE49-F238E27FC236}">
                    <a16:creationId xmlns:a16="http://schemas.microsoft.com/office/drawing/2014/main" id="{EB6CF953-B05F-E0EF-8146-88C06520FEEA}"/>
                  </a:ext>
                </a:extLst>
              </p:cNvPr>
              <p:cNvGrpSpPr/>
              <p:nvPr/>
            </p:nvGrpSpPr>
            <p:grpSpPr>
              <a:xfrm>
                <a:off x="4352257" y="2754724"/>
                <a:ext cx="75628" cy="75723"/>
                <a:chOff x="4352257" y="2754724"/>
                <a:chExt cx="75628" cy="75723"/>
              </a:xfrm>
            </p:grpSpPr>
            <p:sp>
              <p:nvSpPr>
                <p:cNvPr id="19032" name="Freeform: Shape 19031">
                  <a:extLst>
                    <a:ext uri="{FF2B5EF4-FFF2-40B4-BE49-F238E27FC236}">
                      <a16:creationId xmlns:a16="http://schemas.microsoft.com/office/drawing/2014/main" id="{6D2FEEA4-7D82-EC53-4DE2-C9213E7FDC82}"/>
                    </a:ext>
                  </a:extLst>
                </p:cNvPr>
                <p:cNvSpPr/>
                <p:nvPr/>
              </p:nvSpPr>
              <p:spPr>
                <a:xfrm>
                  <a:off x="4390072"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3" name="Freeform: Shape 19032">
                  <a:extLst>
                    <a:ext uri="{FF2B5EF4-FFF2-40B4-BE49-F238E27FC236}">
                      <a16:creationId xmlns:a16="http://schemas.microsoft.com/office/drawing/2014/main" id="{753A15A7-7490-D711-2BDE-4C4E313036A2}"/>
                    </a:ext>
                  </a:extLst>
                </p:cNvPr>
                <p:cNvSpPr/>
                <p:nvPr/>
              </p:nvSpPr>
              <p:spPr>
                <a:xfrm>
                  <a:off x="4352257" y="2792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2" name="Graphic 790">
                <a:extLst>
                  <a:ext uri="{FF2B5EF4-FFF2-40B4-BE49-F238E27FC236}">
                    <a16:creationId xmlns:a16="http://schemas.microsoft.com/office/drawing/2014/main" id="{942068C7-15FD-4035-6DC8-82FB36427D54}"/>
                  </a:ext>
                </a:extLst>
              </p:cNvPr>
              <p:cNvGrpSpPr/>
              <p:nvPr/>
            </p:nvGrpSpPr>
            <p:grpSpPr>
              <a:xfrm>
                <a:off x="4368355" y="2754724"/>
                <a:ext cx="75723" cy="75723"/>
                <a:chOff x="4368355" y="2754724"/>
                <a:chExt cx="75723" cy="75723"/>
              </a:xfrm>
            </p:grpSpPr>
            <p:sp>
              <p:nvSpPr>
                <p:cNvPr id="19030" name="Freeform: Shape 19029">
                  <a:extLst>
                    <a:ext uri="{FF2B5EF4-FFF2-40B4-BE49-F238E27FC236}">
                      <a16:creationId xmlns:a16="http://schemas.microsoft.com/office/drawing/2014/main" id="{463CC716-07A8-1CBD-F73B-8978445525CF}"/>
                    </a:ext>
                  </a:extLst>
                </p:cNvPr>
                <p:cNvSpPr/>
                <p:nvPr/>
              </p:nvSpPr>
              <p:spPr>
                <a:xfrm>
                  <a:off x="4406264" y="27547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31" name="Freeform: Shape 19030">
                  <a:extLst>
                    <a:ext uri="{FF2B5EF4-FFF2-40B4-BE49-F238E27FC236}">
                      <a16:creationId xmlns:a16="http://schemas.microsoft.com/office/drawing/2014/main" id="{DFB67797-5CB5-A4F5-6F5E-C36DD7CB9281}"/>
                    </a:ext>
                  </a:extLst>
                </p:cNvPr>
                <p:cNvSpPr/>
                <p:nvPr/>
              </p:nvSpPr>
              <p:spPr>
                <a:xfrm>
                  <a:off x="4368355" y="2792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3" name="Graphic 790">
                <a:extLst>
                  <a:ext uri="{FF2B5EF4-FFF2-40B4-BE49-F238E27FC236}">
                    <a16:creationId xmlns:a16="http://schemas.microsoft.com/office/drawing/2014/main" id="{8495DB55-8D0E-5693-B889-F3759B65BA15}"/>
                  </a:ext>
                </a:extLst>
              </p:cNvPr>
              <p:cNvGrpSpPr/>
              <p:nvPr/>
            </p:nvGrpSpPr>
            <p:grpSpPr>
              <a:xfrm>
                <a:off x="4370926" y="2769202"/>
                <a:ext cx="75723" cy="75723"/>
                <a:chOff x="4370926" y="2769202"/>
                <a:chExt cx="75723" cy="75723"/>
              </a:xfrm>
            </p:grpSpPr>
            <p:sp>
              <p:nvSpPr>
                <p:cNvPr id="19028" name="Freeform: Shape 19027">
                  <a:extLst>
                    <a:ext uri="{FF2B5EF4-FFF2-40B4-BE49-F238E27FC236}">
                      <a16:creationId xmlns:a16="http://schemas.microsoft.com/office/drawing/2014/main" id="{446B387F-DC82-DF87-EF87-D342156745A9}"/>
                    </a:ext>
                  </a:extLst>
                </p:cNvPr>
                <p:cNvSpPr/>
                <p:nvPr/>
              </p:nvSpPr>
              <p:spPr>
                <a:xfrm>
                  <a:off x="4408836" y="2769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29" name="Freeform: Shape 19028">
                  <a:extLst>
                    <a:ext uri="{FF2B5EF4-FFF2-40B4-BE49-F238E27FC236}">
                      <a16:creationId xmlns:a16="http://schemas.microsoft.com/office/drawing/2014/main" id="{563B1BCD-7EC5-8AE0-E20D-3D5B20AB24D1}"/>
                    </a:ext>
                  </a:extLst>
                </p:cNvPr>
                <p:cNvSpPr/>
                <p:nvPr/>
              </p:nvSpPr>
              <p:spPr>
                <a:xfrm>
                  <a:off x="4370926" y="28070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4" name="Graphic 790">
                <a:extLst>
                  <a:ext uri="{FF2B5EF4-FFF2-40B4-BE49-F238E27FC236}">
                    <a16:creationId xmlns:a16="http://schemas.microsoft.com/office/drawing/2014/main" id="{8FCFE3D6-C48B-4542-CDE5-16AFDD5F7BDD}"/>
                  </a:ext>
                </a:extLst>
              </p:cNvPr>
              <p:cNvGrpSpPr/>
              <p:nvPr/>
            </p:nvGrpSpPr>
            <p:grpSpPr>
              <a:xfrm>
                <a:off x="5061679" y="3133057"/>
                <a:ext cx="75628" cy="75723"/>
                <a:chOff x="5061679" y="3133057"/>
                <a:chExt cx="75628" cy="75723"/>
              </a:xfrm>
            </p:grpSpPr>
            <p:sp>
              <p:nvSpPr>
                <p:cNvPr id="19026" name="Freeform: Shape 19025">
                  <a:extLst>
                    <a:ext uri="{FF2B5EF4-FFF2-40B4-BE49-F238E27FC236}">
                      <a16:creationId xmlns:a16="http://schemas.microsoft.com/office/drawing/2014/main" id="{3D82D955-8B88-06BE-A015-F7EC76767883}"/>
                    </a:ext>
                  </a:extLst>
                </p:cNvPr>
                <p:cNvSpPr/>
                <p:nvPr/>
              </p:nvSpPr>
              <p:spPr>
                <a:xfrm>
                  <a:off x="5099494" y="31330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27" name="Freeform: Shape 19026">
                  <a:extLst>
                    <a:ext uri="{FF2B5EF4-FFF2-40B4-BE49-F238E27FC236}">
                      <a16:creationId xmlns:a16="http://schemas.microsoft.com/office/drawing/2014/main" id="{0A331C9B-7236-7B9B-90A4-E8D93577A27B}"/>
                    </a:ext>
                  </a:extLst>
                </p:cNvPr>
                <p:cNvSpPr/>
                <p:nvPr/>
              </p:nvSpPr>
              <p:spPr>
                <a:xfrm>
                  <a:off x="5061679" y="31708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5" name="Graphic 790">
                <a:extLst>
                  <a:ext uri="{FF2B5EF4-FFF2-40B4-BE49-F238E27FC236}">
                    <a16:creationId xmlns:a16="http://schemas.microsoft.com/office/drawing/2014/main" id="{C50D2A2C-2C76-94BF-8604-F479F64444A5}"/>
                  </a:ext>
                </a:extLst>
              </p:cNvPr>
              <p:cNvGrpSpPr/>
              <p:nvPr/>
            </p:nvGrpSpPr>
            <p:grpSpPr>
              <a:xfrm>
                <a:off x="5108066" y="3144392"/>
                <a:ext cx="75628" cy="75723"/>
                <a:chOff x="5108066" y="3144392"/>
                <a:chExt cx="75628" cy="75723"/>
              </a:xfrm>
            </p:grpSpPr>
            <p:sp>
              <p:nvSpPr>
                <p:cNvPr id="19024" name="Freeform: Shape 19023">
                  <a:extLst>
                    <a:ext uri="{FF2B5EF4-FFF2-40B4-BE49-F238E27FC236}">
                      <a16:creationId xmlns:a16="http://schemas.microsoft.com/office/drawing/2014/main" id="{AB94CCB6-6C66-BD6C-7169-9C7844AEED64}"/>
                    </a:ext>
                  </a:extLst>
                </p:cNvPr>
                <p:cNvSpPr/>
                <p:nvPr/>
              </p:nvSpPr>
              <p:spPr>
                <a:xfrm>
                  <a:off x="5145880" y="3144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25" name="Freeform: Shape 19024">
                  <a:extLst>
                    <a:ext uri="{FF2B5EF4-FFF2-40B4-BE49-F238E27FC236}">
                      <a16:creationId xmlns:a16="http://schemas.microsoft.com/office/drawing/2014/main" id="{BC77ADF5-86B6-3D86-8E1B-FC15B4F886EA}"/>
                    </a:ext>
                  </a:extLst>
                </p:cNvPr>
                <p:cNvSpPr/>
                <p:nvPr/>
              </p:nvSpPr>
              <p:spPr>
                <a:xfrm>
                  <a:off x="5108066" y="31823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6" name="Graphic 790">
                <a:extLst>
                  <a:ext uri="{FF2B5EF4-FFF2-40B4-BE49-F238E27FC236}">
                    <a16:creationId xmlns:a16="http://schemas.microsoft.com/office/drawing/2014/main" id="{784F4847-72F0-7223-8238-7C1EBA200180}"/>
                  </a:ext>
                </a:extLst>
              </p:cNvPr>
              <p:cNvGrpSpPr/>
              <p:nvPr/>
            </p:nvGrpSpPr>
            <p:grpSpPr>
              <a:xfrm>
                <a:off x="5124163" y="3151726"/>
                <a:ext cx="75723" cy="75723"/>
                <a:chOff x="5124163" y="3151726"/>
                <a:chExt cx="75723" cy="75723"/>
              </a:xfrm>
            </p:grpSpPr>
            <p:sp>
              <p:nvSpPr>
                <p:cNvPr id="19022" name="Freeform: Shape 19021">
                  <a:extLst>
                    <a:ext uri="{FF2B5EF4-FFF2-40B4-BE49-F238E27FC236}">
                      <a16:creationId xmlns:a16="http://schemas.microsoft.com/office/drawing/2014/main" id="{3ED5DB02-5314-ABF3-DBC5-49DC1A5424C2}"/>
                    </a:ext>
                  </a:extLst>
                </p:cNvPr>
                <p:cNvSpPr/>
                <p:nvPr/>
              </p:nvSpPr>
              <p:spPr>
                <a:xfrm>
                  <a:off x="5161978" y="31517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23" name="Freeform: Shape 19022">
                  <a:extLst>
                    <a:ext uri="{FF2B5EF4-FFF2-40B4-BE49-F238E27FC236}">
                      <a16:creationId xmlns:a16="http://schemas.microsoft.com/office/drawing/2014/main" id="{489CD1FF-4C19-16C0-9DF5-5D82DCEFDE27}"/>
                    </a:ext>
                  </a:extLst>
                </p:cNvPr>
                <p:cNvSpPr/>
                <p:nvPr/>
              </p:nvSpPr>
              <p:spPr>
                <a:xfrm>
                  <a:off x="5124163" y="3189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7" name="Graphic 790">
                <a:extLst>
                  <a:ext uri="{FF2B5EF4-FFF2-40B4-BE49-F238E27FC236}">
                    <a16:creationId xmlns:a16="http://schemas.microsoft.com/office/drawing/2014/main" id="{7EC2D9B0-1479-73D3-3CA5-F4FB417A68CB}"/>
                  </a:ext>
                </a:extLst>
              </p:cNvPr>
              <p:cNvGrpSpPr/>
              <p:nvPr/>
            </p:nvGrpSpPr>
            <p:grpSpPr>
              <a:xfrm>
                <a:off x="5568314" y="3300793"/>
                <a:ext cx="75723" cy="75723"/>
                <a:chOff x="5568314" y="3300793"/>
                <a:chExt cx="75723" cy="75723"/>
              </a:xfrm>
            </p:grpSpPr>
            <p:sp>
              <p:nvSpPr>
                <p:cNvPr id="19020" name="Freeform: Shape 19019">
                  <a:extLst>
                    <a:ext uri="{FF2B5EF4-FFF2-40B4-BE49-F238E27FC236}">
                      <a16:creationId xmlns:a16="http://schemas.microsoft.com/office/drawing/2014/main" id="{396FE6A9-BB93-FD31-2992-E381C7A66E4D}"/>
                    </a:ext>
                  </a:extLst>
                </p:cNvPr>
                <p:cNvSpPr/>
                <p:nvPr/>
              </p:nvSpPr>
              <p:spPr>
                <a:xfrm>
                  <a:off x="5606224" y="33007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21" name="Freeform: Shape 19020">
                  <a:extLst>
                    <a:ext uri="{FF2B5EF4-FFF2-40B4-BE49-F238E27FC236}">
                      <a16:creationId xmlns:a16="http://schemas.microsoft.com/office/drawing/2014/main" id="{C917F9E8-24EA-A0AD-AC94-AC42184C9690}"/>
                    </a:ext>
                  </a:extLst>
                </p:cNvPr>
                <p:cNvSpPr/>
                <p:nvPr/>
              </p:nvSpPr>
              <p:spPr>
                <a:xfrm>
                  <a:off x="5568314" y="33387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8" name="Graphic 790">
                <a:extLst>
                  <a:ext uri="{FF2B5EF4-FFF2-40B4-BE49-F238E27FC236}">
                    <a16:creationId xmlns:a16="http://schemas.microsoft.com/office/drawing/2014/main" id="{DAA95DDD-B736-F4DE-9172-FDB89CED824F}"/>
                  </a:ext>
                </a:extLst>
              </p:cNvPr>
              <p:cNvGrpSpPr/>
              <p:nvPr/>
            </p:nvGrpSpPr>
            <p:grpSpPr>
              <a:xfrm>
                <a:off x="5594603" y="3322319"/>
                <a:ext cx="75723" cy="75723"/>
                <a:chOff x="5594603" y="3322319"/>
                <a:chExt cx="75723" cy="75723"/>
              </a:xfrm>
            </p:grpSpPr>
            <p:sp>
              <p:nvSpPr>
                <p:cNvPr id="19018" name="Freeform: Shape 19017">
                  <a:extLst>
                    <a:ext uri="{FF2B5EF4-FFF2-40B4-BE49-F238E27FC236}">
                      <a16:creationId xmlns:a16="http://schemas.microsoft.com/office/drawing/2014/main" id="{03B413A0-CA05-E3AC-5BA5-EC01253EE128}"/>
                    </a:ext>
                  </a:extLst>
                </p:cNvPr>
                <p:cNvSpPr/>
                <p:nvPr/>
              </p:nvSpPr>
              <p:spPr>
                <a:xfrm>
                  <a:off x="5632513"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9" name="Freeform: Shape 19018">
                  <a:extLst>
                    <a:ext uri="{FF2B5EF4-FFF2-40B4-BE49-F238E27FC236}">
                      <a16:creationId xmlns:a16="http://schemas.microsoft.com/office/drawing/2014/main" id="{245E0D95-B742-5CAD-CA81-398E7B42B6F6}"/>
                    </a:ext>
                  </a:extLst>
                </p:cNvPr>
                <p:cNvSpPr/>
                <p:nvPr/>
              </p:nvSpPr>
              <p:spPr>
                <a:xfrm>
                  <a:off x="5594603" y="33601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89" name="Graphic 790">
                <a:extLst>
                  <a:ext uri="{FF2B5EF4-FFF2-40B4-BE49-F238E27FC236}">
                    <a16:creationId xmlns:a16="http://schemas.microsoft.com/office/drawing/2014/main" id="{08B5ED4F-5DD9-8669-1C8C-7DC8527358A7}"/>
                  </a:ext>
                </a:extLst>
              </p:cNvPr>
              <p:cNvGrpSpPr/>
              <p:nvPr/>
            </p:nvGrpSpPr>
            <p:grpSpPr>
              <a:xfrm>
                <a:off x="5606224" y="3360133"/>
                <a:ext cx="75628" cy="75723"/>
                <a:chOff x="5606224" y="3360133"/>
                <a:chExt cx="75628" cy="75723"/>
              </a:xfrm>
            </p:grpSpPr>
            <p:sp>
              <p:nvSpPr>
                <p:cNvPr id="19016" name="Freeform: Shape 19015">
                  <a:extLst>
                    <a:ext uri="{FF2B5EF4-FFF2-40B4-BE49-F238E27FC236}">
                      <a16:creationId xmlns:a16="http://schemas.microsoft.com/office/drawing/2014/main" id="{64A92B44-108B-6BD0-2090-CF728720D98A}"/>
                    </a:ext>
                  </a:extLst>
                </p:cNvPr>
                <p:cNvSpPr/>
                <p:nvPr/>
              </p:nvSpPr>
              <p:spPr>
                <a:xfrm>
                  <a:off x="5644038" y="3360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7" name="Freeform: Shape 19016">
                  <a:extLst>
                    <a:ext uri="{FF2B5EF4-FFF2-40B4-BE49-F238E27FC236}">
                      <a16:creationId xmlns:a16="http://schemas.microsoft.com/office/drawing/2014/main" id="{573E06E1-1792-5959-B3D4-3C33E7514C1C}"/>
                    </a:ext>
                  </a:extLst>
                </p:cNvPr>
                <p:cNvSpPr/>
                <p:nvPr/>
              </p:nvSpPr>
              <p:spPr>
                <a:xfrm>
                  <a:off x="5606224" y="339804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0" name="Graphic 790">
                <a:extLst>
                  <a:ext uri="{FF2B5EF4-FFF2-40B4-BE49-F238E27FC236}">
                    <a16:creationId xmlns:a16="http://schemas.microsoft.com/office/drawing/2014/main" id="{4E85C1AA-791D-0600-3A2F-83DB1CC015C5}"/>
                  </a:ext>
                </a:extLst>
              </p:cNvPr>
              <p:cNvGrpSpPr/>
              <p:nvPr/>
            </p:nvGrpSpPr>
            <p:grpSpPr>
              <a:xfrm>
                <a:off x="5612224" y="3385660"/>
                <a:ext cx="75723" cy="75723"/>
                <a:chOff x="5612224" y="3385660"/>
                <a:chExt cx="75723" cy="75723"/>
              </a:xfrm>
            </p:grpSpPr>
            <p:sp>
              <p:nvSpPr>
                <p:cNvPr id="19014" name="Freeform: Shape 19013">
                  <a:extLst>
                    <a:ext uri="{FF2B5EF4-FFF2-40B4-BE49-F238E27FC236}">
                      <a16:creationId xmlns:a16="http://schemas.microsoft.com/office/drawing/2014/main" id="{13C3E84F-AB86-8A6C-B72F-CC69E7FC64E1}"/>
                    </a:ext>
                  </a:extLst>
                </p:cNvPr>
                <p:cNvSpPr/>
                <p:nvPr/>
              </p:nvSpPr>
              <p:spPr>
                <a:xfrm>
                  <a:off x="5650134" y="33856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5" name="Freeform: Shape 19014">
                  <a:extLst>
                    <a:ext uri="{FF2B5EF4-FFF2-40B4-BE49-F238E27FC236}">
                      <a16:creationId xmlns:a16="http://schemas.microsoft.com/office/drawing/2014/main" id="{846419A8-D7B9-749E-363D-FC84FF23B56E}"/>
                    </a:ext>
                  </a:extLst>
                </p:cNvPr>
                <p:cNvSpPr/>
                <p:nvPr/>
              </p:nvSpPr>
              <p:spPr>
                <a:xfrm>
                  <a:off x="5612224"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1" name="Graphic 790">
                <a:extLst>
                  <a:ext uri="{FF2B5EF4-FFF2-40B4-BE49-F238E27FC236}">
                    <a16:creationId xmlns:a16="http://schemas.microsoft.com/office/drawing/2014/main" id="{32A6EFF6-C22D-51BD-166E-61F9861480A6}"/>
                  </a:ext>
                </a:extLst>
              </p:cNvPr>
              <p:cNvGrpSpPr/>
              <p:nvPr/>
            </p:nvGrpSpPr>
            <p:grpSpPr>
              <a:xfrm>
                <a:off x="5619749" y="3398043"/>
                <a:ext cx="75628" cy="75628"/>
                <a:chOff x="5619749" y="3398043"/>
                <a:chExt cx="75628" cy="75628"/>
              </a:xfrm>
            </p:grpSpPr>
            <p:sp>
              <p:nvSpPr>
                <p:cNvPr id="19012" name="Freeform: Shape 19011">
                  <a:extLst>
                    <a:ext uri="{FF2B5EF4-FFF2-40B4-BE49-F238E27FC236}">
                      <a16:creationId xmlns:a16="http://schemas.microsoft.com/office/drawing/2014/main" id="{B77C8557-AEB8-5B09-4CB1-34ECE8B7828F}"/>
                    </a:ext>
                  </a:extLst>
                </p:cNvPr>
                <p:cNvSpPr/>
                <p:nvPr/>
              </p:nvSpPr>
              <p:spPr>
                <a:xfrm>
                  <a:off x="5657563" y="33980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3" name="Freeform: Shape 19012">
                  <a:extLst>
                    <a:ext uri="{FF2B5EF4-FFF2-40B4-BE49-F238E27FC236}">
                      <a16:creationId xmlns:a16="http://schemas.microsoft.com/office/drawing/2014/main" id="{ABD7D87F-4069-132F-14A7-69DABD026DA9}"/>
                    </a:ext>
                  </a:extLst>
                </p:cNvPr>
                <p:cNvSpPr/>
                <p:nvPr/>
              </p:nvSpPr>
              <p:spPr>
                <a:xfrm>
                  <a:off x="5619749" y="3435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2" name="Graphic 790">
                <a:extLst>
                  <a:ext uri="{FF2B5EF4-FFF2-40B4-BE49-F238E27FC236}">
                    <a16:creationId xmlns:a16="http://schemas.microsoft.com/office/drawing/2014/main" id="{04052AF3-5B96-E937-A16D-D659A8641509}"/>
                  </a:ext>
                </a:extLst>
              </p:cNvPr>
              <p:cNvGrpSpPr/>
              <p:nvPr/>
            </p:nvGrpSpPr>
            <p:grpSpPr>
              <a:xfrm>
                <a:off x="5640514" y="3405282"/>
                <a:ext cx="75723" cy="75628"/>
                <a:chOff x="5640514" y="3405282"/>
                <a:chExt cx="75723" cy="75628"/>
              </a:xfrm>
            </p:grpSpPr>
            <p:sp>
              <p:nvSpPr>
                <p:cNvPr id="19010" name="Freeform: Shape 19009">
                  <a:extLst>
                    <a:ext uri="{FF2B5EF4-FFF2-40B4-BE49-F238E27FC236}">
                      <a16:creationId xmlns:a16="http://schemas.microsoft.com/office/drawing/2014/main" id="{22BEA898-8903-D0A9-A0D3-E411632B6C60}"/>
                    </a:ext>
                  </a:extLst>
                </p:cNvPr>
                <p:cNvSpPr/>
                <p:nvPr/>
              </p:nvSpPr>
              <p:spPr>
                <a:xfrm>
                  <a:off x="5678423" y="340528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11" name="Freeform: Shape 19010">
                  <a:extLst>
                    <a:ext uri="{FF2B5EF4-FFF2-40B4-BE49-F238E27FC236}">
                      <a16:creationId xmlns:a16="http://schemas.microsoft.com/office/drawing/2014/main" id="{9747D864-E802-53D1-B90C-FD0FA7385E65}"/>
                    </a:ext>
                  </a:extLst>
                </p:cNvPr>
                <p:cNvSpPr/>
                <p:nvPr/>
              </p:nvSpPr>
              <p:spPr>
                <a:xfrm>
                  <a:off x="5640514" y="3443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3" name="Graphic 790">
                <a:extLst>
                  <a:ext uri="{FF2B5EF4-FFF2-40B4-BE49-F238E27FC236}">
                    <a16:creationId xmlns:a16="http://schemas.microsoft.com/office/drawing/2014/main" id="{11AB25E7-050E-0F85-B8AA-A103C89C2524}"/>
                  </a:ext>
                </a:extLst>
              </p:cNvPr>
              <p:cNvGrpSpPr/>
              <p:nvPr/>
            </p:nvGrpSpPr>
            <p:grpSpPr>
              <a:xfrm>
                <a:off x="5579173" y="3322319"/>
                <a:ext cx="75628" cy="75723"/>
                <a:chOff x="5579173" y="3322319"/>
                <a:chExt cx="75628" cy="75723"/>
              </a:xfrm>
            </p:grpSpPr>
            <p:sp>
              <p:nvSpPr>
                <p:cNvPr id="19008" name="Freeform: Shape 19007">
                  <a:extLst>
                    <a:ext uri="{FF2B5EF4-FFF2-40B4-BE49-F238E27FC236}">
                      <a16:creationId xmlns:a16="http://schemas.microsoft.com/office/drawing/2014/main" id="{BE8E74E7-1E59-23E1-B69F-CAD2695791A3}"/>
                    </a:ext>
                  </a:extLst>
                </p:cNvPr>
                <p:cNvSpPr/>
                <p:nvPr/>
              </p:nvSpPr>
              <p:spPr>
                <a:xfrm>
                  <a:off x="5616987" y="3322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09" name="Freeform: Shape 19008">
                  <a:extLst>
                    <a:ext uri="{FF2B5EF4-FFF2-40B4-BE49-F238E27FC236}">
                      <a16:creationId xmlns:a16="http://schemas.microsoft.com/office/drawing/2014/main" id="{DC558803-4141-3D6D-07F1-283D63FD8319}"/>
                    </a:ext>
                  </a:extLst>
                </p:cNvPr>
                <p:cNvSpPr/>
                <p:nvPr/>
              </p:nvSpPr>
              <p:spPr>
                <a:xfrm>
                  <a:off x="5579173" y="33601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4" name="Graphic 790">
                <a:extLst>
                  <a:ext uri="{FF2B5EF4-FFF2-40B4-BE49-F238E27FC236}">
                    <a16:creationId xmlns:a16="http://schemas.microsoft.com/office/drawing/2014/main" id="{BACE54E6-98A8-1C2A-B2A7-F86B1A2AD969}"/>
                  </a:ext>
                </a:extLst>
              </p:cNvPr>
              <p:cNvGrpSpPr/>
              <p:nvPr/>
            </p:nvGrpSpPr>
            <p:grpSpPr>
              <a:xfrm>
                <a:off x="6010465" y="3480910"/>
                <a:ext cx="75723" cy="75723"/>
                <a:chOff x="6010465" y="3480910"/>
                <a:chExt cx="75723" cy="75723"/>
              </a:xfrm>
            </p:grpSpPr>
            <p:sp>
              <p:nvSpPr>
                <p:cNvPr id="19006" name="Freeform: Shape 19005">
                  <a:extLst>
                    <a:ext uri="{FF2B5EF4-FFF2-40B4-BE49-F238E27FC236}">
                      <a16:creationId xmlns:a16="http://schemas.microsoft.com/office/drawing/2014/main" id="{3A3B6937-8B61-E3CB-4D41-CB73EBEB28E8}"/>
                    </a:ext>
                  </a:extLst>
                </p:cNvPr>
                <p:cNvSpPr/>
                <p:nvPr/>
              </p:nvSpPr>
              <p:spPr>
                <a:xfrm>
                  <a:off x="6048374"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07" name="Freeform: Shape 19006">
                  <a:extLst>
                    <a:ext uri="{FF2B5EF4-FFF2-40B4-BE49-F238E27FC236}">
                      <a16:creationId xmlns:a16="http://schemas.microsoft.com/office/drawing/2014/main" id="{911844CB-1AC5-3182-7D24-6955E0E3818C}"/>
                    </a:ext>
                  </a:extLst>
                </p:cNvPr>
                <p:cNvSpPr/>
                <p:nvPr/>
              </p:nvSpPr>
              <p:spPr>
                <a:xfrm>
                  <a:off x="6010465" y="35188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5" name="Graphic 790">
                <a:extLst>
                  <a:ext uri="{FF2B5EF4-FFF2-40B4-BE49-F238E27FC236}">
                    <a16:creationId xmlns:a16="http://schemas.microsoft.com/office/drawing/2014/main" id="{8D203E7D-5A6B-0157-D436-1AEB05D18944}"/>
                  </a:ext>
                </a:extLst>
              </p:cNvPr>
              <p:cNvGrpSpPr/>
              <p:nvPr/>
            </p:nvGrpSpPr>
            <p:grpSpPr>
              <a:xfrm>
                <a:off x="6029991" y="3480910"/>
                <a:ext cx="75628" cy="75723"/>
                <a:chOff x="6029991" y="3480910"/>
                <a:chExt cx="75628" cy="75723"/>
              </a:xfrm>
            </p:grpSpPr>
            <p:sp>
              <p:nvSpPr>
                <p:cNvPr id="19004" name="Freeform: Shape 19003">
                  <a:extLst>
                    <a:ext uri="{FF2B5EF4-FFF2-40B4-BE49-F238E27FC236}">
                      <a16:creationId xmlns:a16="http://schemas.microsoft.com/office/drawing/2014/main" id="{01992296-D57D-D4EA-680E-D05A8A335C7E}"/>
                    </a:ext>
                  </a:extLst>
                </p:cNvPr>
                <p:cNvSpPr/>
                <p:nvPr/>
              </p:nvSpPr>
              <p:spPr>
                <a:xfrm>
                  <a:off x="6067805" y="34809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05" name="Freeform: Shape 19004">
                  <a:extLst>
                    <a:ext uri="{FF2B5EF4-FFF2-40B4-BE49-F238E27FC236}">
                      <a16:creationId xmlns:a16="http://schemas.microsoft.com/office/drawing/2014/main" id="{099C3E9D-239D-4190-3F5E-A2E448C25536}"/>
                    </a:ext>
                  </a:extLst>
                </p:cNvPr>
                <p:cNvSpPr/>
                <p:nvPr/>
              </p:nvSpPr>
              <p:spPr>
                <a:xfrm>
                  <a:off x="6029991" y="35188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6" name="Graphic 790">
                <a:extLst>
                  <a:ext uri="{FF2B5EF4-FFF2-40B4-BE49-F238E27FC236}">
                    <a16:creationId xmlns:a16="http://schemas.microsoft.com/office/drawing/2014/main" id="{90D13BDF-6A5C-A03D-E1F9-6D6F64E16635}"/>
                  </a:ext>
                </a:extLst>
              </p:cNvPr>
              <p:cNvGrpSpPr/>
              <p:nvPr/>
            </p:nvGrpSpPr>
            <p:grpSpPr>
              <a:xfrm>
                <a:off x="6457092" y="3598449"/>
                <a:ext cx="75628" cy="75723"/>
                <a:chOff x="6457092" y="3598449"/>
                <a:chExt cx="75628" cy="75723"/>
              </a:xfrm>
            </p:grpSpPr>
            <p:sp>
              <p:nvSpPr>
                <p:cNvPr id="19002" name="Freeform: Shape 19001">
                  <a:extLst>
                    <a:ext uri="{FF2B5EF4-FFF2-40B4-BE49-F238E27FC236}">
                      <a16:creationId xmlns:a16="http://schemas.microsoft.com/office/drawing/2014/main" id="{A1377DC6-31AE-EFFB-0EE1-670DDBAABC21}"/>
                    </a:ext>
                  </a:extLst>
                </p:cNvPr>
                <p:cNvSpPr/>
                <p:nvPr/>
              </p:nvSpPr>
              <p:spPr>
                <a:xfrm>
                  <a:off x="649490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03" name="Freeform: Shape 19002">
                  <a:extLst>
                    <a:ext uri="{FF2B5EF4-FFF2-40B4-BE49-F238E27FC236}">
                      <a16:creationId xmlns:a16="http://schemas.microsoft.com/office/drawing/2014/main" id="{F7CAB414-8CEB-858D-6C97-EB27A651627D}"/>
                    </a:ext>
                  </a:extLst>
                </p:cNvPr>
                <p:cNvSpPr/>
                <p:nvPr/>
              </p:nvSpPr>
              <p:spPr>
                <a:xfrm>
                  <a:off x="6457092" y="36363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7" name="Graphic 790">
                <a:extLst>
                  <a:ext uri="{FF2B5EF4-FFF2-40B4-BE49-F238E27FC236}">
                    <a16:creationId xmlns:a16="http://schemas.microsoft.com/office/drawing/2014/main" id="{2FC6DF09-2CA8-5253-5FF1-D31AED2F78EC}"/>
                  </a:ext>
                </a:extLst>
              </p:cNvPr>
              <p:cNvGrpSpPr/>
              <p:nvPr/>
            </p:nvGrpSpPr>
            <p:grpSpPr>
              <a:xfrm>
                <a:off x="6445567" y="3598449"/>
                <a:ext cx="75723" cy="75723"/>
                <a:chOff x="6445567" y="3598449"/>
                <a:chExt cx="75723" cy="75723"/>
              </a:xfrm>
            </p:grpSpPr>
            <p:sp>
              <p:nvSpPr>
                <p:cNvPr id="19000" name="Freeform: Shape 18999">
                  <a:extLst>
                    <a:ext uri="{FF2B5EF4-FFF2-40B4-BE49-F238E27FC236}">
                      <a16:creationId xmlns:a16="http://schemas.microsoft.com/office/drawing/2014/main" id="{478D7F27-85B8-BD53-9C05-7C70EF77AF3D}"/>
                    </a:ext>
                  </a:extLst>
                </p:cNvPr>
                <p:cNvSpPr/>
                <p:nvPr/>
              </p:nvSpPr>
              <p:spPr>
                <a:xfrm>
                  <a:off x="648347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9001" name="Freeform: Shape 19000">
                  <a:extLst>
                    <a:ext uri="{FF2B5EF4-FFF2-40B4-BE49-F238E27FC236}">
                      <a16:creationId xmlns:a16="http://schemas.microsoft.com/office/drawing/2014/main" id="{1B6BBBD8-3CC2-FB23-B8CA-BDF10279F101}"/>
                    </a:ext>
                  </a:extLst>
                </p:cNvPr>
                <p:cNvSpPr/>
                <p:nvPr/>
              </p:nvSpPr>
              <p:spPr>
                <a:xfrm>
                  <a:off x="644556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8" name="Graphic 790">
                <a:extLst>
                  <a:ext uri="{FF2B5EF4-FFF2-40B4-BE49-F238E27FC236}">
                    <a16:creationId xmlns:a16="http://schemas.microsoft.com/office/drawing/2014/main" id="{D49B39DE-4249-3705-F5D5-65C6FD50B64B}"/>
                  </a:ext>
                </a:extLst>
              </p:cNvPr>
              <p:cNvGrpSpPr/>
              <p:nvPr/>
            </p:nvGrpSpPr>
            <p:grpSpPr>
              <a:xfrm>
                <a:off x="6434137" y="3598449"/>
                <a:ext cx="75723" cy="75723"/>
                <a:chOff x="6434137" y="3598449"/>
                <a:chExt cx="75723" cy="75723"/>
              </a:xfrm>
            </p:grpSpPr>
            <p:sp>
              <p:nvSpPr>
                <p:cNvPr id="18998" name="Freeform: Shape 18997">
                  <a:extLst>
                    <a:ext uri="{FF2B5EF4-FFF2-40B4-BE49-F238E27FC236}">
                      <a16:creationId xmlns:a16="http://schemas.microsoft.com/office/drawing/2014/main" id="{168AAB67-8EE9-6E65-DC66-D1BD37036897}"/>
                    </a:ext>
                  </a:extLst>
                </p:cNvPr>
                <p:cNvSpPr/>
                <p:nvPr/>
              </p:nvSpPr>
              <p:spPr>
                <a:xfrm>
                  <a:off x="6472046"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9" name="Freeform: Shape 18998">
                  <a:extLst>
                    <a:ext uri="{FF2B5EF4-FFF2-40B4-BE49-F238E27FC236}">
                      <a16:creationId xmlns:a16="http://schemas.microsoft.com/office/drawing/2014/main" id="{BF2A27FD-F1FA-1354-11BB-430EB65E623F}"/>
                    </a:ext>
                  </a:extLst>
                </p:cNvPr>
                <p:cNvSpPr/>
                <p:nvPr/>
              </p:nvSpPr>
              <p:spPr>
                <a:xfrm>
                  <a:off x="643413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899" name="Graphic 790">
                <a:extLst>
                  <a:ext uri="{FF2B5EF4-FFF2-40B4-BE49-F238E27FC236}">
                    <a16:creationId xmlns:a16="http://schemas.microsoft.com/office/drawing/2014/main" id="{B32AA1C4-56F9-EBCF-187B-BC6BD3A83C86}"/>
                  </a:ext>
                </a:extLst>
              </p:cNvPr>
              <p:cNvGrpSpPr/>
              <p:nvPr/>
            </p:nvGrpSpPr>
            <p:grpSpPr>
              <a:xfrm>
                <a:off x="6422707" y="3598449"/>
                <a:ext cx="75723" cy="75723"/>
                <a:chOff x="6422707" y="3598449"/>
                <a:chExt cx="75723" cy="75723"/>
              </a:xfrm>
            </p:grpSpPr>
            <p:sp>
              <p:nvSpPr>
                <p:cNvPr id="18996" name="Freeform: Shape 18995">
                  <a:extLst>
                    <a:ext uri="{FF2B5EF4-FFF2-40B4-BE49-F238E27FC236}">
                      <a16:creationId xmlns:a16="http://schemas.microsoft.com/office/drawing/2014/main" id="{60EC45E1-81C4-060B-45E1-3A6E78AF3BD9}"/>
                    </a:ext>
                  </a:extLst>
                </p:cNvPr>
                <p:cNvSpPr/>
                <p:nvPr/>
              </p:nvSpPr>
              <p:spPr>
                <a:xfrm>
                  <a:off x="646052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7" name="Freeform: Shape 18996">
                  <a:extLst>
                    <a:ext uri="{FF2B5EF4-FFF2-40B4-BE49-F238E27FC236}">
                      <a16:creationId xmlns:a16="http://schemas.microsoft.com/office/drawing/2014/main" id="{D6D04FB2-10DB-A35B-48A6-B2F8ECD06DD3}"/>
                    </a:ext>
                  </a:extLst>
                </p:cNvPr>
                <p:cNvSpPr/>
                <p:nvPr/>
              </p:nvSpPr>
              <p:spPr>
                <a:xfrm>
                  <a:off x="642270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0" name="Graphic 790">
                <a:extLst>
                  <a:ext uri="{FF2B5EF4-FFF2-40B4-BE49-F238E27FC236}">
                    <a16:creationId xmlns:a16="http://schemas.microsoft.com/office/drawing/2014/main" id="{E28D7E9D-0119-46AB-FC45-1ADF60F04268}"/>
                  </a:ext>
                </a:extLst>
              </p:cNvPr>
              <p:cNvGrpSpPr/>
              <p:nvPr/>
            </p:nvGrpSpPr>
            <p:grpSpPr>
              <a:xfrm>
                <a:off x="6411277" y="3598449"/>
                <a:ext cx="75723" cy="75723"/>
                <a:chOff x="6411277" y="3598449"/>
                <a:chExt cx="75723" cy="75723"/>
              </a:xfrm>
            </p:grpSpPr>
            <p:sp>
              <p:nvSpPr>
                <p:cNvPr id="18994" name="Freeform: Shape 18993">
                  <a:extLst>
                    <a:ext uri="{FF2B5EF4-FFF2-40B4-BE49-F238E27FC236}">
                      <a16:creationId xmlns:a16="http://schemas.microsoft.com/office/drawing/2014/main" id="{00CC1704-2EC4-ED97-98D7-0167274AA38A}"/>
                    </a:ext>
                  </a:extLst>
                </p:cNvPr>
                <p:cNvSpPr/>
                <p:nvPr/>
              </p:nvSpPr>
              <p:spPr>
                <a:xfrm>
                  <a:off x="6449091" y="35984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5" name="Freeform: Shape 18994">
                  <a:extLst>
                    <a:ext uri="{FF2B5EF4-FFF2-40B4-BE49-F238E27FC236}">
                      <a16:creationId xmlns:a16="http://schemas.microsoft.com/office/drawing/2014/main" id="{618F8424-2A0A-E07D-D9AE-DB99EA06737F}"/>
                    </a:ext>
                  </a:extLst>
                </p:cNvPr>
                <p:cNvSpPr/>
                <p:nvPr/>
              </p:nvSpPr>
              <p:spPr>
                <a:xfrm>
                  <a:off x="6411277" y="3636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1" name="Graphic 790">
                <a:extLst>
                  <a:ext uri="{FF2B5EF4-FFF2-40B4-BE49-F238E27FC236}">
                    <a16:creationId xmlns:a16="http://schemas.microsoft.com/office/drawing/2014/main" id="{618F3E51-29E7-280B-4C90-600DA13831CC}"/>
                  </a:ext>
                </a:extLst>
              </p:cNvPr>
              <p:cNvGrpSpPr/>
              <p:nvPr/>
            </p:nvGrpSpPr>
            <p:grpSpPr>
              <a:xfrm>
                <a:off x="6502717" y="3639883"/>
                <a:ext cx="75723" cy="75723"/>
                <a:chOff x="6502717" y="3639883"/>
                <a:chExt cx="75723" cy="75723"/>
              </a:xfrm>
            </p:grpSpPr>
            <p:sp>
              <p:nvSpPr>
                <p:cNvPr id="18992" name="Freeform: Shape 18991">
                  <a:extLst>
                    <a:ext uri="{FF2B5EF4-FFF2-40B4-BE49-F238E27FC236}">
                      <a16:creationId xmlns:a16="http://schemas.microsoft.com/office/drawing/2014/main" id="{4F64F86A-6F4A-2EA4-6446-D263714759AF}"/>
                    </a:ext>
                  </a:extLst>
                </p:cNvPr>
                <p:cNvSpPr/>
                <p:nvPr/>
              </p:nvSpPr>
              <p:spPr>
                <a:xfrm>
                  <a:off x="6540531" y="3639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3" name="Freeform: Shape 18992">
                  <a:extLst>
                    <a:ext uri="{FF2B5EF4-FFF2-40B4-BE49-F238E27FC236}">
                      <a16:creationId xmlns:a16="http://schemas.microsoft.com/office/drawing/2014/main" id="{4D1AFFF5-6BF1-D148-1683-E822CBACB9B1}"/>
                    </a:ext>
                  </a:extLst>
                </p:cNvPr>
                <p:cNvSpPr/>
                <p:nvPr/>
              </p:nvSpPr>
              <p:spPr>
                <a:xfrm>
                  <a:off x="6502717" y="36777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2" name="Graphic 790">
                <a:extLst>
                  <a:ext uri="{FF2B5EF4-FFF2-40B4-BE49-F238E27FC236}">
                    <a16:creationId xmlns:a16="http://schemas.microsoft.com/office/drawing/2014/main" id="{0682F666-F15C-5D94-26A1-5F056F201A86}"/>
                  </a:ext>
                </a:extLst>
              </p:cNvPr>
              <p:cNvGrpSpPr/>
              <p:nvPr/>
            </p:nvGrpSpPr>
            <p:grpSpPr>
              <a:xfrm>
                <a:off x="6916483" y="3652646"/>
                <a:ext cx="75723" cy="75723"/>
                <a:chOff x="6916483" y="3652646"/>
                <a:chExt cx="75723" cy="75723"/>
              </a:xfrm>
            </p:grpSpPr>
            <p:sp>
              <p:nvSpPr>
                <p:cNvPr id="18990" name="Freeform: Shape 18989">
                  <a:extLst>
                    <a:ext uri="{FF2B5EF4-FFF2-40B4-BE49-F238E27FC236}">
                      <a16:creationId xmlns:a16="http://schemas.microsoft.com/office/drawing/2014/main" id="{FC2F9F57-CD20-05AD-F802-8DD62B031960}"/>
                    </a:ext>
                  </a:extLst>
                </p:cNvPr>
                <p:cNvSpPr/>
                <p:nvPr/>
              </p:nvSpPr>
              <p:spPr>
                <a:xfrm>
                  <a:off x="695439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91" name="Freeform: Shape 18990">
                  <a:extLst>
                    <a:ext uri="{FF2B5EF4-FFF2-40B4-BE49-F238E27FC236}">
                      <a16:creationId xmlns:a16="http://schemas.microsoft.com/office/drawing/2014/main" id="{D9FB33C8-2FD6-2F4C-BF16-FB10EC3A12F6}"/>
                    </a:ext>
                  </a:extLst>
                </p:cNvPr>
                <p:cNvSpPr/>
                <p:nvPr/>
              </p:nvSpPr>
              <p:spPr>
                <a:xfrm>
                  <a:off x="6916483"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3" name="Graphic 790">
                <a:extLst>
                  <a:ext uri="{FF2B5EF4-FFF2-40B4-BE49-F238E27FC236}">
                    <a16:creationId xmlns:a16="http://schemas.microsoft.com/office/drawing/2014/main" id="{4D5F6453-B0B6-6526-937B-B89954FB7F5E}"/>
                  </a:ext>
                </a:extLst>
              </p:cNvPr>
              <p:cNvGrpSpPr/>
              <p:nvPr/>
            </p:nvGrpSpPr>
            <p:grpSpPr>
              <a:xfrm>
                <a:off x="6900862" y="3652646"/>
                <a:ext cx="75628" cy="75723"/>
                <a:chOff x="6900862" y="3652646"/>
                <a:chExt cx="75628" cy="75723"/>
              </a:xfrm>
            </p:grpSpPr>
            <p:sp>
              <p:nvSpPr>
                <p:cNvPr id="18988" name="Freeform: Shape 18987">
                  <a:extLst>
                    <a:ext uri="{FF2B5EF4-FFF2-40B4-BE49-F238E27FC236}">
                      <a16:creationId xmlns:a16="http://schemas.microsoft.com/office/drawing/2014/main" id="{397AFB0C-B859-0C73-5315-8DFC14A3F6F5}"/>
                    </a:ext>
                  </a:extLst>
                </p:cNvPr>
                <p:cNvSpPr/>
                <p:nvPr/>
              </p:nvSpPr>
              <p:spPr>
                <a:xfrm>
                  <a:off x="6938676"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9" name="Freeform: Shape 18988">
                  <a:extLst>
                    <a:ext uri="{FF2B5EF4-FFF2-40B4-BE49-F238E27FC236}">
                      <a16:creationId xmlns:a16="http://schemas.microsoft.com/office/drawing/2014/main" id="{0EE0270A-6962-8F4E-8776-3D228E85D7B3}"/>
                    </a:ext>
                  </a:extLst>
                </p:cNvPr>
                <p:cNvSpPr/>
                <p:nvPr/>
              </p:nvSpPr>
              <p:spPr>
                <a:xfrm>
                  <a:off x="6900862"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4" name="Graphic 790">
                <a:extLst>
                  <a:ext uri="{FF2B5EF4-FFF2-40B4-BE49-F238E27FC236}">
                    <a16:creationId xmlns:a16="http://schemas.microsoft.com/office/drawing/2014/main" id="{F3F78654-E49B-1E04-2578-DA4740F7EF23}"/>
                  </a:ext>
                </a:extLst>
              </p:cNvPr>
              <p:cNvGrpSpPr/>
              <p:nvPr/>
            </p:nvGrpSpPr>
            <p:grpSpPr>
              <a:xfrm>
                <a:off x="6885145" y="3652646"/>
                <a:ext cx="75723" cy="75723"/>
                <a:chOff x="6885145" y="3652646"/>
                <a:chExt cx="75723" cy="75723"/>
              </a:xfrm>
            </p:grpSpPr>
            <p:sp>
              <p:nvSpPr>
                <p:cNvPr id="18986" name="Freeform: Shape 18985">
                  <a:extLst>
                    <a:ext uri="{FF2B5EF4-FFF2-40B4-BE49-F238E27FC236}">
                      <a16:creationId xmlns:a16="http://schemas.microsoft.com/office/drawing/2014/main" id="{8FC5B610-3F6A-241E-2D24-733AE889ACA5}"/>
                    </a:ext>
                  </a:extLst>
                </p:cNvPr>
                <p:cNvSpPr/>
                <p:nvPr/>
              </p:nvSpPr>
              <p:spPr>
                <a:xfrm>
                  <a:off x="6922960"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7" name="Freeform: Shape 18986">
                  <a:extLst>
                    <a:ext uri="{FF2B5EF4-FFF2-40B4-BE49-F238E27FC236}">
                      <a16:creationId xmlns:a16="http://schemas.microsoft.com/office/drawing/2014/main" id="{20127DBD-8280-1F9B-FB32-4644C010D2BD}"/>
                    </a:ext>
                  </a:extLst>
                </p:cNvPr>
                <p:cNvSpPr/>
                <p:nvPr/>
              </p:nvSpPr>
              <p:spPr>
                <a:xfrm>
                  <a:off x="6885145"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5" name="Graphic 790">
                <a:extLst>
                  <a:ext uri="{FF2B5EF4-FFF2-40B4-BE49-F238E27FC236}">
                    <a16:creationId xmlns:a16="http://schemas.microsoft.com/office/drawing/2014/main" id="{43D9A10F-2C1F-1D21-92DC-54B0B89BE090}"/>
                  </a:ext>
                </a:extLst>
              </p:cNvPr>
              <p:cNvGrpSpPr/>
              <p:nvPr/>
            </p:nvGrpSpPr>
            <p:grpSpPr>
              <a:xfrm>
                <a:off x="6869429" y="3652646"/>
                <a:ext cx="75723" cy="75723"/>
                <a:chOff x="6869429" y="3652646"/>
                <a:chExt cx="75723" cy="75723"/>
              </a:xfrm>
            </p:grpSpPr>
            <p:sp>
              <p:nvSpPr>
                <p:cNvPr id="18984" name="Freeform: Shape 18983">
                  <a:extLst>
                    <a:ext uri="{FF2B5EF4-FFF2-40B4-BE49-F238E27FC236}">
                      <a16:creationId xmlns:a16="http://schemas.microsoft.com/office/drawing/2014/main" id="{835C3E19-C0A4-B8F4-2187-C5A644F8CB1B}"/>
                    </a:ext>
                  </a:extLst>
                </p:cNvPr>
                <p:cNvSpPr/>
                <p:nvPr/>
              </p:nvSpPr>
              <p:spPr>
                <a:xfrm>
                  <a:off x="6907339"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5" name="Freeform: Shape 18984">
                  <a:extLst>
                    <a:ext uri="{FF2B5EF4-FFF2-40B4-BE49-F238E27FC236}">
                      <a16:creationId xmlns:a16="http://schemas.microsoft.com/office/drawing/2014/main" id="{FFA95401-B11D-2DD6-8C72-CA84560B7583}"/>
                    </a:ext>
                  </a:extLst>
                </p:cNvPr>
                <p:cNvSpPr/>
                <p:nvPr/>
              </p:nvSpPr>
              <p:spPr>
                <a:xfrm>
                  <a:off x="6869429" y="36905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6" name="Graphic 790">
                <a:extLst>
                  <a:ext uri="{FF2B5EF4-FFF2-40B4-BE49-F238E27FC236}">
                    <a16:creationId xmlns:a16="http://schemas.microsoft.com/office/drawing/2014/main" id="{628D5EB6-E85F-1C7D-7EE1-A2981DD11EB2}"/>
                  </a:ext>
                </a:extLst>
              </p:cNvPr>
              <p:cNvGrpSpPr/>
              <p:nvPr/>
            </p:nvGrpSpPr>
            <p:grpSpPr>
              <a:xfrm>
                <a:off x="6853808" y="3652646"/>
                <a:ext cx="75628" cy="75723"/>
                <a:chOff x="6853808" y="3652646"/>
                <a:chExt cx="75628" cy="75723"/>
              </a:xfrm>
            </p:grpSpPr>
            <p:sp>
              <p:nvSpPr>
                <p:cNvPr id="18982" name="Freeform: Shape 18981">
                  <a:extLst>
                    <a:ext uri="{FF2B5EF4-FFF2-40B4-BE49-F238E27FC236}">
                      <a16:creationId xmlns:a16="http://schemas.microsoft.com/office/drawing/2014/main" id="{3B4EF22E-2F82-C226-3B78-5E3244FFCA60}"/>
                    </a:ext>
                  </a:extLst>
                </p:cNvPr>
                <p:cNvSpPr/>
                <p:nvPr/>
              </p:nvSpPr>
              <p:spPr>
                <a:xfrm>
                  <a:off x="6891622" y="36526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3" name="Freeform: Shape 18982">
                  <a:extLst>
                    <a:ext uri="{FF2B5EF4-FFF2-40B4-BE49-F238E27FC236}">
                      <a16:creationId xmlns:a16="http://schemas.microsoft.com/office/drawing/2014/main" id="{67896A16-7FFD-E27B-7305-8DE19EBAD9D5}"/>
                    </a:ext>
                  </a:extLst>
                </p:cNvPr>
                <p:cNvSpPr/>
                <p:nvPr/>
              </p:nvSpPr>
              <p:spPr>
                <a:xfrm>
                  <a:off x="6853808" y="36905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7" name="Graphic 790">
                <a:extLst>
                  <a:ext uri="{FF2B5EF4-FFF2-40B4-BE49-F238E27FC236}">
                    <a16:creationId xmlns:a16="http://schemas.microsoft.com/office/drawing/2014/main" id="{02D24DDA-B7F6-DBC6-2210-30B3B86EFB17}"/>
                  </a:ext>
                </a:extLst>
              </p:cNvPr>
              <p:cNvGrpSpPr/>
              <p:nvPr/>
            </p:nvGrpSpPr>
            <p:grpSpPr>
              <a:xfrm>
                <a:off x="6923626" y="3677030"/>
                <a:ext cx="75723" cy="75628"/>
                <a:chOff x="6923626" y="3677030"/>
                <a:chExt cx="75723" cy="75628"/>
              </a:xfrm>
            </p:grpSpPr>
            <p:sp>
              <p:nvSpPr>
                <p:cNvPr id="18980" name="Freeform: Shape 18979">
                  <a:extLst>
                    <a:ext uri="{FF2B5EF4-FFF2-40B4-BE49-F238E27FC236}">
                      <a16:creationId xmlns:a16="http://schemas.microsoft.com/office/drawing/2014/main" id="{5A137FF0-B2BD-A247-1267-730FCD259038}"/>
                    </a:ext>
                  </a:extLst>
                </p:cNvPr>
                <p:cNvSpPr/>
                <p:nvPr/>
              </p:nvSpPr>
              <p:spPr>
                <a:xfrm>
                  <a:off x="696153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81" name="Freeform: Shape 18980">
                  <a:extLst>
                    <a:ext uri="{FF2B5EF4-FFF2-40B4-BE49-F238E27FC236}">
                      <a16:creationId xmlns:a16="http://schemas.microsoft.com/office/drawing/2014/main" id="{82922A66-E766-321A-3BAF-894A0E852EF1}"/>
                    </a:ext>
                  </a:extLst>
                </p:cNvPr>
                <p:cNvSpPr/>
                <p:nvPr/>
              </p:nvSpPr>
              <p:spPr>
                <a:xfrm>
                  <a:off x="6923626"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8" name="Graphic 790">
                <a:extLst>
                  <a:ext uri="{FF2B5EF4-FFF2-40B4-BE49-F238E27FC236}">
                    <a16:creationId xmlns:a16="http://schemas.microsoft.com/office/drawing/2014/main" id="{E58A2905-42E4-01D3-14FF-0EE035C2A4B7}"/>
                  </a:ext>
                </a:extLst>
              </p:cNvPr>
              <p:cNvGrpSpPr/>
              <p:nvPr/>
            </p:nvGrpSpPr>
            <p:grpSpPr>
              <a:xfrm>
                <a:off x="6908482" y="3677030"/>
                <a:ext cx="75723" cy="75628"/>
                <a:chOff x="6908482" y="3677030"/>
                <a:chExt cx="75723" cy="75628"/>
              </a:xfrm>
            </p:grpSpPr>
            <p:sp>
              <p:nvSpPr>
                <p:cNvPr id="18978" name="Freeform: Shape 18977">
                  <a:extLst>
                    <a:ext uri="{FF2B5EF4-FFF2-40B4-BE49-F238E27FC236}">
                      <a16:creationId xmlns:a16="http://schemas.microsoft.com/office/drawing/2014/main" id="{8831F716-C573-CB24-3476-BADBF7163339}"/>
                    </a:ext>
                  </a:extLst>
                </p:cNvPr>
                <p:cNvSpPr/>
                <p:nvPr/>
              </p:nvSpPr>
              <p:spPr>
                <a:xfrm>
                  <a:off x="6946296" y="36770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9" name="Freeform: Shape 18978">
                  <a:extLst>
                    <a:ext uri="{FF2B5EF4-FFF2-40B4-BE49-F238E27FC236}">
                      <a16:creationId xmlns:a16="http://schemas.microsoft.com/office/drawing/2014/main" id="{0BEDA86A-337B-B31A-8DDA-7D4C3C8E29C0}"/>
                    </a:ext>
                  </a:extLst>
                </p:cNvPr>
                <p:cNvSpPr/>
                <p:nvPr/>
              </p:nvSpPr>
              <p:spPr>
                <a:xfrm>
                  <a:off x="6908482" y="37148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09" name="Graphic 790">
                <a:extLst>
                  <a:ext uri="{FF2B5EF4-FFF2-40B4-BE49-F238E27FC236}">
                    <a16:creationId xmlns:a16="http://schemas.microsoft.com/office/drawing/2014/main" id="{18ECBA26-31C7-1683-D51D-782059F950E1}"/>
                  </a:ext>
                </a:extLst>
              </p:cNvPr>
              <p:cNvGrpSpPr/>
              <p:nvPr/>
            </p:nvGrpSpPr>
            <p:grpSpPr>
              <a:xfrm>
                <a:off x="7307960" y="3719226"/>
                <a:ext cx="75628" cy="75723"/>
                <a:chOff x="7307960" y="3719226"/>
                <a:chExt cx="75628" cy="75723"/>
              </a:xfrm>
            </p:grpSpPr>
            <p:sp>
              <p:nvSpPr>
                <p:cNvPr id="18976" name="Freeform: Shape 18975">
                  <a:extLst>
                    <a:ext uri="{FF2B5EF4-FFF2-40B4-BE49-F238E27FC236}">
                      <a16:creationId xmlns:a16="http://schemas.microsoft.com/office/drawing/2014/main" id="{F7CC3820-C0FB-1522-0B11-47E9AEEE511E}"/>
                    </a:ext>
                  </a:extLst>
                </p:cNvPr>
                <p:cNvSpPr/>
                <p:nvPr/>
              </p:nvSpPr>
              <p:spPr>
                <a:xfrm>
                  <a:off x="7345774"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7" name="Freeform: Shape 18976">
                  <a:extLst>
                    <a:ext uri="{FF2B5EF4-FFF2-40B4-BE49-F238E27FC236}">
                      <a16:creationId xmlns:a16="http://schemas.microsoft.com/office/drawing/2014/main" id="{7DFE7406-3C74-A115-A282-7E491D6D67D8}"/>
                    </a:ext>
                  </a:extLst>
                </p:cNvPr>
                <p:cNvSpPr/>
                <p:nvPr/>
              </p:nvSpPr>
              <p:spPr>
                <a:xfrm>
                  <a:off x="7307960" y="37571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0" name="Graphic 790">
                <a:extLst>
                  <a:ext uri="{FF2B5EF4-FFF2-40B4-BE49-F238E27FC236}">
                    <a16:creationId xmlns:a16="http://schemas.microsoft.com/office/drawing/2014/main" id="{6CF14068-28C4-316E-B56A-CC0536584AC3}"/>
                  </a:ext>
                </a:extLst>
              </p:cNvPr>
              <p:cNvGrpSpPr/>
              <p:nvPr/>
            </p:nvGrpSpPr>
            <p:grpSpPr>
              <a:xfrm>
                <a:off x="7302150" y="3719226"/>
                <a:ext cx="75723" cy="75723"/>
                <a:chOff x="7302150" y="3719226"/>
                <a:chExt cx="75723" cy="75723"/>
              </a:xfrm>
            </p:grpSpPr>
            <p:sp>
              <p:nvSpPr>
                <p:cNvPr id="18974" name="Freeform: Shape 18973">
                  <a:extLst>
                    <a:ext uri="{FF2B5EF4-FFF2-40B4-BE49-F238E27FC236}">
                      <a16:creationId xmlns:a16="http://schemas.microsoft.com/office/drawing/2014/main" id="{138E05C1-E0B1-5961-55A1-93D917220F96}"/>
                    </a:ext>
                  </a:extLst>
                </p:cNvPr>
                <p:cNvSpPr/>
                <p:nvPr/>
              </p:nvSpPr>
              <p:spPr>
                <a:xfrm>
                  <a:off x="7340059"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5" name="Freeform: Shape 18974">
                  <a:extLst>
                    <a:ext uri="{FF2B5EF4-FFF2-40B4-BE49-F238E27FC236}">
                      <a16:creationId xmlns:a16="http://schemas.microsoft.com/office/drawing/2014/main" id="{D2B7E1EF-2247-4202-C48E-927C7440D45F}"/>
                    </a:ext>
                  </a:extLst>
                </p:cNvPr>
                <p:cNvSpPr/>
                <p:nvPr/>
              </p:nvSpPr>
              <p:spPr>
                <a:xfrm>
                  <a:off x="7302150"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1" name="Graphic 790">
                <a:extLst>
                  <a:ext uri="{FF2B5EF4-FFF2-40B4-BE49-F238E27FC236}">
                    <a16:creationId xmlns:a16="http://schemas.microsoft.com/office/drawing/2014/main" id="{05328859-9C0B-D7C1-5DC7-D153B6A397F7}"/>
                  </a:ext>
                </a:extLst>
              </p:cNvPr>
              <p:cNvGrpSpPr/>
              <p:nvPr/>
            </p:nvGrpSpPr>
            <p:grpSpPr>
              <a:xfrm>
                <a:off x="7318819" y="3763898"/>
                <a:ext cx="75723" cy="75723"/>
                <a:chOff x="7318819" y="3763898"/>
                <a:chExt cx="75723" cy="75723"/>
              </a:xfrm>
            </p:grpSpPr>
            <p:sp>
              <p:nvSpPr>
                <p:cNvPr id="18972" name="Freeform: Shape 18971">
                  <a:extLst>
                    <a:ext uri="{FF2B5EF4-FFF2-40B4-BE49-F238E27FC236}">
                      <a16:creationId xmlns:a16="http://schemas.microsoft.com/office/drawing/2014/main" id="{DFC7BF60-4CD7-5A82-3AF5-069F364DB189}"/>
                    </a:ext>
                  </a:extLst>
                </p:cNvPr>
                <p:cNvSpPr/>
                <p:nvPr/>
              </p:nvSpPr>
              <p:spPr>
                <a:xfrm>
                  <a:off x="7356633" y="3763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3" name="Freeform: Shape 18972">
                  <a:extLst>
                    <a:ext uri="{FF2B5EF4-FFF2-40B4-BE49-F238E27FC236}">
                      <a16:creationId xmlns:a16="http://schemas.microsoft.com/office/drawing/2014/main" id="{F329C618-08CF-CB3A-CD2B-C6000AF09BA8}"/>
                    </a:ext>
                  </a:extLst>
                </p:cNvPr>
                <p:cNvSpPr/>
                <p:nvPr/>
              </p:nvSpPr>
              <p:spPr>
                <a:xfrm>
                  <a:off x="7318819" y="3801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2" name="Graphic 790">
                <a:extLst>
                  <a:ext uri="{FF2B5EF4-FFF2-40B4-BE49-F238E27FC236}">
                    <a16:creationId xmlns:a16="http://schemas.microsoft.com/office/drawing/2014/main" id="{6A4E4241-0D81-274B-D6CF-4227291BE5A3}"/>
                  </a:ext>
                </a:extLst>
              </p:cNvPr>
              <p:cNvGrpSpPr/>
              <p:nvPr/>
            </p:nvGrpSpPr>
            <p:grpSpPr>
              <a:xfrm>
                <a:off x="7329391" y="3772661"/>
                <a:ext cx="75723" cy="75628"/>
                <a:chOff x="7329391" y="3772661"/>
                <a:chExt cx="75723" cy="75628"/>
              </a:xfrm>
            </p:grpSpPr>
            <p:sp>
              <p:nvSpPr>
                <p:cNvPr id="18970" name="Freeform: Shape 18969">
                  <a:extLst>
                    <a:ext uri="{FF2B5EF4-FFF2-40B4-BE49-F238E27FC236}">
                      <a16:creationId xmlns:a16="http://schemas.microsoft.com/office/drawing/2014/main" id="{7EBF09AF-8A6E-FA19-7B9B-DFB216839330}"/>
                    </a:ext>
                  </a:extLst>
                </p:cNvPr>
                <p:cNvSpPr/>
                <p:nvPr/>
              </p:nvSpPr>
              <p:spPr>
                <a:xfrm>
                  <a:off x="7367206"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71" name="Freeform: Shape 18970">
                  <a:extLst>
                    <a:ext uri="{FF2B5EF4-FFF2-40B4-BE49-F238E27FC236}">
                      <a16:creationId xmlns:a16="http://schemas.microsoft.com/office/drawing/2014/main" id="{350F719B-A1B4-F0CF-758A-D002EAB44A8E}"/>
                    </a:ext>
                  </a:extLst>
                </p:cNvPr>
                <p:cNvSpPr/>
                <p:nvPr/>
              </p:nvSpPr>
              <p:spPr>
                <a:xfrm>
                  <a:off x="7329391"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3" name="Graphic 790">
                <a:extLst>
                  <a:ext uri="{FF2B5EF4-FFF2-40B4-BE49-F238E27FC236}">
                    <a16:creationId xmlns:a16="http://schemas.microsoft.com/office/drawing/2014/main" id="{5CDCEE09-7375-E487-C2A3-C1B229489AC5}"/>
                  </a:ext>
                </a:extLst>
              </p:cNvPr>
              <p:cNvGrpSpPr/>
              <p:nvPr/>
            </p:nvGrpSpPr>
            <p:grpSpPr>
              <a:xfrm>
                <a:off x="7377874" y="3772661"/>
                <a:ext cx="75723" cy="75628"/>
                <a:chOff x="7377874" y="3772661"/>
                <a:chExt cx="75723" cy="75628"/>
              </a:xfrm>
            </p:grpSpPr>
            <p:sp>
              <p:nvSpPr>
                <p:cNvPr id="18968" name="Freeform: Shape 18967">
                  <a:extLst>
                    <a:ext uri="{FF2B5EF4-FFF2-40B4-BE49-F238E27FC236}">
                      <a16:creationId xmlns:a16="http://schemas.microsoft.com/office/drawing/2014/main" id="{DDB236AE-4839-14AC-03F3-48056AAD371F}"/>
                    </a:ext>
                  </a:extLst>
                </p:cNvPr>
                <p:cNvSpPr/>
                <p:nvPr/>
              </p:nvSpPr>
              <p:spPr>
                <a:xfrm>
                  <a:off x="7415688"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9" name="Freeform: Shape 18968">
                  <a:extLst>
                    <a:ext uri="{FF2B5EF4-FFF2-40B4-BE49-F238E27FC236}">
                      <a16:creationId xmlns:a16="http://schemas.microsoft.com/office/drawing/2014/main" id="{6DD89814-0F52-1644-A254-E15A41E45B6D}"/>
                    </a:ext>
                  </a:extLst>
                </p:cNvPr>
                <p:cNvSpPr/>
                <p:nvPr/>
              </p:nvSpPr>
              <p:spPr>
                <a:xfrm>
                  <a:off x="7377874" y="38104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4" name="Graphic 790">
                <a:extLst>
                  <a:ext uri="{FF2B5EF4-FFF2-40B4-BE49-F238E27FC236}">
                    <a16:creationId xmlns:a16="http://schemas.microsoft.com/office/drawing/2014/main" id="{9F923762-D132-B080-F4D0-967821A08688}"/>
                  </a:ext>
                </a:extLst>
              </p:cNvPr>
              <p:cNvGrpSpPr/>
              <p:nvPr/>
            </p:nvGrpSpPr>
            <p:grpSpPr>
              <a:xfrm>
                <a:off x="7350061" y="3772661"/>
                <a:ext cx="75628" cy="75628"/>
                <a:chOff x="7350061" y="3772661"/>
                <a:chExt cx="75628" cy="75628"/>
              </a:xfrm>
            </p:grpSpPr>
            <p:sp>
              <p:nvSpPr>
                <p:cNvPr id="18966" name="Freeform: Shape 18965">
                  <a:extLst>
                    <a:ext uri="{FF2B5EF4-FFF2-40B4-BE49-F238E27FC236}">
                      <a16:creationId xmlns:a16="http://schemas.microsoft.com/office/drawing/2014/main" id="{09C90740-590A-E261-7BC3-7D7EF5BC83E5}"/>
                    </a:ext>
                  </a:extLst>
                </p:cNvPr>
                <p:cNvSpPr/>
                <p:nvPr/>
              </p:nvSpPr>
              <p:spPr>
                <a:xfrm>
                  <a:off x="7387875" y="3772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7" name="Freeform: Shape 18966">
                  <a:extLst>
                    <a:ext uri="{FF2B5EF4-FFF2-40B4-BE49-F238E27FC236}">
                      <a16:creationId xmlns:a16="http://schemas.microsoft.com/office/drawing/2014/main" id="{BB1141A6-0559-FCA1-B4B4-76360B64C2E4}"/>
                    </a:ext>
                  </a:extLst>
                </p:cNvPr>
                <p:cNvSpPr/>
                <p:nvPr/>
              </p:nvSpPr>
              <p:spPr>
                <a:xfrm>
                  <a:off x="7350061" y="38104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5" name="Graphic 790">
                <a:extLst>
                  <a:ext uri="{FF2B5EF4-FFF2-40B4-BE49-F238E27FC236}">
                    <a16:creationId xmlns:a16="http://schemas.microsoft.com/office/drawing/2014/main" id="{9AC07831-C146-7D07-58F7-9694C6F3381F}"/>
                  </a:ext>
                </a:extLst>
              </p:cNvPr>
              <p:cNvGrpSpPr/>
              <p:nvPr/>
            </p:nvGrpSpPr>
            <p:grpSpPr>
              <a:xfrm>
                <a:off x="7285481" y="3719226"/>
                <a:ext cx="75723" cy="75723"/>
                <a:chOff x="7285481" y="3719226"/>
                <a:chExt cx="75723" cy="75723"/>
              </a:xfrm>
            </p:grpSpPr>
            <p:sp>
              <p:nvSpPr>
                <p:cNvPr id="18964" name="Freeform: Shape 18963">
                  <a:extLst>
                    <a:ext uri="{FF2B5EF4-FFF2-40B4-BE49-F238E27FC236}">
                      <a16:creationId xmlns:a16="http://schemas.microsoft.com/office/drawing/2014/main" id="{066A233F-506A-55F7-3D4F-BE1477B38415}"/>
                    </a:ext>
                  </a:extLst>
                </p:cNvPr>
                <p:cNvSpPr/>
                <p:nvPr/>
              </p:nvSpPr>
              <p:spPr>
                <a:xfrm>
                  <a:off x="7323295" y="37192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5" name="Freeform: Shape 18964">
                  <a:extLst>
                    <a:ext uri="{FF2B5EF4-FFF2-40B4-BE49-F238E27FC236}">
                      <a16:creationId xmlns:a16="http://schemas.microsoft.com/office/drawing/2014/main" id="{9C981AFC-D686-0DDA-CC96-411316B1B633}"/>
                    </a:ext>
                  </a:extLst>
                </p:cNvPr>
                <p:cNvSpPr/>
                <p:nvPr/>
              </p:nvSpPr>
              <p:spPr>
                <a:xfrm>
                  <a:off x="7285481" y="37571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6" name="Graphic 790">
                <a:extLst>
                  <a:ext uri="{FF2B5EF4-FFF2-40B4-BE49-F238E27FC236}">
                    <a16:creationId xmlns:a16="http://schemas.microsoft.com/office/drawing/2014/main" id="{92D8375E-F13F-A50F-9F88-93A941253874}"/>
                  </a:ext>
                </a:extLst>
              </p:cNvPr>
              <p:cNvGrpSpPr/>
              <p:nvPr/>
            </p:nvGrpSpPr>
            <p:grpSpPr>
              <a:xfrm>
                <a:off x="7730870" y="3838193"/>
                <a:ext cx="75723" cy="75628"/>
                <a:chOff x="7730870" y="3838193"/>
                <a:chExt cx="75723" cy="75628"/>
              </a:xfrm>
            </p:grpSpPr>
            <p:sp>
              <p:nvSpPr>
                <p:cNvPr id="18962" name="Freeform: Shape 18961">
                  <a:extLst>
                    <a:ext uri="{FF2B5EF4-FFF2-40B4-BE49-F238E27FC236}">
                      <a16:creationId xmlns:a16="http://schemas.microsoft.com/office/drawing/2014/main" id="{F9806162-6FE2-BB40-63B3-8B8CFE0EAE04}"/>
                    </a:ext>
                  </a:extLst>
                </p:cNvPr>
                <p:cNvSpPr/>
                <p:nvPr/>
              </p:nvSpPr>
              <p:spPr>
                <a:xfrm>
                  <a:off x="776868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3" name="Freeform: Shape 18962">
                  <a:extLst>
                    <a:ext uri="{FF2B5EF4-FFF2-40B4-BE49-F238E27FC236}">
                      <a16:creationId xmlns:a16="http://schemas.microsoft.com/office/drawing/2014/main" id="{DA3F1F3B-007B-44C1-C508-91ED966BB9BA}"/>
                    </a:ext>
                  </a:extLst>
                </p:cNvPr>
                <p:cNvSpPr/>
                <p:nvPr/>
              </p:nvSpPr>
              <p:spPr>
                <a:xfrm>
                  <a:off x="7730870"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7" name="Graphic 790">
                <a:extLst>
                  <a:ext uri="{FF2B5EF4-FFF2-40B4-BE49-F238E27FC236}">
                    <a16:creationId xmlns:a16="http://schemas.microsoft.com/office/drawing/2014/main" id="{89431F35-EB84-D1C5-6FAA-6911FA21AF2A}"/>
                  </a:ext>
                </a:extLst>
              </p:cNvPr>
              <p:cNvGrpSpPr/>
              <p:nvPr/>
            </p:nvGrpSpPr>
            <p:grpSpPr>
              <a:xfrm>
                <a:off x="7744015" y="3838193"/>
                <a:ext cx="75723" cy="75628"/>
                <a:chOff x="7744015" y="3838193"/>
                <a:chExt cx="75723" cy="75628"/>
              </a:xfrm>
            </p:grpSpPr>
            <p:sp>
              <p:nvSpPr>
                <p:cNvPr id="18960" name="Freeform: Shape 18959">
                  <a:extLst>
                    <a:ext uri="{FF2B5EF4-FFF2-40B4-BE49-F238E27FC236}">
                      <a16:creationId xmlns:a16="http://schemas.microsoft.com/office/drawing/2014/main" id="{4A17A08D-5300-A004-C34E-5C15001497AB}"/>
                    </a:ext>
                  </a:extLst>
                </p:cNvPr>
                <p:cNvSpPr/>
                <p:nvPr/>
              </p:nvSpPr>
              <p:spPr>
                <a:xfrm>
                  <a:off x="7781924" y="383819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61" name="Freeform: Shape 18960">
                  <a:extLst>
                    <a:ext uri="{FF2B5EF4-FFF2-40B4-BE49-F238E27FC236}">
                      <a16:creationId xmlns:a16="http://schemas.microsoft.com/office/drawing/2014/main" id="{33F3367F-63C0-8E4E-5617-6006FE38B694}"/>
                    </a:ext>
                  </a:extLst>
                </p:cNvPr>
                <p:cNvSpPr/>
                <p:nvPr/>
              </p:nvSpPr>
              <p:spPr>
                <a:xfrm>
                  <a:off x="7744015" y="38760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8" name="Graphic 790">
                <a:extLst>
                  <a:ext uri="{FF2B5EF4-FFF2-40B4-BE49-F238E27FC236}">
                    <a16:creationId xmlns:a16="http://schemas.microsoft.com/office/drawing/2014/main" id="{C897A880-FE21-3DED-670C-620863B45CBC}"/>
                  </a:ext>
                </a:extLst>
              </p:cNvPr>
              <p:cNvGrpSpPr/>
              <p:nvPr/>
            </p:nvGrpSpPr>
            <p:grpSpPr>
              <a:xfrm>
                <a:off x="7836788" y="3873626"/>
                <a:ext cx="75723" cy="75628"/>
                <a:chOff x="7836788" y="3873626"/>
                <a:chExt cx="75723" cy="75628"/>
              </a:xfrm>
            </p:grpSpPr>
            <p:sp>
              <p:nvSpPr>
                <p:cNvPr id="18958" name="Freeform: Shape 18957">
                  <a:extLst>
                    <a:ext uri="{FF2B5EF4-FFF2-40B4-BE49-F238E27FC236}">
                      <a16:creationId xmlns:a16="http://schemas.microsoft.com/office/drawing/2014/main" id="{FB7EAAB4-020F-DD25-2E23-94ED1768458D}"/>
                    </a:ext>
                  </a:extLst>
                </p:cNvPr>
                <p:cNvSpPr/>
                <p:nvPr/>
              </p:nvSpPr>
              <p:spPr>
                <a:xfrm>
                  <a:off x="787469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9" name="Freeform: Shape 18958">
                  <a:extLst>
                    <a:ext uri="{FF2B5EF4-FFF2-40B4-BE49-F238E27FC236}">
                      <a16:creationId xmlns:a16="http://schemas.microsoft.com/office/drawing/2014/main" id="{2DC593EE-92EA-650C-B9B5-FA2F1D53A2CC}"/>
                    </a:ext>
                  </a:extLst>
                </p:cNvPr>
                <p:cNvSpPr/>
                <p:nvPr/>
              </p:nvSpPr>
              <p:spPr>
                <a:xfrm>
                  <a:off x="7836788"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19" name="Graphic 790">
                <a:extLst>
                  <a:ext uri="{FF2B5EF4-FFF2-40B4-BE49-F238E27FC236}">
                    <a16:creationId xmlns:a16="http://schemas.microsoft.com/office/drawing/2014/main" id="{A0A283D6-C97C-17E7-422E-710E5F54957F}"/>
                  </a:ext>
                </a:extLst>
              </p:cNvPr>
              <p:cNvGrpSpPr/>
              <p:nvPr/>
            </p:nvGrpSpPr>
            <p:grpSpPr>
              <a:xfrm>
                <a:off x="7788401" y="3873626"/>
                <a:ext cx="75628" cy="75628"/>
                <a:chOff x="7788401" y="3873626"/>
                <a:chExt cx="75628" cy="75628"/>
              </a:xfrm>
            </p:grpSpPr>
            <p:sp>
              <p:nvSpPr>
                <p:cNvPr id="18956" name="Freeform: Shape 18955">
                  <a:extLst>
                    <a:ext uri="{FF2B5EF4-FFF2-40B4-BE49-F238E27FC236}">
                      <a16:creationId xmlns:a16="http://schemas.microsoft.com/office/drawing/2014/main" id="{A7280A21-C93A-E808-2130-817D0ACC2BE3}"/>
                    </a:ext>
                  </a:extLst>
                </p:cNvPr>
                <p:cNvSpPr/>
                <p:nvPr/>
              </p:nvSpPr>
              <p:spPr>
                <a:xfrm>
                  <a:off x="782621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7" name="Freeform: Shape 18956">
                  <a:extLst>
                    <a:ext uri="{FF2B5EF4-FFF2-40B4-BE49-F238E27FC236}">
                      <a16:creationId xmlns:a16="http://schemas.microsoft.com/office/drawing/2014/main" id="{B85A2A7E-5598-5E78-CBDB-570BB68E6744}"/>
                    </a:ext>
                  </a:extLst>
                </p:cNvPr>
                <p:cNvSpPr/>
                <p:nvPr/>
              </p:nvSpPr>
              <p:spPr>
                <a:xfrm>
                  <a:off x="778840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0" name="Graphic 790">
                <a:extLst>
                  <a:ext uri="{FF2B5EF4-FFF2-40B4-BE49-F238E27FC236}">
                    <a16:creationId xmlns:a16="http://schemas.microsoft.com/office/drawing/2014/main" id="{C1192D08-6EAD-C636-4C58-66527C3AC3C7}"/>
                  </a:ext>
                </a:extLst>
              </p:cNvPr>
              <p:cNvGrpSpPr/>
              <p:nvPr/>
            </p:nvGrpSpPr>
            <p:grpSpPr>
              <a:xfrm>
                <a:off x="7781924" y="3873626"/>
                <a:ext cx="75628" cy="75628"/>
                <a:chOff x="7781924" y="3873626"/>
                <a:chExt cx="75628" cy="75628"/>
              </a:xfrm>
            </p:grpSpPr>
            <p:sp>
              <p:nvSpPr>
                <p:cNvPr id="18954" name="Freeform: Shape 18953">
                  <a:extLst>
                    <a:ext uri="{FF2B5EF4-FFF2-40B4-BE49-F238E27FC236}">
                      <a16:creationId xmlns:a16="http://schemas.microsoft.com/office/drawing/2014/main" id="{126CC728-9C80-D0EC-DE0A-510F0A0E386B}"/>
                    </a:ext>
                  </a:extLst>
                </p:cNvPr>
                <p:cNvSpPr/>
                <p:nvPr/>
              </p:nvSpPr>
              <p:spPr>
                <a:xfrm>
                  <a:off x="781973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5" name="Freeform: Shape 18954">
                  <a:extLst>
                    <a:ext uri="{FF2B5EF4-FFF2-40B4-BE49-F238E27FC236}">
                      <a16:creationId xmlns:a16="http://schemas.microsoft.com/office/drawing/2014/main" id="{8AA565E1-235D-67A4-9C37-6C3FE2510B4C}"/>
                    </a:ext>
                  </a:extLst>
                </p:cNvPr>
                <p:cNvSpPr/>
                <p:nvPr/>
              </p:nvSpPr>
              <p:spPr>
                <a:xfrm>
                  <a:off x="778192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1" name="Graphic 790">
                <a:extLst>
                  <a:ext uri="{FF2B5EF4-FFF2-40B4-BE49-F238E27FC236}">
                    <a16:creationId xmlns:a16="http://schemas.microsoft.com/office/drawing/2014/main" id="{313C2351-A52D-3731-A54C-2D6A932C9D48}"/>
                  </a:ext>
                </a:extLst>
              </p:cNvPr>
              <p:cNvGrpSpPr/>
              <p:nvPr/>
            </p:nvGrpSpPr>
            <p:grpSpPr>
              <a:xfrm>
                <a:off x="7769351" y="3873626"/>
                <a:ext cx="75628" cy="75628"/>
                <a:chOff x="7769351" y="3873626"/>
                <a:chExt cx="75628" cy="75628"/>
              </a:xfrm>
            </p:grpSpPr>
            <p:sp>
              <p:nvSpPr>
                <p:cNvPr id="18952" name="Freeform: Shape 18951">
                  <a:extLst>
                    <a:ext uri="{FF2B5EF4-FFF2-40B4-BE49-F238E27FC236}">
                      <a16:creationId xmlns:a16="http://schemas.microsoft.com/office/drawing/2014/main" id="{93A4EAF9-6AF7-43D2-1900-E956076F8078}"/>
                    </a:ext>
                  </a:extLst>
                </p:cNvPr>
                <p:cNvSpPr/>
                <p:nvPr/>
              </p:nvSpPr>
              <p:spPr>
                <a:xfrm>
                  <a:off x="7807165"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3" name="Freeform: Shape 18952">
                  <a:extLst>
                    <a:ext uri="{FF2B5EF4-FFF2-40B4-BE49-F238E27FC236}">
                      <a16:creationId xmlns:a16="http://schemas.microsoft.com/office/drawing/2014/main" id="{1B2CAB83-2DCF-8907-6339-2610C22842F1}"/>
                    </a:ext>
                  </a:extLst>
                </p:cNvPr>
                <p:cNvSpPr/>
                <p:nvPr/>
              </p:nvSpPr>
              <p:spPr>
                <a:xfrm>
                  <a:off x="7769351" y="39114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2" name="Graphic 790">
                <a:extLst>
                  <a:ext uri="{FF2B5EF4-FFF2-40B4-BE49-F238E27FC236}">
                    <a16:creationId xmlns:a16="http://schemas.microsoft.com/office/drawing/2014/main" id="{7E96809A-AD72-ABCE-B5B8-0D4C6B3062A5}"/>
                  </a:ext>
                </a:extLst>
              </p:cNvPr>
              <p:cNvGrpSpPr/>
              <p:nvPr/>
            </p:nvGrpSpPr>
            <p:grpSpPr>
              <a:xfrm>
                <a:off x="7762874" y="3873626"/>
                <a:ext cx="75628" cy="75628"/>
                <a:chOff x="7762874" y="3873626"/>
                <a:chExt cx="75628" cy="75628"/>
              </a:xfrm>
            </p:grpSpPr>
            <p:sp>
              <p:nvSpPr>
                <p:cNvPr id="18950" name="Freeform: Shape 18949">
                  <a:extLst>
                    <a:ext uri="{FF2B5EF4-FFF2-40B4-BE49-F238E27FC236}">
                      <a16:creationId xmlns:a16="http://schemas.microsoft.com/office/drawing/2014/main" id="{98F4997C-A7C7-5490-0506-CC6479C855AD}"/>
                    </a:ext>
                  </a:extLst>
                </p:cNvPr>
                <p:cNvSpPr/>
                <p:nvPr/>
              </p:nvSpPr>
              <p:spPr>
                <a:xfrm>
                  <a:off x="7800688"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51" name="Freeform: Shape 18950">
                  <a:extLst>
                    <a:ext uri="{FF2B5EF4-FFF2-40B4-BE49-F238E27FC236}">
                      <a16:creationId xmlns:a16="http://schemas.microsoft.com/office/drawing/2014/main" id="{3890B5EB-A5E5-6315-BAFC-BD66D12241ED}"/>
                    </a:ext>
                  </a:extLst>
                </p:cNvPr>
                <p:cNvSpPr/>
                <p:nvPr/>
              </p:nvSpPr>
              <p:spPr>
                <a:xfrm>
                  <a:off x="7762874" y="39114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3" name="Graphic 790">
                <a:extLst>
                  <a:ext uri="{FF2B5EF4-FFF2-40B4-BE49-F238E27FC236}">
                    <a16:creationId xmlns:a16="http://schemas.microsoft.com/office/drawing/2014/main" id="{69D24E61-F646-2314-6A13-C89842C28E4F}"/>
                  </a:ext>
                </a:extLst>
              </p:cNvPr>
              <p:cNvGrpSpPr/>
              <p:nvPr/>
            </p:nvGrpSpPr>
            <p:grpSpPr>
              <a:xfrm>
                <a:off x="7753730" y="3873626"/>
                <a:ext cx="75723" cy="75628"/>
                <a:chOff x="7753730" y="3873626"/>
                <a:chExt cx="75723" cy="75628"/>
              </a:xfrm>
            </p:grpSpPr>
            <p:sp>
              <p:nvSpPr>
                <p:cNvPr id="18948" name="Freeform: Shape 18947">
                  <a:extLst>
                    <a:ext uri="{FF2B5EF4-FFF2-40B4-BE49-F238E27FC236}">
                      <a16:creationId xmlns:a16="http://schemas.microsoft.com/office/drawing/2014/main" id="{674618E1-A801-0F28-F7C0-DD1802A696F2}"/>
                    </a:ext>
                  </a:extLst>
                </p:cNvPr>
                <p:cNvSpPr/>
                <p:nvPr/>
              </p:nvSpPr>
              <p:spPr>
                <a:xfrm>
                  <a:off x="7791640"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9" name="Freeform: Shape 18948">
                  <a:extLst>
                    <a:ext uri="{FF2B5EF4-FFF2-40B4-BE49-F238E27FC236}">
                      <a16:creationId xmlns:a16="http://schemas.microsoft.com/office/drawing/2014/main" id="{A810BF57-1796-FE29-CA9D-BE071ED28B5E}"/>
                    </a:ext>
                  </a:extLst>
                </p:cNvPr>
                <p:cNvSpPr/>
                <p:nvPr/>
              </p:nvSpPr>
              <p:spPr>
                <a:xfrm>
                  <a:off x="7753730"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4" name="Graphic 790">
                <a:extLst>
                  <a:ext uri="{FF2B5EF4-FFF2-40B4-BE49-F238E27FC236}">
                    <a16:creationId xmlns:a16="http://schemas.microsoft.com/office/drawing/2014/main" id="{D2C4BE84-4C54-DD16-C6A1-01E466B26A40}"/>
                  </a:ext>
                </a:extLst>
              </p:cNvPr>
              <p:cNvGrpSpPr/>
              <p:nvPr/>
            </p:nvGrpSpPr>
            <p:grpSpPr>
              <a:xfrm>
                <a:off x="7747253" y="3873626"/>
                <a:ext cx="75723" cy="75628"/>
                <a:chOff x="7747253" y="3873626"/>
                <a:chExt cx="75723" cy="75628"/>
              </a:xfrm>
            </p:grpSpPr>
            <p:sp>
              <p:nvSpPr>
                <p:cNvPr id="18946" name="Freeform: Shape 18945">
                  <a:extLst>
                    <a:ext uri="{FF2B5EF4-FFF2-40B4-BE49-F238E27FC236}">
                      <a16:creationId xmlns:a16="http://schemas.microsoft.com/office/drawing/2014/main" id="{C44B2B8C-87EF-7E84-8F5B-2F571FCFA9F2}"/>
                    </a:ext>
                  </a:extLst>
                </p:cNvPr>
                <p:cNvSpPr/>
                <p:nvPr/>
              </p:nvSpPr>
              <p:spPr>
                <a:xfrm>
                  <a:off x="7785163" y="38736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7" name="Freeform: Shape 18946">
                  <a:extLst>
                    <a:ext uri="{FF2B5EF4-FFF2-40B4-BE49-F238E27FC236}">
                      <a16:creationId xmlns:a16="http://schemas.microsoft.com/office/drawing/2014/main" id="{BB547D96-09A3-C832-8190-71B46209B69A}"/>
                    </a:ext>
                  </a:extLst>
                </p:cNvPr>
                <p:cNvSpPr/>
                <p:nvPr/>
              </p:nvSpPr>
              <p:spPr>
                <a:xfrm>
                  <a:off x="7747253" y="3911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5" name="Graphic 790">
                <a:extLst>
                  <a:ext uri="{FF2B5EF4-FFF2-40B4-BE49-F238E27FC236}">
                    <a16:creationId xmlns:a16="http://schemas.microsoft.com/office/drawing/2014/main" id="{1EF34C4D-3242-0DF2-51B5-67F3E1AA1E01}"/>
                  </a:ext>
                </a:extLst>
              </p:cNvPr>
              <p:cNvGrpSpPr/>
              <p:nvPr/>
            </p:nvGrpSpPr>
            <p:grpSpPr>
              <a:xfrm>
                <a:off x="8155590" y="3932491"/>
                <a:ext cx="75723" cy="75628"/>
                <a:chOff x="8155590" y="3932491"/>
                <a:chExt cx="75723" cy="75628"/>
              </a:xfrm>
            </p:grpSpPr>
            <p:sp>
              <p:nvSpPr>
                <p:cNvPr id="18944" name="Freeform: Shape 18943">
                  <a:extLst>
                    <a:ext uri="{FF2B5EF4-FFF2-40B4-BE49-F238E27FC236}">
                      <a16:creationId xmlns:a16="http://schemas.microsoft.com/office/drawing/2014/main" id="{345B5A66-0CC5-AC77-EA49-37012909BE1E}"/>
                    </a:ext>
                  </a:extLst>
                </p:cNvPr>
                <p:cNvSpPr/>
                <p:nvPr/>
              </p:nvSpPr>
              <p:spPr>
                <a:xfrm>
                  <a:off x="8193404"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5" name="Freeform: Shape 18944">
                  <a:extLst>
                    <a:ext uri="{FF2B5EF4-FFF2-40B4-BE49-F238E27FC236}">
                      <a16:creationId xmlns:a16="http://schemas.microsoft.com/office/drawing/2014/main" id="{9F395EC6-A82D-A305-1E35-AE3906A0DD73}"/>
                    </a:ext>
                  </a:extLst>
                </p:cNvPr>
                <p:cNvSpPr/>
                <p:nvPr/>
              </p:nvSpPr>
              <p:spPr>
                <a:xfrm>
                  <a:off x="8155590"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6" name="Graphic 790">
                <a:extLst>
                  <a:ext uri="{FF2B5EF4-FFF2-40B4-BE49-F238E27FC236}">
                    <a16:creationId xmlns:a16="http://schemas.microsoft.com/office/drawing/2014/main" id="{8FFA2FDB-AC40-E5D6-90A4-ED05305A88F2}"/>
                  </a:ext>
                </a:extLst>
              </p:cNvPr>
              <p:cNvGrpSpPr/>
              <p:nvPr/>
            </p:nvGrpSpPr>
            <p:grpSpPr>
              <a:xfrm>
                <a:off x="8236743" y="3932491"/>
                <a:ext cx="75723" cy="75628"/>
                <a:chOff x="8236743" y="3932491"/>
                <a:chExt cx="75723" cy="75628"/>
              </a:xfrm>
            </p:grpSpPr>
            <p:sp>
              <p:nvSpPr>
                <p:cNvPr id="18942" name="Freeform: Shape 18941">
                  <a:extLst>
                    <a:ext uri="{FF2B5EF4-FFF2-40B4-BE49-F238E27FC236}">
                      <a16:creationId xmlns:a16="http://schemas.microsoft.com/office/drawing/2014/main" id="{6E60BA2A-2FD0-55FB-71DC-48420B7FCBFD}"/>
                    </a:ext>
                  </a:extLst>
                </p:cNvPr>
                <p:cNvSpPr/>
                <p:nvPr/>
              </p:nvSpPr>
              <p:spPr>
                <a:xfrm>
                  <a:off x="8274557"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3" name="Freeform: Shape 18942">
                  <a:extLst>
                    <a:ext uri="{FF2B5EF4-FFF2-40B4-BE49-F238E27FC236}">
                      <a16:creationId xmlns:a16="http://schemas.microsoft.com/office/drawing/2014/main" id="{85FB9E61-C16B-E3EC-E68E-BEB0DDC2491F}"/>
                    </a:ext>
                  </a:extLst>
                </p:cNvPr>
                <p:cNvSpPr/>
                <p:nvPr/>
              </p:nvSpPr>
              <p:spPr>
                <a:xfrm>
                  <a:off x="8236743"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7" name="Graphic 790">
                <a:extLst>
                  <a:ext uri="{FF2B5EF4-FFF2-40B4-BE49-F238E27FC236}">
                    <a16:creationId xmlns:a16="http://schemas.microsoft.com/office/drawing/2014/main" id="{60A277CF-5CE9-DACA-D238-450B12256154}"/>
                  </a:ext>
                </a:extLst>
              </p:cNvPr>
              <p:cNvGrpSpPr/>
              <p:nvPr/>
            </p:nvGrpSpPr>
            <p:grpSpPr>
              <a:xfrm>
                <a:off x="8224837" y="3932491"/>
                <a:ext cx="75628" cy="75628"/>
                <a:chOff x="8224837" y="3932491"/>
                <a:chExt cx="75628" cy="75628"/>
              </a:xfrm>
            </p:grpSpPr>
            <p:sp>
              <p:nvSpPr>
                <p:cNvPr id="18940" name="Freeform: Shape 18939">
                  <a:extLst>
                    <a:ext uri="{FF2B5EF4-FFF2-40B4-BE49-F238E27FC236}">
                      <a16:creationId xmlns:a16="http://schemas.microsoft.com/office/drawing/2014/main" id="{BAFAE911-6F43-67E2-4736-67DEAF503686}"/>
                    </a:ext>
                  </a:extLst>
                </p:cNvPr>
                <p:cNvSpPr/>
                <p:nvPr/>
              </p:nvSpPr>
              <p:spPr>
                <a:xfrm>
                  <a:off x="8262651"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41" name="Freeform: Shape 18940">
                  <a:extLst>
                    <a:ext uri="{FF2B5EF4-FFF2-40B4-BE49-F238E27FC236}">
                      <a16:creationId xmlns:a16="http://schemas.microsoft.com/office/drawing/2014/main" id="{E6509D06-4D1F-AAA9-6D90-69D844273D3A}"/>
                    </a:ext>
                  </a:extLst>
                </p:cNvPr>
                <p:cNvSpPr/>
                <p:nvPr/>
              </p:nvSpPr>
              <p:spPr>
                <a:xfrm>
                  <a:off x="8224837"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8" name="Graphic 790">
                <a:extLst>
                  <a:ext uri="{FF2B5EF4-FFF2-40B4-BE49-F238E27FC236}">
                    <a16:creationId xmlns:a16="http://schemas.microsoft.com/office/drawing/2014/main" id="{333BE934-E3CD-EE31-48A3-EEAB8D33FD42}"/>
                  </a:ext>
                </a:extLst>
              </p:cNvPr>
              <p:cNvGrpSpPr/>
              <p:nvPr/>
            </p:nvGrpSpPr>
            <p:grpSpPr>
              <a:xfrm>
                <a:off x="8212835" y="3932491"/>
                <a:ext cx="75723" cy="75628"/>
                <a:chOff x="8212835" y="3932491"/>
                <a:chExt cx="75723" cy="75628"/>
              </a:xfrm>
            </p:grpSpPr>
            <p:sp>
              <p:nvSpPr>
                <p:cNvPr id="18938" name="Freeform: Shape 18937">
                  <a:extLst>
                    <a:ext uri="{FF2B5EF4-FFF2-40B4-BE49-F238E27FC236}">
                      <a16:creationId xmlns:a16="http://schemas.microsoft.com/office/drawing/2014/main" id="{BBE81D0E-98C1-B554-9DFE-86AE595C887F}"/>
                    </a:ext>
                  </a:extLst>
                </p:cNvPr>
                <p:cNvSpPr/>
                <p:nvPr/>
              </p:nvSpPr>
              <p:spPr>
                <a:xfrm>
                  <a:off x="8250649"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9" name="Freeform: Shape 18938">
                  <a:extLst>
                    <a:ext uri="{FF2B5EF4-FFF2-40B4-BE49-F238E27FC236}">
                      <a16:creationId xmlns:a16="http://schemas.microsoft.com/office/drawing/2014/main" id="{27140772-9522-83C1-BA2F-134BA8683CA8}"/>
                    </a:ext>
                  </a:extLst>
                </p:cNvPr>
                <p:cNvSpPr/>
                <p:nvPr/>
              </p:nvSpPr>
              <p:spPr>
                <a:xfrm>
                  <a:off x="8212835"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29" name="Graphic 790">
                <a:extLst>
                  <a:ext uri="{FF2B5EF4-FFF2-40B4-BE49-F238E27FC236}">
                    <a16:creationId xmlns:a16="http://schemas.microsoft.com/office/drawing/2014/main" id="{F7B349A7-CB4B-BE4C-C7E5-6EF5BEB592D1}"/>
                  </a:ext>
                </a:extLst>
              </p:cNvPr>
              <p:cNvGrpSpPr/>
              <p:nvPr/>
            </p:nvGrpSpPr>
            <p:grpSpPr>
              <a:xfrm>
                <a:off x="8146541" y="3932491"/>
                <a:ext cx="75628" cy="75628"/>
                <a:chOff x="8146541" y="3932491"/>
                <a:chExt cx="75628" cy="75628"/>
              </a:xfrm>
            </p:grpSpPr>
            <p:sp>
              <p:nvSpPr>
                <p:cNvPr id="18936" name="Freeform: Shape 18935">
                  <a:extLst>
                    <a:ext uri="{FF2B5EF4-FFF2-40B4-BE49-F238E27FC236}">
                      <a16:creationId xmlns:a16="http://schemas.microsoft.com/office/drawing/2014/main" id="{90618EF5-EA3F-73CA-8BFF-E799075D7E1D}"/>
                    </a:ext>
                  </a:extLst>
                </p:cNvPr>
                <p:cNvSpPr/>
                <p:nvPr/>
              </p:nvSpPr>
              <p:spPr>
                <a:xfrm>
                  <a:off x="8184355"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7" name="Freeform: Shape 18936">
                  <a:extLst>
                    <a:ext uri="{FF2B5EF4-FFF2-40B4-BE49-F238E27FC236}">
                      <a16:creationId xmlns:a16="http://schemas.microsoft.com/office/drawing/2014/main" id="{98AC3BA4-EF2E-7A1B-5B40-AB8643D1FFDA}"/>
                    </a:ext>
                  </a:extLst>
                </p:cNvPr>
                <p:cNvSpPr/>
                <p:nvPr/>
              </p:nvSpPr>
              <p:spPr>
                <a:xfrm>
                  <a:off x="8146541" y="39703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30" name="Graphic 790">
                <a:extLst>
                  <a:ext uri="{FF2B5EF4-FFF2-40B4-BE49-F238E27FC236}">
                    <a16:creationId xmlns:a16="http://schemas.microsoft.com/office/drawing/2014/main" id="{99D09C1F-F172-B842-6DF3-26EF5DFA32F6}"/>
                  </a:ext>
                </a:extLst>
              </p:cNvPr>
              <p:cNvGrpSpPr/>
              <p:nvPr/>
            </p:nvGrpSpPr>
            <p:grpSpPr>
              <a:xfrm>
                <a:off x="8166544" y="3932491"/>
                <a:ext cx="75723" cy="75628"/>
                <a:chOff x="8166544" y="3932491"/>
                <a:chExt cx="75723" cy="75628"/>
              </a:xfrm>
            </p:grpSpPr>
            <p:sp>
              <p:nvSpPr>
                <p:cNvPr id="18934" name="Freeform: Shape 18933">
                  <a:extLst>
                    <a:ext uri="{FF2B5EF4-FFF2-40B4-BE49-F238E27FC236}">
                      <a16:creationId xmlns:a16="http://schemas.microsoft.com/office/drawing/2014/main" id="{791D0E20-DAF9-2ABE-FC9B-3A59212086CC}"/>
                    </a:ext>
                  </a:extLst>
                </p:cNvPr>
                <p:cNvSpPr/>
                <p:nvPr/>
              </p:nvSpPr>
              <p:spPr>
                <a:xfrm>
                  <a:off x="8204358"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5" name="Freeform: Shape 18934">
                  <a:extLst>
                    <a:ext uri="{FF2B5EF4-FFF2-40B4-BE49-F238E27FC236}">
                      <a16:creationId xmlns:a16="http://schemas.microsoft.com/office/drawing/2014/main" id="{AFC48C07-8E42-55AD-222D-C71BD15FDAAC}"/>
                    </a:ext>
                  </a:extLst>
                </p:cNvPr>
                <p:cNvSpPr/>
                <p:nvPr/>
              </p:nvSpPr>
              <p:spPr>
                <a:xfrm>
                  <a:off x="8166544" y="39703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931" name="Graphic 790">
                <a:extLst>
                  <a:ext uri="{FF2B5EF4-FFF2-40B4-BE49-F238E27FC236}">
                    <a16:creationId xmlns:a16="http://schemas.microsoft.com/office/drawing/2014/main" id="{B42A7758-2AAA-788E-01C0-35458E00E936}"/>
                  </a:ext>
                </a:extLst>
              </p:cNvPr>
              <p:cNvGrpSpPr/>
              <p:nvPr/>
            </p:nvGrpSpPr>
            <p:grpSpPr>
              <a:xfrm>
                <a:off x="8200929" y="3932491"/>
                <a:ext cx="75628" cy="75628"/>
                <a:chOff x="8200929" y="3932491"/>
                <a:chExt cx="75628" cy="75628"/>
              </a:xfrm>
            </p:grpSpPr>
            <p:sp>
              <p:nvSpPr>
                <p:cNvPr id="18932" name="Freeform: Shape 18931">
                  <a:extLst>
                    <a:ext uri="{FF2B5EF4-FFF2-40B4-BE49-F238E27FC236}">
                      <a16:creationId xmlns:a16="http://schemas.microsoft.com/office/drawing/2014/main" id="{8CCF9A19-A5B3-3D8A-4A99-DDBDCD2FFAFC}"/>
                    </a:ext>
                  </a:extLst>
                </p:cNvPr>
                <p:cNvSpPr/>
                <p:nvPr/>
              </p:nvSpPr>
              <p:spPr>
                <a:xfrm>
                  <a:off x="8238743" y="393249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933" name="Freeform: Shape 18932">
                  <a:extLst>
                    <a:ext uri="{FF2B5EF4-FFF2-40B4-BE49-F238E27FC236}">
                      <a16:creationId xmlns:a16="http://schemas.microsoft.com/office/drawing/2014/main" id="{2D1F42D5-ADE1-8656-C583-54DC32107114}"/>
                    </a:ext>
                  </a:extLst>
                </p:cNvPr>
                <p:cNvSpPr/>
                <p:nvPr/>
              </p:nvSpPr>
              <p:spPr>
                <a:xfrm>
                  <a:off x="8200929" y="39703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818" name="Freeform: Shape 18817">
              <a:extLst>
                <a:ext uri="{FF2B5EF4-FFF2-40B4-BE49-F238E27FC236}">
                  <a16:creationId xmlns:a16="http://schemas.microsoft.com/office/drawing/2014/main" id="{63B0B8E4-B07B-EA96-DD0E-A8930843AB67}"/>
                </a:ext>
              </a:extLst>
            </p:cNvPr>
            <p:cNvSpPr/>
            <p:nvPr/>
          </p:nvSpPr>
          <p:spPr>
            <a:xfrm>
              <a:off x="3500437" y="2409824"/>
              <a:ext cx="5148833" cy="2004345"/>
            </a:xfrm>
            <a:custGeom>
              <a:avLst/>
              <a:gdLst>
                <a:gd name="connsiteX0" fmla="*/ 5148834 w 5148833"/>
                <a:gd name="connsiteY0" fmla="*/ 2004346 h 2004345"/>
                <a:gd name="connsiteX1" fmla="*/ 5136070 w 5148833"/>
                <a:gd name="connsiteY1" fmla="*/ 2004346 h 2004345"/>
                <a:gd name="connsiteX2" fmla="*/ 5136070 w 5148833"/>
                <a:gd name="connsiteY2" fmla="*/ 1735074 h 2004345"/>
                <a:gd name="connsiteX3" fmla="*/ 4866132 w 5148833"/>
                <a:gd name="connsiteY3" fmla="*/ 1735074 h 2004345"/>
                <a:gd name="connsiteX4" fmla="*/ 4866132 w 5148833"/>
                <a:gd name="connsiteY4" fmla="*/ 1560576 h 2004345"/>
                <a:gd name="connsiteX5" fmla="*/ 4399217 w 5148833"/>
                <a:gd name="connsiteY5" fmla="*/ 1560576 h 2004345"/>
                <a:gd name="connsiteX6" fmla="*/ 4399217 w 5148833"/>
                <a:gd name="connsiteY6" fmla="*/ 1501521 h 2004345"/>
                <a:gd name="connsiteX7" fmla="*/ 4281869 w 5148833"/>
                <a:gd name="connsiteY7" fmla="*/ 1501521 h 2004345"/>
                <a:gd name="connsiteX8" fmla="*/ 4281869 w 5148833"/>
                <a:gd name="connsiteY8" fmla="*/ 1466279 h 2004345"/>
                <a:gd name="connsiteX9" fmla="*/ 4236911 w 5148833"/>
                <a:gd name="connsiteY9" fmla="*/ 1466279 h 2004345"/>
                <a:gd name="connsiteX10" fmla="*/ 4236911 w 5148833"/>
                <a:gd name="connsiteY10" fmla="*/ 1429798 h 2004345"/>
                <a:gd name="connsiteX11" fmla="*/ 3962686 w 5148833"/>
                <a:gd name="connsiteY11" fmla="*/ 1429798 h 2004345"/>
                <a:gd name="connsiteX12" fmla="*/ 3962686 w 5148833"/>
                <a:gd name="connsiteY12" fmla="*/ 1400651 h 2004345"/>
                <a:gd name="connsiteX13" fmla="*/ 3863435 w 5148833"/>
                <a:gd name="connsiteY13" fmla="*/ 1400651 h 2004345"/>
                <a:gd name="connsiteX14" fmla="*/ 3863435 w 5148833"/>
                <a:gd name="connsiteY14" fmla="*/ 1347311 h 2004345"/>
                <a:gd name="connsiteX15" fmla="*/ 3746183 w 5148833"/>
                <a:gd name="connsiteY15" fmla="*/ 1347311 h 2004345"/>
                <a:gd name="connsiteX16" fmla="*/ 3746183 w 5148833"/>
                <a:gd name="connsiteY16" fmla="*/ 1323404 h 2004345"/>
                <a:gd name="connsiteX17" fmla="*/ 3654457 w 5148833"/>
                <a:gd name="connsiteY17" fmla="*/ 1323404 h 2004345"/>
                <a:gd name="connsiteX18" fmla="*/ 3654457 w 5148833"/>
                <a:gd name="connsiteY18" fmla="*/ 1307021 h 2004345"/>
                <a:gd name="connsiteX19" fmla="*/ 3455765 w 5148833"/>
                <a:gd name="connsiteY19" fmla="*/ 1307021 h 2004345"/>
                <a:gd name="connsiteX20" fmla="*/ 3455765 w 5148833"/>
                <a:gd name="connsiteY20" fmla="*/ 1280827 h 2004345"/>
                <a:gd name="connsiteX21" fmla="*/ 3342037 w 5148833"/>
                <a:gd name="connsiteY21" fmla="*/ 1280827 h 2004345"/>
                <a:gd name="connsiteX22" fmla="*/ 3342037 w 5148833"/>
                <a:gd name="connsiteY22" fmla="*/ 1268063 h 2004345"/>
                <a:gd name="connsiteX23" fmla="*/ 3001042 w 5148833"/>
                <a:gd name="connsiteY23" fmla="*/ 1268063 h 2004345"/>
                <a:gd name="connsiteX24" fmla="*/ 3001042 w 5148833"/>
                <a:gd name="connsiteY24" fmla="*/ 1226534 h 2004345"/>
                <a:gd name="connsiteX25" fmla="*/ 2599563 w 5148833"/>
                <a:gd name="connsiteY25" fmla="*/ 1226534 h 2004345"/>
                <a:gd name="connsiteX26" fmla="*/ 2599563 w 5148833"/>
                <a:gd name="connsiteY26" fmla="*/ 1190244 h 2004345"/>
                <a:gd name="connsiteX27" fmla="*/ 2576608 w 5148833"/>
                <a:gd name="connsiteY27" fmla="*/ 1190244 h 2004345"/>
                <a:gd name="connsiteX28" fmla="*/ 2576608 w 5148833"/>
                <a:gd name="connsiteY28" fmla="*/ 1108234 h 2004345"/>
                <a:gd name="connsiteX29" fmla="*/ 2523744 w 5148833"/>
                <a:gd name="connsiteY29" fmla="*/ 1108234 h 2004345"/>
                <a:gd name="connsiteX30" fmla="*/ 2523744 w 5148833"/>
                <a:gd name="connsiteY30" fmla="*/ 1100900 h 2004345"/>
                <a:gd name="connsiteX31" fmla="*/ 2485930 w 5148833"/>
                <a:gd name="connsiteY31" fmla="*/ 1100900 h 2004345"/>
                <a:gd name="connsiteX32" fmla="*/ 2485930 w 5148833"/>
                <a:gd name="connsiteY32" fmla="*/ 1077849 h 2004345"/>
                <a:gd name="connsiteX33" fmla="*/ 2390394 w 5148833"/>
                <a:gd name="connsiteY33" fmla="*/ 1077849 h 2004345"/>
                <a:gd name="connsiteX34" fmla="*/ 2390394 w 5148833"/>
                <a:gd name="connsiteY34" fmla="*/ 1071086 h 2004345"/>
                <a:gd name="connsiteX35" fmla="*/ 2258473 w 5148833"/>
                <a:gd name="connsiteY35" fmla="*/ 1071086 h 2004345"/>
                <a:gd name="connsiteX36" fmla="*/ 2258473 w 5148833"/>
                <a:gd name="connsiteY36" fmla="*/ 1060799 h 2004345"/>
                <a:gd name="connsiteX37" fmla="*/ 2232851 w 5148833"/>
                <a:gd name="connsiteY37" fmla="*/ 1060799 h 2004345"/>
                <a:gd name="connsiteX38" fmla="*/ 2232851 w 5148833"/>
                <a:gd name="connsiteY38" fmla="*/ 1050417 h 2004345"/>
                <a:gd name="connsiteX39" fmla="*/ 2194941 w 5148833"/>
                <a:gd name="connsiteY39" fmla="*/ 1050417 h 2004345"/>
                <a:gd name="connsiteX40" fmla="*/ 2194941 w 5148833"/>
                <a:gd name="connsiteY40" fmla="*/ 1040702 h 2004345"/>
                <a:gd name="connsiteX41" fmla="*/ 2181416 w 5148833"/>
                <a:gd name="connsiteY41" fmla="*/ 1040702 h 2004345"/>
                <a:gd name="connsiteX42" fmla="*/ 2181416 w 5148833"/>
                <a:gd name="connsiteY42" fmla="*/ 1030986 h 2004345"/>
                <a:gd name="connsiteX43" fmla="*/ 2164842 w 5148833"/>
                <a:gd name="connsiteY43" fmla="*/ 1030986 h 2004345"/>
                <a:gd name="connsiteX44" fmla="*/ 2164842 w 5148833"/>
                <a:gd name="connsiteY44" fmla="*/ 1015746 h 2004345"/>
                <a:gd name="connsiteX45" fmla="*/ 2149697 w 5148833"/>
                <a:gd name="connsiteY45" fmla="*/ 1015746 h 2004345"/>
                <a:gd name="connsiteX46" fmla="*/ 2149697 w 5148833"/>
                <a:gd name="connsiteY46" fmla="*/ 986028 h 2004345"/>
                <a:gd name="connsiteX47" fmla="*/ 2132076 w 5148833"/>
                <a:gd name="connsiteY47" fmla="*/ 986028 h 2004345"/>
                <a:gd name="connsiteX48" fmla="*/ 2132076 w 5148833"/>
                <a:gd name="connsiteY48" fmla="*/ 952595 h 2004345"/>
                <a:gd name="connsiteX49" fmla="*/ 2114836 w 5148833"/>
                <a:gd name="connsiteY49" fmla="*/ 952595 h 2004345"/>
                <a:gd name="connsiteX50" fmla="*/ 2114836 w 5148833"/>
                <a:gd name="connsiteY50" fmla="*/ 929450 h 2004345"/>
                <a:gd name="connsiteX51" fmla="*/ 2037779 w 5148833"/>
                <a:gd name="connsiteY51" fmla="*/ 929450 h 2004345"/>
                <a:gd name="connsiteX52" fmla="*/ 2037779 w 5148833"/>
                <a:gd name="connsiteY52" fmla="*/ 916115 h 2004345"/>
                <a:gd name="connsiteX53" fmla="*/ 1989201 w 5148833"/>
                <a:gd name="connsiteY53" fmla="*/ 916115 h 2004345"/>
                <a:gd name="connsiteX54" fmla="*/ 1989201 w 5148833"/>
                <a:gd name="connsiteY54" fmla="*/ 908780 h 2004345"/>
                <a:gd name="connsiteX55" fmla="*/ 1956911 w 5148833"/>
                <a:gd name="connsiteY55" fmla="*/ 908780 h 2004345"/>
                <a:gd name="connsiteX56" fmla="*/ 1956911 w 5148833"/>
                <a:gd name="connsiteY56" fmla="*/ 903351 h 2004345"/>
                <a:gd name="connsiteX57" fmla="*/ 1935099 w 5148833"/>
                <a:gd name="connsiteY57" fmla="*/ 903351 h 2004345"/>
                <a:gd name="connsiteX58" fmla="*/ 1935099 w 5148833"/>
                <a:gd name="connsiteY58" fmla="*/ 890588 h 2004345"/>
                <a:gd name="connsiteX59" fmla="*/ 1919859 w 5148833"/>
                <a:gd name="connsiteY59" fmla="*/ 890588 h 2004345"/>
                <a:gd name="connsiteX60" fmla="*/ 1919859 w 5148833"/>
                <a:gd name="connsiteY60" fmla="*/ 886873 h 2004345"/>
                <a:gd name="connsiteX61" fmla="*/ 1874901 w 5148833"/>
                <a:gd name="connsiteY61" fmla="*/ 886873 h 2004345"/>
                <a:gd name="connsiteX62" fmla="*/ 1874901 w 5148833"/>
                <a:gd name="connsiteY62" fmla="*/ 872871 h 2004345"/>
                <a:gd name="connsiteX63" fmla="*/ 1751552 w 5148833"/>
                <a:gd name="connsiteY63" fmla="*/ 872871 h 2004345"/>
                <a:gd name="connsiteX64" fmla="*/ 1751552 w 5148833"/>
                <a:gd name="connsiteY64" fmla="*/ 850392 h 2004345"/>
                <a:gd name="connsiteX65" fmla="*/ 1713738 w 5148833"/>
                <a:gd name="connsiteY65" fmla="*/ 850392 h 2004345"/>
                <a:gd name="connsiteX66" fmla="*/ 1713738 w 5148833"/>
                <a:gd name="connsiteY66" fmla="*/ 787051 h 2004345"/>
                <a:gd name="connsiteX67" fmla="*/ 1632871 w 5148833"/>
                <a:gd name="connsiteY67" fmla="*/ 787051 h 2004345"/>
                <a:gd name="connsiteX68" fmla="*/ 1632871 w 5148833"/>
                <a:gd name="connsiteY68" fmla="*/ 761619 h 2004345"/>
                <a:gd name="connsiteX69" fmla="*/ 1503426 w 5148833"/>
                <a:gd name="connsiteY69" fmla="*/ 761619 h 2004345"/>
                <a:gd name="connsiteX70" fmla="*/ 1503426 w 5148833"/>
                <a:gd name="connsiteY70" fmla="*/ 747713 h 2004345"/>
                <a:gd name="connsiteX71" fmla="*/ 1443800 w 5148833"/>
                <a:gd name="connsiteY71" fmla="*/ 747713 h 2004345"/>
                <a:gd name="connsiteX72" fmla="*/ 1443800 w 5148833"/>
                <a:gd name="connsiteY72" fmla="*/ 740950 h 2004345"/>
                <a:gd name="connsiteX73" fmla="*/ 1423130 w 5148833"/>
                <a:gd name="connsiteY73" fmla="*/ 740950 h 2004345"/>
                <a:gd name="connsiteX74" fmla="*/ 1423130 w 5148833"/>
                <a:gd name="connsiteY74" fmla="*/ 732663 h 2004345"/>
                <a:gd name="connsiteX75" fmla="*/ 1404938 w 5148833"/>
                <a:gd name="connsiteY75" fmla="*/ 732663 h 2004345"/>
                <a:gd name="connsiteX76" fmla="*/ 1404938 w 5148833"/>
                <a:gd name="connsiteY76" fmla="*/ 716661 h 2004345"/>
                <a:gd name="connsiteX77" fmla="*/ 1383602 w 5148833"/>
                <a:gd name="connsiteY77" fmla="*/ 716661 h 2004345"/>
                <a:gd name="connsiteX78" fmla="*/ 1383602 w 5148833"/>
                <a:gd name="connsiteY78" fmla="*/ 712375 h 2004345"/>
                <a:gd name="connsiteX79" fmla="*/ 1329500 w 5148833"/>
                <a:gd name="connsiteY79" fmla="*/ 712375 h 2004345"/>
                <a:gd name="connsiteX80" fmla="*/ 1329500 w 5148833"/>
                <a:gd name="connsiteY80" fmla="*/ 680180 h 2004345"/>
                <a:gd name="connsiteX81" fmla="*/ 1318641 w 5148833"/>
                <a:gd name="connsiteY81" fmla="*/ 680180 h 2004345"/>
                <a:gd name="connsiteX82" fmla="*/ 1318641 w 5148833"/>
                <a:gd name="connsiteY82" fmla="*/ 653415 h 2004345"/>
                <a:gd name="connsiteX83" fmla="*/ 1288066 w 5148833"/>
                <a:gd name="connsiteY83" fmla="*/ 653415 h 2004345"/>
                <a:gd name="connsiteX84" fmla="*/ 1288066 w 5148833"/>
                <a:gd name="connsiteY84" fmla="*/ 593217 h 2004345"/>
                <a:gd name="connsiteX85" fmla="*/ 1264730 w 5148833"/>
                <a:gd name="connsiteY85" fmla="*/ 593217 h 2004345"/>
                <a:gd name="connsiteX86" fmla="*/ 1264730 w 5148833"/>
                <a:gd name="connsiteY86" fmla="*/ 552545 h 2004345"/>
                <a:gd name="connsiteX87" fmla="*/ 1253871 w 5148833"/>
                <a:gd name="connsiteY87" fmla="*/ 552545 h 2004345"/>
                <a:gd name="connsiteX88" fmla="*/ 1253871 w 5148833"/>
                <a:gd name="connsiteY88" fmla="*/ 517208 h 2004345"/>
                <a:gd name="connsiteX89" fmla="*/ 1234631 w 5148833"/>
                <a:gd name="connsiteY89" fmla="*/ 517208 h 2004345"/>
                <a:gd name="connsiteX90" fmla="*/ 1234631 w 5148833"/>
                <a:gd name="connsiteY90" fmla="*/ 499586 h 2004345"/>
                <a:gd name="connsiteX91" fmla="*/ 1205103 w 5148833"/>
                <a:gd name="connsiteY91" fmla="*/ 499586 h 2004345"/>
                <a:gd name="connsiteX92" fmla="*/ 1205103 w 5148833"/>
                <a:gd name="connsiteY92" fmla="*/ 484918 h 2004345"/>
                <a:gd name="connsiteX93" fmla="*/ 1169575 w 5148833"/>
                <a:gd name="connsiteY93" fmla="*/ 484918 h 2004345"/>
                <a:gd name="connsiteX94" fmla="*/ 1169575 w 5148833"/>
                <a:gd name="connsiteY94" fmla="*/ 466154 h 2004345"/>
                <a:gd name="connsiteX95" fmla="*/ 1141667 w 5148833"/>
                <a:gd name="connsiteY95" fmla="*/ 466154 h 2004345"/>
                <a:gd name="connsiteX96" fmla="*/ 1141667 w 5148833"/>
                <a:gd name="connsiteY96" fmla="*/ 458248 h 2004345"/>
                <a:gd name="connsiteX97" fmla="*/ 1122807 w 5148833"/>
                <a:gd name="connsiteY97" fmla="*/ 458248 h 2004345"/>
                <a:gd name="connsiteX98" fmla="*/ 1122807 w 5148833"/>
                <a:gd name="connsiteY98" fmla="*/ 453390 h 2004345"/>
                <a:gd name="connsiteX99" fmla="*/ 1094804 w 5148833"/>
                <a:gd name="connsiteY99" fmla="*/ 453390 h 2004345"/>
                <a:gd name="connsiteX100" fmla="*/ 1094804 w 5148833"/>
                <a:gd name="connsiteY100" fmla="*/ 442817 h 2004345"/>
                <a:gd name="connsiteX101" fmla="*/ 957453 w 5148833"/>
                <a:gd name="connsiteY101" fmla="*/ 442817 h 2004345"/>
                <a:gd name="connsiteX102" fmla="*/ 957453 w 5148833"/>
                <a:gd name="connsiteY102" fmla="*/ 423196 h 2004345"/>
                <a:gd name="connsiteX103" fmla="*/ 939165 w 5148833"/>
                <a:gd name="connsiteY103" fmla="*/ 423196 h 2004345"/>
                <a:gd name="connsiteX104" fmla="*/ 939165 w 5148833"/>
                <a:gd name="connsiteY104" fmla="*/ 409670 h 2004345"/>
                <a:gd name="connsiteX105" fmla="*/ 914686 w 5148833"/>
                <a:gd name="connsiteY105" fmla="*/ 409670 h 2004345"/>
                <a:gd name="connsiteX106" fmla="*/ 914686 w 5148833"/>
                <a:gd name="connsiteY106" fmla="*/ 382238 h 2004345"/>
                <a:gd name="connsiteX107" fmla="*/ 885730 w 5148833"/>
                <a:gd name="connsiteY107" fmla="*/ 382238 h 2004345"/>
                <a:gd name="connsiteX108" fmla="*/ 885730 w 5148833"/>
                <a:gd name="connsiteY108" fmla="*/ 362807 h 2004345"/>
                <a:gd name="connsiteX109" fmla="*/ 870490 w 5148833"/>
                <a:gd name="connsiteY109" fmla="*/ 362807 h 2004345"/>
                <a:gd name="connsiteX110" fmla="*/ 870490 w 5148833"/>
                <a:gd name="connsiteY110" fmla="*/ 336042 h 2004345"/>
                <a:gd name="connsiteX111" fmla="*/ 845249 w 5148833"/>
                <a:gd name="connsiteY111" fmla="*/ 336042 h 2004345"/>
                <a:gd name="connsiteX112" fmla="*/ 845249 w 5148833"/>
                <a:gd name="connsiteY112" fmla="*/ 287465 h 2004345"/>
                <a:gd name="connsiteX113" fmla="*/ 824198 w 5148833"/>
                <a:gd name="connsiteY113" fmla="*/ 287465 h 2004345"/>
                <a:gd name="connsiteX114" fmla="*/ 824198 w 5148833"/>
                <a:gd name="connsiteY114" fmla="*/ 245459 h 2004345"/>
                <a:gd name="connsiteX115" fmla="*/ 792385 w 5148833"/>
                <a:gd name="connsiteY115" fmla="*/ 245459 h 2004345"/>
                <a:gd name="connsiteX116" fmla="*/ 792385 w 5148833"/>
                <a:gd name="connsiteY116" fmla="*/ 224219 h 2004345"/>
                <a:gd name="connsiteX117" fmla="*/ 768382 w 5148833"/>
                <a:gd name="connsiteY117" fmla="*/ 224219 h 2004345"/>
                <a:gd name="connsiteX118" fmla="*/ 768382 w 5148833"/>
                <a:gd name="connsiteY118" fmla="*/ 203549 h 2004345"/>
                <a:gd name="connsiteX119" fmla="*/ 699040 w 5148833"/>
                <a:gd name="connsiteY119" fmla="*/ 203549 h 2004345"/>
                <a:gd name="connsiteX120" fmla="*/ 699040 w 5148833"/>
                <a:gd name="connsiteY120" fmla="*/ 190119 h 2004345"/>
                <a:gd name="connsiteX121" fmla="*/ 682657 w 5148833"/>
                <a:gd name="connsiteY121" fmla="*/ 190119 h 2004345"/>
                <a:gd name="connsiteX122" fmla="*/ 682657 w 5148833"/>
                <a:gd name="connsiteY122" fmla="*/ 181642 h 2004345"/>
                <a:gd name="connsiteX123" fmla="*/ 645509 w 5148833"/>
                <a:gd name="connsiteY123" fmla="*/ 181642 h 2004345"/>
                <a:gd name="connsiteX124" fmla="*/ 645509 w 5148833"/>
                <a:gd name="connsiteY124" fmla="*/ 174974 h 2004345"/>
                <a:gd name="connsiteX125" fmla="*/ 609029 w 5148833"/>
                <a:gd name="connsiteY125" fmla="*/ 174974 h 2004345"/>
                <a:gd name="connsiteX126" fmla="*/ 609029 w 5148833"/>
                <a:gd name="connsiteY126" fmla="*/ 167640 h 2004345"/>
                <a:gd name="connsiteX127" fmla="*/ 579882 w 5148833"/>
                <a:gd name="connsiteY127" fmla="*/ 167640 h 2004345"/>
                <a:gd name="connsiteX128" fmla="*/ 579882 w 5148833"/>
                <a:gd name="connsiteY128" fmla="*/ 154877 h 2004345"/>
                <a:gd name="connsiteX129" fmla="*/ 498443 w 5148833"/>
                <a:gd name="connsiteY129" fmla="*/ 154877 h 2004345"/>
                <a:gd name="connsiteX130" fmla="*/ 498443 w 5148833"/>
                <a:gd name="connsiteY130" fmla="*/ 142780 h 2004345"/>
                <a:gd name="connsiteX131" fmla="*/ 431006 w 5148833"/>
                <a:gd name="connsiteY131" fmla="*/ 142780 h 2004345"/>
                <a:gd name="connsiteX132" fmla="*/ 431006 w 5148833"/>
                <a:gd name="connsiteY132" fmla="*/ 122682 h 2004345"/>
                <a:gd name="connsiteX133" fmla="*/ 403574 w 5148833"/>
                <a:gd name="connsiteY133" fmla="*/ 122682 h 2004345"/>
                <a:gd name="connsiteX134" fmla="*/ 403574 w 5148833"/>
                <a:gd name="connsiteY134" fmla="*/ 100965 h 2004345"/>
                <a:gd name="connsiteX135" fmla="*/ 369570 w 5148833"/>
                <a:gd name="connsiteY135" fmla="*/ 100965 h 2004345"/>
                <a:gd name="connsiteX136" fmla="*/ 369570 w 5148833"/>
                <a:gd name="connsiteY136" fmla="*/ 81344 h 2004345"/>
                <a:gd name="connsiteX137" fmla="*/ 302038 w 5148833"/>
                <a:gd name="connsiteY137" fmla="*/ 81344 h 2004345"/>
                <a:gd name="connsiteX138" fmla="*/ 302038 w 5148833"/>
                <a:gd name="connsiteY138" fmla="*/ 73438 h 2004345"/>
                <a:gd name="connsiteX139" fmla="*/ 199930 w 5148833"/>
                <a:gd name="connsiteY139" fmla="*/ 73438 h 2004345"/>
                <a:gd name="connsiteX140" fmla="*/ 199930 w 5148833"/>
                <a:gd name="connsiteY140" fmla="*/ 60008 h 2004345"/>
                <a:gd name="connsiteX141" fmla="*/ 144590 w 5148833"/>
                <a:gd name="connsiteY141" fmla="*/ 60008 h 2004345"/>
                <a:gd name="connsiteX142" fmla="*/ 144590 w 5148833"/>
                <a:gd name="connsiteY142" fmla="*/ 50959 h 2004345"/>
                <a:gd name="connsiteX143" fmla="*/ 96488 w 5148833"/>
                <a:gd name="connsiteY143" fmla="*/ 50959 h 2004345"/>
                <a:gd name="connsiteX144" fmla="*/ 96488 w 5148833"/>
                <a:gd name="connsiteY144" fmla="*/ 44863 h 2004345"/>
                <a:gd name="connsiteX145" fmla="*/ 78867 w 5148833"/>
                <a:gd name="connsiteY145" fmla="*/ 44863 h 2004345"/>
                <a:gd name="connsiteX146" fmla="*/ 78867 w 5148833"/>
                <a:gd name="connsiteY146" fmla="*/ 30861 h 2004345"/>
                <a:gd name="connsiteX147" fmla="*/ 50292 w 5148833"/>
                <a:gd name="connsiteY147" fmla="*/ 30861 h 2004345"/>
                <a:gd name="connsiteX148" fmla="*/ 50292 w 5148833"/>
                <a:gd name="connsiteY148" fmla="*/ 22384 h 2004345"/>
                <a:gd name="connsiteX149" fmla="*/ 33338 w 5148833"/>
                <a:gd name="connsiteY149" fmla="*/ 22384 h 2004345"/>
                <a:gd name="connsiteX150" fmla="*/ 33338 w 5148833"/>
                <a:gd name="connsiteY150" fmla="*/ 0 h 2004345"/>
                <a:gd name="connsiteX151" fmla="*/ 0 w 5148833"/>
                <a:gd name="connsiteY151" fmla="*/ 0 h 200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5148833" h="2004345">
                  <a:moveTo>
                    <a:pt x="5148834" y="2004346"/>
                  </a:moveTo>
                  <a:lnTo>
                    <a:pt x="5136070" y="2004346"/>
                  </a:lnTo>
                  <a:lnTo>
                    <a:pt x="5136070" y="1735074"/>
                  </a:lnTo>
                  <a:lnTo>
                    <a:pt x="4866132" y="1735074"/>
                  </a:lnTo>
                  <a:lnTo>
                    <a:pt x="4866132" y="1560576"/>
                  </a:lnTo>
                  <a:lnTo>
                    <a:pt x="4399217" y="1560576"/>
                  </a:lnTo>
                  <a:lnTo>
                    <a:pt x="4399217" y="1501521"/>
                  </a:lnTo>
                  <a:lnTo>
                    <a:pt x="4281869" y="1501521"/>
                  </a:lnTo>
                  <a:lnTo>
                    <a:pt x="4281869" y="1466279"/>
                  </a:lnTo>
                  <a:lnTo>
                    <a:pt x="4236911" y="1466279"/>
                  </a:lnTo>
                  <a:lnTo>
                    <a:pt x="4236911" y="1429798"/>
                  </a:lnTo>
                  <a:lnTo>
                    <a:pt x="3962686" y="1429798"/>
                  </a:lnTo>
                  <a:lnTo>
                    <a:pt x="3962686" y="1400651"/>
                  </a:lnTo>
                  <a:lnTo>
                    <a:pt x="3863435" y="1400651"/>
                  </a:lnTo>
                  <a:lnTo>
                    <a:pt x="3863435" y="1347311"/>
                  </a:lnTo>
                  <a:lnTo>
                    <a:pt x="3746183" y="1347311"/>
                  </a:lnTo>
                  <a:lnTo>
                    <a:pt x="3746183" y="1323404"/>
                  </a:lnTo>
                  <a:lnTo>
                    <a:pt x="3654457" y="1323404"/>
                  </a:lnTo>
                  <a:lnTo>
                    <a:pt x="3654457" y="1307021"/>
                  </a:lnTo>
                  <a:lnTo>
                    <a:pt x="3455765" y="1307021"/>
                  </a:lnTo>
                  <a:lnTo>
                    <a:pt x="3455765" y="1280827"/>
                  </a:lnTo>
                  <a:lnTo>
                    <a:pt x="3342037" y="1280827"/>
                  </a:lnTo>
                  <a:lnTo>
                    <a:pt x="3342037" y="1268063"/>
                  </a:lnTo>
                  <a:lnTo>
                    <a:pt x="3001042" y="1268063"/>
                  </a:lnTo>
                  <a:lnTo>
                    <a:pt x="3001042" y="1226534"/>
                  </a:lnTo>
                  <a:lnTo>
                    <a:pt x="2599563" y="1226534"/>
                  </a:lnTo>
                  <a:lnTo>
                    <a:pt x="2599563" y="1190244"/>
                  </a:lnTo>
                  <a:lnTo>
                    <a:pt x="2576608" y="1190244"/>
                  </a:lnTo>
                  <a:lnTo>
                    <a:pt x="2576608" y="1108234"/>
                  </a:lnTo>
                  <a:lnTo>
                    <a:pt x="2523744" y="1108234"/>
                  </a:lnTo>
                  <a:lnTo>
                    <a:pt x="2523744" y="1100900"/>
                  </a:lnTo>
                  <a:lnTo>
                    <a:pt x="2485930" y="1100900"/>
                  </a:lnTo>
                  <a:lnTo>
                    <a:pt x="2485930" y="1077849"/>
                  </a:lnTo>
                  <a:lnTo>
                    <a:pt x="2390394" y="1077849"/>
                  </a:lnTo>
                  <a:lnTo>
                    <a:pt x="2390394" y="1071086"/>
                  </a:lnTo>
                  <a:lnTo>
                    <a:pt x="2258473" y="1071086"/>
                  </a:lnTo>
                  <a:lnTo>
                    <a:pt x="2258473" y="1060799"/>
                  </a:lnTo>
                  <a:lnTo>
                    <a:pt x="2232851" y="1060799"/>
                  </a:lnTo>
                  <a:lnTo>
                    <a:pt x="2232851" y="1050417"/>
                  </a:lnTo>
                  <a:lnTo>
                    <a:pt x="2194941" y="1050417"/>
                  </a:lnTo>
                  <a:lnTo>
                    <a:pt x="2194941" y="1040702"/>
                  </a:lnTo>
                  <a:lnTo>
                    <a:pt x="2181416" y="1040702"/>
                  </a:lnTo>
                  <a:lnTo>
                    <a:pt x="2181416" y="1030986"/>
                  </a:lnTo>
                  <a:lnTo>
                    <a:pt x="2164842" y="1030986"/>
                  </a:lnTo>
                  <a:lnTo>
                    <a:pt x="2164842" y="1015746"/>
                  </a:lnTo>
                  <a:lnTo>
                    <a:pt x="2149697" y="1015746"/>
                  </a:lnTo>
                  <a:lnTo>
                    <a:pt x="2149697" y="986028"/>
                  </a:lnTo>
                  <a:lnTo>
                    <a:pt x="2132076" y="986028"/>
                  </a:lnTo>
                  <a:lnTo>
                    <a:pt x="2132076" y="952595"/>
                  </a:lnTo>
                  <a:lnTo>
                    <a:pt x="2114836" y="952595"/>
                  </a:lnTo>
                  <a:lnTo>
                    <a:pt x="2114836" y="929450"/>
                  </a:lnTo>
                  <a:lnTo>
                    <a:pt x="2037779" y="929450"/>
                  </a:lnTo>
                  <a:lnTo>
                    <a:pt x="2037779" y="916115"/>
                  </a:lnTo>
                  <a:lnTo>
                    <a:pt x="1989201" y="916115"/>
                  </a:lnTo>
                  <a:lnTo>
                    <a:pt x="1989201" y="908780"/>
                  </a:lnTo>
                  <a:lnTo>
                    <a:pt x="1956911" y="908780"/>
                  </a:lnTo>
                  <a:lnTo>
                    <a:pt x="1956911" y="903351"/>
                  </a:lnTo>
                  <a:lnTo>
                    <a:pt x="1935099" y="903351"/>
                  </a:lnTo>
                  <a:lnTo>
                    <a:pt x="1935099" y="890588"/>
                  </a:lnTo>
                  <a:lnTo>
                    <a:pt x="1919859" y="890588"/>
                  </a:lnTo>
                  <a:lnTo>
                    <a:pt x="1919859" y="886873"/>
                  </a:lnTo>
                  <a:lnTo>
                    <a:pt x="1874901" y="886873"/>
                  </a:lnTo>
                  <a:lnTo>
                    <a:pt x="1874901" y="872871"/>
                  </a:lnTo>
                  <a:lnTo>
                    <a:pt x="1751552" y="872871"/>
                  </a:lnTo>
                  <a:lnTo>
                    <a:pt x="1751552" y="850392"/>
                  </a:lnTo>
                  <a:lnTo>
                    <a:pt x="1713738" y="850392"/>
                  </a:lnTo>
                  <a:lnTo>
                    <a:pt x="1713738" y="787051"/>
                  </a:lnTo>
                  <a:lnTo>
                    <a:pt x="1632871" y="787051"/>
                  </a:lnTo>
                  <a:lnTo>
                    <a:pt x="1632871" y="761619"/>
                  </a:lnTo>
                  <a:lnTo>
                    <a:pt x="1503426" y="761619"/>
                  </a:lnTo>
                  <a:lnTo>
                    <a:pt x="1503426" y="747713"/>
                  </a:lnTo>
                  <a:lnTo>
                    <a:pt x="1443800" y="747713"/>
                  </a:lnTo>
                  <a:lnTo>
                    <a:pt x="1443800" y="740950"/>
                  </a:lnTo>
                  <a:lnTo>
                    <a:pt x="1423130" y="740950"/>
                  </a:lnTo>
                  <a:lnTo>
                    <a:pt x="1423130" y="732663"/>
                  </a:lnTo>
                  <a:lnTo>
                    <a:pt x="1404938" y="732663"/>
                  </a:lnTo>
                  <a:lnTo>
                    <a:pt x="1404938" y="716661"/>
                  </a:lnTo>
                  <a:lnTo>
                    <a:pt x="1383602" y="716661"/>
                  </a:lnTo>
                  <a:lnTo>
                    <a:pt x="1383602" y="712375"/>
                  </a:lnTo>
                  <a:lnTo>
                    <a:pt x="1329500" y="712375"/>
                  </a:lnTo>
                  <a:lnTo>
                    <a:pt x="1329500" y="680180"/>
                  </a:lnTo>
                  <a:lnTo>
                    <a:pt x="1318641" y="680180"/>
                  </a:lnTo>
                  <a:lnTo>
                    <a:pt x="1318641" y="653415"/>
                  </a:lnTo>
                  <a:lnTo>
                    <a:pt x="1288066" y="653415"/>
                  </a:lnTo>
                  <a:lnTo>
                    <a:pt x="1288066" y="593217"/>
                  </a:lnTo>
                  <a:lnTo>
                    <a:pt x="1264730" y="593217"/>
                  </a:lnTo>
                  <a:lnTo>
                    <a:pt x="1264730" y="552545"/>
                  </a:lnTo>
                  <a:lnTo>
                    <a:pt x="1253871" y="552545"/>
                  </a:lnTo>
                  <a:lnTo>
                    <a:pt x="1253871" y="517208"/>
                  </a:lnTo>
                  <a:lnTo>
                    <a:pt x="1234631" y="517208"/>
                  </a:lnTo>
                  <a:lnTo>
                    <a:pt x="1234631" y="499586"/>
                  </a:lnTo>
                  <a:lnTo>
                    <a:pt x="1205103" y="499586"/>
                  </a:lnTo>
                  <a:lnTo>
                    <a:pt x="1205103" y="484918"/>
                  </a:lnTo>
                  <a:lnTo>
                    <a:pt x="1169575" y="484918"/>
                  </a:lnTo>
                  <a:lnTo>
                    <a:pt x="1169575" y="466154"/>
                  </a:lnTo>
                  <a:lnTo>
                    <a:pt x="1141667" y="466154"/>
                  </a:lnTo>
                  <a:lnTo>
                    <a:pt x="1141667" y="458248"/>
                  </a:lnTo>
                  <a:lnTo>
                    <a:pt x="1122807" y="458248"/>
                  </a:lnTo>
                  <a:lnTo>
                    <a:pt x="1122807" y="453390"/>
                  </a:lnTo>
                  <a:lnTo>
                    <a:pt x="1094804" y="453390"/>
                  </a:lnTo>
                  <a:lnTo>
                    <a:pt x="1094804" y="442817"/>
                  </a:lnTo>
                  <a:lnTo>
                    <a:pt x="957453" y="442817"/>
                  </a:lnTo>
                  <a:lnTo>
                    <a:pt x="957453" y="423196"/>
                  </a:lnTo>
                  <a:lnTo>
                    <a:pt x="939165" y="423196"/>
                  </a:lnTo>
                  <a:lnTo>
                    <a:pt x="939165" y="409670"/>
                  </a:lnTo>
                  <a:lnTo>
                    <a:pt x="914686" y="409670"/>
                  </a:lnTo>
                  <a:lnTo>
                    <a:pt x="914686" y="382238"/>
                  </a:lnTo>
                  <a:lnTo>
                    <a:pt x="885730" y="382238"/>
                  </a:lnTo>
                  <a:lnTo>
                    <a:pt x="885730" y="362807"/>
                  </a:lnTo>
                  <a:lnTo>
                    <a:pt x="870490" y="362807"/>
                  </a:lnTo>
                  <a:lnTo>
                    <a:pt x="870490" y="336042"/>
                  </a:lnTo>
                  <a:lnTo>
                    <a:pt x="845249" y="336042"/>
                  </a:lnTo>
                  <a:lnTo>
                    <a:pt x="845249" y="287465"/>
                  </a:lnTo>
                  <a:lnTo>
                    <a:pt x="824198" y="287465"/>
                  </a:lnTo>
                  <a:lnTo>
                    <a:pt x="824198" y="245459"/>
                  </a:lnTo>
                  <a:lnTo>
                    <a:pt x="792385" y="245459"/>
                  </a:lnTo>
                  <a:lnTo>
                    <a:pt x="792385" y="224219"/>
                  </a:lnTo>
                  <a:lnTo>
                    <a:pt x="768382" y="224219"/>
                  </a:lnTo>
                  <a:lnTo>
                    <a:pt x="768382" y="203549"/>
                  </a:lnTo>
                  <a:lnTo>
                    <a:pt x="699040" y="203549"/>
                  </a:lnTo>
                  <a:lnTo>
                    <a:pt x="699040" y="190119"/>
                  </a:lnTo>
                  <a:lnTo>
                    <a:pt x="682657" y="190119"/>
                  </a:lnTo>
                  <a:lnTo>
                    <a:pt x="682657" y="181642"/>
                  </a:lnTo>
                  <a:lnTo>
                    <a:pt x="645509" y="181642"/>
                  </a:lnTo>
                  <a:lnTo>
                    <a:pt x="645509" y="174974"/>
                  </a:lnTo>
                  <a:lnTo>
                    <a:pt x="609029" y="174974"/>
                  </a:lnTo>
                  <a:lnTo>
                    <a:pt x="609029" y="167640"/>
                  </a:lnTo>
                  <a:lnTo>
                    <a:pt x="579882" y="167640"/>
                  </a:lnTo>
                  <a:lnTo>
                    <a:pt x="579882" y="154877"/>
                  </a:lnTo>
                  <a:lnTo>
                    <a:pt x="498443" y="154877"/>
                  </a:lnTo>
                  <a:lnTo>
                    <a:pt x="498443" y="142780"/>
                  </a:lnTo>
                  <a:lnTo>
                    <a:pt x="431006" y="142780"/>
                  </a:lnTo>
                  <a:lnTo>
                    <a:pt x="431006" y="122682"/>
                  </a:lnTo>
                  <a:lnTo>
                    <a:pt x="403574" y="122682"/>
                  </a:lnTo>
                  <a:lnTo>
                    <a:pt x="403574" y="100965"/>
                  </a:lnTo>
                  <a:lnTo>
                    <a:pt x="369570" y="100965"/>
                  </a:lnTo>
                  <a:lnTo>
                    <a:pt x="369570" y="81344"/>
                  </a:lnTo>
                  <a:lnTo>
                    <a:pt x="302038" y="81344"/>
                  </a:lnTo>
                  <a:lnTo>
                    <a:pt x="302038" y="73438"/>
                  </a:lnTo>
                  <a:lnTo>
                    <a:pt x="199930" y="73438"/>
                  </a:lnTo>
                  <a:lnTo>
                    <a:pt x="199930" y="60008"/>
                  </a:lnTo>
                  <a:lnTo>
                    <a:pt x="144590" y="60008"/>
                  </a:lnTo>
                  <a:lnTo>
                    <a:pt x="144590" y="50959"/>
                  </a:lnTo>
                  <a:lnTo>
                    <a:pt x="96488" y="50959"/>
                  </a:lnTo>
                  <a:lnTo>
                    <a:pt x="96488" y="44863"/>
                  </a:lnTo>
                  <a:lnTo>
                    <a:pt x="78867" y="44863"/>
                  </a:lnTo>
                  <a:lnTo>
                    <a:pt x="78867" y="30861"/>
                  </a:lnTo>
                  <a:lnTo>
                    <a:pt x="50292" y="30861"/>
                  </a:lnTo>
                  <a:lnTo>
                    <a:pt x="50292" y="22384"/>
                  </a:lnTo>
                  <a:lnTo>
                    <a:pt x="33338" y="22384"/>
                  </a:lnTo>
                  <a:lnTo>
                    <a:pt x="33338"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27" name="Group 16826">
            <a:extLst>
              <a:ext uri="{FF2B5EF4-FFF2-40B4-BE49-F238E27FC236}">
                <a16:creationId xmlns:a16="http://schemas.microsoft.com/office/drawing/2014/main" id="{934AE84A-56E9-1066-660C-E40D2C3581C9}"/>
              </a:ext>
            </a:extLst>
          </p:cNvPr>
          <p:cNvGrpSpPr/>
          <p:nvPr/>
        </p:nvGrpSpPr>
        <p:grpSpPr>
          <a:xfrm>
            <a:off x="644389" y="1431150"/>
            <a:ext cx="6925055" cy="2062527"/>
            <a:chOff x="3467100" y="2552700"/>
            <a:chExt cx="5257513" cy="1752409"/>
          </a:xfrm>
        </p:grpSpPr>
        <p:sp>
          <p:nvSpPr>
            <p:cNvPr id="16828" name="Freeform: Shape 16827">
              <a:extLst>
                <a:ext uri="{FF2B5EF4-FFF2-40B4-BE49-F238E27FC236}">
                  <a16:creationId xmlns:a16="http://schemas.microsoft.com/office/drawing/2014/main" id="{103CEDBA-E06D-D299-2A78-C42468FDE204}"/>
                </a:ext>
              </a:extLst>
            </p:cNvPr>
            <p:cNvSpPr/>
            <p:nvPr/>
          </p:nvSpPr>
          <p:spPr>
            <a:xfrm>
              <a:off x="3497580" y="2588491"/>
              <a:ext cx="5196363" cy="1676876"/>
            </a:xfrm>
            <a:custGeom>
              <a:avLst/>
              <a:gdLst>
                <a:gd name="connsiteX0" fmla="*/ 5196364 w 5196363"/>
                <a:gd name="connsiteY0" fmla="*/ 1676876 h 1676876"/>
                <a:gd name="connsiteX1" fmla="*/ 3869150 w 5196363"/>
                <a:gd name="connsiteY1" fmla="*/ 1676876 h 1676876"/>
                <a:gd name="connsiteX2" fmla="*/ 3869150 w 5196363"/>
                <a:gd name="connsiteY2" fmla="*/ 1600200 h 1676876"/>
                <a:gd name="connsiteX3" fmla="*/ 3667316 w 5196363"/>
                <a:gd name="connsiteY3" fmla="*/ 1600200 h 1676876"/>
                <a:gd name="connsiteX4" fmla="*/ 3667316 w 5196363"/>
                <a:gd name="connsiteY4" fmla="*/ 1580769 h 1676876"/>
                <a:gd name="connsiteX5" fmla="*/ 3473958 w 5196363"/>
                <a:gd name="connsiteY5" fmla="*/ 1580769 h 1676876"/>
                <a:gd name="connsiteX6" fmla="*/ 3473958 w 5196363"/>
                <a:gd name="connsiteY6" fmla="*/ 1518761 h 1676876"/>
                <a:gd name="connsiteX7" fmla="*/ 3431381 w 5196363"/>
                <a:gd name="connsiteY7" fmla="*/ 1518761 h 1676876"/>
                <a:gd name="connsiteX8" fmla="*/ 3431381 w 5196363"/>
                <a:gd name="connsiteY8" fmla="*/ 1483519 h 1676876"/>
                <a:gd name="connsiteX9" fmla="*/ 3042285 w 5196363"/>
                <a:gd name="connsiteY9" fmla="*/ 1483519 h 1676876"/>
                <a:gd name="connsiteX10" fmla="*/ 3042285 w 5196363"/>
                <a:gd name="connsiteY10" fmla="*/ 1439704 h 1676876"/>
                <a:gd name="connsiteX11" fmla="*/ 2999708 w 5196363"/>
                <a:gd name="connsiteY11" fmla="*/ 1439704 h 1676876"/>
                <a:gd name="connsiteX12" fmla="*/ 2999708 w 5196363"/>
                <a:gd name="connsiteY12" fmla="*/ 1383792 h 1676876"/>
                <a:gd name="connsiteX13" fmla="*/ 2957227 w 5196363"/>
                <a:gd name="connsiteY13" fmla="*/ 1383792 h 1676876"/>
                <a:gd name="connsiteX14" fmla="*/ 2957227 w 5196363"/>
                <a:gd name="connsiteY14" fmla="*/ 1358265 h 1676876"/>
                <a:gd name="connsiteX15" fmla="*/ 2816161 w 5196363"/>
                <a:gd name="connsiteY15" fmla="*/ 1358265 h 1676876"/>
                <a:gd name="connsiteX16" fmla="*/ 2816161 w 5196363"/>
                <a:gd name="connsiteY16" fmla="*/ 1346073 h 1676876"/>
                <a:gd name="connsiteX17" fmla="*/ 2679954 w 5196363"/>
                <a:gd name="connsiteY17" fmla="*/ 1346073 h 1676876"/>
                <a:gd name="connsiteX18" fmla="*/ 2679954 w 5196363"/>
                <a:gd name="connsiteY18" fmla="*/ 1327880 h 1676876"/>
                <a:gd name="connsiteX19" fmla="*/ 2624042 w 5196363"/>
                <a:gd name="connsiteY19" fmla="*/ 1327880 h 1676876"/>
                <a:gd name="connsiteX20" fmla="*/ 2624042 w 5196363"/>
                <a:gd name="connsiteY20" fmla="*/ 1291400 h 1676876"/>
                <a:gd name="connsiteX21" fmla="*/ 2565654 w 5196363"/>
                <a:gd name="connsiteY21" fmla="*/ 1291400 h 1676876"/>
                <a:gd name="connsiteX22" fmla="*/ 2565654 w 5196363"/>
                <a:gd name="connsiteY22" fmla="*/ 1269492 h 1676876"/>
                <a:gd name="connsiteX23" fmla="*/ 2524316 w 5196363"/>
                <a:gd name="connsiteY23" fmla="*/ 1269492 h 1676876"/>
                <a:gd name="connsiteX24" fmla="*/ 2524316 w 5196363"/>
                <a:gd name="connsiteY24" fmla="*/ 1251299 h 1676876"/>
                <a:gd name="connsiteX25" fmla="*/ 2473261 w 5196363"/>
                <a:gd name="connsiteY25" fmla="*/ 1251299 h 1676876"/>
                <a:gd name="connsiteX26" fmla="*/ 2473261 w 5196363"/>
                <a:gd name="connsiteY26" fmla="*/ 1233011 h 1676876"/>
                <a:gd name="connsiteX27" fmla="*/ 2209324 w 5196363"/>
                <a:gd name="connsiteY27" fmla="*/ 1233011 h 1676876"/>
                <a:gd name="connsiteX28" fmla="*/ 2209324 w 5196363"/>
                <a:gd name="connsiteY28" fmla="*/ 1203865 h 1676876"/>
                <a:gd name="connsiteX29" fmla="*/ 2155889 w 5196363"/>
                <a:gd name="connsiteY29" fmla="*/ 1203865 h 1676876"/>
                <a:gd name="connsiteX30" fmla="*/ 2155889 w 5196363"/>
                <a:gd name="connsiteY30" fmla="*/ 1164908 h 1676876"/>
                <a:gd name="connsiteX31" fmla="*/ 2118170 w 5196363"/>
                <a:gd name="connsiteY31" fmla="*/ 1164908 h 1676876"/>
                <a:gd name="connsiteX32" fmla="*/ 2118170 w 5196363"/>
                <a:gd name="connsiteY32" fmla="*/ 1126046 h 1676876"/>
                <a:gd name="connsiteX33" fmla="*/ 2084165 w 5196363"/>
                <a:gd name="connsiteY33" fmla="*/ 1126046 h 1676876"/>
                <a:gd name="connsiteX34" fmla="*/ 2084165 w 5196363"/>
                <a:gd name="connsiteY34" fmla="*/ 1116235 h 1676876"/>
                <a:gd name="connsiteX35" fmla="*/ 1988058 w 5196363"/>
                <a:gd name="connsiteY35" fmla="*/ 1116235 h 1676876"/>
                <a:gd name="connsiteX36" fmla="*/ 1988058 w 5196363"/>
                <a:gd name="connsiteY36" fmla="*/ 1084707 h 1676876"/>
                <a:gd name="connsiteX37" fmla="*/ 1926050 w 5196363"/>
                <a:gd name="connsiteY37" fmla="*/ 1084707 h 1676876"/>
                <a:gd name="connsiteX38" fmla="*/ 1926050 w 5196363"/>
                <a:gd name="connsiteY38" fmla="*/ 1071277 h 1676876"/>
                <a:gd name="connsiteX39" fmla="*/ 1829943 w 5196363"/>
                <a:gd name="connsiteY39" fmla="*/ 1071277 h 1676876"/>
                <a:gd name="connsiteX40" fmla="*/ 1829943 w 5196363"/>
                <a:gd name="connsiteY40" fmla="*/ 1046131 h 1676876"/>
                <a:gd name="connsiteX41" fmla="*/ 1753362 w 5196363"/>
                <a:gd name="connsiteY41" fmla="*/ 1046131 h 1676876"/>
                <a:gd name="connsiteX42" fmla="*/ 1753362 w 5196363"/>
                <a:gd name="connsiteY42" fmla="*/ 999554 h 1676876"/>
                <a:gd name="connsiteX43" fmla="*/ 1720596 w 5196363"/>
                <a:gd name="connsiteY43" fmla="*/ 999554 h 1676876"/>
                <a:gd name="connsiteX44" fmla="*/ 1720596 w 5196363"/>
                <a:gd name="connsiteY44" fmla="*/ 910780 h 1676876"/>
                <a:gd name="connsiteX45" fmla="*/ 1676781 w 5196363"/>
                <a:gd name="connsiteY45" fmla="*/ 910780 h 1676876"/>
                <a:gd name="connsiteX46" fmla="*/ 1676781 w 5196363"/>
                <a:gd name="connsiteY46" fmla="*/ 872871 h 1676876"/>
                <a:gd name="connsiteX47" fmla="*/ 1595914 w 5196363"/>
                <a:gd name="connsiteY47" fmla="*/ 872871 h 1676876"/>
                <a:gd name="connsiteX48" fmla="*/ 1595914 w 5196363"/>
                <a:gd name="connsiteY48" fmla="*/ 863346 h 1676876"/>
                <a:gd name="connsiteX49" fmla="*/ 1529620 w 5196363"/>
                <a:gd name="connsiteY49" fmla="*/ 863346 h 1676876"/>
                <a:gd name="connsiteX50" fmla="*/ 1529620 w 5196363"/>
                <a:gd name="connsiteY50" fmla="*/ 842677 h 1676876"/>
                <a:gd name="connsiteX51" fmla="*/ 1461516 w 5196363"/>
                <a:gd name="connsiteY51" fmla="*/ 842677 h 1676876"/>
                <a:gd name="connsiteX52" fmla="*/ 1461516 w 5196363"/>
                <a:gd name="connsiteY52" fmla="*/ 820769 h 1676876"/>
                <a:gd name="connsiteX53" fmla="*/ 1357027 w 5196363"/>
                <a:gd name="connsiteY53" fmla="*/ 820769 h 1676876"/>
                <a:gd name="connsiteX54" fmla="*/ 1357027 w 5196363"/>
                <a:gd name="connsiteY54" fmla="*/ 790766 h 1676876"/>
                <a:gd name="connsiteX55" fmla="*/ 1326642 w 5196363"/>
                <a:gd name="connsiteY55" fmla="*/ 790766 h 1676876"/>
                <a:gd name="connsiteX56" fmla="*/ 1326642 w 5196363"/>
                <a:gd name="connsiteY56" fmla="*/ 766096 h 1676876"/>
                <a:gd name="connsiteX57" fmla="*/ 1286351 w 5196363"/>
                <a:gd name="connsiteY57" fmla="*/ 766096 h 1676876"/>
                <a:gd name="connsiteX58" fmla="*/ 1286351 w 5196363"/>
                <a:gd name="connsiteY58" fmla="*/ 646557 h 1676876"/>
                <a:gd name="connsiteX59" fmla="*/ 1264825 w 5196363"/>
                <a:gd name="connsiteY59" fmla="*/ 646557 h 1676876"/>
                <a:gd name="connsiteX60" fmla="*/ 1264825 w 5196363"/>
                <a:gd name="connsiteY60" fmla="*/ 612077 h 1676876"/>
                <a:gd name="connsiteX61" fmla="*/ 1201293 w 5196363"/>
                <a:gd name="connsiteY61" fmla="*/ 612077 h 1676876"/>
                <a:gd name="connsiteX62" fmla="*/ 1201293 w 5196363"/>
                <a:gd name="connsiteY62" fmla="*/ 583692 h 1676876"/>
                <a:gd name="connsiteX63" fmla="*/ 1179481 w 5196363"/>
                <a:gd name="connsiteY63" fmla="*/ 583692 h 1676876"/>
                <a:gd name="connsiteX64" fmla="*/ 1179481 w 5196363"/>
                <a:gd name="connsiteY64" fmla="*/ 561785 h 1676876"/>
                <a:gd name="connsiteX65" fmla="*/ 1089470 w 5196363"/>
                <a:gd name="connsiteY65" fmla="*/ 561785 h 1676876"/>
                <a:gd name="connsiteX66" fmla="*/ 1089470 w 5196363"/>
                <a:gd name="connsiteY66" fmla="*/ 545973 h 1676876"/>
                <a:gd name="connsiteX67" fmla="*/ 976408 w 5196363"/>
                <a:gd name="connsiteY67" fmla="*/ 545973 h 1676876"/>
                <a:gd name="connsiteX68" fmla="*/ 976408 w 5196363"/>
                <a:gd name="connsiteY68" fmla="*/ 522923 h 1676876"/>
                <a:gd name="connsiteX69" fmla="*/ 913162 w 5196363"/>
                <a:gd name="connsiteY69" fmla="*/ 522923 h 1676876"/>
                <a:gd name="connsiteX70" fmla="*/ 913162 w 5196363"/>
                <a:gd name="connsiteY70" fmla="*/ 485013 h 1676876"/>
                <a:gd name="connsiteX71" fmla="*/ 869347 w 5196363"/>
                <a:gd name="connsiteY71" fmla="*/ 485013 h 1676876"/>
                <a:gd name="connsiteX72" fmla="*/ 869347 w 5196363"/>
                <a:gd name="connsiteY72" fmla="*/ 423196 h 1676876"/>
                <a:gd name="connsiteX73" fmla="*/ 844963 w 5196363"/>
                <a:gd name="connsiteY73" fmla="*/ 423196 h 1676876"/>
                <a:gd name="connsiteX74" fmla="*/ 844963 w 5196363"/>
                <a:gd name="connsiteY74" fmla="*/ 364808 h 1676876"/>
                <a:gd name="connsiteX75" fmla="*/ 826103 w 5196363"/>
                <a:gd name="connsiteY75" fmla="*/ 364808 h 1676876"/>
                <a:gd name="connsiteX76" fmla="*/ 826103 w 5196363"/>
                <a:gd name="connsiteY76" fmla="*/ 316135 h 1676876"/>
                <a:gd name="connsiteX77" fmla="*/ 772097 w 5196363"/>
                <a:gd name="connsiteY77" fmla="*/ 316135 h 1676876"/>
                <a:gd name="connsiteX78" fmla="*/ 772097 w 5196363"/>
                <a:gd name="connsiteY78" fmla="*/ 272415 h 1676876"/>
                <a:gd name="connsiteX79" fmla="*/ 693039 w 5196363"/>
                <a:gd name="connsiteY79" fmla="*/ 272415 h 1676876"/>
                <a:gd name="connsiteX80" fmla="*/ 693039 w 5196363"/>
                <a:gd name="connsiteY80" fmla="*/ 256604 h 1676876"/>
                <a:gd name="connsiteX81" fmla="*/ 659035 w 5196363"/>
                <a:gd name="connsiteY81" fmla="*/ 256604 h 1676876"/>
                <a:gd name="connsiteX82" fmla="*/ 659035 w 5196363"/>
                <a:gd name="connsiteY82" fmla="*/ 242030 h 1676876"/>
                <a:gd name="connsiteX83" fmla="*/ 597027 w 5196363"/>
                <a:gd name="connsiteY83" fmla="*/ 242030 h 1676876"/>
                <a:gd name="connsiteX84" fmla="*/ 597027 w 5196363"/>
                <a:gd name="connsiteY84" fmla="*/ 231077 h 1676876"/>
                <a:gd name="connsiteX85" fmla="*/ 491204 w 5196363"/>
                <a:gd name="connsiteY85" fmla="*/ 231077 h 1676876"/>
                <a:gd name="connsiteX86" fmla="*/ 491204 w 5196363"/>
                <a:gd name="connsiteY86" fmla="*/ 214027 h 1676876"/>
                <a:gd name="connsiteX87" fmla="*/ 429196 w 5196363"/>
                <a:gd name="connsiteY87" fmla="*/ 214027 h 1676876"/>
                <a:gd name="connsiteX88" fmla="*/ 429196 w 5196363"/>
                <a:gd name="connsiteY88" fmla="*/ 100965 h 1676876"/>
                <a:gd name="connsiteX89" fmla="*/ 376904 w 5196363"/>
                <a:gd name="connsiteY89" fmla="*/ 100965 h 1676876"/>
                <a:gd name="connsiteX90" fmla="*/ 376904 w 5196363"/>
                <a:gd name="connsiteY90" fmla="*/ 65723 h 1676876"/>
                <a:gd name="connsiteX91" fmla="*/ 322231 w 5196363"/>
                <a:gd name="connsiteY91" fmla="*/ 65723 h 1676876"/>
                <a:gd name="connsiteX92" fmla="*/ 322231 w 5196363"/>
                <a:gd name="connsiteY92" fmla="*/ 52292 h 1676876"/>
                <a:gd name="connsiteX93" fmla="*/ 290608 w 5196363"/>
                <a:gd name="connsiteY93" fmla="*/ 52292 h 1676876"/>
                <a:gd name="connsiteX94" fmla="*/ 290608 w 5196363"/>
                <a:gd name="connsiteY94" fmla="*/ 32861 h 1676876"/>
                <a:gd name="connsiteX95" fmla="*/ 198215 w 5196363"/>
                <a:gd name="connsiteY95" fmla="*/ 32861 h 1676876"/>
                <a:gd name="connsiteX96" fmla="*/ 198215 w 5196363"/>
                <a:gd name="connsiteY96" fmla="*/ 17050 h 1676876"/>
                <a:gd name="connsiteX97" fmla="*/ 96012 w 5196363"/>
                <a:gd name="connsiteY97" fmla="*/ 17050 h 1676876"/>
                <a:gd name="connsiteX98" fmla="*/ 96012 w 5196363"/>
                <a:gd name="connsiteY98" fmla="*/ 0 h 1676876"/>
                <a:gd name="connsiteX99" fmla="*/ 0 w 5196363"/>
                <a:gd name="connsiteY99" fmla="*/ 0 h 167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196363" h="1676876">
                  <a:moveTo>
                    <a:pt x="5196364" y="1676876"/>
                  </a:moveTo>
                  <a:lnTo>
                    <a:pt x="3869150" y="1676876"/>
                  </a:lnTo>
                  <a:lnTo>
                    <a:pt x="3869150" y="1600200"/>
                  </a:lnTo>
                  <a:lnTo>
                    <a:pt x="3667316" y="1600200"/>
                  </a:lnTo>
                  <a:lnTo>
                    <a:pt x="3667316" y="1580769"/>
                  </a:lnTo>
                  <a:lnTo>
                    <a:pt x="3473958" y="1580769"/>
                  </a:lnTo>
                  <a:lnTo>
                    <a:pt x="3473958" y="1518761"/>
                  </a:lnTo>
                  <a:lnTo>
                    <a:pt x="3431381" y="1518761"/>
                  </a:lnTo>
                  <a:lnTo>
                    <a:pt x="3431381" y="1483519"/>
                  </a:lnTo>
                  <a:lnTo>
                    <a:pt x="3042285" y="1483519"/>
                  </a:lnTo>
                  <a:lnTo>
                    <a:pt x="3042285" y="1439704"/>
                  </a:lnTo>
                  <a:lnTo>
                    <a:pt x="2999708" y="1439704"/>
                  </a:lnTo>
                  <a:lnTo>
                    <a:pt x="2999708" y="1383792"/>
                  </a:lnTo>
                  <a:lnTo>
                    <a:pt x="2957227" y="1383792"/>
                  </a:lnTo>
                  <a:lnTo>
                    <a:pt x="2957227" y="1358265"/>
                  </a:lnTo>
                  <a:lnTo>
                    <a:pt x="2816161" y="1358265"/>
                  </a:lnTo>
                  <a:lnTo>
                    <a:pt x="2816161" y="1346073"/>
                  </a:lnTo>
                  <a:lnTo>
                    <a:pt x="2679954" y="1346073"/>
                  </a:lnTo>
                  <a:lnTo>
                    <a:pt x="2679954" y="1327880"/>
                  </a:lnTo>
                  <a:lnTo>
                    <a:pt x="2624042" y="1327880"/>
                  </a:lnTo>
                  <a:lnTo>
                    <a:pt x="2624042" y="1291400"/>
                  </a:lnTo>
                  <a:lnTo>
                    <a:pt x="2565654" y="1291400"/>
                  </a:lnTo>
                  <a:lnTo>
                    <a:pt x="2565654" y="1269492"/>
                  </a:lnTo>
                  <a:lnTo>
                    <a:pt x="2524316" y="1269492"/>
                  </a:lnTo>
                  <a:lnTo>
                    <a:pt x="2524316" y="1251299"/>
                  </a:lnTo>
                  <a:lnTo>
                    <a:pt x="2473261" y="1251299"/>
                  </a:lnTo>
                  <a:lnTo>
                    <a:pt x="2473261" y="1233011"/>
                  </a:lnTo>
                  <a:lnTo>
                    <a:pt x="2209324" y="1233011"/>
                  </a:lnTo>
                  <a:lnTo>
                    <a:pt x="2209324" y="1203865"/>
                  </a:lnTo>
                  <a:lnTo>
                    <a:pt x="2155889" y="1203865"/>
                  </a:lnTo>
                  <a:lnTo>
                    <a:pt x="2155889" y="1164908"/>
                  </a:lnTo>
                  <a:lnTo>
                    <a:pt x="2118170" y="1164908"/>
                  </a:lnTo>
                  <a:lnTo>
                    <a:pt x="2118170" y="1126046"/>
                  </a:lnTo>
                  <a:lnTo>
                    <a:pt x="2084165" y="1126046"/>
                  </a:lnTo>
                  <a:lnTo>
                    <a:pt x="2084165" y="1116235"/>
                  </a:lnTo>
                  <a:lnTo>
                    <a:pt x="1988058" y="1116235"/>
                  </a:lnTo>
                  <a:lnTo>
                    <a:pt x="1988058" y="1084707"/>
                  </a:lnTo>
                  <a:lnTo>
                    <a:pt x="1926050" y="1084707"/>
                  </a:lnTo>
                  <a:lnTo>
                    <a:pt x="1926050" y="1071277"/>
                  </a:lnTo>
                  <a:lnTo>
                    <a:pt x="1829943" y="1071277"/>
                  </a:lnTo>
                  <a:lnTo>
                    <a:pt x="1829943" y="1046131"/>
                  </a:lnTo>
                  <a:lnTo>
                    <a:pt x="1753362" y="1046131"/>
                  </a:lnTo>
                  <a:lnTo>
                    <a:pt x="1753362" y="999554"/>
                  </a:lnTo>
                  <a:lnTo>
                    <a:pt x="1720596" y="999554"/>
                  </a:lnTo>
                  <a:lnTo>
                    <a:pt x="1720596" y="910780"/>
                  </a:lnTo>
                  <a:lnTo>
                    <a:pt x="1676781" y="910780"/>
                  </a:lnTo>
                  <a:lnTo>
                    <a:pt x="1676781" y="872871"/>
                  </a:lnTo>
                  <a:lnTo>
                    <a:pt x="1595914" y="872871"/>
                  </a:lnTo>
                  <a:lnTo>
                    <a:pt x="1595914" y="863346"/>
                  </a:lnTo>
                  <a:lnTo>
                    <a:pt x="1529620" y="863346"/>
                  </a:lnTo>
                  <a:lnTo>
                    <a:pt x="1529620" y="842677"/>
                  </a:lnTo>
                  <a:lnTo>
                    <a:pt x="1461516" y="842677"/>
                  </a:lnTo>
                  <a:lnTo>
                    <a:pt x="1461516" y="820769"/>
                  </a:lnTo>
                  <a:lnTo>
                    <a:pt x="1357027" y="820769"/>
                  </a:lnTo>
                  <a:lnTo>
                    <a:pt x="1357027" y="790766"/>
                  </a:lnTo>
                  <a:lnTo>
                    <a:pt x="1326642" y="790766"/>
                  </a:lnTo>
                  <a:lnTo>
                    <a:pt x="1326642" y="766096"/>
                  </a:lnTo>
                  <a:lnTo>
                    <a:pt x="1286351" y="766096"/>
                  </a:lnTo>
                  <a:lnTo>
                    <a:pt x="1286351" y="646557"/>
                  </a:lnTo>
                  <a:lnTo>
                    <a:pt x="1264825" y="646557"/>
                  </a:lnTo>
                  <a:lnTo>
                    <a:pt x="1264825" y="612077"/>
                  </a:lnTo>
                  <a:lnTo>
                    <a:pt x="1201293" y="612077"/>
                  </a:lnTo>
                  <a:lnTo>
                    <a:pt x="1201293" y="583692"/>
                  </a:lnTo>
                  <a:lnTo>
                    <a:pt x="1179481" y="583692"/>
                  </a:lnTo>
                  <a:lnTo>
                    <a:pt x="1179481" y="561785"/>
                  </a:lnTo>
                  <a:lnTo>
                    <a:pt x="1089470" y="561785"/>
                  </a:lnTo>
                  <a:lnTo>
                    <a:pt x="1089470" y="545973"/>
                  </a:lnTo>
                  <a:lnTo>
                    <a:pt x="976408" y="545973"/>
                  </a:lnTo>
                  <a:lnTo>
                    <a:pt x="976408" y="522923"/>
                  </a:lnTo>
                  <a:lnTo>
                    <a:pt x="913162" y="522923"/>
                  </a:lnTo>
                  <a:lnTo>
                    <a:pt x="913162" y="485013"/>
                  </a:lnTo>
                  <a:lnTo>
                    <a:pt x="869347" y="485013"/>
                  </a:lnTo>
                  <a:lnTo>
                    <a:pt x="869347" y="423196"/>
                  </a:lnTo>
                  <a:lnTo>
                    <a:pt x="844963" y="423196"/>
                  </a:lnTo>
                  <a:lnTo>
                    <a:pt x="844963" y="364808"/>
                  </a:lnTo>
                  <a:lnTo>
                    <a:pt x="826103" y="364808"/>
                  </a:lnTo>
                  <a:lnTo>
                    <a:pt x="826103" y="316135"/>
                  </a:lnTo>
                  <a:lnTo>
                    <a:pt x="772097" y="316135"/>
                  </a:lnTo>
                  <a:lnTo>
                    <a:pt x="772097" y="272415"/>
                  </a:lnTo>
                  <a:lnTo>
                    <a:pt x="693039" y="272415"/>
                  </a:lnTo>
                  <a:lnTo>
                    <a:pt x="693039" y="256604"/>
                  </a:lnTo>
                  <a:lnTo>
                    <a:pt x="659035" y="256604"/>
                  </a:lnTo>
                  <a:lnTo>
                    <a:pt x="659035" y="242030"/>
                  </a:lnTo>
                  <a:lnTo>
                    <a:pt x="597027" y="242030"/>
                  </a:lnTo>
                  <a:lnTo>
                    <a:pt x="597027" y="231077"/>
                  </a:lnTo>
                  <a:lnTo>
                    <a:pt x="491204" y="231077"/>
                  </a:lnTo>
                  <a:lnTo>
                    <a:pt x="491204" y="214027"/>
                  </a:lnTo>
                  <a:lnTo>
                    <a:pt x="429196" y="214027"/>
                  </a:lnTo>
                  <a:lnTo>
                    <a:pt x="429196" y="100965"/>
                  </a:lnTo>
                  <a:lnTo>
                    <a:pt x="376904" y="100965"/>
                  </a:lnTo>
                  <a:lnTo>
                    <a:pt x="376904" y="65723"/>
                  </a:lnTo>
                  <a:lnTo>
                    <a:pt x="322231" y="65723"/>
                  </a:lnTo>
                  <a:lnTo>
                    <a:pt x="322231" y="52292"/>
                  </a:lnTo>
                  <a:lnTo>
                    <a:pt x="290608" y="52292"/>
                  </a:lnTo>
                  <a:lnTo>
                    <a:pt x="290608" y="32861"/>
                  </a:lnTo>
                  <a:lnTo>
                    <a:pt x="198215" y="32861"/>
                  </a:lnTo>
                  <a:lnTo>
                    <a:pt x="198215" y="17050"/>
                  </a:lnTo>
                  <a:lnTo>
                    <a:pt x="96012" y="17050"/>
                  </a:lnTo>
                  <a:lnTo>
                    <a:pt x="96012"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6829" name="Graphic 112">
              <a:extLst>
                <a:ext uri="{FF2B5EF4-FFF2-40B4-BE49-F238E27FC236}">
                  <a16:creationId xmlns:a16="http://schemas.microsoft.com/office/drawing/2014/main" id="{B542147A-5106-DCB6-5E9B-3430D5FBCFF7}"/>
                </a:ext>
              </a:extLst>
            </p:cNvPr>
            <p:cNvGrpSpPr/>
            <p:nvPr/>
          </p:nvGrpSpPr>
          <p:grpSpPr>
            <a:xfrm>
              <a:off x="3467100" y="2552700"/>
              <a:ext cx="75723" cy="75723"/>
              <a:chOff x="3467100" y="2552700"/>
              <a:chExt cx="75723" cy="75723"/>
            </a:xfrm>
          </p:grpSpPr>
          <p:sp>
            <p:nvSpPr>
              <p:cNvPr id="17151" name="Freeform: Shape 17150">
                <a:extLst>
                  <a:ext uri="{FF2B5EF4-FFF2-40B4-BE49-F238E27FC236}">
                    <a16:creationId xmlns:a16="http://schemas.microsoft.com/office/drawing/2014/main" id="{00E6FFA8-26C2-8442-9AE2-DF524913122D}"/>
                  </a:ext>
                </a:extLst>
              </p:cNvPr>
              <p:cNvSpPr/>
              <p:nvPr/>
            </p:nvSpPr>
            <p:spPr>
              <a:xfrm>
                <a:off x="3504914" y="2552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2" name="Freeform: Shape 17151">
                <a:extLst>
                  <a:ext uri="{FF2B5EF4-FFF2-40B4-BE49-F238E27FC236}">
                    <a16:creationId xmlns:a16="http://schemas.microsoft.com/office/drawing/2014/main" id="{A1DD6BB9-E4FE-260A-6277-CFA6E390B450}"/>
                  </a:ext>
                </a:extLst>
              </p:cNvPr>
              <p:cNvSpPr/>
              <p:nvPr/>
            </p:nvSpPr>
            <p:spPr>
              <a:xfrm>
                <a:off x="3467100" y="2590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0" name="Graphic 112">
              <a:extLst>
                <a:ext uri="{FF2B5EF4-FFF2-40B4-BE49-F238E27FC236}">
                  <a16:creationId xmlns:a16="http://schemas.microsoft.com/office/drawing/2014/main" id="{1DAB8899-C4FE-A8FC-38A3-E53B9B4C81AF}"/>
                </a:ext>
              </a:extLst>
            </p:cNvPr>
            <p:cNvGrpSpPr/>
            <p:nvPr/>
          </p:nvGrpSpPr>
          <p:grpSpPr>
            <a:xfrm>
              <a:off x="3935920" y="2766726"/>
              <a:ext cx="75723" cy="75628"/>
              <a:chOff x="3935920" y="2766726"/>
              <a:chExt cx="75723" cy="75628"/>
            </a:xfrm>
          </p:grpSpPr>
          <p:sp>
            <p:nvSpPr>
              <p:cNvPr id="17149" name="Freeform: Shape 17148">
                <a:extLst>
                  <a:ext uri="{FF2B5EF4-FFF2-40B4-BE49-F238E27FC236}">
                    <a16:creationId xmlns:a16="http://schemas.microsoft.com/office/drawing/2014/main" id="{CF7DE9A0-2711-84B7-8537-071A2E8587BD}"/>
                  </a:ext>
                </a:extLst>
              </p:cNvPr>
              <p:cNvSpPr/>
              <p:nvPr/>
            </p:nvSpPr>
            <p:spPr>
              <a:xfrm>
                <a:off x="3973830"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50" name="Freeform: Shape 17149">
                <a:extLst>
                  <a:ext uri="{FF2B5EF4-FFF2-40B4-BE49-F238E27FC236}">
                    <a16:creationId xmlns:a16="http://schemas.microsoft.com/office/drawing/2014/main" id="{18B6F01A-2D1A-5813-19E9-D907EEA3B1F6}"/>
                  </a:ext>
                </a:extLst>
              </p:cNvPr>
              <p:cNvSpPr/>
              <p:nvPr/>
            </p:nvSpPr>
            <p:spPr>
              <a:xfrm>
                <a:off x="393592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1" name="Graphic 112">
              <a:extLst>
                <a:ext uri="{FF2B5EF4-FFF2-40B4-BE49-F238E27FC236}">
                  <a16:creationId xmlns:a16="http://schemas.microsoft.com/office/drawing/2014/main" id="{A1FF38AF-EE51-4D53-0CFE-817A796910E7}"/>
                </a:ext>
              </a:extLst>
            </p:cNvPr>
            <p:cNvGrpSpPr/>
            <p:nvPr/>
          </p:nvGrpSpPr>
          <p:grpSpPr>
            <a:xfrm>
              <a:off x="3901440" y="2766726"/>
              <a:ext cx="75723" cy="75628"/>
              <a:chOff x="3901440" y="2766726"/>
              <a:chExt cx="75723" cy="75628"/>
            </a:xfrm>
          </p:grpSpPr>
          <p:sp>
            <p:nvSpPr>
              <p:cNvPr id="17147" name="Freeform: Shape 17146">
                <a:extLst>
                  <a:ext uri="{FF2B5EF4-FFF2-40B4-BE49-F238E27FC236}">
                    <a16:creationId xmlns:a16="http://schemas.microsoft.com/office/drawing/2014/main" id="{73B76AEA-72CC-4422-AA1C-E493AA7CB481}"/>
                  </a:ext>
                </a:extLst>
              </p:cNvPr>
              <p:cNvSpPr/>
              <p:nvPr/>
            </p:nvSpPr>
            <p:spPr>
              <a:xfrm>
                <a:off x="3939254" y="27667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8" name="Freeform: Shape 17147">
                <a:extLst>
                  <a:ext uri="{FF2B5EF4-FFF2-40B4-BE49-F238E27FC236}">
                    <a16:creationId xmlns:a16="http://schemas.microsoft.com/office/drawing/2014/main" id="{D98956D5-8953-DAB9-F0F8-349C79171811}"/>
                  </a:ext>
                </a:extLst>
              </p:cNvPr>
              <p:cNvSpPr/>
              <p:nvPr/>
            </p:nvSpPr>
            <p:spPr>
              <a:xfrm>
                <a:off x="3901440" y="28045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2" name="Graphic 112">
              <a:extLst>
                <a:ext uri="{FF2B5EF4-FFF2-40B4-BE49-F238E27FC236}">
                  <a16:creationId xmlns:a16="http://schemas.microsoft.com/office/drawing/2014/main" id="{876E7444-F040-4FA1-0CE2-2FEBCE054895}"/>
                </a:ext>
              </a:extLst>
            </p:cNvPr>
            <p:cNvGrpSpPr/>
            <p:nvPr/>
          </p:nvGrpSpPr>
          <p:grpSpPr>
            <a:xfrm>
              <a:off x="4510373" y="3098673"/>
              <a:ext cx="75628" cy="75723"/>
              <a:chOff x="4510373" y="3098673"/>
              <a:chExt cx="75628" cy="75723"/>
            </a:xfrm>
          </p:grpSpPr>
          <p:sp>
            <p:nvSpPr>
              <p:cNvPr id="17145" name="Freeform: Shape 17144">
                <a:extLst>
                  <a:ext uri="{FF2B5EF4-FFF2-40B4-BE49-F238E27FC236}">
                    <a16:creationId xmlns:a16="http://schemas.microsoft.com/office/drawing/2014/main" id="{B87920F6-062F-2D34-2667-70A99876EF30}"/>
                  </a:ext>
                </a:extLst>
              </p:cNvPr>
              <p:cNvSpPr/>
              <p:nvPr/>
            </p:nvSpPr>
            <p:spPr>
              <a:xfrm>
                <a:off x="4548187" y="3098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6" name="Freeform: Shape 17145">
                <a:extLst>
                  <a:ext uri="{FF2B5EF4-FFF2-40B4-BE49-F238E27FC236}">
                    <a16:creationId xmlns:a16="http://schemas.microsoft.com/office/drawing/2014/main" id="{BF39F629-1932-1456-D0D3-25998BF1FDC1}"/>
                  </a:ext>
                </a:extLst>
              </p:cNvPr>
              <p:cNvSpPr/>
              <p:nvPr/>
            </p:nvSpPr>
            <p:spPr>
              <a:xfrm>
                <a:off x="4510373" y="31364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3" name="Graphic 112">
              <a:extLst>
                <a:ext uri="{FF2B5EF4-FFF2-40B4-BE49-F238E27FC236}">
                  <a16:creationId xmlns:a16="http://schemas.microsoft.com/office/drawing/2014/main" id="{8D39AB0E-8DB4-FDCA-0A64-2DE77D485D8B}"/>
                </a:ext>
              </a:extLst>
            </p:cNvPr>
            <p:cNvGrpSpPr/>
            <p:nvPr/>
          </p:nvGrpSpPr>
          <p:grpSpPr>
            <a:xfrm>
              <a:off x="4693920" y="3164776"/>
              <a:ext cx="75723" cy="75628"/>
              <a:chOff x="4693920" y="3164776"/>
              <a:chExt cx="75723" cy="75628"/>
            </a:xfrm>
          </p:grpSpPr>
          <p:sp>
            <p:nvSpPr>
              <p:cNvPr id="17143" name="Freeform: Shape 17142">
                <a:extLst>
                  <a:ext uri="{FF2B5EF4-FFF2-40B4-BE49-F238E27FC236}">
                    <a16:creationId xmlns:a16="http://schemas.microsoft.com/office/drawing/2014/main" id="{15EDC45B-E51D-70FF-D4B3-BD1C3AB86FC3}"/>
                  </a:ext>
                </a:extLst>
              </p:cNvPr>
              <p:cNvSpPr/>
              <p:nvPr/>
            </p:nvSpPr>
            <p:spPr>
              <a:xfrm>
                <a:off x="4731829" y="316477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4" name="Freeform: Shape 17143">
                <a:extLst>
                  <a:ext uri="{FF2B5EF4-FFF2-40B4-BE49-F238E27FC236}">
                    <a16:creationId xmlns:a16="http://schemas.microsoft.com/office/drawing/2014/main" id="{4E40368F-7A5E-D6FB-4496-E2262BC8BBD5}"/>
                  </a:ext>
                </a:extLst>
              </p:cNvPr>
              <p:cNvSpPr/>
              <p:nvPr/>
            </p:nvSpPr>
            <p:spPr>
              <a:xfrm>
                <a:off x="4693920" y="3202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4" name="Graphic 112">
              <a:extLst>
                <a:ext uri="{FF2B5EF4-FFF2-40B4-BE49-F238E27FC236}">
                  <a16:creationId xmlns:a16="http://schemas.microsoft.com/office/drawing/2014/main" id="{30672A1A-BBA0-E0A9-6872-F9BB6AD6D34E}"/>
                </a:ext>
              </a:extLst>
            </p:cNvPr>
            <p:cNvGrpSpPr/>
            <p:nvPr/>
          </p:nvGrpSpPr>
          <p:grpSpPr>
            <a:xfrm>
              <a:off x="4786407" y="3343465"/>
              <a:ext cx="75628" cy="75723"/>
              <a:chOff x="4786407" y="3343465"/>
              <a:chExt cx="75628" cy="75723"/>
            </a:xfrm>
          </p:grpSpPr>
          <p:sp>
            <p:nvSpPr>
              <p:cNvPr id="17141" name="Freeform: Shape 17140">
                <a:extLst>
                  <a:ext uri="{FF2B5EF4-FFF2-40B4-BE49-F238E27FC236}">
                    <a16:creationId xmlns:a16="http://schemas.microsoft.com/office/drawing/2014/main" id="{904E7D8C-B355-A174-0FBA-CBF6830D3A61}"/>
                  </a:ext>
                </a:extLst>
              </p:cNvPr>
              <p:cNvSpPr/>
              <p:nvPr/>
            </p:nvSpPr>
            <p:spPr>
              <a:xfrm>
                <a:off x="4824222" y="3343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2" name="Freeform: Shape 17141">
                <a:extLst>
                  <a:ext uri="{FF2B5EF4-FFF2-40B4-BE49-F238E27FC236}">
                    <a16:creationId xmlns:a16="http://schemas.microsoft.com/office/drawing/2014/main" id="{C28CE989-F3A1-46FE-5EDD-5D3B323CEE29}"/>
                  </a:ext>
                </a:extLst>
              </p:cNvPr>
              <p:cNvSpPr/>
              <p:nvPr/>
            </p:nvSpPr>
            <p:spPr>
              <a:xfrm>
                <a:off x="4786407" y="33812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5" name="Graphic 112">
              <a:extLst>
                <a:ext uri="{FF2B5EF4-FFF2-40B4-BE49-F238E27FC236}">
                  <a16:creationId xmlns:a16="http://schemas.microsoft.com/office/drawing/2014/main" id="{F9FF2983-E789-E022-7BE3-CA1C72279C1F}"/>
                </a:ext>
              </a:extLst>
            </p:cNvPr>
            <p:cNvGrpSpPr/>
            <p:nvPr/>
          </p:nvGrpSpPr>
          <p:grpSpPr>
            <a:xfrm>
              <a:off x="5238654" y="3598830"/>
              <a:ext cx="75628" cy="75723"/>
              <a:chOff x="5238654" y="3598830"/>
              <a:chExt cx="75628" cy="75723"/>
            </a:xfrm>
          </p:grpSpPr>
          <p:sp>
            <p:nvSpPr>
              <p:cNvPr id="17139" name="Freeform: Shape 17138">
                <a:extLst>
                  <a:ext uri="{FF2B5EF4-FFF2-40B4-BE49-F238E27FC236}">
                    <a16:creationId xmlns:a16="http://schemas.microsoft.com/office/drawing/2014/main" id="{FE0BDC27-71B4-CA03-DE12-4AE1BC75E753}"/>
                  </a:ext>
                </a:extLst>
              </p:cNvPr>
              <p:cNvSpPr/>
              <p:nvPr/>
            </p:nvSpPr>
            <p:spPr>
              <a:xfrm>
                <a:off x="5276469"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40" name="Freeform: Shape 17139">
                <a:extLst>
                  <a:ext uri="{FF2B5EF4-FFF2-40B4-BE49-F238E27FC236}">
                    <a16:creationId xmlns:a16="http://schemas.microsoft.com/office/drawing/2014/main" id="{3C9CE334-ECC0-AE98-35A2-59C9813A98D2}"/>
                  </a:ext>
                </a:extLst>
              </p:cNvPr>
              <p:cNvSpPr/>
              <p:nvPr/>
            </p:nvSpPr>
            <p:spPr>
              <a:xfrm>
                <a:off x="5238654"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6" name="Graphic 112">
              <a:extLst>
                <a:ext uri="{FF2B5EF4-FFF2-40B4-BE49-F238E27FC236}">
                  <a16:creationId xmlns:a16="http://schemas.microsoft.com/office/drawing/2014/main" id="{07F7D598-D6E7-B780-E019-4523C189D1D6}"/>
                </a:ext>
              </a:extLst>
            </p:cNvPr>
            <p:cNvGrpSpPr/>
            <p:nvPr/>
          </p:nvGrpSpPr>
          <p:grpSpPr>
            <a:xfrm>
              <a:off x="5690330" y="3775138"/>
              <a:ext cx="75723" cy="75723"/>
              <a:chOff x="5690330" y="3775138"/>
              <a:chExt cx="75723" cy="75723"/>
            </a:xfrm>
          </p:grpSpPr>
          <p:sp>
            <p:nvSpPr>
              <p:cNvPr id="17137" name="Freeform: Shape 17136">
                <a:extLst>
                  <a:ext uri="{FF2B5EF4-FFF2-40B4-BE49-F238E27FC236}">
                    <a16:creationId xmlns:a16="http://schemas.microsoft.com/office/drawing/2014/main" id="{BA285763-6E12-B88F-2E42-3E6339D20A68}"/>
                  </a:ext>
                </a:extLst>
              </p:cNvPr>
              <p:cNvSpPr/>
              <p:nvPr/>
            </p:nvSpPr>
            <p:spPr>
              <a:xfrm>
                <a:off x="5728144" y="3775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8" name="Freeform: Shape 17137">
                <a:extLst>
                  <a:ext uri="{FF2B5EF4-FFF2-40B4-BE49-F238E27FC236}">
                    <a16:creationId xmlns:a16="http://schemas.microsoft.com/office/drawing/2014/main" id="{7102E8B2-06A4-22BC-32D2-576AF912F44D}"/>
                  </a:ext>
                </a:extLst>
              </p:cNvPr>
              <p:cNvSpPr/>
              <p:nvPr/>
            </p:nvSpPr>
            <p:spPr>
              <a:xfrm>
                <a:off x="5690330" y="3812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7" name="Graphic 112">
              <a:extLst>
                <a:ext uri="{FF2B5EF4-FFF2-40B4-BE49-F238E27FC236}">
                  <a16:creationId xmlns:a16="http://schemas.microsoft.com/office/drawing/2014/main" id="{ADBDC5FD-3D75-FCD3-5F3F-AA247444F3E2}"/>
                </a:ext>
              </a:extLst>
            </p:cNvPr>
            <p:cNvGrpSpPr/>
            <p:nvPr/>
          </p:nvGrpSpPr>
          <p:grpSpPr>
            <a:xfrm>
              <a:off x="5902547" y="3795522"/>
              <a:ext cx="75628" cy="75723"/>
              <a:chOff x="5902547" y="3795522"/>
              <a:chExt cx="75628" cy="75723"/>
            </a:xfrm>
          </p:grpSpPr>
          <p:sp>
            <p:nvSpPr>
              <p:cNvPr id="17135" name="Freeform: Shape 17134">
                <a:extLst>
                  <a:ext uri="{FF2B5EF4-FFF2-40B4-BE49-F238E27FC236}">
                    <a16:creationId xmlns:a16="http://schemas.microsoft.com/office/drawing/2014/main" id="{F0599E84-A80C-75AB-C829-5E0D2A3AE3C3}"/>
                  </a:ext>
                </a:extLst>
              </p:cNvPr>
              <p:cNvSpPr/>
              <p:nvPr/>
            </p:nvSpPr>
            <p:spPr>
              <a:xfrm>
                <a:off x="5940361" y="37955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6" name="Freeform: Shape 17135">
                <a:extLst>
                  <a:ext uri="{FF2B5EF4-FFF2-40B4-BE49-F238E27FC236}">
                    <a16:creationId xmlns:a16="http://schemas.microsoft.com/office/drawing/2014/main" id="{729A392D-A01B-F3E4-ECEF-04D43214A3AF}"/>
                  </a:ext>
                </a:extLst>
              </p:cNvPr>
              <p:cNvSpPr/>
              <p:nvPr/>
            </p:nvSpPr>
            <p:spPr>
              <a:xfrm>
                <a:off x="5902547" y="383333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8" name="Graphic 112">
              <a:extLst>
                <a:ext uri="{FF2B5EF4-FFF2-40B4-BE49-F238E27FC236}">
                  <a16:creationId xmlns:a16="http://schemas.microsoft.com/office/drawing/2014/main" id="{E3560FBD-89C0-6FE0-DEB3-2530646D4FA8}"/>
                </a:ext>
              </a:extLst>
            </p:cNvPr>
            <p:cNvGrpSpPr/>
            <p:nvPr/>
          </p:nvGrpSpPr>
          <p:grpSpPr>
            <a:xfrm>
              <a:off x="6217443" y="3898296"/>
              <a:ext cx="75723" cy="75628"/>
              <a:chOff x="6217443" y="3898296"/>
              <a:chExt cx="75723" cy="75628"/>
            </a:xfrm>
          </p:grpSpPr>
          <p:sp>
            <p:nvSpPr>
              <p:cNvPr id="17133" name="Freeform: Shape 17132">
                <a:extLst>
                  <a:ext uri="{FF2B5EF4-FFF2-40B4-BE49-F238E27FC236}">
                    <a16:creationId xmlns:a16="http://schemas.microsoft.com/office/drawing/2014/main" id="{C85F43E6-E72C-C8F8-E2FB-8407C4EDF419}"/>
                  </a:ext>
                </a:extLst>
              </p:cNvPr>
              <p:cNvSpPr/>
              <p:nvPr/>
            </p:nvSpPr>
            <p:spPr>
              <a:xfrm>
                <a:off x="6255258" y="389829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4" name="Freeform: Shape 17133">
                <a:extLst>
                  <a:ext uri="{FF2B5EF4-FFF2-40B4-BE49-F238E27FC236}">
                    <a16:creationId xmlns:a16="http://schemas.microsoft.com/office/drawing/2014/main" id="{7F4508EB-45DB-78FC-BC0B-175ED740C5D8}"/>
                  </a:ext>
                </a:extLst>
              </p:cNvPr>
              <p:cNvSpPr/>
              <p:nvPr/>
            </p:nvSpPr>
            <p:spPr>
              <a:xfrm>
                <a:off x="6217443" y="39361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39" name="Graphic 112">
              <a:extLst>
                <a:ext uri="{FF2B5EF4-FFF2-40B4-BE49-F238E27FC236}">
                  <a16:creationId xmlns:a16="http://schemas.microsoft.com/office/drawing/2014/main" id="{A8B5DE85-CBED-E083-C866-46F666746634}"/>
                </a:ext>
              </a:extLst>
            </p:cNvPr>
            <p:cNvGrpSpPr/>
            <p:nvPr/>
          </p:nvGrpSpPr>
          <p:grpSpPr>
            <a:xfrm>
              <a:off x="6334791" y="3909822"/>
              <a:ext cx="75723" cy="75723"/>
              <a:chOff x="6334791" y="3909822"/>
              <a:chExt cx="75723" cy="75723"/>
            </a:xfrm>
          </p:grpSpPr>
          <p:sp>
            <p:nvSpPr>
              <p:cNvPr id="17131" name="Freeform: Shape 17130">
                <a:extLst>
                  <a:ext uri="{FF2B5EF4-FFF2-40B4-BE49-F238E27FC236}">
                    <a16:creationId xmlns:a16="http://schemas.microsoft.com/office/drawing/2014/main" id="{3177476C-EEE1-02FC-69E1-6C7001568F4D}"/>
                  </a:ext>
                </a:extLst>
              </p:cNvPr>
              <p:cNvSpPr/>
              <p:nvPr/>
            </p:nvSpPr>
            <p:spPr>
              <a:xfrm>
                <a:off x="6372606"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2" name="Freeform: Shape 17131">
                <a:extLst>
                  <a:ext uri="{FF2B5EF4-FFF2-40B4-BE49-F238E27FC236}">
                    <a16:creationId xmlns:a16="http://schemas.microsoft.com/office/drawing/2014/main" id="{472658D0-1867-2FCA-B8AE-9A76456DFFF1}"/>
                  </a:ext>
                </a:extLst>
              </p:cNvPr>
              <p:cNvSpPr/>
              <p:nvPr/>
            </p:nvSpPr>
            <p:spPr>
              <a:xfrm>
                <a:off x="6334791"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0" name="Graphic 112">
              <a:extLst>
                <a:ext uri="{FF2B5EF4-FFF2-40B4-BE49-F238E27FC236}">
                  <a16:creationId xmlns:a16="http://schemas.microsoft.com/office/drawing/2014/main" id="{8759EA19-0BE7-4F26-63E0-56C0F708D9F3}"/>
                </a:ext>
              </a:extLst>
            </p:cNvPr>
            <p:cNvGrpSpPr/>
            <p:nvPr/>
          </p:nvGrpSpPr>
          <p:grpSpPr>
            <a:xfrm>
              <a:off x="6379749" y="3909822"/>
              <a:ext cx="75723" cy="75723"/>
              <a:chOff x="6379749" y="3909822"/>
              <a:chExt cx="75723" cy="75723"/>
            </a:xfrm>
          </p:grpSpPr>
          <p:sp>
            <p:nvSpPr>
              <p:cNvPr id="17129" name="Freeform: Shape 17128">
                <a:extLst>
                  <a:ext uri="{FF2B5EF4-FFF2-40B4-BE49-F238E27FC236}">
                    <a16:creationId xmlns:a16="http://schemas.microsoft.com/office/drawing/2014/main" id="{86B993DB-F7B4-8BA2-BC66-835BFD5DC3AE}"/>
                  </a:ext>
                </a:extLst>
              </p:cNvPr>
              <p:cNvSpPr/>
              <p:nvPr/>
            </p:nvSpPr>
            <p:spPr>
              <a:xfrm>
                <a:off x="6417659"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30" name="Freeform: Shape 17129">
                <a:extLst>
                  <a:ext uri="{FF2B5EF4-FFF2-40B4-BE49-F238E27FC236}">
                    <a16:creationId xmlns:a16="http://schemas.microsoft.com/office/drawing/2014/main" id="{FE2F7A22-F02B-5634-DA8D-EE899DE8353B}"/>
                  </a:ext>
                </a:extLst>
              </p:cNvPr>
              <p:cNvSpPr/>
              <p:nvPr/>
            </p:nvSpPr>
            <p:spPr>
              <a:xfrm>
                <a:off x="6379749"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1" name="Graphic 112">
              <a:extLst>
                <a:ext uri="{FF2B5EF4-FFF2-40B4-BE49-F238E27FC236}">
                  <a16:creationId xmlns:a16="http://schemas.microsoft.com/office/drawing/2014/main" id="{3291B9A7-9F1A-BE23-7337-FF6F85E010CF}"/>
                </a:ext>
              </a:extLst>
            </p:cNvPr>
            <p:cNvGrpSpPr/>
            <p:nvPr/>
          </p:nvGrpSpPr>
          <p:grpSpPr>
            <a:xfrm>
              <a:off x="6410515" y="3922585"/>
              <a:ext cx="75628" cy="75723"/>
              <a:chOff x="6410515" y="3922585"/>
              <a:chExt cx="75628" cy="75723"/>
            </a:xfrm>
          </p:grpSpPr>
          <p:sp>
            <p:nvSpPr>
              <p:cNvPr id="17127" name="Freeform: Shape 17126">
                <a:extLst>
                  <a:ext uri="{FF2B5EF4-FFF2-40B4-BE49-F238E27FC236}">
                    <a16:creationId xmlns:a16="http://schemas.microsoft.com/office/drawing/2014/main" id="{05521680-BB20-4B08-4C3A-D0813152A8F9}"/>
                  </a:ext>
                </a:extLst>
              </p:cNvPr>
              <p:cNvSpPr/>
              <p:nvPr/>
            </p:nvSpPr>
            <p:spPr>
              <a:xfrm>
                <a:off x="6448329" y="39225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8" name="Freeform: Shape 17127">
                <a:extLst>
                  <a:ext uri="{FF2B5EF4-FFF2-40B4-BE49-F238E27FC236}">
                    <a16:creationId xmlns:a16="http://schemas.microsoft.com/office/drawing/2014/main" id="{EE60ECF9-243C-A452-BFEC-682E9ACC1F12}"/>
                  </a:ext>
                </a:extLst>
              </p:cNvPr>
              <p:cNvSpPr/>
              <p:nvPr/>
            </p:nvSpPr>
            <p:spPr>
              <a:xfrm>
                <a:off x="6410515" y="39603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2" name="Graphic 112">
              <a:extLst>
                <a:ext uri="{FF2B5EF4-FFF2-40B4-BE49-F238E27FC236}">
                  <a16:creationId xmlns:a16="http://schemas.microsoft.com/office/drawing/2014/main" id="{015C8FA9-5970-5C21-4E79-0651BDB1023B}"/>
                </a:ext>
              </a:extLst>
            </p:cNvPr>
            <p:cNvGrpSpPr/>
            <p:nvPr/>
          </p:nvGrpSpPr>
          <p:grpSpPr>
            <a:xfrm>
              <a:off x="6430232" y="3933539"/>
              <a:ext cx="75723" cy="75628"/>
              <a:chOff x="6430232" y="3933539"/>
              <a:chExt cx="75723" cy="75628"/>
            </a:xfrm>
          </p:grpSpPr>
          <p:sp>
            <p:nvSpPr>
              <p:cNvPr id="17125" name="Freeform: Shape 17124">
                <a:extLst>
                  <a:ext uri="{FF2B5EF4-FFF2-40B4-BE49-F238E27FC236}">
                    <a16:creationId xmlns:a16="http://schemas.microsoft.com/office/drawing/2014/main" id="{5EEF13FA-9431-2669-6457-DC3B0BD4CAEC}"/>
                  </a:ext>
                </a:extLst>
              </p:cNvPr>
              <p:cNvSpPr/>
              <p:nvPr/>
            </p:nvSpPr>
            <p:spPr>
              <a:xfrm>
                <a:off x="6468141" y="393353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6" name="Freeform: Shape 17125">
                <a:extLst>
                  <a:ext uri="{FF2B5EF4-FFF2-40B4-BE49-F238E27FC236}">
                    <a16:creationId xmlns:a16="http://schemas.microsoft.com/office/drawing/2014/main" id="{8778A7D9-8D25-A6FF-944C-EA44F1725025}"/>
                  </a:ext>
                </a:extLst>
              </p:cNvPr>
              <p:cNvSpPr/>
              <p:nvPr/>
            </p:nvSpPr>
            <p:spPr>
              <a:xfrm>
                <a:off x="6430232" y="39713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3" name="Graphic 112">
              <a:extLst>
                <a:ext uri="{FF2B5EF4-FFF2-40B4-BE49-F238E27FC236}">
                  <a16:creationId xmlns:a16="http://schemas.microsoft.com/office/drawing/2014/main" id="{1F0D0C28-10C2-1DEE-5313-8173D489A4E4}"/>
                </a:ext>
              </a:extLst>
            </p:cNvPr>
            <p:cNvGrpSpPr/>
            <p:nvPr/>
          </p:nvGrpSpPr>
          <p:grpSpPr>
            <a:xfrm>
              <a:off x="6450330" y="3947636"/>
              <a:ext cx="75628" cy="75723"/>
              <a:chOff x="6450330" y="3947636"/>
              <a:chExt cx="75628" cy="75723"/>
            </a:xfrm>
          </p:grpSpPr>
          <p:sp>
            <p:nvSpPr>
              <p:cNvPr id="17123" name="Freeform: Shape 17122">
                <a:extLst>
                  <a:ext uri="{FF2B5EF4-FFF2-40B4-BE49-F238E27FC236}">
                    <a16:creationId xmlns:a16="http://schemas.microsoft.com/office/drawing/2014/main" id="{CDBE1724-FD86-F475-8117-444B334FB65F}"/>
                  </a:ext>
                </a:extLst>
              </p:cNvPr>
              <p:cNvSpPr/>
              <p:nvPr/>
            </p:nvSpPr>
            <p:spPr>
              <a:xfrm>
                <a:off x="6488144" y="3947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4" name="Freeform: Shape 17123">
                <a:extLst>
                  <a:ext uri="{FF2B5EF4-FFF2-40B4-BE49-F238E27FC236}">
                    <a16:creationId xmlns:a16="http://schemas.microsoft.com/office/drawing/2014/main" id="{EB8E9732-57A5-CF63-4290-B9D81A6D9F16}"/>
                  </a:ext>
                </a:extLst>
              </p:cNvPr>
              <p:cNvSpPr/>
              <p:nvPr/>
            </p:nvSpPr>
            <p:spPr>
              <a:xfrm>
                <a:off x="6450330" y="39855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4" name="Graphic 112">
              <a:extLst>
                <a:ext uri="{FF2B5EF4-FFF2-40B4-BE49-F238E27FC236}">
                  <a16:creationId xmlns:a16="http://schemas.microsoft.com/office/drawing/2014/main" id="{06A8DA54-D467-3029-0D6B-D13BD0E5539D}"/>
                </a:ext>
              </a:extLst>
            </p:cNvPr>
            <p:cNvGrpSpPr/>
            <p:nvPr/>
          </p:nvGrpSpPr>
          <p:grpSpPr>
            <a:xfrm>
              <a:off x="6463665" y="3960399"/>
              <a:ext cx="75723" cy="75723"/>
              <a:chOff x="6463665" y="3960399"/>
              <a:chExt cx="75723" cy="75723"/>
            </a:xfrm>
          </p:grpSpPr>
          <p:sp>
            <p:nvSpPr>
              <p:cNvPr id="17121" name="Freeform: Shape 17120">
                <a:extLst>
                  <a:ext uri="{FF2B5EF4-FFF2-40B4-BE49-F238E27FC236}">
                    <a16:creationId xmlns:a16="http://schemas.microsoft.com/office/drawing/2014/main" id="{E3658147-1056-7736-C1D0-607C63D29566}"/>
                  </a:ext>
                </a:extLst>
              </p:cNvPr>
              <p:cNvSpPr/>
              <p:nvPr/>
            </p:nvSpPr>
            <p:spPr>
              <a:xfrm>
                <a:off x="6501574" y="39603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2" name="Freeform: Shape 17121">
                <a:extLst>
                  <a:ext uri="{FF2B5EF4-FFF2-40B4-BE49-F238E27FC236}">
                    <a16:creationId xmlns:a16="http://schemas.microsoft.com/office/drawing/2014/main" id="{92F90DC7-07C8-E028-72C3-0E3B5FB1EF28}"/>
                  </a:ext>
                </a:extLst>
              </p:cNvPr>
              <p:cNvSpPr/>
              <p:nvPr/>
            </p:nvSpPr>
            <p:spPr>
              <a:xfrm>
                <a:off x="6463665" y="39983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5" name="Graphic 112">
              <a:extLst>
                <a:ext uri="{FF2B5EF4-FFF2-40B4-BE49-F238E27FC236}">
                  <a16:creationId xmlns:a16="http://schemas.microsoft.com/office/drawing/2014/main" id="{AAF465D3-3891-A860-EB8E-267231219499}"/>
                </a:ext>
              </a:extLst>
            </p:cNvPr>
            <p:cNvGrpSpPr/>
            <p:nvPr/>
          </p:nvGrpSpPr>
          <p:grpSpPr>
            <a:xfrm>
              <a:off x="6520815" y="4015263"/>
              <a:ext cx="75723" cy="75723"/>
              <a:chOff x="6520815" y="4015263"/>
              <a:chExt cx="75723" cy="75723"/>
            </a:xfrm>
          </p:grpSpPr>
          <p:sp>
            <p:nvSpPr>
              <p:cNvPr id="17119" name="Freeform: Shape 17118">
                <a:extLst>
                  <a:ext uri="{FF2B5EF4-FFF2-40B4-BE49-F238E27FC236}">
                    <a16:creationId xmlns:a16="http://schemas.microsoft.com/office/drawing/2014/main" id="{CA7BEEB3-F8B7-2962-498C-0D7395302C8A}"/>
                  </a:ext>
                </a:extLst>
              </p:cNvPr>
              <p:cNvSpPr/>
              <p:nvPr/>
            </p:nvSpPr>
            <p:spPr>
              <a:xfrm>
                <a:off x="6558724"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20" name="Freeform: Shape 17119">
                <a:extLst>
                  <a:ext uri="{FF2B5EF4-FFF2-40B4-BE49-F238E27FC236}">
                    <a16:creationId xmlns:a16="http://schemas.microsoft.com/office/drawing/2014/main" id="{E2B5139F-90BF-3CC4-908F-E179F7B7301C}"/>
                  </a:ext>
                </a:extLst>
              </p:cNvPr>
              <p:cNvSpPr/>
              <p:nvPr/>
            </p:nvSpPr>
            <p:spPr>
              <a:xfrm>
                <a:off x="6520815" y="40531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6" name="Graphic 112">
              <a:extLst>
                <a:ext uri="{FF2B5EF4-FFF2-40B4-BE49-F238E27FC236}">
                  <a16:creationId xmlns:a16="http://schemas.microsoft.com/office/drawing/2014/main" id="{464C07CB-96C9-8EA6-8896-0C5881F730B1}"/>
                </a:ext>
              </a:extLst>
            </p:cNvPr>
            <p:cNvGrpSpPr/>
            <p:nvPr/>
          </p:nvGrpSpPr>
          <p:grpSpPr>
            <a:xfrm>
              <a:off x="6771322" y="4036123"/>
              <a:ext cx="75723" cy="75723"/>
              <a:chOff x="6771322" y="4036123"/>
              <a:chExt cx="75723" cy="75723"/>
            </a:xfrm>
          </p:grpSpPr>
          <p:sp>
            <p:nvSpPr>
              <p:cNvPr id="17117" name="Freeform: Shape 17116">
                <a:extLst>
                  <a:ext uri="{FF2B5EF4-FFF2-40B4-BE49-F238E27FC236}">
                    <a16:creationId xmlns:a16="http://schemas.microsoft.com/office/drawing/2014/main" id="{72D1C83E-0FF3-3854-15BF-A59BB01BF3E8}"/>
                  </a:ext>
                </a:extLst>
              </p:cNvPr>
              <p:cNvSpPr/>
              <p:nvPr/>
            </p:nvSpPr>
            <p:spPr>
              <a:xfrm>
                <a:off x="6809136"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8" name="Freeform: Shape 17117">
                <a:extLst>
                  <a:ext uri="{FF2B5EF4-FFF2-40B4-BE49-F238E27FC236}">
                    <a16:creationId xmlns:a16="http://schemas.microsoft.com/office/drawing/2014/main" id="{1D0C88EA-D246-61B9-3502-D0EDCEE7B07D}"/>
                  </a:ext>
                </a:extLst>
              </p:cNvPr>
              <p:cNvSpPr/>
              <p:nvPr/>
            </p:nvSpPr>
            <p:spPr>
              <a:xfrm>
                <a:off x="6771322"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7" name="Graphic 112">
              <a:extLst>
                <a:ext uri="{FF2B5EF4-FFF2-40B4-BE49-F238E27FC236}">
                  <a16:creationId xmlns:a16="http://schemas.microsoft.com/office/drawing/2014/main" id="{E9373B16-C30E-BFFB-BE4F-6761D325124A}"/>
                </a:ext>
              </a:extLst>
            </p:cNvPr>
            <p:cNvGrpSpPr/>
            <p:nvPr/>
          </p:nvGrpSpPr>
          <p:grpSpPr>
            <a:xfrm>
              <a:off x="6871620" y="4036123"/>
              <a:ext cx="75723" cy="75723"/>
              <a:chOff x="6871620" y="4036123"/>
              <a:chExt cx="75723" cy="75723"/>
            </a:xfrm>
          </p:grpSpPr>
          <p:sp>
            <p:nvSpPr>
              <p:cNvPr id="17115" name="Freeform: Shape 17114">
                <a:extLst>
                  <a:ext uri="{FF2B5EF4-FFF2-40B4-BE49-F238E27FC236}">
                    <a16:creationId xmlns:a16="http://schemas.microsoft.com/office/drawing/2014/main" id="{4C51E5D6-217F-703F-70FD-116DE3E984FB}"/>
                  </a:ext>
                </a:extLst>
              </p:cNvPr>
              <p:cNvSpPr/>
              <p:nvPr/>
            </p:nvSpPr>
            <p:spPr>
              <a:xfrm>
                <a:off x="6909530"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6" name="Freeform: Shape 17115">
                <a:extLst>
                  <a:ext uri="{FF2B5EF4-FFF2-40B4-BE49-F238E27FC236}">
                    <a16:creationId xmlns:a16="http://schemas.microsoft.com/office/drawing/2014/main" id="{71A40B45-C0F9-6BC0-F9B4-410147E9A154}"/>
                  </a:ext>
                </a:extLst>
              </p:cNvPr>
              <p:cNvSpPr/>
              <p:nvPr/>
            </p:nvSpPr>
            <p:spPr>
              <a:xfrm>
                <a:off x="6871620" y="40739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8" name="Graphic 112">
              <a:extLst>
                <a:ext uri="{FF2B5EF4-FFF2-40B4-BE49-F238E27FC236}">
                  <a16:creationId xmlns:a16="http://schemas.microsoft.com/office/drawing/2014/main" id="{7073CF8E-8874-D7F3-F793-190CFBDE34DF}"/>
                </a:ext>
              </a:extLst>
            </p:cNvPr>
            <p:cNvGrpSpPr/>
            <p:nvPr/>
          </p:nvGrpSpPr>
          <p:grpSpPr>
            <a:xfrm>
              <a:off x="6885051" y="4036123"/>
              <a:ext cx="75628" cy="75723"/>
              <a:chOff x="6885051" y="4036123"/>
              <a:chExt cx="75628" cy="75723"/>
            </a:xfrm>
          </p:grpSpPr>
          <p:sp>
            <p:nvSpPr>
              <p:cNvPr id="17113" name="Freeform: Shape 17112">
                <a:extLst>
                  <a:ext uri="{FF2B5EF4-FFF2-40B4-BE49-F238E27FC236}">
                    <a16:creationId xmlns:a16="http://schemas.microsoft.com/office/drawing/2014/main" id="{E7AD21E8-DFA0-275C-2035-781B8A0B2A88}"/>
                  </a:ext>
                </a:extLst>
              </p:cNvPr>
              <p:cNvSpPr/>
              <p:nvPr/>
            </p:nvSpPr>
            <p:spPr>
              <a:xfrm>
                <a:off x="6922865" y="40361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4" name="Freeform: Shape 17113">
                <a:extLst>
                  <a:ext uri="{FF2B5EF4-FFF2-40B4-BE49-F238E27FC236}">
                    <a16:creationId xmlns:a16="http://schemas.microsoft.com/office/drawing/2014/main" id="{A8D87330-A1D0-A47D-B7F2-515EA5A70962}"/>
                  </a:ext>
                </a:extLst>
              </p:cNvPr>
              <p:cNvSpPr/>
              <p:nvPr/>
            </p:nvSpPr>
            <p:spPr>
              <a:xfrm>
                <a:off x="6885051" y="40739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49" name="Graphic 112">
              <a:extLst>
                <a:ext uri="{FF2B5EF4-FFF2-40B4-BE49-F238E27FC236}">
                  <a16:creationId xmlns:a16="http://schemas.microsoft.com/office/drawing/2014/main" id="{09130977-B7BB-E98E-64D5-B90DD6C83A69}"/>
                </a:ext>
              </a:extLst>
            </p:cNvPr>
            <p:cNvGrpSpPr/>
            <p:nvPr/>
          </p:nvGrpSpPr>
          <p:grpSpPr>
            <a:xfrm>
              <a:off x="7015353" y="4135183"/>
              <a:ext cx="75628" cy="75723"/>
              <a:chOff x="7015353" y="4135183"/>
              <a:chExt cx="75628" cy="75723"/>
            </a:xfrm>
          </p:grpSpPr>
          <p:sp>
            <p:nvSpPr>
              <p:cNvPr id="17111" name="Freeform: Shape 17110">
                <a:extLst>
                  <a:ext uri="{FF2B5EF4-FFF2-40B4-BE49-F238E27FC236}">
                    <a16:creationId xmlns:a16="http://schemas.microsoft.com/office/drawing/2014/main" id="{A0B1ECF1-F070-961A-ED96-C50A022A500A}"/>
                  </a:ext>
                </a:extLst>
              </p:cNvPr>
              <p:cNvSpPr/>
              <p:nvPr/>
            </p:nvSpPr>
            <p:spPr>
              <a:xfrm>
                <a:off x="7053167"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2" name="Freeform: Shape 17111">
                <a:extLst>
                  <a:ext uri="{FF2B5EF4-FFF2-40B4-BE49-F238E27FC236}">
                    <a16:creationId xmlns:a16="http://schemas.microsoft.com/office/drawing/2014/main" id="{C0E07EF2-7ABB-D972-AE18-A20F9AAEDD3A}"/>
                  </a:ext>
                </a:extLst>
              </p:cNvPr>
              <p:cNvSpPr/>
              <p:nvPr/>
            </p:nvSpPr>
            <p:spPr>
              <a:xfrm>
                <a:off x="7015353" y="41730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0" name="Graphic 112">
              <a:extLst>
                <a:ext uri="{FF2B5EF4-FFF2-40B4-BE49-F238E27FC236}">
                  <a16:creationId xmlns:a16="http://schemas.microsoft.com/office/drawing/2014/main" id="{9C5346F2-177F-F159-DDAB-38771A73A3E9}"/>
                </a:ext>
              </a:extLst>
            </p:cNvPr>
            <p:cNvGrpSpPr/>
            <p:nvPr/>
          </p:nvGrpSpPr>
          <p:grpSpPr>
            <a:xfrm>
              <a:off x="7368349" y="4229481"/>
              <a:ext cx="75723" cy="75628"/>
              <a:chOff x="7368349" y="4229481"/>
              <a:chExt cx="75723" cy="75628"/>
            </a:xfrm>
          </p:grpSpPr>
          <p:sp>
            <p:nvSpPr>
              <p:cNvPr id="17109" name="Freeform: Shape 17108">
                <a:extLst>
                  <a:ext uri="{FF2B5EF4-FFF2-40B4-BE49-F238E27FC236}">
                    <a16:creationId xmlns:a16="http://schemas.microsoft.com/office/drawing/2014/main" id="{36E81976-E1F0-E520-71CA-A4EEC87D6C02}"/>
                  </a:ext>
                </a:extLst>
              </p:cNvPr>
              <p:cNvSpPr/>
              <p:nvPr/>
            </p:nvSpPr>
            <p:spPr>
              <a:xfrm>
                <a:off x="740616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10" name="Freeform: Shape 17109">
                <a:extLst>
                  <a:ext uri="{FF2B5EF4-FFF2-40B4-BE49-F238E27FC236}">
                    <a16:creationId xmlns:a16="http://schemas.microsoft.com/office/drawing/2014/main" id="{10C42E48-8A3A-A502-F409-BBC24D47EB96}"/>
                  </a:ext>
                </a:extLst>
              </p:cNvPr>
              <p:cNvSpPr/>
              <p:nvPr/>
            </p:nvSpPr>
            <p:spPr>
              <a:xfrm>
                <a:off x="7368349"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1" name="Graphic 112">
              <a:extLst>
                <a:ext uri="{FF2B5EF4-FFF2-40B4-BE49-F238E27FC236}">
                  <a16:creationId xmlns:a16="http://schemas.microsoft.com/office/drawing/2014/main" id="{CF2ABE46-BBDF-A8E1-9373-1F31BC476081}"/>
                </a:ext>
              </a:extLst>
            </p:cNvPr>
            <p:cNvGrpSpPr/>
            <p:nvPr/>
          </p:nvGrpSpPr>
          <p:grpSpPr>
            <a:xfrm>
              <a:off x="7638288" y="4229481"/>
              <a:ext cx="75723" cy="75628"/>
              <a:chOff x="7638288" y="4229481"/>
              <a:chExt cx="75723" cy="75628"/>
            </a:xfrm>
          </p:grpSpPr>
          <p:sp>
            <p:nvSpPr>
              <p:cNvPr id="17107" name="Freeform: Shape 17106">
                <a:extLst>
                  <a:ext uri="{FF2B5EF4-FFF2-40B4-BE49-F238E27FC236}">
                    <a16:creationId xmlns:a16="http://schemas.microsoft.com/office/drawing/2014/main" id="{63E6351D-FFBC-B006-2486-BE3CCF92D54E}"/>
                  </a:ext>
                </a:extLst>
              </p:cNvPr>
              <p:cNvSpPr/>
              <p:nvPr/>
            </p:nvSpPr>
            <p:spPr>
              <a:xfrm>
                <a:off x="7676102"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8" name="Freeform: Shape 17107">
                <a:extLst>
                  <a:ext uri="{FF2B5EF4-FFF2-40B4-BE49-F238E27FC236}">
                    <a16:creationId xmlns:a16="http://schemas.microsoft.com/office/drawing/2014/main" id="{EF12BFFE-36E5-5576-8A87-4033F0B9979C}"/>
                  </a:ext>
                </a:extLst>
              </p:cNvPr>
              <p:cNvSpPr/>
              <p:nvPr/>
            </p:nvSpPr>
            <p:spPr>
              <a:xfrm>
                <a:off x="7638288"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2" name="Graphic 112">
              <a:extLst>
                <a:ext uri="{FF2B5EF4-FFF2-40B4-BE49-F238E27FC236}">
                  <a16:creationId xmlns:a16="http://schemas.microsoft.com/office/drawing/2014/main" id="{DAEC2538-F6CC-4005-BFD7-E05E2C98D755}"/>
                </a:ext>
              </a:extLst>
            </p:cNvPr>
            <p:cNvGrpSpPr/>
            <p:nvPr/>
          </p:nvGrpSpPr>
          <p:grpSpPr>
            <a:xfrm>
              <a:off x="7722203" y="4229481"/>
              <a:ext cx="75723" cy="75628"/>
              <a:chOff x="7722203" y="4229481"/>
              <a:chExt cx="75723" cy="75628"/>
            </a:xfrm>
          </p:grpSpPr>
          <p:sp>
            <p:nvSpPr>
              <p:cNvPr id="17105" name="Freeform: Shape 17104">
                <a:extLst>
                  <a:ext uri="{FF2B5EF4-FFF2-40B4-BE49-F238E27FC236}">
                    <a16:creationId xmlns:a16="http://schemas.microsoft.com/office/drawing/2014/main" id="{8A7C2D53-032F-D753-880E-EED1532CE58B}"/>
                  </a:ext>
                </a:extLst>
              </p:cNvPr>
              <p:cNvSpPr/>
              <p:nvPr/>
            </p:nvSpPr>
            <p:spPr>
              <a:xfrm>
                <a:off x="776001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6" name="Freeform: Shape 17105">
                <a:extLst>
                  <a:ext uri="{FF2B5EF4-FFF2-40B4-BE49-F238E27FC236}">
                    <a16:creationId xmlns:a16="http://schemas.microsoft.com/office/drawing/2014/main" id="{8DEB43E0-9EA3-D64B-46CB-B04581D8339F}"/>
                  </a:ext>
                </a:extLst>
              </p:cNvPr>
              <p:cNvSpPr/>
              <p:nvPr/>
            </p:nvSpPr>
            <p:spPr>
              <a:xfrm>
                <a:off x="7722203"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3" name="Graphic 112">
              <a:extLst>
                <a:ext uri="{FF2B5EF4-FFF2-40B4-BE49-F238E27FC236}">
                  <a16:creationId xmlns:a16="http://schemas.microsoft.com/office/drawing/2014/main" id="{FB276B2B-8D56-01F0-2370-E5F9347BBA46}"/>
                </a:ext>
              </a:extLst>
            </p:cNvPr>
            <p:cNvGrpSpPr/>
            <p:nvPr/>
          </p:nvGrpSpPr>
          <p:grpSpPr>
            <a:xfrm>
              <a:off x="7755064" y="4229481"/>
              <a:ext cx="75628" cy="75628"/>
              <a:chOff x="7755064" y="4229481"/>
              <a:chExt cx="75628" cy="75628"/>
            </a:xfrm>
          </p:grpSpPr>
          <p:sp>
            <p:nvSpPr>
              <p:cNvPr id="17103" name="Freeform: Shape 17102">
                <a:extLst>
                  <a:ext uri="{FF2B5EF4-FFF2-40B4-BE49-F238E27FC236}">
                    <a16:creationId xmlns:a16="http://schemas.microsoft.com/office/drawing/2014/main" id="{A08824CF-D0D5-E935-C257-FCA5FDFA8256}"/>
                  </a:ext>
                </a:extLst>
              </p:cNvPr>
              <p:cNvSpPr/>
              <p:nvPr/>
            </p:nvSpPr>
            <p:spPr>
              <a:xfrm>
                <a:off x="7792878"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4" name="Freeform: Shape 17103">
                <a:extLst>
                  <a:ext uri="{FF2B5EF4-FFF2-40B4-BE49-F238E27FC236}">
                    <a16:creationId xmlns:a16="http://schemas.microsoft.com/office/drawing/2014/main" id="{9D23B04C-B406-B80B-F98A-DE2AC3BCBCDA}"/>
                  </a:ext>
                </a:extLst>
              </p:cNvPr>
              <p:cNvSpPr/>
              <p:nvPr/>
            </p:nvSpPr>
            <p:spPr>
              <a:xfrm>
                <a:off x="7755064"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4" name="Graphic 112">
              <a:extLst>
                <a:ext uri="{FF2B5EF4-FFF2-40B4-BE49-F238E27FC236}">
                  <a16:creationId xmlns:a16="http://schemas.microsoft.com/office/drawing/2014/main" id="{611DEDB5-93F8-F9E1-ADA9-8B4AA6E5F3C1}"/>
                </a:ext>
              </a:extLst>
            </p:cNvPr>
            <p:cNvGrpSpPr/>
            <p:nvPr/>
          </p:nvGrpSpPr>
          <p:grpSpPr>
            <a:xfrm>
              <a:off x="7760017" y="4229481"/>
              <a:ext cx="75723" cy="75628"/>
              <a:chOff x="7760017" y="4229481"/>
              <a:chExt cx="75723" cy="75628"/>
            </a:xfrm>
          </p:grpSpPr>
          <p:sp>
            <p:nvSpPr>
              <p:cNvPr id="17101" name="Freeform: Shape 17100">
                <a:extLst>
                  <a:ext uri="{FF2B5EF4-FFF2-40B4-BE49-F238E27FC236}">
                    <a16:creationId xmlns:a16="http://schemas.microsoft.com/office/drawing/2014/main" id="{6DB5B6C9-AF4B-6821-EC59-CFCB82724C6C}"/>
                  </a:ext>
                </a:extLst>
              </p:cNvPr>
              <p:cNvSpPr/>
              <p:nvPr/>
            </p:nvSpPr>
            <p:spPr>
              <a:xfrm>
                <a:off x="77979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2" name="Freeform: Shape 17101">
                <a:extLst>
                  <a:ext uri="{FF2B5EF4-FFF2-40B4-BE49-F238E27FC236}">
                    <a16:creationId xmlns:a16="http://schemas.microsoft.com/office/drawing/2014/main" id="{95C1AEA5-902F-DE37-03F1-FB56C7DE618E}"/>
                  </a:ext>
                </a:extLst>
              </p:cNvPr>
              <p:cNvSpPr/>
              <p:nvPr/>
            </p:nvSpPr>
            <p:spPr>
              <a:xfrm>
                <a:off x="776001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5" name="Graphic 112">
              <a:extLst>
                <a:ext uri="{FF2B5EF4-FFF2-40B4-BE49-F238E27FC236}">
                  <a16:creationId xmlns:a16="http://schemas.microsoft.com/office/drawing/2014/main" id="{C15968B6-B191-1C72-83EA-C9ACE0B4EC9A}"/>
                </a:ext>
              </a:extLst>
            </p:cNvPr>
            <p:cNvGrpSpPr/>
            <p:nvPr/>
          </p:nvGrpSpPr>
          <p:grpSpPr>
            <a:xfrm>
              <a:off x="7800594" y="4229481"/>
              <a:ext cx="75723" cy="75628"/>
              <a:chOff x="7800594" y="4229481"/>
              <a:chExt cx="75723" cy="75628"/>
            </a:xfrm>
          </p:grpSpPr>
          <p:sp>
            <p:nvSpPr>
              <p:cNvPr id="17099" name="Freeform: Shape 17098">
                <a:extLst>
                  <a:ext uri="{FF2B5EF4-FFF2-40B4-BE49-F238E27FC236}">
                    <a16:creationId xmlns:a16="http://schemas.microsoft.com/office/drawing/2014/main" id="{C7D00310-C7BD-90EE-8545-599618619CC3}"/>
                  </a:ext>
                </a:extLst>
              </p:cNvPr>
              <p:cNvSpPr/>
              <p:nvPr/>
            </p:nvSpPr>
            <p:spPr>
              <a:xfrm>
                <a:off x="783850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100" name="Freeform: Shape 17099">
                <a:extLst>
                  <a:ext uri="{FF2B5EF4-FFF2-40B4-BE49-F238E27FC236}">
                    <a16:creationId xmlns:a16="http://schemas.microsoft.com/office/drawing/2014/main" id="{060F6DE5-2A8B-EAA6-C369-9B1B007C7D9B}"/>
                  </a:ext>
                </a:extLst>
              </p:cNvPr>
              <p:cNvSpPr/>
              <p:nvPr/>
            </p:nvSpPr>
            <p:spPr>
              <a:xfrm>
                <a:off x="7800594"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6" name="Graphic 112">
              <a:extLst>
                <a:ext uri="{FF2B5EF4-FFF2-40B4-BE49-F238E27FC236}">
                  <a16:creationId xmlns:a16="http://schemas.microsoft.com/office/drawing/2014/main" id="{AC96DD99-5E51-E1F9-BF87-3E550FF2560B}"/>
                </a:ext>
              </a:extLst>
            </p:cNvPr>
            <p:cNvGrpSpPr/>
            <p:nvPr/>
          </p:nvGrpSpPr>
          <p:grpSpPr>
            <a:xfrm>
              <a:off x="7805451" y="4229481"/>
              <a:ext cx="75723" cy="75628"/>
              <a:chOff x="7805451" y="4229481"/>
              <a:chExt cx="75723" cy="75628"/>
            </a:xfrm>
          </p:grpSpPr>
          <p:sp>
            <p:nvSpPr>
              <p:cNvPr id="17097" name="Freeform: Shape 17096">
                <a:extLst>
                  <a:ext uri="{FF2B5EF4-FFF2-40B4-BE49-F238E27FC236}">
                    <a16:creationId xmlns:a16="http://schemas.microsoft.com/office/drawing/2014/main" id="{03EDC5F8-1080-6346-B49E-06F841778C13}"/>
                  </a:ext>
                </a:extLst>
              </p:cNvPr>
              <p:cNvSpPr/>
              <p:nvPr/>
            </p:nvSpPr>
            <p:spPr>
              <a:xfrm>
                <a:off x="784336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8" name="Freeform: Shape 17097">
                <a:extLst>
                  <a:ext uri="{FF2B5EF4-FFF2-40B4-BE49-F238E27FC236}">
                    <a16:creationId xmlns:a16="http://schemas.microsoft.com/office/drawing/2014/main" id="{BF99CF2A-9923-61EB-F7F0-68D1900BF1C6}"/>
                  </a:ext>
                </a:extLst>
              </p:cNvPr>
              <p:cNvSpPr/>
              <p:nvPr/>
            </p:nvSpPr>
            <p:spPr>
              <a:xfrm>
                <a:off x="780545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7" name="Graphic 112">
              <a:extLst>
                <a:ext uri="{FF2B5EF4-FFF2-40B4-BE49-F238E27FC236}">
                  <a16:creationId xmlns:a16="http://schemas.microsoft.com/office/drawing/2014/main" id="{0478AC4E-B003-3A06-5B63-B4CFC8F7D5B7}"/>
                </a:ext>
              </a:extLst>
            </p:cNvPr>
            <p:cNvGrpSpPr/>
            <p:nvPr/>
          </p:nvGrpSpPr>
          <p:grpSpPr>
            <a:xfrm>
              <a:off x="8124729" y="4229481"/>
              <a:ext cx="75628" cy="75628"/>
              <a:chOff x="8124729" y="4229481"/>
              <a:chExt cx="75628" cy="75628"/>
            </a:xfrm>
          </p:grpSpPr>
          <p:sp>
            <p:nvSpPr>
              <p:cNvPr id="17095" name="Freeform: Shape 17094">
                <a:extLst>
                  <a:ext uri="{FF2B5EF4-FFF2-40B4-BE49-F238E27FC236}">
                    <a16:creationId xmlns:a16="http://schemas.microsoft.com/office/drawing/2014/main" id="{94568598-42BD-F487-D95A-408D2936C8AD}"/>
                  </a:ext>
                </a:extLst>
              </p:cNvPr>
              <p:cNvSpPr/>
              <p:nvPr/>
            </p:nvSpPr>
            <p:spPr>
              <a:xfrm>
                <a:off x="816254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6" name="Freeform: Shape 17095">
                <a:extLst>
                  <a:ext uri="{FF2B5EF4-FFF2-40B4-BE49-F238E27FC236}">
                    <a16:creationId xmlns:a16="http://schemas.microsoft.com/office/drawing/2014/main" id="{8B300A34-9875-9CE8-8734-D8388AD2A453}"/>
                  </a:ext>
                </a:extLst>
              </p:cNvPr>
              <p:cNvSpPr/>
              <p:nvPr/>
            </p:nvSpPr>
            <p:spPr>
              <a:xfrm>
                <a:off x="8124729"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8" name="Graphic 112">
              <a:extLst>
                <a:ext uri="{FF2B5EF4-FFF2-40B4-BE49-F238E27FC236}">
                  <a16:creationId xmlns:a16="http://schemas.microsoft.com/office/drawing/2014/main" id="{E1A13A2C-305D-1A62-A03D-0B32F8C05FDD}"/>
                </a:ext>
              </a:extLst>
            </p:cNvPr>
            <p:cNvGrpSpPr/>
            <p:nvPr/>
          </p:nvGrpSpPr>
          <p:grpSpPr>
            <a:xfrm>
              <a:off x="8143875" y="4229481"/>
              <a:ext cx="75628" cy="75628"/>
              <a:chOff x="8143875" y="4229481"/>
              <a:chExt cx="75628" cy="75628"/>
            </a:xfrm>
          </p:grpSpPr>
          <p:sp>
            <p:nvSpPr>
              <p:cNvPr id="17093" name="Freeform: Shape 17092">
                <a:extLst>
                  <a:ext uri="{FF2B5EF4-FFF2-40B4-BE49-F238E27FC236}">
                    <a16:creationId xmlns:a16="http://schemas.microsoft.com/office/drawing/2014/main" id="{533A8CA3-C1B3-BCEF-2949-EBD2C43C7C00}"/>
                  </a:ext>
                </a:extLst>
              </p:cNvPr>
              <p:cNvSpPr/>
              <p:nvPr/>
            </p:nvSpPr>
            <p:spPr>
              <a:xfrm>
                <a:off x="818168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4" name="Freeform: Shape 17093">
                <a:extLst>
                  <a:ext uri="{FF2B5EF4-FFF2-40B4-BE49-F238E27FC236}">
                    <a16:creationId xmlns:a16="http://schemas.microsoft.com/office/drawing/2014/main" id="{AFD7CBB0-74CE-063F-0BE5-19E2D3D5768C}"/>
                  </a:ext>
                </a:extLst>
              </p:cNvPr>
              <p:cNvSpPr/>
              <p:nvPr/>
            </p:nvSpPr>
            <p:spPr>
              <a:xfrm>
                <a:off x="814387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59" name="Graphic 112">
              <a:extLst>
                <a:ext uri="{FF2B5EF4-FFF2-40B4-BE49-F238E27FC236}">
                  <a16:creationId xmlns:a16="http://schemas.microsoft.com/office/drawing/2014/main" id="{A81E00AF-09FC-DF03-BEF3-90A86C342403}"/>
                </a:ext>
              </a:extLst>
            </p:cNvPr>
            <p:cNvGrpSpPr/>
            <p:nvPr/>
          </p:nvGrpSpPr>
          <p:grpSpPr>
            <a:xfrm>
              <a:off x="8163020" y="4229481"/>
              <a:ext cx="75628" cy="75628"/>
              <a:chOff x="8163020" y="4229481"/>
              <a:chExt cx="75628" cy="75628"/>
            </a:xfrm>
          </p:grpSpPr>
          <p:sp>
            <p:nvSpPr>
              <p:cNvPr id="17091" name="Freeform: Shape 17090">
                <a:extLst>
                  <a:ext uri="{FF2B5EF4-FFF2-40B4-BE49-F238E27FC236}">
                    <a16:creationId xmlns:a16="http://schemas.microsoft.com/office/drawing/2014/main" id="{0364BAF9-5FF1-F02A-E1ED-ADCFAFCF3823}"/>
                  </a:ext>
                </a:extLst>
              </p:cNvPr>
              <p:cNvSpPr/>
              <p:nvPr/>
            </p:nvSpPr>
            <p:spPr>
              <a:xfrm>
                <a:off x="8200834"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2" name="Freeform: Shape 17091">
                <a:extLst>
                  <a:ext uri="{FF2B5EF4-FFF2-40B4-BE49-F238E27FC236}">
                    <a16:creationId xmlns:a16="http://schemas.microsoft.com/office/drawing/2014/main" id="{ECC796C2-69C5-9606-799E-B4F22684FB27}"/>
                  </a:ext>
                </a:extLst>
              </p:cNvPr>
              <p:cNvSpPr/>
              <p:nvPr/>
            </p:nvSpPr>
            <p:spPr>
              <a:xfrm>
                <a:off x="816302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0" name="Graphic 112">
              <a:extLst>
                <a:ext uri="{FF2B5EF4-FFF2-40B4-BE49-F238E27FC236}">
                  <a16:creationId xmlns:a16="http://schemas.microsoft.com/office/drawing/2014/main" id="{F5311AE9-193C-6B63-2684-EC06AF74C13C}"/>
                </a:ext>
              </a:extLst>
            </p:cNvPr>
            <p:cNvGrpSpPr/>
            <p:nvPr/>
          </p:nvGrpSpPr>
          <p:grpSpPr>
            <a:xfrm>
              <a:off x="8182165" y="4229481"/>
              <a:ext cx="75628" cy="75628"/>
              <a:chOff x="8182165" y="4229481"/>
              <a:chExt cx="75628" cy="75628"/>
            </a:xfrm>
          </p:grpSpPr>
          <p:sp>
            <p:nvSpPr>
              <p:cNvPr id="17089" name="Freeform: Shape 17088">
                <a:extLst>
                  <a:ext uri="{FF2B5EF4-FFF2-40B4-BE49-F238E27FC236}">
                    <a16:creationId xmlns:a16="http://schemas.microsoft.com/office/drawing/2014/main" id="{ED7EBA3C-DC14-4245-3BCD-25A50AB6E743}"/>
                  </a:ext>
                </a:extLst>
              </p:cNvPr>
              <p:cNvSpPr/>
              <p:nvPr/>
            </p:nvSpPr>
            <p:spPr>
              <a:xfrm>
                <a:off x="821997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90" name="Freeform: Shape 17089">
                <a:extLst>
                  <a:ext uri="{FF2B5EF4-FFF2-40B4-BE49-F238E27FC236}">
                    <a16:creationId xmlns:a16="http://schemas.microsoft.com/office/drawing/2014/main" id="{7E891DC4-802B-2203-FE0C-B82BD0E99BCA}"/>
                  </a:ext>
                </a:extLst>
              </p:cNvPr>
              <p:cNvSpPr/>
              <p:nvPr/>
            </p:nvSpPr>
            <p:spPr>
              <a:xfrm>
                <a:off x="8182165" y="4267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1" name="Graphic 112">
              <a:extLst>
                <a:ext uri="{FF2B5EF4-FFF2-40B4-BE49-F238E27FC236}">
                  <a16:creationId xmlns:a16="http://schemas.microsoft.com/office/drawing/2014/main" id="{1C538F8F-4AC9-266D-74FA-C4689880C231}"/>
                </a:ext>
              </a:extLst>
            </p:cNvPr>
            <p:cNvGrpSpPr/>
            <p:nvPr/>
          </p:nvGrpSpPr>
          <p:grpSpPr>
            <a:xfrm>
              <a:off x="8201310" y="4229481"/>
              <a:ext cx="75628" cy="75628"/>
              <a:chOff x="8201310" y="4229481"/>
              <a:chExt cx="75628" cy="75628"/>
            </a:xfrm>
          </p:grpSpPr>
          <p:sp>
            <p:nvSpPr>
              <p:cNvPr id="17087" name="Freeform: Shape 17086">
                <a:extLst>
                  <a:ext uri="{FF2B5EF4-FFF2-40B4-BE49-F238E27FC236}">
                    <a16:creationId xmlns:a16="http://schemas.microsoft.com/office/drawing/2014/main" id="{2C713FB3-522E-4306-3EFC-4692037BACA2}"/>
                  </a:ext>
                </a:extLst>
              </p:cNvPr>
              <p:cNvSpPr/>
              <p:nvPr/>
            </p:nvSpPr>
            <p:spPr>
              <a:xfrm>
                <a:off x="823912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8" name="Freeform: Shape 17087">
                <a:extLst>
                  <a:ext uri="{FF2B5EF4-FFF2-40B4-BE49-F238E27FC236}">
                    <a16:creationId xmlns:a16="http://schemas.microsoft.com/office/drawing/2014/main" id="{7FD83687-C39B-0F95-2C67-D1FB68E0189F}"/>
                  </a:ext>
                </a:extLst>
              </p:cNvPr>
              <p:cNvSpPr/>
              <p:nvPr/>
            </p:nvSpPr>
            <p:spPr>
              <a:xfrm>
                <a:off x="8201310"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2" name="Graphic 112">
              <a:extLst>
                <a:ext uri="{FF2B5EF4-FFF2-40B4-BE49-F238E27FC236}">
                  <a16:creationId xmlns:a16="http://schemas.microsoft.com/office/drawing/2014/main" id="{C5C69D8E-B45C-90B7-2B13-DAA967BCEBEE}"/>
                </a:ext>
              </a:extLst>
            </p:cNvPr>
            <p:cNvGrpSpPr/>
            <p:nvPr/>
          </p:nvGrpSpPr>
          <p:grpSpPr>
            <a:xfrm>
              <a:off x="8239601" y="4229481"/>
              <a:ext cx="75723" cy="75628"/>
              <a:chOff x="8239601" y="4229481"/>
              <a:chExt cx="75723" cy="75628"/>
            </a:xfrm>
          </p:grpSpPr>
          <p:sp>
            <p:nvSpPr>
              <p:cNvPr id="17085" name="Freeform: Shape 17084">
                <a:extLst>
                  <a:ext uri="{FF2B5EF4-FFF2-40B4-BE49-F238E27FC236}">
                    <a16:creationId xmlns:a16="http://schemas.microsoft.com/office/drawing/2014/main" id="{06111B19-2EF3-9284-CF38-629577A53453}"/>
                  </a:ext>
                </a:extLst>
              </p:cNvPr>
              <p:cNvSpPr/>
              <p:nvPr/>
            </p:nvSpPr>
            <p:spPr>
              <a:xfrm>
                <a:off x="8277415"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6" name="Freeform: Shape 17085">
                <a:extLst>
                  <a:ext uri="{FF2B5EF4-FFF2-40B4-BE49-F238E27FC236}">
                    <a16:creationId xmlns:a16="http://schemas.microsoft.com/office/drawing/2014/main" id="{FF3FB4F6-6552-BBFD-109C-C31412803F39}"/>
                  </a:ext>
                </a:extLst>
              </p:cNvPr>
              <p:cNvSpPr/>
              <p:nvPr/>
            </p:nvSpPr>
            <p:spPr>
              <a:xfrm>
                <a:off x="8239601"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3" name="Graphic 112">
              <a:extLst>
                <a:ext uri="{FF2B5EF4-FFF2-40B4-BE49-F238E27FC236}">
                  <a16:creationId xmlns:a16="http://schemas.microsoft.com/office/drawing/2014/main" id="{C22A370B-48F9-B257-B713-D8183BD074CD}"/>
                </a:ext>
              </a:extLst>
            </p:cNvPr>
            <p:cNvGrpSpPr/>
            <p:nvPr/>
          </p:nvGrpSpPr>
          <p:grpSpPr>
            <a:xfrm>
              <a:off x="8463915" y="4229481"/>
              <a:ext cx="75723" cy="75628"/>
              <a:chOff x="8463915" y="4229481"/>
              <a:chExt cx="75723" cy="75628"/>
            </a:xfrm>
          </p:grpSpPr>
          <p:sp>
            <p:nvSpPr>
              <p:cNvPr id="17083" name="Freeform: Shape 17082">
                <a:extLst>
                  <a:ext uri="{FF2B5EF4-FFF2-40B4-BE49-F238E27FC236}">
                    <a16:creationId xmlns:a16="http://schemas.microsoft.com/office/drawing/2014/main" id="{1816766C-FCDA-EF15-3F30-FB897DCAFFED}"/>
                  </a:ext>
                </a:extLst>
              </p:cNvPr>
              <p:cNvSpPr/>
              <p:nvPr/>
            </p:nvSpPr>
            <p:spPr>
              <a:xfrm>
                <a:off x="849170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4" name="Freeform: Shape 17083">
                <a:extLst>
                  <a:ext uri="{FF2B5EF4-FFF2-40B4-BE49-F238E27FC236}">
                    <a16:creationId xmlns:a16="http://schemas.microsoft.com/office/drawing/2014/main" id="{0BBC1984-8C82-38A7-7F60-AC61995332F4}"/>
                  </a:ext>
                </a:extLst>
              </p:cNvPr>
              <p:cNvSpPr/>
              <p:nvPr/>
            </p:nvSpPr>
            <p:spPr>
              <a:xfrm>
                <a:off x="8463915"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4" name="Graphic 112">
              <a:extLst>
                <a:ext uri="{FF2B5EF4-FFF2-40B4-BE49-F238E27FC236}">
                  <a16:creationId xmlns:a16="http://schemas.microsoft.com/office/drawing/2014/main" id="{0F4A4CAF-6D64-45F2-049B-09416B8A8258}"/>
                </a:ext>
              </a:extLst>
            </p:cNvPr>
            <p:cNvGrpSpPr/>
            <p:nvPr/>
          </p:nvGrpSpPr>
          <p:grpSpPr>
            <a:xfrm>
              <a:off x="8598884" y="4229481"/>
              <a:ext cx="75723" cy="75628"/>
              <a:chOff x="8598884" y="4229481"/>
              <a:chExt cx="75723" cy="75628"/>
            </a:xfrm>
          </p:grpSpPr>
          <p:sp>
            <p:nvSpPr>
              <p:cNvPr id="17081" name="Freeform: Shape 17080">
                <a:extLst>
                  <a:ext uri="{FF2B5EF4-FFF2-40B4-BE49-F238E27FC236}">
                    <a16:creationId xmlns:a16="http://schemas.microsoft.com/office/drawing/2014/main" id="{9BC68807-E4AF-9F1A-765D-22B44458E1A5}"/>
                  </a:ext>
                </a:extLst>
              </p:cNvPr>
              <p:cNvSpPr/>
              <p:nvPr/>
            </p:nvSpPr>
            <p:spPr>
              <a:xfrm>
                <a:off x="8636793"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2" name="Freeform: Shape 17081">
                <a:extLst>
                  <a:ext uri="{FF2B5EF4-FFF2-40B4-BE49-F238E27FC236}">
                    <a16:creationId xmlns:a16="http://schemas.microsoft.com/office/drawing/2014/main" id="{3D84C330-C529-44B6-056C-2DB2F4492AD0}"/>
                  </a:ext>
                </a:extLst>
              </p:cNvPr>
              <p:cNvSpPr/>
              <p:nvPr/>
            </p:nvSpPr>
            <p:spPr>
              <a:xfrm>
                <a:off x="8598884"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5" name="Graphic 112">
              <a:extLst>
                <a:ext uri="{FF2B5EF4-FFF2-40B4-BE49-F238E27FC236}">
                  <a16:creationId xmlns:a16="http://schemas.microsoft.com/office/drawing/2014/main" id="{2852BD43-0AA7-1811-5916-5AEFF28BB90C}"/>
                </a:ext>
              </a:extLst>
            </p:cNvPr>
            <p:cNvGrpSpPr/>
            <p:nvPr/>
          </p:nvGrpSpPr>
          <p:grpSpPr>
            <a:xfrm>
              <a:off x="8611457" y="4229481"/>
              <a:ext cx="75628" cy="75628"/>
              <a:chOff x="8611457" y="4229481"/>
              <a:chExt cx="75628" cy="75628"/>
            </a:xfrm>
          </p:grpSpPr>
          <p:sp>
            <p:nvSpPr>
              <p:cNvPr id="17079" name="Freeform: Shape 17078">
                <a:extLst>
                  <a:ext uri="{FF2B5EF4-FFF2-40B4-BE49-F238E27FC236}">
                    <a16:creationId xmlns:a16="http://schemas.microsoft.com/office/drawing/2014/main" id="{8A1ACB2F-43D8-A92A-016D-5902201EEE63}"/>
                  </a:ext>
                </a:extLst>
              </p:cNvPr>
              <p:cNvSpPr/>
              <p:nvPr/>
            </p:nvSpPr>
            <p:spPr>
              <a:xfrm>
                <a:off x="864927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80" name="Freeform: Shape 17079">
                <a:extLst>
                  <a:ext uri="{FF2B5EF4-FFF2-40B4-BE49-F238E27FC236}">
                    <a16:creationId xmlns:a16="http://schemas.microsoft.com/office/drawing/2014/main" id="{47F095BD-85F1-E355-D039-FA7F63D8C2B7}"/>
                  </a:ext>
                </a:extLst>
              </p:cNvPr>
              <p:cNvSpPr/>
              <p:nvPr/>
            </p:nvSpPr>
            <p:spPr>
              <a:xfrm>
                <a:off x="8611457"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6" name="Graphic 112">
              <a:extLst>
                <a:ext uri="{FF2B5EF4-FFF2-40B4-BE49-F238E27FC236}">
                  <a16:creationId xmlns:a16="http://schemas.microsoft.com/office/drawing/2014/main" id="{CFEF1FB1-BF30-1263-10B0-EBB28E8C9672}"/>
                </a:ext>
              </a:extLst>
            </p:cNvPr>
            <p:cNvGrpSpPr/>
            <p:nvPr/>
          </p:nvGrpSpPr>
          <p:grpSpPr>
            <a:xfrm>
              <a:off x="8623935" y="4229481"/>
              <a:ext cx="75628" cy="75628"/>
              <a:chOff x="8623935" y="4229481"/>
              <a:chExt cx="75628" cy="75628"/>
            </a:xfrm>
          </p:grpSpPr>
          <p:sp>
            <p:nvSpPr>
              <p:cNvPr id="17077" name="Freeform: Shape 17076">
                <a:extLst>
                  <a:ext uri="{FF2B5EF4-FFF2-40B4-BE49-F238E27FC236}">
                    <a16:creationId xmlns:a16="http://schemas.microsoft.com/office/drawing/2014/main" id="{2F639789-201C-129F-82A4-542C4B687470}"/>
                  </a:ext>
                </a:extLst>
              </p:cNvPr>
              <p:cNvSpPr/>
              <p:nvPr/>
            </p:nvSpPr>
            <p:spPr>
              <a:xfrm>
                <a:off x="8661749"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8" name="Freeform: Shape 17077">
                <a:extLst>
                  <a:ext uri="{FF2B5EF4-FFF2-40B4-BE49-F238E27FC236}">
                    <a16:creationId xmlns:a16="http://schemas.microsoft.com/office/drawing/2014/main" id="{E752F525-CBA8-7109-E39C-B9E53C460D7C}"/>
                  </a:ext>
                </a:extLst>
              </p:cNvPr>
              <p:cNvSpPr/>
              <p:nvPr/>
            </p:nvSpPr>
            <p:spPr>
              <a:xfrm>
                <a:off x="8623935" y="4267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7" name="Graphic 112">
              <a:extLst>
                <a:ext uri="{FF2B5EF4-FFF2-40B4-BE49-F238E27FC236}">
                  <a16:creationId xmlns:a16="http://schemas.microsoft.com/office/drawing/2014/main" id="{53235AEC-1606-AB79-D976-1BCDEE9ACC38}"/>
                </a:ext>
              </a:extLst>
            </p:cNvPr>
            <p:cNvGrpSpPr/>
            <p:nvPr/>
          </p:nvGrpSpPr>
          <p:grpSpPr>
            <a:xfrm>
              <a:off x="8648890" y="4229481"/>
              <a:ext cx="75723" cy="75628"/>
              <a:chOff x="8648890" y="4229481"/>
              <a:chExt cx="75723" cy="75628"/>
            </a:xfrm>
          </p:grpSpPr>
          <p:sp>
            <p:nvSpPr>
              <p:cNvPr id="17075" name="Freeform: Shape 17074">
                <a:extLst>
                  <a:ext uri="{FF2B5EF4-FFF2-40B4-BE49-F238E27FC236}">
                    <a16:creationId xmlns:a16="http://schemas.microsoft.com/office/drawing/2014/main" id="{72E28604-9315-EC84-C874-06C070E544D0}"/>
                  </a:ext>
                </a:extLst>
              </p:cNvPr>
              <p:cNvSpPr/>
              <p:nvPr/>
            </p:nvSpPr>
            <p:spPr>
              <a:xfrm>
                <a:off x="868680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6" name="Freeform: Shape 17075">
                <a:extLst>
                  <a:ext uri="{FF2B5EF4-FFF2-40B4-BE49-F238E27FC236}">
                    <a16:creationId xmlns:a16="http://schemas.microsoft.com/office/drawing/2014/main" id="{88CA8347-9D16-3EAB-0B33-153B8B9349DB}"/>
                  </a:ext>
                </a:extLst>
              </p:cNvPr>
              <p:cNvSpPr/>
              <p:nvPr/>
            </p:nvSpPr>
            <p:spPr>
              <a:xfrm>
                <a:off x="8648890"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8" name="Graphic 112">
              <a:extLst>
                <a:ext uri="{FF2B5EF4-FFF2-40B4-BE49-F238E27FC236}">
                  <a16:creationId xmlns:a16="http://schemas.microsoft.com/office/drawing/2014/main" id="{C58118B0-9352-DF07-3AA2-1F261C0AFBD9}"/>
                </a:ext>
              </a:extLst>
            </p:cNvPr>
            <p:cNvGrpSpPr/>
            <p:nvPr/>
          </p:nvGrpSpPr>
          <p:grpSpPr>
            <a:xfrm>
              <a:off x="8636412" y="4229481"/>
              <a:ext cx="75723" cy="75628"/>
              <a:chOff x="8636412" y="4229481"/>
              <a:chExt cx="75723" cy="75628"/>
            </a:xfrm>
          </p:grpSpPr>
          <p:sp>
            <p:nvSpPr>
              <p:cNvPr id="17073" name="Freeform: Shape 17072">
                <a:extLst>
                  <a:ext uri="{FF2B5EF4-FFF2-40B4-BE49-F238E27FC236}">
                    <a16:creationId xmlns:a16="http://schemas.microsoft.com/office/drawing/2014/main" id="{C317FC94-02F0-26C9-9128-CD9DD67EAF89}"/>
                  </a:ext>
                </a:extLst>
              </p:cNvPr>
              <p:cNvSpPr/>
              <p:nvPr/>
            </p:nvSpPr>
            <p:spPr>
              <a:xfrm>
                <a:off x="8674227"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4" name="Freeform: Shape 17073">
                <a:extLst>
                  <a:ext uri="{FF2B5EF4-FFF2-40B4-BE49-F238E27FC236}">
                    <a16:creationId xmlns:a16="http://schemas.microsoft.com/office/drawing/2014/main" id="{0D40B9E7-4CB4-4025-C64E-9A3D2DE80F81}"/>
                  </a:ext>
                </a:extLst>
              </p:cNvPr>
              <p:cNvSpPr/>
              <p:nvPr/>
            </p:nvSpPr>
            <p:spPr>
              <a:xfrm>
                <a:off x="8636412" y="426729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69" name="Graphic 112">
              <a:extLst>
                <a:ext uri="{FF2B5EF4-FFF2-40B4-BE49-F238E27FC236}">
                  <a16:creationId xmlns:a16="http://schemas.microsoft.com/office/drawing/2014/main" id="{78E3B8FD-0696-33E9-9578-8409DB28DABF}"/>
                </a:ext>
              </a:extLst>
            </p:cNvPr>
            <p:cNvGrpSpPr/>
            <p:nvPr/>
          </p:nvGrpSpPr>
          <p:grpSpPr>
            <a:xfrm>
              <a:off x="8220456" y="4229481"/>
              <a:ext cx="75723" cy="75628"/>
              <a:chOff x="8220456" y="4229481"/>
              <a:chExt cx="75723" cy="75628"/>
            </a:xfrm>
          </p:grpSpPr>
          <p:sp>
            <p:nvSpPr>
              <p:cNvPr id="17071" name="Freeform: Shape 17070">
                <a:extLst>
                  <a:ext uri="{FF2B5EF4-FFF2-40B4-BE49-F238E27FC236}">
                    <a16:creationId xmlns:a16="http://schemas.microsoft.com/office/drawing/2014/main" id="{83A2AB94-C0A5-D639-9553-A295373490CC}"/>
                  </a:ext>
                </a:extLst>
              </p:cNvPr>
              <p:cNvSpPr/>
              <p:nvPr/>
            </p:nvSpPr>
            <p:spPr>
              <a:xfrm>
                <a:off x="8258270"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2" name="Freeform: Shape 17071">
                <a:extLst>
                  <a:ext uri="{FF2B5EF4-FFF2-40B4-BE49-F238E27FC236}">
                    <a16:creationId xmlns:a16="http://schemas.microsoft.com/office/drawing/2014/main" id="{0BE7D727-8B09-4DC5-DBC2-75ADA23DC011}"/>
                  </a:ext>
                </a:extLst>
              </p:cNvPr>
              <p:cNvSpPr/>
              <p:nvPr/>
            </p:nvSpPr>
            <p:spPr>
              <a:xfrm>
                <a:off x="8220456"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0" name="Graphic 112">
              <a:extLst>
                <a:ext uri="{FF2B5EF4-FFF2-40B4-BE49-F238E27FC236}">
                  <a16:creationId xmlns:a16="http://schemas.microsoft.com/office/drawing/2014/main" id="{40A02B73-F7CB-BE5F-C0AA-FC39BF1309F1}"/>
                </a:ext>
              </a:extLst>
            </p:cNvPr>
            <p:cNvGrpSpPr/>
            <p:nvPr/>
          </p:nvGrpSpPr>
          <p:grpSpPr>
            <a:xfrm>
              <a:off x="7790307" y="4229481"/>
              <a:ext cx="75723" cy="75628"/>
              <a:chOff x="7790307" y="4229481"/>
              <a:chExt cx="75723" cy="75628"/>
            </a:xfrm>
          </p:grpSpPr>
          <p:sp>
            <p:nvSpPr>
              <p:cNvPr id="17069" name="Freeform: Shape 17068">
                <a:extLst>
                  <a:ext uri="{FF2B5EF4-FFF2-40B4-BE49-F238E27FC236}">
                    <a16:creationId xmlns:a16="http://schemas.microsoft.com/office/drawing/2014/main" id="{D4831BB4-929C-4DFD-BDAA-CDF5B28BC46C}"/>
                  </a:ext>
                </a:extLst>
              </p:cNvPr>
              <p:cNvSpPr/>
              <p:nvPr/>
            </p:nvSpPr>
            <p:spPr>
              <a:xfrm>
                <a:off x="7828121" y="422948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70" name="Freeform: Shape 17069">
                <a:extLst>
                  <a:ext uri="{FF2B5EF4-FFF2-40B4-BE49-F238E27FC236}">
                    <a16:creationId xmlns:a16="http://schemas.microsoft.com/office/drawing/2014/main" id="{DEABBDE0-F3F8-9D96-9C5D-851801A4332D}"/>
                  </a:ext>
                </a:extLst>
              </p:cNvPr>
              <p:cNvSpPr/>
              <p:nvPr/>
            </p:nvSpPr>
            <p:spPr>
              <a:xfrm>
                <a:off x="7790307" y="4267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1" name="Graphic 112">
              <a:extLst>
                <a:ext uri="{FF2B5EF4-FFF2-40B4-BE49-F238E27FC236}">
                  <a16:creationId xmlns:a16="http://schemas.microsoft.com/office/drawing/2014/main" id="{8D9A23D8-BDBB-BD64-40BA-ACF0ADE549DA}"/>
                </a:ext>
              </a:extLst>
            </p:cNvPr>
            <p:cNvGrpSpPr/>
            <p:nvPr/>
          </p:nvGrpSpPr>
          <p:grpSpPr>
            <a:xfrm>
              <a:off x="7330535" y="4205763"/>
              <a:ext cx="75628" cy="75628"/>
              <a:chOff x="7330535" y="4205763"/>
              <a:chExt cx="75628" cy="75628"/>
            </a:xfrm>
          </p:grpSpPr>
          <p:sp>
            <p:nvSpPr>
              <p:cNvPr id="17067" name="Freeform: Shape 17066">
                <a:extLst>
                  <a:ext uri="{FF2B5EF4-FFF2-40B4-BE49-F238E27FC236}">
                    <a16:creationId xmlns:a16="http://schemas.microsoft.com/office/drawing/2014/main" id="{2C1305CC-DD6E-50DE-9E25-459BEFE0F25B}"/>
                  </a:ext>
                </a:extLst>
              </p:cNvPr>
              <p:cNvSpPr/>
              <p:nvPr/>
            </p:nvSpPr>
            <p:spPr>
              <a:xfrm>
                <a:off x="7368349" y="4205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8" name="Freeform: Shape 17067">
                <a:extLst>
                  <a:ext uri="{FF2B5EF4-FFF2-40B4-BE49-F238E27FC236}">
                    <a16:creationId xmlns:a16="http://schemas.microsoft.com/office/drawing/2014/main" id="{37BB639D-0436-4EE5-17FF-A03BC8D4CB62}"/>
                  </a:ext>
                </a:extLst>
              </p:cNvPr>
              <p:cNvSpPr/>
              <p:nvPr/>
            </p:nvSpPr>
            <p:spPr>
              <a:xfrm>
                <a:off x="7330535" y="42435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2" name="Graphic 112">
              <a:extLst>
                <a:ext uri="{FF2B5EF4-FFF2-40B4-BE49-F238E27FC236}">
                  <a16:creationId xmlns:a16="http://schemas.microsoft.com/office/drawing/2014/main" id="{0782C202-C699-8B22-0A2A-463FAACE32CF}"/>
                </a:ext>
              </a:extLst>
            </p:cNvPr>
            <p:cNvGrpSpPr/>
            <p:nvPr/>
          </p:nvGrpSpPr>
          <p:grpSpPr>
            <a:xfrm>
              <a:off x="7299007" y="4153757"/>
              <a:ext cx="75723" cy="75723"/>
              <a:chOff x="7299007" y="4153757"/>
              <a:chExt cx="75723" cy="75723"/>
            </a:xfrm>
          </p:grpSpPr>
          <p:sp>
            <p:nvSpPr>
              <p:cNvPr id="17065" name="Freeform: Shape 17064">
                <a:extLst>
                  <a:ext uri="{FF2B5EF4-FFF2-40B4-BE49-F238E27FC236}">
                    <a16:creationId xmlns:a16="http://schemas.microsoft.com/office/drawing/2014/main" id="{EC94258A-FCF7-2394-013F-1D9880FF3459}"/>
                  </a:ext>
                </a:extLst>
              </p:cNvPr>
              <p:cNvSpPr/>
              <p:nvPr/>
            </p:nvSpPr>
            <p:spPr>
              <a:xfrm>
                <a:off x="7336917"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6" name="Freeform: Shape 17065">
                <a:extLst>
                  <a:ext uri="{FF2B5EF4-FFF2-40B4-BE49-F238E27FC236}">
                    <a16:creationId xmlns:a16="http://schemas.microsoft.com/office/drawing/2014/main" id="{9CD01EBD-0A92-B7BF-23CF-D267DA2B813A}"/>
                  </a:ext>
                </a:extLst>
              </p:cNvPr>
              <p:cNvSpPr/>
              <p:nvPr/>
            </p:nvSpPr>
            <p:spPr>
              <a:xfrm>
                <a:off x="729900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3" name="Graphic 112">
              <a:extLst>
                <a:ext uri="{FF2B5EF4-FFF2-40B4-BE49-F238E27FC236}">
                  <a16:creationId xmlns:a16="http://schemas.microsoft.com/office/drawing/2014/main" id="{4AE3B4A4-6874-414D-9854-1D6A3DAD3545}"/>
                </a:ext>
              </a:extLst>
            </p:cNvPr>
            <p:cNvGrpSpPr/>
            <p:nvPr/>
          </p:nvGrpSpPr>
          <p:grpSpPr>
            <a:xfrm>
              <a:off x="7287482" y="4153757"/>
              <a:ext cx="75723" cy="75723"/>
              <a:chOff x="7287482" y="4153757"/>
              <a:chExt cx="75723" cy="75723"/>
            </a:xfrm>
          </p:grpSpPr>
          <p:sp>
            <p:nvSpPr>
              <p:cNvPr id="17063" name="Freeform: Shape 17062">
                <a:extLst>
                  <a:ext uri="{FF2B5EF4-FFF2-40B4-BE49-F238E27FC236}">
                    <a16:creationId xmlns:a16="http://schemas.microsoft.com/office/drawing/2014/main" id="{943038EB-8FCA-38EB-B42B-0BF9793BAE5D}"/>
                  </a:ext>
                </a:extLst>
              </p:cNvPr>
              <p:cNvSpPr/>
              <p:nvPr/>
            </p:nvSpPr>
            <p:spPr>
              <a:xfrm>
                <a:off x="7325391"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4" name="Freeform: Shape 17063">
                <a:extLst>
                  <a:ext uri="{FF2B5EF4-FFF2-40B4-BE49-F238E27FC236}">
                    <a16:creationId xmlns:a16="http://schemas.microsoft.com/office/drawing/2014/main" id="{5AB843DF-F755-D74F-428A-934B688051CE}"/>
                  </a:ext>
                </a:extLst>
              </p:cNvPr>
              <p:cNvSpPr/>
              <p:nvPr/>
            </p:nvSpPr>
            <p:spPr>
              <a:xfrm>
                <a:off x="7287482"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4" name="Graphic 112">
              <a:extLst>
                <a:ext uri="{FF2B5EF4-FFF2-40B4-BE49-F238E27FC236}">
                  <a16:creationId xmlns:a16="http://schemas.microsoft.com/office/drawing/2014/main" id="{B94DF518-05F5-18E5-B4AB-A66232BE6340}"/>
                </a:ext>
              </a:extLst>
            </p:cNvPr>
            <p:cNvGrpSpPr/>
            <p:nvPr/>
          </p:nvGrpSpPr>
          <p:grpSpPr>
            <a:xfrm>
              <a:off x="7312437" y="4153757"/>
              <a:ext cx="75723" cy="75723"/>
              <a:chOff x="7312437" y="4153757"/>
              <a:chExt cx="75723" cy="75723"/>
            </a:xfrm>
          </p:grpSpPr>
          <p:sp>
            <p:nvSpPr>
              <p:cNvPr id="17061" name="Freeform: Shape 17060">
                <a:extLst>
                  <a:ext uri="{FF2B5EF4-FFF2-40B4-BE49-F238E27FC236}">
                    <a16:creationId xmlns:a16="http://schemas.microsoft.com/office/drawing/2014/main" id="{7F18246F-AFC0-A21F-593E-1690199A9CF0}"/>
                  </a:ext>
                </a:extLst>
              </p:cNvPr>
              <p:cNvSpPr/>
              <p:nvPr/>
            </p:nvSpPr>
            <p:spPr>
              <a:xfrm>
                <a:off x="7350252" y="4153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2" name="Freeform: Shape 17061">
                <a:extLst>
                  <a:ext uri="{FF2B5EF4-FFF2-40B4-BE49-F238E27FC236}">
                    <a16:creationId xmlns:a16="http://schemas.microsoft.com/office/drawing/2014/main" id="{FDB364C3-DB08-A8C6-7629-C83B6E2D9C3E}"/>
                  </a:ext>
                </a:extLst>
              </p:cNvPr>
              <p:cNvSpPr/>
              <p:nvPr/>
            </p:nvSpPr>
            <p:spPr>
              <a:xfrm>
                <a:off x="7312437" y="41915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5" name="Graphic 112">
              <a:extLst>
                <a:ext uri="{FF2B5EF4-FFF2-40B4-BE49-F238E27FC236}">
                  <a16:creationId xmlns:a16="http://schemas.microsoft.com/office/drawing/2014/main" id="{A6BF09B9-A8AB-20D1-9FE1-2DD993A79103}"/>
                </a:ext>
              </a:extLst>
            </p:cNvPr>
            <p:cNvGrpSpPr/>
            <p:nvPr/>
          </p:nvGrpSpPr>
          <p:grpSpPr>
            <a:xfrm>
              <a:off x="7002399" y="4135183"/>
              <a:ext cx="75628" cy="75723"/>
              <a:chOff x="7002399" y="4135183"/>
              <a:chExt cx="75628" cy="75723"/>
            </a:xfrm>
          </p:grpSpPr>
          <p:sp>
            <p:nvSpPr>
              <p:cNvPr id="17059" name="Freeform: Shape 17058">
                <a:extLst>
                  <a:ext uri="{FF2B5EF4-FFF2-40B4-BE49-F238E27FC236}">
                    <a16:creationId xmlns:a16="http://schemas.microsoft.com/office/drawing/2014/main" id="{78CFD0A4-2CE9-0507-2DE3-F622ADC60426}"/>
                  </a:ext>
                </a:extLst>
              </p:cNvPr>
              <p:cNvSpPr/>
              <p:nvPr/>
            </p:nvSpPr>
            <p:spPr>
              <a:xfrm>
                <a:off x="7040213" y="4135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60" name="Freeform: Shape 17059">
                <a:extLst>
                  <a:ext uri="{FF2B5EF4-FFF2-40B4-BE49-F238E27FC236}">
                    <a16:creationId xmlns:a16="http://schemas.microsoft.com/office/drawing/2014/main" id="{2652D90B-761B-5F13-EDA3-56711188D255}"/>
                  </a:ext>
                </a:extLst>
              </p:cNvPr>
              <p:cNvSpPr/>
              <p:nvPr/>
            </p:nvSpPr>
            <p:spPr>
              <a:xfrm>
                <a:off x="7002399" y="4173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6" name="Graphic 112">
              <a:extLst>
                <a:ext uri="{FF2B5EF4-FFF2-40B4-BE49-F238E27FC236}">
                  <a16:creationId xmlns:a16="http://schemas.microsoft.com/office/drawing/2014/main" id="{87BF7E9C-E963-6D0B-58AF-F3D3BA5873C3}"/>
                </a:ext>
              </a:extLst>
            </p:cNvPr>
            <p:cNvGrpSpPr/>
            <p:nvPr/>
          </p:nvGrpSpPr>
          <p:grpSpPr>
            <a:xfrm>
              <a:off x="6947344" y="4111847"/>
              <a:ext cx="75723" cy="75628"/>
              <a:chOff x="6947344" y="4111847"/>
              <a:chExt cx="75723" cy="75628"/>
            </a:xfrm>
          </p:grpSpPr>
          <p:sp>
            <p:nvSpPr>
              <p:cNvPr id="17057" name="Freeform: Shape 17056">
                <a:extLst>
                  <a:ext uri="{FF2B5EF4-FFF2-40B4-BE49-F238E27FC236}">
                    <a16:creationId xmlns:a16="http://schemas.microsoft.com/office/drawing/2014/main" id="{83E3C595-5831-66A6-C483-9BA3CB9DC848}"/>
                  </a:ext>
                </a:extLst>
              </p:cNvPr>
              <p:cNvSpPr/>
              <p:nvPr/>
            </p:nvSpPr>
            <p:spPr>
              <a:xfrm>
                <a:off x="6985158" y="41118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8" name="Freeform: Shape 17057">
                <a:extLst>
                  <a:ext uri="{FF2B5EF4-FFF2-40B4-BE49-F238E27FC236}">
                    <a16:creationId xmlns:a16="http://schemas.microsoft.com/office/drawing/2014/main" id="{FD8903F4-50BC-BFDC-488E-D2313AE47769}"/>
                  </a:ext>
                </a:extLst>
              </p:cNvPr>
              <p:cNvSpPr/>
              <p:nvPr/>
            </p:nvSpPr>
            <p:spPr>
              <a:xfrm>
                <a:off x="6947344" y="414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7" name="Graphic 112">
              <a:extLst>
                <a:ext uri="{FF2B5EF4-FFF2-40B4-BE49-F238E27FC236}">
                  <a16:creationId xmlns:a16="http://schemas.microsoft.com/office/drawing/2014/main" id="{C11C6568-F387-5E96-4CCF-EA283F7476C2}"/>
                </a:ext>
              </a:extLst>
            </p:cNvPr>
            <p:cNvGrpSpPr/>
            <p:nvPr/>
          </p:nvGrpSpPr>
          <p:grpSpPr>
            <a:xfrm>
              <a:off x="6928199" y="4090987"/>
              <a:ext cx="75723" cy="75723"/>
              <a:chOff x="6928199" y="4090987"/>
              <a:chExt cx="75723" cy="75723"/>
            </a:xfrm>
          </p:grpSpPr>
          <p:sp>
            <p:nvSpPr>
              <p:cNvPr id="17055" name="Freeform: Shape 17054">
                <a:extLst>
                  <a:ext uri="{FF2B5EF4-FFF2-40B4-BE49-F238E27FC236}">
                    <a16:creationId xmlns:a16="http://schemas.microsoft.com/office/drawing/2014/main" id="{5E4AEAB5-2AD1-23B1-E7F9-27C739CCA970}"/>
                  </a:ext>
                </a:extLst>
              </p:cNvPr>
              <p:cNvSpPr/>
              <p:nvPr/>
            </p:nvSpPr>
            <p:spPr>
              <a:xfrm>
                <a:off x="6966013" y="40909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6" name="Freeform: Shape 17055">
                <a:extLst>
                  <a:ext uri="{FF2B5EF4-FFF2-40B4-BE49-F238E27FC236}">
                    <a16:creationId xmlns:a16="http://schemas.microsoft.com/office/drawing/2014/main" id="{0CFE5E5D-9236-FA5D-F3E7-9CA8637C2EF4}"/>
                  </a:ext>
                </a:extLst>
              </p:cNvPr>
              <p:cNvSpPr/>
              <p:nvPr/>
            </p:nvSpPr>
            <p:spPr>
              <a:xfrm>
                <a:off x="6928199" y="41288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8" name="Graphic 112">
              <a:extLst>
                <a:ext uri="{FF2B5EF4-FFF2-40B4-BE49-F238E27FC236}">
                  <a16:creationId xmlns:a16="http://schemas.microsoft.com/office/drawing/2014/main" id="{45A73C71-ED10-6E95-8812-20E608F8A1AB}"/>
                </a:ext>
              </a:extLst>
            </p:cNvPr>
            <p:cNvGrpSpPr/>
            <p:nvPr/>
          </p:nvGrpSpPr>
          <p:grpSpPr>
            <a:xfrm>
              <a:off x="6912959" y="4073937"/>
              <a:ext cx="75723" cy="75723"/>
              <a:chOff x="6912959" y="4073937"/>
              <a:chExt cx="75723" cy="75723"/>
            </a:xfrm>
          </p:grpSpPr>
          <p:sp>
            <p:nvSpPr>
              <p:cNvPr id="17053" name="Freeform: Shape 17052">
                <a:extLst>
                  <a:ext uri="{FF2B5EF4-FFF2-40B4-BE49-F238E27FC236}">
                    <a16:creationId xmlns:a16="http://schemas.microsoft.com/office/drawing/2014/main" id="{E140F2E3-1C5B-F510-3CFA-BC6D628A836D}"/>
                  </a:ext>
                </a:extLst>
              </p:cNvPr>
              <p:cNvSpPr/>
              <p:nvPr/>
            </p:nvSpPr>
            <p:spPr>
              <a:xfrm>
                <a:off x="6950868" y="4073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4" name="Freeform: Shape 17053">
                <a:extLst>
                  <a:ext uri="{FF2B5EF4-FFF2-40B4-BE49-F238E27FC236}">
                    <a16:creationId xmlns:a16="http://schemas.microsoft.com/office/drawing/2014/main" id="{854BAC5E-876E-33E3-9F7E-1C1163A2112D}"/>
                  </a:ext>
                </a:extLst>
              </p:cNvPr>
              <p:cNvSpPr/>
              <p:nvPr/>
            </p:nvSpPr>
            <p:spPr>
              <a:xfrm>
                <a:off x="6912959" y="4111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79" name="Graphic 112">
              <a:extLst>
                <a:ext uri="{FF2B5EF4-FFF2-40B4-BE49-F238E27FC236}">
                  <a16:creationId xmlns:a16="http://schemas.microsoft.com/office/drawing/2014/main" id="{A9542AB7-05F5-D4B6-0DC1-07F061B279CC}"/>
                </a:ext>
              </a:extLst>
            </p:cNvPr>
            <p:cNvGrpSpPr/>
            <p:nvPr/>
          </p:nvGrpSpPr>
          <p:grpSpPr>
            <a:xfrm>
              <a:off x="6895338" y="4053173"/>
              <a:ext cx="75723" cy="75628"/>
              <a:chOff x="6895338" y="4053173"/>
              <a:chExt cx="75723" cy="75628"/>
            </a:xfrm>
          </p:grpSpPr>
          <p:sp>
            <p:nvSpPr>
              <p:cNvPr id="17051" name="Freeform: Shape 17050">
                <a:extLst>
                  <a:ext uri="{FF2B5EF4-FFF2-40B4-BE49-F238E27FC236}">
                    <a16:creationId xmlns:a16="http://schemas.microsoft.com/office/drawing/2014/main" id="{C4E90D0C-7FD0-C0D0-6859-87474CCF83CE}"/>
                  </a:ext>
                </a:extLst>
              </p:cNvPr>
              <p:cNvSpPr/>
              <p:nvPr/>
            </p:nvSpPr>
            <p:spPr>
              <a:xfrm>
                <a:off x="6933152" y="40531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2" name="Freeform: Shape 17051">
                <a:extLst>
                  <a:ext uri="{FF2B5EF4-FFF2-40B4-BE49-F238E27FC236}">
                    <a16:creationId xmlns:a16="http://schemas.microsoft.com/office/drawing/2014/main" id="{2865179B-4FEB-A577-5858-234167925639}"/>
                  </a:ext>
                </a:extLst>
              </p:cNvPr>
              <p:cNvSpPr/>
              <p:nvPr/>
            </p:nvSpPr>
            <p:spPr>
              <a:xfrm>
                <a:off x="6895338" y="4090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0" name="Graphic 112">
              <a:extLst>
                <a:ext uri="{FF2B5EF4-FFF2-40B4-BE49-F238E27FC236}">
                  <a16:creationId xmlns:a16="http://schemas.microsoft.com/office/drawing/2014/main" id="{0B14EE0C-80BE-35B9-D9C3-D7BE9C2C86C8}"/>
                </a:ext>
              </a:extLst>
            </p:cNvPr>
            <p:cNvGrpSpPr/>
            <p:nvPr/>
          </p:nvGrpSpPr>
          <p:grpSpPr>
            <a:xfrm>
              <a:off x="6501574" y="4015263"/>
              <a:ext cx="75628" cy="75723"/>
              <a:chOff x="6501574" y="4015263"/>
              <a:chExt cx="75628" cy="75723"/>
            </a:xfrm>
          </p:grpSpPr>
          <p:sp>
            <p:nvSpPr>
              <p:cNvPr id="17049" name="Freeform: Shape 17048">
                <a:extLst>
                  <a:ext uri="{FF2B5EF4-FFF2-40B4-BE49-F238E27FC236}">
                    <a16:creationId xmlns:a16="http://schemas.microsoft.com/office/drawing/2014/main" id="{41B74D1F-7B4E-17DD-3524-89A2C646DD7E}"/>
                  </a:ext>
                </a:extLst>
              </p:cNvPr>
              <p:cNvSpPr/>
              <p:nvPr/>
            </p:nvSpPr>
            <p:spPr>
              <a:xfrm>
                <a:off x="6539388" y="4015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50" name="Freeform: Shape 17049">
                <a:extLst>
                  <a:ext uri="{FF2B5EF4-FFF2-40B4-BE49-F238E27FC236}">
                    <a16:creationId xmlns:a16="http://schemas.microsoft.com/office/drawing/2014/main" id="{50D67591-60AA-9CF3-5B7F-E1754F4F331B}"/>
                  </a:ext>
                </a:extLst>
              </p:cNvPr>
              <p:cNvSpPr/>
              <p:nvPr/>
            </p:nvSpPr>
            <p:spPr>
              <a:xfrm>
                <a:off x="6501574" y="40531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1" name="Graphic 112">
              <a:extLst>
                <a:ext uri="{FF2B5EF4-FFF2-40B4-BE49-F238E27FC236}">
                  <a16:creationId xmlns:a16="http://schemas.microsoft.com/office/drawing/2014/main" id="{FAE591DE-C525-D298-6922-CE9D7AE2CC15}"/>
                </a:ext>
              </a:extLst>
            </p:cNvPr>
            <p:cNvGrpSpPr/>
            <p:nvPr/>
          </p:nvGrpSpPr>
          <p:grpSpPr>
            <a:xfrm>
              <a:off x="6483000" y="3998309"/>
              <a:ext cx="75723" cy="75628"/>
              <a:chOff x="6483000" y="3998309"/>
              <a:chExt cx="75723" cy="75628"/>
            </a:xfrm>
          </p:grpSpPr>
          <p:sp>
            <p:nvSpPr>
              <p:cNvPr id="17047" name="Freeform: Shape 17046">
                <a:extLst>
                  <a:ext uri="{FF2B5EF4-FFF2-40B4-BE49-F238E27FC236}">
                    <a16:creationId xmlns:a16="http://schemas.microsoft.com/office/drawing/2014/main" id="{EE464C3A-D109-9830-ABF4-D6D65BD05909}"/>
                  </a:ext>
                </a:extLst>
              </p:cNvPr>
              <p:cNvSpPr/>
              <p:nvPr/>
            </p:nvSpPr>
            <p:spPr>
              <a:xfrm>
                <a:off x="6520815" y="399830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8" name="Freeform: Shape 17047">
                <a:extLst>
                  <a:ext uri="{FF2B5EF4-FFF2-40B4-BE49-F238E27FC236}">
                    <a16:creationId xmlns:a16="http://schemas.microsoft.com/office/drawing/2014/main" id="{565904C8-0A6B-731C-2735-315BA34ABC7D}"/>
                  </a:ext>
                </a:extLst>
              </p:cNvPr>
              <p:cNvSpPr/>
              <p:nvPr/>
            </p:nvSpPr>
            <p:spPr>
              <a:xfrm>
                <a:off x="6483000" y="40361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2" name="Graphic 112">
              <a:extLst>
                <a:ext uri="{FF2B5EF4-FFF2-40B4-BE49-F238E27FC236}">
                  <a16:creationId xmlns:a16="http://schemas.microsoft.com/office/drawing/2014/main" id="{EAF2389F-A60A-403A-872A-C196C3627F86}"/>
                </a:ext>
              </a:extLst>
            </p:cNvPr>
            <p:cNvGrpSpPr/>
            <p:nvPr/>
          </p:nvGrpSpPr>
          <p:grpSpPr>
            <a:xfrm>
              <a:off x="6468141" y="3980021"/>
              <a:ext cx="75628" cy="75723"/>
              <a:chOff x="6468141" y="3980021"/>
              <a:chExt cx="75628" cy="75723"/>
            </a:xfrm>
          </p:grpSpPr>
          <p:sp>
            <p:nvSpPr>
              <p:cNvPr id="17045" name="Freeform: Shape 17044">
                <a:extLst>
                  <a:ext uri="{FF2B5EF4-FFF2-40B4-BE49-F238E27FC236}">
                    <a16:creationId xmlns:a16="http://schemas.microsoft.com/office/drawing/2014/main" id="{B3609184-5107-AC61-B5AD-D0BCC5C819F5}"/>
                  </a:ext>
                </a:extLst>
              </p:cNvPr>
              <p:cNvSpPr/>
              <p:nvPr/>
            </p:nvSpPr>
            <p:spPr>
              <a:xfrm>
                <a:off x="6505956" y="39800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6" name="Freeform: Shape 17045">
                <a:extLst>
                  <a:ext uri="{FF2B5EF4-FFF2-40B4-BE49-F238E27FC236}">
                    <a16:creationId xmlns:a16="http://schemas.microsoft.com/office/drawing/2014/main" id="{D2693ED3-43EF-AC3E-4E2D-FE50B3780D2A}"/>
                  </a:ext>
                </a:extLst>
              </p:cNvPr>
              <p:cNvSpPr/>
              <p:nvPr/>
            </p:nvSpPr>
            <p:spPr>
              <a:xfrm>
                <a:off x="6468141" y="40178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3" name="Graphic 112">
              <a:extLst>
                <a:ext uri="{FF2B5EF4-FFF2-40B4-BE49-F238E27FC236}">
                  <a16:creationId xmlns:a16="http://schemas.microsoft.com/office/drawing/2014/main" id="{A203D84F-1844-B90F-4D23-82E0D2A51996}"/>
                </a:ext>
              </a:extLst>
            </p:cNvPr>
            <p:cNvGrpSpPr/>
            <p:nvPr/>
          </p:nvGrpSpPr>
          <p:grpSpPr>
            <a:xfrm>
              <a:off x="6095714" y="3871245"/>
              <a:ext cx="75723" cy="75628"/>
              <a:chOff x="6095714" y="3871245"/>
              <a:chExt cx="75723" cy="75628"/>
            </a:xfrm>
          </p:grpSpPr>
          <p:sp>
            <p:nvSpPr>
              <p:cNvPr id="17043" name="Freeform: Shape 17042">
                <a:extLst>
                  <a:ext uri="{FF2B5EF4-FFF2-40B4-BE49-F238E27FC236}">
                    <a16:creationId xmlns:a16="http://schemas.microsoft.com/office/drawing/2014/main" id="{A25025A4-B18B-7FC3-ED6F-C070BE1076BD}"/>
                  </a:ext>
                </a:extLst>
              </p:cNvPr>
              <p:cNvSpPr/>
              <p:nvPr/>
            </p:nvSpPr>
            <p:spPr>
              <a:xfrm>
                <a:off x="6133623" y="38712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4" name="Freeform: Shape 17043">
                <a:extLst>
                  <a:ext uri="{FF2B5EF4-FFF2-40B4-BE49-F238E27FC236}">
                    <a16:creationId xmlns:a16="http://schemas.microsoft.com/office/drawing/2014/main" id="{34D1DF48-44BA-B59A-7455-76CA6B609081}"/>
                  </a:ext>
                </a:extLst>
              </p:cNvPr>
              <p:cNvSpPr/>
              <p:nvPr/>
            </p:nvSpPr>
            <p:spPr>
              <a:xfrm>
                <a:off x="6095714" y="3909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4" name="Graphic 112">
              <a:extLst>
                <a:ext uri="{FF2B5EF4-FFF2-40B4-BE49-F238E27FC236}">
                  <a16:creationId xmlns:a16="http://schemas.microsoft.com/office/drawing/2014/main" id="{9C803EF8-09D2-FF3C-4AF5-035ACF6A6A9F}"/>
                </a:ext>
              </a:extLst>
            </p:cNvPr>
            <p:cNvGrpSpPr/>
            <p:nvPr/>
          </p:nvGrpSpPr>
          <p:grpSpPr>
            <a:xfrm>
              <a:off x="6059995" y="3862673"/>
              <a:ext cx="75723" cy="75723"/>
              <a:chOff x="6059995" y="3862673"/>
              <a:chExt cx="75723" cy="75723"/>
            </a:xfrm>
          </p:grpSpPr>
          <p:sp>
            <p:nvSpPr>
              <p:cNvPr id="17041" name="Freeform: Shape 17040">
                <a:extLst>
                  <a:ext uri="{FF2B5EF4-FFF2-40B4-BE49-F238E27FC236}">
                    <a16:creationId xmlns:a16="http://schemas.microsoft.com/office/drawing/2014/main" id="{6620D0EE-C051-440B-EB19-9186217A1EC3}"/>
                  </a:ext>
                </a:extLst>
              </p:cNvPr>
              <p:cNvSpPr/>
              <p:nvPr/>
            </p:nvSpPr>
            <p:spPr>
              <a:xfrm>
                <a:off x="6097809" y="38626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2" name="Freeform: Shape 17041">
                <a:extLst>
                  <a:ext uri="{FF2B5EF4-FFF2-40B4-BE49-F238E27FC236}">
                    <a16:creationId xmlns:a16="http://schemas.microsoft.com/office/drawing/2014/main" id="{A77060C8-C05F-4E9E-C3B9-A303FDE2D393}"/>
                  </a:ext>
                </a:extLst>
              </p:cNvPr>
              <p:cNvSpPr/>
              <p:nvPr/>
            </p:nvSpPr>
            <p:spPr>
              <a:xfrm>
                <a:off x="6059995" y="3900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5" name="Graphic 112">
              <a:extLst>
                <a:ext uri="{FF2B5EF4-FFF2-40B4-BE49-F238E27FC236}">
                  <a16:creationId xmlns:a16="http://schemas.microsoft.com/office/drawing/2014/main" id="{213D0BF6-078F-D895-7657-1DACDDCE8699}"/>
                </a:ext>
              </a:extLst>
            </p:cNvPr>
            <p:cNvGrpSpPr/>
            <p:nvPr/>
          </p:nvGrpSpPr>
          <p:grpSpPr>
            <a:xfrm>
              <a:off x="6072282" y="3867531"/>
              <a:ext cx="75723" cy="75723"/>
              <a:chOff x="6072282" y="3867531"/>
              <a:chExt cx="75723" cy="75723"/>
            </a:xfrm>
          </p:grpSpPr>
          <p:sp>
            <p:nvSpPr>
              <p:cNvPr id="17039" name="Freeform: Shape 17038">
                <a:extLst>
                  <a:ext uri="{FF2B5EF4-FFF2-40B4-BE49-F238E27FC236}">
                    <a16:creationId xmlns:a16="http://schemas.microsoft.com/office/drawing/2014/main" id="{5907F023-7B34-63C0-A2B7-C4AA9C4DDDDE}"/>
                  </a:ext>
                </a:extLst>
              </p:cNvPr>
              <p:cNvSpPr/>
              <p:nvPr/>
            </p:nvSpPr>
            <p:spPr>
              <a:xfrm>
                <a:off x="6110192" y="3867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40" name="Freeform: Shape 17039">
                <a:extLst>
                  <a:ext uri="{FF2B5EF4-FFF2-40B4-BE49-F238E27FC236}">
                    <a16:creationId xmlns:a16="http://schemas.microsoft.com/office/drawing/2014/main" id="{56F3C4CE-1DD6-4F48-0E33-65D6C8901914}"/>
                  </a:ext>
                </a:extLst>
              </p:cNvPr>
              <p:cNvSpPr/>
              <p:nvPr/>
            </p:nvSpPr>
            <p:spPr>
              <a:xfrm>
                <a:off x="6072282" y="3905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6" name="Graphic 112">
              <a:extLst>
                <a:ext uri="{FF2B5EF4-FFF2-40B4-BE49-F238E27FC236}">
                  <a16:creationId xmlns:a16="http://schemas.microsoft.com/office/drawing/2014/main" id="{8054217D-AD0E-1101-08C0-FE8C6D7FFC2A}"/>
                </a:ext>
              </a:extLst>
            </p:cNvPr>
            <p:cNvGrpSpPr/>
            <p:nvPr/>
          </p:nvGrpSpPr>
          <p:grpSpPr>
            <a:xfrm>
              <a:off x="6045422" y="3850862"/>
              <a:ext cx="75628" cy="75628"/>
              <a:chOff x="6045422" y="3850862"/>
              <a:chExt cx="75628" cy="75628"/>
            </a:xfrm>
          </p:grpSpPr>
          <p:sp>
            <p:nvSpPr>
              <p:cNvPr id="17037" name="Freeform: Shape 17036">
                <a:extLst>
                  <a:ext uri="{FF2B5EF4-FFF2-40B4-BE49-F238E27FC236}">
                    <a16:creationId xmlns:a16="http://schemas.microsoft.com/office/drawing/2014/main" id="{3E541136-5512-DDF0-E3ED-2C2F9428A26A}"/>
                  </a:ext>
                </a:extLst>
              </p:cNvPr>
              <p:cNvSpPr/>
              <p:nvPr/>
            </p:nvSpPr>
            <p:spPr>
              <a:xfrm>
                <a:off x="6083236" y="385086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8" name="Freeform: Shape 17037">
                <a:extLst>
                  <a:ext uri="{FF2B5EF4-FFF2-40B4-BE49-F238E27FC236}">
                    <a16:creationId xmlns:a16="http://schemas.microsoft.com/office/drawing/2014/main" id="{FB4B33E6-2552-CCBF-51C1-7243005D95B7}"/>
                  </a:ext>
                </a:extLst>
              </p:cNvPr>
              <p:cNvSpPr/>
              <p:nvPr/>
            </p:nvSpPr>
            <p:spPr>
              <a:xfrm>
                <a:off x="6045422" y="3888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7" name="Graphic 112">
              <a:extLst>
                <a:ext uri="{FF2B5EF4-FFF2-40B4-BE49-F238E27FC236}">
                  <a16:creationId xmlns:a16="http://schemas.microsoft.com/office/drawing/2014/main" id="{15E55FCE-4AED-7025-CD45-35A175E5A760}"/>
                </a:ext>
              </a:extLst>
            </p:cNvPr>
            <p:cNvGrpSpPr/>
            <p:nvPr/>
          </p:nvGrpSpPr>
          <p:grpSpPr>
            <a:xfrm>
              <a:off x="6034468" y="3840670"/>
              <a:ext cx="75723" cy="75723"/>
              <a:chOff x="6034468" y="3840670"/>
              <a:chExt cx="75723" cy="75723"/>
            </a:xfrm>
          </p:grpSpPr>
          <p:sp>
            <p:nvSpPr>
              <p:cNvPr id="17035" name="Freeform: Shape 17034">
                <a:extLst>
                  <a:ext uri="{FF2B5EF4-FFF2-40B4-BE49-F238E27FC236}">
                    <a16:creationId xmlns:a16="http://schemas.microsoft.com/office/drawing/2014/main" id="{C68D88D4-6B29-9B08-4CFF-16430DD29288}"/>
                  </a:ext>
                </a:extLst>
              </p:cNvPr>
              <p:cNvSpPr/>
              <p:nvPr/>
            </p:nvSpPr>
            <p:spPr>
              <a:xfrm>
                <a:off x="6072282" y="38406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6" name="Freeform: Shape 17035">
                <a:extLst>
                  <a:ext uri="{FF2B5EF4-FFF2-40B4-BE49-F238E27FC236}">
                    <a16:creationId xmlns:a16="http://schemas.microsoft.com/office/drawing/2014/main" id="{F22562EF-1B50-BF43-A42F-2C1203C3317E}"/>
                  </a:ext>
                </a:extLst>
              </p:cNvPr>
              <p:cNvSpPr/>
              <p:nvPr/>
            </p:nvSpPr>
            <p:spPr>
              <a:xfrm>
                <a:off x="6034468" y="38784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8" name="Graphic 112">
              <a:extLst>
                <a:ext uri="{FF2B5EF4-FFF2-40B4-BE49-F238E27FC236}">
                  <a16:creationId xmlns:a16="http://schemas.microsoft.com/office/drawing/2014/main" id="{5E58787D-E678-E7AE-9F8C-0B5AA4781A78}"/>
                </a:ext>
              </a:extLst>
            </p:cNvPr>
            <p:cNvGrpSpPr/>
            <p:nvPr/>
          </p:nvGrpSpPr>
          <p:grpSpPr>
            <a:xfrm>
              <a:off x="6025324" y="3833336"/>
              <a:ext cx="75723" cy="75723"/>
              <a:chOff x="6025324" y="3833336"/>
              <a:chExt cx="75723" cy="75723"/>
            </a:xfrm>
          </p:grpSpPr>
          <p:sp>
            <p:nvSpPr>
              <p:cNvPr id="17033" name="Freeform: Shape 17032">
                <a:extLst>
                  <a:ext uri="{FF2B5EF4-FFF2-40B4-BE49-F238E27FC236}">
                    <a16:creationId xmlns:a16="http://schemas.microsoft.com/office/drawing/2014/main" id="{CAC2A99A-937B-81A1-77C6-8F4630A95E74}"/>
                  </a:ext>
                </a:extLst>
              </p:cNvPr>
              <p:cNvSpPr/>
              <p:nvPr/>
            </p:nvSpPr>
            <p:spPr>
              <a:xfrm>
                <a:off x="6063138" y="3833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4" name="Freeform: Shape 17033">
                <a:extLst>
                  <a:ext uri="{FF2B5EF4-FFF2-40B4-BE49-F238E27FC236}">
                    <a16:creationId xmlns:a16="http://schemas.microsoft.com/office/drawing/2014/main" id="{F0DF7D42-DB1B-DC8B-97B8-73ABDBDA387B}"/>
                  </a:ext>
                </a:extLst>
              </p:cNvPr>
              <p:cNvSpPr/>
              <p:nvPr/>
            </p:nvSpPr>
            <p:spPr>
              <a:xfrm>
                <a:off x="6025324" y="3871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89" name="Graphic 112">
              <a:extLst>
                <a:ext uri="{FF2B5EF4-FFF2-40B4-BE49-F238E27FC236}">
                  <a16:creationId xmlns:a16="http://schemas.microsoft.com/office/drawing/2014/main" id="{1B97F909-CBF5-7326-ECF9-5EF267A2C02D}"/>
                </a:ext>
              </a:extLst>
            </p:cNvPr>
            <p:cNvGrpSpPr/>
            <p:nvPr/>
          </p:nvGrpSpPr>
          <p:grpSpPr>
            <a:xfrm>
              <a:off x="6015037" y="3806571"/>
              <a:ext cx="75628" cy="75723"/>
              <a:chOff x="6015037" y="3806571"/>
              <a:chExt cx="75628" cy="75723"/>
            </a:xfrm>
          </p:grpSpPr>
          <p:sp>
            <p:nvSpPr>
              <p:cNvPr id="17031" name="Freeform: Shape 17030">
                <a:extLst>
                  <a:ext uri="{FF2B5EF4-FFF2-40B4-BE49-F238E27FC236}">
                    <a16:creationId xmlns:a16="http://schemas.microsoft.com/office/drawing/2014/main" id="{C8E2C643-6C68-615F-BBED-339710C0863E}"/>
                  </a:ext>
                </a:extLst>
              </p:cNvPr>
              <p:cNvSpPr/>
              <p:nvPr/>
            </p:nvSpPr>
            <p:spPr>
              <a:xfrm>
                <a:off x="6052851"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2" name="Freeform: Shape 17031">
                <a:extLst>
                  <a:ext uri="{FF2B5EF4-FFF2-40B4-BE49-F238E27FC236}">
                    <a16:creationId xmlns:a16="http://schemas.microsoft.com/office/drawing/2014/main" id="{FDA0C113-3AE2-8E3D-DB7E-8BF8D0EA73ED}"/>
                  </a:ext>
                </a:extLst>
              </p:cNvPr>
              <p:cNvSpPr/>
              <p:nvPr/>
            </p:nvSpPr>
            <p:spPr>
              <a:xfrm>
                <a:off x="6015037" y="38444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0" name="Graphic 112">
              <a:extLst>
                <a:ext uri="{FF2B5EF4-FFF2-40B4-BE49-F238E27FC236}">
                  <a16:creationId xmlns:a16="http://schemas.microsoft.com/office/drawing/2014/main" id="{20DBF4A5-B8DA-1F3A-4934-E0F052FC111D}"/>
                </a:ext>
              </a:extLst>
            </p:cNvPr>
            <p:cNvGrpSpPr/>
            <p:nvPr/>
          </p:nvGrpSpPr>
          <p:grpSpPr>
            <a:xfrm>
              <a:off x="5953029" y="3802856"/>
              <a:ext cx="75628" cy="75628"/>
              <a:chOff x="5953029" y="3802856"/>
              <a:chExt cx="75628" cy="75628"/>
            </a:xfrm>
          </p:grpSpPr>
          <p:sp>
            <p:nvSpPr>
              <p:cNvPr id="17029" name="Freeform: Shape 17028">
                <a:extLst>
                  <a:ext uri="{FF2B5EF4-FFF2-40B4-BE49-F238E27FC236}">
                    <a16:creationId xmlns:a16="http://schemas.microsoft.com/office/drawing/2014/main" id="{5D9D9CA9-6E3D-00E3-A718-5C14A43B70B4}"/>
                  </a:ext>
                </a:extLst>
              </p:cNvPr>
              <p:cNvSpPr/>
              <p:nvPr/>
            </p:nvSpPr>
            <p:spPr>
              <a:xfrm>
                <a:off x="5990844" y="38028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30" name="Freeform: Shape 17029">
                <a:extLst>
                  <a:ext uri="{FF2B5EF4-FFF2-40B4-BE49-F238E27FC236}">
                    <a16:creationId xmlns:a16="http://schemas.microsoft.com/office/drawing/2014/main" id="{8C0167CC-6DEF-1B8D-B06E-D4316D65DB8E}"/>
                  </a:ext>
                </a:extLst>
              </p:cNvPr>
              <p:cNvSpPr/>
              <p:nvPr/>
            </p:nvSpPr>
            <p:spPr>
              <a:xfrm>
                <a:off x="5953029" y="38406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1" name="Graphic 112">
              <a:extLst>
                <a:ext uri="{FF2B5EF4-FFF2-40B4-BE49-F238E27FC236}">
                  <a16:creationId xmlns:a16="http://schemas.microsoft.com/office/drawing/2014/main" id="{5C468ED5-C321-217F-0AA7-7BDB014FFB4E}"/>
                </a:ext>
              </a:extLst>
            </p:cNvPr>
            <p:cNvGrpSpPr/>
            <p:nvPr/>
          </p:nvGrpSpPr>
          <p:grpSpPr>
            <a:xfrm>
              <a:off x="5999130" y="3806571"/>
              <a:ext cx="75723" cy="75723"/>
              <a:chOff x="5999130" y="3806571"/>
              <a:chExt cx="75723" cy="75723"/>
            </a:xfrm>
          </p:grpSpPr>
          <p:sp>
            <p:nvSpPr>
              <p:cNvPr id="17027" name="Freeform: Shape 17026">
                <a:extLst>
                  <a:ext uri="{FF2B5EF4-FFF2-40B4-BE49-F238E27FC236}">
                    <a16:creationId xmlns:a16="http://schemas.microsoft.com/office/drawing/2014/main" id="{4D510B24-BB1E-BBED-D393-1CD4240DC83E}"/>
                  </a:ext>
                </a:extLst>
              </p:cNvPr>
              <p:cNvSpPr/>
              <p:nvPr/>
            </p:nvSpPr>
            <p:spPr>
              <a:xfrm>
                <a:off x="6036945" y="3806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8" name="Freeform: Shape 17027">
                <a:extLst>
                  <a:ext uri="{FF2B5EF4-FFF2-40B4-BE49-F238E27FC236}">
                    <a16:creationId xmlns:a16="http://schemas.microsoft.com/office/drawing/2014/main" id="{BAD9E2CA-A46A-D7D6-863C-CEBC5D295395}"/>
                  </a:ext>
                </a:extLst>
              </p:cNvPr>
              <p:cNvSpPr/>
              <p:nvPr/>
            </p:nvSpPr>
            <p:spPr>
              <a:xfrm>
                <a:off x="5999130" y="38444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2" name="Graphic 112">
              <a:extLst>
                <a:ext uri="{FF2B5EF4-FFF2-40B4-BE49-F238E27FC236}">
                  <a16:creationId xmlns:a16="http://schemas.microsoft.com/office/drawing/2014/main" id="{5B09546B-9DF6-8E3F-16AE-A4C3C9CBBBEB}"/>
                </a:ext>
              </a:extLst>
            </p:cNvPr>
            <p:cNvGrpSpPr/>
            <p:nvPr/>
          </p:nvGrpSpPr>
          <p:grpSpPr>
            <a:xfrm>
              <a:off x="5553551" y="3678459"/>
              <a:ext cx="75723" cy="75723"/>
              <a:chOff x="5553551" y="3678459"/>
              <a:chExt cx="75723" cy="75723"/>
            </a:xfrm>
          </p:grpSpPr>
          <p:sp>
            <p:nvSpPr>
              <p:cNvPr id="17025" name="Freeform: Shape 17024">
                <a:extLst>
                  <a:ext uri="{FF2B5EF4-FFF2-40B4-BE49-F238E27FC236}">
                    <a16:creationId xmlns:a16="http://schemas.microsoft.com/office/drawing/2014/main" id="{BA0E609C-FB97-826B-BCFF-A9961D0B9478}"/>
                  </a:ext>
                </a:extLst>
              </p:cNvPr>
              <p:cNvSpPr/>
              <p:nvPr/>
            </p:nvSpPr>
            <p:spPr>
              <a:xfrm>
                <a:off x="5591365" y="3678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6" name="Freeform: Shape 17025">
                <a:extLst>
                  <a:ext uri="{FF2B5EF4-FFF2-40B4-BE49-F238E27FC236}">
                    <a16:creationId xmlns:a16="http://schemas.microsoft.com/office/drawing/2014/main" id="{1D23FA4E-8AF9-6BFC-96C9-F77F7402CF47}"/>
                  </a:ext>
                </a:extLst>
              </p:cNvPr>
              <p:cNvSpPr/>
              <p:nvPr/>
            </p:nvSpPr>
            <p:spPr>
              <a:xfrm>
                <a:off x="5553551" y="37162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3" name="Graphic 112">
              <a:extLst>
                <a:ext uri="{FF2B5EF4-FFF2-40B4-BE49-F238E27FC236}">
                  <a16:creationId xmlns:a16="http://schemas.microsoft.com/office/drawing/2014/main" id="{300AE09C-01BF-0A38-A6EE-EF9051148824}"/>
                </a:ext>
              </a:extLst>
            </p:cNvPr>
            <p:cNvGrpSpPr/>
            <p:nvPr/>
          </p:nvGrpSpPr>
          <p:grpSpPr>
            <a:xfrm>
              <a:off x="5569362" y="3685794"/>
              <a:ext cx="75723" cy="75628"/>
              <a:chOff x="5569362" y="3685794"/>
              <a:chExt cx="75723" cy="75628"/>
            </a:xfrm>
          </p:grpSpPr>
          <p:sp>
            <p:nvSpPr>
              <p:cNvPr id="17023" name="Freeform: Shape 17022">
                <a:extLst>
                  <a:ext uri="{FF2B5EF4-FFF2-40B4-BE49-F238E27FC236}">
                    <a16:creationId xmlns:a16="http://schemas.microsoft.com/office/drawing/2014/main" id="{CAED1CFA-AB44-61CF-2C88-A69691A9E201}"/>
                  </a:ext>
                </a:extLst>
              </p:cNvPr>
              <p:cNvSpPr/>
              <p:nvPr/>
            </p:nvSpPr>
            <p:spPr>
              <a:xfrm>
                <a:off x="5607177" y="368579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4" name="Freeform: Shape 17023">
                <a:extLst>
                  <a:ext uri="{FF2B5EF4-FFF2-40B4-BE49-F238E27FC236}">
                    <a16:creationId xmlns:a16="http://schemas.microsoft.com/office/drawing/2014/main" id="{D7BCC01B-091C-8F4E-C13B-0A17D824660E}"/>
                  </a:ext>
                </a:extLst>
              </p:cNvPr>
              <p:cNvSpPr/>
              <p:nvPr/>
            </p:nvSpPr>
            <p:spPr>
              <a:xfrm>
                <a:off x="5569362" y="3723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4" name="Graphic 112">
              <a:extLst>
                <a:ext uri="{FF2B5EF4-FFF2-40B4-BE49-F238E27FC236}">
                  <a16:creationId xmlns:a16="http://schemas.microsoft.com/office/drawing/2014/main" id="{64010B48-D5B6-B708-BDD5-B81719AD40E1}"/>
                </a:ext>
              </a:extLst>
            </p:cNvPr>
            <p:cNvGrpSpPr/>
            <p:nvPr/>
          </p:nvGrpSpPr>
          <p:grpSpPr>
            <a:xfrm>
              <a:off x="5586412" y="3694271"/>
              <a:ext cx="75628" cy="75723"/>
              <a:chOff x="5586412" y="3694271"/>
              <a:chExt cx="75628" cy="75723"/>
            </a:xfrm>
          </p:grpSpPr>
          <p:sp>
            <p:nvSpPr>
              <p:cNvPr id="17021" name="Freeform: Shape 17020">
                <a:extLst>
                  <a:ext uri="{FF2B5EF4-FFF2-40B4-BE49-F238E27FC236}">
                    <a16:creationId xmlns:a16="http://schemas.microsoft.com/office/drawing/2014/main" id="{19B91171-8CE2-5AC1-227A-B93E0870BBAA}"/>
                  </a:ext>
                </a:extLst>
              </p:cNvPr>
              <p:cNvSpPr/>
              <p:nvPr/>
            </p:nvSpPr>
            <p:spPr>
              <a:xfrm>
                <a:off x="5624226" y="3694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2" name="Freeform: Shape 17021">
                <a:extLst>
                  <a:ext uri="{FF2B5EF4-FFF2-40B4-BE49-F238E27FC236}">
                    <a16:creationId xmlns:a16="http://schemas.microsoft.com/office/drawing/2014/main" id="{6ED18FA3-0105-A416-F57D-AC0C4A6E1D11}"/>
                  </a:ext>
                </a:extLst>
              </p:cNvPr>
              <p:cNvSpPr/>
              <p:nvPr/>
            </p:nvSpPr>
            <p:spPr>
              <a:xfrm>
                <a:off x="5586412" y="373208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5" name="Graphic 112">
              <a:extLst>
                <a:ext uri="{FF2B5EF4-FFF2-40B4-BE49-F238E27FC236}">
                  <a16:creationId xmlns:a16="http://schemas.microsoft.com/office/drawing/2014/main" id="{10ED60E8-F112-5B44-7985-93690CAC9043}"/>
                </a:ext>
              </a:extLst>
            </p:cNvPr>
            <p:cNvGrpSpPr/>
            <p:nvPr/>
          </p:nvGrpSpPr>
          <p:grpSpPr>
            <a:xfrm>
              <a:off x="5599176" y="3699414"/>
              <a:ext cx="75628" cy="75723"/>
              <a:chOff x="5599176" y="3699414"/>
              <a:chExt cx="75628" cy="75723"/>
            </a:xfrm>
          </p:grpSpPr>
          <p:sp>
            <p:nvSpPr>
              <p:cNvPr id="17019" name="Freeform: Shape 17018">
                <a:extLst>
                  <a:ext uri="{FF2B5EF4-FFF2-40B4-BE49-F238E27FC236}">
                    <a16:creationId xmlns:a16="http://schemas.microsoft.com/office/drawing/2014/main" id="{B2780611-0677-2DBD-95BD-7259709AF6E6}"/>
                  </a:ext>
                </a:extLst>
              </p:cNvPr>
              <p:cNvSpPr/>
              <p:nvPr/>
            </p:nvSpPr>
            <p:spPr>
              <a:xfrm>
                <a:off x="5636990" y="36994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20" name="Freeform: Shape 17019">
                <a:extLst>
                  <a:ext uri="{FF2B5EF4-FFF2-40B4-BE49-F238E27FC236}">
                    <a16:creationId xmlns:a16="http://schemas.microsoft.com/office/drawing/2014/main" id="{F177CC45-C6B8-4676-C794-3F29B6E72925}"/>
                  </a:ext>
                </a:extLst>
              </p:cNvPr>
              <p:cNvSpPr/>
              <p:nvPr/>
            </p:nvSpPr>
            <p:spPr>
              <a:xfrm>
                <a:off x="5599176" y="37373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6" name="Graphic 112">
              <a:extLst>
                <a:ext uri="{FF2B5EF4-FFF2-40B4-BE49-F238E27FC236}">
                  <a16:creationId xmlns:a16="http://schemas.microsoft.com/office/drawing/2014/main" id="{FD6F761F-E053-25A3-892E-0C9A1889625F}"/>
                </a:ext>
              </a:extLst>
            </p:cNvPr>
            <p:cNvGrpSpPr/>
            <p:nvPr/>
          </p:nvGrpSpPr>
          <p:grpSpPr>
            <a:xfrm>
              <a:off x="5610701" y="3709130"/>
              <a:ext cx="75723" cy="75723"/>
              <a:chOff x="5610701" y="3709130"/>
              <a:chExt cx="75723" cy="75723"/>
            </a:xfrm>
          </p:grpSpPr>
          <p:sp>
            <p:nvSpPr>
              <p:cNvPr id="17017" name="Freeform: Shape 17016">
                <a:extLst>
                  <a:ext uri="{FF2B5EF4-FFF2-40B4-BE49-F238E27FC236}">
                    <a16:creationId xmlns:a16="http://schemas.microsoft.com/office/drawing/2014/main" id="{450158E6-4399-088F-F6FA-2A214279F8B1}"/>
                  </a:ext>
                </a:extLst>
              </p:cNvPr>
              <p:cNvSpPr/>
              <p:nvPr/>
            </p:nvSpPr>
            <p:spPr>
              <a:xfrm>
                <a:off x="5648515" y="3709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8" name="Freeform: Shape 17017">
                <a:extLst>
                  <a:ext uri="{FF2B5EF4-FFF2-40B4-BE49-F238E27FC236}">
                    <a16:creationId xmlns:a16="http://schemas.microsoft.com/office/drawing/2014/main" id="{01E68661-D9C7-417B-CA93-2F58A516C258}"/>
                  </a:ext>
                </a:extLst>
              </p:cNvPr>
              <p:cNvSpPr/>
              <p:nvPr/>
            </p:nvSpPr>
            <p:spPr>
              <a:xfrm>
                <a:off x="5610701" y="3747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7" name="Graphic 112">
              <a:extLst>
                <a:ext uri="{FF2B5EF4-FFF2-40B4-BE49-F238E27FC236}">
                  <a16:creationId xmlns:a16="http://schemas.microsoft.com/office/drawing/2014/main" id="{72542D75-19A5-DBF1-E445-CD93516AE21D}"/>
                </a:ext>
              </a:extLst>
            </p:cNvPr>
            <p:cNvGrpSpPr/>
            <p:nvPr/>
          </p:nvGrpSpPr>
          <p:grpSpPr>
            <a:xfrm>
              <a:off x="5619845" y="3716274"/>
              <a:ext cx="75628" cy="75723"/>
              <a:chOff x="5619845" y="3716274"/>
              <a:chExt cx="75628" cy="75723"/>
            </a:xfrm>
          </p:grpSpPr>
          <p:sp>
            <p:nvSpPr>
              <p:cNvPr id="17015" name="Freeform: Shape 17014">
                <a:extLst>
                  <a:ext uri="{FF2B5EF4-FFF2-40B4-BE49-F238E27FC236}">
                    <a16:creationId xmlns:a16="http://schemas.microsoft.com/office/drawing/2014/main" id="{3D640D7C-4CFB-1160-2818-281447B81D53}"/>
                  </a:ext>
                </a:extLst>
              </p:cNvPr>
              <p:cNvSpPr/>
              <p:nvPr/>
            </p:nvSpPr>
            <p:spPr>
              <a:xfrm>
                <a:off x="5657659" y="37162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6" name="Freeform: Shape 17015">
                <a:extLst>
                  <a:ext uri="{FF2B5EF4-FFF2-40B4-BE49-F238E27FC236}">
                    <a16:creationId xmlns:a16="http://schemas.microsoft.com/office/drawing/2014/main" id="{4E2DDDF6-63C6-8636-0120-790C476A3141}"/>
                  </a:ext>
                </a:extLst>
              </p:cNvPr>
              <p:cNvSpPr/>
              <p:nvPr/>
            </p:nvSpPr>
            <p:spPr>
              <a:xfrm>
                <a:off x="5619845" y="3754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8" name="Graphic 112">
              <a:extLst>
                <a:ext uri="{FF2B5EF4-FFF2-40B4-BE49-F238E27FC236}">
                  <a16:creationId xmlns:a16="http://schemas.microsoft.com/office/drawing/2014/main" id="{AB190404-38C7-8893-A265-F53B547FE587}"/>
                </a:ext>
              </a:extLst>
            </p:cNvPr>
            <p:cNvGrpSpPr/>
            <p:nvPr/>
          </p:nvGrpSpPr>
          <p:grpSpPr>
            <a:xfrm>
              <a:off x="5619845" y="3737324"/>
              <a:ext cx="75628" cy="75628"/>
              <a:chOff x="5619845" y="3737324"/>
              <a:chExt cx="75628" cy="75628"/>
            </a:xfrm>
          </p:grpSpPr>
          <p:sp>
            <p:nvSpPr>
              <p:cNvPr id="17013" name="Freeform: Shape 17012">
                <a:extLst>
                  <a:ext uri="{FF2B5EF4-FFF2-40B4-BE49-F238E27FC236}">
                    <a16:creationId xmlns:a16="http://schemas.microsoft.com/office/drawing/2014/main" id="{A0D763CD-8422-76A0-24F5-1FE2E8C5477C}"/>
                  </a:ext>
                </a:extLst>
              </p:cNvPr>
              <p:cNvSpPr/>
              <p:nvPr/>
            </p:nvSpPr>
            <p:spPr>
              <a:xfrm>
                <a:off x="5657659" y="37373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4" name="Freeform: Shape 17013">
                <a:extLst>
                  <a:ext uri="{FF2B5EF4-FFF2-40B4-BE49-F238E27FC236}">
                    <a16:creationId xmlns:a16="http://schemas.microsoft.com/office/drawing/2014/main" id="{037B3499-1897-9710-F708-0D80210D6A1A}"/>
                  </a:ext>
                </a:extLst>
              </p:cNvPr>
              <p:cNvSpPr/>
              <p:nvPr/>
            </p:nvSpPr>
            <p:spPr>
              <a:xfrm>
                <a:off x="5619845" y="377513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899" name="Graphic 112">
              <a:extLst>
                <a:ext uri="{FF2B5EF4-FFF2-40B4-BE49-F238E27FC236}">
                  <a16:creationId xmlns:a16="http://schemas.microsoft.com/office/drawing/2014/main" id="{561F3CDF-C9B6-4995-EE75-FEBD1550E84C}"/>
                </a:ext>
              </a:extLst>
            </p:cNvPr>
            <p:cNvGrpSpPr/>
            <p:nvPr/>
          </p:nvGrpSpPr>
          <p:grpSpPr>
            <a:xfrm>
              <a:off x="5619845" y="3757707"/>
              <a:ext cx="75628" cy="75628"/>
              <a:chOff x="5619845" y="3757707"/>
              <a:chExt cx="75628" cy="75628"/>
            </a:xfrm>
          </p:grpSpPr>
          <p:sp>
            <p:nvSpPr>
              <p:cNvPr id="17011" name="Freeform: Shape 17010">
                <a:extLst>
                  <a:ext uri="{FF2B5EF4-FFF2-40B4-BE49-F238E27FC236}">
                    <a16:creationId xmlns:a16="http://schemas.microsoft.com/office/drawing/2014/main" id="{DD7CF58D-D551-AD94-35F5-3108EB24F4F7}"/>
                  </a:ext>
                </a:extLst>
              </p:cNvPr>
              <p:cNvSpPr/>
              <p:nvPr/>
            </p:nvSpPr>
            <p:spPr>
              <a:xfrm>
                <a:off x="5657659" y="37577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2" name="Freeform: Shape 17011">
                <a:extLst>
                  <a:ext uri="{FF2B5EF4-FFF2-40B4-BE49-F238E27FC236}">
                    <a16:creationId xmlns:a16="http://schemas.microsoft.com/office/drawing/2014/main" id="{D02D0CCA-A2E4-6A0B-10B2-AD01AF81C32B}"/>
                  </a:ext>
                </a:extLst>
              </p:cNvPr>
              <p:cNvSpPr/>
              <p:nvPr/>
            </p:nvSpPr>
            <p:spPr>
              <a:xfrm>
                <a:off x="5619845" y="37955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0" name="Graphic 112">
              <a:extLst>
                <a:ext uri="{FF2B5EF4-FFF2-40B4-BE49-F238E27FC236}">
                  <a16:creationId xmlns:a16="http://schemas.microsoft.com/office/drawing/2014/main" id="{1B86F5BB-B450-F47B-05CE-39651C1CAE80}"/>
                </a:ext>
              </a:extLst>
            </p:cNvPr>
            <p:cNvGrpSpPr/>
            <p:nvPr/>
          </p:nvGrpSpPr>
          <p:grpSpPr>
            <a:xfrm>
              <a:off x="5631942" y="3764946"/>
              <a:ext cx="75723" cy="75723"/>
              <a:chOff x="5631942" y="3764946"/>
              <a:chExt cx="75723" cy="75723"/>
            </a:xfrm>
          </p:grpSpPr>
          <p:sp>
            <p:nvSpPr>
              <p:cNvPr id="17009" name="Freeform: Shape 17008">
                <a:extLst>
                  <a:ext uri="{FF2B5EF4-FFF2-40B4-BE49-F238E27FC236}">
                    <a16:creationId xmlns:a16="http://schemas.microsoft.com/office/drawing/2014/main" id="{3811522E-DDB9-BC64-4C4D-942AAF107902}"/>
                  </a:ext>
                </a:extLst>
              </p:cNvPr>
              <p:cNvSpPr/>
              <p:nvPr/>
            </p:nvSpPr>
            <p:spPr>
              <a:xfrm>
                <a:off x="5669851"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10" name="Freeform: Shape 17009">
                <a:extLst>
                  <a:ext uri="{FF2B5EF4-FFF2-40B4-BE49-F238E27FC236}">
                    <a16:creationId xmlns:a16="http://schemas.microsoft.com/office/drawing/2014/main" id="{A824445A-3F94-13AA-0C66-E27AF89DA745}"/>
                  </a:ext>
                </a:extLst>
              </p:cNvPr>
              <p:cNvSpPr/>
              <p:nvPr/>
            </p:nvSpPr>
            <p:spPr>
              <a:xfrm>
                <a:off x="5631942"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1" name="Graphic 112">
              <a:extLst>
                <a:ext uri="{FF2B5EF4-FFF2-40B4-BE49-F238E27FC236}">
                  <a16:creationId xmlns:a16="http://schemas.microsoft.com/office/drawing/2014/main" id="{2CB93880-D57D-39FA-CD68-BBC4CF31EDDF}"/>
                </a:ext>
              </a:extLst>
            </p:cNvPr>
            <p:cNvGrpSpPr/>
            <p:nvPr/>
          </p:nvGrpSpPr>
          <p:grpSpPr>
            <a:xfrm>
              <a:off x="5648515" y="3764946"/>
              <a:ext cx="75723" cy="75723"/>
              <a:chOff x="5648515" y="3764946"/>
              <a:chExt cx="75723" cy="75723"/>
            </a:xfrm>
          </p:grpSpPr>
          <p:sp>
            <p:nvSpPr>
              <p:cNvPr id="17007" name="Freeform: Shape 17006">
                <a:extLst>
                  <a:ext uri="{FF2B5EF4-FFF2-40B4-BE49-F238E27FC236}">
                    <a16:creationId xmlns:a16="http://schemas.microsoft.com/office/drawing/2014/main" id="{EAEE7386-37B5-1BBD-0170-906D63B8ECF4}"/>
                  </a:ext>
                </a:extLst>
              </p:cNvPr>
              <p:cNvSpPr/>
              <p:nvPr/>
            </p:nvSpPr>
            <p:spPr>
              <a:xfrm>
                <a:off x="5686425"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8" name="Freeform: Shape 17007">
                <a:extLst>
                  <a:ext uri="{FF2B5EF4-FFF2-40B4-BE49-F238E27FC236}">
                    <a16:creationId xmlns:a16="http://schemas.microsoft.com/office/drawing/2014/main" id="{BA17F1E0-9837-2D2F-788A-5BCC41BF1C2F}"/>
                  </a:ext>
                </a:extLst>
              </p:cNvPr>
              <p:cNvSpPr/>
              <p:nvPr/>
            </p:nvSpPr>
            <p:spPr>
              <a:xfrm>
                <a:off x="5648515"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2" name="Graphic 112">
              <a:extLst>
                <a:ext uri="{FF2B5EF4-FFF2-40B4-BE49-F238E27FC236}">
                  <a16:creationId xmlns:a16="http://schemas.microsoft.com/office/drawing/2014/main" id="{47273DB3-F791-1555-7256-AAFFBC6D72E6}"/>
                </a:ext>
              </a:extLst>
            </p:cNvPr>
            <p:cNvGrpSpPr/>
            <p:nvPr/>
          </p:nvGrpSpPr>
          <p:grpSpPr>
            <a:xfrm>
              <a:off x="5662041" y="3764946"/>
              <a:ext cx="75723" cy="75723"/>
              <a:chOff x="5662041" y="3764946"/>
              <a:chExt cx="75723" cy="75723"/>
            </a:xfrm>
          </p:grpSpPr>
          <p:sp>
            <p:nvSpPr>
              <p:cNvPr id="17005" name="Freeform: Shape 17004">
                <a:extLst>
                  <a:ext uri="{FF2B5EF4-FFF2-40B4-BE49-F238E27FC236}">
                    <a16:creationId xmlns:a16="http://schemas.microsoft.com/office/drawing/2014/main" id="{5241A279-4C0D-9613-4CAA-D318EE9AA00F}"/>
                  </a:ext>
                </a:extLst>
              </p:cNvPr>
              <p:cNvSpPr/>
              <p:nvPr/>
            </p:nvSpPr>
            <p:spPr>
              <a:xfrm>
                <a:off x="5699950" y="37649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6" name="Freeform: Shape 17005">
                <a:extLst>
                  <a:ext uri="{FF2B5EF4-FFF2-40B4-BE49-F238E27FC236}">
                    <a16:creationId xmlns:a16="http://schemas.microsoft.com/office/drawing/2014/main" id="{C8F9B124-C5C1-ACD2-4DA9-5323D2C040FF}"/>
                  </a:ext>
                </a:extLst>
              </p:cNvPr>
              <p:cNvSpPr/>
              <p:nvPr/>
            </p:nvSpPr>
            <p:spPr>
              <a:xfrm>
                <a:off x="5662041" y="38028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3" name="Graphic 112">
              <a:extLst>
                <a:ext uri="{FF2B5EF4-FFF2-40B4-BE49-F238E27FC236}">
                  <a16:creationId xmlns:a16="http://schemas.microsoft.com/office/drawing/2014/main" id="{A18B9F2A-FF20-FC8D-D9E6-318EC2B5E9A1}"/>
                </a:ext>
              </a:extLst>
            </p:cNvPr>
            <p:cNvGrpSpPr/>
            <p:nvPr/>
          </p:nvGrpSpPr>
          <p:grpSpPr>
            <a:xfrm>
              <a:off x="5075110" y="3425571"/>
              <a:ext cx="75628" cy="75723"/>
              <a:chOff x="5075110" y="3425571"/>
              <a:chExt cx="75628" cy="75723"/>
            </a:xfrm>
          </p:grpSpPr>
          <p:sp>
            <p:nvSpPr>
              <p:cNvPr id="17003" name="Freeform: Shape 17002">
                <a:extLst>
                  <a:ext uri="{FF2B5EF4-FFF2-40B4-BE49-F238E27FC236}">
                    <a16:creationId xmlns:a16="http://schemas.microsoft.com/office/drawing/2014/main" id="{DA38E7DD-1073-BB2F-DD0C-5999113AC61B}"/>
                  </a:ext>
                </a:extLst>
              </p:cNvPr>
              <p:cNvSpPr/>
              <p:nvPr/>
            </p:nvSpPr>
            <p:spPr>
              <a:xfrm>
                <a:off x="5112924"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4" name="Freeform: Shape 17003">
                <a:extLst>
                  <a:ext uri="{FF2B5EF4-FFF2-40B4-BE49-F238E27FC236}">
                    <a16:creationId xmlns:a16="http://schemas.microsoft.com/office/drawing/2014/main" id="{B4DDE215-DDFA-BBAA-D602-5D3D7F203EC2}"/>
                  </a:ext>
                </a:extLst>
              </p:cNvPr>
              <p:cNvSpPr/>
              <p:nvPr/>
            </p:nvSpPr>
            <p:spPr>
              <a:xfrm>
                <a:off x="5075110" y="34633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4" name="Graphic 112">
              <a:extLst>
                <a:ext uri="{FF2B5EF4-FFF2-40B4-BE49-F238E27FC236}">
                  <a16:creationId xmlns:a16="http://schemas.microsoft.com/office/drawing/2014/main" id="{E00BC134-2553-3325-975E-C9AAC6B70408}"/>
                </a:ext>
              </a:extLst>
            </p:cNvPr>
            <p:cNvGrpSpPr/>
            <p:nvPr/>
          </p:nvGrpSpPr>
          <p:grpSpPr>
            <a:xfrm>
              <a:off x="5099970" y="3425571"/>
              <a:ext cx="75723" cy="75723"/>
              <a:chOff x="5099970" y="3425571"/>
              <a:chExt cx="75723" cy="75723"/>
            </a:xfrm>
          </p:grpSpPr>
          <p:sp>
            <p:nvSpPr>
              <p:cNvPr id="17001" name="Freeform: Shape 17000">
                <a:extLst>
                  <a:ext uri="{FF2B5EF4-FFF2-40B4-BE49-F238E27FC236}">
                    <a16:creationId xmlns:a16="http://schemas.microsoft.com/office/drawing/2014/main" id="{536A9D5B-FD72-60FE-CCDA-A0A949A15D10}"/>
                  </a:ext>
                </a:extLst>
              </p:cNvPr>
              <p:cNvSpPr/>
              <p:nvPr/>
            </p:nvSpPr>
            <p:spPr>
              <a:xfrm>
                <a:off x="5137880" y="34255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2" name="Freeform: Shape 17001">
                <a:extLst>
                  <a:ext uri="{FF2B5EF4-FFF2-40B4-BE49-F238E27FC236}">
                    <a16:creationId xmlns:a16="http://schemas.microsoft.com/office/drawing/2014/main" id="{4C2F8C44-BB79-7E9B-1140-60452CF8E04A}"/>
                  </a:ext>
                </a:extLst>
              </p:cNvPr>
              <p:cNvSpPr/>
              <p:nvPr/>
            </p:nvSpPr>
            <p:spPr>
              <a:xfrm>
                <a:off x="5099970" y="34633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5" name="Graphic 112">
              <a:extLst>
                <a:ext uri="{FF2B5EF4-FFF2-40B4-BE49-F238E27FC236}">
                  <a16:creationId xmlns:a16="http://schemas.microsoft.com/office/drawing/2014/main" id="{8160A2C2-DB99-3F29-3F09-86DEDAF50C47}"/>
                </a:ext>
              </a:extLst>
            </p:cNvPr>
            <p:cNvGrpSpPr/>
            <p:nvPr/>
          </p:nvGrpSpPr>
          <p:grpSpPr>
            <a:xfrm>
              <a:off x="5137880" y="3463385"/>
              <a:ext cx="75628" cy="75723"/>
              <a:chOff x="5137880" y="3463385"/>
              <a:chExt cx="75628" cy="75723"/>
            </a:xfrm>
          </p:grpSpPr>
          <p:sp>
            <p:nvSpPr>
              <p:cNvPr id="16999" name="Freeform: Shape 16998">
                <a:extLst>
                  <a:ext uri="{FF2B5EF4-FFF2-40B4-BE49-F238E27FC236}">
                    <a16:creationId xmlns:a16="http://schemas.microsoft.com/office/drawing/2014/main" id="{92091024-45A5-E980-EA68-31E83D621774}"/>
                  </a:ext>
                </a:extLst>
              </p:cNvPr>
              <p:cNvSpPr/>
              <p:nvPr/>
            </p:nvSpPr>
            <p:spPr>
              <a:xfrm>
                <a:off x="517569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000" name="Freeform: Shape 16999">
                <a:extLst>
                  <a:ext uri="{FF2B5EF4-FFF2-40B4-BE49-F238E27FC236}">
                    <a16:creationId xmlns:a16="http://schemas.microsoft.com/office/drawing/2014/main" id="{A9E0F90F-4EE6-A80C-FF6C-2FCDFB54CCB6}"/>
                  </a:ext>
                </a:extLst>
              </p:cNvPr>
              <p:cNvSpPr/>
              <p:nvPr/>
            </p:nvSpPr>
            <p:spPr>
              <a:xfrm>
                <a:off x="513788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6" name="Graphic 112">
              <a:extLst>
                <a:ext uri="{FF2B5EF4-FFF2-40B4-BE49-F238E27FC236}">
                  <a16:creationId xmlns:a16="http://schemas.microsoft.com/office/drawing/2014/main" id="{AD58C838-E1E5-2876-4CB4-186711FE2B27}"/>
                </a:ext>
              </a:extLst>
            </p:cNvPr>
            <p:cNvGrpSpPr/>
            <p:nvPr/>
          </p:nvGrpSpPr>
          <p:grpSpPr>
            <a:xfrm>
              <a:off x="5152167" y="3463385"/>
              <a:ext cx="75723" cy="75723"/>
              <a:chOff x="5152167" y="3463385"/>
              <a:chExt cx="75723" cy="75723"/>
            </a:xfrm>
          </p:grpSpPr>
          <p:sp>
            <p:nvSpPr>
              <p:cNvPr id="16997" name="Freeform: Shape 16996">
                <a:extLst>
                  <a:ext uri="{FF2B5EF4-FFF2-40B4-BE49-F238E27FC236}">
                    <a16:creationId xmlns:a16="http://schemas.microsoft.com/office/drawing/2014/main" id="{4136A396-BA7F-1CF9-48AF-BB07E7159866}"/>
                  </a:ext>
                </a:extLst>
              </p:cNvPr>
              <p:cNvSpPr/>
              <p:nvPr/>
            </p:nvSpPr>
            <p:spPr>
              <a:xfrm>
                <a:off x="5189982"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8" name="Freeform: Shape 16997">
                <a:extLst>
                  <a:ext uri="{FF2B5EF4-FFF2-40B4-BE49-F238E27FC236}">
                    <a16:creationId xmlns:a16="http://schemas.microsoft.com/office/drawing/2014/main" id="{6628E9B4-A765-431E-342B-A9E296F01AA7}"/>
                  </a:ext>
                </a:extLst>
              </p:cNvPr>
              <p:cNvSpPr/>
              <p:nvPr/>
            </p:nvSpPr>
            <p:spPr>
              <a:xfrm>
                <a:off x="5152167" y="3501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7" name="Graphic 112">
              <a:extLst>
                <a:ext uri="{FF2B5EF4-FFF2-40B4-BE49-F238E27FC236}">
                  <a16:creationId xmlns:a16="http://schemas.microsoft.com/office/drawing/2014/main" id="{8047925D-820D-1ED4-3657-A6501A6B0856}"/>
                </a:ext>
              </a:extLst>
            </p:cNvPr>
            <p:cNvGrpSpPr/>
            <p:nvPr/>
          </p:nvGrpSpPr>
          <p:grpSpPr>
            <a:xfrm>
              <a:off x="5166550" y="3463385"/>
              <a:ext cx="75628" cy="75723"/>
              <a:chOff x="5166550" y="3463385"/>
              <a:chExt cx="75628" cy="75723"/>
            </a:xfrm>
          </p:grpSpPr>
          <p:sp>
            <p:nvSpPr>
              <p:cNvPr id="16995" name="Freeform: Shape 16994">
                <a:extLst>
                  <a:ext uri="{FF2B5EF4-FFF2-40B4-BE49-F238E27FC236}">
                    <a16:creationId xmlns:a16="http://schemas.microsoft.com/office/drawing/2014/main" id="{15DA1C1D-D770-FCDD-D5C4-78195FD92C5C}"/>
                  </a:ext>
                </a:extLst>
              </p:cNvPr>
              <p:cNvSpPr/>
              <p:nvPr/>
            </p:nvSpPr>
            <p:spPr>
              <a:xfrm>
                <a:off x="5204364" y="3463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6" name="Freeform: Shape 16995">
                <a:extLst>
                  <a:ext uri="{FF2B5EF4-FFF2-40B4-BE49-F238E27FC236}">
                    <a16:creationId xmlns:a16="http://schemas.microsoft.com/office/drawing/2014/main" id="{CB0EEC69-169B-7D62-1121-8C879967345F}"/>
                  </a:ext>
                </a:extLst>
              </p:cNvPr>
              <p:cNvSpPr/>
              <p:nvPr/>
            </p:nvSpPr>
            <p:spPr>
              <a:xfrm>
                <a:off x="5166550" y="35012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8" name="Graphic 112">
              <a:extLst>
                <a:ext uri="{FF2B5EF4-FFF2-40B4-BE49-F238E27FC236}">
                  <a16:creationId xmlns:a16="http://schemas.microsoft.com/office/drawing/2014/main" id="{16F82A18-FA4D-161E-2686-55906D7709D6}"/>
                </a:ext>
              </a:extLst>
            </p:cNvPr>
            <p:cNvGrpSpPr/>
            <p:nvPr/>
          </p:nvGrpSpPr>
          <p:grpSpPr>
            <a:xfrm>
              <a:off x="5180838" y="3523107"/>
              <a:ext cx="75723" cy="75723"/>
              <a:chOff x="5180838" y="3523107"/>
              <a:chExt cx="75723" cy="75723"/>
            </a:xfrm>
          </p:grpSpPr>
          <p:sp>
            <p:nvSpPr>
              <p:cNvPr id="16993" name="Freeform: Shape 16992">
                <a:extLst>
                  <a:ext uri="{FF2B5EF4-FFF2-40B4-BE49-F238E27FC236}">
                    <a16:creationId xmlns:a16="http://schemas.microsoft.com/office/drawing/2014/main" id="{66FFD4CE-9EE2-CC3D-1048-37387C22FC27}"/>
                  </a:ext>
                </a:extLst>
              </p:cNvPr>
              <p:cNvSpPr/>
              <p:nvPr/>
            </p:nvSpPr>
            <p:spPr>
              <a:xfrm>
                <a:off x="5218652" y="35231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4" name="Freeform: Shape 16993">
                <a:extLst>
                  <a:ext uri="{FF2B5EF4-FFF2-40B4-BE49-F238E27FC236}">
                    <a16:creationId xmlns:a16="http://schemas.microsoft.com/office/drawing/2014/main" id="{4DECFB03-C90B-A9A5-B038-52F9957CBBFF}"/>
                  </a:ext>
                </a:extLst>
              </p:cNvPr>
              <p:cNvSpPr/>
              <p:nvPr/>
            </p:nvSpPr>
            <p:spPr>
              <a:xfrm>
                <a:off x="5180838" y="3561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09" name="Graphic 112">
              <a:extLst>
                <a:ext uri="{FF2B5EF4-FFF2-40B4-BE49-F238E27FC236}">
                  <a16:creationId xmlns:a16="http://schemas.microsoft.com/office/drawing/2014/main" id="{326EA506-DE2E-F85F-C2B5-7EF49C4E9DB8}"/>
                </a:ext>
              </a:extLst>
            </p:cNvPr>
            <p:cNvGrpSpPr/>
            <p:nvPr/>
          </p:nvGrpSpPr>
          <p:grpSpPr>
            <a:xfrm>
              <a:off x="5227701" y="3598830"/>
              <a:ext cx="75628" cy="75723"/>
              <a:chOff x="5227701" y="3598830"/>
              <a:chExt cx="75628" cy="75723"/>
            </a:xfrm>
          </p:grpSpPr>
          <p:sp>
            <p:nvSpPr>
              <p:cNvPr id="16991" name="Freeform: Shape 16990">
                <a:extLst>
                  <a:ext uri="{FF2B5EF4-FFF2-40B4-BE49-F238E27FC236}">
                    <a16:creationId xmlns:a16="http://schemas.microsoft.com/office/drawing/2014/main" id="{1E62F7B6-3B52-06EE-7AF7-7465167DFBA6}"/>
                  </a:ext>
                </a:extLst>
              </p:cNvPr>
              <p:cNvSpPr/>
              <p:nvPr/>
            </p:nvSpPr>
            <p:spPr>
              <a:xfrm>
                <a:off x="5265515" y="3598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2" name="Freeform: Shape 16991">
                <a:extLst>
                  <a:ext uri="{FF2B5EF4-FFF2-40B4-BE49-F238E27FC236}">
                    <a16:creationId xmlns:a16="http://schemas.microsoft.com/office/drawing/2014/main" id="{12FD91C0-A7F4-AA6D-7F67-4D5875AB8839}"/>
                  </a:ext>
                </a:extLst>
              </p:cNvPr>
              <p:cNvSpPr/>
              <p:nvPr/>
            </p:nvSpPr>
            <p:spPr>
              <a:xfrm>
                <a:off x="5227701" y="363664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0" name="Graphic 112">
              <a:extLst>
                <a:ext uri="{FF2B5EF4-FFF2-40B4-BE49-F238E27FC236}">
                  <a16:creationId xmlns:a16="http://schemas.microsoft.com/office/drawing/2014/main" id="{F0D64B52-5681-B15F-A1E8-BD0BF26DF408}"/>
                </a:ext>
              </a:extLst>
            </p:cNvPr>
            <p:cNvGrpSpPr/>
            <p:nvPr/>
          </p:nvGrpSpPr>
          <p:grpSpPr>
            <a:xfrm>
              <a:off x="5195316" y="3549015"/>
              <a:ext cx="75628" cy="75628"/>
              <a:chOff x="5195316" y="3549015"/>
              <a:chExt cx="75628" cy="75628"/>
            </a:xfrm>
          </p:grpSpPr>
          <p:sp>
            <p:nvSpPr>
              <p:cNvPr id="16989" name="Freeform: Shape 16988">
                <a:extLst>
                  <a:ext uri="{FF2B5EF4-FFF2-40B4-BE49-F238E27FC236}">
                    <a16:creationId xmlns:a16="http://schemas.microsoft.com/office/drawing/2014/main" id="{E785AE0A-3D54-B5E0-AF9D-50667275B51B}"/>
                  </a:ext>
                </a:extLst>
              </p:cNvPr>
              <p:cNvSpPr/>
              <p:nvPr/>
            </p:nvSpPr>
            <p:spPr>
              <a:xfrm>
                <a:off x="5233130"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90" name="Freeform: Shape 16989">
                <a:extLst>
                  <a:ext uri="{FF2B5EF4-FFF2-40B4-BE49-F238E27FC236}">
                    <a16:creationId xmlns:a16="http://schemas.microsoft.com/office/drawing/2014/main" id="{EEDB065E-1340-82D5-A594-E4E3CE5B94FC}"/>
                  </a:ext>
                </a:extLst>
              </p:cNvPr>
              <p:cNvSpPr/>
              <p:nvPr/>
            </p:nvSpPr>
            <p:spPr>
              <a:xfrm>
                <a:off x="5195316" y="35868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1" name="Graphic 112">
              <a:extLst>
                <a:ext uri="{FF2B5EF4-FFF2-40B4-BE49-F238E27FC236}">
                  <a16:creationId xmlns:a16="http://schemas.microsoft.com/office/drawing/2014/main" id="{102A8747-4F50-89EA-1B12-149BB7E50AA2}"/>
                </a:ext>
              </a:extLst>
            </p:cNvPr>
            <p:cNvGrpSpPr/>
            <p:nvPr/>
          </p:nvGrpSpPr>
          <p:grpSpPr>
            <a:xfrm>
              <a:off x="5184362" y="3549015"/>
              <a:ext cx="75723" cy="75628"/>
              <a:chOff x="5184362" y="3549015"/>
              <a:chExt cx="75723" cy="75628"/>
            </a:xfrm>
          </p:grpSpPr>
          <p:sp>
            <p:nvSpPr>
              <p:cNvPr id="16987" name="Freeform: Shape 16986">
                <a:extLst>
                  <a:ext uri="{FF2B5EF4-FFF2-40B4-BE49-F238E27FC236}">
                    <a16:creationId xmlns:a16="http://schemas.microsoft.com/office/drawing/2014/main" id="{0271B261-25A4-9F09-2D77-AE93CF0C7F1C}"/>
                  </a:ext>
                </a:extLst>
              </p:cNvPr>
              <p:cNvSpPr/>
              <p:nvPr/>
            </p:nvSpPr>
            <p:spPr>
              <a:xfrm>
                <a:off x="5222176" y="35490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8" name="Freeform: Shape 16987">
                <a:extLst>
                  <a:ext uri="{FF2B5EF4-FFF2-40B4-BE49-F238E27FC236}">
                    <a16:creationId xmlns:a16="http://schemas.microsoft.com/office/drawing/2014/main" id="{3087ACCC-AE24-30A3-431F-14F773D8CA03}"/>
                  </a:ext>
                </a:extLst>
              </p:cNvPr>
              <p:cNvSpPr/>
              <p:nvPr/>
            </p:nvSpPr>
            <p:spPr>
              <a:xfrm>
                <a:off x="5184362" y="3586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2" name="Graphic 112">
              <a:extLst>
                <a:ext uri="{FF2B5EF4-FFF2-40B4-BE49-F238E27FC236}">
                  <a16:creationId xmlns:a16="http://schemas.microsoft.com/office/drawing/2014/main" id="{5898A9D2-314B-2543-A120-0C4B33E5068A}"/>
                </a:ext>
              </a:extLst>
            </p:cNvPr>
            <p:cNvGrpSpPr/>
            <p:nvPr/>
          </p:nvGrpSpPr>
          <p:grpSpPr>
            <a:xfrm>
              <a:off x="4769643" y="3323272"/>
              <a:ext cx="75723" cy="75628"/>
              <a:chOff x="4769643" y="3323272"/>
              <a:chExt cx="75723" cy="75628"/>
            </a:xfrm>
          </p:grpSpPr>
          <p:sp>
            <p:nvSpPr>
              <p:cNvPr id="16985" name="Freeform: Shape 16984">
                <a:extLst>
                  <a:ext uri="{FF2B5EF4-FFF2-40B4-BE49-F238E27FC236}">
                    <a16:creationId xmlns:a16="http://schemas.microsoft.com/office/drawing/2014/main" id="{B9D894D8-2FF1-BD5C-868B-3B3DE91934E7}"/>
                  </a:ext>
                </a:extLst>
              </p:cNvPr>
              <p:cNvSpPr/>
              <p:nvPr/>
            </p:nvSpPr>
            <p:spPr>
              <a:xfrm>
                <a:off x="4807458"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6" name="Freeform: Shape 16985">
                <a:extLst>
                  <a:ext uri="{FF2B5EF4-FFF2-40B4-BE49-F238E27FC236}">
                    <a16:creationId xmlns:a16="http://schemas.microsoft.com/office/drawing/2014/main" id="{BB174191-8F62-7930-6AEC-07A6679DC155}"/>
                  </a:ext>
                </a:extLst>
              </p:cNvPr>
              <p:cNvSpPr/>
              <p:nvPr/>
            </p:nvSpPr>
            <p:spPr>
              <a:xfrm>
                <a:off x="4769643"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3" name="Graphic 112">
              <a:extLst>
                <a:ext uri="{FF2B5EF4-FFF2-40B4-BE49-F238E27FC236}">
                  <a16:creationId xmlns:a16="http://schemas.microsoft.com/office/drawing/2014/main" id="{4DBD5B1E-B0A8-2B51-CC53-B3775E04D308}"/>
                </a:ext>
              </a:extLst>
            </p:cNvPr>
            <p:cNvGrpSpPr/>
            <p:nvPr/>
          </p:nvGrpSpPr>
          <p:grpSpPr>
            <a:xfrm>
              <a:off x="4755165" y="3323272"/>
              <a:ext cx="75723" cy="75628"/>
              <a:chOff x="4755165" y="3323272"/>
              <a:chExt cx="75723" cy="75628"/>
            </a:xfrm>
          </p:grpSpPr>
          <p:sp>
            <p:nvSpPr>
              <p:cNvPr id="16983" name="Freeform: Shape 16982">
                <a:extLst>
                  <a:ext uri="{FF2B5EF4-FFF2-40B4-BE49-F238E27FC236}">
                    <a16:creationId xmlns:a16="http://schemas.microsoft.com/office/drawing/2014/main" id="{A2D01179-9154-D595-91FA-B481B4968CC6}"/>
                  </a:ext>
                </a:extLst>
              </p:cNvPr>
              <p:cNvSpPr/>
              <p:nvPr/>
            </p:nvSpPr>
            <p:spPr>
              <a:xfrm>
                <a:off x="4792980"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4" name="Freeform: Shape 16983">
                <a:extLst>
                  <a:ext uri="{FF2B5EF4-FFF2-40B4-BE49-F238E27FC236}">
                    <a16:creationId xmlns:a16="http://schemas.microsoft.com/office/drawing/2014/main" id="{1CBE4556-B8CD-A315-8DA6-52D851D94F52}"/>
                  </a:ext>
                </a:extLst>
              </p:cNvPr>
              <p:cNvSpPr/>
              <p:nvPr/>
            </p:nvSpPr>
            <p:spPr>
              <a:xfrm>
                <a:off x="4755165"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4" name="Graphic 112">
              <a:extLst>
                <a:ext uri="{FF2B5EF4-FFF2-40B4-BE49-F238E27FC236}">
                  <a16:creationId xmlns:a16="http://schemas.microsoft.com/office/drawing/2014/main" id="{16611BEF-9218-6FB6-23B7-6D5A0DAA9974}"/>
                </a:ext>
              </a:extLst>
            </p:cNvPr>
            <p:cNvGrpSpPr/>
            <p:nvPr/>
          </p:nvGrpSpPr>
          <p:grpSpPr>
            <a:xfrm>
              <a:off x="4762404" y="3323272"/>
              <a:ext cx="75723" cy="75628"/>
              <a:chOff x="4762404" y="3323272"/>
              <a:chExt cx="75723" cy="75628"/>
            </a:xfrm>
          </p:grpSpPr>
          <p:sp>
            <p:nvSpPr>
              <p:cNvPr id="16981" name="Freeform: Shape 16980">
                <a:extLst>
                  <a:ext uri="{FF2B5EF4-FFF2-40B4-BE49-F238E27FC236}">
                    <a16:creationId xmlns:a16="http://schemas.microsoft.com/office/drawing/2014/main" id="{669C4206-593C-2D94-9E6B-E880025FC89B}"/>
                  </a:ext>
                </a:extLst>
              </p:cNvPr>
              <p:cNvSpPr/>
              <p:nvPr/>
            </p:nvSpPr>
            <p:spPr>
              <a:xfrm>
                <a:off x="4800219" y="33232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2" name="Freeform: Shape 16981">
                <a:extLst>
                  <a:ext uri="{FF2B5EF4-FFF2-40B4-BE49-F238E27FC236}">
                    <a16:creationId xmlns:a16="http://schemas.microsoft.com/office/drawing/2014/main" id="{C065AB6F-E3E4-8A40-D52A-8A815F3A072D}"/>
                  </a:ext>
                </a:extLst>
              </p:cNvPr>
              <p:cNvSpPr/>
              <p:nvPr/>
            </p:nvSpPr>
            <p:spPr>
              <a:xfrm>
                <a:off x="4762404" y="33610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5" name="Graphic 112">
              <a:extLst>
                <a:ext uri="{FF2B5EF4-FFF2-40B4-BE49-F238E27FC236}">
                  <a16:creationId xmlns:a16="http://schemas.microsoft.com/office/drawing/2014/main" id="{05E64ADC-4BB5-A395-0C75-0BE31CDA3AC2}"/>
                </a:ext>
              </a:extLst>
            </p:cNvPr>
            <p:cNvGrpSpPr/>
            <p:nvPr/>
          </p:nvGrpSpPr>
          <p:grpSpPr>
            <a:xfrm>
              <a:off x="4724590" y="3199257"/>
              <a:ext cx="75628" cy="75628"/>
              <a:chOff x="4724590" y="3199257"/>
              <a:chExt cx="75628" cy="75628"/>
            </a:xfrm>
          </p:grpSpPr>
          <p:sp>
            <p:nvSpPr>
              <p:cNvPr id="16979" name="Freeform: Shape 16978">
                <a:extLst>
                  <a:ext uri="{FF2B5EF4-FFF2-40B4-BE49-F238E27FC236}">
                    <a16:creationId xmlns:a16="http://schemas.microsoft.com/office/drawing/2014/main" id="{03F4F1FE-F4B9-7A3C-0462-4F292D89EB2B}"/>
                  </a:ext>
                </a:extLst>
              </p:cNvPr>
              <p:cNvSpPr/>
              <p:nvPr/>
            </p:nvSpPr>
            <p:spPr>
              <a:xfrm>
                <a:off x="4762404"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80" name="Freeform: Shape 16979">
                <a:extLst>
                  <a:ext uri="{FF2B5EF4-FFF2-40B4-BE49-F238E27FC236}">
                    <a16:creationId xmlns:a16="http://schemas.microsoft.com/office/drawing/2014/main" id="{1EF2FAE6-21E1-848D-1AFC-948A4A83B2B0}"/>
                  </a:ext>
                </a:extLst>
              </p:cNvPr>
              <p:cNvSpPr/>
              <p:nvPr/>
            </p:nvSpPr>
            <p:spPr>
              <a:xfrm>
                <a:off x="4724590"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6" name="Graphic 112">
              <a:extLst>
                <a:ext uri="{FF2B5EF4-FFF2-40B4-BE49-F238E27FC236}">
                  <a16:creationId xmlns:a16="http://schemas.microsoft.com/office/drawing/2014/main" id="{C2BA5B3D-D55C-66C7-7F71-A05511306BD3}"/>
                </a:ext>
              </a:extLst>
            </p:cNvPr>
            <p:cNvGrpSpPr/>
            <p:nvPr/>
          </p:nvGrpSpPr>
          <p:grpSpPr>
            <a:xfrm>
              <a:off x="4710112" y="3199257"/>
              <a:ext cx="75628" cy="75628"/>
              <a:chOff x="4710112" y="3199257"/>
              <a:chExt cx="75628" cy="75628"/>
            </a:xfrm>
          </p:grpSpPr>
          <p:sp>
            <p:nvSpPr>
              <p:cNvPr id="16977" name="Freeform: Shape 16976">
                <a:extLst>
                  <a:ext uri="{FF2B5EF4-FFF2-40B4-BE49-F238E27FC236}">
                    <a16:creationId xmlns:a16="http://schemas.microsoft.com/office/drawing/2014/main" id="{DBE19CB4-AEBC-914E-9C91-B30C06144B9C}"/>
                  </a:ext>
                </a:extLst>
              </p:cNvPr>
              <p:cNvSpPr/>
              <p:nvPr/>
            </p:nvSpPr>
            <p:spPr>
              <a:xfrm>
                <a:off x="4747926"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8" name="Freeform: Shape 16977">
                <a:extLst>
                  <a:ext uri="{FF2B5EF4-FFF2-40B4-BE49-F238E27FC236}">
                    <a16:creationId xmlns:a16="http://schemas.microsoft.com/office/drawing/2014/main" id="{C4B5F8D4-4924-BFA9-8787-EA77DF7DC7F4}"/>
                  </a:ext>
                </a:extLst>
              </p:cNvPr>
              <p:cNvSpPr/>
              <p:nvPr/>
            </p:nvSpPr>
            <p:spPr>
              <a:xfrm>
                <a:off x="4710112"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7" name="Graphic 112">
              <a:extLst>
                <a:ext uri="{FF2B5EF4-FFF2-40B4-BE49-F238E27FC236}">
                  <a16:creationId xmlns:a16="http://schemas.microsoft.com/office/drawing/2014/main" id="{108D054B-29C4-5B39-188C-477CB4EAC308}"/>
                </a:ext>
              </a:extLst>
            </p:cNvPr>
            <p:cNvGrpSpPr/>
            <p:nvPr/>
          </p:nvGrpSpPr>
          <p:grpSpPr>
            <a:xfrm>
              <a:off x="4717351" y="3199257"/>
              <a:ext cx="75628" cy="75628"/>
              <a:chOff x="4717351" y="3199257"/>
              <a:chExt cx="75628" cy="75628"/>
            </a:xfrm>
          </p:grpSpPr>
          <p:sp>
            <p:nvSpPr>
              <p:cNvPr id="16975" name="Freeform: Shape 16974">
                <a:extLst>
                  <a:ext uri="{FF2B5EF4-FFF2-40B4-BE49-F238E27FC236}">
                    <a16:creationId xmlns:a16="http://schemas.microsoft.com/office/drawing/2014/main" id="{CF6D8417-1EAC-2013-1DDB-8D7E8502EE36}"/>
                  </a:ext>
                </a:extLst>
              </p:cNvPr>
              <p:cNvSpPr/>
              <p:nvPr/>
            </p:nvSpPr>
            <p:spPr>
              <a:xfrm>
                <a:off x="4755165"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6" name="Freeform: Shape 16975">
                <a:extLst>
                  <a:ext uri="{FF2B5EF4-FFF2-40B4-BE49-F238E27FC236}">
                    <a16:creationId xmlns:a16="http://schemas.microsoft.com/office/drawing/2014/main" id="{51B3CCF6-4477-1C5E-F2D8-01FF8D64057B}"/>
                  </a:ext>
                </a:extLst>
              </p:cNvPr>
              <p:cNvSpPr/>
              <p:nvPr/>
            </p:nvSpPr>
            <p:spPr>
              <a:xfrm>
                <a:off x="4717351" y="323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8" name="Graphic 112">
              <a:extLst>
                <a:ext uri="{FF2B5EF4-FFF2-40B4-BE49-F238E27FC236}">
                  <a16:creationId xmlns:a16="http://schemas.microsoft.com/office/drawing/2014/main" id="{639592E0-DA49-3AF3-2EA7-8ECC0CFC330C}"/>
                </a:ext>
              </a:extLst>
            </p:cNvPr>
            <p:cNvGrpSpPr/>
            <p:nvPr/>
          </p:nvGrpSpPr>
          <p:grpSpPr>
            <a:xfrm>
              <a:off x="4731829" y="3199257"/>
              <a:ext cx="75628" cy="75628"/>
              <a:chOff x="4731829" y="3199257"/>
              <a:chExt cx="75628" cy="75628"/>
            </a:xfrm>
          </p:grpSpPr>
          <p:sp>
            <p:nvSpPr>
              <p:cNvPr id="16973" name="Freeform: Shape 16972">
                <a:extLst>
                  <a:ext uri="{FF2B5EF4-FFF2-40B4-BE49-F238E27FC236}">
                    <a16:creationId xmlns:a16="http://schemas.microsoft.com/office/drawing/2014/main" id="{370AF4C3-1EDD-4581-2762-53C333893D07}"/>
                  </a:ext>
                </a:extLst>
              </p:cNvPr>
              <p:cNvSpPr/>
              <p:nvPr/>
            </p:nvSpPr>
            <p:spPr>
              <a:xfrm>
                <a:off x="4769643" y="31992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4" name="Freeform: Shape 16973">
                <a:extLst>
                  <a:ext uri="{FF2B5EF4-FFF2-40B4-BE49-F238E27FC236}">
                    <a16:creationId xmlns:a16="http://schemas.microsoft.com/office/drawing/2014/main" id="{6A039D20-859D-204B-EF1B-93CA9C8779ED}"/>
                  </a:ext>
                </a:extLst>
              </p:cNvPr>
              <p:cNvSpPr/>
              <p:nvPr/>
            </p:nvSpPr>
            <p:spPr>
              <a:xfrm>
                <a:off x="4731829" y="323707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19" name="Graphic 112">
              <a:extLst>
                <a:ext uri="{FF2B5EF4-FFF2-40B4-BE49-F238E27FC236}">
                  <a16:creationId xmlns:a16="http://schemas.microsoft.com/office/drawing/2014/main" id="{FE128C68-063D-64B6-A755-A984CEDEF842}"/>
                </a:ext>
              </a:extLst>
            </p:cNvPr>
            <p:cNvGrpSpPr/>
            <p:nvPr/>
          </p:nvGrpSpPr>
          <p:grpSpPr>
            <a:xfrm>
              <a:off x="4751546" y="3244024"/>
              <a:ext cx="75723" cy="75628"/>
              <a:chOff x="4751546" y="3244024"/>
              <a:chExt cx="75723" cy="75628"/>
            </a:xfrm>
          </p:grpSpPr>
          <p:sp>
            <p:nvSpPr>
              <p:cNvPr id="16971" name="Freeform: Shape 16970">
                <a:extLst>
                  <a:ext uri="{FF2B5EF4-FFF2-40B4-BE49-F238E27FC236}">
                    <a16:creationId xmlns:a16="http://schemas.microsoft.com/office/drawing/2014/main" id="{8CB96D02-6B42-C6A8-53A6-CFB725718FB2}"/>
                  </a:ext>
                </a:extLst>
              </p:cNvPr>
              <p:cNvSpPr/>
              <p:nvPr/>
            </p:nvSpPr>
            <p:spPr>
              <a:xfrm>
                <a:off x="4789360"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2" name="Freeform: Shape 16971">
                <a:extLst>
                  <a:ext uri="{FF2B5EF4-FFF2-40B4-BE49-F238E27FC236}">
                    <a16:creationId xmlns:a16="http://schemas.microsoft.com/office/drawing/2014/main" id="{8E11B9EE-D448-26B8-B4B0-566A83E3CEFC}"/>
                  </a:ext>
                </a:extLst>
              </p:cNvPr>
              <p:cNvSpPr/>
              <p:nvPr/>
            </p:nvSpPr>
            <p:spPr>
              <a:xfrm>
                <a:off x="4751546"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0" name="Graphic 112">
              <a:extLst>
                <a:ext uri="{FF2B5EF4-FFF2-40B4-BE49-F238E27FC236}">
                  <a16:creationId xmlns:a16="http://schemas.microsoft.com/office/drawing/2014/main" id="{B07CEB5C-6EB2-8F75-25E3-4CD8C836EB6D}"/>
                </a:ext>
              </a:extLst>
            </p:cNvPr>
            <p:cNvGrpSpPr/>
            <p:nvPr/>
          </p:nvGrpSpPr>
          <p:grpSpPr>
            <a:xfrm>
              <a:off x="4737068" y="3244024"/>
              <a:ext cx="75723" cy="75628"/>
              <a:chOff x="4737068" y="3244024"/>
              <a:chExt cx="75723" cy="75628"/>
            </a:xfrm>
          </p:grpSpPr>
          <p:sp>
            <p:nvSpPr>
              <p:cNvPr id="16969" name="Freeform: Shape 16968">
                <a:extLst>
                  <a:ext uri="{FF2B5EF4-FFF2-40B4-BE49-F238E27FC236}">
                    <a16:creationId xmlns:a16="http://schemas.microsoft.com/office/drawing/2014/main" id="{E2E9C005-96CD-8DCB-B348-0FF51FB7C7FA}"/>
                  </a:ext>
                </a:extLst>
              </p:cNvPr>
              <p:cNvSpPr/>
              <p:nvPr/>
            </p:nvSpPr>
            <p:spPr>
              <a:xfrm>
                <a:off x="4774882"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70" name="Freeform: Shape 16969">
                <a:extLst>
                  <a:ext uri="{FF2B5EF4-FFF2-40B4-BE49-F238E27FC236}">
                    <a16:creationId xmlns:a16="http://schemas.microsoft.com/office/drawing/2014/main" id="{670AE5EB-9D68-2E30-2482-6F8E0075D99A}"/>
                  </a:ext>
                </a:extLst>
              </p:cNvPr>
              <p:cNvSpPr/>
              <p:nvPr/>
            </p:nvSpPr>
            <p:spPr>
              <a:xfrm>
                <a:off x="4737068"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1" name="Graphic 112">
              <a:extLst>
                <a:ext uri="{FF2B5EF4-FFF2-40B4-BE49-F238E27FC236}">
                  <a16:creationId xmlns:a16="http://schemas.microsoft.com/office/drawing/2014/main" id="{8A1D5C67-C08B-0A71-612E-10DA401B6A11}"/>
                </a:ext>
              </a:extLst>
            </p:cNvPr>
            <p:cNvGrpSpPr/>
            <p:nvPr/>
          </p:nvGrpSpPr>
          <p:grpSpPr>
            <a:xfrm>
              <a:off x="4744307" y="3244024"/>
              <a:ext cx="75723" cy="75628"/>
              <a:chOff x="4744307" y="3244024"/>
              <a:chExt cx="75723" cy="75628"/>
            </a:xfrm>
          </p:grpSpPr>
          <p:sp>
            <p:nvSpPr>
              <p:cNvPr id="16967" name="Freeform: Shape 16966">
                <a:extLst>
                  <a:ext uri="{FF2B5EF4-FFF2-40B4-BE49-F238E27FC236}">
                    <a16:creationId xmlns:a16="http://schemas.microsoft.com/office/drawing/2014/main" id="{BBD8EDF6-7BBB-70AC-033B-41E31139A139}"/>
                  </a:ext>
                </a:extLst>
              </p:cNvPr>
              <p:cNvSpPr/>
              <p:nvPr/>
            </p:nvSpPr>
            <p:spPr>
              <a:xfrm>
                <a:off x="4782121"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8" name="Freeform: Shape 16967">
                <a:extLst>
                  <a:ext uri="{FF2B5EF4-FFF2-40B4-BE49-F238E27FC236}">
                    <a16:creationId xmlns:a16="http://schemas.microsoft.com/office/drawing/2014/main" id="{78227F2B-CEC7-A390-5E5A-CCE99CAE19F8}"/>
                  </a:ext>
                </a:extLst>
              </p:cNvPr>
              <p:cNvSpPr/>
              <p:nvPr/>
            </p:nvSpPr>
            <p:spPr>
              <a:xfrm>
                <a:off x="4744307"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2" name="Graphic 112">
              <a:extLst>
                <a:ext uri="{FF2B5EF4-FFF2-40B4-BE49-F238E27FC236}">
                  <a16:creationId xmlns:a16="http://schemas.microsoft.com/office/drawing/2014/main" id="{274F9F8F-85F4-3778-BB71-78B68B678B0D}"/>
                </a:ext>
              </a:extLst>
            </p:cNvPr>
            <p:cNvGrpSpPr/>
            <p:nvPr/>
          </p:nvGrpSpPr>
          <p:grpSpPr>
            <a:xfrm>
              <a:off x="4758785" y="3244024"/>
              <a:ext cx="75723" cy="75628"/>
              <a:chOff x="4758785" y="3244024"/>
              <a:chExt cx="75723" cy="75628"/>
            </a:xfrm>
          </p:grpSpPr>
          <p:sp>
            <p:nvSpPr>
              <p:cNvPr id="16965" name="Freeform: Shape 16964">
                <a:extLst>
                  <a:ext uri="{FF2B5EF4-FFF2-40B4-BE49-F238E27FC236}">
                    <a16:creationId xmlns:a16="http://schemas.microsoft.com/office/drawing/2014/main" id="{08A1FD53-4041-561D-8A1F-DA38255D824F}"/>
                  </a:ext>
                </a:extLst>
              </p:cNvPr>
              <p:cNvSpPr/>
              <p:nvPr/>
            </p:nvSpPr>
            <p:spPr>
              <a:xfrm>
                <a:off x="4796599" y="324402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6" name="Freeform: Shape 16965">
                <a:extLst>
                  <a:ext uri="{FF2B5EF4-FFF2-40B4-BE49-F238E27FC236}">
                    <a16:creationId xmlns:a16="http://schemas.microsoft.com/office/drawing/2014/main" id="{3B49FF98-C8E0-3B75-67F4-CA62C9929188}"/>
                  </a:ext>
                </a:extLst>
              </p:cNvPr>
              <p:cNvSpPr/>
              <p:nvPr/>
            </p:nvSpPr>
            <p:spPr>
              <a:xfrm>
                <a:off x="4758785" y="3281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3" name="Graphic 112">
              <a:extLst>
                <a:ext uri="{FF2B5EF4-FFF2-40B4-BE49-F238E27FC236}">
                  <a16:creationId xmlns:a16="http://schemas.microsoft.com/office/drawing/2014/main" id="{4F8A0EC0-1F26-F85C-82C9-6AFFFCA172F7}"/>
                </a:ext>
              </a:extLst>
            </p:cNvPr>
            <p:cNvGrpSpPr/>
            <p:nvPr/>
          </p:nvGrpSpPr>
          <p:grpSpPr>
            <a:xfrm>
              <a:off x="4747926" y="3261264"/>
              <a:ext cx="75723" cy="75628"/>
              <a:chOff x="4747926" y="3261264"/>
              <a:chExt cx="75723" cy="75628"/>
            </a:xfrm>
          </p:grpSpPr>
          <p:sp>
            <p:nvSpPr>
              <p:cNvPr id="16963" name="Freeform: Shape 16962">
                <a:extLst>
                  <a:ext uri="{FF2B5EF4-FFF2-40B4-BE49-F238E27FC236}">
                    <a16:creationId xmlns:a16="http://schemas.microsoft.com/office/drawing/2014/main" id="{98E9B449-96EA-1559-E254-EDAA7A1BC642}"/>
                  </a:ext>
                </a:extLst>
              </p:cNvPr>
              <p:cNvSpPr/>
              <p:nvPr/>
            </p:nvSpPr>
            <p:spPr>
              <a:xfrm>
                <a:off x="4785741"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4" name="Freeform: Shape 16963">
                <a:extLst>
                  <a:ext uri="{FF2B5EF4-FFF2-40B4-BE49-F238E27FC236}">
                    <a16:creationId xmlns:a16="http://schemas.microsoft.com/office/drawing/2014/main" id="{03644FC2-9042-79B1-82D1-43E9FBC9C498}"/>
                  </a:ext>
                </a:extLst>
              </p:cNvPr>
              <p:cNvSpPr/>
              <p:nvPr/>
            </p:nvSpPr>
            <p:spPr>
              <a:xfrm>
                <a:off x="4747926"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4" name="Graphic 112">
              <a:extLst>
                <a:ext uri="{FF2B5EF4-FFF2-40B4-BE49-F238E27FC236}">
                  <a16:creationId xmlns:a16="http://schemas.microsoft.com/office/drawing/2014/main" id="{6952F6EE-40FA-BCC5-050E-1620E0319613}"/>
                </a:ext>
              </a:extLst>
            </p:cNvPr>
            <p:cNvGrpSpPr/>
            <p:nvPr/>
          </p:nvGrpSpPr>
          <p:grpSpPr>
            <a:xfrm>
              <a:off x="4755165" y="3261264"/>
              <a:ext cx="75723" cy="75628"/>
              <a:chOff x="4755165" y="3261264"/>
              <a:chExt cx="75723" cy="75628"/>
            </a:xfrm>
          </p:grpSpPr>
          <p:sp>
            <p:nvSpPr>
              <p:cNvPr id="16961" name="Freeform: Shape 16960">
                <a:extLst>
                  <a:ext uri="{FF2B5EF4-FFF2-40B4-BE49-F238E27FC236}">
                    <a16:creationId xmlns:a16="http://schemas.microsoft.com/office/drawing/2014/main" id="{FD6BD590-8D41-9E05-D548-C53CDB786230}"/>
                  </a:ext>
                </a:extLst>
              </p:cNvPr>
              <p:cNvSpPr/>
              <p:nvPr/>
            </p:nvSpPr>
            <p:spPr>
              <a:xfrm>
                <a:off x="4792980" y="3261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2" name="Freeform: Shape 16961">
                <a:extLst>
                  <a:ext uri="{FF2B5EF4-FFF2-40B4-BE49-F238E27FC236}">
                    <a16:creationId xmlns:a16="http://schemas.microsoft.com/office/drawing/2014/main" id="{E40F433F-C235-40E3-CAD6-8C0B76368D93}"/>
                  </a:ext>
                </a:extLst>
              </p:cNvPr>
              <p:cNvSpPr/>
              <p:nvPr/>
            </p:nvSpPr>
            <p:spPr>
              <a:xfrm>
                <a:off x="4755165" y="32990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5" name="Graphic 112">
              <a:extLst>
                <a:ext uri="{FF2B5EF4-FFF2-40B4-BE49-F238E27FC236}">
                  <a16:creationId xmlns:a16="http://schemas.microsoft.com/office/drawing/2014/main" id="{CA2B37EF-CB16-BE2D-4282-F47768060262}"/>
                </a:ext>
              </a:extLst>
            </p:cNvPr>
            <p:cNvGrpSpPr/>
            <p:nvPr/>
          </p:nvGrpSpPr>
          <p:grpSpPr>
            <a:xfrm>
              <a:off x="4436078" y="3075527"/>
              <a:ext cx="75723" cy="75628"/>
              <a:chOff x="4436078" y="3075527"/>
              <a:chExt cx="75723" cy="75628"/>
            </a:xfrm>
          </p:grpSpPr>
          <p:sp>
            <p:nvSpPr>
              <p:cNvPr id="16959" name="Freeform: Shape 16958">
                <a:extLst>
                  <a:ext uri="{FF2B5EF4-FFF2-40B4-BE49-F238E27FC236}">
                    <a16:creationId xmlns:a16="http://schemas.microsoft.com/office/drawing/2014/main" id="{726E9F78-D270-5E11-057D-B7C88FD9B8FC}"/>
                  </a:ext>
                </a:extLst>
              </p:cNvPr>
              <p:cNvSpPr/>
              <p:nvPr/>
            </p:nvSpPr>
            <p:spPr>
              <a:xfrm>
                <a:off x="4473987" y="30755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60" name="Freeform: Shape 16959">
                <a:extLst>
                  <a:ext uri="{FF2B5EF4-FFF2-40B4-BE49-F238E27FC236}">
                    <a16:creationId xmlns:a16="http://schemas.microsoft.com/office/drawing/2014/main" id="{64462B2D-89D7-1BD0-D55A-59932B7CD19D}"/>
                  </a:ext>
                </a:extLst>
              </p:cNvPr>
              <p:cNvSpPr/>
              <p:nvPr/>
            </p:nvSpPr>
            <p:spPr>
              <a:xfrm>
                <a:off x="4436078" y="31133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6" name="Graphic 112">
              <a:extLst>
                <a:ext uri="{FF2B5EF4-FFF2-40B4-BE49-F238E27FC236}">
                  <a16:creationId xmlns:a16="http://schemas.microsoft.com/office/drawing/2014/main" id="{15D818B0-3A85-0457-9DBB-E0DD15F0B6B9}"/>
                </a:ext>
              </a:extLst>
            </p:cNvPr>
            <p:cNvGrpSpPr/>
            <p:nvPr/>
          </p:nvGrpSpPr>
          <p:grpSpPr>
            <a:xfrm>
              <a:off x="4372927" y="3062954"/>
              <a:ext cx="75628" cy="75628"/>
              <a:chOff x="4372927" y="3062954"/>
              <a:chExt cx="75628" cy="75628"/>
            </a:xfrm>
          </p:grpSpPr>
          <p:sp>
            <p:nvSpPr>
              <p:cNvPr id="16957" name="Freeform: Shape 16956">
                <a:extLst>
                  <a:ext uri="{FF2B5EF4-FFF2-40B4-BE49-F238E27FC236}">
                    <a16:creationId xmlns:a16="http://schemas.microsoft.com/office/drawing/2014/main" id="{1EAF0EAB-DB95-11BE-6EAC-0827F63616F1}"/>
                  </a:ext>
                </a:extLst>
              </p:cNvPr>
              <p:cNvSpPr/>
              <p:nvPr/>
            </p:nvSpPr>
            <p:spPr>
              <a:xfrm>
                <a:off x="4410741" y="306295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8" name="Freeform: Shape 16957">
                <a:extLst>
                  <a:ext uri="{FF2B5EF4-FFF2-40B4-BE49-F238E27FC236}">
                    <a16:creationId xmlns:a16="http://schemas.microsoft.com/office/drawing/2014/main" id="{8A3052F2-EACD-7BC7-5924-09D3374C80F2}"/>
                  </a:ext>
                </a:extLst>
              </p:cNvPr>
              <p:cNvSpPr/>
              <p:nvPr/>
            </p:nvSpPr>
            <p:spPr>
              <a:xfrm>
                <a:off x="4372927" y="31007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7" name="Graphic 112">
              <a:extLst>
                <a:ext uri="{FF2B5EF4-FFF2-40B4-BE49-F238E27FC236}">
                  <a16:creationId xmlns:a16="http://schemas.microsoft.com/office/drawing/2014/main" id="{C0F664A4-D0D2-04FF-6096-5049A279B60D}"/>
                </a:ext>
              </a:extLst>
            </p:cNvPr>
            <p:cNvGrpSpPr/>
            <p:nvPr/>
          </p:nvGrpSpPr>
          <p:grpSpPr>
            <a:xfrm>
              <a:off x="4337589" y="3037617"/>
              <a:ext cx="75723" cy="75723"/>
              <a:chOff x="4337589" y="3037617"/>
              <a:chExt cx="75723" cy="75723"/>
            </a:xfrm>
          </p:grpSpPr>
          <p:sp>
            <p:nvSpPr>
              <p:cNvPr id="16955" name="Freeform: Shape 16954">
                <a:extLst>
                  <a:ext uri="{FF2B5EF4-FFF2-40B4-BE49-F238E27FC236}">
                    <a16:creationId xmlns:a16="http://schemas.microsoft.com/office/drawing/2014/main" id="{F938D33E-2575-6074-19BF-544CA7FC0345}"/>
                  </a:ext>
                </a:extLst>
              </p:cNvPr>
              <p:cNvSpPr/>
              <p:nvPr/>
            </p:nvSpPr>
            <p:spPr>
              <a:xfrm>
                <a:off x="4375499"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6" name="Freeform: Shape 16955">
                <a:extLst>
                  <a:ext uri="{FF2B5EF4-FFF2-40B4-BE49-F238E27FC236}">
                    <a16:creationId xmlns:a16="http://schemas.microsoft.com/office/drawing/2014/main" id="{11F9720F-E970-08F9-0DD7-9AD1ECF9A40F}"/>
                  </a:ext>
                </a:extLst>
              </p:cNvPr>
              <p:cNvSpPr/>
              <p:nvPr/>
            </p:nvSpPr>
            <p:spPr>
              <a:xfrm>
                <a:off x="4337589"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8" name="Graphic 112">
              <a:extLst>
                <a:ext uri="{FF2B5EF4-FFF2-40B4-BE49-F238E27FC236}">
                  <a16:creationId xmlns:a16="http://schemas.microsoft.com/office/drawing/2014/main" id="{1BE3BCF9-3117-1C7A-71B9-0094C39E4C47}"/>
                </a:ext>
              </a:extLst>
            </p:cNvPr>
            <p:cNvGrpSpPr/>
            <p:nvPr/>
          </p:nvGrpSpPr>
          <p:grpSpPr>
            <a:xfrm>
              <a:off x="4343876" y="3037617"/>
              <a:ext cx="75723" cy="75723"/>
              <a:chOff x="4343876" y="3037617"/>
              <a:chExt cx="75723" cy="75723"/>
            </a:xfrm>
          </p:grpSpPr>
          <p:sp>
            <p:nvSpPr>
              <p:cNvPr id="16953" name="Freeform: Shape 16952">
                <a:extLst>
                  <a:ext uri="{FF2B5EF4-FFF2-40B4-BE49-F238E27FC236}">
                    <a16:creationId xmlns:a16="http://schemas.microsoft.com/office/drawing/2014/main" id="{90C604E6-46F4-52AC-A120-C237436360E0}"/>
                  </a:ext>
                </a:extLst>
              </p:cNvPr>
              <p:cNvSpPr/>
              <p:nvPr/>
            </p:nvSpPr>
            <p:spPr>
              <a:xfrm>
                <a:off x="4381785"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4" name="Freeform: Shape 16953">
                <a:extLst>
                  <a:ext uri="{FF2B5EF4-FFF2-40B4-BE49-F238E27FC236}">
                    <a16:creationId xmlns:a16="http://schemas.microsoft.com/office/drawing/2014/main" id="{47986C8E-A8FC-5243-BB51-B7243410EB80}"/>
                  </a:ext>
                </a:extLst>
              </p:cNvPr>
              <p:cNvSpPr/>
              <p:nvPr/>
            </p:nvSpPr>
            <p:spPr>
              <a:xfrm>
                <a:off x="4343876"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29" name="Graphic 112">
              <a:extLst>
                <a:ext uri="{FF2B5EF4-FFF2-40B4-BE49-F238E27FC236}">
                  <a16:creationId xmlns:a16="http://schemas.microsoft.com/office/drawing/2014/main" id="{925A760E-D377-D034-685E-E6ADD6CC3A69}"/>
                </a:ext>
              </a:extLst>
            </p:cNvPr>
            <p:cNvGrpSpPr/>
            <p:nvPr/>
          </p:nvGrpSpPr>
          <p:grpSpPr>
            <a:xfrm>
              <a:off x="4350162" y="3037617"/>
              <a:ext cx="75723" cy="75723"/>
              <a:chOff x="4350162" y="3037617"/>
              <a:chExt cx="75723" cy="75723"/>
            </a:xfrm>
          </p:grpSpPr>
          <p:sp>
            <p:nvSpPr>
              <p:cNvPr id="16951" name="Freeform: Shape 16950">
                <a:extLst>
                  <a:ext uri="{FF2B5EF4-FFF2-40B4-BE49-F238E27FC236}">
                    <a16:creationId xmlns:a16="http://schemas.microsoft.com/office/drawing/2014/main" id="{10256322-A369-3F3E-2277-48DCEE8F815A}"/>
                  </a:ext>
                </a:extLst>
              </p:cNvPr>
              <p:cNvSpPr/>
              <p:nvPr/>
            </p:nvSpPr>
            <p:spPr>
              <a:xfrm>
                <a:off x="4388072" y="303761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2" name="Freeform: Shape 16951">
                <a:extLst>
                  <a:ext uri="{FF2B5EF4-FFF2-40B4-BE49-F238E27FC236}">
                    <a16:creationId xmlns:a16="http://schemas.microsoft.com/office/drawing/2014/main" id="{E8B1F003-78A2-2AD5-903E-E8AFCCEDA649}"/>
                  </a:ext>
                </a:extLst>
              </p:cNvPr>
              <p:cNvSpPr/>
              <p:nvPr/>
            </p:nvSpPr>
            <p:spPr>
              <a:xfrm>
                <a:off x="4350162" y="3075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0" name="Graphic 112">
              <a:extLst>
                <a:ext uri="{FF2B5EF4-FFF2-40B4-BE49-F238E27FC236}">
                  <a16:creationId xmlns:a16="http://schemas.microsoft.com/office/drawing/2014/main" id="{3D4A2623-0F16-5700-1FF2-FD78AD5C62F6}"/>
                </a:ext>
              </a:extLst>
            </p:cNvPr>
            <p:cNvGrpSpPr/>
            <p:nvPr/>
          </p:nvGrpSpPr>
          <p:grpSpPr>
            <a:xfrm>
              <a:off x="4329112" y="2975895"/>
              <a:ext cx="75723" cy="75628"/>
              <a:chOff x="4329112" y="2975895"/>
              <a:chExt cx="75723" cy="75628"/>
            </a:xfrm>
          </p:grpSpPr>
          <p:sp>
            <p:nvSpPr>
              <p:cNvPr id="16949" name="Freeform: Shape 16948">
                <a:extLst>
                  <a:ext uri="{FF2B5EF4-FFF2-40B4-BE49-F238E27FC236}">
                    <a16:creationId xmlns:a16="http://schemas.microsoft.com/office/drawing/2014/main" id="{88AF8406-3BF3-3DCB-C18F-C0B2F9305A59}"/>
                  </a:ext>
                </a:extLst>
              </p:cNvPr>
              <p:cNvSpPr/>
              <p:nvPr/>
            </p:nvSpPr>
            <p:spPr>
              <a:xfrm>
                <a:off x="4366926" y="29758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50" name="Freeform: Shape 16949">
                <a:extLst>
                  <a:ext uri="{FF2B5EF4-FFF2-40B4-BE49-F238E27FC236}">
                    <a16:creationId xmlns:a16="http://schemas.microsoft.com/office/drawing/2014/main" id="{34EA975A-9399-98FE-758B-954F00478AE1}"/>
                  </a:ext>
                </a:extLst>
              </p:cNvPr>
              <p:cNvSpPr/>
              <p:nvPr/>
            </p:nvSpPr>
            <p:spPr>
              <a:xfrm>
                <a:off x="4329112" y="30137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1" name="Graphic 112">
              <a:extLst>
                <a:ext uri="{FF2B5EF4-FFF2-40B4-BE49-F238E27FC236}">
                  <a16:creationId xmlns:a16="http://schemas.microsoft.com/office/drawing/2014/main" id="{C39E482F-E0D5-6461-629E-B53D6CDA9BE2}"/>
                </a:ext>
              </a:extLst>
            </p:cNvPr>
            <p:cNvGrpSpPr/>
            <p:nvPr/>
          </p:nvGrpSpPr>
          <p:grpSpPr>
            <a:xfrm>
              <a:off x="4283487" y="2903696"/>
              <a:ext cx="75723" cy="75723"/>
              <a:chOff x="4283487" y="2903696"/>
              <a:chExt cx="75723" cy="75723"/>
            </a:xfrm>
          </p:grpSpPr>
          <p:sp>
            <p:nvSpPr>
              <p:cNvPr id="16947" name="Freeform: Shape 16946">
                <a:extLst>
                  <a:ext uri="{FF2B5EF4-FFF2-40B4-BE49-F238E27FC236}">
                    <a16:creationId xmlns:a16="http://schemas.microsoft.com/office/drawing/2014/main" id="{11768948-90E3-DB63-B49D-615C96251391}"/>
                  </a:ext>
                </a:extLst>
              </p:cNvPr>
              <p:cNvSpPr/>
              <p:nvPr/>
            </p:nvSpPr>
            <p:spPr>
              <a:xfrm>
                <a:off x="4321302"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8" name="Freeform: Shape 16947">
                <a:extLst>
                  <a:ext uri="{FF2B5EF4-FFF2-40B4-BE49-F238E27FC236}">
                    <a16:creationId xmlns:a16="http://schemas.microsoft.com/office/drawing/2014/main" id="{603CC6EA-8142-A209-5AE8-A10F7E627889}"/>
                  </a:ext>
                </a:extLst>
              </p:cNvPr>
              <p:cNvSpPr/>
              <p:nvPr/>
            </p:nvSpPr>
            <p:spPr>
              <a:xfrm>
                <a:off x="4283487"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2" name="Graphic 112">
              <a:extLst>
                <a:ext uri="{FF2B5EF4-FFF2-40B4-BE49-F238E27FC236}">
                  <a16:creationId xmlns:a16="http://schemas.microsoft.com/office/drawing/2014/main" id="{A8F4B836-A081-2D78-C37E-90931E39099F}"/>
                </a:ext>
              </a:extLst>
            </p:cNvPr>
            <p:cNvGrpSpPr/>
            <p:nvPr/>
          </p:nvGrpSpPr>
          <p:grpSpPr>
            <a:xfrm>
              <a:off x="4288345" y="2903696"/>
              <a:ext cx="75723" cy="75723"/>
              <a:chOff x="4288345" y="2903696"/>
              <a:chExt cx="75723" cy="75723"/>
            </a:xfrm>
          </p:grpSpPr>
          <p:sp>
            <p:nvSpPr>
              <p:cNvPr id="16945" name="Freeform: Shape 16944">
                <a:extLst>
                  <a:ext uri="{FF2B5EF4-FFF2-40B4-BE49-F238E27FC236}">
                    <a16:creationId xmlns:a16="http://schemas.microsoft.com/office/drawing/2014/main" id="{50EB3AE0-43AF-5E8B-29C7-F1FFA4F57701}"/>
                  </a:ext>
                </a:extLst>
              </p:cNvPr>
              <p:cNvSpPr/>
              <p:nvPr/>
            </p:nvSpPr>
            <p:spPr>
              <a:xfrm>
                <a:off x="4326159" y="29036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6" name="Freeform: Shape 16945">
                <a:extLst>
                  <a:ext uri="{FF2B5EF4-FFF2-40B4-BE49-F238E27FC236}">
                    <a16:creationId xmlns:a16="http://schemas.microsoft.com/office/drawing/2014/main" id="{8B326F71-727D-C82E-3135-818F751B1DFD}"/>
                  </a:ext>
                </a:extLst>
              </p:cNvPr>
              <p:cNvSpPr/>
              <p:nvPr/>
            </p:nvSpPr>
            <p:spPr>
              <a:xfrm>
                <a:off x="4288345" y="29415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3" name="Graphic 112">
              <a:extLst>
                <a:ext uri="{FF2B5EF4-FFF2-40B4-BE49-F238E27FC236}">
                  <a16:creationId xmlns:a16="http://schemas.microsoft.com/office/drawing/2014/main" id="{6F754E85-84CA-B901-68C4-9D62243B1E54}"/>
                </a:ext>
              </a:extLst>
            </p:cNvPr>
            <p:cNvGrpSpPr/>
            <p:nvPr/>
          </p:nvGrpSpPr>
          <p:grpSpPr>
            <a:xfrm>
              <a:off x="4297394" y="2949892"/>
              <a:ext cx="75628" cy="75723"/>
              <a:chOff x="4297394" y="2949892"/>
              <a:chExt cx="75628" cy="75723"/>
            </a:xfrm>
          </p:grpSpPr>
          <p:sp>
            <p:nvSpPr>
              <p:cNvPr id="16943" name="Freeform: Shape 16942">
                <a:extLst>
                  <a:ext uri="{FF2B5EF4-FFF2-40B4-BE49-F238E27FC236}">
                    <a16:creationId xmlns:a16="http://schemas.microsoft.com/office/drawing/2014/main" id="{F32EF111-BC54-A14C-54B9-A1935EF31DE0}"/>
                  </a:ext>
                </a:extLst>
              </p:cNvPr>
              <p:cNvSpPr/>
              <p:nvPr/>
            </p:nvSpPr>
            <p:spPr>
              <a:xfrm>
                <a:off x="4335208"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4" name="Freeform: Shape 16943">
                <a:extLst>
                  <a:ext uri="{FF2B5EF4-FFF2-40B4-BE49-F238E27FC236}">
                    <a16:creationId xmlns:a16="http://schemas.microsoft.com/office/drawing/2014/main" id="{F16BA6B4-2F0B-A26B-2BA7-754B6781F507}"/>
                  </a:ext>
                </a:extLst>
              </p:cNvPr>
              <p:cNvSpPr/>
              <p:nvPr/>
            </p:nvSpPr>
            <p:spPr>
              <a:xfrm>
                <a:off x="4297394" y="29878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4" name="Graphic 112">
              <a:extLst>
                <a:ext uri="{FF2B5EF4-FFF2-40B4-BE49-F238E27FC236}">
                  <a16:creationId xmlns:a16="http://schemas.microsoft.com/office/drawing/2014/main" id="{8EB7C9F2-87C5-70C6-501B-AE6DB0DDEF6D}"/>
                </a:ext>
              </a:extLst>
            </p:cNvPr>
            <p:cNvGrpSpPr/>
            <p:nvPr/>
          </p:nvGrpSpPr>
          <p:grpSpPr>
            <a:xfrm>
              <a:off x="4304823" y="2949892"/>
              <a:ext cx="75723" cy="75723"/>
              <a:chOff x="4304823" y="2949892"/>
              <a:chExt cx="75723" cy="75723"/>
            </a:xfrm>
          </p:grpSpPr>
          <p:sp>
            <p:nvSpPr>
              <p:cNvPr id="16941" name="Freeform: Shape 16940">
                <a:extLst>
                  <a:ext uri="{FF2B5EF4-FFF2-40B4-BE49-F238E27FC236}">
                    <a16:creationId xmlns:a16="http://schemas.microsoft.com/office/drawing/2014/main" id="{ED23FBFF-6B4F-9D3C-7BE3-A6920531FBB2}"/>
                  </a:ext>
                </a:extLst>
              </p:cNvPr>
              <p:cNvSpPr/>
              <p:nvPr/>
            </p:nvSpPr>
            <p:spPr>
              <a:xfrm>
                <a:off x="4342733"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2" name="Freeform: Shape 16941">
                <a:extLst>
                  <a:ext uri="{FF2B5EF4-FFF2-40B4-BE49-F238E27FC236}">
                    <a16:creationId xmlns:a16="http://schemas.microsoft.com/office/drawing/2014/main" id="{909955B1-2303-A29B-A262-95C69EC016D4}"/>
                  </a:ext>
                </a:extLst>
              </p:cNvPr>
              <p:cNvSpPr/>
              <p:nvPr/>
            </p:nvSpPr>
            <p:spPr>
              <a:xfrm>
                <a:off x="4304823"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5" name="Graphic 112">
              <a:extLst>
                <a:ext uri="{FF2B5EF4-FFF2-40B4-BE49-F238E27FC236}">
                  <a16:creationId xmlns:a16="http://schemas.microsoft.com/office/drawing/2014/main" id="{28EE92E1-AE31-471E-B4A9-40FD130F9EB5}"/>
                </a:ext>
              </a:extLst>
            </p:cNvPr>
            <p:cNvGrpSpPr/>
            <p:nvPr/>
          </p:nvGrpSpPr>
          <p:grpSpPr>
            <a:xfrm>
              <a:off x="4312348" y="2949892"/>
              <a:ext cx="75723" cy="75723"/>
              <a:chOff x="4312348" y="2949892"/>
              <a:chExt cx="75723" cy="75723"/>
            </a:xfrm>
          </p:grpSpPr>
          <p:sp>
            <p:nvSpPr>
              <p:cNvPr id="16939" name="Freeform: Shape 16938">
                <a:extLst>
                  <a:ext uri="{FF2B5EF4-FFF2-40B4-BE49-F238E27FC236}">
                    <a16:creationId xmlns:a16="http://schemas.microsoft.com/office/drawing/2014/main" id="{1C19B609-7208-A178-FED0-10086EB59F6F}"/>
                  </a:ext>
                </a:extLst>
              </p:cNvPr>
              <p:cNvSpPr/>
              <p:nvPr/>
            </p:nvSpPr>
            <p:spPr>
              <a:xfrm>
                <a:off x="4350162" y="29498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40" name="Freeform: Shape 16939">
                <a:extLst>
                  <a:ext uri="{FF2B5EF4-FFF2-40B4-BE49-F238E27FC236}">
                    <a16:creationId xmlns:a16="http://schemas.microsoft.com/office/drawing/2014/main" id="{D1C8B752-D5A3-F4BF-73D6-87EDC362EB94}"/>
                  </a:ext>
                </a:extLst>
              </p:cNvPr>
              <p:cNvSpPr/>
              <p:nvPr/>
            </p:nvSpPr>
            <p:spPr>
              <a:xfrm>
                <a:off x="4312348" y="2987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936" name="Graphic 112">
              <a:extLst>
                <a:ext uri="{FF2B5EF4-FFF2-40B4-BE49-F238E27FC236}">
                  <a16:creationId xmlns:a16="http://schemas.microsoft.com/office/drawing/2014/main" id="{67A9C029-D4E9-9680-993E-24CE3C443736}"/>
                </a:ext>
              </a:extLst>
            </p:cNvPr>
            <p:cNvGrpSpPr/>
            <p:nvPr/>
          </p:nvGrpSpPr>
          <p:grpSpPr>
            <a:xfrm>
              <a:off x="3888962" y="2740056"/>
              <a:ext cx="75628" cy="75723"/>
              <a:chOff x="3888962" y="2740056"/>
              <a:chExt cx="75628" cy="75723"/>
            </a:xfrm>
          </p:grpSpPr>
          <p:sp>
            <p:nvSpPr>
              <p:cNvPr id="16937" name="Freeform: Shape 16936">
                <a:extLst>
                  <a:ext uri="{FF2B5EF4-FFF2-40B4-BE49-F238E27FC236}">
                    <a16:creationId xmlns:a16="http://schemas.microsoft.com/office/drawing/2014/main" id="{A155C07E-4F07-F5E0-3665-9AFF9F54DA37}"/>
                  </a:ext>
                </a:extLst>
              </p:cNvPr>
              <p:cNvSpPr/>
              <p:nvPr/>
            </p:nvSpPr>
            <p:spPr>
              <a:xfrm>
                <a:off x="3926776" y="27400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938" name="Freeform: Shape 16937">
                <a:extLst>
                  <a:ext uri="{FF2B5EF4-FFF2-40B4-BE49-F238E27FC236}">
                    <a16:creationId xmlns:a16="http://schemas.microsoft.com/office/drawing/2014/main" id="{C2EBCB6A-094A-DE08-4C07-1211EAB1EE29}"/>
                  </a:ext>
                </a:extLst>
              </p:cNvPr>
              <p:cNvSpPr/>
              <p:nvPr/>
            </p:nvSpPr>
            <p:spPr>
              <a:xfrm>
                <a:off x="3888962" y="27779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nvGrpSpPr>
          <p:cNvPr id="15722" name="Group 15721">
            <a:extLst>
              <a:ext uri="{FF2B5EF4-FFF2-40B4-BE49-F238E27FC236}">
                <a16:creationId xmlns:a16="http://schemas.microsoft.com/office/drawing/2014/main" id="{87DEA7E0-EC7E-BFA4-5AAC-24EFE5065FD2}"/>
              </a:ext>
            </a:extLst>
          </p:cNvPr>
          <p:cNvGrpSpPr/>
          <p:nvPr/>
        </p:nvGrpSpPr>
        <p:grpSpPr>
          <a:xfrm>
            <a:off x="659300" y="1434330"/>
            <a:ext cx="6855505" cy="2159001"/>
            <a:chOff x="3486150" y="2509837"/>
            <a:chExt cx="5217128" cy="1841658"/>
          </a:xfrm>
        </p:grpSpPr>
        <p:grpSp>
          <p:nvGrpSpPr>
            <p:cNvPr id="15723" name="Graphic 745">
              <a:extLst>
                <a:ext uri="{FF2B5EF4-FFF2-40B4-BE49-F238E27FC236}">
                  <a16:creationId xmlns:a16="http://schemas.microsoft.com/office/drawing/2014/main" id="{92FABD8C-CB5A-EF37-F993-77D9DCCF8C9E}"/>
                </a:ext>
              </a:extLst>
            </p:cNvPr>
            <p:cNvGrpSpPr/>
            <p:nvPr/>
          </p:nvGrpSpPr>
          <p:grpSpPr>
            <a:xfrm>
              <a:off x="3486150" y="2509837"/>
              <a:ext cx="5217128" cy="1841658"/>
              <a:chOff x="3486150" y="2509837"/>
              <a:chExt cx="5217128" cy="1841658"/>
            </a:xfrm>
          </p:grpSpPr>
          <p:grpSp>
            <p:nvGrpSpPr>
              <p:cNvPr id="15725" name="Graphic 745">
                <a:extLst>
                  <a:ext uri="{FF2B5EF4-FFF2-40B4-BE49-F238E27FC236}">
                    <a16:creationId xmlns:a16="http://schemas.microsoft.com/office/drawing/2014/main" id="{465182A7-8412-F2DA-240C-1FABF83D00B0}"/>
                  </a:ext>
                </a:extLst>
              </p:cNvPr>
              <p:cNvGrpSpPr/>
              <p:nvPr/>
            </p:nvGrpSpPr>
            <p:grpSpPr>
              <a:xfrm>
                <a:off x="8627554" y="4275772"/>
                <a:ext cx="75723" cy="75723"/>
                <a:chOff x="8627554" y="4275772"/>
                <a:chExt cx="75723" cy="75723"/>
              </a:xfrm>
            </p:grpSpPr>
            <p:sp>
              <p:nvSpPr>
                <p:cNvPr id="16825" name="Freeform: Shape 16824">
                  <a:extLst>
                    <a:ext uri="{FF2B5EF4-FFF2-40B4-BE49-F238E27FC236}">
                      <a16:creationId xmlns:a16="http://schemas.microsoft.com/office/drawing/2014/main" id="{B5B7618C-AE2A-02E1-74B6-9DADB06E3398}"/>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6" name="Freeform: Shape 16825">
                  <a:extLst>
                    <a:ext uri="{FF2B5EF4-FFF2-40B4-BE49-F238E27FC236}">
                      <a16:creationId xmlns:a16="http://schemas.microsoft.com/office/drawing/2014/main" id="{2390545E-370F-D808-6603-17473CBD1B23}"/>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6" name="Graphic 745">
                <a:extLst>
                  <a:ext uri="{FF2B5EF4-FFF2-40B4-BE49-F238E27FC236}">
                    <a16:creationId xmlns:a16="http://schemas.microsoft.com/office/drawing/2014/main" id="{F020A893-B305-46D2-D6AF-EC5DCA114B14}"/>
                  </a:ext>
                </a:extLst>
              </p:cNvPr>
              <p:cNvGrpSpPr/>
              <p:nvPr/>
            </p:nvGrpSpPr>
            <p:grpSpPr>
              <a:xfrm>
                <a:off x="8617458" y="4275772"/>
                <a:ext cx="75628" cy="75723"/>
                <a:chOff x="8617458" y="4275772"/>
                <a:chExt cx="75628" cy="75723"/>
              </a:xfrm>
            </p:grpSpPr>
            <p:sp>
              <p:nvSpPr>
                <p:cNvPr id="16823" name="Freeform: Shape 16822">
                  <a:extLst>
                    <a:ext uri="{FF2B5EF4-FFF2-40B4-BE49-F238E27FC236}">
                      <a16:creationId xmlns:a16="http://schemas.microsoft.com/office/drawing/2014/main" id="{FBD19A0E-BB3D-7FD9-F9B7-A17BDD7F9EA8}"/>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4" name="Freeform: Shape 16823">
                  <a:extLst>
                    <a:ext uri="{FF2B5EF4-FFF2-40B4-BE49-F238E27FC236}">
                      <a16:creationId xmlns:a16="http://schemas.microsoft.com/office/drawing/2014/main" id="{21D1C3F6-1E95-F606-20BD-BF133F58E652}"/>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7" name="Graphic 745">
                <a:extLst>
                  <a:ext uri="{FF2B5EF4-FFF2-40B4-BE49-F238E27FC236}">
                    <a16:creationId xmlns:a16="http://schemas.microsoft.com/office/drawing/2014/main" id="{1F48F47A-611A-D4F8-1148-43277AF24A17}"/>
                  </a:ext>
                </a:extLst>
              </p:cNvPr>
              <p:cNvGrpSpPr/>
              <p:nvPr/>
            </p:nvGrpSpPr>
            <p:grpSpPr>
              <a:xfrm>
                <a:off x="8244268" y="4275772"/>
                <a:ext cx="75628" cy="75723"/>
                <a:chOff x="8244268" y="4275772"/>
                <a:chExt cx="75628" cy="75723"/>
              </a:xfrm>
            </p:grpSpPr>
            <p:sp>
              <p:nvSpPr>
                <p:cNvPr id="16821" name="Freeform: Shape 16820">
                  <a:extLst>
                    <a:ext uri="{FF2B5EF4-FFF2-40B4-BE49-F238E27FC236}">
                      <a16:creationId xmlns:a16="http://schemas.microsoft.com/office/drawing/2014/main" id="{7DB18868-CA65-AE48-8A51-054A48641135}"/>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2" name="Freeform: Shape 16821">
                  <a:extLst>
                    <a:ext uri="{FF2B5EF4-FFF2-40B4-BE49-F238E27FC236}">
                      <a16:creationId xmlns:a16="http://schemas.microsoft.com/office/drawing/2014/main" id="{4D2BAEAF-C325-E236-F89C-57A6A674C17F}"/>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8" name="Graphic 745">
                <a:extLst>
                  <a:ext uri="{FF2B5EF4-FFF2-40B4-BE49-F238E27FC236}">
                    <a16:creationId xmlns:a16="http://schemas.microsoft.com/office/drawing/2014/main" id="{1A334D56-C07D-C695-6918-F295A649BD51}"/>
                  </a:ext>
                </a:extLst>
              </p:cNvPr>
              <p:cNvGrpSpPr/>
              <p:nvPr/>
            </p:nvGrpSpPr>
            <p:grpSpPr>
              <a:xfrm>
                <a:off x="8139684" y="4275772"/>
                <a:ext cx="75723" cy="75723"/>
                <a:chOff x="8139684" y="4275772"/>
                <a:chExt cx="75723" cy="75723"/>
              </a:xfrm>
            </p:grpSpPr>
            <p:sp>
              <p:nvSpPr>
                <p:cNvPr id="16819" name="Freeform: Shape 16818">
                  <a:extLst>
                    <a:ext uri="{FF2B5EF4-FFF2-40B4-BE49-F238E27FC236}">
                      <a16:creationId xmlns:a16="http://schemas.microsoft.com/office/drawing/2014/main" id="{DBEDE6B5-8388-2539-5967-73B2D80DDB40}"/>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20" name="Freeform: Shape 16819">
                  <a:extLst>
                    <a:ext uri="{FF2B5EF4-FFF2-40B4-BE49-F238E27FC236}">
                      <a16:creationId xmlns:a16="http://schemas.microsoft.com/office/drawing/2014/main" id="{EEF2F40D-3CAE-105A-E553-B0B304B474BC}"/>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9" name="Graphic 745">
                <a:extLst>
                  <a:ext uri="{FF2B5EF4-FFF2-40B4-BE49-F238E27FC236}">
                    <a16:creationId xmlns:a16="http://schemas.microsoft.com/office/drawing/2014/main" id="{73C1EF01-89B4-4373-A0D5-D43CC9823D35}"/>
                  </a:ext>
                </a:extLst>
              </p:cNvPr>
              <p:cNvGrpSpPr/>
              <p:nvPr/>
            </p:nvGrpSpPr>
            <p:grpSpPr>
              <a:xfrm>
                <a:off x="7737157" y="4275772"/>
                <a:ext cx="75723" cy="75723"/>
                <a:chOff x="7737157" y="4275772"/>
                <a:chExt cx="75723" cy="75723"/>
              </a:xfrm>
            </p:grpSpPr>
            <p:sp>
              <p:nvSpPr>
                <p:cNvPr id="16817" name="Freeform: Shape 16816">
                  <a:extLst>
                    <a:ext uri="{FF2B5EF4-FFF2-40B4-BE49-F238E27FC236}">
                      <a16:creationId xmlns:a16="http://schemas.microsoft.com/office/drawing/2014/main" id="{5DD8A8E9-211F-69C2-EF7E-65C68B37751D}"/>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8" name="Freeform: Shape 16817">
                  <a:extLst>
                    <a:ext uri="{FF2B5EF4-FFF2-40B4-BE49-F238E27FC236}">
                      <a16:creationId xmlns:a16="http://schemas.microsoft.com/office/drawing/2014/main" id="{1F75BA0A-597F-1BA1-9C14-00690F9E1B33}"/>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0" name="Graphic 745">
                <a:extLst>
                  <a:ext uri="{FF2B5EF4-FFF2-40B4-BE49-F238E27FC236}">
                    <a16:creationId xmlns:a16="http://schemas.microsoft.com/office/drawing/2014/main" id="{A89AB9CD-5EAF-D64E-D2D9-C8B2E7D48363}"/>
                  </a:ext>
                </a:extLst>
              </p:cNvPr>
              <p:cNvGrpSpPr/>
              <p:nvPr/>
            </p:nvGrpSpPr>
            <p:grpSpPr>
              <a:xfrm>
                <a:off x="7382160" y="4275772"/>
                <a:ext cx="75628" cy="75723"/>
                <a:chOff x="7382160" y="4275772"/>
                <a:chExt cx="75628" cy="75723"/>
              </a:xfrm>
            </p:grpSpPr>
            <p:sp>
              <p:nvSpPr>
                <p:cNvPr id="16815" name="Freeform: Shape 16814">
                  <a:extLst>
                    <a:ext uri="{FF2B5EF4-FFF2-40B4-BE49-F238E27FC236}">
                      <a16:creationId xmlns:a16="http://schemas.microsoft.com/office/drawing/2014/main" id="{8A18AEC1-9665-7C11-8737-20353CCBD282}"/>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6" name="Freeform: Shape 16815">
                  <a:extLst>
                    <a:ext uri="{FF2B5EF4-FFF2-40B4-BE49-F238E27FC236}">
                      <a16:creationId xmlns:a16="http://schemas.microsoft.com/office/drawing/2014/main" id="{FC034DC9-6EC8-FC2E-D665-D7157D5D5693}"/>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1" name="Graphic 745">
                <a:extLst>
                  <a:ext uri="{FF2B5EF4-FFF2-40B4-BE49-F238E27FC236}">
                    <a16:creationId xmlns:a16="http://schemas.microsoft.com/office/drawing/2014/main" id="{D70E6AF6-BF2E-2CC1-4D00-C3549AF05C84}"/>
                  </a:ext>
                </a:extLst>
              </p:cNvPr>
              <p:cNvGrpSpPr/>
              <p:nvPr/>
            </p:nvGrpSpPr>
            <p:grpSpPr>
              <a:xfrm>
                <a:off x="7337964" y="4242339"/>
                <a:ext cx="75723" cy="75723"/>
                <a:chOff x="7337964" y="4242339"/>
                <a:chExt cx="75723" cy="75723"/>
              </a:xfrm>
            </p:grpSpPr>
            <p:sp>
              <p:nvSpPr>
                <p:cNvPr id="16813" name="Freeform: Shape 16812">
                  <a:extLst>
                    <a:ext uri="{FF2B5EF4-FFF2-40B4-BE49-F238E27FC236}">
                      <a16:creationId xmlns:a16="http://schemas.microsoft.com/office/drawing/2014/main" id="{2B1B7378-A621-7A46-93FF-8B8C7F0EB816}"/>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4" name="Freeform: Shape 16813">
                  <a:extLst>
                    <a:ext uri="{FF2B5EF4-FFF2-40B4-BE49-F238E27FC236}">
                      <a16:creationId xmlns:a16="http://schemas.microsoft.com/office/drawing/2014/main" id="{D9B103AC-9EB9-69AA-3FA9-CE453C597F66}"/>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2" name="Graphic 745">
                <a:extLst>
                  <a:ext uri="{FF2B5EF4-FFF2-40B4-BE49-F238E27FC236}">
                    <a16:creationId xmlns:a16="http://schemas.microsoft.com/office/drawing/2014/main" id="{81093F15-0D7E-C5A6-49D2-65AC04688682}"/>
                  </a:ext>
                </a:extLst>
              </p:cNvPr>
              <p:cNvGrpSpPr/>
              <p:nvPr/>
            </p:nvGrpSpPr>
            <p:grpSpPr>
              <a:xfrm>
                <a:off x="7347394" y="4242339"/>
                <a:ext cx="75628" cy="75723"/>
                <a:chOff x="7347394" y="4242339"/>
                <a:chExt cx="75628" cy="75723"/>
              </a:xfrm>
            </p:grpSpPr>
            <p:sp>
              <p:nvSpPr>
                <p:cNvPr id="16811" name="Freeform: Shape 16810">
                  <a:extLst>
                    <a:ext uri="{FF2B5EF4-FFF2-40B4-BE49-F238E27FC236}">
                      <a16:creationId xmlns:a16="http://schemas.microsoft.com/office/drawing/2014/main" id="{12968C59-0158-9BF5-3219-42439F1BE721}"/>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2" name="Freeform: Shape 16811">
                  <a:extLst>
                    <a:ext uri="{FF2B5EF4-FFF2-40B4-BE49-F238E27FC236}">
                      <a16:creationId xmlns:a16="http://schemas.microsoft.com/office/drawing/2014/main" id="{AB495A70-0883-E559-A9B5-6C7436A0DD61}"/>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3" name="Graphic 745">
                <a:extLst>
                  <a:ext uri="{FF2B5EF4-FFF2-40B4-BE49-F238E27FC236}">
                    <a16:creationId xmlns:a16="http://schemas.microsoft.com/office/drawing/2014/main" id="{225D973E-C921-973B-95C5-1B0FD055BBC4}"/>
                  </a:ext>
                </a:extLst>
              </p:cNvPr>
              <p:cNvGrpSpPr/>
              <p:nvPr/>
            </p:nvGrpSpPr>
            <p:grpSpPr>
              <a:xfrm>
                <a:off x="7308151" y="4185284"/>
                <a:ext cx="75723" cy="75723"/>
                <a:chOff x="7308151" y="4185284"/>
                <a:chExt cx="75723" cy="75723"/>
              </a:xfrm>
            </p:grpSpPr>
            <p:sp>
              <p:nvSpPr>
                <p:cNvPr id="16809" name="Freeform: Shape 16808">
                  <a:extLst>
                    <a:ext uri="{FF2B5EF4-FFF2-40B4-BE49-F238E27FC236}">
                      <a16:creationId xmlns:a16="http://schemas.microsoft.com/office/drawing/2014/main" id="{CFCE21BA-33D4-4585-6D79-37B6C4BAE9E7}"/>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10" name="Freeform: Shape 16809">
                  <a:extLst>
                    <a:ext uri="{FF2B5EF4-FFF2-40B4-BE49-F238E27FC236}">
                      <a16:creationId xmlns:a16="http://schemas.microsoft.com/office/drawing/2014/main" id="{65286A7B-49D4-218B-C6BF-6A49D7C60822}"/>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4" name="Graphic 745">
                <a:extLst>
                  <a:ext uri="{FF2B5EF4-FFF2-40B4-BE49-F238E27FC236}">
                    <a16:creationId xmlns:a16="http://schemas.microsoft.com/office/drawing/2014/main" id="{3E9A22CA-0192-8A60-7078-019920CE4FCF}"/>
                  </a:ext>
                </a:extLst>
              </p:cNvPr>
              <p:cNvGrpSpPr/>
              <p:nvPr/>
            </p:nvGrpSpPr>
            <p:grpSpPr>
              <a:xfrm>
                <a:off x="7319295" y="4185284"/>
                <a:ext cx="75628" cy="75723"/>
                <a:chOff x="7319295" y="4185284"/>
                <a:chExt cx="75628" cy="75723"/>
              </a:xfrm>
            </p:grpSpPr>
            <p:sp>
              <p:nvSpPr>
                <p:cNvPr id="16807" name="Freeform: Shape 16806">
                  <a:extLst>
                    <a:ext uri="{FF2B5EF4-FFF2-40B4-BE49-F238E27FC236}">
                      <a16:creationId xmlns:a16="http://schemas.microsoft.com/office/drawing/2014/main" id="{CF9714D1-500E-11B2-93DB-27296D141B12}"/>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8" name="Freeform: Shape 16807">
                  <a:extLst>
                    <a:ext uri="{FF2B5EF4-FFF2-40B4-BE49-F238E27FC236}">
                      <a16:creationId xmlns:a16="http://schemas.microsoft.com/office/drawing/2014/main" id="{37F98AD3-9AD3-A8F8-949F-8BFB0D274E87}"/>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5" name="Graphic 745">
                <a:extLst>
                  <a:ext uri="{FF2B5EF4-FFF2-40B4-BE49-F238E27FC236}">
                    <a16:creationId xmlns:a16="http://schemas.microsoft.com/office/drawing/2014/main" id="{CF2FEFE0-3094-604A-CE43-CF6530485932}"/>
                  </a:ext>
                </a:extLst>
              </p:cNvPr>
              <p:cNvGrpSpPr/>
              <p:nvPr/>
            </p:nvGrpSpPr>
            <p:grpSpPr>
              <a:xfrm>
                <a:off x="7330344" y="4185284"/>
                <a:ext cx="75723" cy="75723"/>
                <a:chOff x="7330344" y="4185284"/>
                <a:chExt cx="75723" cy="75723"/>
              </a:xfrm>
            </p:grpSpPr>
            <p:sp>
              <p:nvSpPr>
                <p:cNvPr id="16805" name="Freeform: Shape 16804">
                  <a:extLst>
                    <a:ext uri="{FF2B5EF4-FFF2-40B4-BE49-F238E27FC236}">
                      <a16:creationId xmlns:a16="http://schemas.microsoft.com/office/drawing/2014/main" id="{DDB3CAB5-B2E2-6216-A5ED-F6ED9408D6F8}"/>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6" name="Freeform: Shape 16805">
                  <a:extLst>
                    <a:ext uri="{FF2B5EF4-FFF2-40B4-BE49-F238E27FC236}">
                      <a16:creationId xmlns:a16="http://schemas.microsoft.com/office/drawing/2014/main" id="{6D9A0DC1-D476-2A30-C2D3-2EBC1EAF0144}"/>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6" name="Graphic 745">
                <a:extLst>
                  <a:ext uri="{FF2B5EF4-FFF2-40B4-BE49-F238E27FC236}">
                    <a16:creationId xmlns:a16="http://schemas.microsoft.com/office/drawing/2014/main" id="{910CC127-8C96-4E24-A0F7-293D0E5101B9}"/>
                  </a:ext>
                </a:extLst>
              </p:cNvPr>
              <p:cNvGrpSpPr/>
              <p:nvPr/>
            </p:nvGrpSpPr>
            <p:grpSpPr>
              <a:xfrm>
                <a:off x="7009923" y="4185284"/>
                <a:ext cx="75723" cy="75723"/>
                <a:chOff x="7009923" y="4185284"/>
                <a:chExt cx="75723" cy="75723"/>
              </a:xfrm>
            </p:grpSpPr>
            <p:sp>
              <p:nvSpPr>
                <p:cNvPr id="16803" name="Freeform: Shape 16802">
                  <a:extLst>
                    <a:ext uri="{FF2B5EF4-FFF2-40B4-BE49-F238E27FC236}">
                      <a16:creationId xmlns:a16="http://schemas.microsoft.com/office/drawing/2014/main" id="{5FB72293-5285-57FB-E48F-B0EE0EE71578}"/>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4" name="Freeform: Shape 16803">
                  <a:extLst>
                    <a:ext uri="{FF2B5EF4-FFF2-40B4-BE49-F238E27FC236}">
                      <a16:creationId xmlns:a16="http://schemas.microsoft.com/office/drawing/2014/main" id="{12709CDC-8401-6D45-F286-850370E026AA}"/>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7" name="Graphic 745">
                <a:extLst>
                  <a:ext uri="{FF2B5EF4-FFF2-40B4-BE49-F238E27FC236}">
                    <a16:creationId xmlns:a16="http://schemas.microsoft.com/office/drawing/2014/main" id="{6B7DA02B-43C7-834F-5A08-706D18807BD7}"/>
                  </a:ext>
                </a:extLst>
              </p:cNvPr>
              <p:cNvGrpSpPr/>
              <p:nvPr/>
            </p:nvGrpSpPr>
            <p:grpSpPr>
              <a:xfrm>
                <a:off x="7021068" y="4185284"/>
                <a:ext cx="75628" cy="75723"/>
                <a:chOff x="7021068" y="4185284"/>
                <a:chExt cx="75628" cy="75723"/>
              </a:xfrm>
            </p:grpSpPr>
            <p:sp>
              <p:nvSpPr>
                <p:cNvPr id="16801" name="Freeform: Shape 16800">
                  <a:extLst>
                    <a:ext uri="{FF2B5EF4-FFF2-40B4-BE49-F238E27FC236}">
                      <a16:creationId xmlns:a16="http://schemas.microsoft.com/office/drawing/2014/main" id="{246AE542-EDCF-18AA-F53D-D16D19001349}"/>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2" name="Freeform: Shape 16801">
                  <a:extLst>
                    <a:ext uri="{FF2B5EF4-FFF2-40B4-BE49-F238E27FC236}">
                      <a16:creationId xmlns:a16="http://schemas.microsoft.com/office/drawing/2014/main" id="{55CCAE92-112F-7D0A-022A-17C1DD2A565D}"/>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8" name="Graphic 745">
                <a:extLst>
                  <a:ext uri="{FF2B5EF4-FFF2-40B4-BE49-F238E27FC236}">
                    <a16:creationId xmlns:a16="http://schemas.microsoft.com/office/drawing/2014/main" id="{B261BE38-484B-92FA-AE7E-E79C52A387FD}"/>
                  </a:ext>
                </a:extLst>
              </p:cNvPr>
              <p:cNvGrpSpPr/>
              <p:nvPr/>
            </p:nvGrpSpPr>
            <p:grpSpPr>
              <a:xfrm>
                <a:off x="6889051" y="4071937"/>
                <a:ext cx="75628" cy="75723"/>
                <a:chOff x="6889051" y="4071937"/>
                <a:chExt cx="75628" cy="75723"/>
              </a:xfrm>
            </p:grpSpPr>
            <p:sp>
              <p:nvSpPr>
                <p:cNvPr id="16799" name="Freeform: Shape 16798">
                  <a:extLst>
                    <a:ext uri="{FF2B5EF4-FFF2-40B4-BE49-F238E27FC236}">
                      <a16:creationId xmlns:a16="http://schemas.microsoft.com/office/drawing/2014/main" id="{990B170D-4622-BC4F-8667-62B625CECB4B}"/>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800" name="Freeform: Shape 16799">
                  <a:extLst>
                    <a:ext uri="{FF2B5EF4-FFF2-40B4-BE49-F238E27FC236}">
                      <a16:creationId xmlns:a16="http://schemas.microsoft.com/office/drawing/2014/main" id="{939ACD96-1D76-EA9D-E76D-CEF7672CEE20}"/>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9" name="Graphic 745">
                <a:extLst>
                  <a:ext uri="{FF2B5EF4-FFF2-40B4-BE49-F238E27FC236}">
                    <a16:creationId xmlns:a16="http://schemas.microsoft.com/office/drawing/2014/main" id="{FDDF7033-F354-4445-2F2C-F45A3DB70052}"/>
                  </a:ext>
                </a:extLst>
              </p:cNvPr>
              <p:cNvGrpSpPr/>
              <p:nvPr/>
            </p:nvGrpSpPr>
            <p:grpSpPr>
              <a:xfrm>
                <a:off x="6786372" y="4071937"/>
                <a:ext cx="75723" cy="75723"/>
                <a:chOff x="6786372" y="4071937"/>
                <a:chExt cx="75723" cy="75723"/>
              </a:xfrm>
            </p:grpSpPr>
            <p:sp>
              <p:nvSpPr>
                <p:cNvPr id="16797" name="Freeform: Shape 16796">
                  <a:extLst>
                    <a:ext uri="{FF2B5EF4-FFF2-40B4-BE49-F238E27FC236}">
                      <a16:creationId xmlns:a16="http://schemas.microsoft.com/office/drawing/2014/main" id="{00194A5B-F6D7-EE69-7807-F8002CD9E071}"/>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8" name="Freeform: Shape 16797">
                  <a:extLst>
                    <a:ext uri="{FF2B5EF4-FFF2-40B4-BE49-F238E27FC236}">
                      <a16:creationId xmlns:a16="http://schemas.microsoft.com/office/drawing/2014/main" id="{A9008BF1-9419-EE75-DEBD-9B1D7242073A}"/>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0" name="Graphic 745">
                <a:extLst>
                  <a:ext uri="{FF2B5EF4-FFF2-40B4-BE49-F238E27FC236}">
                    <a16:creationId xmlns:a16="http://schemas.microsoft.com/office/drawing/2014/main" id="{1BB43271-2640-D787-F7A8-877A0C33CD85}"/>
                  </a:ext>
                </a:extLst>
              </p:cNvPr>
              <p:cNvGrpSpPr/>
              <p:nvPr/>
            </p:nvGrpSpPr>
            <p:grpSpPr>
              <a:xfrm>
                <a:off x="6533864" y="4050886"/>
                <a:ext cx="75723" cy="75628"/>
                <a:chOff x="6533864" y="4050886"/>
                <a:chExt cx="75723" cy="75628"/>
              </a:xfrm>
            </p:grpSpPr>
            <p:sp>
              <p:nvSpPr>
                <p:cNvPr id="16795" name="Freeform: Shape 16794">
                  <a:extLst>
                    <a:ext uri="{FF2B5EF4-FFF2-40B4-BE49-F238E27FC236}">
                      <a16:creationId xmlns:a16="http://schemas.microsoft.com/office/drawing/2014/main" id="{C9CB7707-922E-D519-9E12-DB4960489BCF}"/>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6" name="Freeform: Shape 16795">
                  <a:extLst>
                    <a:ext uri="{FF2B5EF4-FFF2-40B4-BE49-F238E27FC236}">
                      <a16:creationId xmlns:a16="http://schemas.microsoft.com/office/drawing/2014/main" id="{EFB031BD-0DF4-E8B3-84D1-9C2C9B23C351}"/>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1" name="Graphic 745">
                <a:extLst>
                  <a:ext uri="{FF2B5EF4-FFF2-40B4-BE49-F238E27FC236}">
                    <a16:creationId xmlns:a16="http://schemas.microsoft.com/office/drawing/2014/main" id="{95F40477-41E2-C21B-DEE7-16B8FBF649D5}"/>
                  </a:ext>
                </a:extLst>
              </p:cNvPr>
              <p:cNvGrpSpPr/>
              <p:nvPr/>
            </p:nvGrpSpPr>
            <p:grpSpPr>
              <a:xfrm>
                <a:off x="6504717" y="4028598"/>
                <a:ext cx="75723" cy="75723"/>
                <a:chOff x="6504717" y="4028598"/>
                <a:chExt cx="75723" cy="75723"/>
              </a:xfrm>
            </p:grpSpPr>
            <p:sp>
              <p:nvSpPr>
                <p:cNvPr id="16793" name="Freeform: Shape 16792">
                  <a:extLst>
                    <a:ext uri="{FF2B5EF4-FFF2-40B4-BE49-F238E27FC236}">
                      <a16:creationId xmlns:a16="http://schemas.microsoft.com/office/drawing/2014/main" id="{8C651630-E308-D2E8-D491-C69AE12D684C}"/>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4" name="Freeform: Shape 16793">
                  <a:extLst>
                    <a:ext uri="{FF2B5EF4-FFF2-40B4-BE49-F238E27FC236}">
                      <a16:creationId xmlns:a16="http://schemas.microsoft.com/office/drawing/2014/main" id="{BB31BBCB-F6ED-3B35-067D-B4CD0EBAB239}"/>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2" name="Graphic 745">
                <a:extLst>
                  <a:ext uri="{FF2B5EF4-FFF2-40B4-BE49-F238E27FC236}">
                    <a16:creationId xmlns:a16="http://schemas.microsoft.com/office/drawing/2014/main" id="{DC0186EC-700D-B8C1-3455-175952EE7C64}"/>
                  </a:ext>
                </a:extLst>
              </p:cNvPr>
              <p:cNvGrpSpPr/>
              <p:nvPr/>
            </p:nvGrpSpPr>
            <p:grpSpPr>
              <a:xfrm>
                <a:off x="6477952" y="4028598"/>
                <a:ext cx="75723" cy="75723"/>
                <a:chOff x="6477952" y="4028598"/>
                <a:chExt cx="75723" cy="75723"/>
              </a:xfrm>
            </p:grpSpPr>
            <p:sp>
              <p:nvSpPr>
                <p:cNvPr id="16791" name="Freeform: Shape 16790">
                  <a:extLst>
                    <a:ext uri="{FF2B5EF4-FFF2-40B4-BE49-F238E27FC236}">
                      <a16:creationId xmlns:a16="http://schemas.microsoft.com/office/drawing/2014/main" id="{D639DDB8-F580-90D4-43B9-9D6A864D243C}"/>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2" name="Freeform: Shape 16791">
                  <a:extLst>
                    <a:ext uri="{FF2B5EF4-FFF2-40B4-BE49-F238E27FC236}">
                      <a16:creationId xmlns:a16="http://schemas.microsoft.com/office/drawing/2014/main" id="{40157AD4-196D-C121-5D61-BF1B7D1BB797}"/>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3" name="Graphic 745">
                <a:extLst>
                  <a:ext uri="{FF2B5EF4-FFF2-40B4-BE49-F238E27FC236}">
                    <a16:creationId xmlns:a16="http://schemas.microsoft.com/office/drawing/2014/main" id="{9FFA7964-28D1-B3A0-4869-FFEE1F94CCAF}"/>
                  </a:ext>
                </a:extLst>
              </p:cNvPr>
              <p:cNvGrpSpPr/>
              <p:nvPr/>
            </p:nvGrpSpPr>
            <p:grpSpPr>
              <a:xfrm>
                <a:off x="6491382" y="4028598"/>
                <a:ext cx="75628" cy="75723"/>
                <a:chOff x="6491382" y="4028598"/>
                <a:chExt cx="75628" cy="75723"/>
              </a:xfrm>
            </p:grpSpPr>
            <p:sp>
              <p:nvSpPr>
                <p:cNvPr id="16789" name="Freeform: Shape 16788">
                  <a:extLst>
                    <a:ext uri="{FF2B5EF4-FFF2-40B4-BE49-F238E27FC236}">
                      <a16:creationId xmlns:a16="http://schemas.microsoft.com/office/drawing/2014/main" id="{A1EB5B34-40FE-9C6B-DB1D-EAF99F9B435B}"/>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90" name="Freeform: Shape 16789">
                  <a:extLst>
                    <a:ext uri="{FF2B5EF4-FFF2-40B4-BE49-F238E27FC236}">
                      <a16:creationId xmlns:a16="http://schemas.microsoft.com/office/drawing/2014/main" id="{B5EAE99F-03FD-ACAA-0DDE-994D160B2AEF}"/>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0" name="Graphic 745">
                <a:extLst>
                  <a:ext uri="{FF2B5EF4-FFF2-40B4-BE49-F238E27FC236}">
                    <a16:creationId xmlns:a16="http://schemas.microsoft.com/office/drawing/2014/main" id="{61A00C19-66CB-1207-8745-BE45DE364771}"/>
                  </a:ext>
                </a:extLst>
              </p:cNvPr>
              <p:cNvGrpSpPr/>
              <p:nvPr/>
            </p:nvGrpSpPr>
            <p:grpSpPr>
              <a:xfrm>
                <a:off x="6347460" y="3952969"/>
                <a:ext cx="75723" cy="75628"/>
                <a:chOff x="6347460" y="3952969"/>
                <a:chExt cx="75723" cy="75628"/>
              </a:xfrm>
            </p:grpSpPr>
            <p:sp>
              <p:nvSpPr>
                <p:cNvPr id="16787" name="Freeform: Shape 16786">
                  <a:extLst>
                    <a:ext uri="{FF2B5EF4-FFF2-40B4-BE49-F238E27FC236}">
                      <a16:creationId xmlns:a16="http://schemas.microsoft.com/office/drawing/2014/main" id="{86442BB2-F11A-686F-E81E-0BC141F77C85}"/>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8" name="Freeform: Shape 16787">
                  <a:extLst>
                    <a:ext uri="{FF2B5EF4-FFF2-40B4-BE49-F238E27FC236}">
                      <a16:creationId xmlns:a16="http://schemas.microsoft.com/office/drawing/2014/main" id="{7E201DF2-F4B7-DDB4-0AE1-07EAE4F32D42}"/>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1" name="Graphic 745">
                <a:extLst>
                  <a:ext uri="{FF2B5EF4-FFF2-40B4-BE49-F238E27FC236}">
                    <a16:creationId xmlns:a16="http://schemas.microsoft.com/office/drawing/2014/main" id="{017EA401-98B5-3DBF-A3E4-8B9FA78A8AD2}"/>
                  </a:ext>
                </a:extLst>
              </p:cNvPr>
              <p:cNvGrpSpPr/>
              <p:nvPr/>
            </p:nvGrpSpPr>
            <p:grpSpPr>
              <a:xfrm>
                <a:off x="6402228" y="3952969"/>
                <a:ext cx="75723" cy="75628"/>
                <a:chOff x="6402228" y="3952969"/>
                <a:chExt cx="75723" cy="75628"/>
              </a:xfrm>
            </p:grpSpPr>
            <p:sp>
              <p:nvSpPr>
                <p:cNvPr id="16785" name="Freeform: Shape 16784">
                  <a:extLst>
                    <a:ext uri="{FF2B5EF4-FFF2-40B4-BE49-F238E27FC236}">
                      <a16:creationId xmlns:a16="http://schemas.microsoft.com/office/drawing/2014/main" id="{64CD07F8-03AF-153C-9FD0-163AD37D5391}"/>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6" name="Freeform: Shape 16785">
                  <a:extLst>
                    <a:ext uri="{FF2B5EF4-FFF2-40B4-BE49-F238E27FC236}">
                      <a16:creationId xmlns:a16="http://schemas.microsoft.com/office/drawing/2014/main" id="{C833C345-DBB9-70FE-735B-7487552EF8B3}"/>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2" name="Graphic 745">
                <a:extLst>
                  <a:ext uri="{FF2B5EF4-FFF2-40B4-BE49-F238E27FC236}">
                    <a16:creationId xmlns:a16="http://schemas.microsoft.com/office/drawing/2014/main" id="{D9DC9B9D-3A6E-85A8-304F-2BD74F5914A2}"/>
                  </a:ext>
                </a:extLst>
              </p:cNvPr>
              <p:cNvGrpSpPr/>
              <p:nvPr/>
            </p:nvGrpSpPr>
            <p:grpSpPr>
              <a:xfrm>
                <a:off x="6437852" y="3966304"/>
                <a:ext cx="75723" cy="75723"/>
                <a:chOff x="6437852" y="3966304"/>
                <a:chExt cx="75723" cy="75723"/>
              </a:xfrm>
            </p:grpSpPr>
            <p:sp>
              <p:nvSpPr>
                <p:cNvPr id="16783" name="Freeform: Shape 16782">
                  <a:extLst>
                    <a:ext uri="{FF2B5EF4-FFF2-40B4-BE49-F238E27FC236}">
                      <a16:creationId xmlns:a16="http://schemas.microsoft.com/office/drawing/2014/main" id="{DCAE8C7B-27EC-1C6D-E531-8749BE6ACAF5}"/>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4" name="Freeform: Shape 16783">
                  <a:extLst>
                    <a:ext uri="{FF2B5EF4-FFF2-40B4-BE49-F238E27FC236}">
                      <a16:creationId xmlns:a16="http://schemas.microsoft.com/office/drawing/2014/main" id="{3A43BF0C-7AC4-6559-C733-0B49E73D2E16}"/>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3" name="Graphic 745">
                <a:extLst>
                  <a:ext uri="{FF2B5EF4-FFF2-40B4-BE49-F238E27FC236}">
                    <a16:creationId xmlns:a16="http://schemas.microsoft.com/office/drawing/2014/main" id="{2B750E4F-A660-811F-BC26-04F4D217E196}"/>
                  </a:ext>
                </a:extLst>
              </p:cNvPr>
              <p:cNvGrpSpPr/>
              <p:nvPr/>
            </p:nvGrpSpPr>
            <p:grpSpPr>
              <a:xfrm>
                <a:off x="6461379" y="3976877"/>
                <a:ext cx="75628" cy="75628"/>
                <a:chOff x="6461379" y="3976877"/>
                <a:chExt cx="75628" cy="75628"/>
              </a:xfrm>
            </p:grpSpPr>
            <p:sp>
              <p:nvSpPr>
                <p:cNvPr id="16781" name="Freeform: Shape 16780">
                  <a:extLst>
                    <a:ext uri="{FF2B5EF4-FFF2-40B4-BE49-F238E27FC236}">
                      <a16:creationId xmlns:a16="http://schemas.microsoft.com/office/drawing/2014/main" id="{CAFA893E-129F-1033-98FB-80B05489538C}"/>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2" name="Freeform: Shape 16781">
                  <a:extLst>
                    <a:ext uri="{FF2B5EF4-FFF2-40B4-BE49-F238E27FC236}">
                      <a16:creationId xmlns:a16="http://schemas.microsoft.com/office/drawing/2014/main" id="{958397B7-E131-91AF-314E-66F86D989C41}"/>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4" name="Graphic 745">
                <a:extLst>
                  <a:ext uri="{FF2B5EF4-FFF2-40B4-BE49-F238E27FC236}">
                    <a16:creationId xmlns:a16="http://schemas.microsoft.com/office/drawing/2014/main" id="{E7DB6107-3429-B150-4B8C-EC79A03D1A94}"/>
                  </a:ext>
                </a:extLst>
              </p:cNvPr>
              <p:cNvGrpSpPr/>
              <p:nvPr/>
            </p:nvGrpSpPr>
            <p:grpSpPr>
              <a:xfrm>
                <a:off x="6475666" y="3986974"/>
                <a:ext cx="75723" cy="75723"/>
                <a:chOff x="6475666" y="3986974"/>
                <a:chExt cx="75723" cy="75723"/>
              </a:xfrm>
            </p:grpSpPr>
            <p:sp>
              <p:nvSpPr>
                <p:cNvPr id="16779" name="Freeform: Shape 16778">
                  <a:extLst>
                    <a:ext uri="{FF2B5EF4-FFF2-40B4-BE49-F238E27FC236}">
                      <a16:creationId xmlns:a16="http://schemas.microsoft.com/office/drawing/2014/main" id="{00611532-5C34-ACCC-4E97-06D252410DDA}"/>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80" name="Freeform: Shape 16779">
                  <a:extLst>
                    <a:ext uri="{FF2B5EF4-FFF2-40B4-BE49-F238E27FC236}">
                      <a16:creationId xmlns:a16="http://schemas.microsoft.com/office/drawing/2014/main" id="{8452FFDD-0B14-DB93-4E1E-5418368FF6A6}"/>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5" name="Graphic 745">
                <a:extLst>
                  <a:ext uri="{FF2B5EF4-FFF2-40B4-BE49-F238E27FC236}">
                    <a16:creationId xmlns:a16="http://schemas.microsoft.com/office/drawing/2014/main" id="{B54E5C4D-858E-7F9E-3243-7741D1ABA893}"/>
                  </a:ext>
                </a:extLst>
              </p:cNvPr>
              <p:cNvGrpSpPr/>
              <p:nvPr/>
            </p:nvGrpSpPr>
            <p:grpSpPr>
              <a:xfrm>
                <a:off x="6229540" y="3936301"/>
                <a:ext cx="75628" cy="75723"/>
                <a:chOff x="6229540" y="3936301"/>
                <a:chExt cx="75628" cy="75723"/>
              </a:xfrm>
            </p:grpSpPr>
            <p:sp>
              <p:nvSpPr>
                <p:cNvPr id="16777" name="Freeform: Shape 16776">
                  <a:extLst>
                    <a:ext uri="{FF2B5EF4-FFF2-40B4-BE49-F238E27FC236}">
                      <a16:creationId xmlns:a16="http://schemas.microsoft.com/office/drawing/2014/main" id="{120A7E85-05FC-95E5-4B58-EE7B94D6F7CA}"/>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8" name="Freeform: Shape 16777">
                  <a:extLst>
                    <a:ext uri="{FF2B5EF4-FFF2-40B4-BE49-F238E27FC236}">
                      <a16:creationId xmlns:a16="http://schemas.microsoft.com/office/drawing/2014/main" id="{F7B4633B-E4F5-061B-6684-E04964C53A46}"/>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6" name="Graphic 745">
                <a:extLst>
                  <a:ext uri="{FF2B5EF4-FFF2-40B4-BE49-F238E27FC236}">
                    <a16:creationId xmlns:a16="http://schemas.microsoft.com/office/drawing/2014/main" id="{FAFA6C3C-F8B0-398C-FEB1-AC4DB7A1E621}"/>
                  </a:ext>
                </a:extLst>
              </p:cNvPr>
              <p:cNvGrpSpPr/>
              <p:nvPr/>
            </p:nvGrpSpPr>
            <p:grpSpPr>
              <a:xfrm>
                <a:off x="5918644" y="3830478"/>
                <a:ext cx="75628" cy="75723"/>
                <a:chOff x="5918644" y="3830478"/>
                <a:chExt cx="75628" cy="75723"/>
              </a:xfrm>
            </p:grpSpPr>
            <p:sp>
              <p:nvSpPr>
                <p:cNvPr id="16775" name="Freeform: Shape 16774">
                  <a:extLst>
                    <a:ext uri="{FF2B5EF4-FFF2-40B4-BE49-F238E27FC236}">
                      <a16:creationId xmlns:a16="http://schemas.microsoft.com/office/drawing/2014/main" id="{99538DC3-77FE-EF7B-56C2-B9EA942CF54D}"/>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6" name="Freeform: Shape 16775">
                  <a:extLst>
                    <a:ext uri="{FF2B5EF4-FFF2-40B4-BE49-F238E27FC236}">
                      <a16:creationId xmlns:a16="http://schemas.microsoft.com/office/drawing/2014/main" id="{E388563F-7111-0A66-8C85-2C3669B5E710}"/>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7" name="Graphic 745">
                <a:extLst>
                  <a:ext uri="{FF2B5EF4-FFF2-40B4-BE49-F238E27FC236}">
                    <a16:creationId xmlns:a16="http://schemas.microsoft.com/office/drawing/2014/main" id="{69D84A2E-71F3-3FE2-8535-F04D97FA89CE}"/>
                  </a:ext>
                </a:extLst>
              </p:cNvPr>
              <p:cNvGrpSpPr/>
              <p:nvPr/>
            </p:nvGrpSpPr>
            <p:grpSpPr>
              <a:xfrm>
                <a:off x="5699379" y="3807427"/>
                <a:ext cx="75628" cy="75723"/>
                <a:chOff x="5699379" y="3807427"/>
                <a:chExt cx="75628" cy="75723"/>
              </a:xfrm>
            </p:grpSpPr>
            <p:sp>
              <p:nvSpPr>
                <p:cNvPr id="16773" name="Freeform: Shape 16772">
                  <a:extLst>
                    <a:ext uri="{FF2B5EF4-FFF2-40B4-BE49-F238E27FC236}">
                      <a16:creationId xmlns:a16="http://schemas.microsoft.com/office/drawing/2014/main" id="{6953319F-89DB-3860-DB42-312D6DD954CF}"/>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4" name="Freeform: Shape 16773">
                  <a:extLst>
                    <a:ext uri="{FF2B5EF4-FFF2-40B4-BE49-F238E27FC236}">
                      <a16:creationId xmlns:a16="http://schemas.microsoft.com/office/drawing/2014/main" id="{6EA03712-D301-7DC0-E44E-0CAA7FB5AF15}"/>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8" name="Graphic 745">
                <a:extLst>
                  <a:ext uri="{FF2B5EF4-FFF2-40B4-BE49-F238E27FC236}">
                    <a16:creationId xmlns:a16="http://schemas.microsoft.com/office/drawing/2014/main" id="{E3EBA616-F2A7-6460-7AEE-1AA9E7206FED}"/>
                  </a:ext>
                </a:extLst>
              </p:cNvPr>
              <p:cNvGrpSpPr/>
              <p:nvPr/>
            </p:nvGrpSpPr>
            <p:grpSpPr>
              <a:xfrm>
                <a:off x="5574125" y="3710177"/>
                <a:ext cx="75628" cy="75628"/>
                <a:chOff x="5574125" y="3710177"/>
                <a:chExt cx="75628" cy="75628"/>
              </a:xfrm>
            </p:grpSpPr>
            <p:sp>
              <p:nvSpPr>
                <p:cNvPr id="16771" name="Freeform: Shape 16770">
                  <a:extLst>
                    <a:ext uri="{FF2B5EF4-FFF2-40B4-BE49-F238E27FC236}">
                      <a16:creationId xmlns:a16="http://schemas.microsoft.com/office/drawing/2014/main" id="{338A3BC6-F7D2-748F-8CCF-C079DBDCC2E5}"/>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2" name="Freeform: Shape 16771">
                  <a:extLst>
                    <a:ext uri="{FF2B5EF4-FFF2-40B4-BE49-F238E27FC236}">
                      <a16:creationId xmlns:a16="http://schemas.microsoft.com/office/drawing/2014/main" id="{63CA05DD-14AF-FB1B-468C-01F38EFAC88A}"/>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29" name="Graphic 745">
                <a:extLst>
                  <a:ext uri="{FF2B5EF4-FFF2-40B4-BE49-F238E27FC236}">
                    <a16:creationId xmlns:a16="http://schemas.microsoft.com/office/drawing/2014/main" id="{0A875925-E0E5-AF5B-C4C0-26C0E3D53D0B}"/>
                  </a:ext>
                </a:extLst>
              </p:cNvPr>
              <p:cNvGrpSpPr/>
              <p:nvPr/>
            </p:nvGrpSpPr>
            <p:grpSpPr>
              <a:xfrm>
                <a:off x="5244941" y="3624643"/>
                <a:ext cx="75723" cy="75628"/>
                <a:chOff x="5244941" y="3624643"/>
                <a:chExt cx="75723" cy="75628"/>
              </a:xfrm>
            </p:grpSpPr>
            <p:sp>
              <p:nvSpPr>
                <p:cNvPr id="16769" name="Freeform: Shape 16768">
                  <a:extLst>
                    <a:ext uri="{FF2B5EF4-FFF2-40B4-BE49-F238E27FC236}">
                      <a16:creationId xmlns:a16="http://schemas.microsoft.com/office/drawing/2014/main" id="{C6F625A2-8975-99FB-D3EF-A89408373132}"/>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70" name="Freeform: Shape 16769">
                  <a:extLst>
                    <a:ext uri="{FF2B5EF4-FFF2-40B4-BE49-F238E27FC236}">
                      <a16:creationId xmlns:a16="http://schemas.microsoft.com/office/drawing/2014/main" id="{2A787C09-5823-BBD7-B817-4D63396611BB}"/>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0" name="Graphic 745">
                <a:extLst>
                  <a:ext uri="{FF2B5EF4-FFF2-40B4-BE49-F238E27FC236}">
                    <a16:creationId xmlns:a16="http://schemas.microsoft.com/office/drawing/2014/main" id="{3CCDE5DE-73C2-0215-3B02-EE93D739ACED}"/>
                  </a:ext>
                </a:extLst>
              </p:cNvPr>
              <p:cNvGrpSpPr/>
              <p:nvPr/>
            </p:nvGrpSpPr>
            <p:grpSpPr>
              <a:xfrm>
                <a:off x="5150929" y="3447097"/>
                <a:ext cx="75723" cy="75723"/>
                <a:chOff x="5150929" y="3447097"/>
                <a:chExt cx="75723" cy="75723"/>
              </a:xfrm>
            </p:grpSpPr>
            <p:sp>
              <p:nvSpPr>
                <p:cNvPr id="16767" name="Freeform: Shape 16766">
                  <a:extLst>
                    <a:ext uri="{FF2B5EF4-FFF2-40B4-BE49-F238E27FC236}">
                      <a16:creationId xmlns:a16="http://schemas.microsoft.com/office/drawing/2014/main" id="{5F0438F6-4237-ED4D-C185-CF377E4388ED}"/>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8" name="Freeform: Shape 16767">
                  <a:extLst>
                    <a:ext uri="{FF2B5EF4-FFF2-40B4-BE49-F238E27FC236}">
                      <a16:creationId xmlns:a16="http://schemas.microsoft.com/office/drawing/2014/main" id="{8F7ED0A7-3423-E7F4-96BA-5B87D3A942D0}"/>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1" name="Graphic 745">
                <a:extLst>
                  <a:ext uri="{FF2B5EF4-FFF2-40B4-BE49-F238E27FC236}">
                    <a16:creationId xmlns:a16="http://schemas.microsoft.com/office/drawing/2014/main" id="{2A604F82-0DD2-97E5-53D5-18E0652DE89C}"/>
                  </a:ext>
                </a:extLst>
              </p:cNvPr>
              <p:cNvGrpSpPr/>
              <p:nvPr/>
            </p:nvGrpSpPr>
            <p:grpSpPr>
              <a:xfrm>
                <a:off x="4796694" y="3325081"/>
                <a:ext cx="75723" cy="75723"/>
                <a:chOff x="4796694" y="3325081"/>
                <a:chExt cx="75723" cy="75723"/>
              </a:xfrm>
            </p:grpSpPr>
            <p:sp>
              <p:nvSpPr>
                <p:cNvPr id="16765" name="Freeform: Shape 16764">
                  <a:extLst>
                    <a:ext uri="{FF2B5EF4-FFF2-40B4-BE49-F238E27FC236}">
                      <a16:creationId xmlns:a16="http://schemas.microsoft.com/office/drawing/2014/main" id="{D7FA2DF5-46B1-201C-4AF4-3F46E8499791}"/>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6" name="Freeform: Shape 16765">
                  <a:extLst>
                    <a:ext uri="{FF2B5EF4-FFF2-40B4-BE49-F238E27FC236}">
                      <a16:creationId xmlns:a16="http://schemas.microsoft.com/office/drawing/2014/main" id="{355B3EEF-F471-1D74-F90E-27443F474F84}"/>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2" name="Graphic 745">
                <a:extLst>
                  <a:ext uri="{FF2B5EF4-FFF2-40B4-BE49-F238E27FC236}">
                    <a16:creationId xmlns:a16="http://schemas.microsoft.com/office/drawing/2014/main" id="{B74A9C99-C0D1-C19A-1FD7-5319D1AD77DC}"/>
                  </a:ext>
                </a:extLst>
              </p:cNvPr>
              <p:cNvGrpSpPr/>
              <p:nvPr/>
            </p:nvGrpSpPr>
            <p:grpSpPr>
              <a:xfrm>
                <a:off x="4718494" y="3173920"/>
                <a:ext cx="75628" cy="75628"/>
                <a:chOff x="4718494" y="3173920"/>
                <a:chExt cx="75628" cy="75628"/>
              </a:xfrm>
            </p:grpSpPr>
            <p:sp>
              <p:nvSpPr>
                <p:cNvPr id="16763" name="Freeform: Shape 16762">
                  <a:extLst>
                    <a:ext uri="{FF2B5EF4-FFF2-40B4-BE49-F238E27FC236}">
                      <a16:creationId xmlns:a16="http://schemas.microsoft.com/office/drawing/2014/main" id="{FF4FEDF0-94D0-5E34-39E3-9AAB76C114BC}"/>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4" name="Freeform: Shape 16763">
                  <a:extLst>
                    <a:ext uri="{FF2B5EF4-FFF2-40B4-BE49-F238E27FC236}">
                      <a16:creationId xmlns:a16="http://schemas.microsoft.com/office/drawing/2014/main" id="{CFE4CBF9-40B5-1F00-3325-288B60F8BC19}"/>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3" name="Graphic 745">
                <a:extLst>
                  <a:ext uri="{FF2B5EF4-FFF2-40B4-BE49-F238E27FC236}">
                    <a16:creationId xmlns:a16="http://schemas.microsoft.com/office/drawing/2014/main" id="{1DF3CB73-9546-6DCC-7A67-1CF7FAE61580}"/>
                  </a:ext>
                </a:extLst>
              </p:cNvPr>
              <p:cNvGrpSpPr/>
              <p:nvPr/>
            </p:nvGrpSpPr>
            <p:grpSpPr>
              <a:xfrm>
                <a:off x="4527994" y="3072955"/>
                <a:ext cx="75628" cy="75723"/>
                <a:chOff x="4527994" y="3072955"/>
                <a:chExt cx="75628" cy="75723"/>
              </a:xfrm>
            </p:grpSpPr>
            <p:sp>
              <p:nvSpPr>
                <p:cNvPr id="16761" name="Freeform: Shape 16760">
                  <a:extLst>
                    <a:ext uri="{FF2B5EF4-FFF2-40B4-BE49-F238E27FC236}">
                      <a16:creationId xmlns:a16="http://schemas.microsoft.com/office/drawing/2014/main" id="{25367C26-2967-DDBB-277D-2F0910472E52}"/>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2" name="Freeform: Shape 16761">
                  <a:extLst>
                    <a:ext uri="{FF2B5EF4-FFF2-40B4-BE49-F238E27FC236}">
                      <a16:creationId xmlns:a16="http://schemas.microsoft.com/office/drawing/2014/main" id="{D2DE17DF-F26B-FE43-1C66-A892E954AFFB}"/>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4" name="Graphic 745">
                <a:extLst>
                  <a:ext uri="{FF2B5EF4-FFF2-40B4-BE49-F238E27FC236}">
                    <a16:creationId xmlns:a16="http://schemas.microsoft.com/office/drawing/2014/main" id="{1DA3AA18-25CE-D73C-8180-DF51F6561CC6}"/>
                  </a:ext>
                </a:extLst>
              </p:cNvPr>
              <p:cNvGrpSpPr/>
              <p:nvPr/>
            </p:nvGrpSpPr>
            <p:grpSpPr>
              <a:xfrm>
                <a:off x="4457414" y="3047809"/>
                <a:ext cx="75723" cy="75723"/>
                <a:chOff x="4457414" y="3047809"/>
                <a:chExt cx="75723" cy="75723"/>
              </a:xfrm>
            </p:grpSpPr>
            <p:sp>
              <p:nvSpPr>
                <p:cNvPr id="16759" name="Freeform: Shape 16758">
                  <a:extLst>
                    <a:ext uri="{FF2B5EF4-FFF2-40B4-BE49-F238E27FC236}">
                      <a16:creationId xmlns:a16="http://schemas.microsoft.com/office/drawing/2014/main" id="{F4D557F4-E5FD-9393-7FE5-37A6A5D5C90D}"/>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60" name="Freeform: Shape 16759">
                  <a:extLst>
                    <a:ext uri="{FF2B5EF4-FFF2-40B4-BE49-F238E27FC236}">
                      <a16:creationId xmlns:a16="http://schemas.microsoft.com/office/drawing/2014/main" id="{BFB0DEDC-3135-E5F0-CB7F-62CD07564E2D}"/>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5" name="Graphic 745">
                <a:extLst>
                  <a:ext uri="{FF2B5EF4-FFF2-40B4-BE49-F238E27FC236}">
                    <a16:creationId xmlns:a16="http://schemas.microsoft.com/office/drawing/2014/main" id="{258B65E2-633E-7185-56F9-66E138CB1827}"/>
                  </a:ext>
                </a:extLst>
              </p:cNvPr>
              <p:cNvGrpSpPr/>
              <p:nvPr/>
            </p:nvGrpSpPr>
            <p:grpSpPr>
              <a:xfrm>
                <a:off x="4358925" y="3014471"/>
                <a:ext cx="75723" cy="75723"/>
                <a:chOff x="4358925" y="3014471"/>
                <a:chExt cx="75723" cy="75723"/>
              </a:xfrm>
            </p:grpSpPr>
            <p:sp>
              <p:nvSpPr>
                <p:cNvPr id="16757" name="Freeform: Shape 16756">
                  <a:extLst>
                    <a:ext uri="{FF2B5EF4-FFF2-40B4-BE49-F238E27FC236}">
                      <a16:creationId xmlns:a16="http://schemas.microsoft.com/office/drawing/2014/main" id="{F40CA2B1-744C-3849-9650-57C90C3607DA}"/>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8" name="Freeform: Shape 16757">
                  <a:extLst>
                    <a:ext uri="{FF2B5EF4-FFF2-40B4-BE49-F238E27FC236}">
                      <a16:creationId xmlns:a16="http://schemas.microsoft.com/office/drawing/2014/main" id="{AC0E0C62-92A4-9409-3EB7-E9FF7476802B}"/>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6" name="Graphic 745">
                <a:extLst>
                  <a:ext uri="{FF2B5EF4-FFF2-40B4-BE49-F238E27FC236}">
                    <a16:creationId xmlns:a16="http://schemas.microsoft.com/office/drawing/2014/main" id="{58BDD4F2-0FB4-EDA5-1084-C09FC6B229A8}"/>
                  </a:ext>
                </a:extLst>
              </p:cNvPr>
              <p:cNvGrpSpPr/>
              <p:nvPr/>
            </p:nvGrpSpPr>
            <p:grpSpPr>
              <a:xfrm>
                <a:off x="4350448" y="3001898"/>
                <a:ext cx="75723" cy="75723"/>
                <a:chOff x="4350448" y="3001898"/>
                <a:chExt cx="75723" cy="75723"/>
              </a:xfrm>
            </p:grpSpPr>
            <p:sp>
              <p:nvSpPr>
                <p:cNvPr id="16755" name="Freeform: Shape 16754">
                  <a:extLst>
                    <a:ext uri="{FF2B5EF4-FFF2-40B4-BE49-F238E27FC236}">
                      <a16:creationId xmlns:a16="http://schemas.microsoft.com/office/drawing/2014/main" id="{4605DE6E-2436-27D1-F486-4D5CD3735747}"/>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6" name="Freeform: Shape 16755">
                  <a:extLst>
                    <a:ext uri="{FF2B5EF4-FFF2-40B4-BE49-F238E27FC236}">
                      <a16:creationId xmlns:a16="http://schemas.microsoft.com/office/drawing/2014/main" id="{438F824A-40F7-291F-1C77-C59374BA8D36}"/>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7" name="Graphic 745">
                <a:extLst>
                  <a:ext uri="{FF2B5EF4-FFF2-40B4-BE49-F238E27FC236}">
                    <a16:creationId xmlns:a16="http://schemas.microsoft.com/office/drawing/2014/main" id="{2835FBFD-6131-6C5D-BD7E-81C6FF311F29}"/>
                  </a:ext>
                </a:extLst>
              </p:cNvPr>
              <p:cNvGrpSpPr/>
              <p:nvPr/>
            </p:nvGrpSpPr>
            <p:grpSpPr>
              <a:xfrm>
                <a:off x="4301775" y="2881883"/>
                <a:ext cx="75723" cy="75723"/>
                <a:chOff x="4301775" y="2881883"/>
                <a:chExt cx="75723" cy="75723"/>
              </a:xfrm>
            </p:grpSpPr>
            <p:sp>
              <p:nvSpPr>
                <p:cNvPr id="16753" name="Freeform: Shape 16752">
                  <a:extLst>
                    <a:ext uri="{FF2B5EF4-FFF2-40B4-BE49-F238E27FC236}">
                      <a16:creationId xmlns:a16="http://schemas.microsoft.com/office/drawing/2014/main" id="{C6081961-0973-3099-BFEB-6AE1CF90B1B4}"/>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4" name="Freeform: Shape 16753">
                  <a:extLst>
                    <a:ext uri="{FF2B5EF4-FFF2-40B4-BE49-F238E27FC236}">
                      <a16:creationId xmlns:a16="http://schemas.microsoft.com/office/drawing/2014/main" id="{29464556-53C9-DE2A-C671-162C22CCF29E}"/>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8" name="Graphic 745">
                <a:extLst>
                  <a:ext uri="{FF2B5EF4-FFF2-40B4-BE49-F238E27FC236}">
                    <a16:creationId xmlns:a16="http://schemas.microsoft.com/office/drawing/2014/main" id="{A25F1BDD-CCBE-D375-6A0F-74B95ADA20AE}"/>
                  </a:ext>
                </a:extLst>
              </p:cNvPr>
              <p:cNvGrpSpPr/>
              <p:nvPr/>
            </p:nvGrpSpPr>
            <p:grpSpPr>
              <a:xfrm>
                <a:off x="3954018" y="2741485"/>
                <a:ext cx="75723" cy="75723"/>
                <a:chOff x="3954018" y="2741485"/>
                <a:chExt cx="75723" cy="75723"/>
              </a:xfrm>
            </p:grpSpPr>
            <p:sp>
              <p:nvSpPr>
                <p:cNvPr id="16751" name="Freeform: Shape 16750">
                  <a:extLst>
                    <a:ext uri="{FF2B5EF4-FFF2-40B4-BE49-F238E27FC236}">
                      <a16:creationId xmlns:a16="http://schemas.microsoft.com/office/drawing/2014/main" id="{86B8DA4A-BE40-0828-0E1B-63CEABEAA318}"/>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2" name="Freeform: Shape 16751">
                  <a:extLst>
                    <a:ext uri="{FF2B5EF4-FFF2-40B4-BE49-F238E27FC236}">
                      <a16:creationId xmlns:a16="http://schemas.microsoft.com/office/drawing/2014/main" id="{F26E33EF-266C-C968-CF97-D57FF6108563}"/>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39" name="Graphic 745">
                <a:extLst>
                  <a:ext uri="{FF2B5EF4-FFF2-40B4-BE49-F238E27FC236}">
                    <a16:creationId xmlns:a16="http://schemas.microsoft.com/office/drawing/2014/main" id="{CC53D3D2-5279-C421-0747-C9A2C3FCE05A}"/>
                  </a:ext>
                </a:extLst>
              </p:cNvPr>
              <p:cNvGrpSpPr/>
              <p:nvPr/>
            </p:nvGrpSpPr>
            <p:grpSpPr>
              <a:xfrm>
                <a:off x="3935825" y="2741485"/>
                <a:ext cx="75628" cy="75723"/>
                <a:chOff x="3935825" y="2741485"/>
                <a:chExt cx="75628" cy="75723"/>
              </a:xfrm>
            </p:grpSpPr>
            <p:sp>
              <p:nvSpPr>
                <p:cNvPr id="16749" name="Freeform: Shape 16748">
                  <a:extLst>
                    <a:ext uri="{FF2B5EF4-FFF2-40B4-BE49-F238E27FC236}">
                      <a16:creationId xmlns:a16="http://schemas.microsoft.com/office/drawing/2014/main" id="{3C7F4D38-C2B5-14D0-4ACA-7F89065F90DC}"/>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50" name="Freeform: Shape 16749">
                  <a:extLst>
                    <a:ext uri="{FF2B5EF4-FFF2-40B4-BE49-F238E27FC236}">
                      <a16:creationId xmlns:a16="http://schemas.microsoft.com/office/drawing/2014/main" id="{D5CA366D-F7E6-7EAA-D500-1CE73DCED12E}"/>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0" name="Graphic 745">
                <a:extLst>
                  <a:ext uri="{FF2B5EF4-FFF2-40B4-BE49-F238E27FC236}">
                    <a16:creationId xmlns:a16="http://schemas.microsoft.com/office/drawing/2014/main" id="{04D81EA6-0B5A-4A6A-80CD-AEF94FF08224}"/>
                  </a:ext>
                </a:extLst>
              </p:cNvPr>
              <p:cNvGrpSpPr/>
              <p:nvPr/>
            </p:nvGrpSpPr>
            <p:grpSpPr>
              <a:xfrm>
                <a:off x="3916203" y="2706623"/>
                <a:ext cx="75723" cy="75723"/>
                <a:chOff x="3916203" y="2706623"/>
                <a:chExt cx="75723" cy="75723"/>
              </a:xfrm>
            </p:grpSpPr>
            <p:sp>
              <p:nvSpPr>
                <p:cNvPr id="16747" name="Freeform: Shape 16746">
                  <a:extLst>
                    <a:ext uri="{FF2B5EF4-FFF2-40B4-BE49-F238E27FC236}">
                      <a16:creationId xmlns:a16="http://schemas.microsoft.com/office/drawing/2014/main" id="{546284B9-7C2C-0F6E-B2A8-E30ED0A4FD3B}"/>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8" name="Freeform: Shape 16747">
                  <a:extLst>
                    <a:ext uri="{FF2B5EF4-FFF2-40B4-BE49-F238E27FC236}">
                      <a16:creationId xmlns:a16="http://schemas.microsoft.com/office/drawing/2014/main" id="{87DDD5EE-6933-25AC-CA34-6CFF04FF573E}"/>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1" name="Graphic 745">
                <a:extLst>
                  <a:ext uri="{FF2B5EF4-FFF2-40B4-BE49-F238E27FC236}">
                    <a16:creationId xmlns:a16="http://schemas.microsoft.com/office/drawing/2014/main" id="{A3B86FB6-E803-E4C3-7E0A-A8B583F4D7BB}"/>
                  </a:ext>
                </a:extLst>
              </p:cNvPr>
              <p:cNvGrpSpPr/>
              <p:nvPr/>
            </p:nvGrpSpPr>
            <p:grpSpPr>
              <a:xfrm>
                <a:off x="3916203" y="2733293"/>
                <a:ext cx="75723" cy="75723"/>
                <a:chOff x="3916203" y="2733293"/>
                <a:chExt cx="75723" cy="75723"/>
              </a:xfrm>
            </p:grpSpPr>
            <p:sp>
              <p:nvSpPr>
                <p:cNvPr id="16745" name="Freeform: Shape 16744">
                  <a:extLst>
                    <a:ext uri="{FF2B5EF4-FFF2-40B4-BE49-F238E27FC236}">
                      <a16:creationId xmlns:a16="http://schemas.microsoft.com/office/drawing/2014/main" id="{81ACD905-E536-8303-B389-54930376FEE6}"/>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6" name="Freeform: Shape 16745">
                  <a:extLst>
                    <a:ext uri="{FF2B5EF4-FFF2-40B4-BE49-F238E27FC236}">
                      <a16:creationId xmlns:a16="http://schemas.microsoft.com/office/drawing/2014/main" id="{083287EA-DECB-D413-B598-3B7B1EF19FCC}"/>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2" name="Graphic 745">
                <a:extLst>
                  <a:ext uri="{FF2B5EF4-FFF2-40B4-BE49-F238E27FC236}">
                    <a16:creationId xmlns:a16="http://schemas.microsoft.com/office/drawing/2014/main" id="{DC5DBCBA-6087-67AC-196B-6EB6A349B4E6}"/>
                  </a:ext>
                </a:extLst>
              </p:cNvPr>
              <p:cNvGrpSpPr/>
              <p:nvPr/>
            </p:nvGrpSpPr>
            <p:grpSpPr>
              <a:xfrm>
                <a:off x="3486150" y="2509837"/>
                <a:ext cx="75723" cy="75723"/>
                <a:chOff x="3486150" y="2509837"/>
                <a:chExt cx="75723" cy="75723"/>
              </a:xfrm>
            </p:grpSpPr>
            <p:sp>
              <p:nvSpPr>
                <p:cNvPr id="16743" name="Freeform: Shape 16742">
                  <a:extLst>
                    <a:ext uri="{FF2B5EF4-FFF2-40B4-BE49-F238E27FC236}">
                      <a16:creationId xmlns:a16="http://schemas.microsoft.com/office/drawing/2014/main" id="{FA5584C4-10D1-9FD1-12E3-FC34D9D09F44}"/>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4" name="Freeform: Shape 16743">
                  <a:extLst>
                    <a:ext uri="{FF2B5EF4-FFF2-40B4-BE49-F238E27FC236}">
                      <a16:creationId xmlns:a16="http://schemas.microsoft.com/office/drawing/2014/main" id="{7FE9EF2D-6140-038B-A4E3-9B8048311A86}"/>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3" name="Graphic 745">
                <a:extLst>
                  <a:ext uri="{FF2B5EF4-FFF2-40B4-BE49-F238E27FC236}">
                    <a16:creationId xmlns:a16="http://schemas.microsoft.com/office/drawing/2014/main" id="{251BAC81-3C0B-E46D-45E6-CA23B9D5E67B}"/>
                  </a:ext>
                </a:extLst>
              </p:cNvPr>
              <p:cNvGrpSpPr/>
              <p:nvPr/>
            </p:nvGrpSpPr>
            <p:grpSpPr>
              <a:xfrm>
                <a:off x="4306633" y="2894932"/>
                <a:ext cx="75723" cy="75628"/>
                <a:chOff x="4306633" y="2894932"/>
                <a:chExt cx="75723" cy="75628"/>
              </a:xfrm>
            </p:grpSpPr>
            <p:sp>
              <p:nvSpPr>
                <p:cNvPr id="16741" name="Freeform: Shape 16740">
                  <a:extLst>
                    <a:ext uri="{FF2B5EF4-FFF2-40B4-BE49-F238E27FC236}">
                      <a16:creationId xmlns:a16="http://schemas.microsoft.com/office/drawing/2014/main" id="{0EDFF4DC-DF7D-982D-2D49-9A0E25D8BD9C}"/>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2" name="Freeform: Shape 16741">
                  <a:extLst>
                    <a:ext uri="{FF2B5EF4-FFF2-40B4-BE49-F238E27FC236}">
                      <a16:creationId xmlns:a16="http://schemas.microsoft.com/office/drawing/2014/main" id="{085034A9-0E04-AC2A-54D4-A204246F6D22}"/>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4" name="Graphic 745">
                <a:extLst>
                  <a:ext uri="{FF2B5EF4-FFF2-40B4-BE49-F238E27FC236}">
                    <a16:creationId xmlns:a16="http://schemas.microsoft.com/office/drawing/2014/main" id="{7EC171B0-81DB-06F2-4B3B-1EAB13FD34A0}"/>
                  </a:ext>
                </a:extLst>
              </p:cNvPr>
              <p:cNvGrpSpPr/>
              <p:nvPr/>
            </p:nvGrpSpPr>
            <p:grpSpPr>
              <a:xfrm>
                <a:off x="4312634" y="2905410"/>
                <a:ext cx="75628" cy="75723"/>
                <a:chOff x="4312634" y="2905410"/>
                <a:chExt cx="75628" cy="75723"/>
              </a:xfrm>
            </p:grpSpPr>
            <p:sp>
              <p:nvSpPr>
                <p:cNvPr id="16739" name="Freeform: Shape 16738">
                  <a:extLst>
                    <a:ext uri="{FF2B5EF4-FFF2-40B4-BE49-F238E27FC236}">
                      <a16:creationId xmlns:a16="http://schemas.microsoft.com/office/drawing/2014/main" id="{2BA00B74-CCB2-8AB3-9CC3-C20C28ECC282}"/>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40" name="Freeform: Shape 16739">
                  <a:extLst>
                    <a:ext uri="{FF2B5EF4-FFF2-40B4-BE49-F238E27FC236}">
                      <a16:creationId xmlns:a16="http://schemas.microsoft.com/office/drawing/2014/main" id="{83C8CEB0-51E6-B594-C630-64FCA0539528}"/>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5" name="Graphic 745">
                <a:extLst>
                  <a:ext uri="{FF2B5EF4-FFF2-40B4-BE49-F238E27FC236}">
                    <a16:creationId xmlns:a16="http://schemas.microsoft.com/office/drawing/2014/main" id="{9636413B-479A-33F6-5701-60A68EF4EABC}"/>
                  </a:ext>
                </a:extLst>
              </p:cNvPr>
              <p:cNvGrpSpPr/>
              <p:nvPr/>
            </p:nvGrpSpPr>
            <p:grpSpPr>
              <a:xfrm>
                <a:off x="4321111" y="2915602"/>
                <a:ext cx="75723" cy="75628"/>
                <a:chOff x="4321111" y="2915602"/>
                <a:chExt cx="75723" cy="75628"/>
              </a:xfrm>
            </p:grpSpPr>
            <p:sp>
              <p:nvSpPr>
                <p:cNvPr id="16737" name="Freeform: Shape 16736">
                  <a:extLst>
                    <a:ext uri="{FF2B5EF4-FFF2-40B4-BE49-F238E27FC236}">
                      <a16:creationId xmlns:a16="http://schemas.microsoft.com/office/drawing/2014/main" id="{597609B0-6425-3605-65CF-7AB82CA6E3E5}"/>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8" name="Freeform: Shape 16737">
                  <a:extLst>
                    <a:ext uri="{FF2B5EF4-FFF2-40B4-BE49-F238E27FC236}">
                      <a16:creationId xmlns:a16="http://schemas.microsoft.com/office/drawing/2014/main" id="{683060C7-A7DA-22FB-E719-3927503A23F6}"/>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6" name="Graphic 745">
                <a:extLst>
                  <a:ext uri="{FF2B5EF4-FFF2-40B4-BE49-F238E27FC236}">
                    <a16:creationId xmlns:a16="http://schemas.microsoft.com/office/drawing/2014/main" id="{5AAAB135-F1A2-2F55-2AB1-420B4A089ABC}"/>
                  </a:ext>
                </a:extLst>
              </p:cNvPr>
              <p:cNvGrpSpPr/>
              <p:nvPr/>
            </p:nvGrpSpPr>
            <p:grpSpPr>
              <a:xfrm>
                <a:off x="4334256" y="2915602"/>
                <a:ext cx="75628" cy="75628"/>
                <a:chOff x="4334256" y="2915602"/>
                <a:chExt cx="75628" cy="75628"/>
              </a:xfrm>
            </p:grpSpPr>
            <p:sp>
              <p:nvSpPr>
                <p:cNvPr id="16735" name="Freeform: Shape 16734">
                  <a:extLst>
                    <a:ext uri="{FF2B5EF4-FFF2-40B4-BE49-F238E27FC236}">
                      <a16:creationId xmlns:a16="http://schemas.microsoft.com/office/drawing/2014/main" id="{DDC0985D-9BC8-92A4-4A25-16756CDDC5AD}"/>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6" name="Freeform: Shape 16735">
                  <a:extLst>
                    <a:ext uri="{FF2B5EF4-FFF2-40B4-BE49-F238E27FC236}">
                      <a16:creationId xmlns:a16="http://schemas.microsoft.com/office/drawing/2014/main" id="{C5E2EEF5-6A61-19DC-6E75-BCC23C00C1A6}"/>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7" name="Graphic 745">
                <a:extLst>
                  <a:ext uri="{FF2B5EF4-FFF2-40B4-BE49-F238E27FC236}">
                    <a16:creationId xmlns:a16="http://schemas.microsoft.com/office/drawing/2014/main" id="{033B1BAA-5F51-8365-E892-04B722E693C0}"/>
                  </a:ext>
                </a:extLst>
              </p:cNvPr>
              <p:cNvGrpSpPr/>
              <p:nvPr/>
            </p:nvGrpSpPr>
            <p:grpSpPr>
              <a:xfrm>
                <a:off x="4344543" y="2966656"/>
                <a:ext cx="75628" cy="75628"/>
                <a:chOff x="4344543" y="2966656"/>
                <a:chExt cx="75628" cy="75628"/>
              </a:xfrm>
            </p:grpSpPr>
            <p:sp>
              <p:nvSpPr>
                <p:cNvPr id="16733" name="Freeform: Shape 16732">
                  <a:extLst>
                    <a:ext uri="{FF2B5EF4-FFF2-40B4-BE49-F238E27FC236}">
                      <a16:creationId xmlns:a16="http://schemas.microsoft.com/office/drawing/2014/main" id="{B819579A-942D-11D3-1E82-B1F194D85B4C}"/>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4" name="Freeform: Shape 16733">
                  <a:extLst>
                    <a:ext uri="{FF2B5EF4-FFF2-40B4-BE49-F238E27FC236}">
                      <a16:creationId xmlns:a16="http://schemas.microsoft.com/office/drawing/2014/main" id="{D70E0AAC-F1D4-2F87-DD37-C33E31153C45}"/>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8" name="Graphic 745">
                <a:extLst>
                  <a:ext uri="{FF2B5EF4-FFF2-40B4-BE49-F238E27FC236}">
                    <a16:creationId xmlns:a16="http://schemas.microsoft.com/office/drawing/2014/main" id="{E47D3F27-2BB9-8FD4-286A-BD3FAD54163D}"/>
                  </a:ext>
                </a:extLst>
              </p:cNvPr>
              <p:cNvGrpSpPr/>
              <p:nvPr/>
            </p:nvGrpSpPr>
            <p:grpSpPr>
              <a:xfrm>
                <a:off x="4344543" y="2981134"/>
                <a:ext cx="75628" cy="75723"/>
                <a:chOff x="4344543" y="2981134"/>
                <a:chExt cx="75628" cy="75723"/>
              </a:xfrm>
            </p:grpSpPr>
            <p:sp>
              <p:nvSpPr>
                <p:cNvPr id="16731" name="Freeform: Shape 16730">
                  <a:extLst>
                    <a:ext uri="{FF2B5EF4-FFF2-40B4-BE49-F238E27FC236}">
                      <a16:creationId xmlns:a16="http://schemas.microsoft.com/office/drawing/2014/main" id="{274081B9-14D2-B4FE-F9FB-34282E555943}"/>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2" name="Freeform: Shape 16731">
                  <a:extLst>
                    <a:ext uri="{FF2B5EF4-FFF2-40B4-BE49-F238E27FC236}">
                      <a16:creationId xmlns:a16="http://schemas.microsoft.com/office/drawing/2014/main" id="{246F4849-B752-4496-0E35-F18FE4D54355}"/>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49" name="Graphic 745">
                <a:extLst>
                  <a:ext uri="{FF2B5EF4-FFF2-40B4-BE49-F238E27FC236}">
                    <a16:creationId xmlns:a16="http://schemas.microsoft.com/office/drawing/2014/main" id="{2CEA0796-1FF1-00B5-FD1F-4B4C1E08BAA8}"/>
                  </a:ext>
                </a:extLst>
              </p:cNvPr>
              <p:cNvGrpSpPr/>
              <p:nvPr/>
            </p:nvGrpSpPr>
            <p:grpSpPr>
              <a:xfrm>
                <a:off x="4350448" y="3006375"/>
                <a:ext cx="75723" cy="75723"/>
                <a:chOff x="4350448" y="3006375"/>
                <a:chExt cx="75723" cy="75723"/>
              </a:xfrm>
            </p:grpSpPr>
            <p:sp>
              <p:nvSpPr>
                <p:cNvPr id="16729" name="Freeform: Shape 16728">
                  <a:extLst>
                    <a:ext uri="{FF2B5EF4-FFF2-40B4-BE49-F238E27FC236}">
                      <a16:creationId xmlns:a16="http://schemas.microsoft.com/office/drawing/2014/main" id="{1E042EA7-698B-FDC3-66D8-6575CFE5E911}"/>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30" name="Freeform: Shape 16729">
                  <a:extLst>
                    <a:ext uri="{FF2B5EF4-FFF2-40B4-BE49-F238E27FC236}">
                      <a16:creationId xmlns:a16="http://schemas.microsoft.com/office/drawing/2014/main" id="{9224A71E-B0CF-A3DD-9EDD-D5DE0D0FFEA4}"/>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0" name="Graphic 745">
                <a:extLst>
                  <a:ext uri="{FF2B5EF4-FFF2-40B4-BE49-F238E27FC236}">
                    <a16:creationId xmlns:a16="http://schemas.microsoft.com/office/drawing/2014/main" id="{8B115430-0BE9-30DD-7077-DE7FF791248C}"/>
                  </a:ext>
                </a:extLst>
              </p:cNvPr>
              <p:cNvGrpSpPr/>
              <p:nvPr/>
            </p:nvGrpSpPr>
            <p:grpSpPr>
              <a:xfrm>
                <a:off x="4727829" y="3184397"/>
                <a:ext cx="75628" cy="75723"/>
                <a:chOff x="4727829" y="3184397"/>
                <a:chExt cx="75628" cy="75723"/>
              </a:xfrm>
            </p:grpSpPr>
            <p:sp>
              <p:nvSpPr>
                <p:cNvPr id="16727" name="Freeform: Shape 16726">
                  <a:extLst>
                    <a:ext uri="{FF2B5EF4-FFF2-40B4-BE49-F238E27FC236}">
                      <a16:creationId xmlns:a16="http://schemas.microsoft.com/office/drawing/2014/main" id="{7AA4D88C-95A0-9CEB-9D47-4DE3335BDE7D}"/>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8" name="Freeform: Shape 16727">
                  <a:extLst>
                    <a:ext uri="{FF2B5EF4-FFF2-40B4-BE49-F238E27FC236}">
                      <a16:creationId xmlns:a16="http://schemas.microsoft.com/office/drawing/2014/main" id="{B30F4067-F1C1-C28E-96D7-8AD11AB37EF4}"/>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1" name="Graphic 745">
                <a:extLst>
                  <a:ext uri="{FF2B5EF4-FFF2-40B4-BE49-F238E27FC236}">
                    <a16:creationId xmlns:a16="http://schemas.microsoft.com/office/drawing/2014/main" id="{D10BA0D4-1F35-4E3B-E4B9-BFE1AF9E8118}"/>
                  </a:ext>
                </a:extLst>
              </p:cNvPr>
              <p:cNvGrpSpPr/>
              <p:nvPr/>
            </p:nvGrpSpPr>
            <p:grpSpPr>
              <a:xfrm>
                <a:off x="4736973" y="3189350"/>
                <a:ext cx="75723" cy="75628"/>
                <a:chOff x="4736973" y="3189350"/>
                <a:chExt cx="75723" cy="75628"/>
              </a:xfrm>
            </p:grpSpPr>
            <p:sp>
              <p:nvSpPr>
                <p:cNvPr id="16725" name="Freeform: Shape 16724">
                  <a:extLst>
                    <a:ext uri="{FF2B5EF4-FFF2-40B4-BE49-F238E27FC236}">
                      <a16:creationId xmlns:a16="http://schemas.microsoft.com/office/drawing/2014/main" id="{737CBAAF-E548-27CE-502C-81328916EC06}"/>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6" name="Freeform: Shape 16725">
                  <a:extLst>
                    <a:ext uri="{FF2B5EF4-FFF2-40B4-BE49-F238E27FC236}">
                      <a16:creationId xmlns:a16="http://schemas.microsoft.com/office/drawing/2014/main" id="{EB39CFAA-9032-CDE2-20FF-828C6680A7B5}"/>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2" name="Graphic 745">
                <a:extLst>
                  <a:ext uri="{FF2B5EF4-FFF2-40B4-BE49-F238E27FC236}">
                    <a16:creationId xmlns:a16="http://schemas.microsoft.com/office/drawing/2014/main" id="{498FDA59-2CD0-E9BE-04A8-CAB0761204A1}"/>
                  </a:ext>
                </a:extLst>
              </p:cNvPr>
              <p:cNvGrpSpPr/>
              <p:nvPr/>
            </p:nvGrpSpPr>
            <p:grpSpPr>
              <a:xfrm>
                <a:off x="4749165" y="3206305"/>
                <a:ext cx="75628" cy="75723"/>
                <a:chOff x="4749165" y="3206305"/>
                <a:chExt cx="75628" cy="75723"/>
              </a:xfrm>
            </p:grpSpPr>
            <p:sp>
              <p:nvSpPr>
                <p:cNvPr id="16723" name="Freeform: Shape 16722">
                  <a:extLst>
                    <a:ext uri="{FF2B5EF4-FFF2-40B4-BE49-F238E27FC236}">
                      <a16:creationId xmlns:a16="http://schemas.microsoft.com/office/drawing/2014/main" id="{72D519E2-A612-8DE0-60EC-D591CDF16324}"/>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4" name="Freeform: Shape 16723">
                  <a:extLst>
                    <a:ext uri="{FF2B5EF4-FFF2-40B4-BE49-F238E27FC236}">
                      <a16:creationId xmlns:a16="http://schemas.microsoft.com/office/drawing/2014/main" id="{CFD30C1C-AC4F-66BA-3B8A-F252243BB45E}"/>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3" name="Graphic 745">
                <a:extLst>
                  <a:ext uri="{FF2B5EF4-FFF2-40B4-BE49-F238E27FC236}">
                    <a16:creationId xmlns:a16="http://schemas.microsoft.com/office/drawing/2014/main" id="{45068797-261E-AAB2-4B7E-580546C664E1}"/>
                  </a:ext>
                </a:extLst>
              </p:cNvPr>
              <p:cNvGrpSpPr/>
              <p:nvPr/>
            </p:nvGrpSpPr>
            <p:grpSpPr>
              <a:xfrm>
                <a:off x="4756308" y="3216496"/>
                <a:ext cx="75723" cy="75628"/>
                <a:chOff x="4756308" y="3216496"/>
                <a:chExt cx="75723" cy="75628"/>
              </a:xfrm>
            </p:grpSpPr>
            <p:sp>
              <p:nvSpPr>
                <p:cNvPr id="16721" name="Freeform: Shape 16720">
                  <a:extLst>
                    <a:ext uri="{FF2B5EF4-FFF2-40B4-BE49-F238E27FC236}">
                      <a16:creationId xmlns:a16="http://schemas.microsoft.com/office/drawing/2014/main" id="{10CB097F-1BA6-EB70-C34D-3F2769BF0F75}"/>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2" name="Freeform: Shape 16721">
                  <a:extLst>
                    <a:ext uri="{FF2B5EF4-FFF2-40B4-BE49-F238E27FC236}">
                      <a16:creationId xmlns:a16="http://schemas.microsoft.com/office/drawing/2014/main" id="{904CE771-B9CD-D268-F1B7-15C7804B79C4}"/>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4" name="Graphic 745">
                <a:extLst>
                  <a:ext uri="{FF2B5EF4-FFF2-40B4-BE49-F238E27FC236}">
                    <a16:creationId xmlns:a16="http://schemas.microsoft.com/office/drawing/2014/main" id="{80CF286A-C43A-A89B-81F7-AF5A957D278D}"/>
                  </a:ext>
                </a:extLst>
              </p:cNvPr>
              <p:cNvGrpSpPr/>
              <p:nvPr/>
            </p:nvGrpSpPr>
            <p:grpSpPr>
              <a:xfrm>
                <a:off x="4758880" y="3238785"/>
                <a:ext cx="75628" cy="75628"/>
                <a:chOff x="4758880" y="3238785"/>
                <a:chExt cx="75628" cy="75628"/>
              </a:xfrm>
            </p:grpSpPr>
            <p:sp>
              <p:nvSpPr>
                <p:cNvPr id="16719" name="Freeform: Shape 16718">
                  <a:extLst>
                    <a:ext uri="{FF2B5EF4-FFF2-40B4-BE49-F238E27FC236}">
                      <a16:creationId xmlns:a16="http://schemas.microsoft.com/office/drawing/2014/main" id="{FFBB80A7-09BE-D573-A0F8-905DEF4AD664}"/>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20" name="Freeform: Shape 16719">
                  <a:extLst>
                    <a:ext uri="{FF2B5EF4-FFF2-40B4-BE49-F238E27FC236}">
                      <a16:creationId xmlns:a16="http://schemas.microsoft.com/office/drawing/2014/main" id="{8826B60E-F449-BEF4-C075-69169129B66A}"/>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5" name="Graphic 745">
                <a:extLst>
                  <a:ext uri="{FF2B5EF4-FFF2-40B4-BE49-F238E27FC236}">
                    <a16:creationId xmlns:a16="http://schemas.microsoft.com/office/drawing/2014/main" id="{A6B75510-179E-48F3-9B83-7015DA3D5486}"/>
                  </a:ext>
                </a:extLst>
              </p:cNvPr>
              <p:cNvGrpSpPr/>
              <p:nvPr/>
            </p:nvGrpSpPr>
            <p:grpSpPr>
              <a:xfrm>
                <a:off x="4765643" y="3249548"/>
                <a:ext cx="75723" cy="75723"/>
                <a:chOff x="4765643" y="3249548"/>
                <a:chExt cx="75723" cy="75723"/>
              </a:xfrm>
            </p:grpSpPr>
            <p:sp>
              <p:nvSpPr>
                <p:cNvPr id="16717" name="Freeform: Shape 16716">
                  <a:extLst>
                    <a:ext uri="{FF2B5EF4-FFF2-40B4-BE49-F238E27FC236}">
                      <a16:creationId xmlns:a16="http://schemas.microsoft.com/office/drawing/2014/main" id="{A678E123-5574-E841-4792-12C9A6868EFA}"/>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8" name="Freeform: Shape 16717">
                  <a:extLst>
                    <a:ext uri="{FF2B5EF4-FFF2-40B4-BE49-F238E27FC236}">
                      <a16:creationId xmlns:a16="http://schemas.microsoft.com/office/drawing/2014/main" id="{0A83EBD0-DCE8-3E5B-FB49-B1693F0DE58E}"/>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6" name="Graphic 745">
                <a:extLst>
                  <a:ext uri="{FF2B5EF4-FFF2-40B4-BE49-F238E27FC236}">
                    <a16:creationId xmlns:a16="http://schemas.microsoft.com/office/drawing/2014/main" id="{B05BA1E3-7B1E-F8B8-C647-B2B0460D9270}"/>
                  </a:ext>
                </a:extLst>
              </p:cNvPr>
              <p:cNvGrpSpPr/>
              <p:nvPr/>
            </p:nvGrpSpPr>
            <p:grpSpPr>
              <a:xfrm>
                <a:off x="4768881" y="3267169"/>
                <a:ext cx="75723" cy="75628"/>
                <a:chOff x="4768881" y="3267169"/>
                <a:chExt cx="75723" cy="75628"/>
              </a:xfrm>
            </p:grpSpPr>
            <p:sp>
              <p:nvSpPr>
                <p:cNvPr id="16715" name="Freeform: Shape 16714">
                  <a:extLst>
                    <a:ext uri="{FF2B5EF4-FFF2-40B4-BE49-F238E27FC236}">
                      <a16:creationId xmlns:a16="http://schemas.microsoft.com/office/drawing/2014/main" id="{529FD389-245B-2E64-A1F6-B7B07221091D}"/>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6" name="Freeform: Shape 16715">
                  <a:extLst>
                    <a:ext uri="{FF2B5EF4-FFF2-40B4-BE49-F238E27FC236}">
                      <a16:creationId xmlns:a16="http://schemas.microsoft.com/office/drawing/2014/main" id="{9E7BC358-2BFA-B3A3-2E88-CB2312032D14}"/>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7" name="Graphic 745">
                <a:extLst>
                  <a:ext uri="{FF2B5EF4-FFF2-40B4-BE49-F238E27FC236}">
                    <a16:creationId xmlns:a16="http://schemas.microsoft.com/office/drawing/2014/main" id="{4CBD6B81-CFE1-E67B-A135-930ECEC102B7}"/>
                  </a:ext>
                </a:extLst>
              </p:cNvPr>
              <p:cNvGrpSpPr/>
              <p:nvPr/>
            </p:nvGrpSpPr>
            <p:grpSpPr>
              <a:xfrm>
                <a:off x="4771739" y="3287458"/>
                <a:ext cx="75628" cy="75723"/>
                <a:chOff x="4771739" y="3287458"/>
                <a:chExt cx="75628" cy="75723"/>
              </a:xfrm>
            </p:grpSpPr>
            <p:sp>
              <p:nvSpPr>
                <p:cNvPr id="16713" name="Freeform: Shape 16712">
                  <a:extLst>
                    <a:ext uri="{FF2B5EF4-FFF2-40B4-BE49-F238E27FC236}">
                      <a16:creationId xmlns:a16="http://schemas.microsoft.com/office/drawing/2014/main" id="{775BA97C-2BA5-030B-5276-7CA5532AA00B}"/>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4" name="Freeform: Shape 16713">
                  <a:extLst>
                    <a:ext uri="{FF2B5EF4-FFF2-40B4-BE49-F238E27FC236}">
                      <a16:creationId xmlns:a16="http://schemas.microsoft.com/office/drawing/2014/main" id="{88A60EC4-02F9-ED2A-7FD8-2CE0087B5035}"/>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8" name="Graphic 745">
                <a:extLst>
                  <a:ext uri="{FF2B5EF4-FFF2-40B4-BE49-F238E27FC236}">
                    <a16:creationId xmlns:a16="http://schemas.microsoft.com/office/drawing/2014/main" id="{BB24D4D5-2AEB-256C-AE54-0E5D42A09650}"/>
                  </a:ext>
                </a:extLst>
              </p:cNvPr>
              <p:cNvGrpSpPr/>
              <p:nvPr/>
            </p:nvGrpSpPr>
            <p:grpSpPr>
              <a:xfrm>
                <a:off x="4771739" y="3299935"/>
                <a:ext cx="75628" cy="75723"/>
                <a:chOff x="4771739" y="3299935"/>
                <a:chExt cx="75628" cy="75723"/>
              </a:xfrm>
            </p:grpSpPr>
            <p:sp>
              <p:nvSpPr>
                <p:cNvPr id="16711" name="Freeform: Shape 16710">
                  <a:extLst>
                    <a:ext uri="{FF2B5EF4-FFF2-40B4-BE49-F238E27FC236}">
                      <a16:creationId xmlns:a16="http://schemas.microsoft.com/office/drawing/2014/main" id="{3030BAAD-AA22-736C-B08F-4C8EB9D5237C}"/>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2" name="Freeform: Shape 16711">
                  <a:extLst>
                    <a:ext uri="{FF2B5EF4-FFF2-40B4-BE49-F238E27FC236}">
                      <a16:creationId xmlns:a16="http://schemas.microsoft.com/office/drawing/2014/main" id="{C557F450-E55F-4876-17B4-7C42969DB8D1}"/>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59" name="Graphic 745">
                <a:extLst>
                  <a:ext uri="{FF2B5EF4-FFF2-40B4-BE49-F238E27FC236}">
                    <a16:creationId xmlns:a16="http://schemas.microsoft.com/office/drawing/2014/main" id="{666D1A2C-A054-7B8C-FC17-20A8EEB4185B}"/>
                  </a:ext>
                </a:extLst>
              </p:cNvPr>
              <p:cNvGrpSpPr/>
              <p:nvPr/>
            </p:nvGrpSpPr>
            <p:grpSpPr>
              <a:xfrm>
                <a:off x="4771739" y="3310127"/>
                <a:ext cx="75628" cy="75628"/>
                <a:chOff x="4771739" y="3310127"/>
                <a:chExt cx="75628" cy="75628"/>
              </a:xfrm>
            </p:grpSpPr>
            <p:sp>
              <p:nvSpPr>
                <p:cNvPr id="16709" name="Freeform: Shape 16708">
                  <a:extLst>
                    <a:ext uri="{FF2B5EF4-FFF2-40B4-BE49-F238E27FC236}">
                      <a16:creationId xmlns:a16="http://schemas.microsoft.com/office/drawing/2014/main" id="{7304A84F-8799-5E5F-531D-8D453355B513}"/>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10" name="Freeform: Shape 16709">
                  <a:extLst>
                    <a:ext uri="{FF2B5EF4-FFF2-40B4-BE49-F238E27FC236}">
                      <a16:creationId xmlns:a16="http://schemas.microsoft.com/office/drawing/2014/main" id="{A76E3F72-5B2E-94CA-5478-D41EA48B9597}"/>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0" name="Graphic 745">
                <a:extLst>
                  <a:ext uri="{FF2B5EF4-FFF2-40B4-BE49-F238E27FC236}">
                    <a16:creationId xmlns:a16="http://schemas.microsoft.com/office/drawing/2014/main" id="{BFDC8C41-98D1-823C-5E40-D3CB114E4221}"/>
                  </a:ext>
                </a:extLst>
              </p:cNvPr>
              <p:cNvGrpSpPr/>
              <p:nvPr/>
            </p:nvGrpSpPr>
            <p:grpSpPr>
              <a:xfrm>
                <a:off x="4778502" y="3316604"/>
                <a:ext cx="75723" cy="75628"/>
                <a:chOff x="4778502" y="3316604"/>
                <a:chExt cx="75723" cy="75628"/>
              </a:xfrm>
            </p:grpSpPr>
            <p:sp>
              <p:nvSpPr>
                <p:cNvPr id="16707" name="Freeform: Shape 16706">
                  <a:extLst>
                    <a:ext uri="{FF2B5EF4-FFF2-40B4-BE49-F238E27FC236}">
                      <a16:creationId xmlns:a16="http://schemas.microsoft.com/office/drawing/2014/main" id="{A8E9E491-7D0F-0FC2-1E54-13D182C5A8FE}"/>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8" name="Freeform: Shape 16707">
                  <a:extLst>
                    <a:ext uri="{FF2B5EF4-FFF2-40B4-BE49-F238E27FC236}">
                      <a16:creationId xmlns:a16="http://schemas.microsoft.com/office/drawing/2014/main" id="{557A267C-C080-57F8-F2D2-E16A670B8D65}"/>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1" name="Graphic 745">
                <a:extLst>
                  <a:ext uri="{FF2B5EF4-FFF2-40B4-BE49-F238E27FC236}">
                    <a16:creationId xmlns:a16="http://schemas.microsoft.com/office/drawing/2014/main" id="{F108BF32-CB42-6ECA-283A-9A7E3B94C272}"/>
                  </a:ext>
                </a:extLst>
              </p:cNvPr>
              <p:cNvGrpSpPr/>
              <p:nvPr/>
            </p:nvGrpSpPr>
            <p:grpSpPr>
              <a:xfrm>
                <a:off x="5163883" y="3466528"/>
                <a:ext cx="75723" cy="75723"/>
                <a:chOff x="5163883" y="3466528"/>
                <a:chExt cx="75723" cy="75723"/>
              </a:xfrm>
            </p:grpSpPr>
            <p:sp>
              <p:nvSpPr>
                <p:cNvPr id="16705" name="Freeform: Shape 16704">
                  <a:extLst>
                    <a:ext uri="{FF2B5EF4-FFF2-40B4-BE49-F238E27FC236}">
                      <a16:creationId xmlns:a16="http://schemas.microsoft.com/office/drawing/2014/main" id="{F657B418-D435-8C2F-8209-3CABB1595C83}"/>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6" name="Freeform: Shape 16705">
                  <a:extLst>
                    <a:ext uri="{FF2B5EF4-FFF2-40B4-BE49-F238E27FC236}">
                      <a16:creationId xmlns:a16="http://schemas.microsoft.com/office/drawing/2014/main" id="{0FB06AAE-DF73-C5EF-7A3A-1A84E5F3221F}"/>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2" name="Graphic 745">
                <a:extLst>
                  <a:ext uri="{FF2B5EF4-FFF2-40B4-BE49-F238E27FC236}">
                    <a16:creationId xmlns:a16="http://schemas.microsoft.com/office/drawing/2014/main" id="{A8DEE83F-952A-41ED-E4A8-80A3189A10A6}"/>
                  </a:ext>
                </a:extLst>
              </p:cNvPr>
              <p:cNvGrpSpPr/>
              <p:nvPr/>
            </p:nvGrpSpPr>
            <p:grpSpPr>
              <a:xfrm>
                <a:off x="5180171" y="3471385"/>
                <a:ext cx="75628" cy="75723"/>
                <a:chOff x="5180171" y="3471385"/>
                <a:chExt cx="75628" cy="75723"/>
              </a:xfrm>
            </p:grpSpPr>
            <p:sp>
              <p:nvSpPr>
                <p:cNvPr id="16480" name="Freeform: Shape 16479">
                  <a:extLst>
                    <a:ext uri="{FF2B5EF4-FFF2-40B4-BE49-F238E27FC236}">
                      <a16:creationId xmlns:a16="http://schemas.microsoft.com/office/drawing/2014/main" id="{BF4934A8-F9A5-53E6-9453-91BC795BB45E}"/>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704" name="Freeform: Shape 16703">
                  <a:extLst>
                    <a:ext uri="{FF2B5EF4-FFF2-40B4-BE49-F238E27FC236}">
                      <a16:creationId xmlns:a16="http://schemas.microsoft.com/office/drawing/2014/main" id="{4A3511C7-650C-9A41-C9F2-9FE6068EDEAF}"/>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3" name="Graphic 745">
                <a:extLst>
                  <a:ext uri="{FF2B5EF4-FFF2-40B4-BE49-F238E27FC236}">
                    <a16:creationId xmlns:a16="http://schemas.microsoft.com/office/drawing/2014/main" id="{F06FEB25-4C0B-217D-E03B-10ED6091453E}"/>
                  </a:ext>
                </a:extLst>
              </p:cNvPr>
              <p:cNvGrpSpPr/>
              <p:nvPr/>
            </p:nvGrpSpPr>
            <p:grpSpPr>
              <a:xfrm>
                <a:off x="5196554" y="3504342"/>
                <a:ext cx="75723" cy="75723"/>
                <a:chOff x="5196554" y="3504342"/>
                <a:chExt cx="75723" cy="75723"/>
              </a:xfrm>
            </p:grpSpPr>
            <p:sp>
              <p:nvSpPr>
                <p:cNvPr id="16478" name="Freeform: Shape 16477">
                  <a:extLst>
                    <a:ext uri="{FF2B5EF4-FFF2-40B4-BE49-F238E27FC236}">
                      <a16:creationId xmlns:a16="http://schemas.microsoft.com/office/drawing/2014/main" id="{AA3C4AD8-310A-036B-29F0-09A7164A63D0}"/>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9" name="Freeform: Shape 16478">
                  <a:extLst>
                    <a:ext uri="{FF2B5EF4-FFF2-40B4-BE49-F238E27FC236}">
                      <a16:creationId xmlns:a16="http://schemas.microsoft.com/office/drawing/2014/main" id="{5363EE7B-9EDB-8D15-475B-6C9D3792982D}"/>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4" name="Graphic 745">
                <a:extLst>
                  <a:ext uri="{FF2B5EF4-FFF2-40B4-BE49-F238E27FC236}">
                    <a16:creationId xmlns:a16="http://schemas.microsoft.com/office/drawing/2014/main" id="{9EDBF996-12B3-8989-8CE6-C9D07323F2F6}"/>
                  </a:ext>
                </a:extLst>
              </p:cNvPr>
              <p:cNvGrpSpPr/>
              <p:nvPr/>
            </p:nvGrpSpPr>
            <p:grpSpPr>
              <a:xfrm>
                <a:off x="5196554" y="3535870"/>
                <a:ext cx="75723" cy="75628"/>
                <a:chOff x="5196554" y="3535870"/>
                <a:chExt cx="75723" cy="75628"/>
              </a:xfrm>
            </p:grpSpPr>
            <p:sp>
              <p:nvSpPr>
                <p:cNvPr id="16476" name="Freeform: Shape 16475">
                  <a:extLst>
                    <a:ext uri="{FF2B5EF4-FFF2-40B4-BE49-F238E27FC236}">
                      <a16:creationId xmlns:a16="http://schemas.microsoft.com/office/drawing/2014/main" id="{B291A249-D1BD-43CF-80BB-FE470B9730F8}"/>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7" name="Freeform: Shape 16476">
                  <a:extLst>
                    <a:ext uri="{FF2B5EF4-FFF2-40B4-BE49-F238E27FC236}">
                      <a16:creationId xmlns:a16="http://schemas.microsoft.com/office/drawing/2014/main" id="{4EF271E9-50B8-C079-298A-37AF74F3D7DA}"/>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5" name="Graphic 745">
                <a:extLst>
                  <a:ext uri="{FF2B5EF4-FFF2-40B4-BE49-F238E27FC236}">
                    <a16:creationId xmlns:a16="http://schemas.microsoft.com/office/drawing/2014/main" id="{2CF7F86F-5EAF-A040-5854-7A8FC6B14E5D}"/>
                  </a:ext>
                </a:extLst>
              </p:cNvPr>
              <p:cNvGrpSpPr/>
              <p:nvPr/>
            </p:nvGrpSpPr>
            <p:grpSpPr>
              <a:xfrm>
                <a:off x="5201793" y="3560158"/>
                <a:ext cx="75628" cy="75723"/>
                <a:chOff x="5201793" y="3560158"/>
                <a:chExt cx="75628" cy="75723"/>
              </a:xfrm>
            </p:grpSpPr>
            <p:sp>
              <p:nvSpPr>
                <p:cNvPr id="16474" name="Freeform: Shape 16473">
                  <a:extLst>
                    <a:ext uri="{FF2B5EF4-FFF2-40B4-BE49-F238E27FC236}">
                      <a16:creationId xmlns:a16="http://schemas.microsoft.com/office/drawing/2014/main" id="{190D982A-1861-2A2E-9944-22FC6757D97F}"/>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5" name="Freeform: Shape 16474">
                  <a:extLst>
                    <a:ext uri="{FF2B5EF4-FFF2-40B4-BE49-F238E27FC236}">
                      <a16:creationId xmlns:a16="http://schemas.microsoft.com/office/drawing/2014/main" id="{D08AA74D-4CAE-E51D-4443-A7C409C903CD}"/>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6" name="Graphic 745">
                <a:extLst>
                  <a:ext uri="{FF2B5EF4-FFF2-40B4-BE49-F238E27FC236}">
                    <a16:creationId xmlns:a16="http://schemas.microsoft.com/office/drawing/2014/main" id="{DE80D95A-FC39-5471-3D22-623EA7218F24}"/>
                  </a:ext>
                </a:extLst>
              </p:cNvPr>
              <p:cNvGrpSpPr/>
              <p:nvPr/>
            </p:nvGrpSpPr>
            <p:grpSpPr>
              <a:xfrm>
                <a:off x="5204174" y="3580066"/>
                <a:ext cx="75723" cy="75723"/>
                <a:chOff x="5204174" y="3580066"/>
                <a:chExt cx="75723" cy="75723"/>
              </a:xfrm>
            </p:grpSpPr>
            <p:sp>
              <p:nvSpPr>
                <p:cNvPr id="16472" name="Freeform: Shape 16471">
                  <a:extLst>
                    <a:ext uri="{FF2B5EF4-FFF2-40B4-BE49-F238E27FC236}">
                      <a16:creationId xmlns:a16="http://schemas.microsoft.com/office/drawing/2014/main" id="{A5A7B0C5-6915-7766-3FCF-234A17A2325A}"/>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3" name="Freeform: Shape 16472">
                  <a:extLst>
                    <a:ext uri="{FF2B5EF4-FFF2-40B4-BE49-F238E27FC236}">
                      <a16:creationId xmlns:a16="http://schemas.microsoft.com/office/drawing/2014/main" id="{6242CD07-8C5B-1A01-0A38-ADD99A6FB5F0}"/>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7" name="Graphic 745">
                <a:extLst>
                  <a:ext uri="{FF2B5EF4-FFF2-40B4-BE49-F238E27FC236}">
                    <a16:creationId xmlns:a16="http://schemas.microsoft.com/office/drawing/2014/main" id="{52907969-CF86-1812-CF5C-3D85BF52CBE7}"/>
                  </a:ext>
                </a:extLst>
              </p:cNvPr>
              <p:cNvGrpSpPr/>
              <p:nvPr/>
            </p:nvGrpSpPr>
            <p:grpSpPr>
              <a:xfrm>
                <a:off x="5217985" y="3580066"/>
                <a:ext cx="75723" cy="75723"/>
                <a:chOff x="5217985" y="3580066"/>
                <a:chExt cx="75723" cy="75723"/>
              </a:xfrm>
            </p:grpSpPr>
            <p:sp>
              <p:nvSpPr>
                <p:cNvPr id="16470" name="Freeform: Shape 16469">
                  <a:extLst>
                    <a:ext uri="{FF2B5EF4-FFF2-40B4-BE49-F238E27FC236}">
                      <a16:creationId xmlns:a16="http://schemas.microsoft.com/office/drawing/2014/main" id="{00F02492-4AA7-B2F7-3A59-BC97A3E216B9}"/>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71" name="Freeform: Shape 16470">
                  <a:extLst>
                    <a:ext uri="{FF2B5EF4-FFF2-40B4-BE49-F238E27FC236}">
                      <a16:creationId xmlns:a16="http://schemas.microsoft.com/office/drawing/2014/main" id="{A72CB5DC-94B9-62B8-5AEC-8B7039C76FCD}"/>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8" name="Graphic 745">
                <a:extLst>
                  <a:ext uri="{FF2B5EF4-FFF2-40B4-BE49-F238E27FC236}">
                    <a16:creationId xmlns:a16="http://schemas.microsoft.com/office/drawing/2014/main" id="{A6E0F51D-14B3-CF97-E0F1-DC93DD73FC77}"/>
                  </a:ext>
                </a:extLst>
              </p:cNvPr>
              <p:cNvGrpSpPr/>
              <p:nvPr/>
            </p:nvGrpSpPr>
            <p:grpSpPr>
              <a:xfrm>
                <a:off x="5196554" y="3517772"/>
                <a:ext cx="75723" cy="75723"/>
                <a:chOff x="5196554" y="3517772"/>
                <a:chExt cx="75723" cy="75723"/>
              </a:xfrm>
            </p:grpSpPr>
            <p:sp>
              <p:nvSpPr>
                <p:cNvPr id="16468" name="Freeform: Shape 16467">
                  <a:extLst>
                    <a:ext uri="{FF2B5EF4-FFF2-40B4-BE49-F238E27FC236}">
                      <a16:creationId xmlns:a16="http://schemas.microsoft.com/office/drawing/2014/main" id="{58E0EB12-6B00-D660-6C5F-2F80A899046F}"/>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9" name="Freeform: Shape 16468">
                  <a:extLst>
                    <a:ext uri="{FF2B5EF4-FFF2-40B4-BE49-F238E27FC236}">
                      <a16:creationId xmlns:a16="http://schemas.microsoft.com/office/drawing/2014/main" id="{061FCBD1-5E6C-9B81-030D-8F5AC324779C}"/>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69" name="Graphic 745">
                <a:extLst>
                  <a:ext uri="{FF2B5EF4-FFF2-40B4-BE49-F238E27FC236}">
                    <a16:creationId xmlns:a16="http://schemas.microsoft.com/office/drawing/2014/main" id="{F521E9CC-D7CA-041D-67F7-7A3C78B1BF72}"/>
                  </a:ext>
                </a:extLst>
              </p:cNvPr>
              <p:cNvGrpSpPr/>
              <p:nvPr/>
            </p:nvGrpSpPr>
            <p:grpSpPr>
              <a:xfrm>
                <a:off x="5234463" y="3624643"/>
                <a:ext cx="75628" cy="75628"/>
                <a:chOff x="5234463" y="3624643"/>
                <a:chExt cx="75628" cy="75628"/>
              </a:xfrm>
            </p:grpSpPr>
            <p:sp>
              <p:nvSpPr>
                <p:cNvPr id="16466" name="Freeform: Shape 16465">
                  <a:extLst>
                    <a:ext uri="{FF2B5EF4-FFF2-40B4-BE49-F238E27FC236}">
                      <a16:creationId xmlns:a16="http://schemas.microsoft.com/office/drawing/2014/main" id="{16D39DD6-03E5-E0CA-8311-49436F1A1BD3}"/>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7" name="Freeform: Shape 16466">
                  <a:extLst>
                    <a:ext uri="{FF2B5EF4-FFF2-40B4-BE49-F238E27FC236}">
                      <a16:creationId xmlns:a16="http://schemas.microsoft.com/office/drawing/2014/main" id="{A546ECF4-228D-8053-9B4D-6FDC5280AA66}"/>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0" name="Graphic 745">
                <a:extLst>
                  <a:ext uri="{FF2B5EF4-FFF2-40B4-BE49-F238E27FC236}">
                    <a16:creationId xmlns:a16="http://schemas.microsoft.com/office/drawing/2014/main" id="{4BB4DA0A-C302-BBFD-F4E9-AF0D4B8C4E54}"/>
                  </a:ext>
                </a:extLst>
              </p:cNvPr>
              <p:cNvGrpSpPr/>
              <p:nvPr/>
            </p:nvGrpSpPr>
            <p:grpSpPr>
              <a:xfrm>
                <a:off x="5591079" y="3728751"/>
                <a:ext cx="75723" cy="75723"/>
                <a:chOff x="5591079" y="3728751"/>
                <a:chExt cx="75723" cy="75723"/>
              </a:xfrm>
            </p:grpSpPr>
            <p:sp>
              <p:nvSpPr>
                <p:cNvPr id="16464" name="Freeform: Shape 16463">
                  <a:extLst>
                    <a:ext uri="{FF2B5EF4-FFF2-40B4-BE49-F238E27FC236}">
                      <a16:creationId xmlns:a16="http://schemas.microsoft.com/office/drawing/2014/main" id="{5A39AA0B-1F54-FA98-F77C-8DB2B184C125}"/>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5" name="Freeform: Shape 16464">
                  <a:extLst>
                    <a:ext uri="{FF2B5EF4-FFF2-40B4-BE49-F238E27FC236}">
                      <a16:creationId xmlns:a16="http://schemas.microsoft.com/office/drawing/2014/main" id="{3AB88D8F-AFDA-7AC8-4BDB-0504F3B55767}"/>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1" name="Graphic 745">
                <a:extLst>
                  <a:ext uri="{FF2B5EF4-FFF2-40B4-BE49-F238E27FC236}">
                    <a16:creationId xmlns:a16="http://schemas.microsoft.com/office/drawing/2014/main" id="{3E5F7F00-2410-50CE-C48A-256E8EAF382D}"/>
                  </a:ext>
                </a:extLst>
              </p:cNvPr>
              <p:cNvGrpSpPr/>
              <p:nvPr/>
            </p:nvGrpSpPr>
            <p:grpSpPr>
              <a:xfrm>
                <a:off x="5602509" y="3737323"/>
                <a:ext cx="75628" cy="75628"/>
                <a:chOff x="5602509" y="3737323"/>
                <a:chExt cx="75628" cy="75628"/>
              </a:xfrm>
            </p:grpSpPr>
            <p:sp>
              <p:nvSpPr>
                <p:cNvPr id="16462" name="Freeform: Shape 16461">
                  <a:extLst>
                    <a:ext uri="{FF2B5EF4-FFF2-40B4-BE49-F238E27FC236}">
                      <a16:creationId xmlns:a16="http://schemas.microsoft.com/office/drawing/2014/main" id="{0312BD2D-2022-55CC-9B19-63E97CF18777}"/>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3" name="Freeform: Shape 16462">
                  <a:extLst>
                    <a:ext uri="{FF2B5EF4-FFF2-40B4-BE49-F238E27FC236}">
                      <a16:creationId xmlns:a16="http://schemas.microsoft.com/office/drawing/2014/main" id="{6208D78B-A8F4-E478-FE05-3902080D7A1A}"/>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2" name="Graphic 745">
                <a:extLst>
                  <a:ext uri="{FF2B5EF4-FFF2-40B4-BE49-F238E27FC236}">
                    <a16:creationId xmlns:a16="http://schemas.microsoft.com/office/drawing/2014/main" id="{8CBC8FB2-D6AD-63AA-B5AF-78471C624D83}"/>
                  </a:ext>
                </a:extLst>
              </p:cNvPr>
              <p:cNvGrpSpPr/>
              <p:nvPr/>
            </p:nvGrpSpPr>
            <p:grpSpPr>
              <a:xfrm>
                <a:off x="5615844" y="3747991"/>
                <a:ext cx="75723" cy="75723"/>
                <a:chOff x="5615844" y="3747991"/>
                <a:chExt cx="75723" cy="75723"/>
              </a:xfrm>
            </p:grpSpPr>
            <p:sp>
              <p:nvSpPr>
                <p:cNvPr id="16460" name="Freeform: Shape 16459">
                  <a:extLst>
                    <a:ext uri="{FF2B5EF4-FFF2-40B4-BE49-F238E27FC236}">
                      <a16:creationId xmlns:a16="http://schemas.microsoft.com/office/drawing/2014/main" id="{953BE5E7-BA55-017F-52F1-8CA9D9F678B8}"/>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61" name="Freeform: Shape 16460">
                  <a:extLst>
                    <a:ext uri="{FF2B5EF4-FFF2-40B4-BE49-F238E27FC236}">
                      <a16:creationId xmlns:a16="http://schemas.microsoft.com/office/drawing/2014/main" id="{447CDB3A-F67C-D8BF-2951-2A6F5317C658}"/>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3" name="Graphic 745">
                <a:extLst>
                  <a:ext uri="{FF2B5EF4-FFF2-40B4-BE49-F238E27FC236}">
                    <a16:creationId xmlns:a16="http://schemas.microsoft.com/office/drawing/2014/main" id="{3816B2C2-04CC-8894-F044-D1D914E71670}"/>
                  </a:ext>
                </a:extLst>
              </p:cNvPr>
              <p:cNvGrpSpPr/>
              <p:nvPr/>
            </p:nvGrpSpPr>
            <p:grpSpPr>
              <a:xfrm>
                <a:off x="5631275" y="3761803"/>
                <a:ext cx="75628" cy="75628"/>
                <a:chOff x="5631275" y="3761803"/>
                <a:chExt cx="75628" cy="75628"/>
              </a:xfrm>
            </p:grpSpPr>
            <p:sp>
              <p:nvSpPr>
                <p:cNvPr id="16458" name="Freeform: Shape 16457">
                  <a:extLst>
                    <a:ext uri="{FF2B5EF4-FFF2-40B4-BE49-F238E27FC236}">
                      <a16:creationId xmlns:a16="http://schemas.microsoft.com/office/drawing/2014/main" id="{1FABC9FC-F926-CC50-47F4-023C5CA8A3F0}"/>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9" name="Freeform: Shape 16458">
                  <a:extLst>
                    <a:ext uri="{FF2B5EF4-FFF2-40B4-BE49-F238E27FC236}">
                      <a16:creationId xmlns:a16="http://schemas.microsoft.com/office/drawing/2014/main" id="{6833E6B9-B0B8-E637-E63E-88DA75155BE0}"/>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4" name="Graphic 745">
                <a:extLst>
                  <a:ext uri="{FF2B5EF4-FFF2-40B4-BE49-F238E27FC236}">
                    <a16:creationId xmlns:a16="http://schemas.microsoft.com/office/drawing/2014/main" id="{103AE7AB-C68D-2577-A991-8D7B09F066FE}"/>
                  </a:ext>
                </a:extLst>
              </p:cNvPr>
              <p:cNvGrpSpPr/>
              <p:nvPr/>
            </p:nvGrpSpPr>
            <p:grpSpPr>
              <a:xfrm>
                <a:off x="5642229" y="3780948"/>
                <a:ext cx="75628" cy="75723"/>
                <a:chOff x="5642229" y="3780948"/>
                <a:chExt cx="75628" cy="75723"/>
              </a:xfrm>
            </p:grpSpPr>
            <p:sp>
              <p:nvSpPr>
                <p:cNvPr id="16456" name="Freeform: Shape 16455">
                  <a:extLst>
                    <a:ext uri="{FF2B5EF4-FFF2-40B4-BE49-F238E27FC236}">
                      <a16:creationId xmlns:a16="http://schemas.microsoft.com/office/drawing/2014/main" id="{F1155E7A-7C5A-CBAD-5794-C6A94B447128}"/>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7" name="Freeform: Shape 16456">
                  <a:extLst>
                    <a:ext uri="{FF2B5EF4-FFF2-40B4-BE49-F238E27FC236}">
                      <a16:creationId xmlns:a16="http://schemas.microsoft.com/office/drawing/2014/main" id="{0CCD2116-A5ED-7A1B-9471-76F074EACA93}"/>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5" name="Graphic 745">
                <a:extLst>
                  <a:ext uri="{FF2B5EF4-FFF2-40B4-BE49-F238E27FC236}">
                    <a16:creationId xmlns:a16="http://schemas.microsoft.com/office/drawing/2014/main" id="{BF11A7D3-CB89-2409-7279-E2E370FE578A}"/>
                  </a:ext>
                </a:extLst>
              </p:cNvPr>
              <p:cNvGrpSpPr/>
              <p:nvPr/>
            </p:nvGrpSpPr>
            <p:grpSpPr>
              <a:xfrm>
                <a:off x="5649753" y="3792664"/>
                <a:ext cx="75723" cy="75723"/>
                <a:chOff x="5649753" y="3792664"/>
                <a:chExt cx="75723" cy="75723"/>
              </a:xfrm>
            </p:grpSpPr>
            <p:sp>
              <p:nvSpPr>
                <p:cNvPr id="16454" name="Freeform: Shape 16453">
                  <a:extLst>
                    <a:ext uri="{FF2B5EF4-FFF2-40B4-BE49-F238E27FC236}">
                      <a16:creationId xmlns:a16="http://schemas.microsoft.com/office/drawing/2014/main" id="{66EC97B4-91D8-3E36-5662-F81948D84854}"/>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5" name="Freeform: Shape 16454">
                  <a:extLst>
                    <a:ext uri="{FF2B5EF4-FFF2-40B4-BE49-F238E27FC236}">
                      <a16:creationId xmlns:a16="http://schemas.microsoft.com/office/drawing/2014/main" id="{C409AD58-54E7-F7BE-0DA5-DECEB7214D71}"/>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6" name="Graphic 745">
                <a:extLst>
                  <a:ext uri="{FF2B5EF4-FFF2-40B4-BE49-F238E27FC236}">
                    <a16:creationId xmlns:a16="http://schemas.microsoft.com/office/drawing/2014/main" id="{59B25C5D-95CD-533D-D7D9-F966C05D8190}"/>
                  </a:ext>
                </a:extLst>
              </p:cNvPr>
              <p:cNvGrpSpPr/>
              <p:nvPr/>
            </p:nvGrpSpPr>
            <p:grpSpPr>
              <a:xfrm>
                <a:off x="5666803" y="3792664"/>
                <a:ext cx="75723" cy="75723"/>
                <a:chOff x="5666803" y="3792664"/>
                <a:chExt cx="75723" cy="75723"/>
              </a:xfrm>
            </p:grpSpPr>
            <p:sp>
              <p:nvSpPr>
                <p:cNvPr id="16452" name="Freeform: Shape 16451">
                  <a:extLst>
                    <a:ext uri="{FF2B5EF4-FFF2-40B4-BE49-F238E27FC236}">
                      <a16:creationId xmlns:a16="http://schemas.microsoft.com/office/drawing/2014/main" id="{B9F1239A-DCC9-FCF8-CB3F-BDAE06EB0681}"/>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3" name="Freeform: Shape 16452">
                  <a:extLst>
                    <a:ext uri="{FF2B5EF4-FFF2-40B4-BE49-F238E27FC236}">
                      <a16:creationId xmlns:a16="http://schemas.microsoft.com/office/drawing/2014/main" id="{51ACDF6E-2A6E-9A74-A901-5BBDC4B7E7EC}"/>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7" name="Graphic 745">
                <a:extLst>
                  <a:ext uri="{FF2B5EF4-FFF2-40B4-BE49-F238E27FC236}">
                    <a16:creationId xmlns:a16="http://schemas.microsoft.com/office/drawing/2014/main" id="{5D13887E-D644-5A06-50DC-59E940A05EB2}"/>
                  </a:ext>
                </a:extLst>
              </p:cNvPr>
              <p:cNvGrpSpPr/>
              <p:nvPr/>
            </p:nvGrpSpPr>
            <p:grpSpPr>
              <a:xfrm>
                <a:off x="5680043" y="3792664"/>
                <a:ext cx="75723" cy="75723"/>
                <a:chOff x="5680043" y="3792664"/>
                <a:chExt cx="75723" cy="75723"/>
              </a:xfrm>
            </p:grpSpPr>
            <p:sp>
              <p:nvSpPr>
                <p:cNvPr id="16450" name="Freeform: Shape 16449">
                  <a:extLst>
                    <a:ext uri="{FF2B5EF4-FFF2-40B4-BE49-F238E27FC236}">
                      <a16:creationId xmlns:a16="http://schemas.microsoft.com/office/drawing/2014/main" id="{A014EBDE-2622-D6AF-0300-BED468897352}"/>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51" name="Freeform: Shape 16450">
                  <a:extLst>
                    <a:ext uri="{FF2B5EF4-FFF2-40B4-BE49-F238E27FC236}">
                      <a16:creationId xmlns:a16="http://schemas.microsoft.com/office/drawing/2014/main" id="{1F01246C-1D17-56DD-6B5D-04EF367C2F61}"/>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8" name="Graphic 745">
                <a:extLst>
                  <a:ext uri="{FF2B5EF4-FFF2-40B4-BE49-F238E27FC236}">
                    <a16:creationId xmlns:a16="http://schemas.microsoft.com/office/drawing/2014/main" id="{75077483-2F04-623F-9869-369441711540}"/>
                  </a:ext>
                </a:extLst>
              </p:cNvPr>
              <p:cNvGrpSpPr/>
              <p:nvPr/>
            </p:nvGrpSpPr>
            <p:grpSpPr>
              <a:xfrm>
                <a:off x="5972937" y="3841051"/>
                <a:ext cx="75723" cy="75723"/>
                <a:chOff x="5972937" y="3841051"/>
                <a:chExt cx="75723" cy="75723"/>
              </a:xfrm>
            </p:grpSpPr>
            <p:sp>
              <p:nvSpPr>
                <p:cNvPr id="16448" name="Freeform: Shape 16447">
                  <a:extLst>
                    <a:ext uri="{FF2B5EF4-FFF2-40B4-BE49-F238E27FC236}">
                      <a16:creationId xmlns:a16="http://schemas.microsoft.com/office/drawing/2014/main" id="{0A1BFE9C-B8DB-CFD0-1BF2-8BDF6AABADA4}"/>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49" name="Freeform: Shape 16448">
                  <a:extLst>
                    <a:ext uri="{FF2B5EF4-FFF2-40B4-BE49-F238E27FC236}">
                      <a16:creationId xmlns:a16="http://schemas.microsoft.com/office/drawing/2014/main" id="{5CD77DF9-D966-AAA1-2366-60ED1FEAB68C}"/>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79" name="Graphic 745">
                <a:extLst>
                  <a:ext uri="{FF2B5EF4-FFF2-40B4-BE49-F238E27FC236}">
                    <a16:creationId xmlns:a16="http://schemas.microsoft.com/office/drawing/2014/main" id="{4AFE8E8D-6D48-944D-3A3C-DB80ED66BA62}"/>
                  </a:ext>
                </a:extLst>
              </p:cNvPr>
              <p:cNvGrpSpPr/>
              <p:nvPr/>
            </p:nvGrpSpPr>
            <p:grpSpPr>
              <a:xfrm>
                <a:off x="6008560" y="3841051"/>
                <a:ext cx="75723" cy="75723"/>
                <a:chOff x="6008560" y="3841051"/>
                <a:chExt cx="75723" cy="75723"/>
              </a:xfrm>
            </p:grpSpPr>
            <p:sp>
              <p:nvSpPr>
                <p:cNvPr id="16318" name="Freeform: Shape 16317">
                  <a:extLst>
                    <a:ext uri="{FF2B5EF4-FFF2-40B4-BE49-F238E27FC236}">
                      <a16:creationId xmlns:a16="http://schemas.microsoft.com/office/drawing/2014/main" id="{5659B4E7-E2A8-0D0F-8248-2C278B9C9938}"/>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9" name="Freeform: Shape 16318">
                  <a:extLst>
                    <a:ext uri="{FF2B5EF4-FFF2-40B4-BE49-F238E27FC236}">
                      <a16:creationId xmlns:a16="http://schemas.microsoft.com/office/drawing/2014/main" id="{2F15B71B-F648-41AA-1557-0530686A3AC3}"/>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0" name="Graphic 745">
                <a:extLst>
                  <a:ext uri="{FF2B5EF4-FFF2-40B4-BE49-F238E27FC236}">
                    <a16:creationId xmlns:a16="http://schemas.microsoft.com/office/drawing/2014/main" id="{82F6F661-95FD-D0C5-0AFD-E35A74F18D96}"/>
                  </a:ext>
                </a:extLst>
              </p:cNvPr>
              <p:cNvGrpSpPr/>
              <p:nvPr/>
            </p:nvGrpSpPr>
            <p:grpSpPr>
              <a:xfrm>
                <a:off x="6024848" y="3841051"/>
                <a:ext cx="75628" cy="75723"/>
                <a:chOff x="6024848" y="3841051"/>
                <a:chExt cx="75628" cy="75723"/>
              </a:xfrm>
            </p:grpSpPr>
            <p:sp>
              <p:nvSpPr>
                <p:cNvPr id="16316" name="Freeform: Shape 16315">
                  <a:extLst>
                    <a:ext uri="{FF2B5EF4-FFF2-40B4-BE49-F238E27FC236}">
                      <a16:creationId xmlns:a16="http://schemas.microsoft.com/office/drawing/2014/main" id="{E6144705-39F5-3B6C-B1EB-537ED6BFAEFD}"/>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7" name="Freeform: Shape 16316">
                  <a:extLst>
                    <a:ext uri="{FF2B5EF4-FFF2-40B4-BE49-F238E27FC236}">
                      <a16:creationId xmlns:a16="http://schemas.microsoft.com/office/drawing/2014/main" id="{2B319B65-AAA4-76E9-78DD-0E7EFE3AC583}"/>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1" name="Graphic 745">
                <a:extLst>
                  <a:ext uri="{FF2B5EF4-FFF2-40B4-BE49-F238E27FC236}">
                    <a16:creationId xmlns:a16="http://schemas.microsoft.com/office/drawing/2014/main" id="{AFC8FD24-96D5-DD8A-73CC-9421AE8AE25F}"/>
                  </a:ext>
                </a:extLst>
              </p:cNvPr>
              <p:cNvGrpSpPr/>
              <p:nvPr/>
            </p:nvGrpSpPr>
            <p:grpSpPr>
              <a:xfrm>
                <a:off x="6036564" y="3841051"/>
                <a:ext cx="75723" cy="75723"/>
                <a:chOff x="6036564" y="3841051"/>
                <a:chExt cx="75723" cy="75723"/>
              </a:xfrm>
            </p:grpSpPr>
            <p:sp>
              <p:nvSpPr>
                <p:cNvPr id="16314" name="Freeform: Shape 16313">
                  <a:extLst>
                    <a:ext uri="{FF2B5EF4-FFF2-40B4-BE49-F238E27FC236}">
                      <a16:creationId xmlns:a16="http://schemas.microsoft.com/office/drawing/2014/main" id="{65F5C572-9E28-26AE-BC62-0CA5CBDE4CEA}"/>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5" name="Freeform: Shape 16314">
                  <a:extLst>
                    <a:ext uri="{FF2B5EF4-FFF2-40B4-BE49-F238E27FC236}">
                      <a16:creationId xmlns:a16="http://schemas.microsoft.com/office/drawing/2014/main" id="{001AAC4D-0487-F3D8-2E96-6E6B2414A3A2}"/>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6" name="Graphic 745">
                <a:extLst>
                  <a:ext uri="{FF2B5EF4-FFF2-40B4-BE49-F238E27FC236}">
                    <a16:creationId xmlns:a16="http://schemas.microsoft.com/office/drawing/2014/main" id="{CFAA1249-253D-E885-15FF-FEFD19A10D05}"/>
                  </a:ext>
                </a:extLst>
              </p:cNvPr>
              <p:cNvGrpSpPr/>
              <p:nvPr/>
            </p:nvGrpSpPr>
            <p:grpSpPr>
              <a:xfrm>
                <a:off x="6052756" y="3871435"/>
                <a:ext cx="75723" cy="75723"/>
                <a:chOff x="6052756" y="3871435"/>
                <a:chExt cx="75723" cy="75723"/>
              </a:xfrm>
            </p:grpSpPr>
            <p:sp>
              <p:nvSpPr>
                <p:cNvPr id="16312" name="Freeform: Shape 16311">
                  <a:extLst>
                    <a:ext uri="{FF2B5EF4-FFF2-40B4-BE49-F238E27FC236}">
                      <a16:creationId xmlns:a16="http://schemas.microsoft.com/office/drawing/2014/main" id="{1B49F7A4-AC3E-054F-DE1E-B532289DD2F7}"/>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3" name="Freeform: Shape 16312">
                  <a:extLst>
                    <a:ext uri="{FF2B5EF4-FFF2-40B4-BE49-F238E27FC236}">
                      <a16:creationId xmlns:a16="http://schemas.microsoft.com/office/drawing/2014/main" id="{43A31557-771D-551E-070C-E60194D6FB08}"/>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7" name="Graphic 745">
                <a:extLst>
                  <a:ext uri="{FF2B5EF4-FFF2-40B4-BE49-F238E27FC236}">
                    <a16:creationId xmlns:a16="http://schemas.microsoft.com/office/drawing/2014/main" id="{7B15B9CB-6226-98B3-B77F-C8ABAC4343FC}"/>
                  </a:ext>
                </a:extLst>
              </p:cNvPr>
              <p:cNvGrpSpPr/>
              <p:nvPr/>
            </p:nvGrpSpPr>
            <p:grpSpPr>
              <a:xfrm>
                <a:off x="6066567" y="3871435"/>
                <a:ext cx="75723" cy="75723"/>
                <a:chOff x="6066567" y="3871435"/>
                <a:chExt cx="75723" cy="75723"/>
              </a:xfrm>
            </p:grpSpPr>
            <p:sp>
              <p:nvSpPr>
                <p:cNvPr id="16310" name="Freeform: Shape 16309">
                  <a:extLst>
                    <a:ext uri="{FF2B5EF4-FFF2-40B4-BE49-F238E27FC236}">
                      <a16:creationId xmlns:a16="http://schemas.microsoft.com/office/drawing/2014/main" id="{43BE8D49-DD29-CE8C-4367-8CFB40B8D351}"/>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11" name="Freeform: Shape 16310">
                  <a:extLst>
                    <a:ext uri="{FF2B5EF4-FFF2-40B4-BE49-F238E27FC236}">
                      <a16:creationId xmlns:a16="http://schemas.microsoft.com/office/drawing/2014/main" id="{4432205D-2834-EB89-3F91-CF8D2D8F6C09}"/>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8" name="Graphic 745">
                <a:extLst>
                  <a:ext uri="{FF2B5EF4-FFF2-40B4-BE49-F238E27FC236}">
                    <a16:creationId xmlns:a16="http://schemas.microsoft.com/office/drawing/2014/main" id="{F6A060A6-3467-20F0-62D0-3A2522A0256F}"/>
                  </a:ext>
                </a:extLst>
              </p:cNvPr>
              <p:cNvGrpSpPr/>
              <p:nvPr/>
            </p:nvGrpSpPr>
            <p:grpSpPr>
              <a:xfrm>
                <a:off x="6074378" y="3888104"/>
                <a:ext cx="75723" cy="75628"/>
                <a:chOff x="6074378" y="3888104"/>
                <a:chExt cx="75723" cy="75628"/>
              </a:xfrm>
            </p:grpSpPr>
            <p:sp>
              <p:nvSpPr>
                <p:cNvPr id="16308" name="Freeform: Shape 16307">
                  <a:extLst>
                    <a:ext uri="{FF2B5EF4-FFF2-40B4-BE49-F238E27FC236}">
                      <a16:creationId xmlns:a16="http://schemas.microsoft.com/office/drawing/2014/main" id="{F61C773E-CC3C-599F-4282-E7C2D6FFAC92}"/>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9" name="Freeform: Shape 16308">
                  <a:extLst>
                    <a:ext uri="{FF2B5EF4-FFF2-40B4-BE49-F238E27FC236}">
                      <a16:creationId xmlns:a16="http://schemas.microsoft.com/office/drawing/2014/main" id="{CB5351F2-422E-3967-FE3A-FEC3EA5697B4}"/>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9" name="Graphic 745">
                <a:extLst>
                  <a:ext uri="{FF2B5EF4-FFF2-40B4-BE49-F238E27FC236}">
                    <a16:creationId xmlns:a16="http://schemas.microsoft.com/office/drawing/2014/main" id="{EE476724-91E1-5B2B-9F4D-229C55E4DDAC}"/>
                  </a:ext>
                </a:extLst>
              </p:cNvPr>
              <p:cNvGrpSpPr/>
              <p:nvPr/>
            </p:nvGrpSpPr>
            <p:grpSpPr>
              <a:xfrm>
                <a:off x="6088856" y="3909345"/>
                <a:ext cx="75723" cy="75628"/>
                <a:chOff x="6088856" y="3909345"/>
                <a:chExt cx="75723" cy="75628"/>
              </a:xfrm>
            </p:grpSpPr>
            <p:sp>
              <p:nvSpPr>
                <p:cNvPr id="16306" name="Freeform: Shape 16305">
                  <a:extLst>
                    <a:ext uri="{FF2B5EF4-FFF2-40B4-BE49-F238E27FC236}">
                      <a16:creationId xmlns:a16="http://schemas.microsoft.com/office/drawing/2014/main" id="{B9DC96A0-E880-0288-0C41-1DED11649936}"/>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7" name="Freeform: Shape 16306">
                  <a:extLst>
                    <a:ext uri="{FF2B5EF4-FFF2-40B4-BE49-F238E27FC236}">
                      <a16:creationId xmlns:a16="http://schemas.microsoft.com/office/drawing/2014/main" id="{2A6931E8-0CC4-62FD-83EA-1E12B7062112}"/>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0" name="Graphic 745">
                <a:extLst>
                  <a:ext uri="{FF2B5EF4-FFF2-40B4-BE49-F238E27FC236}">
                    <a16:creationId xmlns:a16="http://schemas.microsoft.com/office/drawing/2014/main" id="{EF32358E-7618-E445-2DFF-0B0A8A38A229}"/>
                  </a:ext>
                </a:extLst>
              </p:cNvPr>
              <p:cNvGrpSpPr/>
              <p:nvPr/>
            </p:nvGrpSpPr>
            <p:grpSpPr>
              <a:xfrm>
                <a:off x="6112287" y="3909345"/>
                <a:ext cx="75628" cy="75628"/>
                <a:chOff x="6112287" y="3909345"/>
                <a:chExt cx="75628" cy="75628"/>
              </a:xfrm>
            </p:grpSpPr>
            <p:sp>
              <p:nvSpPr>
                <p:cNvPr id="16304" name="Freeform: Shape 16303">
                  <a:extLst>
                    <a:ext uri="{FF2B5EF4-FFF2-40B4-BE49-F238E27FC236}">
                      <a16:creationId xmlns:a16="http://schemas.microsoft.com/office/drawing/2014/main" id="{F8A64665-FA53-CE0F-176A-333337513470}"/>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5" name="Freeform: Shape 16304">
                  <a:extLst>
                    <a:ext uri="{FF2B5EF4-FFF2-40B4-BE49-F238E27FC236}">
                      <a16:creationId xmlns:a16="http://schemas.microsoft.com/office/drawing/2014/main" id="{6CD7EBBF-8E64-3A94-CEFE-6FF6B6C77446}"/>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1" name="Graphic 745">
                <a:extLst>
                  <a:ext uri="{FF2B5EF4-FFF2-40B4-BE49-F238E27FC236}">
                    <a16:creationId xmlns:a16="http://schemas.microsoft.com/office/drawing/2014/main" id="{2C4C586F-F7EE-29F8-22F3-4F68767BE87C}"/>
                  </a:ext>
                </a:extLst>
              </p:cNvPr>
              <p:cNvGrpSpPr/>
              <p:nvPr/>
            </p:nvGrpSpPr>
            <p:grpSpPr>
              <a:xfrm>
                <a:off x="6100476" y="3909345"/>
                <a:ext cx="75723" cy="75628"/>
                <a:chOff x="6100476" y="3909345"/>
                <a:chExt cx="75723" cy="75628"/>
              </a:xfrm>
            </p:grpSpPr>
            <p:sp>
              <p:nvSpPr>
                <p:cNvPr id="16302" name="Freeform: Shape 16301">
                  <a:extLst>
                    <a:ext uri="{FF2B5EF4-FFF2-40B4-BE49-F238E27FC236}">
                      <a16:creationId xmlns:a16="http://schemas.microsoft.com/office/drawing/2014/main" id="{5A2D2AA2-3703-6DA1-4543-857F76B9F27C}"/>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3" name="Freeform: Shape 16302">
                  <a:extLst>
                    <a:ext uri="{FF2B5EF4-FFF2-40B4-BE49-F238E27FC236}">
                      <a16:creationId xmlns:a16="http://schemas.microsoft.com/office/drawing/2014/main" id="{8A9BA099-A509-AAE9-BB8B-9EB1F46B2628}"/>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2" name="Graphic 745">
                <a:extLst>
                  <a:ext uri="{FF2B5EF4-FFF2-40B4-BE49-F238E27FC236}">
                    <a16:creationId xmlns:a16="http://schemas.microsoft.com/office/drawing/2014/main" id="{C3CB8123-7344-B1C0-2BF8-3AD76FDB7EED}"/>
                  </a:ext>
                </a:extLst>
              </p:cNvPr>
              <p:cNvGrpSpPr/>
              <p:nvPr/>
            </p:nvGrpSpPr>
            <p:grpSpPr>
              <a:xfrm>
                <a:off x="6900100" y="4071937"/>
                <a:ext cx="75723" cy="75723"/>
                <a:chOff x="6900100" y="4071937"/>
                <a:chExt cx="75723" cy="75723"/>
              </a:xfrm>
            </p:grpSpPr>
            <p:sp>
              <p:nvSpPr>
                <p:cNvPr id="16300" name="Freeform: Shape 16299">
                  <a:extLst>
                    <a:ext uri="{FF2B5EF4-FFF2-40B4-BE49-F238E27FC236}">
                      <a16:creationId xmlns:a16="http://schemas.microsoft.com/office/drawing/2014/main" id="{9581A55F-080D-A27E-B2E4-F60CEB816283}"/>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01" name="Freeform: Shape 16300">
                  <a:extLst>
                    <a:ext uri="{FF2B5EF4-FFF2-40B4-BE49-F238E27FC236}">
                      <a16:creationId xmlns:a16="http://schemas.microsoft.com/office/drawing/2014/main" id="{57868613-39FE-7225-0FFE-BF5EEE38719D}"/>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3" name="Graphic 745">
                <a:extLst>
                  <a:ext uri="{FF2B5EF4-FFF2-40B4-BE49-F238E27FC236}">
                    <a16:creationId xmlns:a16="http://schemas.microsoft.com/office/drawing/2014/main" id="{07679403-26CE-50AF-21DB-E792B3D344BC}"/>
                  </a:ext>
                </a:extLst>
              </p:cNvPr>
              <p:cNvGrpSpPr/>
              <p:nvPr/>
            </p:nvGrpSpPr>
            <p:grpSpPr>
              <a:xfrm>
                <a:off x="6962298" y="4156328"/>
                <a:ext cx="75723" cy="75628"/>
                <a:chOff x="6962298" y="4156328"/>
                <a:chExt cx="75723" cy="75628"/>
              </a:xfrm>
            </p:grpSpPr>
            <p:sp>
              <p:nvSpPr>
                <p:cNvPr id="16298" name="Freeform: Shape 16297">
                  <a:extLst>
                    <a:ext uri="{FF2B5EF4-FFF2-40B4-BE49-F238E27FC236}">
                      <a16:creationId xmlns:a16="http://schemas.microsoft.com/office/drawing/2014/main" id="{E5FE7337-533B-2F16-DE37-2DB261B87933}"/>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9" name="Freeform: Shape 16298">
                  <a:extLst>
                    <a:ext uri="{FF2B5EF4-FFF2-40B4-BE49-F238E27FC236}">
                      <a16:creationId xmlns:a16="http://schemas.microsoft.com/office/drawing/2014/main" id="{983A712F-8F56-1C2B-A72E-2A715506F39A}"/>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4" name="Graphic 745">
                <a:extLst>
                  <a:ext uri="{FF2B5EF4-FFF2-40B4-BE49-F238E27FC236}">
                    <a16:creationId xmlns:a16="http://schemas.microsoft.com/office/drawing/2014/main" id="{54CB86BF-D27A-51FF-2906-7085FF2A0CB4}"/>
                  </a:ext>
                </a:extLst>
              </p:cNvPr>
              <p:cNvGrpSpPr/>
              <p:nvPr/>
            </p:nvGrpSpPr>
            <p:grpSpPr>
              <a:xfrm>
                <a:off x="6946773" y="4131087"/>
                <a:ext cx="75723" cy="75628"/>
                <a:chOff x="6946773" y="4131087"/>
                <a:chExt cx="75723" cy="75628"/>
              </a:xfrm>
            </p:grpSpPr>
            <p:sp>
              <p:nvSpPr>
                <p:cNvPr id="16296" name="Freeform: Shape 16295">
                  <a:extLst>
                    <a:ext uri="{FF2B5EF4-FFF2-40B4-BE49-F238E27FC236}">
                      <a16:creationId xmlns:a16="http://schemas.microsoft.com/office/drawing/2014/main" id="{679F6AB2-2F82-B164-4EDC-74509D6B46DC}"/>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7" name="Freeform: Shape 16296">
                  <a:extLst>
                    <a:ext uri="{FF2B5EF4-FFF2-40B4-BE49-F238E27FC236}">
                      <a16:creationId xmlns:a16="http://schemas.microsoft.com/office/drawing/2014/main" id="{7B7CEE93-C17B-3EB4-2337-C6244DF32471}"/>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5" name="Graphic 745">
                <a:extLst>
                  <a:ext uri="{FF2B5EF4-FFF2-40B4-BE49-F238E27FC236}">
                    <a16:creationId xmlns:a16="http://schemas.microsoft.com/office/drawing/2014/main" id="{567AB0D7-275B-0EB1-EDC1-E1EFC0FB8E25}"/>
                  </a:ext>
                </a:extLst>
              </p:cNvPr>
              <p:cNvGrpSpPr/>
              <p:nvPr/>
            </p:nvGrpSpPr>
            <p:grpSpPr>
              <a:xfrm>
                <a:off x="6926865" y="4104322"/>
                <a:ext cx="75723" cy="75723"/>
                <a:chOff x="6926865" y="4104322"/>
                <a:chExt cx="75723" cy="75723"/>
              </a:xfrm>
            </p:grpSpPr>
            <p:sp>
              <p:nvSpPr>
                <p:cNvPr id="16294" name="Freeform: Shape 16293">
                  <a:extLst>
                    <a:ext uri="{FF2B5EF4-FFF2-40B4-BE49-F238E27FC236}">
                      <a16:creationId xmlns:a16="http://schemas.microsoft.com/office/drawing/2014/main" id="{3839328F-046C-F52C-23C3-97EB7B17E21C}"/>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5" name="Freeform: Shape 16294">
                  <a:extLst>
                    <a:ext uri="{FF2B5EF4-FFF2-40B4-BE49-F238E27FC236}">
                      <a16:creationId xmlns:a16="http://schemas.microsoft.com/office/drawing/2014/main" id="{D8CBBA5A-1B3F-F9AF-BF74-E1E98B712110}"/>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6" name="Graphic 745">
                <a:extLst>
                  <a:ext uri="{FF2B5EF4-FFF2-40B4-BE49-F238E27FC236}">
                    <a16:creationId xmlns:a16="http://schemas.microsoft.com/office/drawing/2014/main" id="{32642321-FD5E-3166-EB57-1488620CA59E}"/>
                  </a:ext>
                </a:extLst>
              </p:cNvPr>
              <p:cNvGrpSpPr/>
              <p:nvPr/>
            </p:nvGrpSpPr>
            <p:grpSpPr>
              <a:xfrm>
                <a:off x="6912864" y="4104322"/>
                <a:ext cx="75723" cy="75723"/>
                <a:chOff x="6912864" y="4104322"/>
                <a:chExt cx="75723" cy="75723"/>
              </a:xfrm>
            </p:grpSpPr>
            <p:sp>
              <p:nvSpPr>
                <p:cNvPr id="16292" name="Freeform: Shape 16291">
                  <a:extLst>
                    <a:ext uri="{FF2B5EF4-FFF2-40B4-BE49-F238E27FC236}">
                      <a16:creationId xmlns:a16="http://schemas.microsoft.com/office/drawing/2014/main" id="{8A986BBA-C0B3-2767-DE78-DE28AF737910}"/>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3" name="Freeform: Shape 16292">
                  <a:extLst>
                    <a:ext uri="{FF2B5EF4-FFF2-40B4-BE49-F238E27FC236}">
                      <a16:creationId xmlns:a16="http://schemas.microsoft.com/office/drawing/2014/main" id="{3AEE0F73-CE6A-0347-4139-611B79620FA7}"/>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7" name="Graphic 745">
                <a:extLst>
                  <a:ext uri="{FF2B5EF4-FFF2-40B4-BE49-F238E27FC236}">
                    <a16:creationId xmlns:a16="http://schemas.microsoft.com/office/drawing/2014/main" id="{93744AE6-2005-A222-286E-D55E34DEB523}"/>
                  </a:ext>
                </a:extLst>
              </p:cNvPr>
              <p:cNvGrpSpPr/>
              <p:nvPr/>
            </p:nvGrpSpPr>
            <p:grpSpPr>
              <a:xfrm>
                <a:off x="7032117" y="4185284"/>
                <a:ext cx="75723" cy="75723"/>
                <a:chOff x="7032117" y="4185284"/>
                <a:chExt cx="75723" cy="75723"/>
              </a:xfrm>
            </p:grpSpPr>
            <p:sp>
              <p:nvSpPr>
                <p:cNvPr id="16290" name="Freeform: Shape 16289">
                  <a:extLst>
                    <a:ext uri="{FF2B5EF4-FFF2-40B4-BE49-F238E27FC236}">
                      <a16:creationId xmlns:a16="http://schemas.microsoft.com/office/drawing/2014/main" id="{9CB4456B-5B3F-70E9-E924-3DD4E6B9D829}"/>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91" name="Freeform: Shape 16290">
                  <a:extLst>
                    <a:ext uri="{FF2B5EF4-FFF2-40B4-BE49-F238E27FC236}">
                      <a16:creationId xmlns:a16="http://schemas.microsoft.com/office/drawing/2014/main" id="{832E6EB3-29C9-FD10-EDD9-7CE6570715CC}"/>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8" name="Graphic 745">
                <a:extLst>
                  <a:ext uri="{FF2B5EF4-FFF2-40B4-BE49-F238E27FC236}">
                    <a16:creationId xmlns:a16="http://schemas.microsoft.com/office/drawing/2014/main" id="{191DA086-A80D-4CDD-AE31-84B49C4589B1}"/>
                  </a:ext>
                </a:extLst>
              </p:cNvPr>
              <p:cNvGrpSpPr/>
              <p:nvPr/>
            </p:nvGrpSpPr>
            <p:grpSpPr>
              <a:xfrm>
                <a:off x="7742872" y="4275772"/>
                <a:ext cx="75723" cy="75723"/>
                <a:chOff x="7742872" y="4275772"/>
                <a:chExt cx="75723" cy="75723"/>
              </a:xfrm>
            </p:grpSpPr>
            <p:sp>
              <p:nvSpPr>
                <p:cNvPr id="16288" name="Freeform: Shape 16287">
                  <a:extLst>
                    <a:ext uri="{FF2B5EF4-FFF2-40B4-BE49-F238E27FC236}">
                      <a16:creationId xmlns:a16="http://schemas.microsoft.com/office/drawing/2014/main" id="{213331C9-D1F1-CF3A-27A1-BDAB5E9FE865}"/>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9" name="Freeform: Shape 16288">
                  <a:extLst>
                    <a:ext uri="{FF2B5EF4-FFF2-40B4-BE49-F238E27FC236}">
                      <a16:creationId xmlns:a16="http://schemas.microsoft.com/office/drawing/2014/main" id="{43E2FDB3-0400-FDCE-7D89-832185EF1854}"/>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9" name="Graphic 745">
                <a:extLst>
                  <a:ext uri="{FF2B5EF4-FFF2-40B4-BE49-F238E27FC236}">
                    <a16:creationId xmlns:a16="http://schemas.microsoft.com/office/drawing/2014/main" id="{DE676D90-1C42-C5A6-0EAD-25DFF428DB4C}"/>
                  </a:ext>
                </a:extLst>
              </p:cNvPr>
              <p:cNvGrpSpPr/>
              <p:nvPr/>
            </p:nvGrpSpPr>
            <p:grpSpPr>
              <a:xfrm>
                <a:off x="7766399" y="4275772"/>
                <a:ext cx="75628" cy="75723"/>
                <a:chOff x="7766399" y="4275772"/>
                <a:chExt cx="75628" cy="75723"/>
              </a:xfrm>
            </p:grpSpPr>
            <p:sp>
              <p:nvSpPr>
                <p:cNvPr id="16286" name="Freeform: Shape 16285">
                  <a:extLst>
                    <a:ext uri="{FF2B5EF4-FFF2-40B4-BE49-F238E27FC236}">
                      <a16:creationId xmlns:a16="http://schemas.microsoft.com/office/drawing/2014/main" id="{948A9CCC-6136-FB39-E3D0-D81FFE1A4D26}"/>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7" name="Freeform: Shape 16286">
                  <a:extLst>
                    <a:ext uri="{FF2B5EF4-FFF2-40B4-BE49-F238E27FC236}">
                      <a16:creationId xmlns:a16="http://schemas.microsoft.com/office/drawing/2014/main" id="{36677D10-643E-D1E8-BA1E-BE2A7D0EA3D8}"/>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0" name="Graphic 745">
                <a:extLst>
                  <a:ext uri="{FF2B5EF4-FFF2-40B4-BE49-F238E27FC236}">
                    <a16:creationId xmlns:a16="http://schemas.microsoft.com/office/drawing/2014/main" id="{68001ECC-0390-7683-1691-AB4B06DE8B85}"/>
                  </a:ext>
                </a:extLst>
              </p:cNvPr>
              <p:cNvGrpSpPr/>
              <p:nvPr/>
            </p:nvGrpSpPr>
            <p:grpSpPr>
              <a:xfrm>
                <a:off x="7787449" y="4275772"/>
                <a:ext cx="75723" cy="75723"/>
                <a:chOff x="7787449" y="4275772"/>
                <a:chExt cx="75723" cy="75723"/>
              </a:xfrm>
            </p:grpSpPr>
            <p:sp>
              <p:nvSpPr>
                <p:cNvPr id="16284" name="Freeform: Shape 16283">
                  <a:extLst>
                    <a:ext uri="{FF2B5EF4-FFF2-40B4-BE49-F238E27FC236}">
                      <a16:creationId xmlns:a16="http://schemas.microsoft.com/office/drawing/2014/main" id="{F0673F19-D52F-5628-BE4D-B52126208F51}"/>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5" name="Freeform: Shape 16284">
                  <a:extLst>
                    <a:ext uri="{FF2B5EF4-FFF2-40B4-BE49-F238E27FC236}">
                      <a16:creationId xmlns:a16="http://schemas.microsoft.com/office/drawing/2014/main" id="{B3525BA5-2B50-232A-DC79-4DD443FFC0B4}"/>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1" name="Graphic 745">
                <a:extLst>
                  <a:ext uri="{FF2B5EF4-FFF2-40B4-BE49-F238E27FC236}">
                    <a16:creationId xmlns:a16="http://schemas.microsoft.com/office/drawing/2014/main" id="{C6EA2FE5-9496-B28C-5363-D57C7D7728DA}"/>
                  </a:ext>
                </a:extLst>
              </p:cNvPr>
              <p:cNvGrpSpPr/>
              <p:nvPr/>
            </p:nvGrpSpPr>
            <p:grpSpPr>
              <a:xfrm>
                <a:off x="7793545" y="4275772"/>
                <a:ext cx="75628" cy="75723"/>
                <a:chOff x="7793545" y="4275772"/>
                <a:chExt cx="75628" cy="75723"/>
              </a:xfrm>
            </p:grpSpPr>
            <p:sp>
              <p:nvSpPr>
                <p:cNvPr id="16282" name="Freeform: Shape 16281">
                  <a:extLst>
                    <a:ext uri="{FF2B5EF4-FFF2-40B4-BE49-F238E27FC236}">
                      <a16:creationId xmlns:a16="http://schemas.microsoft.com/office/drawing/2014/main" id="{F40DCBF0-5AF2-595F-EAAF-8BAE20F3B88A}"/>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3" name="Freeform: Shape 16282">
                  <a:extLst>
                    <a:ext uri="{FF2B5EF4-FFF2-40B4-BE49-F238E27FC236}">
                      <a16:creationId xmlns:a16="http://schemas.microsoft.com/office/drawing/2014/main" id="{70740861-8AB3-7D0E-D65E-CC1700E01533}"/>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2" name="Graphic 745">
                <a:extLst>
                  <a:ext uri="{FF2B5EF4-FFF2-40B4-BE49-F238E27FC236}">
                    <a16:creationId xmlns:a16="http://schemas.microsoft.com/office/drawing/2014/main" id="{E22BB59D-EB04-B3E6-5DDA-D16DFE33513B}"/>
                  </a:ext>
                </a:extLst>
              </p:cNvPr>
              <p:cNvGrpSpPr/>
              <p:nvPr/>
            </p:nvGrpSpPr>
            <p:grpSpPr>
              <a:xfrm>
                <a:off x="7821453" y="4275772"/>
                <a:ext cx="75723" cy="75723"/>
                <a:chOff x="7821453" y="4275772"/>
                <a:chExt cx="75723" cy="75723"/>
              </a:xfrm>
            </p:grpSpPr>
            <p:sp>
              <p:nvSpPr>
                <p:cNvPr id="16280" name="Freeform: Shape 16279">
                  <a:extLst>
                    <a:ext uri="{FF2B5EF4-FFF2-40B4-BE49-F238E27FC236}">
                      <a16:creationId xmlns:a16="http://schemas.microsoft.com/office/drawing/2014/main" id="{C9DC8EF0-8717-5F5F-76E7-AF1E01FCDEF6}"/>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81" name="Freeform: Shape 16280">
                  <a:extLst>
                    <a:ext uri="{FF2B5EF4-FFF2-40B4-BE49-F238E27FC236}">
                      <a16:creationId xmlns:a16="http://schemas.microsoft.com/office/drawing/2014/main" id="{8BF65505-991C-85D9-0ACA-0C2E70C1643D}"/>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3" name="Graphic 745">
                <a:extLst>
                  <a:ext uri="{FF2B5EF4-FFF2-40B4-BE49-F238E27FC236}">
                    <a16:creationId xmlns:a16="http://schemas.microsoft.com/office/drawing/2014/main" id="{A8EDE96D-A136-F86D-FC0A-3AA81A879B43}"/>
                  </a:ext>
                </a:extLst>
              </p:cNvPr>
              <p:cNvGrpSpPr/>
              <p:nvPr/>
            </p:nvGrpSpPr>
            <p:grpSpPr>
              <a:xfrm>
                <a:off x="7807737" y="4275772"/>
                <a:ext cx="75628" cy="75723"/>
                <a:chOff x="7807737" y="4275772"/>
                <a:chExt cx="75628" cy="75723"/>
              </a:xfrm>
            </p:grpSpPr>
            <p:sp>
              <p:nvSpPr>
                <p:cNvPr id="15966" name="Freeform: Shape 15965">
                  <a:extLst>
                    <a:ext uri="{FF2B5EF4-FFF2-40B4-BE49-F238E27FC236}">
                      <a16:creationId xmlns:a16="http://schemas.microsoft.com/office/drawing/2014/main" id="{1B5318BC-3824-9100-5610-E5B90B8E01AF}"/>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8" name="Freeform: Shape 16277">
                  <a:extLst>
                    <a:ext uri="{FF2B5EF4-FFF2-40B4-BE49-F238E27FC236}">
                      <a16:creationId xmlns:a16="http://schemas.microsoft.com/office/drawing/2014/main" id="{242BDCDB-DDF5-DAD0-D377-B8D540A4A177}"/>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4" name="Graphic 745">
                <a:extLst>
                  <a:ext uri="{FF2B5EF4-FFF2-40B4-BE49-F238E27FC236}">
                    <a16:creationId xmlns:a16="http://schemas.microsoft.com/office/drawing/2014/main" id="{FB05A138-AD70-3107-B02B-0FBE614BA2F3}"/>
                  </a:ext>
                </a:extLst>
              </p:cNvPr>
              <p:cNvGrpSpPr/>
              <p:nvPr/>
            </p:nvGrpSpPr>
            <p:grpSpPr>
              <a:xfrm>
                <a:off x="8174545" y="4275772"/>
                <a:ext cx="75628" cy="75723"/>
                <a:chOff x="8174545" y="4275772"/>
                <a:chExt cx="75628" cy="75723"/>
              </a:xfrm>
            </p:grpSpPr>
            <p:sp>
              <p:nvSpPr>
                <p:cNvPr id="15964" name="Freeform: Shape 15963">
                  <a:extLst>
                    <a:ext uri="{FF2B5EF4-FFF2-40B4-BE49-F238E27FC236}">
                      <a16:creationId xmlns:a16="http://schemas.microsoft.com/office/drawing/2014/main" id="{0BF681B8-872A-C67B-31A7-2627CBCD4658}"/>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5" name="Freeform: Shape 15964">
                  <a:extLst>
                    <a:ext uri="{FF2B5EF4-FFF2-40B4-BE49-F238E27FC236}">
                      <a16:creationId xmlns:a16="http://schemas.microsoft.com/office/drawing/2014/main" id="{99533FEC-A9F8-62D6-E10D-DC0999E3887E}"/>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5" name="Graphic 745">
                <a:extLst>
                  <a:ext uri="{FF2B5EF4-FFF2-40B4-BE49-F238E27FC236}">
                    <a16:creationId xmlns:a16="http://schemas.microsoft.com/office/drawing/2014/main" id="{9AF46EC9-5AA0-10E6-14F7-314AF314C7BD}"/>
                  </a:ext>
                </a:extLst>
              </p:cNvPr>
              <p:cNvGrpSpPr/>
              <p:nvPr/>
            </p:nvGrpSpPr>
            <p:grpSpPr>
              <a:xfrm>
                <a:off x="8189118" y="4275772"/>
                <a:ext cx="75723" cy="75723"/>
                <a:chOff x="8189118" y="4275772"/>
                <a:chExt cx="75723" cy="75723"/>
              </a:xfrm>
            </p:grpSpPr>
            <p:sp>
              <p:nvSpPr>
                <p:cNvPr id="15962" name="Freeform: Shape 15961">
                  <a:extLst>
                    <a:ext uri="{FF2B5EF4-FFF2-40B4-BE49-F238E27FC236}">
                      <a16:creationId xmlns:a16="http://schemas.microsoft.com/office/drawing/2014/main" id="{9034C320-7A01-E127-150E-48D0CC5AB334}"/>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3" name="Freeform: Shape 15962">
                  <a:extLst>
                    <a:ext uri="{FF2B5EF4-FFF2-40B4-BE49-F238E27FC236}">
                      <a16:creationId xmlns:a16="http://schemas.microsoft.com/office/drawing/2014/main" id="{455AB074-B3A8-6D9C-3FDF-8D116B9DC2AC}"/>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6" name="Graphic 745">
                <a:extLst>
                  <a:ext uri="{FF2B5EF4-FFF2-40B4-BE49-F238E27FC236}">
                    <a16:creationId xmlns:a16="http://schemas.microsoft.com/office/drawing/2014/main" id="{D2861B7A-0BF9-BC9B-5A79-1DB37DF59BCA}"/>
                  </a:ext>
                </a:extLst>
              </p:cNvPr>
              <p:cNvGrpSpPr/>
              <p:nvPr/>
            </p:nvGrpSpPr>
            <p:grpSpPr>
              <a:xfrm>
                <a:off x="8212359" y="4275772"/>
                <a:ext cx="75723" cy="75723"/>
                <a:chOff x="8212359" y="4275772"/>
                <a:chExt cx="75723" cy="75723"/>
              </a:xfrm>
            </p:grpSpPr>
            <p:sp>
              <p:nvSpPr>
                <p:cNvPr id="15960" name="Freeform: Shape 15959">
                  <a:extLst>
                    <a:ext uri="{FF2B5EF4-FFF2-40B4-BE49-F238E27FC236}">
                      <a16:creationId xmlns:a16="http://schemas.microsoft.com/office/drawing/2014/main" id="{E8716D94-40EA-2748-509F-BE5ACDA14C8F}"/>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61" name="Freeform: Shape 15960">
                  <a:extLst>
                    <a:ext uri="{FF2B5EF4-FFF2-40B4-BE49-F238E27FC236}">
                      <a16:creationId xmlns:a16="http://schemas.microsoft.com/office/drawing/2014/main" id="{B75D8098-DECE-98CD-D958-A82A4BC41C28}"/>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7" name="Graphic 745">
                <a:extLst>
                  <a:ext uri="{FF2B5EF4-FFF2-40B4-BE49-F238E27FC236}">
                    <a16:creationId xmlns:a16="http://schemas.microsoft.com/office/drawing/2014/main" id="{BE711817-B216-2CC2-B42D-3EFAA92CF6F5}"/>
                  </a:ext>
                </a:extLst>
              </p:cNvPr>
              <p:cNvGrpSpPr/>
              <p:nvPr/>
            </p:nvGrpSpPr>
            <p:grpSpPr>
              <a:xfrm>
                <a:off x="8226933" y="4275772"/>
                <a:ext cx="75723" cy="75723"/>
                <a:chOff x="8226933" y="4275772"/>
                <a:chExt cx="75723" cy="75723"/>
              </a:xfrm>
            </p:grpSpPr>
            <p:sp>
              <p:nvSpPr>
                <p:cNvPr id="15958" name="Freeform: Shape 15957">
                  <a:extLst>
                    <a:ext uri="{FF2B5EF4-FFF2-40B4-BE49-F238E27FC236}">
                      <a16:creationId xmlns:a16="http://schemas.microsoft.com/office/drawing/2014/main" id="{299DD841-4CC3-AA0E-A38D-92B89574FBCC}"/>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59" name="Freeform: Shape 15958">
                  <a:extLst>
                    <a:ext uri="{FF2B5EF4-FFF2-40B4-BE49-F238E27FC236}">
                      <a16:creationId xmlns:a16="http://schemas.microsoft.com/office/drawing/2014/main" id="{47C99EEC-B76A-5DD4-440F-4608AF98CB24}"/>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724" name="Freeform: Shape 15723">
              <a:extLst>
                <a:ext uri="{FF2B5EF4-FFF2-40B4-BE49-F238E27FC236}">
                  <a16:creationId xmlns:a16="http://schemas.microsoft.com/office/drawing/2014/main" id="{A965FB9F-CFCC-926A-F6BA-578560C1917B}"/>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7" name="Group 15236">
            <a:extLst>
              <a:ext uri="{FF2B5EF4-FFF2-40B4-BE49-F238E27FC236}">
                <a16:creationId xmlns:a16="http://schemas.microsoft.com/office/drawing/2014/main" id="{4E7C5F35-3EA0-471B-8342-6B7127F47986}"/>
              </a:ext>
            </a:extLst>
          </p:cNvPr>
          <p:cNvGrpSpPr/>
          <p:nvPr/>
        </p:nvGrpSpPr>
        <p:grpSpPr>
          <a:xfrm>
            <a:off x="648634" y="1429513"/>
            <a:ext cx="6851501" cy="2233885"/>
            <a:chOff x="3800475" y="2590800"/>
            <a:chExt cx="4593812" cy="1674876"/>
          </a:xfrm>
        </p:grpSpPr>
        <p:grpSp>
          <p:nvGrpSpPr>
            <p:cNvPr id="15238" name="Graphic 1391">
              <a:extLst>
                <a:ext uri="{FF2B5EF4-FFF2-40B4-BE49-F238E27FC236}">
                  <a16:creationId xmlns:a16="http://schemas.microsoft.com/office/drawing/2014/main" id="{7F8F030D-7A5D-740C-1CBB-43918ADD3AA0}"/>
                </a:ext>
              </a:extLst>
            </p:cNvPr>
            <p:cNvGrpSpPr/>
            <p:nvPr/>
          </p:nvGrpSpPr>
          <p:grpSpPr>
            <a:xfrm>
              <a:off x="3800475" y="2590800"/>
              <a:ext cx="4593812" cy="1674876"/>
              <a:chOff x="3800475" y="2590800"/>
              <a:chExt cx="4593812" cy="1674876"/>
            </a:xfrm>
          </p:grpSpPr>
          <p:grpSp>
            <p:nvGrpSpPr>
              <p:cNvPr id="15240" name="Graphic 1391">
                <a:extLst>
                  <a:ext uri="{FF2B5EF4-FFF2-40B4-BE49-F238E27FC236}">
                    <a16:creationId xmlns:a16="http://schemas.microsoft.com/office/drawing/2014/main" id="{22A1C0CD-BB1D-4237-D284-835C6F1D4990}"/>
                  </a:ext>
                </a:extLst>
              </p:cNvPr>
              <p:cNvGrpSpPr/>
              <p:nvPr/>
            </p:nvGrpSpPr>
            <p:grpSpPr>
              <a:xfrm>
                <a:off x="8318563" y="4189952"/>
                <a:ext cx="75723" cy="75723"/>
                <a:chOff x="8318563" y="4189952"/>
                <a:chExt cx="75723" cy="75723"/>
              </a:xfrm>
            </p:grpSpPr>
            <p:sp>
              <p:nvSpPr>
                <p:cNvPr id="15720" name="Freeform: Shape 15719">
                  <a:extLst>
                    <a:ext uri="{FF2B5EF4-FFF2-40B4-BE49-F238E27FC236}">
                      <a16:creationId xmlns:a16="http://schemas.microsoft.com/office/drawing/2014/main" id="{9291F3AF-7A12-68D4-84C9-9F9EC436194A}"/>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21" name="Freeform: Shape 15720">
                  <a:extLst>
                    <a:ext uri="{FF2B5EF4-FFF2-40B4-BE49-F238E27FC236}">
                      <a16:creationId xmlns:a16="http://schemas.microsoft.com/office/drawing/2014/main" id="{D25FC5CE-ADD0-3EBF-5DF0-A90BE785CD8E}"/>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1" name="Graphic 1391">
                <a:extLst>
                  <a:ext uri="{FF2B5EF4-FFF2-40B4-BE49-F238E27FC236}">
                    <a16:creationId xmlns:a16="http://schemas.microsoft.com/office/drawing/2014/main" id="{CBFD0DBF-A69C-4783-EBFB-0E1E746D237E}"/>
                  </a:ext>
                </a:extLst>
              </p:cNvPr>
              <p:cNvGrpSpPr/>
              <p:nvPr/>
            </p:nvGrpSpPr>
            <p:grpSpPr>
              <a:xfrm>
                <a:off x="7982140" y="4189952"/>
                <a:ext cx="75723" cy="75723"/>
                <a:chOff x="7982140" y="4189952"/>
                <a:chExt cx="75723" cy="75723"/>
              </a:xfrm>
            </p:grpSpPr>
            <p:sp>
              <p:nvSpPr>
                <p:cNvPr id="15718" name="Freeform: Shape 15717">
                  <a:extLst>
                    <a:ext uri="{FF2B5EF4-FFF2-40B4-BE49-F238E27FC236}">
                      <a16:creationId xmlns:a16="http://schemas.microsoft.com/office/drawing/2014/main" id="{FDA9460A-2CAC-39F9-00B3-1813FFD00FE9}"/>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9" name="Freeform: Shape 15718">
                  <a:extLst>
                    <a:ext uri="{FF2B5EF4-FFF2-40B4-BE49-F238E27FC236}">
                      <a16:creationId xmlns:a16="http://schemas.microsoft.com/office/drawing/2014/main" id="{3D9931FF-E8B9-BDC0-49C4-D64100565B51}"/>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2" name="Graphic 1391">
                <a:extLst>
                  <a:ext uri="{FF2B5EF4-FFF2-40B4-BE49-F238E27FC236}">
                    <a16:creationId xmlns:a16="http://schemas.microsoft.com/office/drawing/2014/main" id="{2C74595F-E776-1C5E-FB4B-F0492AF8F07E}"/>
                  </a:ext>
                </a:extLst>
              </p:cNvPr>
              <p:cNvGrpSpPr/>
              <p:nvPr/>
            </p:nvGrpSpPr>
            <p:grpSpPr>
              <a:xfrm>
                <a:off x="7971758" y="4189952"/>
                <a:ext cx="75723" cy="75723"/>
                <a:chOff x="7971758" y="4189952"/>
                <a:chExt cx="75723" cy="75723"/>
              </a:xfrm>
            </p:grpSpPr>
            <p:sp>
              <p:nvSpPr>
                <p:cNvPr id="15716" name="Freeform: Shape 15715">
                  <a:extLst>
                    <a:ext uri="{FF2B5EF4-FFF2-40B4-BE49-F238E27FC236}">
                      <a16:creationId xmlns:a16="http://schemas.microsoft.com/office/drawing/2014/main" id="{5D28C3F6-C5CE-E151-ABBF-C509AE37B04E}"/>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7" name="Freeform: Shape 15716">
                  <a:extLst>
                    <a:ext uri="{FF2B5EF4-FFF2-40B4-BE49-F238E27FC236}">
                      <a16:creationId xmlns:a16="http://schemas.microsoft.com/office/drawing/2014/main" id="{7527DD7C-7AF7-D319-CFF6-60C0C17696C9}"/>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3" name="Graphic 1391">
                <a:extLst>
                  <a:ext uri="{FF2B5EF4-FFF2-40B4-BE49-F238E27FC236}">
                    <a16:creationId xmlns:a16="http://schemas.microsoft.com/office/drawing/2014/main" id="{6D42BDDD-3193-1FE1-807A-0A7D1B05C199}"/>
                  </a:ext>
                </a:extLst>
              </p:cNvPr>
              <p:cNvGrpSpPr/>
              <p:nvPr/>
            </p:nvGrpSpPr>
            <p:grpSpPr>
              <a:xfrm>
                <a:off x="7613904" y="4189952"/>
                <a:ext cx="75628" cy="75723"/>
                <a:chOff x="7613904" y="4189952"/>
                <a:chExt cx="75628" cy="75723"/>
              </a:xfrm>
            </p:grpSpPr>
            <p:sp>
              <p:nvSpPr>
                <p:cNvPr id="15714" name="Freeform: Shape 15713">
                  <a:extLst>
                    <a:ext uri="{FF2B5EF4-FFF2-40B4-BE49-F238E27FC236}">
                      <a16:creationId xmlns:a16="http://schemas.microsoft.com/office/drawing/2014/main" id="{BEFD7053-8DB9-7F7B-8EF5-6E56FCDC1924}"/>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5" name="Freeform: Shape 15714">
                  <a:extLst>
                    <a:ext uri="{FF2B5EF4-FFF2-40B4-BE49-F238E27FC236}">
                      <a16:creationId xmlns:a16="http://schemas.microsoft.com/office/drawing/2014/main" id="{7C641E29-2536-5B6A-9129-1574C43761FE}"/>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4" name="Graphic 1391">
                <a:extLst>
                  <a:ext uri="{FF2B5EF4-FFF2-40B4-BE49-F238E27FC236}">
                    <a16:creationId xmlns:a16="http://schemas.microsoft.com/office/drawing/2014/main" id="{50395CFB-E4DC-D8C8-9E04-3561BDC228AB}"/>
                  </a:ext>
                </a:extLst>
              </p:cNvPr>
              <p:cNvGrpSpPr/>
              <p:nvPr/>
            </p:nvGrpSpPr>
            <p:grpSpPr>
              <a:xfrm>
                <a:off x="7578185" y="4189952"/>
                <a:ext cx="75723" cy="75723"/>
                <a:chOff x="7578185" y="4189952"/>
                <a:chExt cx="75723" cy="75723"/>
              </a:xfrm>
            </p:grpSpPr>
            <p:sp>
              <p:nvSpPr>
                <p:cNvPr id="15712" name="Freeform: Shape 15711">
                  <a:extLst>
                    <a:ext uri="{FF2B5EF4-FFF2-40B4-BE49-F238E27FC236}">
                      <a16:creationId xmlns:a16="http://schemas.microsoft.com/office/drawing/2014/main" id="{8EB350FB-35EE-85F1-1C06-6F85C3D30F13}"/>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3" name="Freeform: Shape 15712">
                  <a:extLst>
                    <a:ext uri="{FF2B5EF4-FFF2-40B4-BE49-F238E27FC236}">
                      <a16:creationId xmlns:a16="http://schemas.microsoft.com/office/drawing/2014/main" id="{2F058B8B-2BFA-8389-2221-546EBEA2E2CC}"/>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5" name="Graphic 1391">
                <a:extLst>
                  <a:ext uri="{FF2B5EF4-FFF2-40B4-BE49-F238E27FC236}">
                    <a16:creationId xmlns:a16="http://schemas.microsoft.com/office/drawing/2014/main" id="{1308A59E-A0EE-1DDC-D8C6-F3F8857B9E16}"/>
                  </a:ext>
                </a:extLst>
              </p:cNvPr>
              <p:cNvGrpSpPr/>
              <p:nvPr/>
            </p:nvGrpSpPr>
            <p:grpSpPr>
              <a:xfrm>
                <a:off x="7567231" y="4189952"/>
                <a:ext cx="75723" cy="75723"/>
                <a:chOff x="7567231" y="4189952"/>
                <a:chExt cx="75723" cy="75723"/>
              </a:xfrm>
            </p:grpSpPr>
            <p:sp>
              <p:nvSpPr>
                <p:cNvPr id="15710" name="Freeform: Shape 15709">
                  <a:extLst>
                    <a:ext uri="{FF2B5EF4-FFF2-40B4-BE49-F238E27FC236}">
                      <a16:creationId xmlns:a16="http://schemas.microsoft.com/office/drawing/2014/main" id="{A6B79303-8CD9-3CE8-CCFD-2A7E8DC31896}"/>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11" name="Freeform: Shape 15710">
                  <a:extLst>
                    <a:ext uri="{FF2B5EF4-FFF2-40B4-BE49-F238E27FC236}">
                      <a16:creationId xmlns:a16="http://schemas.microsoft.com/office/drawing/2014/main" id="{63CBF7E2-0A38-4501-5DD6-992620E68427}"/>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6" name="Graphic 1391">
                <a:extLst>
                  <a:ext uri="{FF2B5EF4-FFF2-40B4-BE49-F238E27FC236}">
                    <a16:creationId xmlns:a16="http://schemas.microsoft.com/office/drawing/2014/main" id="{38B212D7-498D-698F-0228-C1C0AD839677}"/>
                  </a:ext>
                </a:extLst>
              </p:cNvPr>
              <p:cNvGrpSpPr/>
              <p:nvPr/>
            </p:nvGrpSpPr>
            <p:grpSpPr>
              <a:xfrm>
                <a:off x="7557897" y="4189952"/>
                <a:ext cx="75723" cy="75723"/>
                <a:chOff x="7557897" y="4189952"/>
                <a:chExt cx="75723" cy="75723"/>
              </a:xfrm>
            </p:grpSpPr>
            <p:sp>
              <p:nvSpPr>
                <p:cNvPr id="15708" name="Freeform: Shape 15707">
                  <a:extLst>
                    <a:ext uri="{FF2B5EF4-FFF2-40B4-BE49-F238E27FC236}">
                      <a16:creationId xmlns:a16="http://schemas.microsoft.com/office/drawing/2014/main" id="{3FB2AD9E-8532-1053-20A5-7785DBAC5E1F}"/>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9" name="Freeform: Shape 15708">
                  <a:extLst>
                    <a:ext uri="{FF2B5EF4-FFF2-40B4-BE49-F238E27FC236}">
                      <a16:creationId xmlns:a16="http://schemas.microsoft.com/office/drawing/2014/main" id="{5F7300A4-417F-659E-67D9-7A932A28989B}"/>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7" name="Graphic 1391">
                <a:extLst>
                  <a:ext uri="{FF2B5EF4-FFF2-40B4-BE49-F238E27FC236}">
                    <a16:creationId xmlns:a16="http://schemas.microsoft.com/office/drawing/2014/main" id="{12AD4074-0692-9408-A0B1-40175FF66C45}"/>
                  </a:ext>
                </a:extLst>
              </p:cNvPr>
              <p:cNvGrpSpPr/>
              <p:nvPr/>
            </p:nvGrpSpPr>
            <p:grpSpPr>
              <a:xfrm>
                <a:off x="7236142" y="4189952"/>
                <a:ext cx="75628" cy="75723"/>
                <a:chOff x="7236142" y="4189952"/>
                <a:chExt cx="75628" cy="75723"/>
              </a:xfrm>
            </p:grpSpPr>
            <p:sp>
              <p:nvSpPr>
                <p:cNvPr id="15706" name="Freeform: Shape 15705">
                  <a:extLst>
                    <a:ext uri="{FF2B5EF4-FFF2-40B4-BE49-F238E27FC236}">
                      <a16:creationId xmlns:a16="http://schemas.microsoft.com/office/drawing/2014/main" id="{63955B18-F3DE-2D10-3B3D-C387AE5F5752}"/>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7" name="Freeform: Shape 15706">
                  <a:extLst>
                    <a:ext uri="{FF2B5EF4-FFF2-40B4-BE49-F238E27FC236}">
                      <a16:creationId xmlns:a16="http://schemas.microsoft.com/office/drawing/2014/main" id="{CA6EC5DE-A348-A469-0B65-1EA7EBD59571}"/>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8" name="Graphic 1391">
                <a:extLst>
                  <a:ext uri="{FF2B5EF4-FFF2-40B4-BE49-F238E27FC236}">
                    <a16:creationId xmlns:a16="http://schemas.microsoft.com/office/drawing/2014/main" id="{E6DF2F9D-914C-7DFD-9D93-F575F706DAE0}"/>
                  </a:ext>
                </a:extLst>
              </p:cNvPr>
              <p:cNvGrpSpPr/>
              <p:nvPr/>
            </p:nvGrpSpPr>
            <p:grpSpPr>
              <a:xfrm>
                <a:off x="7200804" y="4189952"/>
                <a:ext cx="75723" cy="75723"/>
                <a:chOff x="7200804" y="4189952"/>
                <a:chExt cx="75723" cy="75723"/>
              </a:xfrm>
            </p:grpSpPr>
            <p:sp>
              <p:nvSpPr>
                <p:cNvPr id="15704" name="Freeform: Shape 15703">
                  <a:extLst>
                    <a:ext uri="{FF2B5EF4-FFF2-40B4-BE49-F238E27FC236}">
                      <a16:creationId xmlns:a16="http://schemas.microsoft.com/office/drawing/2014/main" id="{FBDF021A-6E68-18B7-4CA2-EB549D029561}"/>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5" name="Freeform: Shape 15704">
                  <a:extLst>
                    <a:ext uri="{FF2B5EF4-FFF2-40B4-BE49-F238E27FC236}">
                      <a16:creationId xmlns:a16="http://schemas.microsoft.com/office/drawing/2014/main" id="{8ECCEC64-F61C-D96F-5230-1D8C6858B8C8}"/>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9" name="Graphic 1391">
                <a:extLst>
                  <a:ext uri="{FF2B5EF4-FFF2-40B4-BE49-F238E27FC236}">
                    <a16:creationId xmlns:a16="http://schemas.microsoft.com/office/drawing/2014/main" id="{6C6A9BD8-95B0-6923-F481-5184E185DA69}"/>
                  </a:ext>
                </a:extLst>
              </p:cNvPr>
              <p:cNvGrpSpPr/>
              <p:nvPr/>
            </p:nvGrpSpPr>
            <p:grpSpPr>
              <a:xfrm>
                <a:off x="7178135" y="4189952"/>
                <a:ext cx="75723" cy="75723"/>
                <a:chOff x="7178135" y="4189952"/>
                <a:chExt cx="75723" cy="75723"/>
              </a:xfrm>
            </p:grpSpPr>
            <p:sp>
              <p:nvSpPr>
                <p:cNvPr id="15702" name="Freeform: Shape 15701">
                  <a:extLst>
                    <a:ext uri="{FF2B5EF4-FFF2-40B4-BE49-F238E27FC236}">
                      <a16:creationId xmlns:a16="http://schemas.microsoft.com/office/drawing/2014/main" id="{EB8603F5-9CA4-1AA7-57E0-4D876031AAA4}"/>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3" name="Freeform: Shape 15702">
                  <a:extLst>
                    <a:ext uri="{FF2B5EF4-FFF2-40B4-BE49-F238E27FC236}">
                      <a16:creationId xmlns:a16="http://schemas.microsoft.com/office/drawing/2014/main" id="{C38C297C-D990-8E03-6BA7-FE427A67F323}"/>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0" name="Graphic 1391">
                <a:extLst>
                  <a:ext uri="{FF2B5EF4-FFF2-40B4-BE49-F238E27FC236}">
                    <a16:creationId xmlns:a16="http://schemas.microsoft.com/office/drawing/2014/main" id="{1811BBDE-A392-A501-7F1D-F29539F9C388}"/>
                  </a:ext>
                </a:extLst>
              </p:cNvPr>
              <p:cNvGrpSpPr/>
              <p:nvPr/>
            </p:nvGrpSpPr>
            <p:grpSpPr>
              <a:xfrm>
                <a:off x="6910197" y="4189952"/>
                <a:ext cx="75723" cy="75723"/>
                <a:chOff x="6910197" y="4189952"/>
                <a:chExt cx="75723" cy="75723"/>
              </a:xfrm>
            </p:grpSpPr>
            <p:sp>
              <p:nvSpPr>
                <p:cNvPr id="15700" name="Freeform: Shape 15699">
                  <a:extLst>
                    <a:ext uri="{FF2B5EF4-FFF2-40B4-BE49-F238E27FC236}">
                      <a16:creationId xmlns:a16="http://schemas.microsoft.com/office/drawing/2014/main" id="{CF55798C-7447-A6BF-DA55-F81E8AB95952}"/>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01" name="Freeform: Shape 15700">
                  <a:extLst>
                    <a:ext uri="{FF2B5EF4-FFF2-40B4-BE49-F238E27FC236}">
                      <a16:creationId xmlns:a16="http://schemas.microsoft.com/office/drawing/2014/main" id="{DC41E3C0-388A-82B5-CE74-52E200AB3F2B}"/>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1" name="Graphic 1391">
                <a:extLst>
                  <a:ext uri="{FF2B5EF4-FFF2-40B4-BE49-F238E27FC236}">
                    <a16:creationId xmlns:a16="http://schemas.microsoft.com/office/drawing/2014/main" id="{60FE3CFA-6C52-812B-27EE-2AED6B701090}"/>
                  </a:ext>
                </a:extLst>
              </p:cNvPr>
              <p:cNvGrpSpPr/>
              <p:nvPr/>
            </p:nvGrpSpPr>
            <p:grpSpPr>
              <a:xfrm>
                <a:off x="6866096" y="4189952"/>
                <a:ext cx="75628" cy="75723"/>
                <a:chOff x="6866096" y="4189952"/>
                <a:chExt cx="75628" cy="75723"/>
              </a:xfrm>
            </p:grpSpPr>
            <p:sp>
              <p:nvSpPr>
                <p:cNvPr id="15698" name="Freeform: Shape 15697">
                  <a:extLst>
                    <a:ext uri="{FF2B5EF4-FFF2-40B4-BE49-F238E27FC236}">
                      <a16:creationId xmlns:a16="http://schemas.microsoft.com/office/drawing/2014/main" id="{6124E134-A571-CEAE-01DE-3BC61B306CD5}"/>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9" name="Freeform: Shape 15698">
                  <a:extLst>
                    <a:ext uri="{FF2B5EF4-FFF2-40B4-BE49-F238E27FC236}">
                      <a16:creationId xmlns:a16="http://schemas.microsoft.com/office/drawing/2014/main" id="{E53114C6-3F1D-4D16-C703-9A7D6FC99772}"/>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2" name="Graphic 1391">
                <a:extLst>
                  <a:ext uri="{FF2B5EF4-FFF2-40B4-BE49-F238E27FC236}">
                    <a16:creationId xmlns:a16="http://schemas.microsoft.com/office/drawing/2014/main" id="{7C78A971-8261-1F30-B31A-1A4E51773D86}"/>
                  </a:ext>
                </a:extLst>
              </p:cNvPr>
              <p:cNvGrpSpPr/>
              <p:nvPr/>
            </p:nvGrpSpPr>
            <p:grpSpPr>
              <a:xfrm>
                <a:off x="6855523" y="4136898"/>
                <a:ext cx="75723" cy="75628"/>
                <a:chOff x="6855523" y="4136898"/>
                <a:chExt cx="75723" cy="75628"/>
              </a:xfrm>
            </p:grpSpPr>
            <p:sp>
              <p:nvSpPr>
                <p:cNvPr id="15695" name="Freeform: Shape 15694">
                  <a:extLst>
                    <a:ext uri="{FF2B5EF4-FFF2-40B4-BE49-F238E27FC236}">
                      <a16:creationId xmlns:a16="http://schemas.microsoft.com/office/drawing/2014/main" id="{BCCA1EA4-AE89-EDE9-86F2-AF5E3C9544E8}"/>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6" name="Freeform: Shape 15695">
                  <a:extLst>
                    <a:ext uri="{FF2B5EF4-FFF2-40B4-BE49-F238E27FC236}">
                      <a16:creationId xmlns:a16="http://schemas.microsoft.com/office/drawing/2014/main" id="{29BEAD9F-771A-541B-EEF5-221A598DD003}"/>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8" name="Graphic 1391">
                <a:extLst>
                  <a:ext uri="{FF2B5EF4-FFF2-40B4-BE49-F238E27FC236}">
                    <a16:creationId xmlns:a16="http://schemas.microsoft.com/office/drawing/2014/main" id="{48AAE757-50B4-8933-E8F1-5CEA73A5DE85}"/>
                  </a:ext>
                </a:extLst>
              </p:cNvPr>
              <p:cNvGrpSpPr/>
              <p:nvPr/>
            </p:nvGrpSpPr>
            <p:grpSpPr>
              <a:xfrm>
                <a:off x="6821424" y="4086129"/>
                <a:ext cx="75723" cy="75723"/>
                <a:chOff x="6821424" y="4086129"/>
                <a:chExt cx="75723" cy="75723"/>
              </a:xfrm>
            </p:grpSpPr>
            <p:sp>
              <p:nvSpPr>
                <p:cNvPr id="15693" name="Freeform: Shape 15692">
                  <a:extLst>
                    <a:ext uri="{FF2B5EF4-FFF2-40B4-BE49-F238E27FC236}">
                      <a16:creationId xmlns:a16="http://schemas.microsoft.com/office/drawing/2014/main" id="{75D6232D-094F-7FFB-1EFB-0796C20BB5DA}"/>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4" name="Freeform: Shape 15693">
                  <a:extLst>
                    <a:ext uri="{FF2B5EF4-FFF2-40B4-BE49-F238E27FC236}">
                      <a16:creationId xmlns:a16="http://schemas.microsoft.com/office/drawing/2014/main" id="{2DB4B988-D575-5669-6F0E-1501B9B9AA44}"/>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9" name="Graphic 1391">
                <a:extLst>
                  <a:ext uri="{FF2B5EF4-FFF2-40B4-BE49-F238E27FC236}">
                    <a16:creationId xmlns:a16="http://schemas.microsoft.com/office/drawing/2014/main" id="{95C6DB2E-E223-7D15-C556-A75B9391323B}"/>
                  </a:ext>
                </a:extLst>
              </p:cNvPr>
              <p:cNvGrpSpPr/>
              <p:nvPr/>
            </p:nvGrpSpPr>
            <p:grpSpPr>
              <a:xfrm>
                <a:off x="6810565" y="4041933"/>
                <a:ext cx="75628" cy="75723"/>
                <a:chOff x="6810565" y="4041933"/>
                <a:chExt cx="75628" cy="75723"/>
              </a:xfrm>
            </p:grpSpPr>
            <p:sp>
              <p:nvSpPr>
                <p:cNvPr id="15691" name="Freeform: Shape 15690">
                  <a:extLst>
                    <a:ext uri="{FF2B5EF4-FFF2-40B4-BE49-F238E27FC236}">
                      <a16:creationId xmlns:a16="http://schemas.microsoft.com/office/drawing/2014/main" id="{6FD50931-2073-C73C-38F5-8BD278F1D256}"/>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2" name="Freeform: Shape 15691">
                  <a:extLst>
                    <a:ext uri="{FF2B5EF4-FFF2-40B4-BE49-F238E27FC236}">
                      <a16:creationId xmlns:a16="http://schemas.microsoft.com/office/drawing/2014/main" id="{FCE3BD6C-89FB-900D-6114-3F9A8D12A8BF}"/>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0" name="Graphic 1391">
                <a:extLst>
                  <a:ext uri="{FF2B5EF4-FFF2-40B4-BE49-F238E27FC236}">
                    <a16:creationId xmlns:a16="http://schemas.microsoft.com/office/drawing/2014/main" id="{A8DF5481-64B5-5071-0C3A-E1A2C20C4713}"/>
                  </a:ext>
                </a:extLst>
              </p:cNvPr>
              <p:cNvGrpSpPr/>
              <p:nvPr/>
            </p:nvGrpSpPr>
            <p:grpSpPr>
              <a:xfrm>
                <a:off x="6797516" y="4041933"/>
                <a:ext cx="75723" cy="75723"/>
                <a:chOff x="6797516" y="4041933"/>
                <a:chExt cx="75723" cy="75723"/>
              </a:xfrm>
            </p:grpSpPr>
            <p:sp>
              <p:nvSpPr>
                <p:cNvPr id="15689" name="Freeform: Shape 15688">
                  <a:extLst>
                    <a:ext uri="{FF2B5EF4-FFF2-40B4-BE49-F238E27FC236}">
                      <a16:creationId xmlns:a16="http://schemas.microsoft.com/office/drawing/2014/main" id="{268EE25C-C659-A659-38B0-9571EE1C8C03}"/>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90" name="Freeform: Shape 15689">
                  <a:extLst>
                    <a:ext uri="{FF2B5EF4-FFF2-40B4-BE49-F238E27FC236}">
                      <a16:creationId xmlns:a16="http://schemas.microsoft.com/office/drawing/2014/main" id="{EB71A310-8BE6-7EAA-7250-6474F2AD9183}"/>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1" name="Graphic 1391">
                <a:extLst>
                  <a:ext uri="{FF2B5EF4-FFF2-40B4-BE49-F238E27FC236}">
                    <a16:creationId xmlns:a16="http://schemas.microsoft.com/office/drawing/2014/main" id="{A40A66C3-EDD6-F303-C946-B1BF37EBBEE0}"/>
                  </a:ext>
                </a:extLst>
              </p:cNvPr>
              <p:cNvGrpSpPr/>
              <p:nvPr/>
            </p:nvGrpSpPr>
            <p:grpSpPr>
              <a:xfrm>
                <a:off x="6708362" y="4041933"/>
                <a:ext cx="75723" cy="75723"/>
                <a:chOff x="6708362" y="4041933"/>
                <a:chExt cx="75723" cy="75723"/>
              </a:xfrm>
            </p:grpSpPr>
            <p:sp>
              <p:nvSpPr>
                <p:cNvPr id="15687" name="Freeform: Shape 15686">
                  <a:extLst>
                    <a:ext uri="{FF2B5EF4-FFF2-40B4-BE49-F238E27FC236}">
                      <a16:creationId xmlns:a16="http://schemas.microsoft.com/office/drawing/2014/main" id="{459642EA-0FD7-2AF0-386E-087F7856C50E}"/>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8" name="Freeform: Shape 15687">
                  <a:extLst>
                    <a:ext uri="{FF2B5EF4-FFF2-40B4-BE49-F238E27FC236}">
                      <a16:creationId xmlns:a16="http://schemas.microsoft.com/office/drawing/2014/main" id="{22DAC390-2F1A-0F1D-8123-72617F89E995}"/>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2" name="Graphic 1391">
                <a:extLst>
                  <a:ext uri="{FF2B5EF4-FFF2-40B4-BE49-F238E27FC236}">
                    <a16:creationId xmlns:a16="http://schemas.microsoft.com/office/drawing/2014/main" id="{2D5AD493-3710-9229-D3B2-6D2385467085}"/>
                  </a:ext>
                </a:extLst>
              </p:cNvPr>
              <p:cNvGrpSpPr/>
              <p:nvPr/>
            </p:nvGrpSpPr>
            <p:grpSpPr>
              <a:xfrm>
                <a:off x="6420612" y="3932491"/>
                <a:ext cx="75723" cy="75723"/>
                <a:chOff x="6420612" y="3932491"/>
                <a:chExt cx="75723" cy="75723"/>
              </a:xfrm>
            </p:grpSpPr>
            <p:sp>
              <p:nvSpPr>
                <p:cNvPr id="15685" name="Freeform: Shape 15684">
                  <a:extLst>
                    <a:ext uri="{FF2B5EF4-FFF2-40B4-BE49-F238E27FC236}">
                      <a16:creationId xmlns:a16="http://schemas.microsoft.com/office/drawing/2014/main" id="{27333107-5C77-3986-E79B-F3BC89C81A9C}"/>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6" name="Freeform: Shape 15685">
                  <a:extLst>
                    <a:ext uri="{FF2B5EF4-FFF2-40B4-BE49-F238E27FC236}">
                      <a16:creationId xmlns:a16="http://schemas.microsoft.com/office/drawing/2014/main" id="{5FF82D10-DCAD-B2EE-3E77-3E3157A340FF}"/>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3" name="Graphic 1391">
                <a:extLst>
                  <a:ext uri="{FF2B5EF4-FFF2-40B4-BE49-F238E27FC236}">
                    <a16:creationId xmlns:a16="http://schemas.microsoft.com/office/drawing/2014/main" id="{936D16DA-AAC5-496D-E4F1-014D728E47C2}"/>
                  </a:ext>
                </a:extLst>
              </p:cNvPr>
              <p:cNvGrpSpPr/>
              <p:nvPr/>
            </p:nvGrpSpPr>
            <p:grpSpPr>
              <a:xfrm>
                <a:off x="6440900" y="3959256"/>
                <a:ext cx="75628" cy="75723"/>
                <a:chOff x="6440900" y="3959256"/>
                <a:chExt cx="75628" cy="75723"/>
              </a:xfrm>
            </p:grpSpPr>
            <p:sp>
              <p:nvSpPr>
                <p:cNvPr id="15683" name="Freeform: Shape 15682">
                  <a:extLst>
                    <a:ext uri="{FF2B5EF4-FFF2-40B4-BE49-F238E27FC236}">
                      <a16:creationId xmlns:a16="http://schemas.microsoft.com/office/drawing/2014/main" id="{D7AF9B4F-C1C3-2AAB-5F1A-37E3EA517BCB}"/>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4" name="Freeform: Shape 15683">
                  <a:extLst>
                    <a:ext uri="{FF2B5EF4-FFF2-40B4-BE49-F238E27FC236}">
                      <a16:creationId xmlns:a16="http://schemas.microsoft.com/office/drawing/2014/main" id="{96AD96C7-CD7B-EDA0-BC20-4695B6BAED11}"/>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4" name="Graphic 1391">
                <a:extLst>
                  <a:ext uri="{FF2B5EF4-FFF2-40B4-BE49-F238E27FC236}">
                    <a16:creationId xmlns:a16="http://schemas.microsoft.com/office/drawing/2014/main" id="{873A890B-4175-DBDD-B22C-B64F89298187}"/>
                  </a:ext>
                </a:extLst>
              </p:cNvPr>
              <p:cNvGrpSpPr/>
              <p:nvPr/>
            </p:nvGrpSpPr>
            <p:grpSpPr>
              <a:xfrm>
                <a:off x="6451377" y="3959256"/>
                <a:ext cx="75723" cy="75723"/>
                <a:chOff x="6451377" y="3959256"/>
                <a:chExt cx="75723" cy="75723"/>
              </a:xfrm>
            </p:grpSpPr>
            <p:sp>
              <p:nvSpPr>
                <p:cNvPr id="15681" name="Freeform: Shape 15680">
                  <a:extLst>
                    <a:ext uri="{FF2B5EF4-FFF2-40B4-BE49-F238E27FC236}">
                      <a16:creationId xmlns:a16="http://schemas.microsoft.com/office/drawing/2014/main" id="{FC6D170B-6BE6-A940-1501-B9FA578CC363}"/>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2" name="Freeform: Shape 15681">
                  <a:extLst>
                    <a:ext uri="{FF2B5EF4-FFF2-40B4-BE49-F238E27FC236}">
                      <a16:creationId xmlns:a16="http://schemas.microsoft.com/office/drawing/2014/main" id="{2D048879-CD01-FE76-B949-D9E1037804AC}"/>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5" name="Graphic 1391">
                <a:extLst>
                  <a:ext uri="{FF2B5EF4-FFF2-40B4-BE49-F238E27FC236}">
                    <a16:creationId xmlns:a16="http://schemas.microsoft.com/office/drawing/2014/main" id="{FEFE29A5-6447-37FF-55EA-D56F2117026E}"/>
                  </a:ext>
                </a:extLst>
              </p:cNvPr>
              <p:cNvGrpSpPr/>
              <p:nvPr/>
            </p:nvGrpSpPr>
            <p:grpSpPr>
              <a:xfrm>
                <a:off x="6465189" y="3959256"/>
                <a:ext cx="75723" cy="75723"/>
                <a:chOff x="6465189" y="3959256"/>
                <a:chExt cx="75723" cy="75723"/>
              </a:xfrm>
            </p:grpSpPr>
            <p:sp>
              <p:nvSpPr>
                <p:cNvPr id="15359" name="Freeform: Shape 15358">
                  <a:extLst>
                    <a:ext uri="{FF2B5EF4-FFF2-40B4-BE49-F238E27FC236}">
                      <a16:creationId xmlns:a16="http://schemas.microsoft.com/office/drawing/2014/main" id="{AB6F8738-9A13-4BEA-F6E5-CD9AC1D8F6C8}"/>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80" name="Freeform: Shape 15679">
                  <a:extLst>
                    <a:ext uri="{FF2B5EF4-FFF2-40B4-BE49-F238E27FC236}">
                      <a16:creationId xmlns:a16="http://schemas.microsoft.com/office/drawing/2014/main" id="{D28C30D4-2A2E-8832-5D3F-BB94D7DC0E2E}"/>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6" name="Graphic 1391">
                <a:extLst>
                  <a:ext uri="{FF2B5EF4-FFF2-40B4-BE49-F238E27FC236}">
                    <a16:creationId xmlns:a16="http://schemas.microsoft.com/office/drawing/2014/main" id="{50532445-44E3-600B-D527-76BD27962114}"/>
                  </a:ext>
                </a:extLst>
              </p:cNvPr>
              <p:cNvGrpSpPr/>
              <p:nvPr/>
            </p:nvGrpSpPr>
            <p:grpSpPr>
              <a:xfrm>
                <a:off x="6396323" y="3932491"/>
                <a:ext cx="75628" cy="75723"/>
                <a:chOff x="6396323" y="3932491"/>
                <a:chExt cx="75628" cy="75723"/>
              </a:xfrm>
            </p:grpSpPr>
            <p:sp>
              <p:nvSpPr>
                <p:cNvPr id="15357" name="Freeform: Shape 15356">
                  <a:extLst>
                    <a:ext uri="{FF2B5EF4-FFF2-40B4-BE49-F238E27FC236}">
                      <a16:creationId xmlns:a16="http://schemas.microsoft.com/office/drawing/2014/main" id="{F5C2C4FB-3358-94C0-ACF0-2F70BF47FC7F}"/>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8" name="Freeform: Shape 15357">
                  <a:extLst>
                    <a:ext uri="{FF2B5EF4-FFF2-40B4-BE49-F238E27FC236}">
                      <a16:creationId xmlns:a16="http://schemas.microsoft.com/office/drawing/2014/main" id="{2CA26C7D-565B-970A-B224-6E3FE3CAA6CB}"/>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7" name="Graphic 1391">
                <a:extLst>
                  <a:ext uri="{FF2B5EF4-FFF2-40B4-BE49-F238E27FC236}">
                    <a16:creationId xmlns:a16="http://schemas.microsoft.com/office/drawing/2014/main" id="{F9B062F6-80A8-E65F-F1E5-E62377635E3C}"/>
                  </a:ext>
                </a:extLst>
              </p:cNvPr>
              <p:cNvGrpSpPr/>
              <p:nvPr/>
            </p:nvGrpSpPr>
            <p:grpSpPr>
              <a:xfrm>
                <a:off x="6324504" y="3932491"/>
                <a:ext cx="75723" cy="75723"/>
                <a:chOff x="6324504" y="3932491"/>
                <a:chExt cx="75723" cy="75723"/>
              </a:xfrm>
            </p:grpSpPr>
            <p:sp>
              <p:nvSpPr>
                <p:cNvPr id="15355" name="Freeform: Shape 15354">
                  <a:extLst>
                    <a:ext uri="{FF2B5EF4-FFF2-40B4-BE49-F238E27FC236}">
                      <a16:creationId xmlns:a16="http://schemas.microsoft.com/office/drawing/2014/main" id="{51C4448B-25D5-BC44-94CC-13E51E080E8F}"/>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6" name="Freeform: Shape 15355">
                  <a:extLst>
                    <a:ext uri="{FF2B5EF4-FFF2-40B4-BE49-F238E27FC236}">
                      <a16:creationId xmlns:a16="http://schemas.microsoft.com/office/drawing/2014/main" id="{32D37049-6B02-B498-2BDF-A8A4EA5D59DD}"/>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3" name="Graphic 1391">
                <a:extLst>
                  <a:ext uri="{FF2B5EF4-FFF2-40B4-BE49-F238E27FC236}">
                    <a16:creationId xmlns:a16="http://schemas.microsoft.com/office/drawing/2014/main" id="{96EE2CC1-921E-EEF8-2872-8C4706EA4FBF}"/>
                  </a:ext>
                </a:extLst>
              </p:cNvPr>
              <p:cNvGrpSpPr/>
              <p:nvPr/>
            </p:nvGrpSpPr>
            <p:grpSpPr>
              <a:xfrm>
                <a:off x="6106858" y="3849433"/>
                <a:ext cx="75723" cy="75723"/>
                <a:chOff x="6106858" y="3849433"/>
                <a:chExt cx="75723" cy="75723"/>
              </a:xfrm>
            </p:grpSpPr>
            <p:sp>
              <p:nvSpPr>
                <p:cNvPr id="15353" name="Freeform: Shape 15352">
                  <a:extLst>
                    <a:ext uri="{FF2B5EF4-FFF2-40B4-BE49-F238E27FC236}">
                      <a16:creationId xmlns:a16="http://schemas.microsoft.com/office/drawing/2014/main" id="{1D8D5A5B-A7BF-6114-E96C-642597921DAD}"/>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4" name="Freeform: Shape 15353">
                  <a:extLst>
                    <a:ext uri="{FF2B5EF4-FFF2-40B4-BE49-F238E27FC236}">
                      <a16:creationId xmlns:a16="http://schemas.microsoft.com/office/drawing/2014/main" id="{871CD562-8612-4674-C8BB-15B651EE9D27}"/>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4" name="Graphic 1391">
                <a:extLst>
                  <a:ext uri="{FF2B5EF4-FFF2-40B4-BE49-F238E27FC236}">
                    <a16:creationId xmlns:a16="http://schemas.microsoft.com/office/drawing/2014/main" id="{B202D8BA-6D0F-C370-61BC-90A755E73651}"/>
                  </a:ext>
                </a:extLst>
              </p:cNvPr>
              <p:cNvGrpSpPr/>
              <p:nvPr/>
            </p:nvGrpSpPr>
            <p:grpSpPr>
              <a:xfrm>
                <a:off x="6088284" y="3819429"/>
                <a:ext cx="75628" cy="75723"/>
                <a:chOff x="6088284" y="3819429"/>
                <a:chExt cx="75628" cy="75723"/>
              </a:xfrm>
            </p:grpSpPr>
            <p:sp>
              <p:nvSpPr>
                <p:cNvPr id="15351" name="Freeform: Shape 15350">
                  <a:extLst>
                    <a:ext uri="{FF2B5EF4-FFF2-40B4-BE49-F238E27FC236}">
                      <a16:creationId xmlns:a16="http://schemas.microsoft.com/office/drawing/2014/main" id="{17285818-EDEA-85CC-4549-64AE36F660EF}"/>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2" name="Freeform: Shape 15351">
                  <a:extLst>
                    <a:ext uri="{FF2B5EF4-FFF2-40B4-BE49-F238E27FC236}">
                      <a16:creationId xmlns:a16="http://schemas.microsoft.com/office/drawing/2014/main" id="{861D5B24-78CC-C8D3-8454-0D932F35E21D}"/>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5" name="Graphic 1391">
                <a:extLst>
                  <a:ext uri="{FF2B5EF4-FFF2-40B4-BE49-F238E27FC236}">
                    <a16:creationId xmlns:a16="http://schemas.microsoft.com/office/drawing/2014/main" id="{B0B106AC-AF24-4539-3B13-56C0A0C01768}"/>
                  </a:ext>
                </a:extLst>
              </p:cNvPr>
              <p:cNvGrpSpPr/>
              <p:nvPr/>
            </p:nvGrpSpPr>
            <p:grpSpPr>
              <a:xfrm>
                <a:off x="6069044" y="3794664"/>
                <a:ext cx="75723" cy="75723"/>
                <a:chOff x="6069044" y="3794664"/>
                <a:chExt cx="75723" cy="75723"/>
              </a:xfrm>
            </p:grpSpPr>
            <p:sp>
              <p:nvSpPr>
                <p:cNvPr id="15349" name="Freeform: Shape 15348">
                  <a:extLst>
                    <a:ext uri="{FF2B5EF4-FFF2-40B4-BE49-F238E27FC236}">
                      <a16:creationId xmlns:a16="http://schemas.microsoft.com/office/drawing/2014/main" id="{745D9D2A-0DEB-D0F5-A199-15ED1FF634B5}"/>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50" name="Freeform: Shape 15349">
                  <a:extLst>
                    <a:ext uri="{FF2B5EF4-FFF2-40B4-BE49-F238E27FC236}">
                      <a16:creationId xmlns:a16="http://schemas.microsoft.com/office/drawing/2014/main" id="{9BA5F8CA-3261-D91F-B07A-567D70995A6A}"/>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0" name="Graphic 1391">
                <a:extLst>
                  <a:ext uri="{FF2B5EF4-FFF2-40B4-BE49-F238E27FC236}">
                    <a16:creationId xmlns:a16="http://schemas.microsoft.com/office/drawing/2014/main" id="{938816BA-0700-CB4F-825D-0F5ADD29FE4B}"/>
                  </a:ext>
                </a:extLst>
              </p:cNvPr>
              <p:cNvGrpSpPr/>
              <p:nvPr/>
            </p:nvGrpSpPr>
            <p:grpSpPr>
              <a:xfrm>
                <a:off x="6064186" y="3794664"/>
                <a:ext cx="75723" cy="75723"/>
                <a:chOff x="6064186" y="3794664"/>
                <a:chExt cx="75723" cy="75723"/>
              </a:xfrm>
            </p:grpSpPr>
            <p:sp>
              <p:nvSpPr>
                <p:cNvPr id="15347" name="Freeform: Shape 15346">
                  <a:extLst>
                    <a:ext uri="{FF2B5EF4-FFF2-40B4-BE49-F238E27FC236}">
                      <a16:creationId xmlns:a16="http://schemas.microsoft.com/office/drawing/2014/main" id="{444D4BF0-16B7-C6E6-D536-30B357841022}"/>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8" name="Freeform: Shape 15347">
                  <a:extLst>
                    <a:ext uri="{FF2B5EF4-FFF2-40B4-BE49-F238E27FC236}">
                      <a16:creationId xmlns:a16="http://schemas.microsoft.com/office/drawing/2014/main" id="{726FC20E-6E88-AC0B-74AC-D0749C700CA8}"/>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1" name="Graphic 1391">
                <a:extLst>
                  <a:ext uri="{FF2B5EF4-FFF2-40B4-BE49-F238E27FC236}">
                    <a16:creationId xmlns:a16="http://schemas.microsoft.com/office/drawing/2014/main" id="{CDC4337F-716B-0980-2995-238D7B741933}"/>
                  </a:ext>
                </a:extLst>
              </p:cNvPr>
              <p:cNvGrpSpPr/>
              <p:nvPr/>
            </p:nvGrpSpPr>
            <p:grpSpPr>
              <a:xfrm>
                <a:off x="6058471" y="3768375"/>
                <a:ext cx="75723" cy="75628"/>
                <a:chOff x="6058471" y="3768375"/>
                <a:chExt cx="75723" cy="75628"/>
              </a:xfrm>
            </p:grpSpPr>
            <p:sp>
              <p:nvSpPr>
                <p:cNvPr id="15345" name="Freeform: Shape 15344">
                  <a:extLst>
                    <a:ext uri="{FF2B5EF4-FFF2-40B4-BE49-F238E27FC236}">
                      <a16:creationId xmlns:a16="http://schemas.microsoft.com/office/drawing/2014/main" id="{AECAA832-E9FC-06D6-64F5-1A74C6429DE3}"/>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6" name="Freeform: Shape 15345">
                  <a:extLst>
                    <a:ext uri="{FF2B5EF4-FFF2-40B4-BE49-F238E27FC236}">
                      <a16:creationId xmlns:a16="http://schemas.microsoft.com/office/drawing/2014/main" id="{D5337B78-06A8-B06F-8809-5FD9B3F3307D}"/>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2" name="Graphic 1391">
                <a:extLst>
                  <a:ext uri="{FF2B5EF4-FFF2-40B4-BE49-F238E27FC236}">
                    <a16:creationId xmlns:a16="http://schemas.microsoft.com/office/drawing/2014/main" id="{53A1FC62-B613-0386-2698-06788781A6D0}"/>
                  </a:ext>
                </a:extLst>
              </p:cNvPr>
              <p:cNvGrpSpPr/>
              <p:nvPr/>
            </p:nvGrpSpPr>
            <p:grpSpPr>
              <a:xfrm>
                <a:off x="6043517" y="3768375"/>
                <a:ext cx="75723" cy="75628"/>
                <a:chOff x="6043517" y="3768375"/>
                <a:chExt cx="75723" cy="75628"/>
              </a:xfrm>
            </p:grpSpPr>
            <p:sp>
              <p:nvSpPr>
                <p:cNvPr id="15343" name="Freeform: Shape 15342">
                  <a:extLst>
                    <a:ext uri="{FF2B5EF4-FFF2-40B4-BE49-F238E27FC236}">
                      <a16:creationId xmlns:a16="http://schemas.microsoft.com/office/drawing/2014/main" id="{6C8AC6F1-F979-5AAA-CCC2-A0FE807CCD51}"/>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4" name="Freeform: Shape 15343">
                  <a:extLst>
                    <a:ext uri="{FF2B5EF4-FFF2-40B4-BE49-F238E27FC236}">
                      <a16:creationId xmlns:a16="http://schemas.microsoft.com/office/drawing/2014/main" id="{BED06E0D-7C0A-56E5-752E-29C1C2F89F41}"/>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3" name="Graphic 1391">
                <a:extLst>
                  <a:ext uri="{FF2B5EF4-FFF2-40B4-BE49-F238E27FC236}">
                    <a16:creationId xmlns:a16="http://schemas.microsoft.com/office/drawing/2014/main" id="{9F57385C-763D-094A-0867-34825B811F00}"/>
                  </a:ext>
                </a:extLst>
              </p:cNvPr>
              <p:cNvGrpSpPr/>
              <p:nvPr/>
            </p:nvGrpSpPr>
            <p:grpSpPr>
              <a:xfrm>
                <a:off x="5723477" y="3768375"/>
                <a:ext cx="75723" cy="75628"/>
                <a:chOff x="5723477" y="3768375"/>
                <a:chExt cx="75723" cy="75628"/>
              </a:xfrm>
            </p:grpSpPr>
            <p:sp>
              <p:nvSpPr>
                <p:cNvPr id="15341" name="Freeform: Shape 15340">
                  <a:extLst>
                    <a:ext uri="{FF2B5EF4-FFF2-40B4-BE49-F238E27FC236}">
                      <a16:creationId xmlns:a16="http://schemas.microsoft.com/office/drawing/2014/main" id="{BB1A58ED-E62D-3350-010D-4B4430EA1E79}"/>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2" name="Freeform: Shape 15341">
                  <a:extLst>
                    <a:ext uri="{FF2B5EF4-FFF2-40B4-BE49-F238E27FC236}">
                      <a16:creationId xmlns:a16="http://schemas.microsoft.com/office/drawing/2014/main" id="{13B57EE4-D579-6FD1-71DE-4BA2A2FE7E71}"/>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4" name="Graphic 1391">
                <a:extLst>
                  <a:ext uri="{FF2B5EF4-FFF2-40B4-BE49-F238E27FC236}">
                    <a16:creationId xmlns:a16="http://schemas.microsoft.com/office/drawing/2014/main" id="{C58BD7E7-251F-7151-4527-B218B55DF686}"/>
                  </a:ext>
                </a:extLst>
              </p:cNvPr>
              <p:cNvGrpSpPr/>
              <p:nvPr/>
            </p:nvGrpSpPr>
            <p:grpSpPr>
              <a:xfrm>
                <a:off x="5704808" y="3768375"/>
                <a:ext cx="75723" cy="75628"/>
                <a:chOff x="5704808" y="3768375"/>
                <a:chExt cx="75723" cy="75628"/>
              </a:xfrm>
            </p:grpSpPr>
            <p:sp>
              <p:nvSpPr>
                <p:cNvPr id="15339" name="Freeform: Shape 15338">
                  <a:extLst>
                    <a:ext uri="{FF2B5EF4-FFF2-40B4-BE49-F238E27FC236}">
                      <a16:creationId xmlns:a16="http://schemas.microsoft.com/office/drawing/2014/main" id="{1B505417-6D9C-7B58-AD5A-19A774E67E4F}"/>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40" name="Freeform: Shape 15339">
                  <a:extLst>
                    <a:ext uri="{FF2B5EF4-FFF2-40B4-BE49-F238E27FC236}">
                      <a16:creationId xmlns:a16="http://schemas.microsoft.com/office/drawing/2014/main" id="{00458BFB-EE58-FFB2-CFCF-9A2E81B2A1FB}"/>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5" name="Graphic 1391">
                <a:extLst>
                  <a:ext uri="{FF2B5EF4-FFF2-40B4-BE49-F238E27FC236}">
                    <a16:creationId xmlns:a16="http://schemas.microsoft.com/office/drawing/2014/main" id="{0C719897-9BF8-71DD-92F5-31081DC6F5AE}"/>
                  </a:ext>
                </a:extLst>
              </p:cNvPr>
              <p:cNvGrpSpPr/>
              <p:nvPr/>
            </p:nvGrpSpPr>
            <p:grpSpPr>
              <a:xfrm>
                <a:off x="5664708" y="3705796"/>
                <a:ext cx="75628" cy="75723"/>
                <a:chOff x="5664708" y="3705796"/>
                <a:chExt cx="75628" cy="75723"/>
              </a:xfrm>
            </p:grpSpPr>
            <p:sp>
              <p:nvSpPr>
                <p:cNvPr id="15337" name="Freeform: Shape 15336">
                  <a:extLst>
                    <a:ext uri="{FF2B5EF4-FFF2-40B4-BE49-F238E27FC236}">
                      <a16:creationId xmlns:a16="http://schemas.microsoft.com/office/drawing/2014/main" id="{7BFAA836-8518-C7C9-9B92-7350A00D9EB8}"/>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8" name="Freeform: Shape 15337">
                  <a:extLst>
                    <a:ext uri="{FF2B5EF4-FFF2-40B4-BE49-F238E27FC236}">
                      <a16:creationId xmlns:a16="http://schemas.microsoft.com/office/drawing/2014/main" id="{7D412228-CF52-9E1E-B441-EAF6AE45028E}"/>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6" name="Graphic 1391">
                <a:extLst>
                  <a:ext uri="{FF2B5EF4-FFF2-40B4-BE49-F238E27FC236}">
                    <a16:creationId xmlns:a16="http://schemas.microsoft.com/office/drawing/2014/main" id="{4E320613-100E-34B2-0954-7F5F13653EEC}"/>
                  </a:ext>
                </a:extLst>
              </p:cNvPr>
              <p:cNvGrpSpPr/>
              <p:nvPr/>
            </p:nvGrpSpPr>
            <p:grpSpPr>
              <a:xfrm>
                <a:off x="5267229" y="3503580"/>
                <a:ext cx="75723" cy="75723"/>
                <a:chOff x="5267229" y="3503580"/>
                <a:chExt cx="75723" cy="75723"/>
              </a:xfrm>
            </p:grpSpPr>
            <p:sp>
              <p:nvSpPr>
                <p:cNvPr id="15335" name="Freeform: Shape 15334">
                  <a:extLst>
                    <a:ext uri="{FF2B5EF4-FFF2-40B4-BE49-F238E27FC236}">
                      <a16:creationId xmlns:a16="http://schemas.microsoft.com/office/drawing/2014/main" id="{509953F7-C986-A8D4-BACC-D72FD81B6080}"/>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6" name="Freeform: Shape 15335">
                  <a:extLst>
                    <a:ext uri="{FF2B5EF4-FFF2-40B4-BE49-F238E27FC236}">
                      <a16:creationId xmlns:a16="http://schemas.microsoft.com/office/drawing/2014/main" id="{2977CE21-253E-EC34-561D-BAB45DF007DF}"/>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7" name="Graphic 1391">
                <a:extLst>
                  <a:ext uri="{FF2B5EF4-FFF2-40B4-BE49-F238E27FC236}">
                    <a16:creationId xmlns:a16="http://schemas.microsoft.com/office/drawing/2014/main" id="{CDFC6DDB-045E-3A03-FB15-2C7DC83E9FA3}"/>
                  </a:ext>
                </a:extLst>
              </p:cNvPr>
              <p:cNvGrpSpPr/>
              <p:nvPr/>
            </p:nvGrpSpPr>
            <p:grpSpPr>
              <a:xfrm>
                <a:off x="4946999" y="3369564"/>
                <a:ext cx="75723" cy="75628"/>
                <a:chOff x="4946999" y="3369564"/>
                <a:chExt cx="75723" cy="75628"/>
              </a:xfrm>
            </p:grpSpPr>
            <p:sp>
              <p:nvSpPr>
                <p:cNvPr id="15333" name="Freeform: Shape 15332">
                  <a:extLst>
                    <a:ext uri="{FF2B5EF4-FFF2-40B4-BE49-F238E27FC236}">
                      <a16:creationId xmlns:a16="http://schemas.microsoft.com/office/drawing/2014/main" id="{1AD65DE9-2298-E12B-6B14-2EC0C3558E4B}"/>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4" name="Freeform: Shape 15333">
                  <a:extLst>
                    <a:ext uri="{FF2B5EF4-FFF2-40B4-BE49-F238E27FC236}">
                      <a16:creationId xmlns:a16="http://schemas.microsoft.com/office/drawing/2014/main" id="{A0A19980-3D0D-BF4F-C74C-DB28A57D2139}"/>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8" name="Graphic 1391">
                <a:extLst>
                  <a:ext uri="{FF2B5EF4-FFF2-40B4-BE49-F238E27FC236}">
                    <a16:creationId xmlns:a16="http://schemas.microsoft.com/office/drawing/2014/main" id="{DE01445A-0D1E-4B31-6A26-8D2428405338}"/>
                  </a:ext>
                </a:extLst>
              </p:cNvPr>
              <p:cNvGrpSpPr/>
              <p:nvPr/>
            </p:nvGrpSpPr>
            <p:grpSpPr>
              <a:xfrm>
                <a:off x="4935664" y="3369564"/>
                <a:ext cx="75723" cy="75628"/>
                <a:chOff x="4935664" y="3369564"/>
                <a:chExt cx="75723" cy="75628"/>
              </a:xfrm>
            </p:grpSpPr>
            <p:sp>
              <p:nvSpPr>
                <p:cNvPr id="15331" name="Freeform: Shape 15330">
                  <a:extLst>
                    <a:ext uri="{FF2B5EF4-FFF2-40B4-BE49-F238E27FC236}">
                      <a16:creationId xmlns:a16="http://schemas.microsoft.com/office/drawing/2014/main" id="{7840D95B-32F5-6413-0CDD-A1D4774DB527}"/>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2" name="Freeform: Shape 15331">
                  <a:extLst>
                    <a:ext uri="{FF2B5EF4-FFF2-40B4-BE49-F238E27FC236}">
                      <a16:creationId xmlns:a16="http://schemas.microsoft.com/office/drawing/2014/main" id="{662C9C6A-D786-F0EE-3EA1-58AF28CAFF43}"/>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89" name="Graphic 1391">
                <a:extLst>
                  <a:ext uri="{FF2B5EF4-FFF2-40B4-BE49-F238E27FC236}">
                    <a16:creationId xmlns:a16="http://schemas.microsoft.com/office/drawing/2014/main" id="{056BD9CD-30BB-ECAF-199E-4E6717BBD0CC}"/>
                  </a:ext>
                </a:extLst>
              </p:cNvPr>
              <p:cNvGrpSpPr/>
              <p:nvPr/>
            </p:nvGrpSpPr>
            <p:grpSpPr>
              <a:xfrm>
                <a:off x="4931092" y="3335464"/>
                <a:ext cx="75628" cy="75723"/>
                <a:chOff x="4931092" y="3335464"/>
                <a:chExt cx="75628" cy="75723"/>
              </a:xfrm>
            </p:grpSpPr>
            <p:sp>
              <p:nvSpPr>
                <p:cNvPr id="15329" name="Freeform: Shape 15328">
                  <a:extLst>
                    <a:ext uri="{FF2B5EF4-FFF2-40B4-BE49-F238E27FC236}">
                      <a16:creationId xmlns:a16="http://schemas.microsoft.com/office/drawing/2014/main" id="{C1E5DD24-5D28-D780-CB43-84EEBDE4A0EC}"/>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30" name="Freeform: Shape 15329">
                  <a:extLst>
                    <a:ext uri="{FF2B5EF4-FFF2-40B4-BE49-F238E27FC236}">
                      <a16:creationId xmlns:a16="http://schemas.microsoft.com/office/drawing/2014/main" id="{CAA88713-B607-88D1-3603-A32FAE00A3DF}"/>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0" name="Graphic 1391">
                <a:extLst>
                  <a:ext uri="{FF2B5EF4-FFF2-40B4-BE49-F238E27FC236}">
                    <a16:creationId xmlns:a16="http://schemas.microsoft.com/office/drawing/2014/main" id="{E7A8658E-D20F-9B01-CDB0-71847F9B0800}"/>
                  </a:ext>
                </a:extLst>
              </p:cNvPr>
              <p:cNvGrpSpPr/>
              <p:nvPr/>
            </p:nvGrpSpPr>
            <p:grpSpPr>
              <a:xfrm>
                <a:off x="4927854" y="3319081"/>
                <a:ext cx="75628" cy="75723"/>
                <a:chOff x="4927854" y="3319081"/>
                <a:chExt cx="75628" cy="75723"/>
              </a:xfrm>
            </p:grpSpPr>
            <p:sp>
              <p:nvSpPr>
                <p:cNvPr id="15327" name="Freeform: Shape 15326">
                  <a:extLst>
                    <a:ext uri="{FF2B5EF4-FFF2-40B4-BE49-F238E27FC236}">
                      <a16:creationId xmlns:a16="http://schemas.microsoft.com/office/drawing/2014/main" id="{2E00E031-CA00-2723-81C4-F03DDA62B5F3}"/>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8" name="Freeform: Shape 15327">
                  <a:extLst>
                    <a:ext uri="{FF2B5EF4-FFF2-40B4-BE49-F238E27FC236}">
                      <a16:creationId xmlns:a16="http://schemas.microsoft.com/office/drawing/2014/main" id="{64D71663-14B7-6AC1-4051-AC8E7F30B4EB}"/>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1" name="Graphic 1391">
                <a:extLst>
                  <a:ext uri="{FF2B5EF4-FFF2-40B4-BE49-F238E27FC236}">
                    <a16:creationId xmlns:a16="http://schemas.microsoft.com/office/drawing/2014/main" id="{3A42566F-0F68-27F3-AF75-675994B37ABC}"/>
                  </a:ext>
                </a:extLst>
              </p:cNvPr>
              <p:cNvGrpSpPr/>
              <p:nvPr/>
            </p:nvGrpSpPr>
            <p:grpSpPr>
              <a:xfrm>
                <a:off x="4916900" y="3272504"/>
                <a:ext cx="75628" cy="75723"/>
                <a:chOff x="4916900" y="3272504"/>
                <a:chExt cx="75628" cy="75723"/>
              </a:xfrm>
            </p:grpSpPr>
            <p:sp>
              <p:nvSpPr>
                <p:cNvPr id="15325" name="Freeform: Shape 15324">
                  <a:extLst>
                    <a:ext uri="{FF2B5EF4-FFF2-40B4-BE49-F238E27FC236}">
                      <a16:creationId xmlns:a16="http://schemas.microsoft.com/office/drawing/2014/main" id="{EE4ECE74-43F1-7BC1-0026-1BE696CAEE8B}"/>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6" name="Freeform: Shape 15325">
                  <a:extLst>
                    <a:ext uri="{FF2B5EF4-FFF2-40B4-BE49-F238E27FC236}">
                      <a16:creationId xmlns:a16="http://schemas.microsoft.com/office/drawing/2014/main" id="{90430C9A-3EC6-CBD8-58B7-033CC6202FCB}"/>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2" name="Graphic 1391">
                <a:extLst>
                  <a:ext uri="{FF2B5EF4-FFF2-40B4-BE49-F238E27FC236}">
                    <a16:creationId xmlns:a16="http://schemas.microsoft.com/office/drawing/2014/main" id="{11C28AC8-7781-B21E-262A-5A08F04DA681}"/>
                  </a:ext>
                </a:extLst>
              </p:cNvPr>
              <p:cNvGrpSpPr/>
              <p:nvPr/>
            </p:nvGrpSpPr>
            <p:grpSpPr>
              <a:xfrm>
                <a:off x="4905089" y="3272504"/>
                <a:ext cx="75723" cy="75723"/>
                <a:chOff x="4905089" y="3272504"/>
                <a:chExt cx="75723" cy="75723"/>
              </a:xfrm>
            </p:grpSpPr>
            <p:sp>
              <p:nvSpPr>
                <p:cNvPr id="15323" name="Freeform: Shape 15322">
                  <a:extLst>
                    <a:ext uri="{FF2B5EF4-FFF2-40B4-BE49-F238E27FC236}">
                      <a16:creationId xmlns:a16="http://schemas.microsoft.com/office/drawing/2014/main" id="{93A17386-AC62-1BDA-28F5-51B9646CDB1F}"/>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4" name="Freeform: Shape 15323">
                  <a:extLst>
                    <a:ext uri="{FF2B5EF4-FFF2-40B4-BE49-F238E27FC236}">
                      <a16:creationId xmlns:a16="http://schemas.microsoft.com/office/drawing/2014/main" id="{52D004EC-4C80-1795-3E94-3D05189A1357}"/>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3" name="Graphic 1391">
                <a:extLst>
                  <a:ext uri="{FF2B5EF4-FFF2-40B4-BE49-F238E27FC236}">
                    <a16:creationId xmlns:a16="http://schemas.microsoft.com/office/drawing/2014/main" id="{B644B6B2-AA79-0C1B-A17F-E1D9CE36B83C}"/>
                  </a:ext>
                </a:extLst>
              </p:cNvPr>
              <p:cNvGrpSpPr/>
              <p:nvPr/>
            </p:nvGrpSpPr>
            <p:grpSpPr>
              <a:xfrm>
                <a:off x="4889944" y="3259740"/>
                <a:ext cx="75723" cy="75723"/>
                <a:chOff x="4889944" y="3259740"/>
                <a:chExt cx="75723" cy="75723"/>
              </a:xfrm>
            </p:grpSpPr>
            <p:sp>
              <p:nvSpPr>
                <p:cNvPr id="15319" name="Freeform: Shape 15318">
                  <a:extLst>
                    <a:ext uri="{FF2B5EF4-FFF2-40B4-BE49-F238E27FC236}">
                      <a16:creationId xmlns:a16="http://schemas.microsoft.com/office/drawing/2014/main" id="{7C4A76DD-9A96-D72E-996F-0E1FB3BFEDD0}"/>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20" name="Freeform: Shape 15319">
                  <a:extLst>
                    <a:ext uri="{FF2B5EF4-FFF2-40B4-BE49-F238E27FC236}">
                      <a16:creationId xmlns:a16="http://schemas.microsoft.com/office/drawing/2014/main" id="{CED75A31-7570-F39D-ED21-168F43AF60EC}"/>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4" name="Graphic 1391">
                <a:extLst>
                  <a:ext uri="{FF2B5EF4-FFF2-40B4-BE49-F238E27FC236}">
                    <a16:creationId xmlns:a16="http://schemas.microsoft.com/office/drawing/2014/main" id="{C75B2419-722B-2714-DBF6-FE4C62A85242}"/>
                  </a:ext>
                </a:extLst>
              </p:cNvPr>
              <p:cNvGrpSpPr/>
              <p:nvPr/>
            </p:nvGrpSpPr>
            <p:grpSpPr>
              <a:xfrm>
                <a:off x="4657344" y="3139154"/>
                <a:ext cx="75628" cy="75723"/>
                <a:chOff x="4657344" y="3139154"/>
                <a:chExt cx="75628" cy="75723"/>
              </a:xfrm>
            </p:grpSpPr>
            <p:sp>
              <p:nvSpPr>
                <p:cNvPr id="15317" name="Freeform: Shape 15316">
                  <a:extLst>
                    <a:ext uri="{FF2B5EF4-FFF2-40B4-BE49-F238E27FC236}">
                      <a16:creationId xmlns:a16="http://schemas.microsoft.com/office/drawing/2014/main" id="{F8B4A632-9AF3-514B-D8BB-44AFD75A1026}"/>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8" name="Freeform: Shape 15317">
                  <a:extLst>
                    <a:ext uri="{FF2B5EF4-FFF2-40B4-BE49-F238E27FC236}">
                      <a16:creationId xmlns:a16="http://schemas.microsoft.com/office/drawing/2014/main" id="{E3632599-4F86-358D-134D-88E1C03FABC6}"/>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5" name="Graphic 1391">
                <a:extLst>
                  <a:ext uri="{FF2B5EF4-FFF2-40B4-BE49-F238E27FC236}">
                    <a16:creationId xmlns:a16="http://schemas.microsoft.com/office/drawing/2014/main" id="{099076F7-C43A-C285-A52A-7318F658CD3C}"/>
                  </a:ext>
                </a:extLst>
              </p:cNvPr>
              <p:cNvGrpSpPr/>
              <p:nvPr/>
            </p:nvGrpSpPr>
            <p:grpSpPr>
              <a:xfrm>
                <a:off x="4566094" y="3094672"/>
                <a:ext cx="75723" cy="75723"/>
                <a:chOff x="4566094" y="3094672"/>
                <a:chExt cx="75723" cy="75723"/>
              </a:xfrm>
            </p:grpSpPr>
            <p:sp>
              <p:nvSpPr>
                <p:cNvPr id="15309" name="Freeform: Shape 15308">
                  <a:extLst>
                    <a:ext uri="{FF2B5EF4-FFF2-40B4-BE49-F238E27FC236}">
                      <a16:creationId xmlns:a16="http://schemas.microsoft.com/office/drawing/2014/main" id="{D1B471B3-350D-4A27-43C5-73917DAA4551}"/>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16" name="Freeform: Shape 15315">
                  <a:extLst>
                    <a:ext uri="{FF2B5EF4-FFF2-40B4-BE49-F238E27FC236}">
                      <a16:creationId xmlns:a16="http://schemas.microsoft.com/office/drawing/2014/main" id="{67D41272-178E-49A9-1C01-BCA8031470FF}"/>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6" name="Graphic 1391">
                <a:extLst>
                  <a:ext uri="{FF2B5EF4-FFF2-40B4-BE49-F238E27FC236}">
                    <a16:creationId xmlns:a16="http://schemas.microsoft.com/office/drawing/2014/main" id="{4068A55B-0A0F-081B-542D-9DC8D308094D}"/>
                  </a:ext>
                </a:extLst>
              </p:cNvPr>
              <p:cNvGrpSpPr/>
              <p:nvPr/>
            </p:nvGrpSpPr>
            <p:grpSpPr>
              <a:xfrm>
                <a:off x="4553521" y="3061049"/>
                <a:ext cx="75723" cy="75723"/>
                <a:chOff x="4553521" y="3061049"/>
                <a:chExt cx="75723" cy="75723"/>
              </a:xfrm>
            </p:grpSpPr>
            <p:sp>
              <p:nvSpPr>
                <p:cNvPr id="15307" name="Freeform: Shape 15306">
                  <a:extLst>
                    <a:ext uri="{FF2B5EF4-FFF2-40B4-BE49-F238E27FC236}">
                      <a16:creationId xmlns:a16="http://schemas.microsoft.com/office/drawing/2014/main" id="{F91CB5E9-A88C-BB0A-FA5A-5B707D4B8582}"/>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8" name="Freeform: Shape 15307">
                  <a:extLst>
                    <a:ext uri="{FF2B5EF4-FFF2-40B4-BE49-F238E27FC236}">
                      <a16:creationId xmlns:a16="http://schemas.microsoft.com/office/drawing/2014/main" id="{78483AB8-B15F-4E3B-C520-45D4BCFC32C4}"/>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7" name="Graphic 1391">
                <a:extLst>
                  <a:ext uri="{FF2B5EF4-FFF2-40B4-BE49-F238E27FC236}">
                    <a16:creationId xmlns:a16="http://schemas.microsoft.com/office/drawing/2014/main" id="{6637E81E-B016-0459-BB14-546495E4C6F8}"/>
                  </a:ext>
                </a:extLst>
              </p:cNvPr>
              <p:cNvGrpSpPr/>
              <p:nvPr/>
            </p:nvGrpSpPr>
            <p:grpSpPr>
              <a:xfrm>
                <a:off x="4553521" y="3046476"/>
                <a:ext cx="75723" cy="75723"/>
                <a:chOff x="4553521" y="3046476"/>
                <a:chExt cx="75723" cy="75723"/>
              </a:xfrm>
            </p:grpSpPr>
            <p:sp>
              <p:nvSpPr>
                <p:cNvPr id="15305" name="Freeform: Shape 15304">
                  <a:extLst>
                    <a:ext uri="{FF2B5EF4-FFF2-40B4-BE49-F238E27FC236}">
                      <a16:creationId xmlns:a16="http://schemas.microsoft.com/office/drawing/2014/main" id="{345258A6-1DB4-0920-B281-F237584E1083}"/>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6" name="Freeform: Shape 15305">
                  <a:extLst>
                    <a:ext uri="{FF2B5EF4-FFF2-40B4-BE49-F238E27FC236}">
                      <a16:creationId xmlns:a16="http://schemas.microsoft.com/office/drawing/2014/main" id="{F094063E-12C9-6321-7CA3-0DEE1A9736A7}"/>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8" name="Graphic 1391">
                <a:extLst>
                  <a:ext uri="{FF2B5EF4-FFF2-40B4-BE49-F238E27FC236}">
                    <a16:creationId xmlns:a16="http://schemas.microsoft.com/office/drawing/2014/main" id="{E4CE8CCA-21DD-9537-3ED1-1F2A62C1B202}"/>
                  </a:ext>
                </a:extLst>
              </p:cNvPr>
              <p:cNvGrpSpPr/>
              <p:nvPr/>
            </p:nvGrpSpPr>
            <p:grpSpPr>
              <a:xfrm>
                <a:off x="4545901" y="3008661"/>
                <a:ext cx="75628" cy="75628"/>
                <a:chOff x="4545901" y="3008661"/>
                <a:chExt cx="75628" cy="75628"/>
              </a:xfrm>
            </p:grpSpPr>
            <p:sp>
              <p:nvSpPr>
                <p:cNvPr id="15303" name="Freeform: Shape 15302">
                  <a:extLst>
                    <a:ext uri="{FF2B5EF4-FFF2-40B4-BE49-F238E27FC236}">
                      <a16:creationId xmlns:a16="http://schemas.microsoft.com/office/drawing/2014/main" id="{A2A2A2BE-F4FA-AC7D-51FE-07E944F78715}"/>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4" name="Freeform: Shape 15303">
                  <a:extLst>
                    <a:ext uri="{FF2B5EF4-FFF2-40B4-BE49-F238E27FC236}">
                      <a16:creationId xmlns:a16="http://schemas.microsoft.com/office/drawing/2014/main" id="{088C5A71-9A3E-CD10-ABD0-6027756450BB}"/>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499" name="Graphic 1391">
                <a:extLst>
                  <a:ext uri="{FF2B5EF4-FFF2-40B4-BE49-F238E27FC236}">
                    <a16:creationId xmlns:a16="http://schemas.microsoft.com/office/drawing/2014/main" id="{9924DEE3-D1CC-DAEF-CF72-6212CF298710}"/>
                  </a:ext>
                </a:extLst>
              </p:cNvPr>
              <p:cNvGrpSpPr/>
              <p:nvPr/>
            </p:nvGrpSpPr>
            <p:grpSpPr>
              <a:xfrm>
                <a:off x="4537710" y="3008661"/>
                <a:ext cx="75723" cy="75628"/>
                <a:chOff x="4537710" y="3008661"/>
                <a:chExt cx="75723" cy="75628"/>
              </a:xfrm>
            </p:grpSpPr>
            <p:sp>
              <p:nvSpPr>
                <p:cNvPr id="15301" name="Freeform: Shape 15300">
                  <a:extLst>
                    <a:ext uri="{FF2B5EF4-FFF2-40B4-BE49-F238E27FC236}">
                      <a16:creationId xmlns:a16="http://schemas.microsoft.com/office/drawing/2014/main" id="{550B92D9-78F9-5959-A417-F105D9D14033}"/>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2" name="Freeform: Shape 15301">
                  <a:extLst>
                    <a:ext uri="{FF2B5EF4-FFF2-40B4-BE49-F238E27FC236}">
                      <a16:creationId xmlns:a16="http://schemas.microsoft.com/office/drawing/2014/main" id="{CDCDFBC8-2E35-1331-DE0E-9C43EDD0E644}"/>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0" name="Graphic 1391">
                <a:extLst>
                  <a:ext uri="{FF2B5EF4-FFF2-40B4-BE49-F238E27FC236}">
                    <a16:creationId xmlns:a16="http://schemas.microsoft.com/office/drawing/2014/main" id="{BCCC2902-E41C-2AE4-DC8D-E40BA35998D1}"/>
                  </a:ext>
                </a:extLst>
              </p:cNvPr>
              <p:cNvGrpSpPr/>
              <p:nvPr/>
            </p:nvGrpSpPr>
            <p:grpSpPr>
              <a:xfrm>
                <a:off x="4531709" y="2994183"/>
                <a:ext cx="75628" cy="75723"/>
                <a:chOff x="4531709" y="2994183"/>
                <a:chExt cx="75628" cy="75723"/>
              </a:xfrm>
            </p:grpSpPr>
            <p:sp>
              <p:nvSpPr>
                <p:cNvPr id="15299" name="Freeform: Shape 15298">
                  <a:extLst>
                    <a:ext uri="{FF2B5EF4-FFF2-40B4-BE49-F238E27FC236}">
                      <a16:creationId xmlns:a16="http://schemas.microsoft.com/office/drawing/2014/main" id="{7AB7DCDB-970B-2FF6-845E-867418307E30}"/>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00" name="Freeform: Shape 15299">
                  <a:extLst>
                    <a:ext uri="{FF2B5EF4-FFF2-40B4-BE49-F238E27FC236}">
                      <a16:creationId xmlns:a16="http://schemas.microsoft.com/office/drawing/2014/main" id="{CC313618-7A7A-4D0C-0022-94911C1F7918}"/>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1" name="Graphic 1391">
                <a:extLst>
                  <a:ext uri="{FF2B5EF4-FFF2-40B4-BE49-F238E27FC236}">
                    <a16:creationId xmlns:a16="http://schemas.microsoft.com/office/drawing/2014/main" id="{785A4EE8-A5B1-497E-5873-3CB83E7AED42}"/>
                  </a:ext>
                </a:extLst>
              </p:cNvPr>
              <p:cNvGrpSpPr/>
              <p:nvPr/>
            </p:nvGrpSpPr>
            <p:grpSpPr>
              <a:xfrm>
                <a:off x="4523136" y="2978372"/>
                <a:ext cx="75723" cy="75723"/>
                <a:chOff x="4523136" y="2978372"/>
                <a:chExt cx="75723" cy="75723"/>
              </a:xfrm>
            </p:grpSpPr>
            <p:sp>
              <p:nvSpPr>
                <p:cNvPr id="15297" name="Freeform: Shape 15296">
                  <a:extLst>
                    <a:ext uri="{FF2B5EF4-FFF2-40B4-BE49-F238E27FC236}">
                      <a16:creationId xmlns:a16="http://schemas.microsoft.com/office/drawing/2014/main" id="{4395DB8B-4F90-A388-C9C3-19B6317A97B8}"/>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298" name="Freeform: Shape 15297">
                  <a:extLst>
                    <a:ext uri="{FF2B5EF4-FFF2-40B4-BE49-F238E27FC236}">
                      <a16:creationId xmlns:a16="http://schemas.microsoft.com/office/drawing/2014/main" id="{17FD5268-3283-30CE-0455-A4A0659DC041}"/>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2" name="Graphic 1391">
                <a:extLst>
                  <a:ext uri="{FF2B5EF4-FFF2-40B4-BE49-F238E27FC236}">
                    <a16:creationId xmlns:a16="http://schemas.microsoft.com/office/drawing/2014/main" id="{A52FEB93-063E-8FCB-5EAF-1789330A0A00}"/>
                  </a:ext>
                </a:extLst>
              </p:cNvPr>
              <p:cNvGrpSpPr/>
              <p:nvPr/>
            </p:nvGrpSpPr>
            <p:grpSpPr>
              <a:xfrm>
                <a:off x="4521517" y="2956369"/>
                <a:ext cx="75723" cy="75628"/>
                <a:chOff x="4521517" y="2956369"/>
                <a:chExt cx="75723" cy="75628"/>
              </a:xfrm>
            </p:grpSpPr>
            <p:sp>
              <p:nvSpPr>
                <p:cNvPr id="12543" name="Freeform: Shape 12542">
                  <a:extLst>
                    <a:ext uri="{FF2B5EF4-FFF2-40B4-BE49-F238E27FC236}">
                      <a16:creationId xmlns:a16="http://schemas.microsoft.com/office/drawing/2014/main" id="{553F6E8A-6C37-E79D-4CCD-78ACB01B7D4A}"/>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296" name="Freeform: Shape 15295">
                  <a:extLst>
                    <a:ext uri="{FF2B5EF4-FFF2-40B4-BE49-F238E27FC236}">
                      <a16:creationId xmlns:a16="http://schemas.microsoft.com/office/drawing/2014/main" id="{59FA728F-CE83-598A-F7F6-4DB7BDAE05C3}"/>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3" name="Graphic 1391">
                <a:extLst>
                  <a:ext uri="{FF2B5EF4-FFF2-40B4-BE49-F238E27FC236}">
                    <a16:creationId xmlns:a16="http://schemas.microsoft.com/office/drawing/2014/main" id="{A2E0842D-0691-46A5-1035-B8D9F3103397}"/>
                  </a:ext>
                </a:extLst>
              </p:cNvPr>
              <p:cNvGrpSpPr/>
              <p:nvPr/>
            </p:nvGrpSpPr>
            <p:grpSpPr>
              <a:xfrm>
                <a:off x="4195286" y="2825210"/>
                <a:ext cx="75628" cy="75628"/>
                <a:chOff x="4195286" y="2825210"/>
                <a:chExt cx="75628" cy="75628"/>
              </a:xfrm>
            </p:grpSpPr>
            <p:sp>
              <p:nvSpPr>
                <p:cNvPr id="12541" name="Freeform: Shape 12540">
                  <a:extLst>
                    <a:ext uri="{FF2B5EF4-FFF2-40B4-BE49-F238E27FC236}">
                      <a16:creationId xmlns:a16="http://schemas.microsoft.com/office/drawing/2014/main" id="{610C8FA7-6E6F-BD42-9D80-938D7CCE401B}"/>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2" name="Freeform: Shape 12541">
                  <a:extLst>
                    <a:ext uri="{FF2B5EF4-FFF2-40B4-BE49-F238E27FC236}">
                      <a16:creationId xmlns:a16="http://schemas.microsoft.com/office/drawing/2014/main" id="{26250DF6-54E5-0579-E186-E1FEED77884C}"/>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4" name="Graphic 1391">
                <a:extLst>
                  <a:ext uri="{FF2B5EF4-FFF2-40B4-BE49-F238E27FC236}">
                    <a16:creationId xmlns:a16="http://schemas.microsoft.com/office/drawing/2014/main" id="{AF5A8494-C543-26CD-0F49-6989B867EA9B}"/>
                  </a:ext>
                </a:extLst>
              </p:cNvPr>
              <p:cNvGrpSpPr/>
              <p:nvPr/>
            </p:nvGrpSpPr>
            <p:grpSpPr>
              <a:xfrm>
                <a:off x="3800475" y="2590800"/>
                <a:ext cx="75723" cy="75723"/>
                <a:chOff x="3800475" y="2590800"/>
                <a:chExt cx="75723" cy="75723"/>
              </a:xfrm>
            </p:grpSpPr>
            <p:sp>
              <p:nvSpPr>
                <p:cNvPr id="12539" name="Freeform: Shape 12538">
                  <a:extLst>
                    <a:ext uri="{FF2B5EF4-FFF2-40B4-BE49-F238E27FC236}">
                      <a16:creationId xmlns:a16="http://schemas.microsoft.com/office/drawing/2014/main" id="{E53F2D5E-CD8A-661B-A8CF-6E57D9F3A211}"/>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40" name="Freeform: Shape 12539">
                  <a:extLst>
                    <a:ext uri="{FF2B5EF4-FFF2-40B4-BE49-F238E27FC236}">
                      <a16:creationId xmlns:a16="http://schemas.microsoft.com/office/drawing/2014/main" id="{E1A4D255-54A9-EC36-955C-AB5AB5416E75}"/>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5" name="Graphic 1391">
                <a:extLst>
                  <a:ext uri="{FF2B5EF4-FFF2-40B4-BE49-F238E27FC236}">
                    <a16:creationId xmlns:a16="http://schemas.microsoft.com/office/drawing/2014/main" id="{56AD39D5-5CF8-C393-E672-64AC02F29759}"/>
                  </a:ext>
                </a:extLst>
              </p:cNvPr>
              <p:cNvGrpSpPr/>
              <p:nvPr/>
            </p:nvGrpSpPr>
            <p:grpSpPr>
              <a:xfrm>
                <a:off x="5280564" y="3536918"/>
                <a:ext cx="75723" cy="75723"/>
                <a:chOff x="5280564" y="3536918"/>
                <a:chExt cx="75723" cy="75723"/>
              </a:xfrm>
            </p:grpSpPr>
            <p:sp>
              <p:nvSpPr>
                <p:cNvPr id="12537" name="Freeform: Shape 12536">
                  <a:extLst>
                    <a:ext uri="{FF2B5EF4-FFF2-40B4-BE49-F238E27FC236}">
                      <a16:creationId xmlns:a16="http://schemas.microsoft.com/office/drawing/2014/main" id="{E2C467B3-6C3B-A0DE-EDCE-68F7F622EAC5}"/>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8" name="Freeform: Shape 12537">
                  <a:extLst>
                    <a:ext uri="{FF2B5EF4-FFF2-40B4-BE49-F238E27FC236}">
                      <a16:creationId xmlns:a16="http://schemas.microsoft.com/office/drawing/2014/main" id="{D4E41100-7410-7171-1978-8AECEFB39C92}"/>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6" name="Graphic 1391">
                <a:extLst>
                  <a:ext uri="{FF2B5EF4-FFF2-40B4-BE49-F238E27FC236}">
                    <a16:creationId xmlns:a16="http://schemas.microsoft.com/office/drawing/2014/main" id="{1F83C41A-1A46-F529-CEAF-FEB033985BC6}"/>
                  </a:ext>
                </a:extLst>
              </p:cNvPr>
              <p:cNvGrpSpPr/>
              <p:nvPr/>
            </p:nvGrpSpPr>
            <p:grpSpPr>
              <a:xfrm>
                <a:off x="5298852" y="3536918"/>
                <a:ext cx="75723" cy="75723"/>
                <a:chOff x="5298852" y="3536918"/>
                <a:chExt cx="75723" cy="75723"/>
              </a:xfrm>
            </p:grpSpPr>
            <p:sp>
              <p:nvSpPr>
                <p:cNvPr id="12535" name="Freeform: Shape 12534">
                  <a:extLst>
                    <a:ext uri="{FF2B5EF4-FFF2-40B4-BE49-F238E27FC236}">
                      <a16:creationId xmlns:a16="http://schemas.microsoft.com/office/drawing/2014/main" id="{31FAACF8-0840-FBE6-EBCC-17FD20024818}"/>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6" name="Freeform: Shape 12535">
                  <a:extLst>
                    <a:ext uri="{FF2B5EF4-FFF2-40B4-BE49-F238E27FC236}">
                      <a16:creationId xmlns:a16="http://schemas.microsoft.com/office/drawing/2014/main" id="{73A8EA72-E887-716F-2D41-2298774D7BA3}"/>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7" name="Graphic 1391">
                <a:extLst>
                  <a:ext uri="{FF2B5EF4-FFF2-40B4-BE49-F238E27FC236}">
                    <a16:creationId xmlns:a16="http://schemas.microsoft.com/office/drawing/2014/main" id="{B36E74C3-3C6D-C8AD-0658-F10480370510}"/>
                  </a:ext>
                </a:extLst>
              </p:cNvPr>
              <p:cNvGrpSpPr/>
              <p:nvPr/>
            </p:nvGrpSpPr>
            <p:grpSpPr>
              <a:xfrm>
                <a:off x="5305044" y="3573018"/>
                <a:ext cx="75723" cy="75628"/>
                <a:chOff x="5305044" y="3573018"/>
                <a:chExt cx="75723" cy="75628"/>
              </a:xfrm>
            </p:grpSpPr>
            <p:sp>
              <p:nvSpPr>
                <p:cNvPr id="12533" name="Freeform: Shape 12532">
                  <a:extLst>
                    <a:ext uri="{FF2B5EF4-FFF2-40B4-BE49-F238E27FC236}">
                      <a16:creationId xmlns:a16="http://schemas.microsoft.com/office/drawing/2014/main" id="{E59CC9A5-95DA-4A84-F80A-2036CE503A1B}"/>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4" name="Freeform: Shape 12533">
                  <a:extLst>
                    <a:ext uri="{FF2B5EF4-FFF2-40B4-BE49-F238E27FC236}">
                      <a16:creationId xmlns:a16="http://schemas.microsoft.com/office/drawing/2014/main" id="{B50D44EF-0B37-C8F8-9E26-30E06F01C41D}"/>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8" name="Graphic 1391">
                <a:extLst>
                  <a:ext uri="{FF2B5EF4-FFF2-40B4-BE49-F238E27FC236}">
                    <a16:creationId xmlns:a16="http://schemas.microsoft.com/office/drawing/2014/main" id="{8E08FF93-6CD4-81F1-8602-8FD448283DF1}"/>
                  </a:ext>
                </a:extLst>
              </p:cNvPr>
              <p:cNvGrpSpPr/>
              <p:nvPr/>
            </p:nvGrpSpPr>
            <p:grpSpPr>
              <a:xfrm>
                <a:off x="5314473" y="3585114"/>
                <a:ext cx="75723" cy="75723"/>
                <a:chOff x="5314473" y="3585114"/>
                <a:chExt cx="75723" cy="75723"/>
              </a:xfrm>
            </p:grpSpPr>
            <p:sp>
              <p:nvSpPr>
                <p:cNvPr id="12531" name="Freeform: Shape 12530">
                  <a:extLst>
                    <a:ext uri="{FF2B5EF4-FFF2-40B4-BE49-F238E27FC236}">
                      <a16:creationId xmlns:a16="http://schemas.microsoft.com/office/drawing/2014/main" id="{3F9AC56E-BDA3-BEF1-8B10-A33593AB4FF2}"/>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2" name="Freeform: Shape 12531">
                  <a:extLst>
                    <a:ext uri="{FF2B5EF4-FFF2-40B4-BE49-F238E27FC236}">
                      <a16:creationId xmlns:a16="http://schemas.microsoft.com/office/drawing/2014/main" id="{B5FE125C-B816-C446-D92C-67384867CB34}"/>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09" name="Graphic 1391">
                <a:extLst>
                  <a:ext uri="{FF2B5EF4-FFF2-40B4-BE49-F238E27FC236}">
                    <a16:creationId xmlns:a16="http://schemas.microsoft.com/office/drawing/2014/main" id="{4DE1E394-8F2F-1AA2-C553-4D235504A4FB}"/>
                  </a:ext>
                </a:extLst>
              </p:cNvPr>
              <p:cNvGrpSpPr/>
              <p:nvPr/>
            </p:nvGrpSpPr>
            <p:grpSpPr>
              <a:xfrm>
                <a:off x="5328380" y="3585114"/>
                <a:ext cx="75723" cy="75723"/>
                <a:chOff x="5328380" y="3585114"/>
                <a:chExt cx="75723" cy="75723"/>
              </a:xfrm>
            </p:grpSpPr>
            <p:sp>
              <p:nvSpPr>
                <p:cNvPr id="12529" name="Freeform: Shape 12528">
                  <a:extLst>
                    <a:ext uri="{FF2B5EF4-FFF2-40B4-BE49-F238E27FC236}">
                      <a16:creationId xmlns:a16="http://schemas.microsoft.com/office/drawing/2014/main" id="{27FB9DE8-5338-6B7D-34BD-960FD19738CA}"/>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0" name="Freeform: Shape 12529">
                  <a:extLst>
                    <a:ext uri="{FF2B5EF4-FFF2-40B4-BE49-F238E27FC236}">
                      <a16:creationId xmlns:a16="http://schemas.microsoft.com/office/drawing/2014/main" id="{64F2A63B-D747-0E8F-D72B-F49E0451DA03}"/>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1" name="Graphic 1391">
                <a:extLst>
                  <a:ext uri="{FF2B5EF4-FFF2-40B4-BE49-F238E27FC236}">
                    <a16:creationId xmlns:a16="http://schemas.microsoft.com/office/drawing/2014/main" id="{384006E7-0039-BABF-7317-596414268E67}"/>
                  </a:ext>
                </a:extLst>
              </p:cNvPr>
              <p:cNvGrpSpPr/>
              <p:nvPr/>
            </p:nvGrpSpPr>
            <p:grpSpPr>
              <a:xfrm>
                <a:off x="5342382" y="3585114"/>
                <a:ext cx="75628" cy="75723"/>
                <a:chOff x="5342382" y="3585114"/>
                <a:chExt cx="75628" cy="75723"/>
              </a:xfrm>
            </p:grpSpPr>
            <p:sp>
              <p:nvSpPr>
                <p:cNvPr id="12527" name="Freeform: Shape 12526">
                  <a:extLst>
                    <a:ext uri="{FF2B5EF4-FFF2-40B4-BE49-F238E27FC236}">
                      <a16:creationId xmlns:a16="http://schemas.microsoft.com/office/drawing/2014/main" id="{77FFD1EA-24CF-92D6-E7ED-92DB1B998FEF}"/>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8" name="Freeform: Shape 12527">
                  <a:extLst>
                    <a:ext uri="{FF2B5EF4-FFF2-40B4-BE49-F238E27FC236}">
                      <a16:creationId xmlns:a16="http://schemas.microsoft.com/office/drawing/2014/main" id="{71060030-44FD-481A-7FAE-28645C44DAAD}"/>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2" name="Graphic 1391">
                <a:extLst>
                  <a:ext uri="{FF2B5EF4-FFF2-40B4-BE49-F238E27FC236}">
                    <a16:creationId xmlns:a16="http://schemas.microsoft.com/office/drawing/2014/main" id="{E3C33962-8528-E58B-FD11-C8517F7464C9}"/>
                  </a:ext>
                </a:extLst>
              </p:cNvPr>
              <p:cNvGrpSpPr/>
              <p:nvPr/>
            </p:nvGrpSpPr>
            <p:grpSpPr>
              <a:xfrm>
                <a:off x="5356288" y="3585114"/>
                <a:ext cx="75723" cy="75723"/>
                <a:chOff x="5356288" y="3585114"/>
                <a:chExt cx="75723" cy="75723"/>
              </a:xfrm>
            </p:grpSpPr>
            <p:sp>
              <p:nvSpPr>
                <p:cNvPr id="12525" name="Freeform: Shape 12524">
                  <a:extLst>
                    <a:ext uri="{FF2B5EF4-FFF2-40B4-BE49-F238E27FC236}">
                      <a16:creationId xmlns:a16="http://schemas.microsoft.com/office/drawing/2014/main" id="{A30F160F-1BD1-0713-51EF-431EA0A431E4}"/>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6" name="Freeform: Shape 12525">
                  <a:extLst>
                    <a:ext uri="{FF2B5EF4-FFF2-40B4-BE49-F238E27FC236}">
                      <a16:creationId xmlns:a16="http://schemas.microsoft.com/office/drawing/2014/main" id="{55BE6476-3B7A-89B8-2A17-3217F7DC68C6}"/>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3" name="Graphic 1391">
                <a:extLst>
                  <a:ext uri="{FF2B5EF4-FFF2-40B4-BE49-F238E27FC236}">
                    <a16:creationId xmlns:a16="http://schemas.microsoft.com/office/drawing/2014/main" id="{F0463106-F92F-7AE7-BA14-F7A9866A29DF}"/>
                  </a:ext>
                </a:extLst>
              </p:cNvPr>
              <p:cNvGrpSpPr/>
              <p:nvPr/>
            </p:nvGrpSpPr>
            <p:grpSpPr>
              <a:xfrm>
                <a:off x="5671566" y="3726180"/>
                <a:ext cx="75723" cy="75723"/>
                <a:chOff x="5671566" y="3726180"/>
                <a:chExt cx="75723" cy="75723"/>
              </a:xfrm>
            </p:grpSpPr>
            <p:sp>
              <p:nvSpPr>
                <p:cNvPr id="12523" name="Freeform: Shape 12522">
                  <a:extLst>
                    <a:ext uri="{FF2B5EF4-FFF2-40B4-BE49-F238E27FC236}">
                      <a16:creationId xmlns:a16="http://schemas.microsoft.com/office/drawing/2014/main" id="{A9B8A4E4-8922-9D57-1518-6938C8C11995}"/>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4" name="Freeform: Shape 12523">
                  <a:extLst>
                    <a:ext uri="{FF2B5EF4-FFF2-40B4-BE49-F238E27FC236}">
                      <a16:creationId xmlns:a16="http://schemas.microsoft.com/office/drawing/2014/main" id="{7F7E010B-D542-226C-5128-20FABAAE0050}"/>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4" name="Graphic 1391">
                <a:extLst>
                  <a:ext uri="{FF2B5EF4-FFF2-40B4-BE49-F238E27FC236}">
                    <a16:creationId xmlns:a16="http://schemas.microsoft.com/office/drawing/2014/main" id="{A8190ECE-C126-12B1-72E3-9399D7C4A387}"/>
                  </a:ext>
                </a:extLst>
              </p:cNvPr>
              <p:cNvGrpSpPr/>
              <p:nvPr/>
            </p:nvGrpSpPr>
            <p:grpSpPr>
              <a:xfrm>
                <a:off x="5682900" y="3735514"/>
                <a:ext cx="75723" cy="75723"/>
                <a:chOff x="5682900" y="3735514"/>
                <a:chExt cx="75723" cy="75723"/>
              </a:xfrm>
            </p:grpSpPr>
            <p:sp>
              <p:nvSpPr>
                <p:cNvPr id="12521" name="Freeform: Shape 12520">
                  <a:extLst>
                    <a:ext uri="{FF2B5EF4-FFF2-40B4-BE49-F238E27FC236}">
                      <a16:creationId xmlns:a16="http://schemas.microsoft.com/office/drawing/2014/main" id="{DDF4B9BF-7FB0-91FD-08F6-C4DEE8EB0774}"/>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2" name="Freeform: Shape 12521">
                  <a:extLst>
                    <a:ext uri="{FF2B5EF4-FFF2-40B4-BE49-F238E27FC236}">
                      <a16:creationId xmlns:a16="http://schemas.microsoft.com/office/drawing/2014/main" id="{D66514E3-FDC9-5728-4F30-34C0C90F33F4}"/>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5" name="Graphic 1391">
                <a:extLst>
                  <a:ext uri="{FF2B5EF4-FFF2-40B4-BE49-F238E27FC236}">
                    <a16:creationId xmlns:a16="http://schemas.microsoft.com/office/drawing/2014/main" id="{19DACC23-81AF-F12A-6015-227484C3E1B9}"/>
                  </a:ext>
                </a:extLst>
              </p:cNvPr>
              <p:cNvGrpSpPr/>
              <p:nvPr/>
            </p:nvGrpSpPr>
            <p:grpSpPr>
              <a:xfrm>
                <a:off x="5692235" y="3735514"/>
                <a:ext cx="75723" cy="75723"/>
                <a:chOff x="5692235" y="3735514"/>
                <a:chExt cx="75723" cy="75723"/>
              </a:xfrm>
            </p:grpSpPr>
            <p:sp>
              <p:nvSpPr>
                <p:cNvPr id="12519" name="Freeform: Shape 12518">
                  <a:extLst>
                    <a:ext uri="{FF2B5EF4-FFF2-40B4-BE49-F238E27FC236}">
                      <a16:creationId xmlns:a16="http://schemas.microsoft.com/office/drawing/2014/main" id="{84C29C29-3E53-E3DB-9FE5-0CB16C5D980A}"/>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0" name="Freeform: Shape 12519">
                  <a:extLst>
                    <a:ext uri="{FF2B5EF4-FFF2-40B4-BE49-F238E27FC236}">
                      <a16:creationId xmlns:a16="http://schemas.microsoft.com/office/drawing/2014/main" id="{4F9550B7-F2CE-941D-843D-1DEBDFC07A3B}"/>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16" name="Graphic 1391">
                <a:extLst>
                  <a:ext uri="{FF2B5EF4-FFF2-40B4-BE49-F238E27FC236}">
                    <a16:creationId xmlns:a16="http://schemas.microsoft.com/office/drawing/2014/main" id="{DD822E9F-2B1C-6082-CDD1-9CBE51D15D2E}"/>
                  </a:ext>
                </a:extLst>
              </p:cNvPr>
              <p:cNvGrpSpPr/>
              <p:nvPr/>
            </p:nvGrpSpPr>
            <p:grpSpPr>
              <a:xfrm>
                <a:off x="7189470" y="4189952"/>
                <a:ext cx="75723" cy="75723"/>
                <a:chOff x="7189470" y="4189952"/>
                <a:chExt cx="75723" cy="75723"/>
              </a:xfrm>
            </p:grpSpPr>
            <p:sp>
              <p:nvSpPr>
                <p:cNvPr id="12517" name="Freeform: Shape 12516">
                  <a:extLst>
                    <a:ext uri="{FF2B5EF4-FFF2-40B4-BE49-F238E27FC236}">
                      <a16:creationId xmlns:a16="http://schemas.microsoft.com/office/drawing/2014/main" id="{1F748207-529F-1FC8-D60B-338A2E6B102A}"/>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8" name="Freeform: Shape 12517">
                  <a:extLst>
                    <a:ext uri="{FF2B5EF4-FFF2-40B4-BE49-F238E27FC236}">
                      <a16:creationId xmlns:a16="http://schemas.microsoft.com/office/drawing/2014/main" id="{AD210EA2-969E-D090-6167-8B8CE34F9D31}"/>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239" name="Freeform: Shape 15238">
              <a:extLst>
                <a:ext uri="{FF2B5EF4-FFF2-40B4-BE49-F238E27FC236}">
                  <a16:creationId xmlns:a16="http://schemas.microsoft.com/office/drawing/2014/main" id="{914E87C7-2870-B4C1-DA84-3AEB8B79DB04}"/>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79" name="Group 16278" hidden="1">
            <a:extLst>
              <a:ext uri="{FF2B5EF4-FFF2-40B4-BE49-F238E27FC236}">
                <a16:creationId xmlns:a16="http://schemas.microsoft.com/office/drawing/2014/main" id="{6006DB94-9251-EA10-8041-FAE092419FA1}"/>
              </a:ext>
            </a:extLst>
          </p:cNvPr>
          <p:cNvGrpSpPr/>
          <p:nvPr/>
        </p:nvGrpSpPr>
        <p:grpSpPr>
          <a:xfrm>
            <a:off x="666995" y="1435010"/>
            <a:ext cx="6838719" cy="2233885"/>
            <a:chOff x="3800475" y="2590800"/>
            <a:chExt cx="4593812" cy="1674876"/>
          </a:xfrm>
        </p:grpSpPr>
        <p:grpSp>
          <p:nvGrpSpPr>
            <p:cNvPr id="16481" name="Graphic 1391">
              <a:extLst>
                <a:ext uri="{FF2B5EF4-FFF2-40B4-BE49-F238E27FC236}">
                  <a16:creationId xmlns:a16="http://schemas.microsoft.com/office/drawing/2014/main" id="{CF8A1190-65EB-790C-3D87-4B4B414C0645}"/>
                </a:ext>
              </a:extLst>
            </p:cNvPr>
            <p:cNvGrpSpPr/>
            <p:nvPr/>
          </p:nvGrpSpPr>
          <p:grpSpPr>
            <a:xfrm>
              <a:off x="3800475" y="2590800"/>
              <a:ext cx="4593812" cy="1674876"/>
              <a:chOff x="3800475" y="2590800"/>
              <a:chExt cx="4593812" cy="1674876"/>
            </a:xfrm>
          </p:grpSpPr>
          <p:grpSp>
            <p:nvGrpSpPr>
              <p:cNvPr id="16483" name="Graphic 1391">
                <a:extLst>
                  <a:ext uri="{FF2B5EF4-FFF2-40B4-BE49-F238E27FC236}">
                    <a16:creationId xmlns:a16="http://schemas.microsoft.com/office/drawing/2014/main" id="{F1D23F1C-39C7-C63B-FD64-AED0F123CBA8}"/>
                  </a:ext>
                </a:extLst>
              </p:cNvPr>
              <p:cNvGrpSpPr/>
              <p:nvPr/>
            </p:nvGrpSpPr>
            <p:grpSpPr>
              <a:xfrm>
                <a:off x="8318563" y="4189952"/>
                <a:ext cx="75723" cy="75723"/>
                <a:chOff x="8318563" y="4189952"/>
                <a:chExt cx="75723" cy="75723"/>
              </a:xfrm>
            </p:grpSpPr>
            <p:sp>
              <p:nvSpPr>
                <p:cNvPr id="16667" name="Freeform: Shape 16666">
                  <a:extLst>
                    <a:ext uri="{FF2B5EF4-FFF2-40B4-BE49-F238E27FC236}">
                      <a16:creationId xmlns:a16="http://schemas.microsoft.com/office/drawing/2014/main" id="{1CC71CC8-D5E9-D5D5-E9EF-A8586C36F141}"/>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8" name="Freeform: Shape 16667">
                  <a:extLst>
                    <a:ext uri="{FF2B5EF4-FFF2-40B4-BE49-F238E27FC236}">
                      <a16:creationId xmlns:a16="http://schemas.microsoft.com/office/drawing/2014/main" id="{50C7096F-0DB2-17D2-4954-91F2BA464169}"/>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4" name="Graphic 1391">
                <a:extLst>
                  <a:ext uri="{FF2B5EF4-FFF2-40B4-BE49-F238E27FC236}">
                    <a16:creationId xmlns:a16="http://schemas.microsoft.com/office/drawing/2014/main" id="{CA97DEA3-8672-F842-93C2-C07077615DB2}"/>
                  </a:ext>
                </a:extLst>
              </p:cNvPr>
              <p:cNvGrpSpPr/>
              <p:nvPr/>
            </p:nvGrpSpPr>
            <p:grpSpPr>
              <a:xfrm>
                <a:off x="7982140" y="4189952"/>
                <a:ext cx="75723" cy="75723"/>
                <a:chOff x="7982140" y="4189952"/>
                <a:chExt cx="75723" cy="75723"/>
              </a:xfrm>
            </p:grpSpPr>
            <p:sp>
              <p:nvSpPr>
                <p:cNvPr id="16665" name="Freeform: Shape 16664">
                  <a:extLst>
                    <a:ext uri="{FF2B5EF4-FFF2-40B4-BE49-F238E27FC236}">
                      <a16:creationId xmlns:a16="http://schemas.microsoft.com/office/drawing/2014/main" id="{5F15D057-F6BF-3F5D-1EED-6F9F4AF3240C}"/>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6" name="Freeform: Shape 16665">
                  <a:extLst>
                    <a:ext uri="{FF2B5EF4-FFF2-40B4-BE49-F238E27FC236}">
                      <a16:creationId xmlns:a16="http://schemas.microsoft.com/office/drawing/2014/main" id="{6892E950-5C36-610F-1163-1A4576400D7F}"/>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5" name="Graphic 1391">
                <a:extLst>
                  <a:ext uri="{FF2B5EF4-FFF2-40B4-BE49-F238E27FC236}">
                    <a16:creationId xmlns:a16="http://schemas.microsoft.com/office/drawing/2014/main" id="{7E60897E-F268-4C12-30F4-24FDBC9B3410}"/>
                  </a:ext>
                </a:extLst>
              </p:cNvPr>
              <p:cNvGrpSpPr/>
              <p:nvPr/>
            </p:nvGrpSpPr>
            <p:grpSpPr>
              <a:xfrm>
                <a:off x="7971758" y="4189952"/>
                <a:ext cx="75723" cy="75723"/>
                <a:chOff x="7971758" y="4189952"/>
                <a:chExt cx="75723" cy="75723"/>
              </a:xfrm>
            </p:grpSpPr>
            <p:sp>
              <p:nvSpPr>
                <p:cNvPr id="16663" name="Freeform: Shape 16662">
                  <a:extLst>
                    <a:ext uri="{FF2B5EF4-FFF2-40B4-BE49-F238E27FC236}">
                      <a16:creationId xmlns:a16="http://schemas.microsoft.com/office/drawing/2014/main" id="{F4727381-2614-C36E-12E5-0000DF1E024E}"/>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4" name="Freeform: Shape 16663">
                  <a:extLst>
                    <a:ext uri="{FF2B5EF4-FFF2-40B4-BE49-F238E27FC236}">
                      <a16:creationId xmlns:a16="http://schemas.microsoft.com/office/drawing/2014/main" id="{76E16DC4-9CCC-A86A-D046-49BE71860215}"/>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6" name="Graphic 1391">
                <a:extLst>
                  <a:ext uri="{FF2B5EF4-FFF2-40B4-BE49-F238E27FC236}">
                    <a16:creationId xmlns:a16="http://schemas.microsoft.com/office/drawing/2014/main" id="{D97A4DB5-FF67-96D9-1ED3-16322B523E8D}"/>
                  </a:ext>
                </a:extLst>
              </p:cNvPr>
              <p:cNvGrpSpPr/>
              <p:nvPr/>
            </p:nvGrpSpPr>
            <p:grpSpPr>
              <a:xfrm>
                <a:off x="7613904" y="4189952"/>
                <a:ext cx="75628" cy="75723"/>
                <a:chOff x="7613904" y="4189952"/>
                <a:chExt cx="75628" cy="75723"/>
              </a:xfrm>
            </p:grpSpPr>
            <p:sp>
              <p:nvSpPr>
                <p:cNvPr id="16661" name="Freeform: Shape 16660">
                  <a:extLst>
                    <a:ext uri="{FF2B5EF4-FFF2-40B4-BE49-F238E27FC236}">
                      <a16:creationId xmlns:a16="http://schemas.microsoft.com/office/drawing/2014/main" id="{7730D7AD-A680-AD16-7EC1-B6FED3735AD7}"/>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2" name="Freeform: Shape 16661">
                  <a:extLst>
                    <a:ext uri="{FF2B5EF4-FFF2-40B4-BE49-F238E27FC236}">
                      <a16:creationId xmlns:a16="http://schemas.microsoft.com/office/drawing/2014/main" id="{2538282A-9A0E-1573-0047-53EEE17C3CCE}"/>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7" name="Graphic 1391">
                <a:extLst>
                  <a:ext uri="{FF2B5EF4-FFF2-40B4-BE49-F238E27FC236}">
                    <a16:creationId xmlns:a16="http://schemas.microsoft.com/office/drawing/2014/main" id="{25146C16-8147-1F4C-10BF-5AD064F11DC4}"/>
                  </a:ext>
                </a:extLst>
              </p:cNvPr>
              <p:cNvGrpSpPr/>
              <p:nvPr/>
            </p:nvGrpSpPr>
            <p:grpSpPr>
              <a:xfrm>
                <a:off x="7578185" y="4189952"/>
                <a:ext cx="75723" cy="75723"/>
                <a:chOff x="7578185" y="4189952"/>
                <a:chExt cx="75723" cy="75723"/>
              </a:xfrm>
            </p:grpSpPr>
            <p:sp>
              <p:nvSpPr>
                <p:cNvPr id="16659" name="Freeform: Shape 16658">
                  <a:extLst>
                    <a:ext uri="{FF2B5EF4-FFF2-40B4-BE49-F238E27FC236}">
                      <a16:creationId xmlns:a16="http://schemas.microsoft.com/office/drawing/2014/main" id="{95CF9209-0CCD-97CE-95B4-A9B092407E61}"/>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60" name="Freeform: Shape 16659">
                  <a:extLst>
                    <a:ext uri="{FF2B5EF4-FFF2-40B4-BE49-F238E27FC236}">
                      <a16:creationId xmlns:a16="http://schemas.microsoft.com/office/drawing/2014/main" id="{3A60578B-13EA-A2F3-64C7-1F4286038BD4}"/>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8" name="Graphic 1391">
                <a:extLst>
                  <a:ext uri="{FF2B5EF4-FFF2-40B4-BE49-F238E27FC236}">
                    <a16:creationId xmlns:a16="http://schemas.microsoft.com/office/drawing/2014/main" id="{5568B591-D54A-669D-10AD-F84EC0BBD36C}"/>
                  </a:ext>
                </a:extLst>
              </p:cNvPr>
              <p:cNvGrpSpPr/>
              <p:nvPr/>
            </p:nvGrpSpPr>
            <p:grpSpPr>
              <a:xfrm>
                <a:off x="7567231" y="4189952"/>
                <a:ext cx="75723" cy="75723"/>
                <a:chOff x="7567231" y="4189952"/>
                <a:chExt cx="75723" cy="75723"/>
              </a:xfrm>
            </p:grpSpPr>
            <p:sp>
              <p:nvSpPr>
                <p:cNvPr id="16657" name="Freeform: Shape 16656">
                  <a:extLst>
                    <a:ext uri="{FF2B5EF4-FFF2-40B4-BE49-F238E27FC236}">
                      <a16:creationId xmlns:a16="http://schemas.microsoft.com/office/drawing/2014/main" id="{07829A71-34D3-4152-B642-E536C2F98881}"/>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8" name="Freeform: Shape 16657">
                  <a:extLst>
                    <a:ext uri="{FF2B5EF4-FFF2-40B4-BE49-F238E27FC236}">
                      <a16:creationId xmlns:a16="http://schemas.microsoft.com/office/drawing/2014/main" id="{51EBF370-58EA-1DE2-AE24-F61B81B90F88}"/>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9" name="Graphic 1391">
                <a:extLst>
                  <a:ext uri="{FF2B5EF4-FFF2-40B4-BE49-F238E27FC236}">
                    <a16:creationId xmlns:a16="http://schemas.microsoft.com/office/drawing/2014/main" id="{BEF26DF1-D485-9B13-CCF3-4455B5248E56}"/>
                  </a:ext>
                </a:extLst>
              </p:cNvPr>
              <p:cNvGrpSpPr/>
              <p:nvPr/>
            </p:nvGrpSpPr>
            <p:grpSpPr>
              <a:xfrm>
                <a:off x="7557897" y="4189952"/>
                <a:ext cx="75723" cy="75723"/>
                <a:chOff x="7557897" y="4189952"/>
                <a:chExt cx="75723" cy="75723"/>
              </a:xfrm>
            </p:grpSpPr>
            <p:sp>
              <p:nvSpPr>
                <p:cNvPr id="16655" name="Freeform: Shape 16654">
                  <a:extLst>
                    <a:ext uri="{FF2B5EF4-FFF2-40B4-BE49-F238E27FC236}">
                      <a16:creationId xmlns:a16="http://schemas.microsoft.com/office/drawing/2014/main" id="{B3E60A09-4E99-333C-3708-CECE67AD7B3F}"/>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6" name="Freeform: Shape 16655">
                  <a:extLst>
                    <a:ext uri="{FF2B5EF4-FFF2-40B4-BE49-F238E27FC236}">
                      <a16:creationId xmlns:a16="http://schemas.microsoft.com/office/drawing/2014/main" id="{094F4205-B820-E6C7-534D-D8C6D16E5944}"/>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0" name="Graphic 1391">
                <a:extLst>
                  <a:ext uri="{FF2B5EF4-FFF2-40B4-BE49-F238E27FC236}">
                    <a16:creationId xmlns:a16="http://schemas.microsoft.com/office/drawing/2014/main" id="{16F5E608-D642-2374-A66B-32424E488182}"/>
                  </a:ext>
                </a:extLst>
              </p:cNvPr>
              <p:cNvGrpSpPr/>
              <p:nvPr/>
            </p:nvGrpSpPr>
            <p:grpSpPr>
              <a:xfrm>
                <a:off x="7236142" y="4189952"/>
                <a:ext cx="75628" cy="75723"/>
                <a:chOff x="7236142" y="4189952"/>
                <a:chExt cx="75628" cy="75723"/>
              </a:xfrm>
            </p:grpSpPr>
            <p:sp>
              <p:nvSpPr>
                <p:cNvPr id="16653" name="Freeform: Shape 16652">
                  <a:extLst>
                    <a:ext uri="{FF2B5EF4-FFF2-40B4-BE49-F238E27FC236}">
                      <a16:creationId xmlns:a16="http://schemas.microsoft.com/office/drawing/2014/main" id="{6A907083-DFBC-42C5-543D-6F48149F990C}"/>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4" name="Freeform: Shape 16653">
                  <a:extLst>
                    <a:ext uri="{FF2B5EF4-FFF2-40B4-BE49-F238E27FC236}">
                      <a16:creationId xmlns:a16="http://schemas.microsoft.com/office/drawing/2014/main" id="{602E55FA-36FF-36E4-2AA2-8CB717EE5E40}"/>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1" name="Graphic 1391">
                <a:extLst>
                  <a:ext uri="{FF2B5EF4-FFF2-40B4-BE49-F238E27FC236}">
                    <a16:creationId xmlns:a16="http://schemas.microsoft.com/office/drawing/2014/main" id="{471E46B5-0B0D-B660-7FEF-4E86A9A1FC59}"/>
                  </a:ext>
                </a:extLst>
              </p:cNvPr>
              <p:cNvGrpSpPr/>
              <p:nvPr/>
            </p:nvGrpSpPr>
            <p:grpSpPr>
              <a:xfrm>
                <a:off x="7200804" y="4189952"/>
                <a:ext cx="75723" cy="75723"/>
                <a:chOff x="7200804" y="4189952"/>
                <a:chExt cx="75723" cy="75723"/>
              </a:xfrm>
            </p:grpSpPr>
            <p:sp>
              <p:nvSpPr>
                <p:cNvPr id="16651" name="Freeform: Shape 16650">
                  <a:extLst>
                    <a:ext uri="{FF2B5EF4-FFF2-40B4-BE49-F238E27FC236}">
                      <a16:creationId xmlns:a16="http://schemas.microsoft.com/office/drawing/2014/main" id="{840FBDAA-7DCD-9B76-924B-3D51D3FDEFDB}"/>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2" name="Freeform: Shape 16651">
                  <a:extLst>
                    <a:ext uri="{FF2B5EF4-FFF2-40B4-BE49-F238E27FC236}">
                      <a16:creationId xmlns:a16="http://schemas.microsoft.com/office/drawing/2014/main" id="{85383A9F-0F50-2EFF-667C-C49FCEA1858B}"/>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2" name="Graphic 1391">
                <a:extLst>
                  <a:ext uri="{FF2B5EF4-FFF2-40B4-BE49-F238E27FC236}">
                    <a16:creationId xmlns:a16="http://schemas.microsoft.com/office/drawing/2014/main" id="{FD1C6547-F0C0-5997-EA08-35056262F3CF}"/>
                  </a:ext>
                </a:extLst>
              </p:cNvPr>
              <p:cNvGrpSpPr/>
              <p:nvPr/>
            </p:nvGrpSpPr>
            <p:grpSpPr>
              <a:xfrm>
                <a:off x="7178135" y="4189952"/>
                <a:ext cx="75723" cy="75723"/>
                <a:chOff x="7178135" y="4189952"/>
                <a:chExt cx="75723" cy="75723"/>
              </a:xfrm>
            </p:grpSpPr>
            <p:sp>
              <p:nvSpPr>
                <p:cNvPr id="16649" name="Freeform: Shape 16648">
                  <a:extLst>
                    <a:ext uri="{FF2B5EF4-FFF2-40B4-BE49-F238E27FC236}">
                      <a16:creationId xmlns:a16="http://schemas.microsoft.com/office/drawing/2014/main" id="{D25A0FC7-C419-DC2F-28F9-83661D0D1566}"/>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50" name="Freeform: Shape 16649">
                  <a:extLst>
                    <a:ext uri="{FF2B5EF4-FFF2-40B4-BE49-F238E27FC236}">
                      <a16:creationId xmlns:a16="http://schemas.microsoft.com/office/drawing/2014/main" id="{ACC4226D-8752-7927-82E7-6D8D8376D168}"/>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3" name="Graphic 1391">
                <a:extLst>
                  <a:ext uri="{FF2B5EF4-FFF2-40B4-BE49-F238E27FC236}">
                    <a16:creationId xmlns:a16="http://schemas.microsoft.com/office/drawing/2014/main" id="{73535673-13EA-1F2D-C14A-749CB2416A49}"/>
                  </a:ext>
                </a:extLst>
              </p:cNvPr>
              <p:cNvGrpSpPr/>
              <p:nvPr/>
            </p:nvGrpSpPr>
            <p:grpSpPr>
              <a:xfrm>
                <a:off x="6910197" y="4189952"/>
                <a:ext cx="75723" cy="75723"/>
                <a:chOff x="6910197" y="4189952"/>
                <a:chExt cx="75723" cy="75723"/>
              </a:xfrm>
            </p:grpSpPr>
            <p:sp>
              <p:nvSpPr>
                <p:cNvPr id="16647" name="Freeform: Shape 16646">
                  <a:extLst>
                    <a:ext uri="{FF2B5EF4-FFF2-40B4-BE49-F238E27FC236}">
                      <a16:creationId xmlns:a16="http://schemas.microsoft.com/office/drawing/2014/main" id="{C5D6EB7C-38EF-1C39-546E-331ED56FE162}"/>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8" name="Freeform: Shape 16647">
                  <a:extLst>
                    <a:ext uri="{FF2B5EF4-FFF2-40B4-BE49-F238E27FC236}">
                      <a16:creationId xmlns:a16="http://schemas.microsoft.com/office/drawing/2014/main" id="{8096D9B8-245F-0063-AD17-C7272A581F3B}"/>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4" name="Graphic 1391">
                <a:extLst>
                  <a:ext uri="{FF2B5EF4-FFF2-40B4-BE49-F238E27FC236}">
                    <a16:creationId xmlns:a16="http://schemas.microsoft.com/office/drawing/2014/main" id="{18656839-F451-7F95-1AA9-15ED9BD16A2E}"/>
                  </a:ext>
                </a:extLst>
              </p:cNvPr>
              <p:cNvGrpSpPr/>
              <p:nvPr/>
            </p:nvGrpSpPr>
            <p:grpSpPr>
              <a:xfrm>
                <a:off x="6866096" y="4189952"/>
                <a:ext cx="75628" cy="75723"/>
                <a:chOff x="6866096" y="4189952"/>
                <a:chExt cx="75628" cy="75723"/>
              </a:xfrm>
            </p:grpSpPr>
            <p:sp>
              <p:nvSpPr>
                <p:cNvPr id="16645" name="Freeform: Shape 16644">
                  <a:extLst>
                    <a:ext uri="{FF2B5EF4-FFF2-40B4-BE49-F238E27FC236}">
                      <a16:creationId xmlns:a16="http://schemas.microsoft.com/office/drawing/2014/main" id="{D6EF9F66-E447-271C-9EB1-5113CCF948D5}"/>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6" name="Freeform: Shape 16645">
                  <a:extLst>
                    <a:ext uri="{FF2B5EF4-FFF2-40B4-BE49-F238E27FC236}">
                      <a16:creationId xmlns:a16="http://schemas.microsoft.com/office/drawing/2014/main" id="{4A435411-8DE9-8CD9-D81B-AA865BB838A0}"/>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5" name="Graphic 1391">
                <a:extLst>
                  <a:ext uri="{FF2B5EF4-FFF2-40B4-BE49-F238E27FC236}">
                    <a16:creationId xmlns:a16="http://schemas.microsoft.com/office/drawing/2014/main" id="{DC36DD62-B807-0843-E0A0-37492AAB8C99}"/>
                  </a:ext>
                </a:extLst>
              </p:cNvPr>
              <p:cNvGrpSpPr/>
              <p:nvPr/>
            </p:nvGrpSpPr>
            <p:grpSpPr>
              <a:xfrm>
                <a:off x="6855523" y="4136898"/>
                <a:ext cx="75723" cy="75628"/>
                <a:chOff x="6855523" y="4136898"/>
                <a:chExt cx="75723" cy="75628"/>
              </a:xfrm>
            </p:grpSpPr>
            <p:sp>
              <p:nvSpPr>
                <p:cNvPr id="16643" name="Freeform: Shape 16642">
                  <a:extLst>
                    <a:ext uri="{FF2B5EF4-FFF2-40B4-BE49-F238E27FC236}">
                      <a16:creationId xmlns:a16="http://schemas.microsoft.com/office/drawing/2014/main" id="{F327D9EC-DB61-6D61-DAD1-5ADA641C9194}"/>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4" name="Freeform: Shape 16643">
                  <a:extLst>
                    <a:ext uri="{FF2B5EF4-FFF2-40B4-BE49-F238E27FC236}">
                      <a16:creationId xmlns:a16="http://schemas.microsoft.com/office/drawing/2014/main" id="{2CC38CBF-C7A9-231C-B96B-9012E68C1894}"/>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6" name="Graphic 1391">
                <a:extLst>
                  <a:ext uri="{FF2B5EF4-FFF2-40B4-BE49-F238E27FC236}">
                    <a16:creationId xmlns:a16="http://schemas.microsoft.com/office/drawing/2014/main" id="{78151C12-D69C-8007-D0A3-1FAEDAD9AAC5}"/>
                  </a:ext>
                </a:extLst>
              </p:cNvPr>
              <p:cNvGrpSpPr/>
              <p:nvPr/>
            </p:nvGrpSpPr>
            <p:grpSpPr>
              <a:xfrm>
                <a:off x="6821424" y="4086129"/>
                <a:ext cx="75723" cy="75723"/>
                <a:chOff x="6821424" y="4086129"/>
                <a:chExt cx="75723" cy="75723"/>
              </a:xfrm>
            </p:grpSpPr>
            <p:sp>
              <p:nvSpPr>
                <p:cNvPr id="16641" name="Freeform: Shape 16640">
                  <a:extLst>
                    <a:ext uri="{FF2B5EF4-FFF2-40B4-BE49-F238E27FC236}">
                      <a16:creationId xmlns:a16="http://schemas.microsoft.com/office/drawing/2014/main" id="{0C3B1B52-DAA6-DBF1-9B77-3E1568FD17E0}"/>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2" name="Freeform: Shape 16641">
                  <a:extLst>
                    <a:ext uri="{FF2B5EF4-FFF2-40B4-BE49-F238E27FC236}">
                      <a16:creationId xmlns:a16="http://schemas.microsoft.com/office/drawing/2014/main" id="{775D4B27-5880-56BE-8CFC-7CD03B361F50}"/>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7" name="Graphic 1391">
                <a:extLst>
                  <a:ext uri="{FF2B5EF4-FFF2-40B4-BE49-F238E27FC236}">
                    <a16:creationId xmlns:a16="http://schemas.microsoft.com/office/drawing/2014/main" id="{5E013942-D135-C962-6823-5729C4A8649C}"/>
                  </a:ext>
                </a:extLst>
              </p:cNvPr>
              <p:cNvGrpSpPr/>
              <p:nvPr/>
            </p:nvGrpSpPr>
            <p:grpSpPr>
              <a:xfrm>
                <a:off x="6810565" y="4041933"/>
                <a:ext cx="75628" cy="75723"/>
                <a:chOff x="6810565" y="4041933"/>
                <a:chExt cx="75628" cy="75723"/>
              </a:xfrm>
            </p:grpSpPr>
            <p:sp>
              <p:nvSpPr>
                <p:cNvPr id="16639" name="Freeform: Shape 16638">
                  <a:extLst>
                    <a:ext uri="{FF2B5EF4-FFF2-40B4-BE49-F238E27FC236}">
                      <a16:creationId xmlns:a16="http://schemas.microsoft.com/office/drawing/2014/main" id="{53528FA1-B0BF-5012-D672-7769BF41F4D2}"/>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40" name="Freeform: Shape 16639">
                  <a:extLst>
                    <a:ext uri="{FF2B5EF4-FFF2-40B4-BE49-F238E27FC236}">
                      <a16:creationId xmlns:a16="http://schemas.microsoft.com/office/drawing/2014/main" id="{D8964734-6918-A1AA-A2DA-7CABE6078CD8}"/>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8" name="Graphic 1391">
                <a:extLst>
                  <a:ext uri="{FF2B5EF4-FFF2-40B4-BE49-F238E27FC236}">
                    <a16:creationId xmlns:a16="http://schemas.microsoft.com/office/drawing/2014/main" id="{DC359FF4-E713-8E31-ED88-5CDB6EF6521B}"/>
                  </a:ext>
                </a:extLst>
              </p:cNvPr>
              <p:cNvGrpSpPr/>
              <p:nvPr/>
            </p:nvGrpSpPr>
            <p:grpSpPr>
              <a:xfrm>
                <a:off x="6797516" y="4041933"/>
                <a:ext cx="75723" cy="75723"/>
                <a:chOff x="6797516" y="4041933"/>
                <a:chExt cx="75723" cy="75723"/>
              </a:xfrm>
            </p:grpSpPr>
            <p:sp>
              <p:nvSpPr>
                <p:cNvPr id="16637" name="Freeform: Shape 16636">
                  <a:extLst>
                    <a:ext uri="{FF2B5EF4-FFF2-40B4-BE49-F238E27FC236}">
                      <a16:creationId xmlns:a16="http://schemas.microsoft.com/office/drawing/2014/main" id="{F30C3286-0B8D-0CB1-8AC2-F403EBBCF2F8}"/>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8" name="Freeform: Shape 16637">
                  <a:extLst>
                    <a:ext uri="{FF2B5EF4-FFF2-40B4-BE49-F238E27FC236}">
                      <a16:creationId xmlns:a16="http://schemas.microsoft.com/office/drawing/2014/main" id="{EBCFC223-73CF-E444-5777-63A2261348EE}"/>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9" name="Graphic 1391">
                <a:extLst>
                  <a:ext uri="{FF2B5EF4-FFF2-40B4-BE49-F238E27FC236}">
                    <a16:creationId xmlns:a16="http://schemas.microsoft.com/office/drawing/2014/main" id="{3317D7F3-DA21-A91F-689D-8C33FF082E89}"/>
                  </a:ext>
                </a:extLst>
              </p:cNvPr>
              <p:cNvGrpSpPr/>
              <p:nvPr/>
            </p:nvGrpSpPr>
            <p:grpSpPr>
              <a:xfrm>
                <a:off x="6708362" y="4041933"/>
                <a:ext cx="75723" cy="75723"/>
                <a:chOff x="6708362" y="4041933"/>
                <a:chExt cx="75723" cy="75723"/>
              </a:xfrm>
            </p:grpSpPr>
            <p:sp>
              <p:nvSpPr>
                <p:cNvPr id="16635" name="Freeform: Shape 16634">
                  <a:extLst>
                    <a:ext uri="{FF2B5EF4-FFF2-40B4-BE49-F238E27FC236}">
                      <a16:creationId xmlns:a16="http://schemas.microsoft.com/office/drawing/2014/main" id="{274AC4E0-0758-1E7D-0D82-4DDBDEEB66BF}"/>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6" name="Freeform: Shape 16635">
                  <a:extLst>
                    <a:ext uri="{FF2B5EF4-FFF2-40B4-BE49-F238E27FC236}">
                      <a16:creationId xmlns:a16="http://schemas.microsoft.com/office/drawing/2014/main" id="{DB6ECCB2-A658-B2B8-6007-E1C36D8EE128}"/>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0" name="Graphic 1391">
                <a:extLst>
                  <a:ext uri="{FF2B5EF4-FFF2-40B4-BE49-F238E27FC236}">
                    <a16:creationId xmlns:a16="http://schemas.microsoft.com/office/drawing/2014/main" id="{FB0B1E9E-22CA-E51F-70C0-25C7208DEE09}"/>
                  </a:ext>
                </a:extLst>
              </p:cNvPr>
              <p:cNvGrpSpPr/>
              <p:nvPr/>
            </p:nvGrpSpPr>
            <p:grpSpPr>
              <a:xfrm>
                <a:off x="6420612" y="3932491"/>
                <a:ext cx="75723" cy="75723"/>
                <a:chOff x="6420612" y="3932491"/>
                <a:chExt cx="75723" cy="75723"/>
              </a:xfrm>
            </p:grpSpPr>
            <p:sp>
              <p:nvSpPr>
                <p:cNvPr id="16633" name="Freeform: Shape 16632">
                  <a:extLst>
                    <a:ext uri="{FF2B5EF4-FFF2-40B4-BE49-F238E27FC236}">
                      <a16:creationId xmlns:a16="http://schemas.microsoft.com/office/drawing/2014/main" id="{E08D97B0-EB97-DC43-1A63-2E35D0D5DDD9}"/>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4" name="Freeform: Shape 16633">
                  <a:extLst>
                    <a:ext uri="{FF2B5EF4-FFF2-40B4-BE49-F238E27FC236}">
                      <a16:creationId xmlns:a16="http://schemas.microsoft.com/office/drawing/2014/main" id="{BE02E600-6905-EEAB-F052-1F46155D3486}"/>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1" name="Graphic 1391">
                <a:extLst>
                  <a:ext uri="{FF2B5EF4-FFF2-40B4-BE49-F238E27FC236}">
                    <a16:creationId xmlns:a16="http://schemas.microsoft.com/office/drawing/2014/main" id="{C4BDE083-5535-678D-60B7-C4A8D80D948F}"/>
                  </a:ext>
                </a:extLst>
              </p:cNvPr>
              <p:cNvGrpSpPr/>
              <p:nvPr/>
            </p:nvGrpSpPr>
            <p:grpSpPr>
              <a:xfrm>
                <a:off x="6440900" y="3959256"/>
                <a:ext cx="75628" cy="75723"/>
                <a:chOff x="6440900" y="3959256"/>
                <a:chExt cx="75628" cy="75723"/>
              </a:xfrm>
            </p:grpSpPr>
            <p:sp>
              <p:nvSpPr>
                <p:cNvPr id="16631" name="Freeform: Shape 16630">
                  <a:extLst>
                    <a:ext uri="{FF2B5EF4-FFF2-40B4-BE49-F238E27FC236}">
                      <a16:creationId xmlns:a16="http://schemas.microsoft.com/office/drawing/2014/main" id="{07CBC478-EC12-6DD0-2EBE-011CAAB85948}"/>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2" name="Freeform: Shape 16631">
                  <a:extLst>
                    <a:ext uri="{FF2B5EF4-FFF2-40B4-BE49-F238E27FC236}">
                      <a16:creationId xmlns:a16="http://schemas.microsoft.com/office/drawing/2014/main" id="{8559476C-EDD4-5A77-20FD-2D5F6678ACF4}"/>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2" name="Graphic 1391">
                <a:extLst>
                  <a:ext uri="{FF2B5EF4-FFF2-40B4-BE49-F238E27FC236}">
                    <a16:creationId xmlns:a16="http://schemas.microsoft.com/office/drawing/2014/main" id="{C9CF8986-1DC7-9708-FC7E-E8D72E333970}"/>
                  </a:ext>
                </a:extLst>
              </p:cNvPr>
              <p:cNvGrpSpPr/>
              <p:nvPr/>
            </p:nvGrpSpPr>
            <p:grpSpPr>
              <a:xfrm>
                <a:off x="6451377" y="3959256"/>
                <a:ext cx="75723" cy="75723"/>
                <a:chOff x="6451377" y="3959256"/>
                <a:chExt cx="75723" cy="75723"/>
              </a:xfrm>
            </p:grpSpPr>
            <p:sp>
              <p:nvSpPr>
                <p:cNvPr id="16629" name="Freeform: Shape 16628">
                  <a:extLst>
                    <a:ext uri="{FF2B5EF4-FFF2-40B4-BE49-F238E27FC236}">
                      <a16:creationId xmlns:a16="http://schemas.microsoft.com/office/drawing/2014/main" id="{8C19A83E-6935-E581-FE65-07DFF4B467E1}"/>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30" name="Freeform: Shape 16629">
                  <a:extLst>
                    <a:ext uri="{FF2B5EF4-FFF2-40B4-BE49-F238E27FC236}">
                      <a16:creationId xmlns:a16="http://schemas.microsoft.com/office/drawing/2014/main" id="{AC5F81A6-61E1-3C0D-CA52-F796BB70A1F8}"/>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3" name="Graphic 1391">
                <a:extLst>
                  <a:ext uri="{FF2B5EF4-FFF2-40B4-BE49-F238E27FC236}">
                    <a16:creationId xmlns:a16="http://schemas.microsoft.com/office/drawing/2014/main" id="{57624B4A-880C-04E3-5DE4-9AFB0C24A1FA}"/>
                  </a:ext>
                </a:extLst>
              </p:cNvPr>
              <p:cNvGrpSpPr/>
              <p:nvPr/>
            </p:nvGrpSpPr>
            <p:grpSpPr>
              <a:xfrm>
                <a:off x="6465189" y="3959256"/>
                <a:ext cx="75723" cy="75723"/>
                <a:chOff x="6465189" y="3959256"/>
                <a:chExt cx="75723" cy="75723"/>
              </a:xfrm>
            </p:grpSpPr>
            <p:sp>
              <p:nvSpPr>
                <p:cNvPr id="16627" name="Freeform: Shape 16626">
                  <a:extLst>
                    <a:ext uri="{FF2B5EF4-FFF2-40B4-BE49-F238E27FC236}">
                      <a16:creationId xmlns:a16="http://schemas.microsoft.com/office/drawing/2014/main" id="{ADB96494-E406-A30C-1103-40B5B2EFFA9D}"/>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8" name="Freeform: Shape 16627">
                  <a:extLst>
                    <a:ext uri="{FF2B5EF4-FFF2-40B4-BE49-F238E27FC236}">
                      <a16:creationId xmlns:a16="http://schemas.microsoft.com/office/drawing/2014/main" id="{770EF49E-E23B-F6C0-F7CA-470AE4842F85}"/>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4" name="Graphic 1391">
                <a:extLst>
                  <a:ext uri="{FF2B5EF4-FFF2-40B4-BE49-F238E27FC236}">
                    <a16:creationId xmlns:a16="http://schemas.microsoft.com/office/drawing/2014/main" id="{3B367C3F-7648-112A-7BB2-1E4794EB24E9}"/>
                  </a:ext>
                </a:extLst>
              </p:cNvPr>
              <p:cNvGrpSpPr/>
              <p:nvPr/>
            </p:nvGrpSpPr>
            <p:grpSpPr>
              <a:xfrm>
                <a:off x="6396323" y="3932491"/>
                <a:ext cx="75628" cy="75723"/>
                <a:chOff x="6396323" y="3932491"/>
                <a:chExt cx="75628" cy="75723"/>
              </a:xfrm>
            </p:grpSpPr>
            <p:sp>
              <p:nvSpPr>
                <p:cNvPr id="16625" name="Freeform: Shape 16624">
                  <a:extLst>
                    <a:ext uri="{FF2B5EF4-FFF2-40B4-BE49-F238E27FC236}">
                      <a16:creationId xmlns:a16="http://schemas.microsoft.com/office/drawing/2014/main" id="{809CBF62-E9CB-75C6-67CB-BC2BAA776FA8}"/>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6" name="Freeform: Shape 16625">
                  <a:extLst>
                    <a:ext uri="{FF2B5EF4-FFF2-40B4-BE49-F238E27FC236}">
                      <a16:creationId xmlns:a16="http://schemas.microsoft.com/office/drawing/2014/main" id="{2B1CCF0D-2F08-3BD9-9762-79F66719F245}"/>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5" name="Graphic 1391">
                <a:extLst>
                  <a:ext uri="{FF2B5EF4-FFF2-40B4-BE49-F238E27FC236}">
                    <a16:creationId xmlns:a16="http://schemas.microsoft.com/office/drawing/2014/main" id="{762B9925-5926-1709-A564-319533E2890A}"/>
                  </a:ext>
                </a:extLst>
              </p:cNvPr>
              <p:cNvGrpSpPr/>
              <p:nvPr/>
            </p:nvGrpSpPr>
            <p:grpSpPr>
              <a:xfrm>
                <a:off x="6324504" y="3932491"/>
                <a:ext cx="75723" cy="75723"/>
                <a:chOff x="6324504" y="3932491"/>
                <a:chExt cx="75723" cy="75723"/>
              </a:xfrm>
            </p:grpSpPr>
            <p:sp>
              <p:nvSpPr>
                <p:cNvPr id="16623" name="Freeform: Shape 16622">
                  <a:extLst>
                    <a:ext uri="{FF2B5EF4-FFF2-40B4-BE49-F238E27FC236}">
                      <a16:creationId xmlns:a16="http://schemas.microsoft.com/office/drawing/2014/main" id="{D0A6FEEA-5D0B-3074-A2F2-51B97108AA37}"/>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4" name="Freeform: Shape 16623">
                  <a:extLst>
                    <a:ext uri="{FF2B5EF4-FFF2-40B4-BE49-F238E27FC236}">
                      <a16:creationId xmlns:a16="http://schemas.microsoft.com/office/drawing/2014/main" id="{F721371F-D460-5565-40A3-9449C43D72C3}"/>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6" name="Graphic 1391">
                <a:extLst>
                  <a:ext uri="{FF2B5EF4-FFF2-40B4-BE49-F238E27FC236}">
                    <a16:creationId xmlns:a16="http://schemas.microsoft.com/office/drawing/2014/main" id="{D3CC2A4F-A7B8-D47B-373E-F413A9C84173}"/>
                  </a:ext>
                </a:extLst>
              </p:cNvPr>
              <p:cNvGrpSpPr/>
              <p:nvPr/>
            </p:nvGrpSpPr>
            <p:grpSpPr>
              <a:xfrm>
                <a:off x="6106858" y="3849433"/>
                <a:ext cx="75723" cy="75723"/>
                <a:chOff x="6106858" y="3849433"/>
                <a:chExt cx="75723" cy="75723"/>
              </a:xfrm>
            </p:grpSpPr>
            <p:sp>
              <p:nvSpPr>
                <p:cNvPr id="16621" name="Freeform: Shape 16620">
                  <a:extLst>
                    <a:ext uri="{FF2B5EF4-FFF2-40B4-BE49-F238E27FC236}">
                      <a16:creationId xmlns:a16="http://schemas.microsoft.com/office/drawing/2014/main" id="{54D9E970-5B78-916C-BAB8-F3DC085CC31B}"/>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2" name="Freeform: Shape 16621">
                  <a:extLst>
                    <a:ext uri="{FF2B5EF4-FFF2-40B4-BE49-F238E27FC236}">
                      <a16:creationId xmlns:a16="http://schemas.microsoft.com/office/drawing/2014/main" id="{9FDCB55F-4173-270E-544F-C3190D3389F1}"/>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7" name="Graphic 1391">
                <a:extLst>
                  <a:ext uri="{FF2B5EF4-FFF2-40B4-BE49-F238E27FC236}">
                    <a16:creationId xmlns:a16="http://schemas.microsoft.com/office/drawing/2014/main" id="{5190814C-9E8A-BBE8-90D4-F993549A9C47}"/>
                  </a:ext>
                </a:extLst>
              </p:cNvPr>
              <p:cNvGrpSpPr/>
              <p:nvPr/>
            </p:nvGrpSpPr>
            <p:grpSpPr>
              <a:xfrm>
                <a:off x="6088284" y="3819429"/>
                <a:ext cx="75628" cy="75723"/>
                <a:chOff x="6088284" y="3819429"/>
                <a:chExt cx="75628" cy="75723"/>
              </a:xfrm>
            </p:grpSpPr>
            <p:sp>
              <p:nvSpPr>
                <p:cNvPr id="16619" name="Freeform: Shape 16618">
                  <a:extLst>
                    <a:ext uri="{FF2B5EF4-FFF2-40B4-BE49-F238E27FC236}">
                      <a16:creationId xmlns:a16="http://schemas.microsoft.com/office/drawing/2014/main" id="{F9D1A0DB-7880-5484-CBE9-F2DBEA355680}"/>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20" name="Freeform: Shape 16619">
                  <a:extLst>
                    <a:ext uri="{FF2B5EF4-FFF2-40B4-BE49-F238E27FC236}">
                      <a16:creationId xmlns:a16="http://schemas.microsoft.com/office/drawing/2014/main" id="{AFF61E38-0F1B-1B07-9A7D-E7FEECE6E754}"/>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8" name="Graphic 1391">
                <a:extLst>
                  <a:ext uri="{FF2B5EF4-FFF2-40B4-BE49-F238E27FC236}">
                    <a16:creationId xmlns:a16="http://schemas.microsoft.com/office/drawing/2014/main" id="{40D841F2-1D5B-E9C5-09C6-9D82FC1D306B}"/>
                  </a:ext>
                </a:extLst>
              </p:cNvPr>
              <p:cNvGrpSpPr/>
              <p:nvPr/>
            </p:nvGrpSpPr>
            <p:grpSpPr>
              <a:xfrm>
                <a:off x="6069044" y="3794664"/>
                <a:ext cx="75723" cy="75723"/>
                <a:chOff x="6069044" y="3794664"/>
                <a:chExt cx="75723" cy="75723"/>
              </a:xfrm>
            </p:grpSpPr>
            <p:sp>
              <p:nvSpPr>
                <p:cNvPr id="16617" name="Freeform: Shape 16616">
                  <a:extLst>
                    <a:ext uri="{FF2B5EF4-FFF2-40B4-BE49-F238E27FC236}">
                      <a16:creationId xmlns:a16="http://schemas.microsoft.com/office/drawing/2014/main" id="{A79A9CF8-5A71-72F1-0ABB-1CF7B04DE2D6}"/>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8" name="Freeform: Shape 16617">
                  <a:extLst>
                    <a:ext uri="{FF2B5EF4-FFF2-40B4-BE49-F238E27FC236}">
                      <a16:creationId xmlns:a16="http://schemas.microsoft.com/office/drawing/2014/main" id="{D0392397-E3DE-4E6D-7A90-365F9FA34B69}"/>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9" name="Graphic 1391">
                <a:extLst>
                  <a:ext uri="{FF2B5EF4-FFF2-40B4-BE49-F238E27FC236}">
                    <a16:creationId xmlns:a16="http://schemas.microsoft.com/office/drawing/2014/main" id="{16DF7BD3-345B-3AC8-0ECB-FF59AB199E0A}"/>
                  </a:ext>
                </a:extLst>
              </p:cNvPr>
              <p:cNvGrpSpPr/>
              <p:nvPr/>
            </p:nvGrpSpPr>
            <p:grpSpPr>
              <a:xfrm>
                <a:off x="6064186" y="3794664"/>
                <a:ext cx="75723" cy="75723"/>
                <a:chOff x="6064186" y="3794664"/>
                <a:chExt cx="75723" cy="75723"/>
              </a:xfrm>
            </p:grpSpPr>
            <p:sp>
              <p:nvSpPr>
                <p:cNvPr id="16615" name="Freeform: Shape 16614">
                  <a:extLst>
                    <a:ext uri="{FF2B5EF4-FFF2-40B4-BE49-F238E27FC236}">
                      <a16:creationId xmlns:a16="http://schemas.microsoft.com/office/drawing/2014/main" id="{34AFC620-7990-FE41-1EC3-C821B0A8589C}"/>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6" name="Freeform: Shape 16615">
                  <a:extLst>
                    <a:ext uri="{FF2B5EF4-FFF2-40B4-BE49-F238E27FC236}">
                      <a16:creationId xmlns:a16="http://schemas.microsoft.com/office/drawing/2014/main" id="{52FA21C4-934C-7505-D426-8479E3DE522A}"/>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0" name="Graphic 1391">
                <a:extLst>
                  <a:ext uri="{FF2B5EF4-FFF2-40B4-BE49-F238E27FC236}">
                    <a16:creationId xmlns:a16="http://schemas.microsoft.com/office/drawing/2014/main" id="{04DBA515-7037-4A8E-A64E-612C428D52B9}"/>
                  </a:ext>
                </a:extLst>
              </p:cNvPr>
              <p:cNvGrpSpPr/>
              <p:nvPr/>
            </p:nvGrpSpPr>
            <p:grpSpPr>
              <a:xfrm>
                <a:off x="6058471" y="3768375"/>
                <a:ext cx="75723" cy="75628"/>
                <a:chOff x="6058471" y="3768375"/>
                <a:chExt cx="75723" cy="75628"/>
              </a:xfrm>
            </p:grpSpPr>
            <p:sp>
              <p:nvSpPr>
                <p:cNvPr id="16613" name="Freeform: Shape 16612">
                  <a:extLst>
                    <a:ext uri="{FF2B5EF4-FFF2-40B4-BE49-F238E27FC236}">
                      <a16:creationId xmlns:a16="http://schemas.microsoft.com/office/drawing/2014/main" id="{A50B5285-6B7F-0D29-8BBC-B18CAD599BEB}"/>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4" name="Freeform: Shape 16613">
                  <a:extLst>
                    <a:ext uri="{FF2B5EF4-FFF2-40B4-BE49-F238E27FC236}">
                      <a16:creationId xmlns:a16="http://schemas.microsoft.com/office/drawing/2014/main" id="{328FE509-16E5-372D-A0AC-91175DD58B31}"/>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1" name="Graphic 1391">
                <a:extLst>
                  <a:ext uri="{FF2B5EF4-FFF2-40B4-BE49-F238E27FC236}">
                    <a16:creationId xmlns:a16="http://schemas.microsoft.com/office/drawing/2014/main" id="{217AC7A3-5083-0B55-995A-40FB9104459D}"/>
                  </a:ext>
                </a:extLst>
              </p:cNvPr>
              <p:cNvGrpSpPr/>
              <p:nvPr/>
            </p:nvGrpSpPr>
            <p:grpSpPr>
              <a:xfrm>
                <a:off x="6043517" y="3768375"/>
                <a:ext cx="75723" cy="75628"/>
                <a:chOff x="6043517" y="3768375"/>
                <a:chExt cx="75723" cy="75628"/>
              </a:xfrm>
            </p:grpSpPr>
            <p:sp>
              <p:nvSpPr>
                <p:cNvPr id="16611" name="Freeform: Shape 16610">
                  <a:extLst>
                    <a:ext uri="{FF2B5EF4-FFF2-40B4-BE49-F238E27FC236}">
                      <a16:creationId xmlns:a16="http://schemas.microsoft.com/office/drawing/2014/main" id="{A36B2E99-B680-A45A-0BBF-5027BC2E81EB}"/>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2" name="Freeform: Shape 16611">
                  <a:extLst>
                    <a:ext uri="{FF2B5EF4-FFF2-40B4-BE49-F238E27FC236}">
                      <a16:creationId xmlns:a16="http://schemas.microsoft.com/office/drawing/2014/main" id="{30892A52-1294-5C08-390F-893EBDAD9CFA}"/>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2" name="Graphic 1391">
                <a:extLst>
                  <a:ext uri="{FF2B5EF4-FFF2-40B4-BE49-F238E27FC236}">
                    <a16:creationId xmlns:a16="http://schemas.microsoft.com/office/drawing/2014/main" id="{8998A141-5C98-745B-1008-D0E5F4BA4C32}"/>
                  </a:ext>
                </a:extLst>
              </p:cNvPr>
              <p:cNvGrpSpPr/>
              <p:nvPr/>
            </p:nvGrpSpPr>
            <p:grpSpPr>
              <a:xfrm>
                <a:off x="5723477" y="3768375"/>
                <a:ext cx="75723" cy="75628"/>
                <a:chOff x="5723477" y="3768375"/>
                <a:chExt cx="75723" cy="75628"/>
              </a:xfrm>
            </p:grpSpPr>
            <p:sp>
              <p:nvSpPr>
                <p:cNvPr id="16609" name="Freeform: Shape 16608">
                  <a:extLst>
                    <a:ext uri="{FF2B5EF4-FFF2-40B4-BE49-F238E27FC236}">
                      <a16:creationId xmlns:a16="http://schemas.microsoft.com/office/drawing/2014/main" id="{FA6A992F-495D-4888-C05D-F4EB1879560A}"/>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10" name="Freeform: Shape 16609">
                  <a:extLst>
                    <a:ext uri="{FF2B5EF4-FFF2-40B4-BE49-F238E27FC236}">
                      <a16:creationId xmlns:a16="http://schemas.microsoft.com/office/drawing/2014/main" id="{D16E38C6-ED3A-0E47-0238-FCC1BA0A5BFE}"/>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3" name="Graphic 1391">
                <a:extLst>
                  <a:ext uri="{FF2B5EF4-FFF2-40B4-BE49-F238E27FC236}">
                    <a16:creationId xmlns:a16="http://schemas.microsoft.com/office/drawing/2014/main" id="{1E437405-444B-0AFA-2CC8-0BA9D975852D}"/>
                  </a:ext>
                </a:extLst>
              </p:cNvPr>
              <p:cNvGrpSpPr/>
              <p:nvPr/>
            </p:nvGrpSpPr>
            <p:grpSpPr>
              <a:xfrm>
                <a:off x="5704808" y="3768375"/>
                <a:ext cx="75723" cy="75628"/>
                <a:chOff x="5704808" y="3768375"/>
                <a:chExt cx="75723" cy="75628"/>
              </a:xfrm>
            </p:grpSpPr>
            <p:sp>
              <p:nvSpPr>
                <p:cNvPr id="16607" name="Freeform: Shape 16606">
                  <a:extLst>
                    <a:ext uri="{FF2B5EF4-FFF2-40B4-BE49-F238E27FC236}">
                      <a16:creationId xmlns:a16="http://schemas.microsoft.com/office/drawing/2014/main" id="{BD691D5D-34F9-CFF5-1AA0-247EAB525089}"/>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8" name="Freeform: Shape 16607">
                  <a:extLst>
                    <a:ext uri="{FF2B5EF4-FFF2-40B4-BE49-F238E27FC236}">
                      <a16:creationId xmlns:a16="http://schemas.microsoft.com/office/drawing/2014/main" id="{D30EF465-2631-EBC0-0840-595EA221F3B8}"/>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4" name="Graphic 1391">
                <a:extLst>
                  <a:ext uri="{FF2B5EF4-FFF2-40B4-BE49-F238E27FC236}">
                    <a16:creationId xmlns:a16="http://schemas.microsoft.com/office/drawing/2014/main" id="{6BEA8CE2-BDE6-8FD6-6B25-F3F61CAD559C}"/>
                  </a:ext>
                </a:extLst>
              </p:cNvPr>
              <p:cNvGrpSpPr/>
              <p:nvPr/>
            </p:nvGrpSpPr>
            <p:grpSpPr>
              <a:xfrm>
                <a:off x="5664708" y="3705796"/>
                <a:ext cx="75628" cy="75723"/>
                <a:chOff x="5664708" y="3705796"/>
                <a:chExt cx="75628" cy="75723"/>
              </a:xfrm>
            </p:grpSpPr>
            <p:sp>
              <p:nvSpPr>
                <p:cNvPr id="16605" name="Freeform: Shape 16604">
                  <a:extLst>
                    <a:ext uri="{FF2B5EF4-FFF2-40B4-BE49-F238E27FC236}">
                      <a16:creationId xmlns:a16="http://schemas.microsoft.com/office/drawing/2014/main" id="{79F1EA61-3D4F-F3CD-59EC-7216526BEAF6}"/>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6" name="Freeform: Shape 16605">
                  <a:extLst>
                    <a:ext uri="{FF2B5EF4-FFF2-40B4-BE49-F238E27FC236}">
                      <a16:creationId xmlns:a16="http://schemas.microsoft.com/office/drawing/2014/main" id="{0AE82A07-514F-EC7D-6C40-7EB6BC135E2A}"/>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5" name="Graphic 1391">
                <a:extLst>
                  <a:ext uri="{FF2B5EF4-FFF2-40B4-BE49-F238E27FC236}">
                    <a16:creationId xmlns:a16="http://schemas.microsoft.com/office/drawing/2014/main" id="{FCED72DA-5F54-DC4D-799C-4138FF6AC3BD}"/>
                  </a:ext>
                </a:extLst>
              </p:cNvPr>
              <p:cNvGrpSpPr/>
              <p:nvPr/>
            </p:nvGrpSpPr>
            <p:grpSpPr>
              <a:xfrm>
                <a:off x="5267229" y="3503580"/>
                <a:ext cx="75723" cy="75723"/>
                <a:chOff x="5267229" y="3503580"/>
                <a:chExt cx="75723" cy="75723"/>
              </a:xfrm>
            </p:grpSpPr>
            <p:sp>
              <p:nvSpPr>
                <p:cNvPr id="16603" name="Freeform: Shape 16602">
                  <a:extLst>
                    <a:ext uri="{FF2B5EF4-FFF2-40B4-BE49-F238E27FC236}">
                      <a16:creationId xmlns:a16="http://schemas.microsoft.com/office/drawing/2014/main" id="{DCDA50AF-25FF-D89B-0585-758DB6074567}"/>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4" name="Freeform: Shape 16603">
                  <a:extLst>
                    <a:ext uri="{FF2B5EF4-FFF2-40B4-BE49-F238E27FC236}">
                      <a16:creationId xmlns:a16="http://schemas.microsoft.com/office/drawing/2014/main" id="{914F69E5-B25A-C29D-8A62-5ADDC91040C5}"/>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6" name="Graphic 1391">
                <a:extLst>
                  <a:ext uri="{FF2B5EF4-FFF2-40B4-BE49-F238E27FC236}">
                    <a16:creationId xmlns:a16="http://schemas.microsoft.com/office/drawing/2014/main" id="{940BE01E-C89B-CDC1-E26E-B26DD741C39C}"/>
                  </a:ext>
                </a:extLst>
              </p:cNvPr>
              <p:cNvGrpSpPr/>
              <p:nvPr/>
            </p:nvGrpSpPr>
            <p:grpSpPr>
              <a:xfrm>
                <a:off x="4946999" y="3369564"/>
                <a:ext cx="75723" cy="75628"/>
                <a:chOff x="4946999" y="3369564"/>
                <a:chExt cx="75723" cy="75628"/>
              </a:xfrm>
            </p:grpSpPr>
            <p:sp>
              <p:nvSpPr>
                <p:cNvPr id="16601" name="Freeform: Shape 16600">
                  <a:extLst>
                    <a:ext uri="{FF2B5EF4-FFF2-40B4-BE49-F238E27FC236}">
                      <a16:creationId xmlns:a16="http://schemas.microsoft.com/office/drawing/2014/main" id="{DDCCF854-1EDF-2C3A-3AF9-64ED493B127C}"/>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2" name="Freeform: Shape 16601">
                  <a:extLst>
                    <a:ext uri="{FF2B5EF4-FFF2-40B4-BE49-F238E27FC236}">
                      <a16:creationId xmlns:a16="http://schemas.microsoft.com/office/drawing/2014/main" id="{B2A47916-A6EA-38E0-5A2B-580C886550CE}"/>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7" name="Graphic 1391">
                <a:extLst>
                  <a:ext uri="{FF2B5EF4-FFF2-40B4-BE49-F238E27FC236}">
                    <a16:creationId xmlns:a16="http://schemas.microsoft.com/office/drawing/2014/main" id="{5B23CD65-3D94-4D0F-99D9-6A26BA78095E}"/>
                  </a:ext>
                </a:extLst>
              </p:cNvPr>
              <p:cNvGrpSpPr/>
              <p:nvPr/>
            </p:nvGrpSpPr>
            <p:grpSpPr>
              <a:xfrm>
                <a:off x="4935664" y="3369564"/>
                <a:ext cx="75723" cy="75628"/>
                <a:chOff x="4935664" y="3369564"/>
                <a:chExt cx="75723" cy="75628"/>
              </a:xfrm>
            </p:grpSpPr>
            <p:sp>
              <p:nvSpPr>
                <p:cNvPr id="16599" name="Freeform: Shape 16598">
                  <a:extLst>
                    <a:ext uri="{FF2B5EF4-FFF2-40B4-BE49-F238E27FC236}">
                      <a16:creationId xmlns:a16="http://schemas.microsoft.com/office/drawing/2014/main" id="{CF5FB3D3-96A0-185E-9D06-29034C46F66F}"/>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600" name="Freeform: Shape 16599">
                  <a:extLst>
                    <a:ext uri="{FF2B5EF4-FFF2-40B4-BE49-F238E27FC236}">
                      <a16:creationId xmlns:a16="http://schemas.microsoft.com/office/drawing/2014/main" id="{4841F377-BEF5-88E9-F57F-2FA28297728B}"/>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8" name="Graphic 1391">
                <a:extLst>
                  <a:ext uri="{FF2B5EF4-FFF2-40B4-BE49-F238E27FC236}">
                    <a16:creationId xmlns:a16="http://schemas.microsoft.com/office/drawing/2014/main" id="{86DF1AC7-A7A3-0E0F-26DB-D7C28761DC90}"/>
                  </a:ext>
                </a:extLst>
              </p:cNvPr>
              <p:cNvGrpSpPr/>
              <p:nvPr/>
            </p:nvGrpSpPr>
            <p:grpSpPr>
              <a:xfrm>
                <a:off x="4931092" y="3335464"/>
                <a:ext cx="75628" cy="75723"/>
                <a:chOff x="4931092" y="3335464"/>
                <a:chExt cx="75628" cy="75723"/>
              </a:xfrm>
            </p:grpSpPr>
            <p:sp>
              <p:nvSpPr>
                <p:cNvPr id="16597" name="Freeform: Shape 16596">
                  <a:extLst>
                    <a:ext uri="{FF2B5EF4-FFF2-40B4-BE49-F238E27FC236}">
                      <a16:creationId xmlns:a16="http://schemas.microsoft.com/office/drawing/2014/main" id="{56D04227-A81D-9CE6-8DF7-E38E14870954}"/>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8" name="Freeform: Shape 16597">
                  <a:extLst>
                    <a:ext uri="{FF2B5EF4-FFF2-40B4-BE49-F238E27FC236}">
                      <a16:creationId xmlns:a16="http://schemas.microsoft.com/office/drawing/2014/main" id="{79250DC5-B6E5-579C-6473-BE3B6985D53D}"/>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9" name="Graphic 1391">
                <a:extLst>
                  <a:ext uri="{FF2B5EF4-FFF2-40B4-BE49-F238E27FC236}">
                    <a16:creationId xmlns:a16="http://schemas.microsoft.com/office/drawing/2014/main" id="{C7579109-2BEE-D386-2F5B-BE9D89681758}"/>
                  </a:ext>
                </a:extLst>
              </p:cNvPr>
              <p:cNvGrpSpPr/>
              <p:nvPr/>
            </p:nvGrpSpPr>
            <p:grpSpPr>
              <a:xfrm>
                <a:off x="4927854" y="3319081"/>
                <a:ext cx="75628" cy="75723"/>
                <a:chOff x="4927854" y="3319081"/>
                <a:chExt cx="75628" cy="75723"/>
              </a:xfrm>
            </p:grpSpPr>
            <p:sp>
              <p:nvSpPr>
                <p:cNvPr id="16595" name="Freeform: Shape 16594">
                  <a:extLst>
                    <a:ext uri="{FF2B5EF4-FFF2-40B4-BE49-F238E27FC236}">
                      <a16:creationId xmlns:a16="http://schemas.microsoft.com/office/drawing/2014/main" id="{9CD2BE82-37FD-4510-B293-800C8C47460A}"/>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6" name="Freeform: Shape 16595">
                  <a:extLst>
                    <a:ext uri="{FF2B5EF4-FFF2-40B4-BE49-F238E27FC236}">
                      <a16:creationId xmlns:a16="http://schemas.microsoft.com/office/drawing/2014/main" id="{0487525F-4C6D-3976-CE39-96D69EBFE674}"/>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0" name="Graphic 1391">
                <a:extLst>
                  <a:ext uri="{FF2B5EF4-FFF2-40B4-BE49-F238E27FC236}">
                    <a16:creationId xmlns:a16="http://schemas.microsoft.com/office/drawing/2014/main" id="{79F0E341-D297-4CF6-27F4-F7EE8AF1BA71}"/>
                  </a:ext>
                </a:extLst>
              </p:cNvPr>
              <p:cNvGrpSpPr/>
              <p:nvPr/>
            </p:nvGrpSpPr>
            <p:grpSpPr>
              <a:xfrm>
                <a:off x="4916900" y="3272504"/>
                <a:ext cx="75628" cy="75723"/>
                <a:chOff x="4916900" y="3272504"/>
                <a:chExt cx="75628" cy="75723"/>
              </a:xfrm>
            </p:grpSpPr>
            <p:sp>
              <p:nvSpPr>
                <p:cNvPr id="16593" name="Freeform: Shape 16592">
                  <a:extLst>
                    <a:ext uri="{FF2B5EF4-FFF2-40B4-BE49-F238E27FC236}">
                      <a16:creationId xmlns:a16="http://schemas.microsoft.com/office/drawing/2014/main" id="{F6092E4B-29F2-61A0-4551-FA95B299E5FD}"/>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4" name="Freeform: Shape 16593">
                  <a:extLst>
                    <a:ext uri="{FF2B5EF4-FFF2-40B4-BE49-F238E27FC236}">
                      <a16:creationId xmlns:a16="http://schemas.microsoft.com/office/drawing/2014/main" id="{1390EE90-13D4-D73A-E7F8-5C2EEDD57D03}"/>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1" name="Graphic 1391">
                <a:extLst>
                  <a:ext uri="{FF2B5EF4-FFF2-40B4-BE49-F238E27FC236}">
                    <a16:creationId xmlns:a16="http://schemas.microsoft.com/office/drawing/2014/main" id="{D07E4A3B-1F4C-740D-EA6A-3C0AB7281936}"/>
                  </a:ext>
                </a:extLst>
              </p:cNvPr>
              <p:cNvGrpSpPr/>
              <p:nvPr/>
            </p:nvGrpSpPr>
            <p:grpSpPr>
              <a:xfrm>
                <a:off x="4905089" y="3272504"/>
                <a:ext cx="75723" cy="75723"/>
                <a:chOff x="4905089" y="3272504"/>
                <a:chExt cx="75723" cy="75723"/>
              </a:xfrm>
            </p:grpSpPr>
            <p:sp>
              <p:nvSpPr>
                <p:cNvPr id="16591" name="Freeform: Shape 16590">
                  <a:extLst>
                    <a:ext uri="{FF2B5EF4-FFF2-40B4-BE49-F238E27FC236}">
                      <a16:creationId xmlns:a16="http://schemas.microsoft.com/office/drawing/2014/main" id="{5EB38156-8E88-3914-533B-38FD31DCE09F}"/>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2" name="Freeform: Shape 16591">
                  <a:extLst>
                    <a:ext uri="{FF2B5EF4-FFF2-40B4-BE49-F238E27FC236}">
                      <a16:creationId xmlns:a16="http://schemas.microsoft.com/office/drawing/2014/main" id="{DD7B6038-54F6-7B3A-07BE-33CF7225D6EE}"/>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2" name="Graphic 1391">
                <a:extLst>
                  <a:ext uri="{FF2B5EF4-FFF2-40B4-BE49-F238E27FC236}">
                    <a16:creationId xmlns:a16="http://schemas.microsoft.com/office/drawing/2014/main" id="{DC6CB761-E6DB-2864-9BD1-AD815CA9D737}"/>
                  </a:ext>
                </a:extLst>
              </p:cNvPr>
              <p:cNvGrpSpPr/>
              <p:nvPr/>
            </p:nvGrpSpPr>
            <p:grpSpPr>
              <a:xfrm>
                <a:off x="4889944" y="3259740"/>
                <a:ext cx="75723" cy="75723"/>
                <a:chOff x="4889944" y="3259740"/>
                <a:chExt cx="75723" cy="75723"/>
              </a:xfrm>
            </p:grpSpPr>
            <p:sp>
              <p:nvSpPr>
                <p:cNvPr id="16589" name="Freeform: Shape 16588">
                  <a:extLst>
                    <a:ext uri="{FF2B5EF4-FFF2-40B4-BE49-F238E27FC236}">
                      <a16:creationId xmlns:a16="http://schemas.microsoft.com/office/drawing/2014/main" id="{E8BEFA77-54BE-7323-E9CF-A60DE94DF6FA}"/>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90" name="Freeform: Shape 16589">
                  <a:extLst>
                    <a:ext uri="{FF2B5EF4-FFF2-40B4-BE49-F238E27FC236}">
                      <a16:creationId xmlns:a16="http://schemas.microsoft.com/office/drawing/2014/main" id="{F89DCD8B-B2D4-8396-E223-428527D0E9B8}"/>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3" name="Graphic 1391">
                <a:extLst>
                  <a:ext uri="{FF2B5EF4-FFF2-40B4-BE49-F238E27FC236}">
                    <a16:creationId xmlns:a16="http://schemas.microsoft.com/office/drawing/2014/main" id="{DC2B1048-6BD7-CF86-0F1C-9FDD27C4B47C}"/>
                  </a:ext>
                </a:extLst>
              </p:cNvPr>
              <p:cNvGrpSpPr/>
              <p:nvPr/>
            </p:nvGrpSpPr>
            <p:grpSpPr>
              <a:xfrm>
                <a:off x="4657344" y="3139154"/>
                <a:ext cx="75628" cy="75723"/>
                <a:chOff x="4657344" y="3139154"/>
                <a:chExt cx="75628" cy="75723"/>
              </a:xfrm>
            </p:grpSpPr>
            <p:sp>
              <p:nvSpPr>
                <p:cNvPr id="16587" name="Freeform: Shape 16586">
                  <a:extLst>
                    <a:ext uri="{FF2B5EF4-FFF2-40B4-BE49-F238E27FC236}">
                      <a16:creationId xmlns:a16="http://schemas.microsoft.com/office/drawing/2014/main" id="{21083C5A-8565-499A-2DA6-E506534F8FCF}"/>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8" name="Freeform: Shape 16587">
                  <a:extLst>
                    <a:ext uri="{FF2B5EF4-FFF2-40B4-BE49-F238E27FC236}">
                      <a16:creationId xmlns:a16="http://schemas.microsoft.com/office/drawing/2014/main" id="{9A72F29B-B79E-092E-A62D-6B642C0E466A}"/>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4" name="Graphic 1391">
                <a:extLst>
                  <a:ext uri="{FF2B5EF4-FFF2-40B4-BE49-F238E27FC236}">
                    <a16:creationId xmlns:a16="http://schemas.microsoft.com/office/drawing/2014/main" id="{DE9F7FDD-E205-E344-98B6-CB3D18287342}"/>
                  </a:ext>
                </a:extLst>
              </p:cNvPr>
              <p:cNvGrpSpPr/>
              <p:nvPr/>
            </p:nvGrpSpPr>
            <p:grpSpPr>
              <a:xfrm>
                <a:off x="4566094" y="3094672"/>
                <a:ext cx="75723" cy="75723"/>
                <a:chOff x="4566094" y="3094672"/>
                <a:chExt cx="75723" cy="75723"/>
              </a:xfrm>
            </p:grpSpPr>
            <p:sp>
              <p:nvSpPr>
                <p:cNvPr id="16585" name="Freeform: Shape 16584">
                  <a:extLst>
                    <a:ext uri="{FF2B5EF4-FFF2-40B4-BE49-F238E27FC236}">
                      <a16:creationId xmlns:a16="http://schemas.microsoft.com/office/drawing/2014/main" id="{61C64B71-6BE1-90B5-D111-406D584970D6}"/>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6" name="Freeform: Shape 16585">
                  <a:extLst>
                    <a:ext uri="{FF2B5EF4-FFF2-40B4-BE49-F238E27FC236}">
                      <a16:creationId xmlns:a16="http://schemas.microsoft.com/office/drawing/2014/main" id="{650AB80D-A295-6487-4648-01E02563A46F}"/>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5" name="Graphic 1391">
                <a:extLst>
                  <a:ext uri="{FF2B5EF4-FFF2-40B4-BE49-F238E27FC236}">
                    <a16:creationId xmlns:a16="http://schemas.microsoft.com/office/drawing/2014/main" id="{31869795-445E-BCBD-6296-168B3F73B3B9}"/>
                  </a:ext>
                </a:extLst>
              </p:cNvPr>
              <p:cNvGrpSpPr/>
              <p:nvPr/>
            </p:nvGrpSpPr>
            <p:grpSpPr>
              <a:xfrm>
                <a:off x="4553521" y="3061049"/>
                <a:ext cx="75723" cy="75723"/>
                <a:chOff x="4553521" y="3061049"/>
                <a:chExt cx="75723" cy="75723"/>
              </a:xfrm>
            </p:grpSpPr>
            <p:sp>
              <p:nvSpPr>
                <p:cNvPr id="16583" name="Freeform: Shape 16582">
                  <a:extLst>
                    <a:ext uri="{FF2B5EF4-FFF2-40B4-BE49-F238E27FC236}">
                      <a16:creationId xmlns:a16="http://schemas.microsoft.com/office/drawing/2014/main" id="{61C8C2FA-EF70-D2F1-845A-B32E933D99AC}"/>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4" name="Freeform: Shape 16583">
                  <a:extLst>
                    <a:ext uri="{FF2B5EF4-FFF2-40B4-BE49-F238E27FC236}">
                      <a16:creationId xmlns:a16="http://schemas.microsoft.com/office/drawing/2014/main" id="{4EB9D75E-AA86-4552-2BEB-0F80A68F36E7}"/>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6" name="Graphic 1391">
                <a:extLst>
                  <a:ext uri="{FF2B5EF4-FFF2-40B4-BE49-F238E27FC236}">
                    <a16:creationId xmlns:a16="http://schemas.microsoft.com/office/drawing/2014/main" id="{D9639064-A10B-E2C7-00C0-EC7F4C654E57}"/>
                  </a:ext>
                </a:extLst>
              </p:cNvPr>
              <p:cNvGrpSpPr/>
              <p:nvPr/>
            </p:nvGrpSpPr>
            <p:grpSpPr>
              <a:xfrm>
                <a:off x="4553521" y="3046476"/>
                <a:ext cx="75723" cy="75723"/>
                <a:chOff x="4553521" y="3046476"/>
                <a:chExt cx="75723" cy="75723"/>
              </a:xfrm>
            </p:grpSpPr>
            <p:sp>
              <p:nvSpPr>
                <p:cNvPr id="16581" name="Freeform: Shape 16580">
                  <a:extLst>
                    <a:ext uri="{FF2B5EF4-FFF2-40B4-BE49-F238E27FC236}">
                      <a16:creationId xmlns:a16="http://schemas.microsoft.com/office/drawing/2014/main" id="{2DC14FB8-E71D-E17B-2E6D-02F8CBC08571}"/>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2" name="Freeform: Shape 16581">
                  <a:extLst>
                    <a:ext uri="{FF2B5EF4-FFF2-40B4-BE49-F238E27FC236}">
                      <a16:creationId xmlns:a16="http://schemas.microsoft.com/office/drawing/2014/main" id="{3F7A0505-44FD-2A14-EB05-ECC9E276D281}"/>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7" name="Graphic 1391">
                <a:extLst>
                  <a:ext uri="{FF2B5EF4-FFF2-40B4-BE49-F238E27FC236}">
                    <a16:creationId xmlns:a16="http://schemas.microsoft.com/office/drawing/2014/main" id="{476AB954-51DD-8046-7EEB-8086A49264CC}"/>
                  </a:ext>
                </a:extLst>
              </p:cNvPr>
              <p:cNvGrpSpPr/>
              <p:nvPr/>
            </p:nvGrpSpPr>
            <p:grpSpPr>
              <a:xfrm>
                <a:off x="4545901" y="3008661"/>
                <a:ext cx="75628" cy="75628"/>
                <a:chOff x="4545901" y="3008661"/>
                <a:chExt cx="75628" cy="75628"/>
              </a:xfrm>
            </p:grpSpPr>
            <p:sp>
              <p:nvSpPr>
                <p:cNvPr id="16579" name="Freeform: Shape 16578">
                  <a:extLst>
                    <a:ext uri="{FF2B5EF4-FFF2-40B4-BE49-F238E27FC236}">
                      <a16:creationId xmlns:a16="http://schemas.microsoft.com/office/drawing/2014/main" id="{CF893768-56F5-86BB-57FC-DE643FDF5A13}"/>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80" name="Freeform: Shape 16579">
                  <a:extLst>
                    <a:ext uri="{FF2B5EF4-FFF2-40B4-BE49-F238E27FC236}">
                      <a16:creationId xmlns:a16="http://schemas.microsoft.com/office/drawing/2014/main" id="{817E5AE0-366E-C32C-4552-B3E9FD729DC1}"/>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8" name="Graphic 1391">
                <a:extLst>
                  <a:ext uri="{FF2B5EF4-FFF2-40B4-BE49-F238E27FC236}">
                    <a16:creationId xmlns:a16="http://schemas.microsoft.com/office/drawing/2014/main" id="{CEA0A7C4-F359-FC25-D51F-162508C0ABAF}"/>
                  </a:ext>
                </a:extLst>
              </p:cNvPr>
              <p:cNvGrpSpPr/>
              <p:nvPr/>
            </p:nvGrpSpPr>
            <p:grpSpPr>
              <a:xfrm>
                <a:off x="4537710" y="3008661"/>
                <a:ext cx="75723" cy="75628"/>
                <a:chOff x="4537710" y="3008661"/>
                <a:chExt cx="75723" cy="75628"/>
              </a:xfrm>
            </p:grpSpPr>
            <p:sp>
              <p:nvSpPr>
                <p:cNvPr id="16577" name="Freeform: Shape 16576">
                  <a:extLst>
                    <a:ext uri="{FF2B5EF4-FFF2-40B4-BE49-F238E27FC236}">
                      <a16:creationId xmlns:a16="http://schemas.microsoft.com/office/drawing/2014/main" id="{29F41B94-2DD3-E426-606D-6AF586DD8001}"/>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8" name="Freeform: Shape 16577">
                  <a:extLst>
                    <a:ext uri="{FF2B5EF4-FFF2-40B4-BE49-F238E27FC236}">
                      <a16:creationId xmlns:a16="http://schemas.microsoft.com/office/drawing/2014/main" id="{26EEF1FD-4238-07D8-FF5B-B3D4B69A2EB3}"/>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9" name="Graphic 1391">
                <a:extLst>
                  <a:ext uri="{FF2B5EF4-FFF2-40B4-BE49-F238E27FC236}">
                    <a16:creationId xmlns:a16="http://schemas.microsoft.com/office/drawing/2014/main" id="{00485F7F-F4D4-36FF-52EC-85A2308E8884}"/>
                  </a:ext>
                </a:extLst>
              </p:cNvPr>
              <p:cNvGrpSpPr/>
              <p:nvPr/>
            </p:nvGrpSpPr>
            <p:grpSpPr>
              <a:xfrm>
                <a:off x="4531709" y="2994183"/>
                <a:ext cx="75628" cy="75723"/>
                <a:chOff x="4531709" y="2994183"/>
                <a:chExt cx="75628" cy="75723"/>
              </a:xfrm>
            </p:grpSpPr>
            <p:sp>
              <p:nvSpPr>
                <p:cNvPr id="16575" name="Freeform: Shape 16574">
                  <a:extLst>
                    <a:ext uri="{FF2B5EF4-FFF2-40B4-BE49-F238E27FC236}">
                      <a16:creationId xmlns:a16="http://schemas.microsoft.com/office/drawing/2014/main" id="{2AF5B237-C401-50A5-F5E6-A303A369D4A2}"/>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6" name="Freeform: Shape 16575">
                  <a:extLst>
                    <a:ext uri="{FF2B5EF4-FFF2-40B4-BE49-F238E27FC236}">
                      <a16:creationId xmlns:a16="http://schemas.microsoft.com/office/drawing/2014/main" id="{9FAFE1E3-67C1-BD3F-A17D-1E6E0910A721}"/>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0" name="Graphic 1391">
                <a:extLst>
                  <a:ext uri="{FF2B5EF4-FFF2-40B4-BE49-F238E27FC236}">
                    <a16:creationId xmlns:a16="http://schemas.microsoft.com/office/drawing/2014/main" id="{AC715BD9-5850-2122-F511-259AA4E4D0D9}"/>
                  </a:ext>
                </a:extLst>
              </p:cNvPr>
              <p:cNvGrpSpPr/>
              <p:nvPr/>
            </p:nvGrpSpPr>
            <p:grpSpPr>
              <a:xfrm>
                <a:off x="4523136" y="2978372"/>
                <a:ext cx="75723" cy="75723"/>
                <a:chOff x="4523136" y="2978372"/>
                <a:chExt cx="75723" cy="75723"/>
              </a:xfrm>
            </p:grpSpPr>
            <p:sp>
              <p:nvSpPr>
                <p:cNvPr id="16573" name="Freeform: Shape 16572">
                  <a:extLst>
                    <a:ext uri="{FF2B5EF4-FFF2-40B4-BE49-F238E27FC236}">
                      <a16:creationId xmlns:a16="http://schemas.microsoft.com/office/drawing/2014/main" id="{2026E65D-6ECD-8DCB-31D3-15B368A4F4DE}"/>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4" name="Freeform: Shape 16573">
                  <a:extLst>
                    <a:ext uri="{FF2B5EF4-FFF2-40B4-BE49-F238E27FC236}">
                      <a16:creationId xmlns:a16="http://schemas.microsoft.com/office/drawing/2014/main" id="{9227DF10-D1DA-0CEE-6E7C-7ECAF8C7E0B7}"/>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1" name="Graphic 1391">
                <a:extLst>
                  <a:ext uri="{FF2B5EF4-FFF2-40B4-BE49-F238E27FC236}">
                    <a16:creationId xmlns:a16="http://schemas.microsoft.com/office/drawing/2014/main" id="{04319B70-F90D-3D00-55F2-E7E54D307FF3}"/>
                  </a:ext>
                </a:extLst>
              </p:cNvPr>
              <p:cNvGrpSpPr/>
              <p:nvPr/>
            </p:nvGrpSpPr>
            <p:grpSpPr>
              <a:xfrm>
                <a:off x="4521517" y="2956369"/>
                <a:ext cx="75723" cy="75628"/>
                <a:chOff x="4521517" y="2956369"/>
                <a:chExt cx="75723" cy="75628"/>
              </a:xfrm>
            </p:grpSpPr>
            <p:sp>
              <p:nvSpPr>
                <p:cNvPr id="16571" name="Freeform: Shape 16570">
                  <a:extLst>
                    <a:ext uri="{FF2B5EF4-FFF2-40B4-BE49-F238E27FC236}">
                      <a16:creationId xmlns:a16="http://schemas.microsoft.com/office/drawing/2014/main" id="{6B1E226C-D6C5-45ED-D64B-23BDC3956E94}"/>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2" name="Freeform: Shape 16571">
                  <a:extLst>
                    <a:ext uri="{FF2B5EF4-FFF2-40B4-BE49-F238E27FC236}">
                      <a16:creationId xmlns:a16="http://schemas.microsoft.com/office/drawing/2014/main" id="{3C799B70-ABAF-B805-8406-EC9709FB5182}"/>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2" name="Graphic 1391">
                <a:extLst>
                  <a:ext uri="{FF2B5EF4-FFF2-40B4-BE49-F238E27FC236}">
                    <a16:creationId xmlns:a16="http://schemas.microsoft.com/office/drawing/2014/main" id="{4684939D-1FA5-345D-B08D-36042755EC9E}"/>
                  </a:ext>
                </a:extLst>
              </p:cNvPr>
              <p:cNvGrpSpPr/>
              <p:nvPr/>
            </p:nvGrpSpPr>
            <p:grpSpPr>
              <a:xfrm>
                <a:off x="4195286" y="2825210"/>
                <a:ext cx="75628" cy="75628"/>
                <a:chOff x="4195286" y="2825210"/>
                <a:chExt cx="75628" cy="75628"/>
              </a:xfrm>
            </p:grpSpPr>
            <p:sp>
              <p:nvSpPr>
                <p:cNvPr id="16569" name="Freeform: Shape 16568">
                  <a:extLst>
                    <a:ext uri="{FF2B5EF4-FFF2-40B4-BE49-F238E27FC236}">
                      <a16:creationId xmlns:a16="http://schemas.microsoft.com/office/drawing/2014/main" id="{BBC961AB-91FD-E302-406F-087F20F2BD32}"/>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70" name="Freeform: Shape 16569">
                  <a:extLst>
                    <a:ext uri="{FF2B5EF4-FFF2-40B4-BE49-F238E27FC236}">
                      <a16:creationId xmlns:a16="http://schemas.microsoft.com/office/drawing/2014/main" id="{89226F9A-2CA0-6BEE-3497-87FF2A02FB00}"/>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3" name="Graphic 1391">
                <a:extLst>
                  <a:ext uri="{FF2B5EF4-FFF2-40B4-BE49-F238E27FC236}">
                    <a16:creationId xmlns:a16="http://schemas.microsoft.com/office/drawing/2014/main" id="{95944B27-341F-886C-7B80-38BA7692B4F8}"/>
                  </a:ext>
                </a:extLst>
              </p:cNvPr>
              <p:cNvGrpSpPr/>
              <p:nvPr/>
            </p:nvGrpSpPr>
            <p:grpSpPr>
              <a:xfrm>
                <a:off x="3800475" y="2590800"/>
                <a:ext cx="75723" cy="75723"/>
                <a:chOff x="3800475" y="2590800"/>
                <a:chExt cx="75723" cy="75723"/>
              </a:xfrm>
            </p:grpSpPr>
            <p:sp>
              <p:nvSpPr>
                <p:cNvPr id="16567" name="Freeform: Shape 16566">
                  <a:extLst>
                    <a:ext uri="{FF2B5EF4-FFF2-40B4-BE49-F238E27FC236}">
                      <a16:creationId xmlns:a16="http://schemas.microsoft.com/office/drawing/2014/main" id="{D52C6E50-3314-49E3-06CB-BC43AF3E06DB}"/>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8" name="Freeform: Shape 16567">
                  <a:extLst>
                    <a:ext uri="{FF2B5EF4-FFF2-40B4-BE49-F238E27FC236}">
                      <a16:creationId xmlns:a16="http://schemas.microsoft.com/office/drawing/2014/main" id="{74107930-07A1-8F29-E2DE-1EF94A4B7539}"/>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4" name="Graphic 1391">
                <a:extLst>
                  <a:ext uri="{FF2B5EF4-FFF2-40B4-BE49-F238E27FC236}">
                    <a16:creationId xmlns:a16="http://schemas.microsoft.com/office/drawing/2014/main" id="{37BF3BC1-0959-4F35-FD9F-806641CDC692}"/>
                  </a:ext>
                </a:extLst>
              </p:cNvPr>
              <p:cNvGrpSpPr/>
              <p:nvPr/>
            </p:nvGrpSpPr>
            <p:grpSpPr>
              <a:xfrm>
                <a:off x="5280564" y="3536918"/>
                <a:ext cx="75723" cy="75723"/>
                <a:chOff x="5280564" y="3536918"/>
                <a:chExt cx="75723" cy="75723"/>
              </a:xfrm>
            </p:grpSpPr>
            <p:sp>
              <p:nvSpPr>
                <p:cNvPr id="16565" name="Freeform: Shape 16564">
                  <a:extLst>
                    <a:ext uri="{FF2B5EF4-FFF2-40B4-BE49-F238E27FC236}">
                      <a16:creationId xmlns:a16="http://schemas.microsoft.com/office/drawing/2014/main" id="{27E6052B-901A-730B-B99F-5451BFF2FA4A}"/>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6" name="Freeform: Shape 16565">
                  <a:extLst>
                    <a:ext uri="{FF2B5EF4-FFF2-40B4-BE49-F238E27FC236}">
                      <a16:creationId xmlns:a16="http://schemas.microsoft.com/office/drawing/2014/main" id="{A9761C01-9FFB-8F0C-1574-0E4330EEC9D5}"/>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5" name="Graphic 1391">
                <a:extLst>
                  <a:ext uri="{FF2B5EF4-FFF2-40B4-BE49-F238E27FC236}">
                    <a16:creationId xmlns:a16="http://schemas.microsoft.com/office/drawing/2014/main" id="{348D9BF5-CD64-09D4-F136-133444CD8F1D}"/>
                  </a:ext>
                </a:extLst>
              </p:cNvPr>
              <p:cNvGrpSpPr/>
              <p:nvPr/>
            </p:nvGrpSpPr>
            <p:grpSpPr>
              <a:xfrm>
                <a:off x="5298852" y="3536918"/>
                <a:ext cx="75723" cy="75723"/>
                <a:chOff x="5298852" y="3536918"/>
                <a:chExt cx="75723" cy="75723"/>
              </a:xfrm>
            </p:grpSpPr>
            <p:sp>
              <p:nvSpPr>
                <p:cNvPr id="16563" name="Freeform: Shape 16562">
                  <a:extLst>
                    <a:ext uri="{FF2B5EF4-FFF2-40B4-BE49-F238E27FC236}">
                      <a16:creationId xmlns:a16="http://schemas.microsoft.com/office/drawing/2014/main" id="{7574B515-DB0A-849B-BD0F-7F2A159779AB}"/>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4" name="Freeform: Shape 16563">
                  <a:extLst>
                    <a:ext uri="{FF2B5EF4-FFF2-40B4-BE49-F238E27FC236}">
                      <a16:creationId xmlns:a16="http://schemas.microsoft.com/office/drawing/2014/main" id="{DAB602FC-6CAA-D85F-5DC7-10A9FA8AD02E}"/>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6" name="Graphic 1391">
                <a:extLst>
                  <a:ext uri="{FF2B5EF4-FFF2-40B4-BE49-F238E27FC236}">
                    <a16:creationId xmlns:a16="http://schemas.microsoft.com/office/drawing/2014/main" id="{339968FE-3467-29E3-5BF8-E6C69E377A27}"/>
                  </a:ext>
                </a:extLst>
              </p:cNvPr>
              <p:cNvGrpSpPr/>
              <p:nvPr/>
            </p:nvGrpSpPr>
            <p:grpSpPr>
              <a:xfrm>
                <a:off x="5305044" y="3573018"/>
                <a:ext cx="75723" cy="75628"/>
                <a:chOff x="5305044" y="3573018"/>
                <a:chExt cx="75723" cy="75628"/>
              </a:xfrm>
            </p:grpSpPr>
            <p:sp>
              <p:nvSpPr>
                <p:cNvPr id="16561" name="Freeform: Shape 16560">
                  <a:extLst>
                    <a:ext uri="{FF2B5EF4-FFF2-40B4-BE49-F238E27FC236}">
                      <a16:creationId xmlns:a16="http://schemas.microsoft.com/office/drawing/2014/main" id="{A2088C67-CEF7-C942-83DA-60CEB1D802F2}"/>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2" name="Freeform: Shape 16561">
                  <a:extLst>
                    <a:ext uri="{FF2B5EF4-FFF2-40B4-BE49-F238E27FC236}">
                      <a16:creationId xmlns:a16="http://schemas.microsoft.com/office/drawing/2014/main" id="{9B0E846B-63B4-6ADB-E131-F5149FD87C3A}"/>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7" name="Graphic 1391">
                <a:extLst>
                  <a:ext uri="{FF2B5EF4-FFF2-40B4-BE49-F238E27FC236}">
                    <a16:creationId xmlns:a16="http://schemas.microsoft.com/office/drawing/2014/main" id="{479494EB-B3D6-11B4-8501-C04866596241}"/>
                  </a:ext>
                </a:extLst>
              </p:cNvPr>
              <p:cNvGrpSpPr/>
              <p:nvPr/>
            </p:nvGrpSpPr>
            <p:grpSpPr>
              <a:xfrm>
                <a:off x="5314473" y="3585114"/>
                <a:ext cx="75723" cy="75723"/>
                <a:chOff x="5314473" y="3585114"/>
                <a:chExt cx="75723" cy="75723"/>
              </a:xfrm>
            </p:grpSpPr>
            <p:sp>
              <p:nvSpPr>
                <p:cNvPr id="16559" name="Freeform: Shape 16558">
                  <a:extLst>
                    <a:ext uri="{FF2B5EF4-FFF2-40B4-BE49-F238E27FC236}">
                      <a16:creationId xmlns:a16="http://schemas.microsoft.com/office/drawing/2014/main" id="{6D7B2D65-2AA3-9FAB-778D-422445D95B98}"/>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60" name="Freeform: Shape 16559">
                  <a:extLst>
                    <a:ext uri="{FF2B5EF4-FFF2-40B4-BE49-F238E27FC236}">
                      <a16:creationId xmlns:a16="http://schemas.microsoft.com/office/drawing/2014/main" id="{FB513089-20FA-2B46-9C1B-F5674F5BBBE0}"/>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8" name="Graphic 1391">
                <a:extLst>
                  <a:ext uri="{FF2B5EF4-FFF2-40B4-BE49-F238E27FC236}">
                    <a16:creationId xmlns:a16="http://schemas.microsoft.com/office/drawing/2014/main" id="{1E78AECC-C568-759A-F597-2FE7903F4858}"/>
                  </a:ext>
                </a:extLst>
              </p:cNvPr>
              <p:cNvGrpSpPr/>
              <p:nvPr/>
            </p:nvGrpSpPr>
            <p:grpSpPr>
              <a:xfrm>
                <a:off x="5328380" y="3585114"/>
                <a:ext cx="75723" cy="75723"/>
                <a:chOff x="5328380" y="3585114"/>
                <a:chExt cx="75723" cy="75723"/>
              </a:xfrm>
            </p:grpSpPr>
            <p:sp>
              <p:nvSpPr>
                <p:cNvPr id="16557" name="Freeform: Shape 16556">
                  <a:extLst>
                    <a:ext uri="{FF2B5EF4-FFF2-40B4-BE49-F238E27FC236}">
                      <a16:creationId xmlns:a16="http://schemas.microsoft.com/office/drawing/2014/main" id="{DFFC47F1-2621-DA64-807D-790773A09498}"/>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8" name="Freeform: Shape 16557">
                  <a:extLst>
                    <a:ext uri="{FF2B5EF4-FFF2-40B4-BE49-F238E27FC236}">
                      <a16:creationId xmlns:a16="http://schemas.microsoft.com/office/drawing/2014/main" id="{79E104CA-1F19-E280-8681-DDF06EEEA3B8}"/>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9" name="Graphic 1391">
                <a:extLst>
                  <a:ext uri="{FF2B5EF4-FFF2-40B4-BE49-F238E27FC236}">
                    <a16:creationId xmlns:a16="http://schemas.microsoft.com/office/drawing/2014/main" id="{9BD12049-2208-69A7-F700-8A28B8884F9F}"/>
                  </a:ext>
                </a:extLst>
              </p:cNvPr>
              <p:cNvGrpSpPr/>
              <p:nvPr/>
            </p:nvGrpSpPr>
            <p:grpSpPr>
              <a:xfrm>
                <a:off x="5342382" y="3585114"/>
                <a:ext cx="75628" cy="75723"/>
                <a:chOff x="5342382" y="3585114"/>
                <a:chExt cx="75628" cy="75723"/>
              </a:xfrm>
            </p:grpSpPr>
            <p:sp>
              <p:nvSpPr>
                <p:cNvPr id="16555" name="Freeform: Shape 16554">
                  <a:extLst>
                    <a:ext uri="{FF2B5EF4-FFF2-40B4-BE49-F238E27FC236}">
                      <a16:creationId xmlns:a16="http://schemas.microsoft.com/office/drawing/2014/main" id="{19834174-9423-9870-E158-19B9250E0708}"/>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6" name="Freeform: Shape 16555">
                  <a:extLst>
                    <a:ext uri="{FF2B5EF4-FFF2-40B4-BE49-F238E27FC236}">
                      <a16:creationId xmlns:a16="http://schemas.microsoft.com/office/drawing/2014/main" id="{35EC4373-4E9B-D822-5711-5213AC854A90}"/>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0" name="Graphic 1391">
                <a:extLst>
                  <a:ext uri="{FF2B5EF4-FFF2-40B4-BE49-F238E27FC236}">
                    <a16:creationId xmlns:a16="http://schemas.microsoft.com/office/drawing/2014/main" id="{FEC0444B-7D67-1938-ED29-05257C14ED3C}"/>
                  </a:ext>
                </a:extLst>
              </p:cNvPr>
              <p:cNvGrpSpPr/>
              <p:nvPr/>
            </p:nvGrpSpPr>
            <p:grpSpPr>
              <a:xfrm>
                <a:off x="5356288" y="3585114"/>
                <a:ext cx="75723" cy="75723"/>
                <a:chOff x="5356288" y="3585114"/>
                <a:chExt cx="75723" cy="75723"/>
              </a:xfrm>
            </p:grpSpPr>
            <p:sp>
              <p:nvSpPr>
                <p:cNvPr id="16553" name="Freeform: Shape 16552">
                  <a:extLst>
                    <a:ext uri="{FF2B5EF4-FFF2-40B4-BE49-F238E27FC236}">
                      <a16:creationId xmlns:a16="http://schemas.microsoft.com/office/drawing/2014/main" id="{23A0CC32-353A-A4BB-B893-75911B479417}"/>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4" name="Freeform: Shape 16553">
                  <a:extLst>
                    <a:ext uri="{FF2B5EF4-FFF2-40B4-BE49-F238E27FC236}">
                      <a16:creationId xmlns:a16="http://schemas.microsoft.com/office/drawing/2014/main" id="{34D68E81-0CFA-A822-5D87-14234173CCA9}"/>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1" name="Graphic 1391">
                <a:extLst>
                  <a:ext uri="{FF2B5EF4-FFF2-40B4-BE49-F238E27FC236}">
                    <a16:creationId xmlns:a16="http://schemas.microsoft.com/office/drawing/2014/main" id="{1C4F7570-0B39-2216-A5E3-83805321B2D9}"/>
                  </a:ext>
                </a:extLst>
              </p:cNvPr>
              <p:cNvGrpSpPr/>
              <p:nvPr/>
            </p:nvGrpSpPr>
            <p:grpSpPr>
              <a:xfrm>
                <a:off x="5671566" y="3726180"/>
                <a:ext cx="75723" cy="75723"/>
                <a:chOff x="5671566" y="3726180"/>
                <a:chExt cx="75723" cy="75723"/>
              </a:xfrm>
            </p:grpSpPr>
            <p:sp>
              <p:nvSpPr>
                <p:cNvPr id="16551" name="Freeform: Shape 16550">
                  <a:extLst>
                    <a:ext uri="{FF2B5EF4-FFF2-40B4-BE49-F238E27FC236}">
                      <a16:creationId xmlns:a16="http://schemas.microsoft.com/office/drawing/2014/main" id="{B0B95B75-A643-02A2-6C16-28180310DF70}"/>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2" name="Freeform: Shape 16551">
                  <a:extLst>
                    <a:ext uri="{FF2B5EF4-FFF2-40B4-BE49-F238E27FC236}">
                      <a16:creationId xmlns:a16="http://schemas.microsoft.com/office/drawing/2014/main" id="{6E382DB8-34A7-0261-5AF3-4EE2ABA4B15E}"/>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2" name="Graphic 1391">
                <a:extLst>
                  <a:ext uri="{FF2B5EF4-FFF2-40B4-BE49-F238E27FC236}">
                    <a16:creationId xmlns:a16="http://schemas.microsoft.com/office/drawing/2014/main" id="{8A73D8A0-8EA9-6D66-274C-AC09F03207BD}"/>
                  </a:ext>
                </a:extLst>
              </p:cNvPr>
              <p:cNvGrpSpPr/>
              <p:nvPr/>
            </p:nvGrpSpPr>
            <p:grpSpPr>
              <a:xfrm>
                <a:off x="5682900" y="3735514"/>
                <a:ext cx="75723" cy="75723"/>
                <a:chOff x="5682900" y="3735514"/>
                <a:chExt cx="75723" cy="75723"/>
              </a:xfrm>
            </p:grpSpPr>
            <p:sp>
              <p:nvSpPr>
                <p:cNvPr id="16549" name="Freeform: Shape 16548">
                  <a:extLst>
                    <a:ext uri="{FF2B5EF4-FFF2-40B4-BE49-F238E27FC236}">
                      <a16:creationId xmlns:a16="http://schemas.microsoft.com/office/drawing/2014/main" id="{2639B660-2B0A-B587-E7CA-CD08332FF7DD}"/>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50" name="Freeform: Shape 16549">
                  <a:extLst>
                    <a:ext uri="{FF2B5EF4-FFF2-40B4-BE49-F238E27FC236}">
                      <a16:creationId xmlns:a16="http://schemas.microsoft.com/office/drawing/2014/main" id="{CA1CABC9-10C8-E47A-8578-DF6887ED9901}"/>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3" name="Graphic 1391">
                <a:extLst>
                  <a:ext uri="{FF2B5EF4-FFF2-40B4-BE49-F238E27FC236}">
                    <a16:creationId xmlns:a16="http://schemas.microsoft.com/office/drawing/2014/main" id="{3475D9D0-4A78-8C81-393B-9ACFA79671FE}"/>
                  </a:ext>
                </a:extLst>
              </p:cNvPr>
              <p:cNvGrpSpPr/>
              <p:nvPr/>
            </p:nvGrpSpPr>
            <p:grpSpPr>
              <a:xfrm>
                <a:off x="5692235" y="3735514"/>
                <a:ext cx="75723" cy="75723"/>
                <a:chOff x="5692235" y="3735514"/>
                <a:chExt cx="75723" cy="75723"/>
              </a:xfrm>
            </p:grpSpPr>
            <p:sp>
              <p:nvSpPr>
                <p:cNvPr id="16547" name="Freeform: Shape 16546">
                  <a:extLst>
                    <a:ext uri="{FF2B5EF4-FFF2-40B4-BE49-F238E27FC236}">
                      <a16:creationId xmlns:a16="http://schemas.microsoft.com/office/drawing/2014/main" id="{72CAC3D8-9BEB-7466-2C49-D5BBC31A376E}"/>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8" name="Freeform: Shape 16547">
                  <a:extLst>
                    <a:ext uri="{FF2B5EF4-FFF2-40B4-BE49-F238E27FC236}">
                      <a16:creationId xmlns:a16="http://schemas.microsoft.com/office/drawing/2014/main" id="{7F04212D-9AEF-D144-DDA8-0E54899C43D3}"/>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4" name="Graphic 1391">
                <a:extLst>
                  <a:ext uri="{FF2B5EF4-FFF2-40B4-BE49-F238E27FC236}">
                    <a16:creationId xmlns:a16="http://schemas.microsoft.com/office/drawing/2014/main" id="{380CA2D6-1CB7-0BBB-A92F-8207AF5C81E6}"/>
                  </a:ext>
                </a:extLst>
              </p:cNvPr>
              <p:cNvGrpSpPr/>
              <p:nvPr/>
            </p:nvGrpSpPr>
            <p:grpSpPr>
              <a:xfrm>
                <a:off x="7189470" y="4189952"/>
                <a:ext cx="75723" cy="75723"/>
                <a:chOff x="7189470" y="4189952"/>
                <a:chExt cx="75723" cy="75723"/>
              </a:xfrm>
            </p:grpSpPr>
            <p:sp>
              <p:nvSpPr>
                <p:cNvPr id="16545" name="Freeform: Shape 16544">
                  <a:extLst>
                    <a:ext uri="{FF2B5EF4-FFF2-40B4-BE49-F238E27FC236}">
                      <a16:creationId xmlns:a16="http://schemas.microsoft.com/office/drawing/2014/main" id="{5279B1FD-1AB0-DA70-4F63-AB8056556527}"/>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46" name="Freeform: Shape 16545">
                  <a:extLst>
                    <a:ext uri="{FF2B5EF4-FFF2-40B4-BE49-F238E27FC236}">
                      <a16:creationId xmlns:a16="http://schemas.microsoft.com/office/drawing/2014/main" id="{C1203AFD-0559-EC4D-BB14-79BC81A85A3A}"/>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6482" name="Freeform: Shape 16481">
              <a:extLst>
                <a:ext uri="{FF2B5EF4-FFF2-40B4-BE49-F238E27FC236}">
                  <a16:creationId xmlns:a16="http://schemas.microsoft.com/office/drawing/2014/main" id="{19DA1F12-15D7-B503-7E54-9E3579E06E1B}"/>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9050" cap="flat">
              <a:solidFill>
                <a:schemeClr val="accent3">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7" name="Group 15696" hidden="1">
            <a:extLst>
              <a:ext uri="{FF2B5EF4-FFF2-40B4-BE49-F238E27FC236}">
                <a16:creationId xmlns:a16="http://schemas.microsoft.com/office/drawing/2014/main" id="{89EA9D7B-B4D5-5365-06BF-E10F86DD1C5F}"/>
              </a:ext>
            </a:extLst>
          </p:cNvPr>
          <p:cNvGrpSpPr/>
          <p:nvPr/>
        </p:nvGrpSpPr>
        <p:grpSpPr>
          <a:xfrm>
            <a:off x="670502" y="1444605"/>
            <a:ext cx="6833677" cy="2159001"/>
            <a:chOff x="3486150" y="2509837"/>
            <a:chExt cx="5217128" cy="1841658"/>
          </a:xfrm>
        </p:grpSpPr>
        <p:grpSp>
          <p:nvGrpSpPr>
            <p:cNvPr id="15967" name="Graphic 745">
              <a:extLst>
                <a:ext uri="{FF2B5EF4-FFF2-40B4-BE49-F238E27FC236}">
                  <a16:creationId xmlns:a16="http://schemas.microsoft.com/office/drawing/2014/main" id="{CA377F88-872F-32D1-31B1-4C2A34C5C53F}"/>
                </a:ext>
              </a:extLst>
            </p:cNvPr>
            <p:cNvGrpSpPr/>
            <p:nvPr/>
          </p:nvGrpSpPr>
          <p:grpSpPr>
            <a:xfrm>
              <a:off x="3486150" y="2509837"/>
              <a:ext cx="5217128" cy="1841658"/>
              <a:chOff x="3486150" y="2509837"/>
              <a:chExt cx="5217128" cy="1841658"/>
            </a:xfrm>
          </p:grpSpPr>
          <p:grpSp>
            <p:nvGrpSpPr>
              <p:cNvPr id="15969" name="Graphic 745">
                <a:extLst>
                  <a:ext uri="{FF2B5EF4-FFF2-40B4-BE49-F238E27FC236}">
                    <a16:creationId xmlns:a16="http://schemas.microsoft.com/office/drawing/2014/main" id="{FD324F74-6C52-04F2-67AE-C4EA4F89A9DD}"/>
                  </a:ext>
                </a:extLst>
              </p:cNvPr>
              <p:cNvGrpSpPr/>
              <p:nvPr/>
            </p:nvGrpSpPr>
            <p:grpSpPr>
              <a:xfrm>
                <a:off x="8627554" y="4275772"/>
                <a:ext cx="75723" cy="75723"/>
                <a:chOff x="8627554" y="4275772"/>
                <a:chExt cx="75723" cy="75723"/>
              </a:xfrm>
            </p:grpSpPr>
            <p:sp>
              <p:nvSpPr>
                <p:cNvPr id="16276" name="Freeform: Shape 16275">
                  <a:extLst>
                    <a:ext uri="{FF2B5EF4-FFF2-40B4-BE49-F238E27FC236}">
                      <a16:creationId xmlns:a16="http://schemas.microsoft.com/office/drawing/2014/main" id="{883A4421-D16E-DC55-8425-B224DF63058D}"/>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7" name="Freeform: Shape 16276">
                  <a:extLst>
                    <a:ext uri="{FF2B5EF4-FFF2-40B4-BE49-F238E27FC236}">
                      <a16:creationId xmlns:a16="http://schemas.microsoft.com/office/drawing/2014/main" id="{0134532D-93BF-6FE0-CB5B-FC610D4F185F}"/>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0" name="Graphic 745">
                <a:extLst>
                  <a:ext uri="{FF2B5EF4-FFF2-40B4-BE49-F238E27FC236}">
                    <a16:creationId xmlns:a16="http://schemas.microsoft.com/office/drawing/2014/main" id="{4261B78E-AAEA-E692-8205-9C83388D1A42}"/>
                  </a:ext>
                </a:extLst>
              </p:cNvPr>
              <p:cNvGrpSpPr/>
              <p:nvPr/>
            </p:nvGrpSpPr>
            <p:grpSpPr>
              <a:xfrm>
                <a:off x="8617458" y="4275772"/>
                <a:ext cx="75628" cy="75723"/>
                <a:chOff x="8617458" y="4275772"/>
                <a:chExt cx="75628" cy="75723"/>
              </a:xfrm>
            </p:grpSpPr>
            <p:sp>
              <p:nvSpPr>
                <p:cNvPr id="16274" name="Freeform: Shape 16273">
                  <a:extLst>
                    <a:ext uri="{FF2B5EF4-FFF2-40B4-BE49-F238E27FC236}">
                      <a16:creationId xmlns:a16="http://schemas.microsoft.com/office/drawing/2014/main" id="{9696F475-D049-5C62-65A2-7327FCF4AC1D}"/>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5" name="Freeform: Shape 16274">
                  <a:extLst>
                    <a:ext uri="{FF2B5EF4-FFF2-40B4-BE49-F238E27FC236}">
                      <a16:creationId xmlns:a16="http://schemas.microsoft.com/office/drawing/2014/main" id="{BF51F98D-E69F-F09D-1657-BC887DB66377}"/>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1" name="Graphic 745">
                <a:extLst>
                  <a:ext uri="{FF2B5EF4-FFF2-40B4-BE49-F238E27FC236}">
                    <a16:creationId xmlns:a16="http://schemas.microsoft.com/office/drawing/2014/main" id="{40F37058-626B-6D0C-DA63-60B0D90691AA}"/>
                  </a:ext>
                </a:extLst>
              </p:cNvPr>
              <p:cNvGrpSpPr/>
              <p:nvPr/>
            </p:nvGrpSpPr>
            <p:grpSpPr>
              <a:xfrm>
                <a:off x="8244268" y="4275772"/>
                <a:ext cx="75628" cy="75723"/>
                <a:chOff x="8244268" y="4275772"/>
                <a:chExt cx="75628" cy="75723"/>
              </a:xfrm>
            </p:grpSpPr>
            <p:sp>
              <p:nvSpPr>
                <p:cNvPr id="16272" name="Freeform: Shape 16271">
                  <a:extLst>
                    <a:ext uri="{FF2B5EF4-FFF2-40B4-BE49-F238E27FC236}">
                      <a16:creationId xmlns:a16="http://schemas.microsoft.com/office/drawing/2014/main" id="{E5AF4533-EE38-6B9D-9CE2-556831355675}"/>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3" name="Freeform: Shape 16272">
                  <a:extLst>
                    <a:ext uri="{FF2B5EF4-FFF2-40B4-BE49-F238E27FC236}">
                      <a16:creationId xmlns:a16="http://schemas.microsoft.com/office/drawing/2014/main" id="{3D42A418-CC4F-BF04-1127-B0D86590F80B}"/>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2" name="Graphic 745">
                <a:extLst>
                  <a:ext uri="{FF2B5EF4-FFF2-40B4-BE49-F238E27FC236}">
                    <a16:creationId xmlns:a16="http://schemas.microsoft.com/office/drawing/2014/main" id="{CFF9E618-85DD-303A-2349-30D3778C8ADB}"/>
                  </a:ext>
                </a:extLst>
              </p:cNvPr>
              <p:cNvGrpSpPr/>
              <p:nvPr/>
            </p:nvGrpSpPr>
            <p:grpSpPr>
              <a:xfrm>
                <a:off x="8139684" y="4275772"/>
                <a:ext cx="75723" cy="75723"/>
                <a:chOff x="8139684" y="4275772"/>
                <a:chExt cx="75723" cy="75723"/>
              </a:xfrm>
            </p:grpSpPr>
            <p:sp>
              <p:nvSpPr>
                <p:cNvPr id="16270" name="Freeform: Shape 16269">
                  <a:extLst>
                    <a:ext uri="{FF2B5EF4-FFF2-40B4-BE49-F238E27FC236}">
                      <a16:creationId xmlns:a16="http://schemas.microsoft.com/office/drawing/2014/main" id="{736817D7-5623-55E4-50D1-00BB055FC449}"/>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71" name="Freeform: Shape 16270">
                  <a:extLst>
                    <a:ext uri="{FF2B5EF4-FFF2-40B4-BE49-F238E27FC236}">
                      <a16:creationId xmlns:a16="http://schemas.microsoft.com/office/drawing/2014/main" id="{1A658DD9-8952-F633-4A75-F78FFE6C9C40}"/>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3" name="Graphic 745">
                <a:extLst>
                  <a:ext uri="{FF2B5EF4-FFF2-40B4-BE49-F238E27FC236}">
                    <a16:creationId xmlns:a16="http://schemas.microsoft.com/office/drawing/2014/main" id="{3F9AEA76-3FFE-2EB7-02E5-68F6FCAA6991}"/>
                  </a:ext>
                </a:extLst>
              </p:cNvPr>
              <p:cNvGrpSpPr/>
              <p:nvPr/>
            </p:nvGrpSpPr>
            <p:grpSpPr>
              <a:xfrm>
                <a:off x="7737157" y="4275772"/>
                <a:ext cx="75723" cy="75723"/>
                <a:chOff x="7737157" y="4275772"/>
                <a:chExt cx="75723" cy="75723"/>
              </a:xfrm>
            </p:grpSpPr>
            <p:sp>
              <p:nvSpPr>
                <p:cNvPr id="16268" name="Freeform: Shape 16267">
                  <a:extLst>
                    <a:ext uri="{FF2B5EF4-FFF2-40B4-BE49-F238E27FC236}">
                      <a16:creationId xmlns:a16="http://schemas.microsoft.com/office/drawing/2014/main" id="{04386E87-0C69-4D60-E3CC-3D99823B276A}"/>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9" name="Freeform: Shape 16268">
                  <a:extLst>
                    <a:ext uri="{FF2B5EF4-FFF2-40B4-BE49-F238E27FC236}">
                      <a16:creationId xmlns:a16="http://schemas.microsoft.com/office/drawing/2014/main" id="{AB15057F-6777-0CDC-758C-F78774AE4550}"/>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4" name="Graphic 745">
                <a:extLst>
                  <a:ext uri="{FF2B5EF4-FFF2-40B4-BE49-F238E27FC236}">
                    <a16:creationId xmlns:a16="http://schemas.microsoft.com/office/drawing/2014/main" id="{14B28152-A2C8-E5BC-8B7B-7E0538FB97A2}"/>
                  </a:ext>
                </a:extLst>
              </p:cNvPr>
              <p:cNvGrpSpPr/>
              <p:nvPr/>
            </p:nvGrpSpPr>
            <p:grpSpPr>
              <a:xfrm>
                <a:off x="7382160" y="4275772"/>
                <a:ext cx="75628" cy="75723"/>
                <a:chOff x="7382160" y="4275772"/>
                <a:chExt cx="75628" cy="75723"/>
              </a:xfrm>
            </p:grpSpPr>
            <p:sp>
              <p:nvSpPr>
                <p:cNvPr id="16266" name="Freeform: Shape 16265">
                  <a:extLst>
                    <a:ext uri="{FF2B5EF4-FFF2-40B4-BE49-F238E27FC236}">
                      <a16:creationId xmlns:a16="http://schemas.microsoft.com/office/drawing/2014/main" id="{09125B99-8CA3-397C-4EC5-FDA96169DA7F}"/>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7" name="Freeform: Shape 16266">
                  <a:extLst>
                    <a:ext uri="{FF2B5EF4-FFF2-40B4-BE49-F238E27FC236}">
                      <a16:creationId xmlns:a16="http://schemas.microsoft.com/office/drawing/2014/main" id="{04FFC2E0-6495-FE68-AE39-821FAC0EFF39}"/>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5" name="Graphic 745">
                <a:extLst>
                  <a:ext uri="{FF2B5EF4-FFF2-40B4-BE49-F238E27FC236}">
                    <a16:creationId xmlns:a16="http://schemas.microsoft.com/office/drawing/2014/main" id="{AD2DF328-0B9A-3012-50A7-0C2C81543B43}"/>
                  </a:ext>
                </a:extLst>
              </p:cNvPr>
              <p:cNvGrpSpPr/>
              <p:nvPr/>
            </p:nvGrpSpPr>
            <p:grpSpPr>
              <a:xfrm>
                <a:off x="7337964" y="4242339"/>
                <a:ext cx="75723" cy="75723"/>
                <a:chOff x="7337964" y="4242339"/>
                <a:chExt cx="75723" cy="75723"/>
              </a:xfrm>
            </p:grpSpPr>
            <p:sp>
              <p:nvSpPr>
                <p:cNvPr id="16264" name="Freeform: Shape 16263">
                  <a:extLst>
                    <a:ext uri="{FF2B5EF4-FFF2-40B4-BE49-F238E27FC236}">
                      <a16:creationId xmlns:a16="http://schemas.microsoft.com/office/drawing/2014/main" id="{493779BC-78A1-7139-AC18-B02A880DB48C}"/>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5" name="Freeform: Shape 16264">
                  <a:extLst>
                    <a:ext uri="{FF2B5EF4-FFF2-40B4-BE49-F238E27FC236}">
                      <a16:creationId xmlns:a16="http://schemas.microsoft.com/office/drawing/2014/main" id="{C2DD0CA3-0976-0EBE-C72B-0C2EA861F15E}"/>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6" name="Graphic 745">
                <a:extLst>
                  <a:ext uri="{FF2B5EF4-FFF2-40B4-BE49-F238E27FC236}">
                    <a16:creationId xmlns:a16="http://schemas.microsoft.com/office/drawing/2014/main" id="{97F38047-153F-2665-2B9F-287141109B4E}"/>
                  </a:ext>
                </a:extLst>
              </p:cNvPr>
              <p:cNvGrpSpPr/>
              <p:nvPr/>
            </p:nvGrpSpPr>
            <p:grpSpPr>
              <a:xfrm>
                <a:off x="7347394" y="4242339"/>
                <a:ext cx="75628" cy="75723"/>
                <a:chOff x="7347394" y="4242339"/>
                <a:chExt cx="75628" cy="75723"/>
              </a:xfrm>
            </p:grpSpPr>
            <p:sp>
              <p:nvSpPr>
                <p:cNvPr id="16262" name="Freeform: Shape 16261">
                  <a:extLst>
                    <a:ext uri="{FF2B5EF4-FFF2-40B4-BE49-F238E27FC236}">
                      <a16:creationId xmlns:a16="http://schemas.microsoft.com/office/drawing/2014/main" id="{0475B696-D17B-5655-9109-2359C0742EAD}"/>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3" name="Freeform: Shape 16262">
                  <a:extLst>
                    <a:ext uri="{FF2B5EF4-FFF2-40B4-BE49-F238E27FC236}">
                      <a16:creationId xmlns:a16="http://schemas.microsoft.com/office/drawing/2014/main" id="{F74D3CE9-B33A-D6E4-EB75-17B06DFCBE7F}"/>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7" name="Graphic 745">
                <a:extLst>
                  <a:ext uri="{FF2B5EF4-FFF2-40B4-BE49-F238E27FC236}">
                    <a16:creationId xmlns:a16="http://schemas.microsoft.com/office/drawing/2014/main" id="{84BBAD00-975D-815B-8808-10D33A2CC6EA}"/>
                  </a:ext>
                </a:extLst>
              </p:cNvPr>
              <p:cNvGrpSpPr/>
              <p:nvPr/>
            </p:nvGrpSpPr>
            <p:grpSpPr>
              <a:xfrm>
                <a:off x="7308151" y="4185284"/>
                <a:ext cx="75723" cy="75723"/>
                <a:chOff x="7308151" y="4185284"/>
                <a:chExt cx="75723" cy="75723"/>
              </a:xfrm>
            </p:grpSpPr>
            <p:sp>
              <p:nvSpPr>
                <p:cNvPr id="16260" name="Freeform: Shape 16259">
                  <a:extLst>
                    <a:ext uri="{FF2B5EF4-FFF2-40B4-BE49-F238E27FC236}">
                      <a16:creationId xmlns:a16="http://schemas.microsoft.com/office/drawing/2014/main" id="{CD5552B4-0475-5DA2-A233-A2E6D269ADE1}"/>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61" name="Freeform: Shape 16260">
                  <a:extLst>
                    <a:ext uri="{FF2B5EF4-FFF2-40B4-BE49-F238E27FC236}">
                      <a16:creationId xmlns:a16="http://schemas.microsoft.com/office/drawing/2014/main" id="{7F8D2ACE-F0D2-57D9-DF6B-641083B248EF}"/>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8" name="Graphic 745">
                <a:extLst>
                  <a:ext uri="{FF2B5EF4-FFF2-40B4-BE49-F238E27FC236}">
                    <a16:creationId xmlns:a16="http://schemas.microsoft.com/office/drawing/2014/main" id="{DCB5CB39-CCCB-705C-89BF-83C87FEC2014}"/>
                  </a:ext>
                </a:extLst>
              </p:cNvPr>
              <p:cNvGrpSpPr/>
              <p:nvPr/>
            </p:nvGrpSpPr>
            <p:grpSpPr>
              <a:xfrm>
                <a:off x="7319295" y="4185284"/>
                <a:ext cx="75628" cy="75723"/>
                <a:chOff x="7319295" y="4185284"/>
                <a:chExt cx="75628" cy="75723"/>
              </a:xfrm>
            </p:grpSpPr>
            <p:sp>
              <p:nvSpPr>
                <p:cNvPr id="16258" name="Freeform: Shape 16257">
                  <a:extLst>
                    <a:ext uri="{FF2B5EF4-FFF2-40B4-BE49-F238E27FC236}">
                      <a16:creationId xmlns:a16="http://schemas.microsoft.com/office/drawing/2014/main" id="{C0C430B2-F00C-2B9E-C5BC-991EA030E4A1}"/>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9" name="Freeform: Shape 16258">
                  <a:extLst>
                    <a:ext uri="{FF2B5EF4-FFF2-40B4-BE49-F238E27FC236}">
                      <a16:creationId xmlns:a16="http://schemas.microsoft.com/office/drawing/2014/main" id="{0592D547-A70E-C9EA-72FB-321E74AF4A56}"/>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9" name="Graphic 745">
                <a:extLst>
                  <a:ext uri="{FF2B5EF4-FFF2-40B4-BE49-F238E27FC236}">
                    <a16:creationId xmlns:a16="http://schemas.microsoft.com/office/drawing/2014/main" id="{22304BC1-A4AB-D37B-C8A3-5AEC4ED541FD}"/>
                  </a:ext>
                </a:extLst>
              </p:cNvPr>
              <p:cNvGrpSpPr/>
              <p:nvPr/>
            </p:nvGrpSpPr>
            <p:grpSpPr>
              <a:xfrm>
                <a:off x="7330344" y="4185284"/>
                <a:ext cx="75723" cy="75723"/>
                <a:chOff x="7330344" y="4185284"/>
                <a:chExt cx="75723" cy="75723"/>
              </a:xfrm>
            </p:grpSpPr>
            <p:sp>
              <p:nvSpPr>
                <p:cNvPr id="16256" name="Freeform: Shape 16255">
                  <a:extLst>
                    <a:ext uri="{FF2B5EF4-FFF2-40B4-BE49-F238E27FC236}">
                      <a16:creationId xmlns:a16="http://schemas.microsoft.com/office/drawing/2014/main" id="{01DB0DEE-66E2-83FB-AED5-48A3C3C6F9F9}"/>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7" name="Freeform: Shape 16256">
                  <a:extLst>
                    <a:ext uri="{FF2B5EF4-FFF2-40B4-BE49-F238E27FC236}">
                      <a16:creationId xmlns:a16="http://schemas.microsoft.com/office/drawing/2014/main" id="{D489CB44-217B-6038-05DF-3BB85F170FBD}"/>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0" name="Graphic 745">
                <a:extLst>
                  <a:ext uri="{FF2B5EF4-FFF2-40B4-BE49-F238E27FC236}">
                    <a16:creationId xmlns:a16="http://schemas.microsoft.com/office/drawing/2014/main" id="{B66C3247-5187-7044-2958-3A3EF8049FAC}"/>
                  </a:ext>
                </a:extLst>
              </p:cNvPr>
              <p:cNvGrpSpPr/>
              <p:nvPr/>
            </p:nvGrpSpPr>
            <p:grpSpPr>
              <a:xfrm>
                <a:off x="7009923" y="4185284"/>
                <a:ext cx="75723" cy="75723"/>
                <a:chOff x="7009923" y="4185284"/>
                <a:chExt cx="75723" cy="75723"/>
              </a:xfrm>
            </p:grpSpPr>
            <p:sp>
              <p:nvSpPr>
                <p:cNvPr id="16254" name="Freeform: Shape 16253">
                  <a:extLst>
                    <a:ext uri="{FF2B5EF4-FFF2-40B4-BE49-F238E27FC236}">
                      <a16:creationId xmlns:a16="http://schemas.microsoft.com/office/drawing/2014/main" id="{406A89F2-0E1F-C806-1BB8-A2F6E9D3DF30}"/>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5" name="Freeform: Shape 16254">
                  <a:extLst>
                    <a:ext uri="{FF2B5EF4-FFF2-40B4-BE49-F238E27FC236}">
                      <a16:creationId xmlns:a16="http://schemas.microsoft.com/office/drawing/2014/main" id="{788AB6F2-BBBF-F98F-78B8-CB87782ECD10}"/>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1" name="Graphic 745">
                <a:extLst>
                  <a:ext uri="{FF2B5EF4-FFF2-40B4-BE49-F238E27FC236}">
                    <a16:creationId xmlns:a16="http://schemas.microsoft.com/office/drawing/2014/main" id="{CC84CA6A-F6F5-40CB-598B-A9316DF70F17}"/>
                  </a:ext>
                </a:extLst>
              </p:cNvPr>
              <p:cNvGrpSpPr/>
              <p:nvPr/>
            </p:nvGrpSpPr>
            <p:grpSpPr>
              <a:xfrm>
                <a:off x="7021068" y="4185284"/>
                <a:ext cx="75628" cy="75723"/>
                <a:chOff x="7021068" y="4185284"/>
                <a:chExt cx="75628" cy="75723"/>
              </a:xfrm>
            </p:grpSpPr>
            <p:sp>
              <p:nvSpPr>
                <p:cNvPr id="16252" name="Freeform: Shape 16251">
                  <a:extLst>
                    <a:ext uri="{FF2B5EF4-FFF2-40B4-BE49-F238E27FC236}">
                      <a16:creationId xmlns:a16="http://schemas.microsoft.com/office/drawing/2014/main" id="{901F3E23-D762-3DCC-DA9C-DD3CB2A811B6}"/>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3" name="Freeform: Shape 16252">
                  <a:extLst>
                    <a:ext uri="{FF2B5EF4-FFF2-40B4-BE49-F238E27FC236}">
                      <a16:creationId xmlns:a16="http://schemas.microsoft.com/office/drawing/2014/main" id="{6EBB9492-714D-02A8-B9D5-08CB477D89AA}"/>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2" name="Graphic 745">
                <a:extLst>
                  <a:ext uri="{FF2B5EF4-FFF2-40B4-BE49-F238E27FC236}">
                    <a16:creationId xmlns:a16="http://schemas.microsoft.com/office/drawing/2014/main" id="{906A4D95-74FC-E3A6-E9D7-21D3C327EFFB}"/>
                  </a:ext>
                </a:extLst>
              </p:cNvPr>
              <p:cNvGrpSpPr/>
              <p:nvPr/>
            </p:nvGrpSpPr>
            <p:grpSpPr>
              <a:xfrm>
                <a:off x="6889051" y="4071937"/>
                <a:ext cx="75628" cy="75723"/>
                <a:chOff x="6889051" y="4071937"/>
                <a:chExt cx="75628" cy="75723"/>
              </a:xfrm>
            </p:grpSpPr>
            <p:sp>
              <p:nvSpPr>
                <p:cNvPr id="16250" name="Freeform: Shape 16249">
                  <a:extLst>
                    <a:ext uri="{FF2B5EF4-FFF2-40B4-BE49-F238E27FC236}">
                      <a16:creationId xmlns:a16="http://schemas.microsoft.com/office/drawing/2014/main" id="{B66A1E92-FB82-D4A3-8F35-E0D6CB59CBC2}"/>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51" name="Freeform: Shape 16250">
                  <a:extLst>
                    <a:ext uri="{FF2B5EF4-FFF2-40B4-BE49-F238E27FC236}">
                      <a16:creationId xmlns:a16="http://schemas.microsoft.com/office/drawing/2014/main" id="{D01A86AC-A69E-0583-873C-69E6D1694B62}"/>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3" name="Graphic 745">
                <a:extLst>
                  <a:ext uri="{FF2B5EF4-FFF2-40B4-BE49-F238E27FC236}">
                    <a16:creationId xmlns:a16="http://schemas.microsoft.com/office/drawing/2014/main" id="{AB5D8315-F22A-7509-25C0-DED5A78B77FC}"/>
                  </a:ext>
                </a:extLst>
              </p:cNvPr>
              <p:cNvGrpSpPr/>
              <p:nvPr/>
            </p:nvGrpSpPr>
            <p:grpSpPr>
              <a:xfrm>
                <a:off x="6786372" y="4071937"/>
                <a:ext cx="75723" cy="75723"/>
                <a:chOff x="6786372" y="4071937"/>
                <a:chExt cx="75723" cy="75723"/>
              </a:xfrm>
            </p:grpSpPr>
            <p:sp>
              <p:nvSpPr>
                <p:cNvPr id="16248" name="Freeform: Shape 16247">
                  <a:extLst>
                    <a:ext uri="{FF2B5EF4-FFF2-40B4-BE49-F238E27FC236}">
                      <a16:creationId xmlns:a16="http://schemas.microsoft.com/office/drawing/2014/main" id="{7703136B-BCB4-2ACF-082B-79ADE340ED78}"/>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9" name="Freeform: Shape 16248">
                  <a:extLst>
                    <a:ext uri="{FF2B5EF4-FFF2-40B4-BE49-F238E27FC236}">
                      <a16:creationId xmlns:a16="http://schemas.microsoft.com/office/drawing/2014/main" id="{A8FD1CA1-62CA-A3FF-F23E-346772D46880}"/>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4" name="Graphic 745">
                <a:extLst>
                  <a:ext uri="{FF2B5EF4-FFF2-40B4-BE49-F238E27FC236}">
                    <a16:creationId xmlns:a16="http://schemas.microsoft.com/office/drawing/2014/main" id="{07947727-8250-CDC2-4409-D0D5D3D8C817}"/>
                  </a:ext>
                </a:extLst>
              </p:cNvPr>
              <p:cNvGrpSpPr/>
              <p:nvPr/>
            </p:nvGrpSpPr>
            <p:grpSpPr>
              <a:xfrm>
                <a:off x="6533864" y="4050886"/>
                <a:ext cx="75723" cy="75628"/>
                <a:chOff x="6533864" y="4050886"/>
                <a:chExt cx="75723" cy="75628"/>
              </a:xfrm>
            </p:grpSpPr>
            <p:sp>
              <p:nvSpPr>
                <p:cNvPr id="16246" name="Freeform: Shape 16245">
                  <a:extLst>
                    <a:ext uri="{FF2B5EF4-FFF2-40B4-BE49-F238E27FC236}">
                      <a16:creationId xmlns:a16="http://schemas.microsoft.com/office/drawing/2014/main" id="{4E052D50-D88F-D583-83DC-04E4435D91A2}"/>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7" name="Freeform: Shape 16246">
                  <a:extLst>
                    <a:ext uri="{FF2B5EF4-FFF2-40B4-BE49-F238E27FC236}">
                      <a16:creationId xmlns:a16="http://schemas.microsoft.com/office/drawing/2014/main" id="{A2EF0788-4FFE-E28D-C41C-7DF7C0DF4154}"/>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5" name="Graphic 745">
                <a:extLst>
                  <a:ext uri="{FF2B5EF4-FFF2-40B4-BE49-F238E27FC236}">
                    <a16:creationId xmlns:a16="http://schemas.microsoft.com/office/drawing/2014/main" id="{7E457452-6595-28DE-3D27-D4556D1034D7}"/>
                  </a:ext>
                </a:extLst>
              </p:cNvPr>
              <p:cNvGrpSpPr/>
              <p:nvPr/>
            </p:nvGrpSpPr>
            <p:grpSpPr>
              <a:xfrm>
                <a:off x="6504717" y="4028598"/>
                <a:ext cx="75723" cy="75723"/>
                <a:chOff x="6504717" y="4028598"/>
                <a:chExt cx="75723" cy="75723"/>
              </a:xfrm>
            </p:grpSpPr>
            <p:sp>
              <p:nvSpPr>
                <p:cNvPr id="16244" name="Freeform: Shape 16243">
                  <a:extLst>
                    <a:ext uri="{FF2B5EF4-FFF2-40B4-BE49-F238E27FC236}">
                      <a16:creationId xmlns:a16="http://schemas.microsoft.com/office/drawing/2014/main" id="{47B3BD1C-33D6-B5F7-1AD7-751798409DAF}"/>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5" name="Freeform: Shape 16244">
                  <a:extLst>
                    <a:ext uri="{FF2B5EF4-FFF2-40B4-BE49-F238E27FC236}">
                      <a16:creationId xmlns:a16="http://schemas.microsoft.com/office/drawing/2014/main" id="{3AFCC80D-C044-369B-69CF-DBA8480931BC}"/>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6" name="Graphic 745">
                <a:extLst>
                  <a:ext uri="{FF2B5EF4-FFF2-40B4-BE49-F238E27FC236}">
                    <a16:creationId xmlns:a16="http://schemas.microsoft.com/office/drawing/2014/main" id="{0146430C-AA30-1ECE-EBEF-D7E5ADB9E0AC}"/>
                  </a:ext>
                </a:extLst>
              </p:cNvPr>
              <p:cNvGrpSpPr/>
              <p:nvPr/>
            </p:nvGrpSpPr>
            <p:grpSpPr>
              <a:xfrm>
                <a:off x="6477952" y="4028598"/>
                <a:ext cx="75723" cy="75723"/>
                <a:chOff x="6477952" y="4028598"/>
                <a:chExt cx="75723" cy="75723"/>
              </a:xfrm>
            </p:grpSpPr>
            <p:sp>
              <p:nvSpPr>
                <p:cNvPr id="16242" name="Freeform: Shape 16241">
                  <a:extLst>
                    <a:ext uri="{FF2B5EF4-FFF2-40B4-BE49-F238E27FC236}">
                      <a16:creationId xmlns:a16="http://schemas.microsoft.com/office/drawing/2014/main" id="{84F79211-4820-B16D-4437-A2E413E7DC3D}"/>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3" name="Freeform: Shape 16242">
                  <a:extLst>
                    <a:ext uri="{FF2B5EF4-FFF2-40B4-BE49-F238E27FC236}">
                      <a16:creationId xmlns:a16="http://schemas.microsoft.com/office/drawing/2014/main" id="{C7DCFFD5-1041-E48B-AB73-A38A793F7ABC}"/>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7" name="Graphic 745">
                <a:extLst>
                  <a:ext uri="{FF2B5EF4-FFF2-40B4-BE49-F238E27FC236}">
                    <a16:creationId xmlns:a16="http://schemas.microsoft.com/office/drawing/2014/main" id="{A687E4D1-C9D4-ECFA-2CB5-F9BBCE47E02B}"/>
                  </a:ext>
                </a:extLst>
              </p:cNvPr>
              <p:cNvGrpSpPr/>
              <p:nvPr/>
            </p:nvGrpSpPr>
            <p:grpSpPr>
              <a:xfrm>
                <a:off x="6491382" y="4028598"/>
                <a:ext cx="75628" cy="75723"/>
                <a:chOff x="6491382" y="4028598"/>
                <a:chExt cx="75628" cy="75723"/>
              </a:xfrm>
            </p:grpSpPr>
            <p:sp>
              <p:nvSpPr>
                <p:cNvPr id="16240" name="Freeform: Shape 16239">
                  <a:extLst>
                    <a:ext uri="{FF2B5EF4-FFF2-40B4-BE49-F238E27FC236}">
                      <a16:creationId xmlns:a16="http://schemas.microsoft.com/office/drawing/2014/main" id="{770E7CD4-36FF-3713-01CE-80472536EA08}"/>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41" name="Freeform: Shape 16240">
                  <a:extLst>
                    <a:ext uri="{FF2B5EF4-FFF2-40B4-BE49-F238E27FC236}">
                      <a16:creationId xmlns:a16="http://schemas.microsoft.com/office/drawing/2014/main" id="{7DF57463-BD4E-14C4-8B46-82D6689F1FC7}"/>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8" name="Graphic 745">
                <a:extLst>
                  <a:ext uri="{FF2B5EF4-FFF2-40B4-BE49-F238E27FC236}">
                    <a16:creationId xmlns:a16="http://schemas.microsoft.com/office/drawing/2014/main" id="{BD6C286B-C006-D19D-67C4-7B6E0B0E7185}"/>
                  </a:ext>
                </a:extLst>
              </p:cNvPr>
              <p:cNvGrpSpPr/>
              <p:nvPr/>
            </p:nvGrpSpPr>
            <p:grpSpPr>
              <a:xfrm>
                <a:off x="6347460" y="3952969"/>
                <a:ext cx="75723" cy="75628"/>
                <a:chOff x="6347460" y="3952969"/>
                <a:chExt cx="75723" cy="75628"/>
              </a:xfrm>
            </p:grpSpPr>
            <p:sp>
              <p:nvSpPr>
                <p:cNvPr id="16238" name="Freeform: Shape 16237">
                  <a:extLst>
                    <a:ext uri="{FF2B5EF4-FFF2-40B4-BE49-F238E27FC236}">
                      <a16:creationId xmlns:a16="http://schemas.microsoft.com/office/drawing/2014/main" id="{6FB7D559-7C43-F746-DC9D-FF1FFC1CFDE0}"/>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9" name="Freeform: Shape 16238">
                  <a:extLst>
                    <a:ext uri="{FF2B5EF4-FFF2-40B4-BE49-F238E27FC236}">
                      <a16:creationId xmlns:a16="http://schemas.microsoft.com/office/drawing/2014/main" id="{5CF35D2C-28FD-BD34-FFF7-CD97B073AA9D}"/>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9" name="Graphic 745">
                <a:extLst>
                  <a:ext uri="{FF2B5EF4-FFF2-40B4-BE49-F238E27FC236}">
                    <a16:creationId xmlns:a16="http://schemas.microsoft.com/office/drawing/2014/main" id="{47AA6737-31BD-6B09-F0D7-6748FCEDB8C9}"/>
                  </a:ext>
                </a:extLst>
              </p:cNvPr>
              <p:cNvGrpSpPr/>
              <p:nvPr/>
            </p:nvGrpSpPr>
            <p:grpSpPr>
              <a:xfrm>
                <a:off x="6402228" y="3952969"/>
                <a:ext cx="75723" cy="75628"/>
                <a:chOff x="6402228" y="3952969"/>
                <a:chExt cx="75723" cy="75628"/>
              </a:xfrm>
            </p:grpSpPr>
            <p:sp>
              <p:nvSpPr>
                <p:cNvPr id="16236" name="Freeform: Shape 16235">
                  <a:extLst>
                    <a:ext uri="{FF2B5EF4-FFF2-40B4-BE49-F238E27FC236}">
                      <a16:creationId xmlns:a16="http://schemas.microsoft.com/office/drawing/2014/main" id="{E16315C2-CA22-EB74-2E66-293F26AEB610}"/>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7" name="Freeform: Shape 16236">
                  <a:extLst>
                    <a:ext uri="{FF2B5EF4-FFF2-40B4-BE49-F238E27FC236}">
                      <a16:creationId xmlns:a16="http://schemas.microsoft.com/office/drawing/2014/main" id="{E010B331-BAE6-C225-46A0-ADA5112B8A3A}"/>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0" name="Graphic 745">
                <a:extLst>
                  <a:ext uri="{FF2B5EF4-FFF2-40B4-BE49-F238E27FC236}">
                    <a16:creationId xmlns:a16="http://schemas.microsoft.com/office/drawing/2014/main" id="{215AE9BC-06F5-3A67-5C29-672F64EB9C20}"/>
                  </a:ext>
                </a:extLst>
              </p:cNvPr>
              <p:cNvGrpSpPr/>
              <p:nvPr/>
            </p:nvGrpSpPr>
            <p:grpSpPr>
              <a:xfrm>
                <a:off x="6437852" y="3966304"/>
                <a:ext cx="75723" cy="75723"/>
                <a:chOff x="6437852" y="3966304"/>
                <a:chExt cx="75723" cy="75723"/>
              </a:xfrm>
            </p:grpSpPr>
            <p:sp>
              <p:nvSpPr>
                <p:cNvPr id="16234" name="Freeform: Shape 16233">
                  <a:extLst>
                    <a:ext uri="{FF2B5EF4-FFF2-40B4-BE49-F238E27FC236}">
                      <a16:creationId xmlns:a16="http://schemas.microsoft.com/office/drawing/2014/main" id="{9F64E86F-8291-BF20-0AF0-89366A698E17}"/>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5" name="Freeform: Shape 16234">
                  <a:extLst>
                    <a:ext uri="{FF2B5EF4-FFF2-40B4-BE49-F238E27FC236}">
                      <a16:creationId xmlns:a16="http://schemas.microsoft.com/office/drawing/2014/main" id="{F7F5CF3F-5680-E333-364B-0F891E77618C}"/>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1" name="Graphic 745">
                <a:extLst>
                  <a:ext uri="{FF2B5EF4-FFF2-40B4-BE49-F238E27FC236}">
                    <a16:creationId xmlns:a16="http://schemas.microsoft.com/office/drawing/2014/main" id="{E178B41F-E6CD-8102-270F-4A0AE6C832B3}"/>
                  </a:ext>
                </a:extLst>
              </p:cNvPr>
              <p:cNvGrpSpPr/>
              <p:nvPr/>
            </p:nvGrpSpPr>
            <p:grpSpPr>
              <a:xfrm>
                <a:off x="6461379" y="3976877"/>
                <a:ext cx="75628" cy="75628"/>
                <a:chOff x="6461379" y="3976877"/>
                <a:chExt cx="75628" cy="75628"/>
              </a:xfrm>
            </p:grpSpPr>
            <p:sp>
              <p:nvSpPr>
                <p:cNvPr id="16232" name="Freeform: Shape 16231">
                  <a:extLst>
                    <a:ext uri="{FF2B5EF4-FFF2-40B4-BE49-F238E27FC236}">
                      <a16:creationId xmlns:a16="http://schemas.microsoft.com/office/drawing/2014/main" id="{FA386928-A3B4-986A-4E6D-A10D12108381}"/>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3" name="Freeform: Shape 16232">
                  <a:extLst>
                    <a:ext uri="{FF2B5EF4-FFF2-40B4-BE49-F238E27FC236}">
                      <a16:creationId xmlns:a16="http://schemas.microsoft.com/office/drawing/2014/main" id="{508FD8F3-9AFB-E509-50ED-755EE686396A}"/>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2" name="Graphic 745">
                <a:extLst>
                  <a:ext uri="{FF2B5EF4-FFF2-40B4-BE49-F238E27FC236}">
                    <a16:creationId xmlns:a16="http://schemas.microsoft.com/office/drawing/2014/main" id="{6332079D-4259-A06C-DC2D-9C6EEC0CE4C6}"/>
                  </a:ext>
                </a:extLst>
              </p:cNvPr>
              <p:cNvGrpSpPr/>
              <p:nvPr/>
            </p:nvGrpSpPr>
            <p:grpSpPr>
              <a:xfrm>
                <a:off x="6475666" y="3986974"/>
                <a:ext cx="75723" cy="75723"/>
                <a:chOff x="6475666" y="3986974"/>
                <a:chExt cx="75723" cy="75723"/>
              </a:xfrm>
            </p:grpSpPr>
            <p:sp>
              <p:nvSpPr>
                <p:cNvPr id="16230" name="Freeform: Shape 16229">
                  <a:extLst>
                    <a:ext uri="{FF2B5EF4-FFF2-40B4-BE49-F238E27FC236}">
                      <a16:creationId xmlns:a16="http://schemas.microsoft.com/office/drawing/2014/main" id="{93831444-BCAC-0036-9F74-1F6A3D047C76}"/>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31" name="Freeform: Shape 16230">
                  <a:extLst>
                    <a:ext uri="{FF2B5EF4-FFF2-40B4-BE49-F238E27FC236}">
                      <a16:creationId xmlns:a16="http://schemas.microsoft.com/office/drawing/2014/main" id="{FF3B4152-F2C6-0894-E808-DEA49CCD7A98}"/>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3" name="Graphic 745">
                <a:extLst>
                  <a:ext uri="{FF2B5EF4-FFF2-40B4-BE49-F238E27FC236}">
                    <a16:creationId xmlns:a16="http://schemas.microsoft.com/office/drawing/2014/main" id="{9B5288F1-3257-9473-E093-D1C8CCAE4C85}"/>
                  </a:ext>
                </a:extLst>
              </p:cNvPr>
              <p:cNvGrpSpPr/>
              <p:nvPr/>
            </p:nvGrpSpPr>
            <p:grpSpPr>
              <a:xfrm>
                <a:off x="6229540" y="3936301"/>
                <a:ext cx="75628" cy="75723"/>
                <a:chOff x="6229540" y="3936301"/>
                <a:chExt cx="75628" cy="75723"/>
              </a:xfrm>
            </p:grpSpPr>
            <p:sp>
              <p:nvSpPr>
                <p:cNvPr id="16228" name="Freeform: Shape 16227">
                  <a:extLst>
                    <a:ext uri="{FF2B5EF4-FFF2-40B4-BE49-F238E27FC236}">
                      <a16:creationId xmlns:a16="http://schemas.microsoft.com/office/drawing/2014/main" id="{93F37023-000D-9210-54B7-72958C875F22}"/>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9" name="Freeform: Shape 16228">
                  <a:extLst>
                    <a:ext uri="{FF2B5EF4-FFF2-40B4-BE49-F238E27FC236}">
                      <a16:creationId xmlns:a16="http://schemas.microsoft.com/office/drawing/2014/main" id="{A8FA4DBA-0F23-2858-AD7A-CD26C6795CD4}"/>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4" name="Graphic 745">
                <a:extLst>
                  <a:ext uri="{FF2B5EF4-FFF2-40B4-BE49-F238E27FC236}">
                    <a16:creationId xmlns:a16="http://schemas.microsoft.com/office/drawing/2014/main" id="{A4676520-B768-E96C-544F-9090683BE0D6}"/>
                  </a:ext>
                </a:extLst>
              </p:cNvPr>
              <p:cNvGrpSpPr/>
              <p:nvPr/>
            </p:nvGrpSpPr>
            <p:grpSpPr>
              <a:xfrm>
                <a:off x="5918644" y="3830478"/>
                <a:ext cx="75628" cy="75723"/>
                <a:chOff x="5918644" y="3830478"/>
                <a:chExt cx="75628" cy="75723"/>
              </a:xfrm>
            </p:grpSpPr>
            <p:sp>
              <p:nvSpPr>
                <p:cNvPr id="16226" name="Freeform: Shape 16225">
                  <a:extLst>
                    <a:ext uri="{FF2B5EF4-FFF2-40B4-BE49-F238E27FC236}">
                      <a16:creationId xmlns:a16="http://schemas.microsoft.com/office/drawing/2014/main" id="{966DDA6E-09B7-314A-E1FE-93807FA46555}"/>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7" name="Freeform: Shape 16226">
                  <a:extLst>
                    <a:ext uri="{FF2B5EF4-FFF2-40B4-BE49-F238E27FC236}">
                      <a16:creationId xmlns:a16="http://schemas.microsoft.com/office/drawing/2014/main" id="{A909402C-63B0-95BF-ECAF-BD029600B28D}"/>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5" name="Graphic 745">
                <a:extLst>
                  <a:ext uri="{FF2B5EF4-FFF2-40B4-BE49-F238E27FC236}">
                    <a16:creationId xmlns:a16="http://schemas.microsoft.com/office/drawing/2014/main" id="{BD4A05AC-026B-D0AD-7BEC-22BEAF1871FD}"/>
                  </a:ext>
                </a:extLst>
              </p:cNvPr>
              <p:cNvGrpSpPr/>
              <p:nvPr/>
            </p:nvGrpSpPr>
            <p:grpSpPr>
              <a:xfrm>
                <a:off x="5699379" y="3807427"/>
                <a:ext cx="75628" cy="75723"/>
                <a:chOff x="5699379" y="3807427"/>
                <a:chExt cx="75628" cy="75723"/>
              </a:xfrm>
            </p:grpSpPr>
            <p:sp>
              <p:nvSpPr>
                <p:cNvPr id="16224" name="Freeform: Shape 16223">
                  <a:extLst>
                    <a:ext uri="{FF2B5EF4-FFF2-40B4-BE49-F238E27FC236}">
                      <a16:creationId xmlns:a16="http://schemas.microsoft.com/office/drawing/2014/main" id="{232B712B-94CD-83D9-1ACF-E764E3A66C20}"/>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5" name="Freeform: Shape 16224">
                  <a:extLst>
                    <a:ext uri="{FF2B5EF4-FFF2-40B4-BE49-F238E27FC236}">
                      <a16:creationId xmlns:a16="http://schemas.microsoft.com/office/drawing/2014/main" id="{C2B7361C-B7E5-6E4B-39F2-F468D55AAC7E}"/>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6" name="Graphic 745">
                <a:extLst>
                  <a:ext uri="{FF2B5EF4-FFF2-40B4-BE49-F238E27FC236}">
                    <a16:creationId xmlns:a16="http://schemas.microsoft.com/office/drawing/2014/main" id="{51549EAD-FBD9-E3CD-F9ED-471C01456370}"/>
                  </a:ext>
                </a:extLst>
              </p:cNvPr>
              <p:cNvGrpSpPr/>
              <p:nvPr/>
            </p:nvGrpSpPr>
            <p:grpSpPr>
              <a:xfrm>
                <a:off x="5574125" y="3710177"/>
                <a:ext cx="75628" cy="75628"/>
                <a:chOff x="5574125" y="3710177"/>
                <a:chExt cx="75628" cy="75628"/>
              </a:xfrm>
            </p:grpSpPr>
            <p:sp>
              <p:nvSpPr>
                <p:cNvPr id="16222" name="Freeform: Shape 16221">
                  <a:extLst>
                    <a:ext uri="{FF2B5EF4-FFF2-40B4-BE49-F238E27FC236}">
                      <a16:creationId xmlns:a16="http://schemas.microsoft.com/office/drawing/2014/main" id="{337B6584-C160-04BD-18AF-AB751011AC71}"/>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3" name="Freeform: Shape 16222">
                  <a:extLst>
                    <a:ext uri="{FF2B5EF4-FFF2-40B4-BE49-F238E27FC236}">
                      <a16:creationId xmlns:a16="http://schemas.microsoft.com/office/drawing/2014/main" id="{B4C277D7-145A-BFEB-1F4E-639789A9F817}"/>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7" name="Graphic 745">
                <a:extLst>
                  <a:ext uri="{FF2B5EF4-FFF2-40B4-BE49-F238E27FC236}">
                    <a16:creationId xmlns:a16="http://schemas.microsoft.com/office/drawing/2014/main" id="{82FEE14B-F8D2-C55A-0A23-E86D4298EE02}"/>
                  </a:ext>
                </a:extLst>
              </p:cNvPr>
              <p:cNvGrpSpPr/>
              <p:nvPr/>
            </p:nvGrpSpPr>
            <p:grpSpPr>
              <a:xfrm>
                <a:off x="5244941" y="3624643"/>
                <a:ext cx="75723" cy="75628"/>
                <a:chOff x="5244941" y="3624643"/>
                <a:chExt cx="75723" cy="75628"/>
              </a:xfrm>
            </p:grpSpPr>
            <p:sp>
              <p:nvSpPr>
                <p:cNvPr id="16220" name="Freeform: Shape 16219">
                  <a:extLst>
                    <a:ext uri="{FF2B5EF4-FFF2-40B4-BE49-F238E27FC236}">
                      <a16:creationId xmlns:a16="http://schemas.microsoft.com/office/drawing/2014/main" id="{20B5391D-8DBF-0A40-819C-D9BEB8BEAD56}"/>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21" name="Freeform: Shape 16220">
                  <a:extLst>
                    <a:ext uri="{FF2B5EF4-FFF2-40B4-BE49-F238E27FC236}">
                      <a16:creationId xmlns:a16="http://schemas.microsoft.com/office/drawing/2014/main" id="{AEC94E5C-1748-6E17-04D1-AA462D03A759}"/>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8" name="Graphic 745">
                <a:extLst>
                  <a:ext uri="{FF2B5EF4-FFF2-40B4-BE49-F238E27FC236}">
                    <a16:creationId xmlns:a16="http://schemas.microsoft.com/office/drawing/2014/main" id="{1753EC30-64DE-EBDF-102D-F8BDA432E27F}"/>
                  </a:ext>
                </a:extLst>
              </p:cNvPr>
              <p:cNvGrpSpPr/>
              <p:nvPr/>
            </p:nvGrpSpPr>
            <p:grpSpPr>
              <a:xfrm>
                <a:off x="5150929" y="3447097"/>
                <a:ext cx="75723" cy="75723"/>
                <a:chOff x="5150929" y="3447097"/>
                <a:chExt cx="75723" cy="75723"/>
              </a:xfrm>
            </p:grpSpPr>
            <p:sp>
              <p:nvSpPr>
                <p:cNvPr id="16218" name="Freeform: Shape 16217">
                  <a:extLst>
                    <a:ext uri="{FF2B5EF4-FFF2-40B4-BE49-F238E27FC236}">
                      <a16:creationId xmlns:a16="http://schemas.microsoft.com/office/drawing/2014/main" id="{9F5FC6E3-EB16-16B9-6F33-F24A8172105A}"/>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9" name="Freeform: Shape 16218">
                  <a:extLst>
                    <a:ext uri="{FF2B5EF4-FFF2-40B4-BE49-F238E27FC236}">
                      <a16:creationId xmlns:a16="http://schemas.microsoft.com/office/drawing/2014/main" id="{74CC64E4-EFCA-02C8-DF2C-C5F5BAF8769A}"/>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9" name="Graphic 745">
                <a:extLst>
                  <a:ext uri="{FF2B5EF4-FFF2-40B4-BE49-F238E27FC236}">
                    <a16:creationId xmlns:a16="http://schemas.microsoft.com/office/drawing/2014/main" id="{94B57DD9-B57D-3C91-DBEF-B3EC5E3C95CD}"/>
                  </a:ext>
                </a:extLst>
              </p:cNvPr>
              <p:cNvGrpSpPr/>
              <p:nvPr/>
            </p:nvGrpSpPr>
            <p:grpSpPr>
              <a:xfrm>
                <a:off x="4796694" y="3325081"/>
                <a:ext cx="75723" cy="75723"/>
                <a:chOff x="4796694" y="3325081"/>
                <a:chExt cx="75723" cy="75723"/>
              </a:xfrm>
            </p:grpSpPr>
            <p:sp>
              <p:nvSpPr>
                <p:cNvPr id="16216" name="Freeform: Shape 16215">
                  <a:extLst>
                    <a:ext uri="{FF2B5EF4-FFF2-40B4-BE49-F238E27FC236}">
                      <a16:creationId xmlns:a16="http://schemas.microsoft.com/office/drawing/2014/main" id="{55D6FE3C-EE0B-BAE9-FAB1-6A91F59D21C8}"/>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7" name="Freeform: Shape 16216">
                  <a:extLst>
                    <a:ext uri="{FF2B5EF4-FFF2-40B4-BE49-F238E27FC236}">
                      <a16:creationId xmlns:a16="http://schemas.microsoft.com/office/drawing/2014/main" id="{CEB2C5B9-6F4D-4AE0-EB7C-5A61F3D907FB}"/>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0" name="Graphic 745">
                <a:extLst>
                  <a:ext uri="{FF2B5EF4-FFF2-40B4-BE49-F238E27FC236}">
                    <a16:creationId xmlns:a16="http://schemas.microsoft.com/office/drawing/2014/main" id="{4C8EF5D8-BFC9-FE48-7F8F-35E30593DCE7}"/>
                  </a:ext>
                </a:extLst>
              </p:cNvPr>
              <p:cNvGrpSpPr/>
              <p:nvPr/>
            </p:nvGrpSpPr>
            <p:grpSpPr>
              <a:xfrm>
                <a:off x="4718494" y="3173920"/>
                <a:ext cx="75628" cy="75628"/>
                <a:chOff x="4718494" y="3173920"/>
                <a:chExt cx="75628" cy="75628"/>
              </a:xfrm>
            </p:grpSpPr>
            <p:sp>
              <p:nvSpPr>
                <p:cNvPr id="16214" name="Freeform: Shape 16213">
                  <a:extLst>
                    <a:ext uri="{FF2B5EF4-FFF2-40B4-BE49-F238E27FC236}">
                      <a16:creationId xmlns:a16="http://schemas.microsoft.com/office/drawing/2014/main" id="{3008A69A-5482-F31B-91E0-FF403B631511}"/>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5" name="Freeform: Shape 16214">
                  <a:extLst>
                    <a:ext uri="{FF2B5EF4-FFF2-40B4-BE49-F238E27FC236}">
                      <a16:creationId xmlns:a16="http://schemas.microsoft.com/office/drawing/2014/main" id="{832B748B-971B-308F-2ACF-DBCBA25154B9}"/>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1" name="Graphic 745">
                <a:extLst>
                  <a:ext uri="{FF2B5EF4-FFF2-40B4-BE49-F238E27FC236}">
                    <a16:creationId xmlns:a16="http://schemas.microsoft.com/office/drawing/2014/main" id="{666E3321-0E66-E23F-A2AB-C4648C4C50FD}"/>
                  </a:ext>
                </a:extLst>
              </p:cNvPr>
              <p:cNvGrpSpPr/>
              <p:nvPr/>
            </p:nvGrpSpPr>
            <p:grpSpPr>
              <a:xfrm>
                <a:off x="4527994" y="3072955"/>
                <a:ext cx="75628" cy="75723"/>
                <a:chOff x="4527994" y="3072955"/>
                <a:chExt cx="75628" cy="75723"/>
              </a:xfrm>
            </p:grpSpPr>
            <p:sp>
              <p:nvSpPr>
                <p:cNvPr id="16212" name="Freeform: Shape 16211">
                  <a:extLst>
                    <a:ext uri="{FF2B5EF4-FFF2-40B4-BE49-F238E27FC236}">
                      <a16:creationId xmlns:a16="http://schemas.microsoft.com/office/drawing/2014/main" id="{6B73BA8D-1788-AC24-54EA-8C69343EAC5F}"/>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3" name="Freeform: Shape 16212">
                  <a:extLst>
                    <a:ext uri="{FF2B5EF4-FFF2-40B4-BE49-F238E27FC236}">
                      <a16:creationId xmlns:a16="http://schemas.microsoft.com/office/drawing/2014/main" id="{22DDE595-0D16-468B-8977-1AF727C0C8A6}"/>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2" name="Graphic 745">
                <a:extLst>
                  <a:ext uri="{FF2B5EF4-FFF2-40B4-BE49-F238E27FC236}">
                    <a16:creationId xmlns:a16="http://schemas.microsoft.com/office/drawing/2014/main" id="{527D96A2-6912-DB89-F1BF-240F1E163807}"/>
                  </a:ext>
                </a:extLst>
              </p:cNvPr>
              <p:cNvGrpSpPr/>
              <p:nvPr/>
            </p:nvGrpSpPr>
            <p:grpSpPr>
              <a:xfrm>
                <a:off x="4457414" y="3047809"/>
                <a:ext cx="75723" cy="75723"/>
                <a:chOff x="4457414" y="3047809"/>
                <a:chExt cx="75723" cy="75723"/>
              </a:xfrm>
            </p:grpSpPr>
            <p:sp>
              <p:nvSpPr>
                <p:cNvPr id="16210" name="Freeform: Shape 16209">
                  <a:extLst>
                    <a:ext uri="{FF2B5EF4-FFF2-40B4-BE49-F238E27FC236}">
                      <a16:creationId xmlns:a16="http://schemas.microsoft.com/office/drawing/2014/main" id="{8CC03CD0-1107-0C93-B441-48F3E0AF5B70}"/>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11" name="Freeform: Shape 16210">
                  <a:extLst>
                    <a:ext uri="{FF2B5EF4-FFF2-40B4-BE49-F238E27FC236}">
                      <a16:creationId xmlns:a16="http://schemas.microsoft.com/office/drawing/2014/main" id="{2BDA4333-F3A5-ECA2-CEFC-E9C9DD23A610}"/>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3" name="Graphic 745">
                <a:extLst>
                  <a:ext uri="{FF2B5EF4-FFF2-40B4-BE49-F238E27FC236}">
                    <a16:creationId xmlns:a16="http://schemas.microsoft.com/office/drawing/2014/main" id="{DDE9BF0C-9C1E-1FFB-F941-5ED26A9A4DDB}"/>
                  </a:ext>
                </a:extLst>
              </p:cNvPr>
              <p:cNvGrpSpPr/>
              <p:nvPr/>
            </p:nvGrpSpPr>
            <p:grpSpPr>
              <a:xfrm>
                <a:off x="4358925" y="3014471"/>
                <a:ext cx="75723" cy="75723"/>
                <a:chOff x="4358925" y="3014471"/>
                <a:chExt cx="75723" cy="75723"/>
              </a:xfrm>
            </p:grpSpPr>
            <p:sp>
              <p:nvSpPr>
                <p:cNvPr id="16208" name="Freeform: Shape 16207">
                  <a:extLst>
                    <a:ext uri="{FF2B5EF4-FFF2-40B4-BE49-F238E27FC236}">
                      <a16:creationId xmlns:a16="http://schemas.microsoft.com/office/drawing/2014/main" id="{21108572-E81A-295A-10B5-6ACDB9E307DA}"/>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9" name="Freeform: Shape 16208">
                  <a:extLst>
                    <a:ext uri="{FF2B5EF4-FFF2-40B4-BE49-F238E27FC236}">
                      <a16:creationId xmlns:a16="http://schemas.microsoft.com/office/drawing/2014/main" id="{7FFD4898-C9B3-B9E0-6FE9-4B4F7AC97255}"/>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4" name="Graphic 745">
                <a:extLst>
                  <a:ext uri="{FF2B5EF4-FFF2-40B4-BE49-F238E27FC236}">
                    <a16:creationId xmlns:a16="http://schemas.microsoft.com/office/drawing/2014/main" id="{1BF31BC3-A8DB-46B0-E546-A3719AD22353}"/>
                  </a:ext>
                </a:extLst>
              </p:cNvPr>
              <p:cNvGrpSpPr/>
              <p:nvPr/>
            </p:nvGrpSpPr>
            <p:grpSpPr>
              <a:xfrm>
                <a:off x="4350448" y="3001898"/>
                <a:ext cx="75723" cy="75723"/>
                <a:chOff x="4350448" y="3001898"/>
                <a:chExt cx="75723" cy="75723"/>
              </a:xfrm>
            </p:grpSpPr>
            <p:sp>
              <p:nvSpPr>
                <p:cNvPr id="16206" name="Freeform: Shape 16205">
                  <a:extLst>
                    <a:ext uri="{FF2B5EF4-FFF2-40B4-BE49-F238E27FC236}">
                      <a16:creationId xmlns:a16="http://schemas.microsoft.com/office/drawing/2014/main" id="{52325BB8-2F5C-63AF-BF8E-C91DE9A2D106}"/>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7" name="Freeform: Shape 16206">
                  <a:extLst>
                    <a:ext uri="{FF2B5EF4-FFF2-40B4-BE49-F238E27FC236}">
                      <a16:creationId xmlns:a16="http://schemas.microsoft.com/office/drawing/2014/main" id="{EBB2C32B-2EA9-2501-2C42-DF0267B9E3D6}"/>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5" name="Graphic 745">
                <a:extLst>
                  <a:ext uri="{FF2B5EF4-FFF2-40B4-BE49-F238E27FC236}">
                    <a16:creationId xmlns:a16="http://schemas.microsoft.com/office/drawing/2014/main" id="{F7ECB2C3-847B-99A9-0626-5B46643666EE}"/>
                  </a:ext>
                </a:extLst>
              </p:cNvPr>
              <p:cNvGrpSpPr/>
              <p:nvPr/>
            </p:nvGrpSpPr>
            <p:grpSpPr>
              <a:xfrm>
                <a:off x="4301775" y="2881883"/>
                <a:ext cx="75723" cy="75723"/>
                <a:chOff x="4301775" y="2881883"/>
                <a:chExt cx="75723" cy="75723"/>
              </a:xfrm>
            </p:grpSpPr>
            <p:sp>
              <p:nvSpPr>
                <p:cNvPr id="16204" name="Freeform: Shape 16203">
                  <a:extLst>
                    <a:ext uri="{FF2B5EF4-FFF2-40B4-BE49-F238E27FC236}">
                      <a16:creationId xmlns:a16="http://schemas.microsoft.com/office/drawing/2014/main" id="{7B0C01A7-2C6B-A9EA-5B05-088EB74F62A2}"/>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5" name="Freeform: Shape 16204">
                  <a:extLst>
                    <a:ext uri="{FF2B5EF4-FFF2-40B4-BE49-F238E27FC236}">
                      <a16:creationId xmlns:a16="http://schemas.microsoft.com/office/drawing/2014/main" id="{F7A47D01-D247-D794-696B-520107C3DEBD}"/>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6" name="Graphic 745">
                <a:extLst>
                  <a:ext uri="{FF2B5EF4-FFF2-40B4-BE49-F238E27FC236}">
                    <a16:creationId xmlns:a16="http://schemas.microsoft.com/office/drawing/2014/main" id="{CA0735BF-5314-15C1-CF3E-5577EFFEFBF9}"/>
                  </a:ext>
                </a:extLst>
              </p:cNvPr>
              <p:cNvGrpSpPr/>
              <p:nvPr/>
            </p:nvGrpSpPr>
            <p:grpSpPr>
              <a:xfrm>
                <a:off x="3954018" y="2741485"/>
                <a:ext cx="75723" cy="75723"/>
                <a:chOff x="3954018" y="2741485"/>
                <a:chExt cx="75723" cy="75723"/>
              </a:xfrm>
            </p:grpSpPr>
            <p:sp>
              <p:nvSpPr>
                <p:cNvPr id="16202" name="Freeform: Shape 16201">
                  <a:extLst>
                    <a:ext uri="{FF2B5EF4-FFF2-40B4-BE49-F238E27FC236}">
                      <a16:creationId xmlns:a16="http://schemas.microsoft.com/office/drawing/2014/main" id="{02701447-0999-BF4B-87EC-C3EE2D0E7AE8}"/>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3" name="Freeform: Shape 16202">
                  <a:extLst>
                    <a:ext uri="{FF2B5EF4-FFF2-40B4-BE49-F238E27FC236}">
                      <a16:creationId xmlns:a16="http://schemas.microsoft.com/office/drawing/2014/main" id="{F6B8EA5F-AEB2-FC58-2E41-1176C3E9E5BA}"/>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7" name="Graphic 745">
                <a:extLst>
                  <a:ext uri="{FF2B5EF4-FFF2-40B4-BE49-F238E27FC236}">
                    <a16:creationId xmlns:a16="http://schemas.microsoft.com/office/drawing/2014/main" id="{914F784C-41CE-6743-3F6D-6C1F21B97D83}"/>
                  </a:ext>
                </a:extLst>
              </p:cNvPr>
              <p:cNvGrpSpPr/>
              <p:nvPr/>
            </p:nvGrpSpPr>
            <p:grpSpPr>
              <a:xfrm>
                <a:off x="3935825" y="2741485"/>
                <a:ext cx="75628" cy="75723"/>
                <a:chOff x="3935825" y="2741485"/>
                <a:chExt cx="75628" cy="75723"/>
              </a:xfrm>
            </p:grpSpPr>
            <p:sp>
              <p:nvSpPr>
                <p:cNvPr id="16200" name="Freeform: Shape 16199">
                  <a:extLst>
                    <a:ext uri="{FF2B5EF4-FFF2-40B4-BE49-F238E27FC236}">
                      <a16:creationId xmlns:a16="http://schemas.microsoft.com/office/drawing/2014/main" id="{989EDB7D-C485-9C94-053E-A96B78DE20A5}"/>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01" name="Freeform: Shape 16200">
                  <a:extLst>
                    <a:ext uri="{FF2B5EF4-FFF2-40B4-BE49-F238E27FC236}">
                      <a16:creationId xmlns:a16="http://schemas.microsoft.com/office/drawing/2014/main" id="{AB69E1D2-7964-9321-D487-3BB17E18BB84}"/>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8" name="Graphic 745">
                <a:extLst>
                  <a:ext uri="{FF2B5EF4-FFF2-40B4-BE49-F238E27FC236}">
                    <a16:creationId xmlns:a16="http://schemas.microsoft.com/office/drawing/2014/main" id="{1C551E14-177D-1A30-ADCC-81679F3B44DC}"/>
                  </a:ext>
                </a:extLst>
              </p:cNvPr>
              <p:cNvGrpSpPr/>
              <p:nvPr/>
            </p:nvGrpSpPr>
            <p:grpSpPr>
              <a:xfrm>
                <a:off x="3916203" y="2706623"/>
                <a:ext cx="75723" cy="75723"/>
                <a:chOff x="3916203" y="2706623"/>
                <a:chExt cx="75723" cy="75723"/>
              </a:xfrm>
            </p:grpSpPr>
            <p:sp>
              <p:nvSpPr>
                <p:cNvPr id="16198" name="Freeform: Shape 16197">
                  <a:extLst>
                    <a:ext uri="{FF2B5EF4-FFF2-40B4-BE49-F238E27FC236}">
                      <a16:creationId xmlns:a16="http://schemas.microsoft.com/office/drawing/2014/main" id="{23888B45-09BE-2EBC-3BB9-CB9471EB02A4}"/>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9" name="Freeform: Shape 16198">
                  <a:extLst>
                    <a:ext uri="{FF2B5EF4-FFF2-40B4-BE49-F238E27FC236}">
                      <a16:creationId xmlns:a16="http://schemas.microsoft.com/office/drawing/2014/main" id="{0518D250-1D18-23FB-D8EC-F54B73862F8D}"/>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9" name="Graphic 745">
                <a:extLst>
                  <a:ext uri="{FF2B5EF4-FFF2-40B4-BE49-F238E27FC236}">
                    <a16:creationId xmlns:a16="http://schemas.microsoft.com/office/drawing/2014/main" id="{06F7257B-5E40-48AB-0832-D6C8EEAB7C93}"/>
                  </a:ext>
                </a:extLst>
              </p:cNvPr>
              <p:cNvGrpSpPr/>
              <p:nvPr/>
            </p:nvGrpSpPr>
            <p:grpSpPr>
              <a:xfrm>
                <a:off x="3916203" y="2733293"/>
                <a:ext cx="75723" cy="75723"/>
                <a:chOff x="3916203" y="2733293"/>
                <a:chExt cx="75723" cy="75723"/>
              </a:xfrm>
            </p:grpSpPr>
            <p:sp>
              <p:nvSpPr>
                <p:cNvPr id="16196" name="Freeform: Shape 16195">
                  <a:extLst>
                    <a:ext uri="{FF2B5EF4-FFF2-40B4-BE49-F238E27FC236}">
                      <a16:creationId xmlns:a16="http://schemas.microsoft.com/office/drawing/2014/main" id="{8C9EE13F-4D5D-A075-F4D0-CE5BD3E0B84A}"/>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7" name="Freeform: Shape 16196">
                  <a:extLst>
                    <a:ext uri="{FF2B5EF4-FFF2-40B4-BE49-F238E27FC236}">
                      <a16:creationId xmlns:a16="http://schemas.microsoft.com/office/drawing/2014/main" id="{6BCA6B73-EFA3-49A1-86D9-7DEA8D50A203}"/>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0" name="Graphic 745">
                <a:extLst>
                  <a:ext uri="{FF2B5EF4-FFF2-40B4-BE49-F238E27FC236}">
                    <a16:creationId xmlns:a16="http://schemas.microsoft.com/office/drawing/2014/main" id="{09569457-01FD-8D39-A680-A383B450993F}"/>
                  </a:ext>
                </a:extLst>
              </p:cNvPr>
              <p:cNvGrpSpPr/>
              <p:nvPr/>
            </p:nvGrpSpPr>
            <p:grpSpPr>
              <a:xfrm>
                <a:off x="3486150" y="2509837"/>
                <a:ext cx="75723" cy="75723"/>
                <a:chOff x="3486150" y="2509837"/>
                <a:chExt cx="75723" cy="75723"/>
              </a:xfrm>
            </p:grpSpPr>
            <p:sp>
              <p:nvSpPr>
                <p:cNvPr id="16194" name="Freeform: Shape 16193">
                  <a:extLst>
                    <a:ext uri="{FF2B5EF4-FFF2-40B4-BE49-F238E27FC236}">
                      <a16:creationId xmlns:a16="http://schemas.microsoft.com/office/drawing/2014/main" id="{D77FB313-C649-A2DD-15A2-3AB974497B82}"/>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5" name="Freeform: Shape 16194">
                  <a:extLst>
                    <a:ext uri="{FF2B5EF4-FFF2-40B4-BE49-F238E27FC236}">
                      <a16:creationId xmlns:a16="http://schemas.microsoft.com/office/drawing/2014/main" id="{86A0D098-AFBD-0BEF-0F72-ED14D5E9DE50}"/>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1" name="Graphic 745">
                <a:extLst>
                  <a:ext uri="{FF2B5EF4-FFF2-40B4-BE49-F238E27FC236}">
                    <a16:creationId xmlns:a16="http://schemas.microsoft.com/office/drawing/2014/main" id="{B3503F32-7DE1-6ACC-BE38-E53C205A06D2}"/>
                  </a:ext>
                </a:extLst>
              </p:cNvPr>
              <p:cNvGrpSpPr/>
              <p:nvPr/>
            </p:nvGrpSpPr>
            <p:grpSpPr>
              <a:xfrm>
                <a:off x="4306633" y="2894932"/>
                <a:ext cx="75723" cy="75628"/>
                <a:chOff x="4306633" y="2894932"/>
                <a:chExt cx="75723" cy="75628"/>
              </a:xfrm>
            </p:grpSpPr>
            <p:sp>
              <p:nvSpPr>
                <p:cNvPr id="16192" name="Freeform: Shape 16191">
                  <a:extLst>
                    <a:ext uri="{FF2B5EF4-FFF2-40B4-BE49-F238E27FC236}">
                      <a16:creationId xmlns:a16="http://schemas.microsoft.com/office/drawing/2014/main" id="{A31DBEC3-9D17-802B-143C-29F801C5FED9}"/>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3" name="Freeform: Shape 16192">
                  <a:extLst>
                    <a:ext uri="{FF2B5EF4-FFF2-40B4-BE49-F238E27FC236}">
                      <a16:creationId xmlns:a16="http://schemas.microsoft.com/office/drawing/2014/main" id="{D2985CB8-BC33-E952-6343-81B9ADC3FB3D}"/>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2" name="Graphic 745">
                <a:extLst>
                  <a:ext uri="{FF2B5EF4-FFF2-40B4-BE49-F238E27FC236}">
                    <a16:creationId xmlns:a16="http://schemas.microsoft.com/office/drawing/2014/main" id="{BA8D62A4-A0AB-5C97-DADD-DCDDC124FAB9}"/>
                  </a:ext>
                </a:extLst>
              </p:cNvPr>
              <p:cNvGrpSpPr/>
              <p:nvPr/>
            </p:nvGrpSpPr>
            <p:grpSpPr>
              <a:xfrm>
                <a:off x="4312634" y="2905410"/>
                <a:ext cx="75628" cy="75723"/>
                <a:chOff x="4312634" y="2905410"/>
                <a:chExt cx="75628" cy="75723"/>
              </a:xfrm>
            </p:grpSpPr>
            <p:sp>
              <p:nvSpPr>
                <p:cNvPr id="16190" name="Freeform: Shape 16189">
                  <a:extLst>
                    <a:ext uri="{FF2B5EF4-FFF2-40B4-BE49-F238E27FC236}">
                      <a16:creationId xmlns:a16="http://schemas.microsoft.com/office/drawing/2014/main" id="{72B2B8DC-184F-0E86-01F3-FCF1F7D34ED1}"/>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91" name="Freeform: Shape 16190">
                  <a:extLst>
                    <a:ext uri="{FF2B5EF4-FFF2-40B4-BE49-F238E27FC236}">
                      <a16:creationId xmlns:a16="http://schemas.microsoft.com/office/drawing/2014/main" id="{3BC693F9-08CD-313D-29F0-FDDAC9D424CA}"/>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3" name="Graphic 745">
                <a:extLst>
                  <a:ext uri="{FF2B5EF4-FFF2-40B4-BE49-F238E27FC236}">
                    <a16:creationId xmlns:a16="http://schemas.microsoft.com/office/drawing/2014/main" id="{A6083EB0-E56B-D7FF-8BBD-0EF13E5D1560}"/>
                  </a:ext>
                </a:extLst>
              </p:cNvPr>
              <p:cNvGrpSpPr/>
              <p:nvPr/>
            </p:nvGrpSpPr>
            <p:grpSpPr>
              <a:xfrm>
                <a:off x="4321111" y="2915602"/>
                <a:ext cx="75723" cy="75628"/>
                <a:chOff x="4321111" y="2915602"/>
                <a:chExt cx="75723" cy="75628"/>
              </a:xfrm>
            </p:grpSpPr>
            <p:sp>
              <p:nvSpPr>
                <p:cNvPr id="16188" name="Freeform: Shape 16187">
                  <a:extLst>
                    <a:ext uri="{FF2B5EF4-FFF2-40B4-BE49-F238E27FC236}">
                      <a16:creationId xmlns:a16="http://schemas.microsoft.com/office/drawing/2014/main" id="{F6C162F5-BB55-3718-78C9-F26799901D53}"/>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9" name="Freeform: Shape 16188">
                  <a:extLst>
                    <a:ext uri="{FF2B5EF4-FFF2-40B4-BE49-F238E27FC236}">
                      <a16:creationId xmlns:a16="http://schemas.microsoft.com/office/drawing/2014/main" id="{8F88E8E8-2D1A-D914-38EA-6358E3C9E194}"/>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4" name="Graphic 745">
                <a:extLst>
                  <a:ext uri="{FF2B5EF4-FFF2-40B4-BE49-F238E27FC236}">
                    <a16:creationId xmlns:a16="http://schemas.microsoft.com/office/drawing/2014/main" id="{1081E6ED-C8F1-A73F-D2D1-134EB54EAF4F}"/>
                  </a:ext>
                </a:extLst>
              </p:cNvPr>
              <p:cNvGrpSpPr/>
              <p:nvPr/>
            </p:nvGrpSpPr>
            <p:grpSpPr>
              <a:xfrm>
                <a:off x="4334256" y="2915602"/>
                <a:ext cx="75628" cy="75628"/>
                <a:chOff x="4334256" y="2915602"/>
                <a:chExt cx="75628" cy="75628"/>
              </a:xfrm>
            </p:grpSpPr>
            <p:sp>
              <p:nvSpPr>
                <p:cNvPr id="16186" name="Freeform: Shape 16185">
                  <a:extLst>
                    <a:ext uri="{FF2B5EF4-FFF2-40B4-BE49-F238E27FC236}">
                      <a16:creationId xmlns:a16="http://schemas.microsoft.com/office/drawing/2014/main" id="{89628F61-D2E0-5CB0-94BC-1B9BD97E272D}"/>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7" name="Freeform: Shape 16186">
                  <a:extLst>
                    <a:ext uri="{FF2B5EF4-FFF2-40B4-BE49-F238E27FC236}">
                      <a16:creationId xmlns:a16="http://schemas.microsoft.com/office/drawing/2014/main" id="{75C0778D-3FFD-9D28-FE47-F3B6A4FB9358}"/>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5" name="Graphic 745">
                <a:extLst>
                  <a:ext uri="{FF2B5EF4-FFF2-40B4-BE49-F238E27FC236}">
                    <a16:creationId xmlns:a16="http://schemas.microsoft.com/office/drawing/2014/main" id="{F185E14E-5FB3-889C-D22F-4FEEB8F59D3C}"/>
                  </a:ext>
                </a:extLst>
              </p:cNvPr>
              <p:cNvGrpSpPr/>
              <p:nvPr/>
            </p:nvGrpSpPr>
            <p:grpSpPr>
              <a:xfrm>
                <a:off x="4344543" y="2966656"/>
                <a:ext cx="75628" cy="75628"/>
                <a:chOff x="4344543" y="2966656"/>
                <a:chExt cx="75628" cy="75628"/>
              </a:xfrm>
            </p:grpSpPr>
            <p:sp>
              <p:nvSpPr>
                <p:cNvPr id="16184" name="Freeform: Shape 16183">
                  <a:extLst>
                    <a:ext uri="{FF2B5EF4-FFF2-40B4-BE49-F238E27FC236}">
                      <a16:creationId xmlns:a16="http://schemas.microsoft.com/office/drawing/2014/main" id="{98E3FF57-1F19-89B7-0D20-6A727F3AB483}"/>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5" name="Freeform: Shape 16184">
                  <a:extLst>
                    <a:ext uri="{FF2B5EF4-FFF2-40B4-BE49-F238E27FC236}">
                      <a16:creationId xmlns:a16="http://schemas.microsoft.com/office/drawing/2014/main" id="{A1B588EA-E370-444F-D82E-43BA3ADDA7C7}"/>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6" name="Graphic 745">
                <a:extLst>
                  <a:ext uri="{FF2B5EF4-FFF2-40B4-BE49-F238E27FC236}">
                    <a16:creationId xmlns:a16="http://schemas.microsoft.com/office/drawing/2014/main" id="{E73D98E8-1EE9-5867-F52E-21EBD55237CD}"/>
                  </a:ext>
                </a:extLst>
              </p:cNvPr>
              <p:cNvGrpSpPr/>
              <p:nvPr/>
            </p:nvGrpSpPr>
            <p:grpSpPr>
              <a:xfrm>
                <a:off x="4344543" y="2981134"/>
                <a:ext cx="75628" cy="75723"/>
                <a:chOff x="4344543" y="2981134"/>
                <a:chExt cx="75628" cy="75723"/>
              </a:xfrm>
            </p:grpSpPr>
            <p:sp>
              <p:nvSpPr>
                <p:cNvPr id="16182" name="Freeform: Shape 16181">
                  <a:extLst>
                    <a:ext uri="{FF2B5EF4-FFF2-40B4-BE49-F238E27FC236}">
                      <a16:creationId xmlns:a16="http://schemas.microsoft.com/office/drawing/2014/main" id="{BC586D08-3114-A2C5-B4CC-0686C9BE4B85}"/>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3" name="Freeform: Shape 16182">
                  <a:extLst>
                    <a:ext uri="{FF2B5EF4-FFF2-40B4-BE49-F238E27FC236}">
                      <a16:creationId xmlns:a16="http://schemas.microsoft.com/office/drawing/2014/main" id="{28715959-0DAA-B2FE-982A-2BE4A49CA0CB}"/>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7" name="Graphic 745">
                <a:extLst>
                  <a:ext uri="{FF2B5EF4-FFF2-40B4-BE49-F238E27FC236}">
                    <a16:creationId xmlns:a16="http://schemas.microsoft.com/office/drawing/2014/main" id="{98A42F6F-BB32-B4F6-5AFF-A49E6314B651}"/>
                  </a:ext>
                </a:extLst>
              </p:cNvPr>
              <p:cNvGrpSpPr/>
              <p:nvPr/>
            </p:nvGrpSpPr>
            <p:grpSpPr>
              <a:xfrm>
                <a:off x="4350448" y="3006375"/>
                <a:ext cx="75723" cy="75723"/>
                <a:chOff x="4350448" y="3006375"/>
                <a:chExt cx="75723" cy="75723"/>
              </a:xfrm>
            </p:grpSpPr>
            <p:sp>
              <p:nvSpPr>
                <p:cNvPr id="16180" name="Freeform: Shape 16179">
                  <a:extLst>
                    <a:ext uri="{FF2B5EF4-FFF2-40B4-BE49-F238E27FC236}">
                      <a16:creationId xmlns:a16="http://schemas.microsoft.com/office/drawing/2014/main" id="{64609E1C-FB79-6A50-D0A2-C70C683C1E6D}"/>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81" name="Freeform: Shape 16180">
                  <a:extLst>
                    <a:ext uri="{FF2B5EF4-FFF2-40B4-BE49-F238E27FC236}">
                      <a16:creationId xmlns:a16="http://schemas.microsoft.com/office/drawing/2014/main" id="{B93C6BFD-0EAA-06B5-0332-A570C7096FAF}"/>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8" name="Graphic 745">
                <a:extLst>
                  <a:ext uri="{FF2B5EF4-FFF2-40B4-BE49-F238E27FC236}">
                    <a16:creationId xmlns:a16="http://schemas.microsoft.com/office/drawing/2014/main" id="{88FA4062-723B-5794-6C7E-2AEF133DBC50}"/>
                  </a:ext>
                </a:extLst>
              </p:cNvPr>
              <p:cNvGrpSpPr/>
              <p:nvPr/>
            </p:nvGrpSpPr>
            <p:grpSpPr>
              <a:xfrm>
                <a:off x="4727829" y="3184397"/>
                <a:ext cx="75628" cy="75723"/>
                <a:chOff x="4727829" y="3184397"/>
                <a:chExt cx="75628" cy="75723"/>
              </a:xfrm>
            </p:grpSpPr>
            <p:sp>
              <p:nvSpPr>
                <p:cNvPr id="16178" name="Freeform: Shape 16177">
                  <a:extLst>
                    <a:ext uri="{FF2B5EF4-FFF2-40B4-BE49-F238E27FC236}">
                      <a16:creationId xmlns:a16="http://schemas.microsoft.com/office/drawing/2014/main" id="{F000ABF5-8A97-2047-CA32-50134B49306D}"/>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9" name="Freeform: Shape 16178">
                  <a:extLst>
                    <a:ext uri="{FF2B5EF4-FFF2-40B4-BE49-F238E27FC236}">
                      <a16:creationId xmlns:a16="http://schemas.microsoft.com/office/drawing/2014/main" id="{B593A1B7-9A10-AEAA-D869-8E185F2CE578}"/>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9" name="Graphic 745">
                <a:extLst>
                  <a:ext uri="{FF2B5EF4-FFF2-40B4-BE49-F238E27FC236}">
                    <a16:creationId xmlns:a16="http://schemas.microsoft.com/office/drawing/2014/main" id="{29AF4C57-1626-94D3-8ED5-33CB3C713FB7}"/>
                  </a:ext>
                </a:extLst>
              </p:cNvPr>
              <p:cNvGrpSpPr/>
              <p:nvPr/>
            </p:nvGrpSpPr>
            <p:grpSpPr>
              <a:xfrm>
                <a:off x="4736973" y="3189350"/>
                <a:ext cx="75723" cy="75628"/>
                <a:chOff x="4736973" y="3189350"/>
                <a:chExt cx="75723" cy="75628"/>
              </a:xfrm>
            </p:grpSpPr>
            <p:sp>
              <p:nvSpPr>
                <p:cNvPr id="16176" name="Freeform: Shape 16175">
                  <a:extLst>
                    <a:ext uri="{FF2B5EF4-FFF2-40B4-BE49-F238E27FC236}">
                      <a16:creationId xmlns:a16="http://schemas.microsoft.com/office/drawing/2014/main" id="{3615F0F6-C122-5F6C-CEB0-19B6A4990EF6}"/>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7" name="Freeform: Shape 16176">
                  <a:extLst>
                    <a:ext uri="{FF2B5EF4-FFF2-40B4-BE49-F238E27FC236}">
                      <a16:creationId xmlns:a16="http://schemas.microsoft.com/office/drawing/2014/main" id="{5F8596CE-86C8-D72C-9084-052790E3A405}"/>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0" name="Graphic 745">
                <a:extLst>
                  <a:ext uri="{FF2B5EF4-FFF2-40B4-BE49-F238E27FC236}">
                    <a16:creationId xmlns:a16="http://schemas.microsoft.com/office/drawing/2014/main" id="{5BF8F82D-1978-19B3-6F59-15F43CFD58E9}"/>
                  </a:ext>
                </a:extLst>
              </p:cNvPr>
              <p:cNvGrpSpPr/>
              <p:nvPr/>
            </p:nvGrpSpPr>
            <p:grpSpPr>
              <a:xfrm>
                <a:off x="4749165" y="3206305"/>
                <a:ext cx="75628" cy="75723"/>
                <a:chOff x="4749165" y="3206305"/>
                <a:chExt cx="75628" cy="75723"/>
              </a:xfrm>
            </p:grpSpPr>
            <p:sp>
              <p:nvSpPr>
                <p:cNvPr id="16174" name="Freeform: Shape 16173">
                  <a:extLst>
                    <a:ext uri="{FF2B5EF4-FFF2-40B4-BE49-F238E27FC236}">
                      <a16:creationId xmlns:a16="http://schemas.microsoft.com/office/drawing/2014/main" id="{B17A3EC6-B7C2-4112-EA8B-B7567C1964CC}"/>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5" name="Freeform: Shape 16174">
                  <a:extLst>
                    <a:ext uri="{FF2B5EF4-FFF2-40B4-BE49-F238E27FC236}">
                      <a16:creationId xmlns:a16="http://schemas.microsoft.com/office/drawing/2014/main" id="{E1DC6298-ABD7-B27B-7766-581C32CD342E}"/>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1" name="Graphic 745">
                <a:extLst>
                  <a:ext uri="{FF2B5EF4-FFF2-40B4-BE49-F238E27FC236}">
                    <a16:creationId xmlns:a16="http://schemas.microsoft.com/office/drawing/2014/main" id="{78354C53-E848-BE7D-BA42-D4ECDF760815}"/>
                  </a:ext>
                </a:extLst>
              </p:cNvPr>
              <p:cNvGrpSpPr/>
              <p:nvPr/>
            </p:nvGrpSpPr>
            <p:grpSpPr>
              <a:xfrm>
                <a:off x="4756308" y="3216496"/>
                <a:ext cx="75723" cy="75628"/>
                <a:chOff x="4756308" y="3216496"/>
                <a:chExt cx="75723" cy="75628"/>
              </a:xfrm>
            </p:grpSpPr>
            <p:sp>
              <p:nvSpPr>
                <p:cNvPr id="16172" name="Freeform: Shape 16171">
                  <a:extLst>
                    <a:ext uri="{FF2B5EF4-FFF2-40B4-BE49-F238E27FC236}">
                      <a16:creationId xmlns:a16="http://schemas.microsoft.com/office/drawing/2014/main" id="{DB870786-EE45-1DB9-398C-FA3570521701}"/>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3" name="Freeform: Shape 16172">
                  <a:extLst>
                    <a:ext uri="{FF2B5EF4-FFF2-40B4-BE49-F238E27FC236}">
                      <a16:creationId xmlns:a16="http://schemas.microsoft.com/office/drawing/2014/main" id="{5AD145E2-1B1F-B69D-D0C2-C1FC7BA71650}"/>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2" name="Graphic 745">
                <a:extLst>
                  <a:ext uri="{FF2B5EF4-FFF2-40B4-BE49-F238E27FC236}">
                    <a16:creationId xmlns:a16="http://schemas.microsoft.com/office/drawing/2014/main" id="{A747A72C-F64A-032C-5E03-8075B95F7F66}"/>
                  </a:ext>
                </a:extLst>
              </p:cNvPr>
              <p:cNvGrpSpPr/>
              <p:nvPr/>
            </p:nvGrpSpPr>
            <p:grpSpPr>
              <a:xfrm>
                <a:off x="4758880" y="3238785"/>
                <a:ext cx="75628" cy="75628"/>
                <a:chOff x="4758880" y="3238785"/>
                <a:chExt cx="75628" cy="75628"/>
              </a:xfrm>
            </p:grpSpPr>
            <p:sp>
              <p:nvSpPr>
                <p:cNvPr id="16170" name="Freeform: Shape 16169">
                  <a:extLst>
                    <a:ext uri="{FF2B5EF4-FFF2-40B4-BE49-F238E27FC236}">
                      <a16:creationId xmlns:a16="http://schemas.microsoft.com/office/drawing/2014/main" id="{2347210C-4558-3723-EEEC-0E94DFE497AE}"/>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71" name="Freeform: Shape 16170">
                  <a:extLst>
                    <a:ext uri="{FF2B5EF4-FFF2-40B4-BE49-F238E27FC236}">
                      <a16:creationId xmlns:a16="http://schemas.microsoft.com/office/drawing/2014/main" id="{79812F11-CA62-2047-593D-02352717FF9C}"/>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3" name="Graphic 745">
                <a:extLst>
                  <a:ext uri="{FF2B5EF4-FFF2-40B4-BE49-F238E27FC236}">
                    <a16:creationId xmlns:a16="http://schemas.microsoft.com/office/drawing/2014/main" id="{AB0FADB1-730C-7BD8-2E91-FD1DA65E2C01}"/>
                  </a:ext>
                </a:extLst>
              </p:cNvPr>
              <p:cNvGrpSpPr/>
              <p:nvPr/>
            </p:nvGrpSpPr>
            <p:grpSpPr>
              <a:xfrm>
                <a:off x="4765643" y="3249548"/>
                <a:ext cx="75723" cy="75723"/>
                <a:chOff x="4765643" y="3249548"/>
                <a:chExt cx="75723" cy="75723"/>
              </a:xfrm>
            </p:grpSpPr>
            <p:sp>
              <p:nvSpPr>
                <p:cNvPr id="16168" name="Freeform: Shape 16167">
                  <a:extLst>
                    <a:ext uri="{FF2B5EF4-FFF2-40B4-BE49-F238E27FC236}">
                      <a16:creationId xmlns:a16="http://schemas.microsoft.com/office/drawing/2014/main" id="{8D45729F-2E0A-9046-EDEB-AAE1FB68DC40}"/>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9" name="Freeform: Shape 16168">
                  <a:extLst>
                    <a:ext uri="{FF2B5EF4-FFF2-40B4-BE49-F238E27FC236}">
                      <a16:creationId xmlns:a16="http://schemas.microsoft.com/office/drawing/2014/main" id="{DEB1F495-FE65-64B6-AD0F-201E84850FD4}"/>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4" name="Graphic 745">
                <a:extLst>
                  <a:ext uri="{FF2B5EF4-FFF2-40B4-BE49-F238E27FC236}">
                    <a16:creationId xmlns:a16="http://schemas.microsoft.com/office/drawing/2014/main" id="{0C74A3E8-5921-3A83-CD41-25423472DA13}"/>
                  </a:ext>
                </a:extLst>
              </p:cNvPr>
              <p:cNvGrpSpPr/>
              <p:nvPr/>
            </p:nvGrpSpPr>
            <p:grpSpPr>
              <a:xfrm>
                <a:off x="4768881" y="3267169"/>
                <a:ext cx="75723" cy="75628"/>
                <a:chOff x="4768881" y="3267169"/>
                <a:chExt cx="75723" cy="75628"/>
              </a:xfrm>
            </p:grpSpPr>
            <p:sp>
              <p:nvSpPr>
                <p:cNvPr id="16166" name="Freeform: Shape 16165">
                  <a:extLst>
                    <a:ext uri="{FF2B5EF4-FFF2-40B4-BE49-F238E27FC236}">
                      <a16:creationId xmlns:a16="http://schemas.microsoft.com/office/drawing/2014/main" id="{2CE3E8BB-6576-A618-8074-356B1E826369}"/>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7" name="Freeform: Shape 16166">
                  <a:extLst>
                    <a:ext uri="{FF2B5EF4-FFF2-40B4-BE49-F238E27FC236}">
                      <a16:creationId xmlns:a16="http://schemas.microsoft.com/office/drawing/2014/main" id="{7E1755CE-A707-7398-066B-A64C2A7D9967}"/>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5" name="Graphic 745">
                <a:extLst>
                  <a:ext uri="{FF2B5EF4-FFF2-40B4-BE49-F238E27FC236}">
                    <a16:creationId xmlns:a16="http://schemas.microsoft.com/office/drawing/2014/main" id="{7B144825-EC3E-69F9-1912-9268FBBA7284}"/>
                  </a:ext>
                </a:extLst>
              </p:cNvPr>
              <p:cNvGrpSpPr/>
              <p:nvPr/>
            </p:nvGrpSpPr>
            <p:grpSpPr>
              <a:xfrm>
                <a:off x="4771739" y="3287458"/>
                <a:ext cx="75628" cy="75723"/>
                <a:chOff x="4771739" y="3287458"/>
                <a:chExt cx="75628" cy="75723"/>
              </a:xfrm>
            </p:grpSpPr>
            <p:sp>
              <p:nvSpPr>
                <p:cNvPr id="16164" name="Freeform: Shape 16163">
                  <a:extLst>
                    <a:ext uri="{FF2B5EF4-FFF2-40B4-BE49-F238E27FC236}">
                      <a16:creationId xmlns:a16="http://schemas.microsoft.com/office/drawing/2014/main" id="{0F4FB581-A086-9048-C753-EA070E3317C0}"/>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5" name="Freeform: Shape 16164">
                  <a:extLst>
                    <a:ext uri="{FF2B5EF4-FFF2-40B4-BE49-F238E27FC236}">
                      <a16:creationId xmlns:a16="http://schemas.microsoft.com/office/drawing/2014/main" id="{72942171-312B-1CDA-587F-787F8E6BF4CB}"/>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6" name="Graphic 745">
                <a:extLst>
                  <a:ext uri="{FF2B5EF4-FFF2-40B4-BE49-F238E27FC236}">
                    <a16:creationId xmlns:a16="http://schemas.microsoft.com/office/drawing/2014/main" id="{3090CB19-DA74-07E5-0112-8C7F5557B21B}"/>
                  </a:ext>
                </a:extLst>
              </p:cNvPr>
              <p:cNvGrpSpPr/>
              <p:nvPr/>
            </p:nvGrpSpPr>
            <p:grpSpPr>
              <a:xfrm>
                <a:off x="4771739" y="3299935"/>
                <a:ext cx="75628" cy="75723"/>
                <a:chOff x="4771739" y="3299935"/>
                <a:chExt cx="75628" cy="75723"/>
              </a:xfrm>
            </p:grpSpPr>
            <p:sp>
              <p:nvSpPr>
                <p:cNvPr id="16162" name="Freeform: Shape 16161">
                  <a:extLst>
                    <a:ext uri="{FF2B5EF4-FFF2-40B4-BE49-F238E27FC236}">
                      <a16:creationId xmlns:a16="http://schemas.microsoft.com/office/drawing/2014/main" id="{6BAED8C2-2A68-BFB8-D51C-A98CE3367040}"/>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3" name="Freeform: Shape 16162">
                  <a:extLst>
                    <a:ext uri="{FF2B5EF4-FFF2-40B4-BE49-F238E27FC236}">
                      <a16:creationId xmlns:a16="http://schemas.microsoft.com/office/drawing/2014/main" id="{E95A3A29-C996-165B-D253-84CE4230E2BE}"/>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7" name="Graphic 745">
                <a:extLst>
                  <a:ext uri="{FF2B5EF4-FFF2-40B4-BE49-F238E27FC236}">
                    <a16:creationId xmlns:a16="http://schemas.microsoft.com/office/drawing/2014/main" id="{024C0C01-C4B4-6E8C-6095-A55C1CD7C82A}"/>
                  </a:ext>
                </a:extLst>
              </p:cNvPr>
              <p:cNvGrpSpPr/>
              <p:nvPr/>
            </p:nvGrpSpPr>
            <p:grpSpPr>
              <a:xfrm>
                <a:off x="4771739" y="3310127"/>
                <a:ext cx="75628" cy="75628"/>
                <a:chOff x="4771739" y="3310127"/>
                <a:chExt cx="75628" cy="75628"/>
              </a:xfrm>
            </p:grpSpPr>
            <p:sp>
              <p:nvSpPr>
                <p:cNvPr id="16160" name="Freeform: Shape 16159">
                  <a:extLst>
                    <a:ext uri="{FF2B5EF4-FFF2-40B4-BE49-F238E27FC236}">
                      <a16:creationId xmlns:a16="http://schemas.microsoft.com/office/drawing/2014/main" id="{62D10834-7259-4EB2-BC2A-9AB081447365}"/>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61" name="Freeform: Shape 16160">
                  <a:extLst>
                    <a:ext uri="{FF2B5EF4-FFF2-40B4-BE49-F238E27FC236}">
                      <a16:creationId xmlns:a16="http://schemas.microsoft.com/office/drawing/2014/main" id="{7F08FF9A-34B7-E959-DFD2-8D9704B4BF18}"/>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8" name="Graphic 745">
                <a:extLst>
                  <a:ext uri="{FF2B5EF4-FFF2-40B4-BE49-F238E27FC236}">
                    <a16:creationId xmlns:a16="http://schemas.microsoft.com/office/drawing/2014/main" id="{89082D88-8597-E14F-D178-CE57B44C4896}"/>
                  </a:ext>
                </a:extLst>
              </p:cNvPr>
              <p:cNvGrpSpPr/>
              <p:nvPr/>
            </p:nvGrpSpPr>
            <p:grpSpPr>
              <a:xfrm>
                <a:off x="4778502" y="3316604"/>
                <a:ext cx="75723" cy="75628"/>
                <a:chOff x="4778502" y="3316604"/>
                <a:chExt cx="75723" cy="75628"/>
              </a:xfrm>
            </p:grpSpPr>
            <p:sp>
              <p:nvSpPr>
                <p:cNvPr id="16158" name="Freeform: Shape 16157">
                  <a:extLst>
                    <a:ext uri="{FF2B5EF4-FFF2-40B4-BE49-F238E27FC236}">
                      <a16:creationId xmlns:a16="http://schemas.microsoft.com/office/drawing/2014/main" id="{2F60B7B5-F282-7EEF-0137-A5C783585483}"/>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9" name="Freeform: Shape 16158">
                  <a:extLst>
                    <a:ext uri="{FF2B5EF4-FFF2-40B4-BE49-F238E27FC236}">
                      <a16:creationId xmlns:a16="http://schemas.microsoft.com/office/drawing/2014/main" id="{935E50FF-4A05-77C9-A74C-D0BAEE419265}"/>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9" name="Graphic 745">
                <a:extLst>
                  <a:ext uri="{FF2B5EF4-FFF2-40B4-BE49-F238E27FC236}">
                    <a16:creationId xmlns:a16="http://schemas.microsoft.com/office/drawing/2014/main" id="{E34457C5-5032-D941-BA48-C0772B9CFA45}"/>
                  </a:ext>
                </a:extLst>
              </p:cNvPr>
              <p:cNvGrpSpPr/>
              <p:nvPr/>
            </p:nvGrpSpPr>
            <p:grpSpPr>
              <a:xfrm>
                <a:off x="5163883" y="3466528"/>
                <a:ext cx="75723" cy="75723"/>
                <a:chOff x="5163883" y="3466528"/>
                <a:chExt cx="75723" cy="75723"/>
              </a:xfrm>
            </p:grpSpPr>
            <p:sp>
              <p:nvSpPr>
                <p:cNvPr id="16156" name="Freeform: Shape 16155">
                  <a:extLst>
                    <a:ext uri="{FF2B5EF4-FFF2-40B4-BE49-F238E27FC236}">
                      <a16:creationId xmlns:a16="http://schemas.microsoft.com/office/drawing/2014/main" id="{55A92CE4-FB39-DCEA-CBA7-6C628C4B8096}"/>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7" name="Freeform: Shape 16156">
                  <a:extLst>
                    <a:ext uri="{FF2B5EF4-FFF2-40B4-BE49-F238E27FC236}">
                      <a16:creationId xmlns:a16="http://schemas.microsoft.com/office/drawing/2014/main" id="{5E847F6E-F609-6AAC-99DC-296DFAE62F53}"/>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0" name="Graphic 745">
                <a:extLst>
                  <a:ext uri="{FF2B5EF4-FFF2-40B4-BE49-F238E27FC236}">
                    <a16:creationId xmlns:a16="http://schemas.microsoft.com/office/drawing/2014/main" id="{14214AAA-2CC4-E2C3-C5B6-EA4F2A254822}"/>
                  </a:ext>
                </a:extLst>
              </p:cNvPr>
              <p:cNvGrpSpPr/>
              <p:nvPr/>
            </p:nvGrpSpPr>
            <p:grpSpPr>
              <a:xfrm>
                <a:off x="5180171" y="3471385"/>
                <a:ext cx="75628" cy="75723"/>
                <a:chOff x="5180171" y="3471385"/>
                <a:chExt cx="75628" cy="75723"/>
              </a:xfrm>
            </p:grpSpPr>
            <p:sp>
              <p:nvSpPr>
                <p:cNvPr id="16154" name="Freeform: Shape 16153">
                  <a:extLst>
                    <a:ext uri="{FF2B5EF4-FFF2-40B4-BE49-F238E27FC236}">
                      <a16:creationId xmlns:a16="http://schemas.microsoft.com/office/drawing/2014/main" id="{4314366C-954A-297F-EA53-F0D95538AC33}"/>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5" name="Freeform: Shape 16154">
                  <a:extLst>
                    <a:ext uri="{FF2B5EF4-FFF2-40B4-BE49-F238E27FC236}">
                      <a16:creationId xmlns:a16="http://schemas.microsoft.com/office/drawing/2014/main" id="{7CD906B8-E617-9D43-EC74-5A97ADB36B31}"/>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1" name="Graphic 745">
                <a:extLst>
                  <a:ext uri="{FF2B5EF4-FFF2-40B4-BE49-F238E27FC236}">
                    <a16:creationId xmlns:a16="http://schemas.microsoft.com/office/drawing/2014/main" id="{4FBC2251-CD8E-4739-511B-6235DEF500CC}"/>
                  </a:ext>
                </a:extLst>
              </p:cNvPr>
              <p:cNvGrpSpPr/>
              <p:nvPr/>
            </p:nvGrpSpPr>
            <p:grpSpPr>
              <a:xfrm>
                <a:off x="5196554" y="3504342"/>
                <a:ext cx="75723" cy="75723"/>
                <a:chOff x="5196554" y="3504342"/>
                <a:chExt cx="75723" cy="75723"/>
              </a:xfrm>
            </p:grpSpPr>
            <p:sp>
              <p:nvSpPr>
                <p:cNvPr id="16152" name="Freeform: Shape 16151">
                  <a:extLst>
                    <a:ext uri="{FF2B5EF4-FFF2-40B4-BE49-F238E27FC236}">
                      <a16:creationId xmlns:a16="http://schemas.microsoft.com/office/drawing/2014/main" id="{BECD8666-2C27-E155-C125-37F46E26DD2F}"/>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3" name="Freeform: Shape 16152">
                  <a:extLst>
                    <a:ext uri="{FF2B5EF4-FFF2-40B4-BE49-F238E27FC236}">
                      <a16:creationId xmlns:a16="http://schemas.microsoft.com/office/drawing/2014/main" id="{3A850592-8452-82FF-30E1-354D3E74D453}"/>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2" name="Graphic 745">
                <a:extLst>
                  <a:ext uri="{FF2B5EF4-FFF2-40B4-BE49-F238E27FC236}">
                    <a16:creationId xmlns:a16="http://schemas.microsoft.com/office/drawing/2014/main" id="{A7625405-9EC4-6B44-FD5E-D9515188B61A}"/>
                  </a:ext>
                </a:extLst>
              </p:cNvPr>
              <p:cNvGrpSpPr/>
              <p:nvPr/>
            </p:nvGrpSpPr>
            <p:grpSpPr>
              <a:xfrm>
                <a:off x="5196554" y="3535870"/>
                <a:ext cx="75723" cy="75628"/>
                <a:chOff x="5196554" y="3535870"/>
                <a:chExt cx="75723" cy="75628"/>
              </a:xfrm>
            </p:grpSpPr>
            <p:sp>
              <p:nvSpPr>
                <p:cNvPr id="16150" name="Freeform: Shape 16149">
                  <a:extLst>
                    <a:ext uri="{FF2B5EF4-FFF2-40B4-BE49-F238E27FC236}">
                      <a16:creationId xmlns:a16="http://schemas.microsoft.com/office/drawing/2014/main" id="{64644F09-1D1F-62FD-D668-087B5140A440}"/>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51" name="Freeform: Shape 16150">
                  <a:extLst>
                    <a:ext uri="{FF2B5EF4-FFF2-40B4-BE49-F238E27FC236}">
                      <a16:creationId xmlns:a16="http://schemas.microsoft.com/office/drawing/2014/main" id="{1A7216D0-3C44-EF0C-2CC9-2F0F579F8371}"/>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3" name="Graphic 745">
                <a:extLst>
                  <a:ext uri="{FF2B5EF4-FFF2-40B4-BE49-F238E27FC236}">
                    <a16:creationId xmlns:a16="http://schemas.microsoft.com/office/drawing/2014/main" id="{D0114C4D-A3EF-5314-5B91-17B147499D0F}"/>
                  </a:ext>
                </a:extLst>
              </p:cNvPr>
              <p:cNvGrpSpPr/>
              <p:nvPr/>
            </p:nvGrpSpPr>
            <p:grpSpPr>
              <a:xfrm>
                <a:off x="5201793" y="3560158"/>
                <a:ext cx="75628" cy="75723"/>
                <a:chOff x="5201793" y="3560158"/>
                <a:chExt cx="75628" cy="75723"/>
              </a:xfrm>
            </p:grpSpPr>
            <p:sp>
              <p:nvSpPr>
                <p:cNvPr id="16148" name="Freeform: Shape 16147">
                  <a:extLst>
                    <a:ext uri="{FF2B5EF4-FFF2-40B4-BE49-F238E27FC236}">
                      <a16:creationId xmlns:a16="http://schemas.microsoft.com/office/drawing/2014/main" id="{ED16E3C9-7426-4D19-71B9-06EFD8F5CFAA}"/>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9" name="Freeform: Shape 16148">
                  <a:extLst>
                    <a:ext uri="{FF2B5EF4-FFF2-40B4-BE49-F238E27FC236}">
                      <a16:creationId xmlns:a16="http://schemas.microsoft.com/office/drawing/2014/main" id="{B5BB46B0-05C6-8319-4AB0-72F21FEB506C}"/>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4" name="Graphic 745">
                <a:extLst>
                  <a:ext uri="{FF2B5EF4-FFF2-40B4-BE49-F238E27FC236}">
                    <a16:creationId xmlns:a16="http://schemas.microsoft.com/office/drawing/2014/main" id="{BA00ADC5-37D1-110E-FF29-3DB1F634F7D2}"/>
                  </a:ext>
                </a:extLst>
              </p:cNvPr>
              <p:cNvGrpSpPr/>
              <p:nvPr/>
            </p:nvGrpSpPr>
            <p:grpSpPr>
              <a:xfrm>
                <a:off x="5204174" y="3580066"/>
                <a:ext cx="75723" cy="75723"/>
                <a:chOff x="5204174" y="3580066"/>
                <a:chExt cx="75723" cy="75723"/>
              </a:xfrm>
            </p:grpSpPr>
            <p:sp>
              <p:nvSpPr>
                <p:cNvPr id="16146" name="Freeform: Shape 16145">
                  <a:extLst>
                    <a:ext uri="{FF2B5EF4-FFF2-40B4-BE49-F238E27FC236}">
                      <a16:creationId xmlns:a16="http://schemas.microsoft.com/office/drawing/2014/main" id="{37751B87-5520-44DD-F5A4-0E15E9BCA312}"/>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7" name="Freeform: Shape 16146">
                  <a:extLst>
                    <a:ext uri="{FF2B5EF4-FFF2-40B4-BE49-F238E27FC236}">
                      <a16:creationId xmlns:a16="http://schemas.microsoft.com/office/drawing/2014/main" id="{13132D33-482D-7B14-4E2C-F7132B157E4A}"/>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5" name="Graphic 745">
                <a:extLst>
                  <a:ext uri="{FF2B5EF4-FFF2-40B4-BE49-F238E27FC236}">
                    <a16:creationId xmlns:a16="http://schemas.microsoft.com/office/drawing/2014/main" id="{59DF3958-9824-1C61-2B93-DFEF7E4C3DB0}"/>
                  </a:ext>
                </a:extLst>
              </p:cNvPr>
              <p:cNvGrpSpPr/>
              <p:nvPr/>
            </p:nvGrpSpPr>
            <p:grpSpPr>
              <a:xfrm>
                <a:off x="5217985" y="3580066"/>
                <a:ext cx="75723" cy="75723"/>
                <a:chOff x="5217985" y="3580066"/>
                <a:chExt cx="75723" cy="75723"/>
              </a:xfrm>
            </p:grpSpPr>
            <p:sp>
              <p:nvSpPr>
                <p:cNvPr id="16144" name="Freeform: Shape 16143">
                  <a:extLst>
                    <a:ext uri="{FF2B5EF4-FFF2-40B4-BE49-F238E27FC236}">
                      <a16:creationId xmlns:a16="http://schemas.microsoft.com/office/drawing/2014/main" id="{17CE9939-2406-DF6E-36B9-C49B7A8972C4}"/>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5" name="Freeform: Shape 16144">
                  <a:extLst>
                    <a:ext uri="{FF2B5EF4-FFF2-40B4-BE49-F238E27FC236}">
                      <a16:creationId xmlns:a16="http://schemas.microsoft.com/office/drawing/2014/main" id="{E1DDA3B5-5940-BD49-2F88-0DB9346FE978}"/>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6" name="Graphic 745">
                <a:extLst>
                  <a:ext uri="{FF2B5EF4-FFF2-40B4-BE49-F238E27FC236}">
                    <a16:creationId xmlns:a16="http://schemas.microsoft.com/office/drawing/2014/main" id="{5AEFF26F-6FEE-B99A-13B3-CA6F8CD5AC0E}"/>
                  </a:ext>
                </a:extLst>
              </p:cNvPr>
              <p:cNvGrpSpPr/>
              <p:nvPr/>
            </p:nvGrpSpPr>
            <p:grpSpPr>
              <a:xfrm>
                <a:off x="5196554" y="3517772"/>
                <a:ext cx="75723" cy="75723"/>
                <a:chOff x="5196554" y="3517772"/>
                <a:chExt cx="75723" cy="75723"/>
              </a:xfrm>
            </p:grpSpPr>
            <p:sp>
              <p:nvSpPr>
                <p:cNvPr id="16142" name="Freeform: Shape 16141">
                  <a:extLst>
                    <a:ext uri="{FF2B5EF4-FFF2-40B4-BE49-F238E27FC236}">
                      <a16:creationId xmlns:a16="http://schemas.microsoft.com/office/drawing/2014/main" id="{B07EDA37-8205-55CA-2B4B-FF25C8DE12A1}"/>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3" name="Freeform: Shape 16142">
                  <a:extLst>
                    <a:ext uri="{FF2B5EF4-FFF2-40B4-BE49-F238E27FC236}">
                      <a16:creationId xmlns:a16="http://schemas.microsoft.com/office/drawing/2014/main" id="{4BD26EE7-7ED2-5AF4-9A5A-4203E26689A1}"/>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7" name="Graphic 745">
                <a:extLst>
                  <a:ext uri="{FF2B5EF4-FFF2-40B4-BE49-F238E27FC236}">
                    <a16:creationId xmlns:a16="http://schemas.microsoft.com/office/drawing/2014/main" id="{7ADC4461-68D7-D582-74F8-D1997DD9A02B}"/>
                  </a:ext>
                </a:extLst>
              </p:cNvPr>
              <p:cNvGrpSpPr/>
              <p:nvPr/>
            </p:nvGrpSpPr>
            <p:grpSpPr>
              <a:xfrm>
                <a:off x="5234463" y="3624643"/>
                <a:ext cx="75628" cy="75628"/>
                <a:chOff x="5234463" y="3624643"/>
                <a:chExt cx="75628" cy="75628"/>
              </a:xfrm>
            </p:grpSpPr>
            <p:sp>
              <p:nvSpPr>
                <p:cNvPr id="16140" name="Freeform: Shape 16139">
                  <a:extLst>
                    <a:ext uri="{FF2B5EF4-FFF2-40B4-BE49-F238E27FC236}">
                      <a16:creationId xmlns:a16="http://schemas.microsoft.com/office/drawing/2014/main" id="{DB6F60CA-6E11-0983-D435-1FECF5BC5623}"/>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41" name="Freeform: Shape 16140">
                  <a:extLst>
                    <a:ext uri="{FF2B5EF4-FFF2-40B4-BE49-F238E27FC236}">
                      <a16:creationId xmlns:a16="http://schemas.microsoft.com/office/drawing/2014/main" id="{3261CD01-5B12-0C4E-A14B-A4B0E55ECAEF}"/>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8" name="Graphic 745">
                <a:extLst>
                  <a:ext uri="{FF2B5EF4-FFF2-40B4-BE49-F238E27FC236}">
                    <a16:creationId xmlns:a16="http://schemas.microsoft.com/office/drawing/2014/main" id="{14E03DE3-688A-379E-0629-B74C0E47C421}"/>
                  </a:ext>
                </a:extLst>
              </p:cNvPr>
              <p:cNvGrpSpPr/>
              <p:nvPr/>
            </p:nvGrpSpPr>
            <p:grpSpPr>
              <a:xfrm>
                <a:off x="5591079" y="3728751"/>
                <a:ext cx="75723" cy="75723"/>
                <a:chOff x="5591079" y="3728751"/>
                <a:chExt cx="75723" cy="75723"/>
              </a:xfrm>
            </p:grpSpPr>
            <p:sp>
              <p:nvSpPr>
                <p:cNvPr id="16138" name="Freeform: Shape 16137">
                  <a:extLst>
                    <a:ext uri="{FF2B5EF4-FFF2-40B4-BE49-F238E27FC236}">
                      <a16:creationId xmlns:a16="http://schemas.microsoft.com/office/drawing/2014/main" id="{AC77E80C-02CD-E679-2CA8-546695B8E64C}"/>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9" name="Freeform: Shape 16138">
                  <a:extLst>
                    <a:ext uri="{FF2B5EF4-FFF2-40B4-BE49-F238E27FC236}">
                      <a16:creationId xmlns:a16="http://schemas.microsoft.com/office/drawing/2014/main" id="{8F8BC1E8-145F-84E4-4679-45A4D458716D}"/>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9" name="Graphic 745">
                <a:extLst>
                  <a:ext uri="{FF2B5EF4-FFF2-40B4-BE49-F238E27FC236}">
                    <a16:creationId xmlns:a16="http://schemas.microsoft.com/office/drawing/2014/main" id="{D0B633FB-5296-014C-99E4-BA7A6ED5B9BA}"/>
                  </a:ext>
                </a:extLst>
              </p:cNvPr>
              <p:cNvGrpSpPr/>
              <p:nvPr/>
            </p:nvGrpSpPr>
            <p:grpSpPr>
              <a:xfrm>
                <a:off x="5602509" y="3737323"/>
                <a:ext cx="75628" cy="75628"/>
                <a:chOff x="5602509" y="3737323"/>
                <a:chExt cx="75628" cy="75628"/>
              </a:xfrm>
            </p:grpSpPr>
            <p:sp>
              <p:nvSpPr>
                <p:cNvPr id="16136" name="Freeform: Shape 16135">
                  <a:extLst>
                    <a:ext uri="{FF2B5EF4-FFF2-40B4-BE49-F238E27FC236}">
                      <a16:creationId xmlns:a16="http://schemas.microsoft.com/office/drawing/2014/main" id="{D8619366-95DE-CFC6-2572-DD0493985932}"/>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7" name="Freeform: Shape 16136">
                  <a:extLst>
                    <a:ext uri="{FF2B5EF4-FFF2-40B4-BE49-F238E27FC236}">
                      <a16:creationId xmlns:a16="http://schemas.microsoft.com/office/drawing/2014/main" id="{0F32A870-C068-5005-C6DB-8F871A342B6D}"/>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0" name="Graphic 745">
                <a:extLst>
                  <a:ext uri="{FF2B5EF4-FFF2-40B4-BE49-F238E27FC236}">
                    <a16:creationId xmlns:a16="http://schemas.microsoft.com/office/drawing/2014/main" id="{8E8D2489-BB57-2F58-F7BC-9F0314D21BC3}"/>
                  </a:ext>
                </a:extLst>
              </p:cNvPr>
              <p:cNvGrpSpPr/>
              <p:nvPr/>
            </p:nvGrpSpPr>
            <p:grpSpPr>
              <a:xfrm>
                <a:off x="5615844" y="3747991"/>
                <a:ext cx="75723" cy="75723"/>
                <a:chOff x="5615844" y="3747991"/>
                <a:chExt cx="75723" cy="75723"/>
              </a:xfrm>
            </p:grpSpPr>
            <p:sp>
              <p:nvSpPr>
                <p:cNvPr id="16134" name="Freeform: Shape 16133">
                  <a:extLst>
                    <a:ext uri="{FF2B5EF4-FFF2-40B4-BE49-F238E27FC236}">
                      <a16:creationId xmlns:a16="http://schemas.microsoft.com/office/drawing/2014/main" id="{560B5E98-E482-B779-D524-F011A84538F1}"/>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5" name="Freeform: Shape 16134">
                  <a:extLst>
                    <a:ext uri="{FF2B5EF4-FFF2-40B4-BE49-F238E27FC236}">
                      <a16:creationId xmlns:a16="http://schemas.microsoft.com/office/drawing/2014/main" id="{3337905A-63B6-4B85-1455-57F58FFE39CC}"/>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1" name="Graphic 745">
                <a:extLst>
                  <a:ext uri="{FF2B5EF4-FFF2-40B4-BE49-F238E27FC236}">
                    <a16:creationId xmlns:a16="http://schemas.microsoft.com/office/drawing/2014/main" id="{CB2A30B5-C5F8-A2FE-CBBA-98ACE56B68D1}"/>
                  </a:ext>
                </a:extLst>
              </p:cNvPr>
              <p:cNvGrpSpPr/>
              <p:nvPr/>
            </p:nvGrpSpPr>
            <p:grpSpPr>
              <a:xfrm>
                <a:off x="5631275" y="3761803"/>
                <a:ext cx="75628" cy="75628"/>
                <a:chOff x="5631275" y="3761803"/>
                <a:chExt cx="75628" cy="75628"/>
              </a:xfrm>
            </p:grpSpPr>
            <p:sp>
              <p:nvSpPr>
                <p:cNvPr id="16132" name="Freeform: Shape 16131">
                  <a:extLst>
                    <a:ext uri="{FF2B5EF4-FFF2-40B4-BE49-F238E27FC236}">
                      <a16:creationId xmlns:a16="http://schemas.microsoft.com/office/drawing/2014/main" id="{53492075-9613-6821-8456-F115E3D4E661}"/>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3" name="Freeform: Shape 16132">
                  <a:extLst>
                    <a:ext uri="{FF2B5EF4-FFF2-40B4-BE49-F238E27FC236}">
                      <a16:creationId xmlns:a16="http://schemas.microsoft.com/office/drawing/2014/main" id="{2F913B3D-EE2A-16E9-E05E-A5C3E37258CA}"/>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2" name="Graphic 745">
                <a:extLst>
                  <a:ext uri="{FF2B5EF4-FFF2-40B4-BE49-F238E27FC236}">
                    <a16:creationId xmlns:a16="http://schemas.microsoft.com/office/drawing/2014/main" id="{9A5961D5-1011-88B4-7F8E-6566A5D30732}"/>
                  </a:ext>
                </a:extLst>
              </p:cNvPr>
              <p:cNvGrpSpPr/>
              <p:nvPr/>
            </p:nvGrpSpPr>
            <p:grpSpPr>
              <a:xfrm>
                <a:off x="5642229" y="3780948"/>
                <a:ext cx="75628" cy="75723"/>
                <a:chOff x="5642229" y="3780948"/>
                <a:chExt cx="75628" cy="75723"/>
              </a:xfrm>
            </p:grpSpPr>
            <p:sp>
              <p:nvSpPr>
                <p:cNvPr id="16130" name="Freeform: Shape 16129">
                  <a:extLst>
                    <a:ext uri="{FF2B5EF4-FFF2-40B4-BE49-F238E27FC236}">
                      <a16:creationId xmlns:a16="http://schemas.microsoft.com/office/drawing/2014/main" id="{B05632DD-5C6B-B419-838F-E5DF272C7A27}"/>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31" name="Freeform: Shape 16130">
                  <a:extLst>
                    <a:ext uri="{FF2B5EF4-FFF2-40B4-BE49-F238E27FC236}">
                      <a16:creationId xmlns:a16="http://schemas.microsoft.com/office/drawing/2014/main" id="{A4D3C182-BC97-1B24-894E-B2684919538C}"/>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3" name="Graphic 745">
                <a:extLst>
                  <a:ext uri="{FF2B5EF4-FFF2-40B4-BE49-F238E27FC236}">
                    <a16:creationId xmlns:a16="http://schemas.microsoft.com/office/drawing/2014/main" id="{DD9BF448-F8DF-0A49-045C-26CC2769110A}"/>
                  </a:ext>
                </a:extLst>
              </p:cNvPr>
              <p:cNvGrpSpPr/>
              <p:nvPr/>
            </p:nvGrpSpPr>
            <p:grpSpPr>
              <a:xfrm>
                <a:off x="5649753" y="3792664"/>
                <a:ext cx="75723" cy="75723"/>
                <a:chOff x="5649753" y="3792664"/>
                <a:chExt cx="75723" cy="75723"/>
              </a:xfrm>
            </p:grpSpPr>
            <p:sp>
              <p:nvSpPr>
                <p:cNvPr id="16128" name="Freeform: Shape 16127">
                  <a:extLst>
                    <a:ext uri="{FF2B5EF4-FFF2-40B4-BE49-F238E27FC236}">
                      <a16:creationId xmlns:a16="http://schemas.microsoft.com/office/drawing/2014/main" id="{C4F294FF-3189-B662-C547-BCBF283FBE9B}"/>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9" name="Freeform: Shape 16128">
                  <a:extLst>
                    <a:ext uri="{FF2B5EF4-FFF2-40B4-BE49-F238E27FC236}">
                      <a16:creationId xmlns:a16="http://schemas.microsoft.com/office/drawing/2014/main" id="{9F7308AD-985E-CF7E-9FB0-A2FE8CC21C1A}"/>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4" name="Graphic 745">
                <a:extLst>
                  <a:ext uri="{FF2B5EF4-FFF2-40B4-BE49-F238E27FC236}">
                    <a16:creationId xmlns:a16="http://schemas.microsoft.com/office/drawing/2014/main" id="{5582F9B9-AFC7-E7E7-05EA-99245789C025}"/>
                  </a:ext>
                </a:extLst>
              </p:cNvPr>
              <p:cNvGrpSpPr/>
              <p:nvPr/>
            </p:nvGrpSpPr>
            <p:grpSpPr>
              <a:xfrm>
                <a:off x="5666803" y="3792664"/>
                <a:ext cx="75723" cy="75723"/>
                <a:chOff x="5666803" y="3792664"/>
                <a:chExt cx="75723" cy="75723"/>
              </a:xfrm>
            </p:grpSpPr>
            <p:sp>
              <p:nvSpPr>
                <p:cNvPr id="16126" name="Freeform: Shape 16125">
                  <a:extLst>
                    <a:ext uri="{FF2B5EF4-FFF2-40B4-BE49-F238E27FC236}">
                      <a16:creationId xmlns:a16="http://schemas.microsoft.com/office/drawing/2014/main" id="{84E381ED-9BDF-FDC6-7336-9EFAC4CBE3FA}"/>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7" name="Freeform: Shape 16126">
                  <a:extLst>
                    <a:ext uri="{FF2B5EF4-FFF2-40B4-BE49-F238E27FC236}">
                      <a16:creationId xmlns:a16="http://schemas.microsoft.com/office/drawing/2014/main" id="{D35756E9-93C3-919E-7EA8-EAD6F01C8FB8}"/>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5" name="Graphic 745">
                <a:extLst>
                  <a:ext uri="{FF2B5EF4-FFF2-40B4-BE49-F238E27FC236}">
                    <a16:creationId xmlns:a16="http://schemas.microsoft.com/office/drawing/2014/main" id="{DF7DBFC2-4449-3D43-0B7B-276446A5256C}"/>
                  </a:ext>
                </a:extLst>
              </p:cNvPr>
              <p:cNvGrpSpPr/>
              <p:nvPr/>
            </p:nvGrpSpPr>
            <p:grpSpPr>
              <a:xfrm>
                <a:off x="5680043" y="3792664"/>
                <a:ext cx="75723" cy="75723"/>
                <a:chOff x="5680043" y="3792664"/>
                <a:chExt cx="75723" cy="75723"/>
              </a:xfrm>
            </p:grpSpPr>
            <p:sp>
              <p:nvSpPr>
                <p:cNvPr id="16124" name="Freeform: Shape 16123">
                  <a:extLst>
                    <a:ext uri="{FF2B5EF4-FFF2-40B4-BE49-F238E27FC236}">
                      <a16:creationId xmlns:a16="http://schemas.microsoft.com/office/drawing/2014/main" id="{4AC8FF1A-5837-E2CA-8C8B-0E73D07B3731}"/>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5" name="Freeform: Shape 16124">
                  <a:extLst>
                    <a:ext uri="{FF2B5EF4-FFF2-40B4-BE49-F238E27FC236}">
                      <a16:creationId xmlns:a16="http://schemas.microsoft.com/office/drawing/2014/main" id="{52D0E5B7-0753-ECF9-23CB-FEF1FD98829E}"/>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6" name="Graphic 745">
                <a:extLst>
                  <a:ext uri="{FF2B5EF4-FFF2-40B4-BE49-F238E27FC236}">
                    <a16:creationId xmlns:a16="http://schemas.microsoft.com/office/drawing/2014/main" id="{D7FB0BC1-3FA5-5E1F-975F-D16130B88D0E}"/>
                  </a:ext>
                </a:extLst>
              </p:cNvPr>
              <p:cNvGrpSpPr/>
              <p:nvPr/>
            </p:nvGrpSpPr>
            <p:grpSpPr>
              <a:xfrm>
                <a:off x="5972937" y="3841051"/>
                <a:ext cx="75723" cy="75723"/>
                <a:chOff x="5972937" y="3841051"/>
                <a:chExt cx="75723" cy="75723"/>
              </a:xfrm>
            </p:grpSpPr>
            <p:sp>
              <p:nvSpPr>
                <p:cNvPr id="16122" name="Freeform: Shape 16121">
                  <a:extLst>
                    <a:ext uri="{FF2B5EF4-FFF2-40B4-BE49-F238E27FC236}">
                      <a16:creationId xmlns:a16="http://schemas.microsoft.com/office/drawing/2014/main" id="{6DB51DCA-9183-3338-2674-E0ECC825BF38}"/>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3" name="Freeform: Shape 16122">
                  <a:extLst>
                    <a:ext uri="{FF2B5EF4-FFF2-40B4-BE49-F238E27FC236}">
                      <a16:creationId xmlns:a16="http://schemas.microsoft.com/office/drawing/2014/main" id="{2A915C64-A2AB-16E3-E90B-D5ED900C673E}"/>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7" name="Graphic 745">
                <a:extLst>
                  <a:ext uri="{FF2B5EF4-FFF2-40B4-BE49-F238E27FC236}">
                    <a16:creationId xmlns:a16="http://schemas.microsoft.com/office/drawing/2014/main" id="{FE37766B-644E-E49F-610E-3FA838B5FF7F}"/>
                  </a:ext>
                </a:extLst>
              </p:cNvPr>
              <p:cNvGrpSpPr/>
              <p:nvPr/>
            </p:nvGrpSpPr>
            <p:grpSpPr>
              <a:xfrm>
                <a:off x="6008560" y="3841051"/>
                <a:ext cx="75723" cy="75723"/>
                <a:chOff x="6008560" y="3841051"/>
                <a:chExt cx="75723" cy="75723"/>
              </a:xfrm>
            </p:grpSpPr>
            <p:sp>
              <p:nvSpPr>
                <p:cNvPr id="16120" name="Freeform: Shape 16119">
                  <a:extLst>
                    <a:ext uri="{FF2B5EF4-FFF2-40B4-BE49-F238E27FC236}">
                      <a16:creationId xmlns:a16="http://schemas.microsoft.com/office/drawing/2014/main" id="{0A0DF1FA-8FC8-E4C2-B6AD-EB5FA313C0F3}"/>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21" name="Freeform: Shape 16120">
                  <a:extLst>
                    <a:ext uri="{FF2B5EF4-FFF2-40B4-BE49-F238E27FC236}">
                      <a16:creationId xmlns:a16="http://schemas.microsoft.com/office/drawing/2014/main" id="{6553E4B6-3F23-4F71-D4C5-8324C84AFE2D}"/>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8" name="Graphic 745">
                <a:extLst>
                  <a:ext uri="{FF2B5EF4-FFF2-40B4-BE49-F238E27FC236}">
                    <a16:creationId xmlns:a16="http://schemas.microsoft.com/office/drawing/2014/main" id="{1F39932C-ECB8-EBAC-6570-1383B3E9BF3F}"/>
                  </a:ext>
                </a:extLst>
              </p:cNvPr>
              <p:cNvGrpSpPr/>
              <p:nvPr/>
            </p:nvGrpSpPr>
            <p:grpSpPr>
              <a:xfrm>
                <a:off x="6024848" y="3841051"/>
                <a:ext cx="75628" cy="75723"/>
                <a:chOff x="6024848" y="3841051"/>
                <a:chExt cx="75628" cy="75723"/>
              </a:xfrm>
            </p:grpSpPr>
            <p:sp>
              <p:nvSpPr>
                <p:cNvPr id="16118" name="Freeform: Shape 16117">
                  <a:extLst>
                    <a:ext uri="{FF2B5EF4-FFF2-40B4-BE49-F238E27FC236}">
                      <a16:creationId xmlns:a16="http://schemas.microsoft.com/office/drawing/2014/main" id="{D3A93F06-E6CB-ECC2-7977-E7E7B0667D74}"/>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9" name="Freeform: Shape 16118">
                  <a:extLst>
                    <a:ext uri="{FF2B5EF4-FFF2-40B4-BE49-F238E27FC236}">
                      <a16:creationId xmlns:a16="http://schemas.microsoft.com/office/drawing/2014/main" id="{96D0777A-EEDA-C771-64E1-F9E295BE2D67}"/>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9" name="Graphic 745">
                <a:extLst>
                  <a:ext uri="{FF2B5EF4-FFF2-40B4-BE49-F238E27FC236}">
                    <a16:creationId xmlns:a16="http://schemas.microsoft.com/office/drawing/2014/main" id="{21B5D532-0A06-9887-E3E8-E73EB70D4282}"/>
                  </a:ext>
                </a:extLst>
              </p:cNvPr>
              <p:cNvGrpSpPr/>
              <p:nvPr/>
            </p:nvGrpSpPr>
            <p:grpSpPr>
              <a:xfrm>
                <a:off x="6036564" y="3841051"/>
                <a:ext cx="75723" cy="75723"/>
                <a:chOff x="6036564" y="3841051"/>
                <a:chExt cx="75723" cy="75723"/>
              </a:xfrm>
            </p:grpSpPr>
            <p:sp>
              <p:nvSpPr>
                <p:cNvPr id="16116" name="Freeform: Shape 16115">
                  <a:extLst>
                    <a:ext uri="{FF2B5EF4-FFF2-40B4-BE49-F238E27FC236}">
                      <a16:creationId xmlns:a16="http://schemas.microsoft.com/office/drawing/2014/main" id="{DB4A0C15-0D4E-BF19-6C34-A01C9E5AACFD}"/>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7" name="Freeform: Shape 16116">
                  <a:extLst>
                    <a:ext uri="{FF2B5EF4-FFF2-40B4-BE49-F238E27FC236}">
                      <a16:creationId xmlns:a16="http://schemas.microsoft.com/office/drawing/2014/main" id="{93D1559A-EE28-A1DA-8FCC-A238F2756EF8}"/>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0" name="Graphic 745">
                <a:extLst>
                  <a:ext uri="{FF2B5EF4-FFF2-40B4-BE49-F238E27FC236}">
                    <a16:creationId xmlns:a16="http://schemas.microsoft.com/office/drawing/2014/main" id="{0E1E7207-3EC7-58C5-C97A-E523FEB9B0F8}"/>
                  </a:ext>
                </a:extLst>
              </p:cNvPr>
              <p:cNvGrpSpPr/>
              <p:nvPr/>
            </p:nvGrpSpPr>
            <p:grpSpPr>
              <a:xfrm>
                <a:off x="6052756" y="3871435"/>
                <a:ext cx="75723" cy="75723"/>
                <a:chOff x="6052756" y="3871435"/>
                <a:chExt cx="75723" cy="75723"/>
              </a:xfrm>
            </p:grpSpPr>
            <p:sp>
              <p:nvSpPr>
                <p:cNvPr id="16114" name="Freeform: Shape 16113">
                  <a:extLst>
                    <a:ext uri="{FF2B5EF4-FFF2-40B4-BE49-F238E27FC236}">
                      <a16:creationId xmlns:a16="http://schemas.microsoft.com/office/drawing/2014/main" id="{FD898780-1733-900D-4FEA-70AB14161E0B}"/>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5" name="Freeform: Shape 16114">
                  <a:extLst>
                    <a:ext uri="{FF2B5EF4-FFF2-40B4-BE49-F238E27FC236}">
                      <a16:creationId xmlns:a16="http://schemas.microsoft.com/office/drawing/2014/main" id="{4DCF4088-9511-FCED-A533-4F615699C081}"/>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1" name="Graphic 745">
                <a:extLst>
                  <a:ext uri="{FF2B5EF4-FFF2-40B4-BE49-F238E27FC236}">
                    <a16:creationId xmlns:a16="http://schemas.microsoft.com/office/drawing/2014/main" id="{C366AC84-A985-BB19-1616-11DE08D34C65}"/>
                  </a:ext>
                </a:extLst>
              </p:cNvPr>
              <p:cNvGrpSpPr/>
              <p:nvPr/>
            </p:nvGrpSpPr>
            <p:grpSpPr>
              <a:xfrm>
                <a:off x="6066567" y="3871435"/>
                <a:ext cx="75723" cy="75723"/>
                <a:chOff x="6066567" y="3871435"/>
                <a:chExt cx="75723" cy="75723"/>
              </a:xfrm>
            </p:grpSpPr>
            <p:sp>
              <p:nvSpPr>
                <p:cNvPr id="16112" name="Freeform: Shape 16111">
                  <a:extLst>
                    <a:ext uri="{FF2B5EF4-FFF2-40B4-BE49-F238E27FC236}">
                      <a16:creationId xmlns:a16="http://schemas.microsoft.com/office/drawing/2014/main" id="{6FAB2DF0-6DDB-ED42-93FC-60BE839CDB41}"/>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3" name="Freeform: Shape 16112">
                  <a:extLst>
                    <a:ext uri="{FF2B5EF4-FFF2-40B4-BE49-F238E27FC236}">
                      <a16:creationId xmlns:a16="http://schemas.microsoft.com/office/drawing/2014/main" id="{8DD65A9E-0DD1-478A-C68A-84140FDF9F19}"/>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2" name="Graphic 745">
                <a:extLst>
                  <a:ext uri="{FF2B5EF4-FFF2-40B4-BE49-F238E27FC236}">
                    <a16:creationId xmlns:a16="http://schemas.microsoft.com/office/drawing/2014/main" id="{5BCF7A5D-967E-B854-3A46-7E20599FA4D1}"/>
                  </a:ext>
                </a:extLst>
              </p:cNvPr>
              <p:cNvGrpSpPr/>
              <p:nvPr/>
            </p:nvGrpSpPr>
            <p:grpSpPr>
              <a:xfrm>
                <a:off x="6074378" y="3888104"/>
                <a:ext cx="75723" cy="75628"/>
                <a:chOff x="6074378" y="3888104"/>
                <a:chExt cx="75723" cy="75628"/>
              </a:xfrm>
            </p:grpSpPr>
            <p:sp>
              <p:nvSpPr>
                <p:cNvPr id="16110" name="Freeform: Shape 16109">
                  <a:extLst>
                    <a:ext uri="{FF2B5EF4-FFF2-40B4-BE49-F238E27FC236}">
                      <a16:creationId xmlns:a16="http://schemas.microsoft.com/office/drawing/2014/main" id="{4FB94B96-6E3B-42D2-E171-85790C1FC57C}"/>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11" name="Freeform: Shape 16110">
                  <a:extLst>
                    <a:ext uri="{FF2B5EF4-FFF2-40B4-BE49-F238E27FC236}">
                      <a16:creationId xmlns:a16="http://schemas.microsoft.com/office/drawing/2014/main" id="{25A88960-5931-D819-2872-97F50FE39CB3}"/>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3" name="Graphic 745">
                <a:extLst>
                  <a:ext uri="{FF2B5EF4-FFF2-40B4-BE49-F238E27FC236}">
                    <a16:creationId xmlns:a16="http://schemas.microsoft.com/office/drawing/2014/main" id="{7CB80151-DC08-5E11-A6AD-0D8961616C03}"/>
                  </a:ext>
                </a:extLst>
              </p:cNvPr>
              <p:cNvGrpSpPr/>
              <p:nvPr/>
            </p:nvGrpSpPr>
            <p:grpSpPr>
              <a:xfrm>
                <a:off x="6088856" y="3909345"/>
                <a:ext cx="75723" cy="75628"/>
                <a:chOff x="6088856" y="3909345"/>
                <a:chExt cx="75723" cy="75628"/>
              </a:xfrm>
            </p:grpSpPr>
            <p:sp>
              <p:nvSpPr>
                <p:cNvPr id="16108" name="Freeform: Shape 16107">
                  <a:extLst>
                    <a:ext uri="{FF2B5EF4-FFF2-40B4-BE49-F238E27FC236}">
                      <a16:creationId xmlns:a16="http://schemas.microsoft.com/office/drawing/2014/main" id="{4AB9808B-A963-122B-0D17-ABA2AF219691}"/>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9" name="Freeform: Shape 16108">
                  <a:extLst>
                    <a:ext uri="{FF2B5EF4-FFF2-40B4-BE49-F238E27FC236}">
                      <a16:creationId xmlns:a16="http://schemas.microsoft.com/office/drawing/2014/main" id="{642CA4F5-EE75-478B-967D-2D8C9BA5F53E}"/>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4" name="Graphic 745">
                <a:extLst>
                  <a:ext uri="{FF2B5EF4-FFF2-40B4-BE49-F238E27FC236}">
                    <a16:creationId xmlns:a16="http://schemas.microsoft.com/office/drawing/2014/main" id="{193692A4-E4F4-E0FB-69D7-A8387F4B8CAF}"/>
                  </a:ext>
                </a:extLst>
              </p:cNvPr>
              <p:cNvGrpSpPr/>
              <p:nvPr/>
            </p:nvGrpSpPr>
            <p:grpSpPr>
              <a:xfrm>
                <a:off x="6112287" y="3909345"/>
                <a:ext cx="75628" cy="75628"/>
                <a:chOff x="6112287" y="3909345"/>
                <a:chExt cx="75628" cy="75628"/>
              </a:xfrm>
            </p:grpSpPr>
            <p:sp>
              <p:nvSpPr>
                <p:cNvPr id="16106" name="Freeform: Shape 16105">
                  <a:extLst>
                    <a:ext uri="{FF2B5EF4-FFF2-40B4-BE49-F238E27FC236}">
                      <a16:creationId xmlns:a16="http://schemas.microsoft.com/office/drawing/2014/main" id="{BFA2855E-A865-8654-4F84-7BD5FD354FC0}"/>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7" name="Freeform: Shape 16106">
                  <a:extLst>
                    <a:ext uri="{FF2B5EF4-FFF2-40B4-BE49-F238E27FC236}">
                      <a16:creationId xmlns:a16="http://schemas.microsoft.com/office/drawing/2014/main" id="{3695B389-7E3C-AA21-89BC-C711963604A2}"/>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5" name="Graphic 745">
                <a:extLst>
                  <a:ext uri="{FF2B5EF4-FFF2-40B4-BE49-F238E27FC236}">
                    <a16:creationId xmlns:a16="http://schemas.microsoft.com/office/drawing/2014/main" id="{EC2613FC-2BAC-210C-4A2E-9923D222CB3A}"/>
                  </a:ext>
                </a:extLst>
              </p:cNvPr>
              <p:cNvGrpSpPr/>
              <p:nvPr/>
            </p:nvGrpSpPr>
            <p:grpSpPr>
              <a:xfrm>
                <a:off x="6100476" y="3909345"/>
                <a:ext cx="75723" cy="75628"/>
                <a:chOff x="6100476" y="3909345"/>
                <a:chExt cx="75723" cy="75628"/>
              </a:xfrm>
            </p:grpSpPr>
            <p:sp>
              <p:nvSpPr>
                <p:cNvPr id="16104" name="Freeform: Shape 16103">
                  <a:extLst>
                    <a:ext uri="{FF2B5EF4-FFF2-40B4-BE49-F238E27FC236}">
                      <a16:creationId xmlns:a16="http://schemas.microsoft.com/office/drawing/2014/main" id="{152D23B4-A9BC-56E2-F696-AC5DFD546B93}"/>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5" name="Freeform: Shape 16104">
                  <a:extLst>
                    <a:ext uri="{FF2B5EF4-FFF2-40B4-BE49-F238E27FC236}">
                      <a16:creationId xmlns:a16="http://schemas.microsoft.com/office/drawing/2014/main" id="{DCA59971-2469-128C-C988-5A04F7C1A9F4}"/>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6" name="Graphic 745">
                <a:extLst>
                  <a:ext uri="{FF2B5EF4-FFF2-40B4-BE49-F238E27FC236}">
                    <a16:creationId xmlns:a16="http://schemas.microsoft.com/office/drawing/2014/main" id="{D4E52433-6F61-37F0-0E59-5CB1CD3F93B5}"/>
                  </a:ext>
                </a:extLst>
              </p:cNvPr>
              <p:cNvGrpSpPr/>
              <p:nvPr/>
            </p:nvGrpSpPr>
            <p:grpSpPr>
              <a:xfrm>
                <a:off x="6900100" y="4071937"/>
                <a:ext cx="75723" cy="75723"/>
                <a:chOff x="6900100" y="4071937"/>
                <a:chExt cx="75723" cy="75723"/>
              </a:xfrm>
            </p:grpSpPr>
            <p:sp>
              <p:nvSpPr>
                <p:cNvPr id="16102" name="Freeform: Shape 16101">
                  <a:extLst>
                    <a:ext uri="{FF2B5EF4-FFF2-40B4-BE49-F238E27FC236}">
                      <a16:creationId xmlns:a16="http://schemas.microsoft.com/office/drawing/2014/main" id="{C0676AB8-15DE-B971-2D8A-C8270A71E072}"/>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3" name="Freeform: Shape 16102">
                  <a:extLst>
                    <a:ext uri="{FF2B5EF4-FFF2-40B4-BE49-F238E27FC236}">
                      <a16:creationId xmlns:a16="http://schemas.microsoft.com/office/drawing/2014/main" id="{B3E7B1E1-2DCB-373F-4D5C-89ED57589644}"/>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7" name="Graphic 745">
                <a:extLst>
                  <a:ext uri="{FF2B5EF4-FFF2-40B4-BE49-F238E27FC236}">
                    <a16:creationId xmlns:a16="http://schemas.microsoft.com/office/drawing/2014/main" id="{50357838-1440-BB32-4739-945115105F70}"/>
                  </a:ext>
                </a:extLst>
              </p:cNvPr>
              <p:cNvGrpSpPr/>
              <p:nvPr/>
            </p:nvGrpSpPr>
            <p:grpSpPr>
              <a:xfrm>
                <a:off x="6962298" y="4156328"/>
                <a:ext cx="75723" cy="75628"/>
                <a:chOff x="6962298" y="4156328"/>
                <a:chExt cx="75723" cy="75628"/>
              </a:xfrm>
            </p:grpSpPr>
            <p:sp>
              <p:nvSpPr>
                <p:cNvPr id="16100" name="Freeform: Shape 16099">
                  <a:extLst>
                    <a:ext uri="{FF2B5EF4-FFF2-40B4-BE49-F238E27FC236}">
                      <a16:creationId xmlns:a16="http://schemas.microsoft.com/office/drawing/2014/main" id="{FC7516EE-5D3F-2C47-AC0B-27A8FCEA305F}"/>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101" name="Freeform: Shape 16100">
                  <a:extLst>
                    <a:ext uri="{FF2B5EF4-FFF2-40B4-BE49-F238E27FC236}">
                      <a16:creationId xmlns:a16="http://schemas.microsoft.com/office/drawing/2014/main" id="{B7C610CA-85D6-EC1F-D542-4B64F45CF0F3}"/>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8" name="Graphic 745">
                <a:extLst>
                  <a:ext uri="{FF2B5EF4-FFF2-40B4-BE49-F238E27FC236}">
                    <a16:creationId xmlns:a16="http://schemas.microsoft.com/office/drawing/2014/main" id="{B426E914-DB0C-3126-A0C5-E61D37BE46C8}"/>
                  </a:ext>
                </a:extLst>
              </p:cNvPr>
              <p:cNvGrpSpPr/>
              <p:nvPr/>
            </p:nvGrpSpPr>
            <p:grpSpPr>
              <a:xfrm>
                <a:off x="6946773" y="4131087"/>
                <a:ext cx="75723" cy="75628"/>
                <a:chOff x="6946773" y="4131087"/>
                <a:chExt cx="75723" cy="75628"/>
              </a:xfrm>
            </p:grpSpPr>
            <p:sp>
              <p:nvSpPr>
                <p:cNvPr id="16098" name="Freeform: Shape 16097">
                  <a:extLst>
                    <a:ext uri="{FF2B5EF4-FFF2-40B4-BE49-F238E27FC236}">
                      <a16:creationId xmlns:a16="http://schemas.microsoft.com/office/drawing/2014/main" id="{CBDE32E1-58F1-0D0F-97C5-C063097A07F7}"/>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9" name="Freeform: Shape 16098">
                  <a:extLst>
                    <a:ext uri="{FF2B5EF4-FFF2-40B4-BE49-F238E27FC236}">
                      <a16:creationId xmlns:a16="http://schemas.microsoft.com/office/drawing/2014/main" id="{F6B57201-8F09-12FB-332B-4B9EC125D2CF}"/>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9" name="Graphic 745">
                <a:extLst>
                  <a:ext uri="{FF2B5EF4-FFF2-40B4-BE49-F238E27FC236}">
                    <a16:creationId xmlns:a16="http://schemas.microsoft.com/office/drawing/2014/main" id="{798EAC7F-D465-7882-E912-6E18401DC2EA}"/>
                  </a:ext>
                </a:extLst>
              </p:cNvPr>
              <p:cNvGrpSpPr/>
              <p:nvPr/>
            </p:nvGrpSpPr>
            <p:grpSpPr>
              <a:xfrm>
                <a:off x="6926865" y="4104322"/>
                <a:ext cx="75723" cy="75723"/>
                <a:chOff x="6926865" y="4104322"/>
                <a:chExt cx="75723" cy="75723"/>
              </a:xfrm>
            </p:grpSpPr>
            <p:sp>
              <p:nvSpPr>
                <p:cNvPr id="16096" name="Freeform: Shape 16095">
                  <a:extLst>
                    <a:ext uri="{FF2B5EF4-FFF2-40B4-BE49-F238E27FC236}">
                      <a16:creationId xmlns:a16="http://schemas.microsoft.com/office/drawing/2014/main" id="{6EA0093E-53C7-75D5-823A-10B2836F4D9F}"/>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7" name="Freeform: Shape 16096">
                  <a:extLst>
                    <a:ext uri="{FF2B5EF4-FFF2-40B4-BE49-F238E27FC236}">
                      <a16:creationId xmlns:a16="http://schemas.microsoft.com/office/drawing/2014/main" id="{000899C6-F84E-DAF4-6820-02FF26A9435C}"/>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0" name="Graphic 745">
                <a:extLst>
                  <a:ext uri="{FF2B5EF4-FFF2-40B4-BE49-F238E27FC236}">
                    <a16:creationId xmlns:a16="http://schemas.microsoft.com/office/drawing/2014/main" id="{9992CF28-5A89-769C-FC63-A462A87C6825}"/>
                  </a:ext>
                </a:extLst>
              </p:cNvPr>
              <p:cNvGrpSpPr/>
              <p:nvPr/>
            </p:nvGrpSpPr>
            <p:grpSpPr>
              <a:xfrm>
                <a:off x="6912864" y="4104322"/>
                <a:ext cx="75723" cy="75723"/>
                <a:chOff x="6912864" y="4104322"/>
                <a:chExt cx="75723" cy="75723"/>
              </a:xfrm>
            </p:grpSpPr>
            <p:sp>
              <p:nvSpPr>
                <p:cNvPr id="16094" name="Freeform: Shape 16093">
                  <a:extLst>
                    <a:ext uri="{FF2B5EF4-FFF2-40B4-BE49-F238E27FC236}">
                      <a16:creationId xmlns:a16="http://schemas.microsoft.com/office/drawing/2014/main" id="{EDC05A71-A5DB-9F0D-9F98-52256D5F4DDF}"/>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5" name="Freeform: Shape 16094">
                  <a:extLst>
                    <a:ext uri="{FF2B5EF4-FFF2-40B4-BE49-F238E27FC236}">
                      <a16:creationId xmlns:a16="http://schemas.microsoft.com/office/drawing/2014/main" id="{E4F399C4-E9AD-DFA2-AB03-8AB926315442}"/>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1" name="Graphic 745">
                <a:extLst>
                  <a:ext uri="{FF2B5EF4-FFF2-40B4-BE49-F238E27FC236}">
                    <a16:creationId xmlns:a16="http://schemas.microsoft.com/office/drawing/2014/main" id="{C490ACB3-7025-84E6-2CE5-661B2207A0A8}"/>
                  </a:ext>
                </a:extLst>
              </p:cNvPr>
              <p:cNvGrpSpPr/>
              <p:nvPr/>
            </p:nvGrpSpPr>
            <p:grpSpPr>
              <a:xfrm>
                <a:off x="7032117" y="4185284"/>
                <a:ext cx="75723" cy="75723"/>
                <a:chOff x="7032117" y="4185284"/>
                <a:chExt cx="75723" cy="75723"/>
              </a:xfrm>
            </p:grpSpPr>
            <p:sp>
              <p:nvSpPr>
                <p:cNvPr id="16092" name="Freeform: Shape 16091">
                  <a:extLst>
                    <a:ext uri="{FF2B5EF4-FFF2-40B4-BE49-F238E27FC236}">
                      <a16:creationId xmlns:a16="http://schemas.microsoft.com/office/drawing/2014/main" id="{15DF9E19-8DFA-A2AA-69DF-EDD32ED58C9D}"/>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3" name="Freeform: Shape 16092">
                  <a:extLst>
                    <a:ext uri="{FF2B5EF4-FFF2-40B4-BE49-F238E27FC236}">
                      <a16:creationId xmlns:a16="http://schemas.microsoft.com/office/drawing/2014/main" id="{AAEA3A46-F865-6378-BC1C-C36A3CA98A41}"/>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2" name="Graphic 745">
                <a:extLst>
                  <a:ext uri="{FF2B5EF4-FFF2-40B4-BE49-F238E27FC236}">
                    <a16:creationId xmlns:a16="http://schemas.microsoft.com/office/drawing/2014/main" id="{4B84A0B1-78E4-EAE4-8351-3B4FB3521FE8}"/>
                  </a:ext>
                </a:extLst>
              </p:cNvPr>
              <p:cNvGrpSpPr/>
              <p:nvPr/>
            </p:nvGrpSpPr>
            <p:grpSpPr>
              <a:xfrm>
                <a:off x="7742872" y="4275772"/>
                <a:ext cx="75723" cy="75723"/>
                <a:chOff x="7742872" y="4275772"/>
                <a:chExt cx="75723" cy="75723"/>
              </a:xfrm>
            </p:grpSpPr>
            <p:sp>
              <p:nvSpPr>
                <p:cNvPr id="16090" name="Freeform: Shape 16089">
                  <a:extLst>
                    <a:ext uri="{FF2B5EF4-FFF2-40B4-BE49-F238E27FC236}">
                      <a16:creationId xmlns:a16="http://schemas.microsoft.com/office/drawing/2014/main" id="{DE6E814A-0992-9718-B23C-79D2864B732B}"/>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91" name="Freeform: Shape 16090">
                  <a:extLst>
                    <a:ext uri="{FF2B5EF4-FFF2-40B4-BE49-F238E27FC236}">
                      <a16:creationId xmlns:a16="http://schemas.microsoft.com/office/drawing/2014/main" id="{BD2D1F8A-A00E-A270-F28D-A6491B9F5AA4}"/>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3" name="Graphic 745">
                <a:extLst>
                  <a:ext uri="{FF2B5EF4-FFF2-40B4-BE49-F238E27FC236}">
                    <a16:creationId xmlns:a16="http://schemas.microsoft.com/office/drawing/2014/main" id="{0F11E4AE-47B5-E606-9760-41FE059DB958}"/>
                  </a:ext>
                </a:extLst>
              </p:cNvPr>
              <p:cNvGrpSpPr/>
              <p:nvPr/>
            </p:nvGrpSpPr>
            <p:grpSpPr>
              <a:xfrm>
                <a:off x="7766399" y="4275772"/>
                <a:ext cx="75628" cy="75723"/>
                <a:chOff x="7766399" y="4275772"/>
                <a:chExt cx="75628" cy="75723"/>
              </a:xfrm>
            </p:grpSpPr>
            <p:sp>
              <p:nvSpPr>
                <p:cNvPr id="16088" name="Freeform: Shape 16087">
                  <a:extLst>
                    <a:ext uri="{FF2B5EF4-FFF2-40B4-BE49-F238E27FC236}">
                      <a16:creationId xmlns:a16="http://schemas.microsoft.com/office/drawing/2014/main" id="{A0A71700-8466-D37B-AD33-B06B6DE7522C}"/>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9" name="Freeform: Shape 16088">
                  <a:extLst>
                    <a:ext uri="{FF2B5EF4-FFF2-40B4-BE49-F238E27FC236}">
                      <a16:creationId xmlns:a16="http://schemas.microsoft.com/office/drawing/2014/main" id="{D223A57E-40D6-5D0F-0110-5ECC2D206C4F}"/>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4" name="Graphic 745">
                <a:extLst>
                  <a:ext uri="{FF2B5EF4-FFF2-40B4-BE49-F238E27FC236}">
                    <a16:creationId xmlns:a16="http://schemas.microsoft.com/office/drawing/2014/main" id="{438B5075-74E7-685B-EFB2-0ADA0368C1CF}"/>
                  </a:ext>
                </a:extLst>
              </p:cNvPr>
              <p:cNvGrpSpPr/>
              <p:nvPr/>
            </p:nvGrpSpPr>
            <p:grpSpPr>
              <a:xfrm>
                <a:off x="7787449" y="4275772"/>
                <a:ext cx="75723" cy="75723"/>
                <a:chOff x="7787449" y="4275772"/>
                <a:chExt cx="75723" cy="75723"/>
              </a:xfrm>
            </p:grpSpPr>
            <p:sp>
              <p:nvSpPr>
                <p:cNvPr id="16086" name="Freeform: Shape 16085">
                  <a:extLst>
                    <a:ext uri="{FF2B5EF4-FFF2-40B4-BE49-F238E27FC236}">
                      <a16:creationId xmlns:a16="http://schemas.microsoft.com/office/drawing/2014/main" id="{0774699B-B368-4CA5-A7D6-3B003894925F}"/>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7" name="Freeform: Shape 16086">
                  <a:extLst>
                    <a:ext uri="{FF2B5EF4-FFF2-40B4-BE49-F238E27FC236}">
                      <a16:creationId xmlns:a16="http://schemas.microsoft.com/office/drawing/2014/main" id="{0360438F-EB4D-23C6-6533-9469803E856B}"/>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5" name="Graphic 745">
                <a:extLst>
                  <a:ext uri="{FF2B5EF4-FFF2-40B4-BE49-F238E27FC236}">
                    <a16:creationId xmlns:a16="http://schemas.microsoft.com/office/drawing/2014/main" id="{684EC98E-BD41-28B2-DDD7-5CB45568BF50}"/>
                  </a:ext>
                </a:extLst>
              </p:cNvPr>
              <p:cNvGrpSpPr/>
              <p:nvPr/>
            </p:nvGrpSpPr>
            <p:grpSpPr>
              <a:xfrm>
                <a:off x="7793545" y="4275772"/>
                <a:ext cx="75628" cy="75723"/>
                <a:chOff x="7793545" y="4275772"/>
                <a:chExt cx="75628" cy="75723"/>
              </a:xfrm>
            </p:grpSpPr>
            <p:sp>
              <p:nvSpPr>
                <p:cNvPr id="16084" name="Freeform: Shape 16083">
                  <a:extLst>
                    <a:ext uri="{FF2B5EF4-FFF2-40B4-BE49-F238E27FC236}">
                      <a16:creationId xmlns:a16="http://schemas.microsoft.com/office/drawing/2014/main" id="{5A586015-E3B2-978D-97A1-88AA7359A7CD}"/>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5" name="Freeform: Shape 16084">
                  <a:extLst>
                    <a:ext uri="{FF2B5EF4-FFF2-40B4-BE49-F238E27FC236}">
                      <a16:creationId xmlns:a16="http://schemas.microsoft.com/office/drawing/2014/main" id="{28AC3AE3-1178-255D-D5EC-7AA9AB32369A}"/>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6" name="Graphic 745">
                <a:extLst>
                  <a:ext uri="{FF2B5EF4-FFF2-40B4-BE49-F238E27FC236}">
                    <a16:creationId xmlns:a16="http://schemas.microsoft.com/office/drawing/2014/main" id="{F17F2139-430A-220F-E118-62487417CCC8}"/>
                  </a:ext>
                </a:extLst>
              </p:cNvPr>
              <p:cNvGrpSpPr/>
              <p:nvPr/>
            </p:nvGrpSpPr>
            <p:grpSpPr>
              <a:xfrm>
                <a:off x="7821453" y="4275772"/>
                <a:ext cx="75723" cy="75723"/>
                <a:chOff x="7821453" y="4275772"/>
                <a:chExt cx="75723" cy="75723"/>
              </a:xfrm>
            </p:grpSpPr>
            <p:sp>
              <p:nvSpPr>
                <p:cNvPr id="16082" name="Freeform: Shape 16081">
                  <a:extLst>
                    <a:ext uri="{FF2B5EF4-FFF2-40B4-BE49-F238E27FC236}">
                      <a16:creationId xmlns:a16="http://schemas.microsoft.com/office/drawing/2014/main" id="{D70E9E75-BFAF-069C-C564-D19483539836}"/>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3" name="Freeform: Shape 16082">
                  <a:extLst>
                    <a:ext uri="{FF2B5EF4-FFF2-40B4-BE49-F238E27FC236}">
                      <a16:creationId xmlns:a16="http://schemas.microsoft.com/office/drawing/2014/main" id="{1E73D0FE-5F06-7ED2-9EC9-1C2FCD16FB2B}"/>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7" name="Graphic 745">
                <a:extLst>
                  <a:ext uri="{FF2B5EF4-FFF2-40B4-BE49-F238E27FC236}">
                    <a16:creationId xmlns:a16="http://schemas.microsoft.com/office/drawing/2014/main" id="{D335DC74-B118-C3C1-9767-C45B4D4525DC}"/>
                  </a:ext>
                </a:extLst>
              </p:cNvPr>
              <p:cNvGrpSpPr/>
              <p:nvPr/>
            </p:nvGrpSpPr>
            <p:grpSpPr>
              <a:xfrm>
                <a:off x="7807737" y="4275772"/>
                <a:ext cx="75628" cy="75723"/>
                <a:chOff x="7807737" y="4275772"/>
                <a:chExt cx="75628" cy="75723"/>
              </a:xfrm>
            </p:grpSpPr>
            <p:sp>
              <p:nvSpPr>
                <p:cNvPr id="16080" name="Freeform: Shape 16079">
                  <a:extLst>
                    <a:ext uri="{FF2B5EF4-FFF2-40B4-BE49-F238E27FC236}">
                      <a16:creationId xmlns:a16="http://schemas.microsoft.com/office/drawing/2014/main" id="{17CB7868-9291-AB0A-209B-0B7864072248}"/>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81" name="Freeform: Shape 16080">
                  <a:extLst>
                    <a:ext uri="{FF2B5EF4-FFF2-40B4-BE49-F238E27FC236}">
                      <a16:creationId xmlns:a16="http://schemas.microsoft.com/office/drawing/2014/main" id="{57E469DA-9610-835B-F807-05D777BB724C}"/>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8" name="Graphic 745">
                <a:extLst>
                  <a:ext uri="{FF2B5EF4-FFF2-40B4-BE49-F238E27FC236}">
                    <a16:creationId xmlns:a16="http://schemas.microsoft.com/office/drawing/2014/main" id="{0A16F15A-F418-DB96-90F9-9433F83B24AC}"/>
                  </a:ext>
                </a:extLst>
              </p:cNvPr>
              <p:cNvGrpSpPr/>
              <p:nvPr/>
            </p:nvGrpSpPr>
            <p:grpSpPr>
              <a:xfrm>
                <a:off x="8174545" y="4275772"/>
                <a:ext cx="75628" cy="75723"/>
                <a:chOff x="8174545" y="4275772"/>
                <a:chExt cx="75628" cy="75723"/>
              </a:xfrm>
            </p:grpSpPr>
            <p:sp>
              <p:nvSpPr>
                <p:cNvPr id="16078" name="Freeform: Shape 16077">
                  <a:extLst>
                    <a:ext uri="{FF2B5EF4-FFF2-40B4-BE49-F238E27FC236}">
                      <a16:creationId xmlns:a16="http://schemas.microsoft.com/office/drawing/2014/main" id="{6A410B24-DCA3-40E5-80D2-89241D297DED}"/>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9" name="Freeform: Shape 16078">
                  <a:extLst>
                    <a:ext uri="{FF2B5EF4-FFF2-40B4-BE49-F238E27FC236}">
                      <a16:creationId xmlns:a16="http://schemas.microsoft.com/office/drawing/2014/main" id="{8A1916E4-2D4A-4C3B-B7A1-DCF95841F278}"/>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9" name="Graphic 745">
                <a:extLst>
                  <a:ext uri="{FF2B5EF4-FFF2-40B4-BE49-F238E27FC236}">
                    <a16:creationId xmlns:a16="http://schemas.microsoft.com/office/drawing/2014/main" id="{3D32738F-D5E0-17D7-55BA-93754AD99843}"/>
                  </a:ext>
                </a:extLst>
              </p:cNvPr>
              <p:cNvGrpSpPr/>
              <p:nvPr/>
            </p:nvGrpSpPr>
            <p:grpSpPr>
              <a:xfrm>
                <a:off x="8189118" y="4275772"/>
                <a:ext cx="75723" cy="75723"/>
                <a:chOff x="8189118" y="4275772"/>
                <a:chExt cx="75723" cy="75723"/>
              </a:xfrm>
            </p:grpSpPr>
            <p:sp>
              <p:nvSpPr>
                <p:cNvPr id="16076" name="Freeform: Shape 16075">
                  <a:extLst>
                    <a:ext uri="{FF2B5EF4-FFF2-40B4-BE49-F238E27FC236}">
                      <a16:creationId xmlns:a16="http://schemas.microsoft.com/office/drawing/2014/main" id="{2BF04B6D-23B4-B303-3EB1-4FF7796613ED}"/>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7" name="Freeform: Shape 16076">
                  <a:extLst>
                    <a:ext uri="{FF2B5EF4-FFF2-40B4-BE49-F238E27FC236}">
                      <a16:creationId xmlns:a16="http://schemas.microsoft.com/office/drawing/2014/main" id="{9CF76C3F-259F-F4B1-316C-C81DFC4D61A7}"/>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0" name="Graphic 745">
                <a:extLst>
                  <a:ext uri="{FF2B5EF4-FFF2-40B4-BE49-F238E27FC236}">
                    <a16:creationId xmlns:a16="http://schemas.microsoft.com/office/drawing/2014/main" id="{17767BA8-5610-A993-D045-C9165717F033}"/>
                  </a:ext>
                </a:extLst>
              </p:cNvPr>
              <p:cNvGrpSpPr/>
              <p:nvPr/>
            </p:nvGrpSpPr>
            <p:grpSpPr>
              <a:xfrm>
                <a:off x="8212359" y="4275772"/>
                <a:ext cx="75723" cy="75723"/>
                <a:chOff x="8212359" y="4275772"/>
                <a:chExt cx="75723" cy="75723"/>
              </a:xfrm>
            </p:grpSpPr>
            <p:sp>
              <p:nvSpPr>
                <p:cNvPr id="16074" name="Freeform: Shape 16073">
                  <a:extLst>
                    <a:ext uri="{FF2B5EF4-FFF2-40B4-BE49-F238E27FC236}">
                      <a16:creationId xmlns:a16="http://schemas.microsoft.com/office/drawing/2014/main" id="{56BF9CCB-B301-4503-1EF6-A9EA4ADD0194}"/>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5" name="Freeform: Shape 16074">
                  <a:extLst>
                    <a:ext uri="{FF2B5EF4-FFF2-40B4-BE49-F238E27FC236}">
                      <a16:creationId xmlns:a16="http://schemas.microsoft.com/office/drawing/2014/main" id="{E5337629-9116-376D-63E8-E0ABA58A037F}"/>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1" name="Graphic 745">
                <a:extLst>
                  <a:ext uri="{FF2B5EF4-FFF2-40B4-BE49-F238E27FC236}">
                    <a16:creationId xmlns:a16="http://schemas.microsoft.com/office/drawing/2014/main" id="{FFBC5F97-71FA-3F55-A1A8-DC6D49C58C2C}"/>
                  </a:ext>
                </a:extLst>
              </p:cNvPr>
              <p:cNvGrpSpPr/>
              <p:nvPr/>
            </p:nvGrpSpPr>
            <p:grpSpPr>
              <a:xfrm>
                <a:off x="8226933" y="4275772"/>
                <a:ext cx="75723" cy="75723"/>
                <a:chOff x="8226933" y="4275772"/>
                <a:chExt cx="75723" cy="75723"/>
              </a:xfrm>
            </p:grpSpPr>
            <p:sp>
              <p:nvSpPr>
                <p:cNvPr id="16072" name="Freeform: Shape 16071">
                  <a:extLst>
                    <a:ext uri="{FF2B5EF4-FFF2-40B4-BE49-F238E27FC236}">
                      <a16:creationId xmlns:a16="http://schemas.microsoft.com/office/drawing/2014/main" id="{C2785266-79CE-7926-B747-0A17BBFEA4C8}"/>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073" name="Freeform: Shape 16072">
                  <a:extLst>
                    <a:ext uri="{FF2B5EF4-FFF2-40B4-BE49-F238E27FC236}">
                      <a16:creationId xmlns:a16="http://schemas.microsoft.com/office/drawing/2014/main" id="{1C3DA6EF-5E08-484A-7A85-626C13DD138F}"/>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968" name="Freeform: Shape 15967">
              <a:extLst>
                <a:ext uri="{FF2B5EF4-FFF2-40B4-BE49-F238E27FC236}">
                  <a16:creationId xmlns:a16="http://schemas.microsoft.com/office/drawing/2014/main" id="{98E80940-AB0E-276B-73A4-197AE73CD2E9}"/>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9050"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aphicFrame>
        <p:nvGraphicFramePr>
          <p:cNvPr id="5" name="Table 4">
            <a:extLst>
              <a:ext uri="{FF2B5EF4-FFF2-40B4-BE49-F238E27FC236}">
                <a16:creationId xmlns:a16="http://schemas.microsoft.com/office/drawing/2014/main" id="{E6A0E19C-4F21-8611-2252-8BD5CA647116}"/>
              </a:ext>
            </a:extLst>
          </p:cNvPr>
          <p:cNvGraphicFramePr>
            <a:graphicFrameLocks noGrp="1"/>
          </p:cNvGraphicFramePr>
          <p:nvPr/>
        </p:nvGraphicFramePr>
        <p:xfrm>
          <a:off x="7775261" y="1236129"/>
          <a:ext cx="4212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864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5.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1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6, 0.98)</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3.2</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7</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5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0, 0.9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4</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2, 0.97)</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34.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22.1</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8</a:t>
                      </a: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 </a:t>
                      </a:r>
                      <a:b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48, 0.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grpSp>
        <p:nvGrpSpPr>
          <p:cNvPr id="15321" name="Group 15320">
            <a:extLst>
              <a:ext uri="{FF2B5EF4-FFF2-40B4-BE49-F238E27FC236}">
                <a16:creationId xmlns:a16="http://schemas.microsoft.com/office/drawing/2014/main" id="{B697927B-D582-492F-660B-718153E3AB3A}"/>
              </a:ext>
            </a:extLst>
          </p:cNvPr>
          <p:cNvGrpSpPr/>
          <p:nvPr/>
        </p:nvGrpSpPr>
        <p:grpSpPr>
          <a:xfrm>
            <a:off x="8595610" y="1841319"/>
            <a:ext cx="3422910" cy="4317887"/>
            <a:chOff x="8095933" y="1892105"/>
            <a:chExt cx="3422910" cy="4317887"/>
          </a:xfrm>
        </p:grpSpPr>
        <p:sp>
          <p:nvSpPr>
            <p:cNvPr id="14707" name="Rectangle 14706">
              <a:extLst>
                <a:ext uri="{FF2B5EF4-FFF2-40B4-BE49-F238E27FC236}">
                  <a16:creationId xmlns:a16="http://schemas.microsoft.com/office/drawing/2014/main" id="{E3C8D61A-D7CB-E0BE-6AA0-A262691F4E5B}"/>
                </a:ext>
              </a:extLst>
            </p:cNvPr>
            <p:cNvSpPr/>
            <p:nvPr/>
          </p:nvSpPr>
          <p:spPr>
            <a:xfrm>
              <a:off x="9296400" y="1893537"/>
              <a:ext cx="471948"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5235" name="Group 15234">
              <a:extLst>
                <a:ext uri="{FF2B5EF4-FFF2-40B4-BE49-F238E27FC236}">
                  <a16:creationId xmlns:a16="http://schemas.microsoft.com/office/drawing/2014/main" id="{9877E2AE-0107-E6F3-C3AB-CB1BF3F46671}"/>
                </a:ext>
              </a:extLst>
            </p:cNvPr>
            <p:cNvGrpSpPr/>
            <p:nvPr/>
          </p:nvGrpSpPr>
          <p:grpSpPr>
            <a:xfrm>
              <a:off x="8095933" y="5588589"/>
              <a:ext cx="3422910" cy="621403"/>
              <a:chOff x="6947747" y="5927550"/>
              <a:chExt cx="3422910" cy="621403"/>
            </a:xfrm>
          </p:grpSpPr>
          <p:grpSp>
            <p:nvGrpSpPr>
              <p:cNvPr id="15243" name="Group 15242">
                <a:extLst>
                  <a:ext uri="{FF2B5EF4-FFF2-40B4-BE49-F238E27FC236}">
                    <a16:creationId xmlns:a16="http://schemas.microsoft.com/office/drawing/2014/main" id="{A795B820-B9B3-C12D-9C5D-0E9D4EAB5E7F}"/>
                  </a:ext>
                </a:extLst>
              </p:cNvPr>
              <p:cNvGrpSpPr/>
              <p:nvPr/>
            </p:nvGrpSpPr>
            <p:grpSpPr>
              <a:xfrm>
                <a:off x="6947747" y="6087288"/>
                <a:ext cx="3422910" cy="461665"/>
                <a:chOff x="6947747" y="6076530"/>
                <a:chExt cx="3422910" cy="461665"/>
              </a:xfrm>
            </p:grpSpPr>
            <p:sp>
              <p:nvSpPr>
                <p:cNvPr id="15253" name="TextBox 15252">
                  <a:extLst>
                    <a:ext uri="{FF2B5EF4-FFF2-40B4-BE49-F238E27FC236}">
                      <a16:creationId xmlns:a16="http://schemas.microsoft.com/office/drawing/2014/main" id="{3D3B88B2-624E-ECAF-4C9A-A92C415FF778}"/>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15254" name="TextBox 15253">
                  <a:extLst>
                    <a:ext uri="{FF2B5EF4-FFF2-40B4-BE49-F238E27FC236}">
                      <a16:creationId xmlns:a16="http://schemas.microsoft.com/office/drawing/2014/main" id="{A310359E-0F46-1970-A051-F46E71E3F063}"/>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5255" name="TextBox 15254">
                  <a:extLst>
                    <a:ext uri="{FF2B5EF4-FFF2-40B4-BE49-F238E27FC236}">
                      <a16:creationId xmlns:a16="http://schemas.microsoft.com/office/drawing/2014/main" id="{87F6EA85-C2AE-F84F-36EC-B3B1DC12CBC9}"/>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15256" name="Straight Arrow Connector 15255">
                  <a:extLst>
                    <a:ext uri="{FF2B5EF4-FFF2-40B4-BE49-F238E27FC236}">
                      <a16:creationId xmlns:a16="http://schemas.microsoft.com/office/drawing/2014/main" id="{C9EC96BB-D5FD-667A-2F91-725E0857B6B1}"/>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15257" name="Straight Arrow Connector 15256">
                  <a:extLst>
                    <a:ext uri="{FF2B5EF4-FFF2-40B4-BE49-F238E27FC236}">
                      <a16:creationId xmlns:a16="http://schemas.microsoft.com/office/drawing/2014/main" id="{013BACFB-A8B0-2A93-A6BB-CCC98075569C}"/>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15244" name="Group 15243">
                <a:extLst>
                  <a:ext uri="{FF2B5EF4-FFF2-40B4-BE49-F238E27FC236}">
                    <a16:creationId xmlns:a16="http://schemas.microsoft.com/office/drawing/2014/main" id="{E185FF19-31B3-A43C-4192-857D58E24D4B}"/>
                  </a:ext>
                </a:extLst>
              </p:cNvPr>
              <p:cNvGrpSpPr/>
              <p:nvPr/>
            </p:nvGrpSpPr>
            <p:grpSpPr>
              <a:xfrm>
                <a:off x="7582437" y="5927550"/>
                <a:ext cx="2101516" cy="257932"/>
                <a:chOff x="7582437" y="5927550"/>
                <a:chExt cx="2101516" cy="257932"/>
              </a:xfrm>
            </p:grpSpPr>
            <p:cxnSp>
              <p:nvCxnSpPr>
                <p:cNvPr id="15245" name="Straight Connector 15244">
                  <a:extLst>
                    <a:ext uri="{FF2B5EF4-FFF2-40B4-BE49-F238E27FC236}">
                      <a16:creationId xmlns:a16="http://schemas.microsoft.com/office/drawing/2014/main" id="{22812BAB-44AC-8D87-5AB2-27C3BB5A54E0}"/>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15246" name="TextBox 15245">
                  <a:extLst>
                    <a:ext uri="{FF2B5EF4-FFF2-40B4-BE49-F238E27FC236}">
                      <a16:creationId xmlns:a16="http://schemas.microsoft.com/office/drawing/2014/main" id="{64C3F379-846C-F95C-643A-30308A0A69FD}"/>
                    </a:ext>
                  </a:extLst>
                </p:cNvPr>
                <p:cNvSpPr txBox="1"/>
                <p:nvPr/>
              </p:nvSpPr>
              <p:spPr>
                <a:xfrm>
                  <a:off x="8407186"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15247" name="TextBox 15246">
                  <a:extLst>
                    <a:ext uri="{FF2B5EF4-FFF2-40B4-BE49-F238E27FC236}">
                      <a16:creationId xmlns:a16="http://schemas.microsoft.com/office/drawing/2014/main" id="{49D0F03F-B576-C6C0-A9F0-70294B940C56}"/>
                    </a:ext>
                  </a:extLst>
                </p:cNvPr>
                <p:cNvSpPr txBox="1"/>
                <p:nvPr/>
              </p:nvSpPr>
              <p:spPr>
                <a:xfrm>
                  <a:off x="9236278"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15248" name="TextBox 15247">
                  <a:extLst>
                    <a:ext uri="{FF2B5EF4-FFF2-40B4-BE49-F238E27FC236}">
                      <a16:creationId xmlns:a16="http://schemas.microsoft.com/office/drawing/2014/main" id="{A39F0829-E8EB-211F-D352-F81931C3A987}"/>
                    </a:ext>
                  </a:extLst>
                </p:cNvPr>
                <p:cNvSpPr txBox="1"/>
                <p:nvPr/>
              </p:nvSpPr>
              <p:spPr>
                <a:xfrm>
                  <a:off x="7582437" y="5932911"/>
                  <a:ext cx="447675" cy="2525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15249" name="Group 15248">
                  <a:extLst>
                    <a:ext uri="{FF2B5EF4-FFF2-40B4-BE49-F238E27FC236}">
                      <a16:creationId xmlns:a16="http://schemas.microsoft.com/office/drawing/2014/main" id="{1328AA3F-80E5-A395-86AE-D091A98794CD}"/>
                    </a:ext>
                  </a:extLst>
                </p:cNvPr>
                <p:cNvGrpSpPr/>
                <p:nvPr/>
              </p:nvGrpSpPr>
              <p:grpSpPr>
                <a:xfrm>
                  <a:off x="7805497" y="5927550"/>
                  <a:ext cx="1653165" cy="34485"/>
                  <a:chOff x="7799955" y="5927550"/>
                  <a:chExt cx="1653165" cy="34485"/>
                </a:xfrm>
              </p:grpSpPr>
              <p:cxnSp>
                <p:nvCxnSpPr>
                  <p:cNvPr id="15250" name="Straight Connector 15249">
                    <a:extLst>
                      <a:ext uri="{FF2B5EF4-FFF2-40B4-BE49-F238E27FC236}">
                        <a16:creationId xmlns:a16="http://schemas.microsoft.com/office/drawing/2014/main" id="{50FEFC2C-BC90-7358-D3C0-919C1AD84EDA}"/>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15251" name="Straight Connector 15250">
                    <a:extLst>
                      <a:ext uri="{FF2B5EF4-FFF2-40B4-BE49-F238E27FC236}">
                        <a16:creationId xmlns:a16="http://schemas.microsoft.com/office/drawing/2014/main" id="{FCC603AA-98B2-4B4F-F94B-B88CA62EF4F4}"/>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15252" name="Straight Connector 15251">
                    <a:extLst>
                      <a:ext uri="{FF2B5EF4-FFF2-40B4-BE49-F238E27FC236}">
                        <a16:creationId xmlns:a16="http://schemas.microsoft.com/office/drawing/2014/main" id="{DBE3AC0C-2714-0D43-7A90-7E42979203CC}"/>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14715" name="Group 14714">
              <a:extLst>
                <a:ext uri="{FF2B5EF4-FFF2-40B4-BE49-F238E27FC236}">
                  <a16:creationId xmlns:a16="http://schemas.microsoft.com/office/drawing/2014/main" id="{8C0C2AA7-A2D9-F8AC-EA2C-2AF4CE0DF3AD}"/>
                </a:ext>
              </a:extLst>
            </p:cNvPr>
            <p:cNvGrpSpPr>
              <a:grpSpLocks/>
            </p:cNvGrpSpPr>
            <p:nvPr/>
          </p:nvGrpSpPr>
          <p:grpSpPr>
            <a:xfrm>
              <a:off x="8995305" y="4125526"/>
              <a:ext cx="752890" cy="162000"/>
              <a:chOff x="4774830" y="5018189"/>
              <a:chExt cx="752890" cy="162000"/>
            </a:xfrm>
          </p:grpSpPr>
          <p:sp>
            <p:nvSpPr>
              <p:cNvPr id="15288" name="Oval 15287">
                <a:extLst>
                  <a:ext uri="{FF2B5EF4-FFF2-40B4-BE49-F238E27FC236}">
                    <a16:creationId xmlns:a16="http://schemas.microsoft.com/office/drawing/2014/main" id="{38A6241E-F6E5-6C91-A382-69AA7C0E5010}"/>
                  </a:ext>
                </a:extLst>
              </p:cNvPr>
              <p:cNvSpPr>
                <a:spLocks/>
              </p:cNvSpPr>
              <p:nvPr/>
            </p:nvSpPr>
            <p:spPr>
              <a:xfrm>
                <a:off x="5105989"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89" name="Group 15288">
                <a:extLst>
                  <a:ext uri="{FF2B5EF4-FFF2-40B4-BE49-F238E27FC236}">
                    <a16:creationId xmlns:a16="http://schemas.microsoft.com/office/drawing/2014/main" id="{B683AB98-18CF-1815-3201-C97015FC4201}"/>
                  </a:ext>
                </a:extLst>
              </p:cNvPr>
              <p:cNvGrpSpPr>
                <a:grpSpLocks/>
              </p:cNvGrpSpPr>
              <p:nvPr/>
            </p:nvGrpSpPr>
            <p:grpSpPr>
              <a:xfrm>
                <a:off x="4774830" y="5018189"/>
                <a:ext cx="752890" cy="162000"/>
                <a:chOff x="3115805" y="2070402"/>
                <a:chExt cx="140336" cy="162000"/>
              </a:xfrm>
            </p:grpSpPr>
            <p:cxnSp>
              <p:nvCxnSpPr>
                <p:cNvPr id="15290" name="Straight Connector 15289">
                  <a:extLst>
                    <a:ext uri="{FF2B5EF4-FFF2-40B4-BE49-F238E27FC236}">
                      <a16:creationId xmlns:a16="http://schemas.microsoft.com/office/drawing/2014/main" id="{E1C01A6D-56AE-9D35-FC68-56DBE8E0B989}"/>
                    </a:ext>
                  </a:extLst>
                </p:cNvPr>
                <p:cNvCxnSpPr>
                  <a:cxnSpLocks/>
                </p:cNvCxnSpPr>
                <p:nvPr/>
              </p:nvCxnSpPr>
              <p:spPr>
                <a:xfrm>
                  <a:off x="3115805" y="2070402"/>
                  <a:ext cx="0" cy="162000"/>
                </a:xfrm>
                <a:prstGeom prst="line">
                  <a:avLst/>
                </a:prstGeom>
                <a:noFill/>
                <a:ln w="9525" cap="flat" cmpd="sng" algn="ctr">
                  <a:solidFill>
                    <a:srgbClr val="000000"/>
                  </a:solidFill>
                  <a:prstDash val="solid"/>
                </a:ln>
                <a:effectLst/>
              </p:spPr>
            </p:cxnSp>
            <p:cxnSp>
              <p:nvCxnSpPr>
                <p:cNvPr id="15291" name="Straight Connector 15290">
                  <a:extLst>
                    <a:ext uri="{FF2B5EF4-FFF2-40B4-BE49-F238E27FC236}">
                      <a16:creationId xmlns:a16="http://schemas.microsoft.com/office/drawing/2014/main" id="{D8BD253D-BE4C-41A5-B484-0681201CF525}"/>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15292" name="Straight Connector 15291">
                  <a:extLst>
                    <a:ext uri="{FF2B5EF4-FFF2-40B4-BE49-F238E27FC236}">
                      <a16:creationId xmlns:a16="http://schemas.microsoft.com/office/drawing/2014/main" id="{3E0C8A33-4CA1-0905-810F-31553BCEBB3F}"/>
                    </a:ext>
                  </a:extLst>
                </p:cNvPr>
                <p:cNvCxnSpPr>
                  <a:cxnSpLocks/>
                </p:cNvCxnSpPr>
                <p:nvPr/>
              </p:nvCxnSpPr>
              <p:spPr>
                <a:xfrm flipH="1">
                  <a:off x="3115805" y="2151402"/>
                  <a:ext cx="140336" cy="0"/>
                </a:xfrm>
                <a:prstGeom prst="line">
                  <a:avLst/>
                </a:prstGeom>
                <a:noFill/>
                <a:ln w="9525" cap="flat" cmpd="sng" algn="ctr">
                  <a:solidFill>
                    <a:srgbClr val="000000"/>
                  </a:solidFill>
                  <a:prstDash val="solid"/>
                </a:ln>
                <a:effectLst/>
              </p:spPr>
            </p:cxnSp>
          </p:grpSp>
        </p:grpSp>
        <p:grpSp>
          <p:nvGrpSpPr>
            <p:cNvPr id="14718" name="Group 14717">
              <a:extLst>
                <a:ext uri="{FF2B5EF4-FFF2-40B4-BE49-F238E27FC236}">
                  <a16:creationId xmlns:a16="http://schemas.microsoft.com/office/drawing/2014/main" id="{A9FFD014-236A-2F9C-3B44-A68C390166E1}"/>
                </a:ext>
              </a:extLst>
            </p:cNvPr>
            <p:cNvGrpSpPr>
              <a:grpSpLocks/>
            </p:cNvGrpSpPr>
            <p:nvPr/>
          </p:nvGrpSpPr>
          <p:grpSpPr>
            <a:xfrm>
              <a:off x="8904210" y="5052014"/>
              <a:ext cx="832326" cy="162000"/>
              <a:chOff x="4829944" y="4340228"/>
              <a:chExt cx="832326" cy="162000"/>
            </a:xfrm>
          </p:grpSpPr>
          <p:sp>
            <p:nvSpPr>
              <p:cNvPr id="15273" name="Oval 15272">
                <a:extLst>
                  <a:ext uri="{FF2B5EF4-FFF2-40B4-BE49-F238E27FC236}">
                    <a16:creationId xmlns:a16="http://schemas.microsoft.com/office/drawing/2014/main" id="{AD30C4ED-0446-B742-C3AD-74735CE87665}"/>
                  </a:ext>
                </a:extLst>
              </p:cNvPr>
              <p:cNvSpPr>
                <a:spLocks/>
              </p:cNvSpPr>
              <p:nvPr/>
            </p:nvSpPr>
            <p:spPr>
              <a:xfrm>
                <a:off x="5204682" y="4376228"/>
                <a:ext cx="90000" cy="90000"/>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74" name="Group 15273">
                <a:extLst>
                  <a:ext uri="{FF2B5EF4-FFF2-40B4-BE49-F238E27FC236}">
                    <a16:creationId xmlns:a16="http://schemas.microsoft.com/office/drawing/2014/main" id="{A4CD8646-15AC-615F-D911-787DF277EB46}"/>
                  </a:ext>
                </a:extLst>
              </p:cNvPr>
              <p:cNvGrpSpPr>
                <a:grpSpLocks/>
              </p:cNvGrpSpPr>
              <p:nvPr/>
            </p:nvGrpSpPr>
            <p:grpSpPr>
              <a:xfrm>
                <a:off x="4829944" y="4340228"/>
                <a:ext cx="832326" cy="162000"/>
                <a:chOff x="3115219" y="2070402"/>
                <a:chExt cx="108588" cy="162000"/>
              </a:xfrm>
            </p:grpSpPr>
            <p:cxnSp>
              <p:nvCxnSpPr>
                <p:cNvPr id="15277" name="Straight Connector 15276">
                  <a:extLst>
                    <a:ext uri="{FF2B5EF4-FFF2-40B4-BE49-F238E27FC236}">
                      <a16:creationId xmlns:a16="http://schemas.microsoft.com/office/drawing/2014/main" id="{64AB7F5E-9CC7-F949-B365-8EF127D33E62}"/>
                    </a:ext>
                  </a:extLst>
                </p:cNvPr>
                <p:cNvCxnSpPr>
                  <a:cxnSpLocks/>
                </p:cNvCxnSpPr>
                <p:nvPr/>
              </p:nvCxnSpPr>
              <p:spPr>
                <a:xfrm flipH="1">
                  <a:off x="3115219" y="2151402"/>
                  <a:ext cx="108493" cy="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5" name="Straight Connector 15274">
                  <a:extLst>
                    <a:ext uri="{FF2B5EF4-FFF2-40B4-BE49-F238E27FC236}">
                      <a16:creationId xmlns:a16="http://schemas.microsoft.com/office/drawing/2014/main" id="{4489B298-4FB0-391C-0AEA-44458947C146}"/>
                    </a:ext>
                  </a:extLst>
                </p:cNvPr>
                <p:cNvCxnSpPr>
                  <a:cxnSpLocks/>
                </p:cNvCxnSpPr>
                <p:nvPr/>
              </p:nvCxnSpPr>
              <p:spPr>
                <a:xfrm>
                  <a:off x="3115805" y="2070402"/>
                  <a:ext cx="0" cy="162000"/>
                </a:xfrm>
                <a:prstGeom prst="line">
                  <a:avLst/>
                </a:prstGeom>
                <a:solidFill>
                  <a:schemeClr val="tx2">
                    <a:lumMod val="75000"/>
                    <a:lumOff val="25000"/>
                  </a:schemeClr>
                </a:solidFill>
                <a:ln w="9525" cap="flat" cmpd="sng" algn="ctr">
                  <a:solidFill>
                    <a:srgbClr val="000000"/>
                  </a:solidFill>
                  <a:prstDash val="solid"/>
                </a:ln>
                <a:effectLst/>
              </p:spPr>
            </p:cxnSp>
            <p:cxnSp>
              <p:nvCxnSpPr>
                <p:cNvPr id="15276" name="Straight Connector 15275">
                  <a:extLst>
                    <a:ext uri="{FF2B5EF4-FFF2-40B4-BE49-F238E27FC236}">
                      <a16:creationId xmlns:a16="http://schemas.microsoft.com/office/drawing/2014/main" id="{896D539D-8295-8DB3-EF67-1899F6A2E51C}"/>
                    </a:ext>
                  </a:extLst>
                </p:cNvPr>
                <p:cNvCxnSpPr>
                  <a:cxnSpLocks/>
                </p:cNvCxnSpPr>
                <p:nvPr/>
              </p:nvCxnSpPr>
              <p:spPr>
                <a:xfrm>
                  <a:off x="3223807" y="2070402"/>
                  <a:ext cx="0" cy="162000"/>
                </a:xfrm>
                <a:prstGeom prst="line">
                  <a:avLst/>
                </a:prstGeom>
                <a:solidFill>
                  <a:schemeClr val="tx2">
                    <a:lumMod val="75000"/>
                    <a:lumOff val="25000"/>
                  </a:schemeClr>
                </a:solidFill>
                <a:ln w="9525" cap="flat" cmpd="sng" algn="ctr">
                  <a:solidFill>
                    <a:srgbClr val="000000"/>
                  </a:solidFill>
                  <a:prstDash val="solid"/>
                </a:ln>
                <a:effectLst/>
              </p:spPr>
            </p:cxnSp>
          </p:grpSp>
        </p:grpSp>
        <p:grpSp>
          <p:nvGrpSpPr>
            <p:cNvPr id="15233" name="Group 15232">
              <a:extLst>
                <a:ext uri="{FF2B5EF4-FFF2-40B4-BE49-F238E27FC236}">
                  <a16:creationId xmlns:a16="http://schemas.microsoft.com/office/drawing/2014/main" id="{9B6FE96C-4EA4-5801-9FBD-50B9ABA173CA}"/>
                </a:ext>
              </a:extLst>
            </p:cNvPr>
            <p:cNvGrpSpPr>
              <a:grpSpLocks/>
            </p:cNvGrpSpPr>
            <p:nvPr/>
          </p:nvGrpSpPr>
          <p:grpSpPr>
            <a:xfrm>
              <a:off x="9187327" y="3180927"/>
              <a:ext cx="515622" cy="203289"/>
              <a:chOff x="4713766" y="3682352"/>
              <a:chExt cx="515622" cy="203289"/>
            </a:xfrm>
          </p:grpSpPr>
          <p:sp>
            <p:nvSpPr>
              <p:cNvPr id="15258" name="Oval 15257">
                <a:extLst>
                  <a:ext uri="{FF2B5EF4-FFF2-40B4-BE49-F238E27FC236}">
                    <a16:creationId xmlns:a16="http://schemas.microsoft.com/office/drawing/2014/main" id="{A207C734-C265-ED26-BD45-1DCAF8332FC6}"/>
                  </a:ext>
                </a:extLst>
              </p:cNvPr>
              <p:cNvSpPr>
                <a:spLocks/>
              </p:cNvSpPr>
              <p:nvPr/>
            </p:nvSpPr>
            <p:spPr>
              <a:xfrm>
                <a:off x="4869933"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259" name="Group 15258">
                <a:extLst>
                  <a:ext uri="{FF2B5EF4-FFF2-40B4-BE49-F238E27FC236}">
                    <a16:creationId xmlns:a16="http://schemas.microsoft.com/office/drawing/2014/main" id="{FB48D0DB-6899-31D3-1C25-0DF94A41C435}"/>
                  </a:ext>
                </a:extLst>
              </p:cNvPr>
              <p:cNvGrpSpPr>
                <a:grpSpLocks/>
              </p:cNvGrpSpPr>
              <p:nvPr/>
            </p:nvGrpSpPr>
            <p:grpSpPr>
              <a:xfrm>
                <a:off x="4713766" y="3702996"/>
                <a:ext cx="515622" cy="162000"/>
                <a:chOff x="3115805" y="2073465"/>
                <a:chExt cx="89927" cy="162000"/>
              </a:xfrm>
            </p:grpSpPr>
            <p:cxnSp>
              <p:nvCxnSpPr>
                <p:cNvPr id="15260" name="Straight Connector 15259">
                  <a:extLst>
                    <a:ext uri="{FF2B5EF4-FFF2-40B4-BE49-F238E27FC236}">
                      <a16:creationId xmlns:a16="http://schemas.microsoft.com/office/drawing/2014/main" id="{3458FDC1-AF9A-639B-CF04-4FD99E560296}"/>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15261" name="Straight Connector 15260">
                  <a:extLst>
                    <a:ext uri="{FF2B5EF4-FFF2-40B4-BE49-F238E27FC236}">
                      <a16:creationId xmlns:a16="http://schemas.microsoft.com/office/drawing/2014/main" id="{A7B63220-7D3E-4408-FA32-D11743C2DFCD}"/>
                    </a:ext>
                  </a:extLst>
                </p:cNvPr>
                <p:cNvCxnSpPr>
                  <a:cxnSpLocks/>
                </p:cNvCxnSpPr>
                <p:nvPr/>
              </p:nvCxnSpPr>
              <p:spPr>
                <a:xfrm>
                  <a:off x="3205163" y="2073465"/>
                  <a:ext cx="0" cy="162000"/>
                </a:xfrm>
                <a:prstGeom prst="line">
                  <a:avLst/>
                </a:prstGeom>
                <a:noFill/>
                <a:ln w="9525" cap="flat" cmpd="sng" algn="ctr">
                  <a:solidFill>
                    <a:srgbClr val="000000"/>
                  </a:solidFill>
                  <a:prstDash val="solid"/>
                </a:ln>
                <a:effectLst/>
              </p:spPr>
            </p:cxnSp>
            <p:cxnSp>
              <p:nvCxnSpPr>
                <p:cNvPr id="15262" name="Straight Connector 15261">
                  <a:extLst>
                    <a:ext uri="{FF2B5EF4-FFF2-40B4-BE49-F238E27FC236}">
                      <a16:creationId xmlns:a16="http://schemas.microsoft.com/office/drawing/2014/main" id="{E8A14E1D-104E-0731-A770-829F3927175E}"/>
                    </a:ext>
                  </a:extLst>
                </p:cNvPr>
                <p:cNvCxnSpPr>
                  <a:cxnSpLocks/>
                </p:cNvCxnSpPr>
                <p:nvPr/>
              </p:nvCxnSpPr>
              <p:spPr>
                <a:xfrm flipH="1">
                  <a:off x="3115805" y="2154465"/>
                  <a:ext cx="89927" cy="0"/>
                </a:xfrm>
                <a:prstGeom prst="line">
                  <a:avLst/>
                </a:prstGeom>
                <a:noFill/>
                <a:ln w="9525" cap="flat" cmpd="sng" algn="ctr">
                  <a:solidFill>
                    <a:srgbClr val="000000"/>
                  </a:solidFill>
                  <a:prstDash val="solid"/>
                </a:ln>
                <a:effectLst/>
              </p:spPr>
            </p:cxnSp>
          </p:grpSp>
        </p:grpSp>
        <p:cxnSp>
          <p:nvCxnSpPr>
            <p:cNvPr id="15234" name="Straight Connector 15233">
              <a:extLst>
                <a:ext uri="{FF2B5EF4-FFF2-40B4-BE49-F238E27FC236}">
                  <a16:creationId xmlns:a16="http://schemas.microsoft.com/office/drawing/2014/main" id="{D17C0670-A4BC-4FB9-7E28-D40080903E69}"/>
                </a:ext>
              </a:extLst>
            </p:cNvPr>
            <p:cNvCxnSpPr>
              <a:cxnSpLocks/>
            </p:cNvCxnSpPr>
            <p:nvPr/>
          </p:nvCxnSpPr>
          <p:spPr>
            <a:xfrm>
              <a:off x="9782256" y="1892105"/>
              <a:ext cx="0" cy="3696484"/>
            </a:xfrm>
            <a:prstGeom prst="line">
              <a:avLst/>
            </a:prstGeom>
            <a:noFill/>
            <a:ln w="9525" cap="flat" cmpd="sng" algn="ctr">
              <a:solidFill>
                <a:srgbClr val="000000"/>
              </a:solidFill>
              <a:prstDash val="dash"/>
            </a:ln>
            <a:effectLst/>
          </p:spPr>
        </p:cxnSp>
        <p:grpSp>
          <p:nvGrpSpPr>
            <p:cNvPr id="15310" name="Group 15309">
              <a:extLst>
                <a:ext uri="{FF2B5EF4-FFF2-40B4-BE49-F238E27FC236}">
                  <a16:creationId xmlns:a16="http://schemas.microsoft.com/office/drawing/2014/main" id="{5DC369AD-277C-BD6D-C941-17B73886CFF5}"/>
                </a:ext>
              </a:extLst>
            </p:cNvPr>
            <p:cNvGrpSpPr>
              <a:grpSpLocks/>
            </p:cNvGrpSpPr>
            <p:nvPr/>
          </p:nvGrpSpPr>
          <p:grpSpPr>
            <a:xfrm>
              <a:off x="9291527" y="2236222"/>
              <a:ext cx="467997" cy="231865"/>
              <a:chOff x="4760816" y="3665683"/>
              <a:chExt cx="467997" cy="231865"/>
            </a:xfrm>
          </p:grpSpPr>
          <p:sp>
            <p:nvSpPr>
              <p:cNvPr id="15311" name="Oval 15310">
                <a:extLst>
                  <a:ext uri="{FF2B5EF4-FFF2-40B4-BE49-F238E27FC236}">
                    <a16:creationId xmlns:a16="http://schemas.microsoft.com/office/drawing/2014/main" id="{12361220-DD4C-08C8-B57A-0DD4B4DC84F6}"/>
                  </a:ext>
                </a:extLst>
              </p:cNvPr>
              <p:cNvSpPr>
                <a:spLocks/>
              </p:cNvSpPr>
              <p:nvPr/>
            </p:nvSpPr>
            <p:spPr>
              <a:xfrm>
                <a:off x="4880114" y="3665683"/>
                <a:ext cx="231865" cy="231865"/>
              </a:xfrm>
              <a:prstGeom prst="ellipse">
                <a:avLst/>
              </a:prstGeom>
              <a:solidFill>
                <a:srgbClr val="0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5312" name="Group 15311">
                <a:extLst>
                  <a:ext uri="{FF2B5EF4-FFF2-40B4-BE49-F238E27FC236}">
                    <a16:creationId xmlns:a16="http://schemas.microsoft.com/office/drawing/2014/main" id="{6DB5D77B-1D84-E344-73A8-A1A66B0E38CC}"/>
                  </a:ext>
                </a:extLst>
              </p:cNvPr>
              <p:cNvGrpSpPr>
                <a:grpSpLocks/>
              </p:cNvGrpSpPr>
              <p:nvPr/>
            </p:nvGrpSpPr>
            <p:grpSpPr>
              <a:xfrm>
                <a:off x="4760816" y="3700615"/>
                <a:ext cx="467997" cy="162000"/>
                <a:chOff x="3124012" y="2071084"/>
                <a:chExt cx="81621" cy="162000"/>
              </a:xfrm>
            </p:grpSpPr>
            <p:cxnSp>
              <p:nvCxnSpPr>
                <p:cNvPr id="15313" name="Straight Connector 15312">
                  <a:extLst>
                    <a:ext uri="{FF2B5EF4-FFF2-40B4-BE49-F238E27FC236}">
                      <a16:creationId xmlns:a16="http://schemas.microsoft.com/office/drawing/2014/main" id="{CCECD499-6D05-1C2C-1EC6-8C02B96F1AA1}"/>
                    </a:ext>
                  </a:extLst>
                </p:cNvPr>
                <p:cNvCxnSpPr>
                  <a:cxnSpLocks/>
                </p:cNvCxnSpPr>
                <p:nvPr/>
              </p:nvCxnSpPr>
              <p:spPr>
                <a:xfrm>
                  <a:off x="3124526" y="2071084"/>
                  <a:ext cx="0" cy="162000"/>
                </a:xfrm>
                <a:prstGeom prst="line">
                  <a:avLst/>
                </a:prstGeom>
                <a:noFill/>
                <a:ln w="9525" cap="flat" cmpd="sng" algn="ctr">
                  <a:solidFill>
                    <a:srgbClr val="000000"/>
                  </a:solidFill>
                  <a:prstDash val="solid"/>
                </a:ln>
                <a:effectLst/>
              </p:spPr>
            </p:cxnSp>
            <p:cxnSp>
              <p:nvCxnSpPr>
                <p:cNvPr id="15314" name="Straight Connector 15313">
                  <a:extLst>
                    <a:ext uri="{FF2B5EF4-FFF2-40B4-BE49-F238E27FC236}">
                      <a16:creationId xmlns:a16="http://schemas.microsoft.com/office/drawing/2014/main" id="{D250C3FE-C318-7571-A6EF-CFED38DA929D}"/>
                    </a:ext>
                  </a:extLst>
                </p:cNvPr>
                <p:cNvCxnSpPr>
                  <a:cxnSpLocks/>
                </p:cNvCxnSpPr>
                <p:nvPr/>
              </p:nvCxnSpPr>
              <p:spPr>
                <a:xfrm>
                  <a:off x="3205163" y="2071084"/>
                  <a:ext cx="0" cy="162000"/>
                </a:xfrm>
                <a:prstGeom prst="line">
                  <a:avLst/>
                </a:prstGeom>
                <a:noFill/>
                <a:ln w="9525" cap="flat" cmpd="sng" algn="ctr">
                  <a:solidFill>
                    <a:srgbClr val="000000"/>
                  </a:solidFill>
                  <a:prstDash val="solid"/>
                </a:ln>
                <a:effectLst/>
              </p:spPr>
            </p:cxnSp>
            <p:cxnSp>
              <p:nvCxnSpPr>
                <p:cNvPr id="15315" name="Straight Connector 15314">
                  <a:extLst>
                    <a:ext uri="{FF2B5EF4-FFF2-40B4-BE49-F238E27FC236}">
                      <a16:creationId xmlns:a16="http://schemas.microsoft.com/office/drawing/2014/main" id="{FB73615D-9DD0-93A3-58F0-567C425D528D}"/>
                    </a:ext>
                  </a:extLst>
                </p:cNvPr>
                <p:cNvCxnSpPr>
                  <a:cxnSpLocks/>
                </p:cNvCxnSpPr>
                <p:nvPr/>
              </p:nvCxnSpPr>
              <p:spPr>
                <a:xfrm flipH="1">
                  <a:off x="3124012" y="2152084"/>
                  <a:ext cx="81621" cy="0"/>
                </a:xfrm>
                <a:prstGeom prst="line">
                  <a:avLst/>
                </a:prstGeom>
                <a:noFill/>
                <a:ln w="9525" cap="flat" cmpd="sng" algn="ctr">
                  <a:solidFill>
                    <a:srgbClr val="000000"/>
                  </a:solidFill>
                  <a:prstDash val="solid"/>
                </a:ln>
                <a:effectLst/>
              </p:spPr>
            </p:cxnSp>
          </p:grpSp>
        </p:grpSp>
      </p:grpSp>
      <p:sp>
        <p:nvSpPr>
          <p:cNvPr id="2" name="Text Placeholder 1">
            <a:extLst>
              <a:ext uri="{FF2B5EF4-FFF2-40B4-BE49-F238E27FC236}">
                <a16:creationId xmlns:a16="http://schemas.microsoft.com/office/drawing/2014/main" id="{7D55A3B8-1C35-5567-0FBB-09DA781728FB}"/>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3182" name="Rectangle 13181" hidden="1">
            <a:extLst>
              <a:ext uri="{FF2B5EF4-FFF2-40B4-BE49-F238E27FC236}">
                <a16:creationId xmlns:a16="http://schemas.microsoft.com/office/drawing/2014/main" id="{8F1755C2-D264-5372-93DD-5E9DDC39D271}"/>
              </a:ext>
            </a:extLst>
          </p:cNvPr>
          <p:cNvSpPr/>
          <p:nvPr/>
        </p:nvSpPr>
        <p:spPr>
          <a:xfrm>
            <a:off x="1058627" y="1036320"/>
            <a:ext cx="1090624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827" name="Group 13826" hidden="1">
            <a:extLst>
              <a:ext uri="{FF2B5EF4-FFF2-40B4-BE49-F238E27FC236}">
                <a16:creationId xmlns:a16="http://schemas.microsoft.com/office/drawing/2014/main" id="{99F292BF-4C3A-D3A3-190B-6A0E850A4DAA}"/>
              </a:ext>
            </a:extLst>
          </p:cNvPr>
          <p:cNvGrpSpPr/>
          <p:nvPr/>
        </p:nvGrpSpPr>
        <p:grpSpPr>
          <a:xfrm>
            <a:off x="1029138" y="1428910"/>
            <a:ext cx="6539443" cy="2233885"/>
            <a:chOff x="997650" y="1428910"/>
            <a:chExt cx="6133905" cy="2233885"/>
          </a:xfrm>
        </p:grpSpPr>
        <p:grpSp>
          <p:nvGrpSpPr>
            <p:cNvPr id="13828" name="Group 13827">
              <a:extLst>
                <a:ext uri="{FF2B5EF4-FFF2-40B4-BE49-F238E27FC236}">
                  <a16:creationId xmlns:a16="http://schemas.microsoft.com/office/drawing/2014/main" id="{C0F6441C-A3A1-D95C-60B3-2804110863D0}"/>
                </a:ext>
              </a:extLst>
            </p:cNvPr>
            <p:cNvGrpSpPr/>
            <p:nvPr/>
          </p:nvGrpSpPr>
          <p:grpSpPr>
            <a:xfrm>
              <a:off x="997650" y="1428910"/>
              <a:ext cx="6127050" cy="2233885"/>
              <a:chOff x="3800475" y="2590800"/>
              <a:chExt cx="4593812" cy="1674876"/>
            </a:xfrm>
          </p:grpSpPr>
          <p:grpSp>
            <p:nvGrpSpPr>
              <p:cNvPr id="14030" name="Graphic 1391">
                <a:extLst>
                  <a:ext uri="{FF2B5EF4-FFF2-40B4-BE49-F238E27FC236}">
                    <a16:creationId xmlns:a16="http://schemas.microsoft.com/office/drawing/2014/main" id="{CC125705-A637-0895-2D60-EF90EDA9E289}"/>
                  </a:ext>
                </a:extLst>
              </p:cNvPr>
              <p:cNvGrpSpPr/>
              <p:nvPr/>
            </p:nvGrpSpPr>
            <p:grpSpPr>
              <a:xfrm>
                <a:off x="3800475" y="2590800"/>
                <a:ext cx="4593812" cy="1674876"/>
                <a:chOff x="3800475" y="2590800"/>
                <a:chExt cx="4593812" cy="1674876"/>
              </a:xfrm>
            </p:grpSpPr>
            <p:grpSp>
              <p:nvGrpSpPr>
                <p:cNvPr id="14032" name="Graphic 1391">
                  <a:extLst>
                    <a:ext uri="{FF2B5EF4-FFF2-40B4-BE49-F238E27FC236}">
                      <a16:creationId xmlns:a16="http://schemas.microsoft.com/office/drawing/2014/main" id="{0642E93F-9C75-F78B-FBF7-FB6957E614F1}"/>
                    </a:ext>
                  </a:extLst>
                </p:cNvPr>
                <p:cNvGrpSpPr/>
                <p:nvPr/>
              </p:nvGrpSpPr>
              <p:grpSpPr>
                <a:xfrm>
                  <a:off x="8318563" y="4189952"/>
                  <a:ext cx="75723" cy="75723"/>
                  <a:chOff x="8318563" y="4189952"/>
                  <a:chExt cx="75723" cy="75723"/>
                </a:xfrm>
              </p:grpSpPr>
              <p:sp>
                <p:nvSpPr>
                  <p:cNvPr id="14216" name="Freeform: Shape 14215">
                    <a:extLst>
                      <a:ext uri="{FF2B5EF4-FFF2-40B4-BE49-F238E27FC236}">
                        <a16:creationId xmlns:a16="http://schemas.microsoft.com/office/drawing/2014/main" id="{D51F169E-6C8B-B4A2-1AF5-01486AF6B1CC}"/>
                      </a:ext>
                    </a:extLst>
                  </p:cNvPr>
                  <p:cNvSpPr/>
                  <p:nvPr/>
                </p:nvSpPr>
                <p:spPr>
                  <a:xfrm>
                    <a:off x="8356377"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7" name="Freeform: Shape 14216">
                    <a:extLst>
                      <a:ext uri="{FF2B5EF4-FFF2-40B4-BE49-F238E27FC236}">
                        <a16:creationId xmlns:a16="http://schemas.microsoft.com/office/drawing/2014/main" id="{6C4E645D-4C6C-C7F6-6169-A2DD94DE02D3}"/>
                      </a:ext>
                    </a:extLst>
                  </p:cNvPr>
                  <p:cNvSpPr/>
                  <p:nvPr/>
                </p:nvSpPr>
                <p:spPr>
                  <a:xfrm>
                    <a:off x="8318563"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3" name="Graphic 1391">
                  <a:extLst>
                    <a:ext uri="{FF2B5EF4-FFF2-40B4-BE49-F238E27FC236}">
                      <a16:creationId xmlns:a16="http://schemas.microsoft.com/office/drawing/2014/main" id="{9516D82C-5EE5-F9BA-6809-A004E9383DB7}"/>
                    </a:ext>
                  </a:extLst>
                </p:cNvPr>
                <p:cNvGrpSpPr/>
                <p:nvPr/>
              </p:nvGrpSpPr>
              <p:grpSpPr>
                <a:xfrm>
                  <a:off x="7982140" y="4189952"/>
                  <a:ext cx="75723" cy="75723"/>
                  <a:chOff x="7982140" y="4189952"/>
                  <a:chExt cx="75723" cy="75723"/>
                </a:xfrm>
              </p:grpSpPr>
              <p:sp>
                <p:nvSpPr>
                  <p:cNvPr id="14214" name="Freeform: Shape 14213">
                    <a:extLst>
                      <a:ext uri="{FF2B5EF4-FFF2-40B4-BE49-F238E27FC236}">
                        <a16:creationId xmlns:a16="http://schemas.microsoft.com/office/drawing/2014/main" id="{062712D1-8680-ED8F-BBDE-4E1032AF99D1}"/>
                      </a:ext>
                    </a:extLst>
                  </p:cNvPr>
                  <p:cNvSpPr/>
                  <p:nvPr/>
                </p:nvSpPr>
                <p:spPr>
                  <a:xfrm>
                    <a:off x="801995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5" name="Freeform: Shape 14214">
                    <a:extLst>
                      <a:ext uri="{FF2B5EF4-FFF2-40B4-BE49-F238E27FC236}">
                        <a16:creationId xmlns:a16="http://schemas.microsoft.com/office/drawing/2014/main" id="{CFAA8F5F-E4FE-43F9-6C1C-1CC538C61254}"/>
                      </a:ext>
                    </a:extLst>
                  </p:cNvPr>
                  <p:cNvSpPr/>
                  <p:nvPr/>
                </p:nvSpPr>
                <p:spPr>
                  <a:xfrm>
                    <a:off x="798214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4" name="Graphic 1391">
                  <a:extLst>
                    <a:ext uri="{FF2B5EF4-FFF2-40B4-BE49-F238E27FC236}">
                      <a16:creationId xmlns:a16="http://schemas.microsoft.com/office/drawing/2014/main" id="{D842B1FA-1020-97C8-77A3-4541BE76FA85}"/>
                    </a:ext>
                  </a:extLst>
                </p:cNvPr>
                <p:cNvGrpSpPr/>
                <p:nvPr/>
              </p:nvGrpSpPr>
              <p:grpSpPr>
                <a:xfrm>
                  <a:off x="7971758" y="4189952"/>
                  <a:ext cx="75723" cy="75723"/>
                  <a:chOff x="7971758" y="4189952"/>
                  <a:chExt cx="75723" cy="75723"/>
                </a:xfrm>
              </p:grpSpPr>
              <p:sp>
                <p:nvSpPr>
                  <p:cNvPr id="14212" name="Freeform: Shape 14211">
                    <a:extLst>
                      <a:ext uri="{FF2B5EF4-FFF2-40B4-BE49-F238E27FC236}">
                        <a16:creationId xmlns:a16="http://schemas.microsoft.com/office/drawing/2014/main" id="{09979F08-7E0A-60EF-7F76-1579C6209EF8}"/>
                      </a:ext>
                    </a:extLst>
                  </p:cNvPr>
                  <p:cNvSpPr/>
                  <p:nvPr/>
                </p:nvSpPr>
                <p:spPr>
                  <a:xfrm>
                    <a:off x="8009572"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3" name="Freeform: Shape 14212">
                    <a:extLst>
                      <a:ext uri="{FF2B5EF4-FFF2-40B4-BE49-F238E27FC236}">
                        <a16:creationId xmlns:a16="http://schemas.microsoft.com/office/drawing/2014/main" id="{473092EA-732C-EBB0-18B5-40E314B9441A}"/>
                      </a:ext>
                    </a:extLst>
                  </p:cNvPr>
                  <p:cNvSpPr/>
                  <p:nvPr/>
                </p:nvSpPr>
                <p:spPr>
                  <a:xfrm>
                    <a:off x="7971758"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5" name="Graphic 1391">
                  <a:extLst>
                    <a:ext uri="{FF2B5EF4-FFF2-40B4-BE49-F238E27FC236}">
                      <a16:creationId xmlns:a16="http://schemas.microsoft.com/office/drawing/2014/main" id="{08438F3F-7039-3B3E-566A-685DEC387376}"/>
                    </a:ext>
                  </a:extLst>
                </p:cNvPr>
                <p:cNvGrpSpPr/>
                <p:nvPr/>
              </p:nvGrpSpPr>
              <p:grpSpPr>
                <a:xfrm>
                  <a:off x="7613904" y="4189952"/>
                  <a:ext cx="75628" cy="75723"/>
                  <a:chOff x="7613904" y="4189952"/>
                  <a:chExt cx="75628" cy="75723"/>
                </a:xfrm>
              </p:grpSpPr>
              <p:sp>
                <p:nvSpPr>
                  <p:cNvPr id="14210" name="Freeform: Shape 14209">
                    <a:extLst>
                      <a:ext uri="{FF2B5EF4-FFF2-40B4-BE49-F238E27FC236}">
                        <a16:creationId xmlns:a16="http://schemas.microsoft.com/office/drawing/2014/main" id="{9984A022-46AD-AEA5-9B64-4C7B3A743CC1}"/>
                      </a:ext>
                    </a:extLst>
                  </p:cNvPr>
                  <p:cNvSpPr/>
                  <p:nvPr/>
                </p:nvSpPr>
                <p:spPr>
                  <a:xfrm>
                    <a:off x="7651718"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11" name="Freeform: Shape 14210">
                    <a:extLst>
                      <a:ext uri="{FF2B5EF4-FFF2-40B4-BE49-F238E27FC236}">
                        <a16:creationId xmlns:a16="http://schemas.microsoft.com/office/drawing/2014/main" id="{81B6F77E-EEDF-BC74-1560-C9A27E8BC984}"/>
                      </a:ext>
                    </a:extLst>
                  </p:cNvPr>
                  <p:cNvSpPr/>
                  <p:nvPr/>
                </p:nvSpPr>
                <p:spPr>
                  <a:xfrm>
                    <a:off x="7613904" y="42278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6" name="Graphic 1391">
                  <a:extLst>
                    <a:ext uri="{FF2B5EF4-FFF2-40B4-BE49-F238E27FC236}">
                      <a16:creationId xmlns:a16="http://schemas.microsoft.com/office/drawing/2014/main" id="{89ADE3D3-1FA0-1671-D3EA-033F28709978}"/>
                    </a:ext>
                  </a:extLst>
                </p:cNvPr>
                <p:cNvGrpSpPr/>
                <p:nvPr/>
              </p:nvGrpSpPr>
              <p:grpSpPr>
                <a:xfrm>
                  <a:off x="7578185" y="4189952"/>
                  <a:ext cx="75723" cy="75723"/>
                  <a:chOff x="7578185" y="4189952"/>
                  <a:chExt cx="75723" cy="75723"/>
                </a:xfrm>
              </p:grpSpPr>
              <p:sp>
                <p:nvSpPr>
                  <p:cNvPr id="14208" name="Freeform: Shape 14207">
                    <a:extLst>
                      <a:ext uri="{FF2B5EF4-FFF2-40B4-BE49-F238E27FC236}">
                        <a16:creationId xmlns:a16="http://schemas.microsoft.com/office/drawing/2014/main" id="{A5F6692B-E5AF-C97C-B064-97AAC05036AB}"/>
                      </a:ext>
                    </a:extLst>
                  </p:cNvPr>
                  <p:cNvSpPr/>
                  <p:nvPr/>
                </p:nvSpPr>
                <p:spPr>
                  <a:xfrm>
                    <a:off x="761609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9" name="Freeform: Shape 14208">
                    <a:extLst>
                      <a:ext uri="{FF2B5EF4-FFF2-40B4-BE49-F238E27FC236}">
                        <a16:creationId xmlns:a16="http://schemas.microsoft.com/office/drawing/2014/main" id="{46EE6187-8289-E0FF-DD39-6D471A670E9C}"/>
                      </a:ext>
                    </a:extLst>
                  </p:cNvPr>
                  <p:cNvSpPr/>
                  <p:nvPr/>
                </p:nvSpPr>
                <p:spPr>
                  <a:xfrm>
                    <a:off x="757818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7" name="Graphic 1391">
                  <a:extLst>
                    <a:ext uri="{FF2B5EF4-FFF2-40B4-BE49-F238E27FC236}">
                      <a16:creationId xmlns:a16="http://schemas.microsoft.com/office/drawing/2014/main" id="{7F9CC3D0-5979-E4B8-1CA4-1B00013CC02C}"/>
                    </a:ext>
                  </a:extLst>
                </p:cNvPr>
                <p:cNvGrpSpPr/>
                <p:nvPr/>
              </p:nvGrpSpPr>
              <p:grpSpPr>
                <a:xfrm>
                  <a:off x="7567231" y="4189952"/>
                  <a:ext cx="75723" cy="75723"/>
                  <a:chOff x="7567231" y="4189952"/>
                  <a:chExt cx="75723" cy="75723"/>
                </a:xfrm>
              </p:grpSpPr>
              <p:sp>
                <p:nvSpPr>
                  <p:cNvPr id="14206" name="Freeform: Shape 14205">
                    <a:extLst>
                      <a:ext uri="{FF2B5EF4-FFF2-40B4-BE49-F238E27FC236}">
                        <a16:creationId xmlns:a16="http://schemas.microsoft.com/office/drawing/2014/main" id="{9FA74A00-1672-2094-12C0-7935EADCF618}"/>
                      </a:ext>
                    </a:extLst>
                  </p:cNvPr>
                  <p:cNvSpPr/>
                  <p:nvPr/>
                </p:nvSpPr>
                <p:spPr>
                  <a:xfrm>
                    <a:off x="7605141"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7" name="Freeform: Shape 14206">
                    <a:extLst>
                      <a:ext uri="{FF2B5EF4-FFF2-40B4-BE49-F238E27FC236}">
                        <a16:creationId xmlns:a16="http://schemas.microsoft.com/office/drawing/2014/main" id="{F1245E1C-BB02-AFE6-4F53-F889748B504B}"/>
                      </a:ext>
                    </a:extLst>
                  </p:cNvPr>
                  <p:cNvSpPr/>
                  <p:nvPr/>
                </p:nvSpPr>
                <p:spPr>
                  <a:xfrm>
                    <a:off x="7567231"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8" name="Graphic 1391">
                  <a:extLst>
                    <a:ext uri="{FF2B5EF4-FFF2-40B4-BE49-F238E27FC236}">
                      <a16:creationId xmlns:a16="http://schemas.microsoft.com/office/drawing/2014/main" id="{B5218BE1-9C73-9A7C-C0D5-FB676F037FD9}"/>
                    </a:ext>
                  </a:extLst>
                </p:cNvPr>
                <p:cNvGrpSpPr/>
                <p:nvPr/>
              </p:nvGrpSpPr>
              <p:grpSpPr>
                <a:xfrm>
                  <a:off x="7557897" y="4189952"/>
                  <a:ext cx="75723" cy="75723"/>
                  <a:chOff x="7557897" y="4189952"/>
                  <a:chExt cx="75723" cy="75723"/>
                </a:xfrm>
              </p:grpSpPr>
              <p:sp>
                <p:nvSpPr>
                  <p:cNvPr id="14204" name="Freeform: Shape 14203">
                    <a:extLst>
                      <a:ext uri="{FF2B5EF4-FFF2-40B4-BE49-F238E27FC236}">
                        <a16:creationId xmlns:a16="http://schemas.microsoft.com/office/drawing/2014/main" id="{3D96435A-A8A8-8D4B-01A4-FE1ED2B8E896}"/>
                      </a:ext>
                    </a:extLst>
                  </p:cNvPr>
                  <p:cNvSpPr/>
                  <p:nvPr/>
                </p:nvSpPr>
                <p:spPr>
                  <a:xfrm>
                    <a:off x="75958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5" name="Freeform: Shape 14204">
                    <a:extLst>
                      <a:ext uri="{FF2B5EF4-FFF2-40B4-BE49-F238E27FC236}">
                        <a16:creationId xmlns:a16="http://schemas.microsoft.com/office/drawing/2014/main" id="{165A4FD0-ABC4-8E9D-6ECD-598BAC4E67D4}"/>
                      </a:ext>
                    </a:extLst>
                  </p:cNvPr>
                  <p:cNvSpPr/>
                  <p:nvPr/>
                </p:nvSpPr>
                <p:spPr>
                  <a:xfrm>
                    <a:off x="75578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39" name="Graphic 1391">
                  <a:extLst>
                    <a:ext uri="{FF2B5EF4-FFF2-40B4-BE49-F238E27FC236}">
                      <a16:creationId xmlns:a16="http://schemas.microsoft.com/office/drawing/2014/main" id="{6B84C337-BACD-D1BC-6B4B-F95FB5EDE68C}"/>
                    </a:ext>
                  </a:extLst>
                </p:cNvPr>
                <p:cNvGrpSpPr/>
                <p:nvPr/>
              </p:nvGrpSpPr>
              <p:grpSpPr>
                <a:xfrm>
                  <a:off x="7236142" y="4189952"/>
                  <a:ext cx="75628" cy="75723"/>
                  <a:chOff x="7236142" y="4189952"/>
                  <a:chExt cx="75628" cy="75723"/>
                </a:xfrm>
              </p:grpSpPr>
              <p:sp>
                <p:nvSpPr>
                  <p:cNvPr id="14202" name="Freeform: Shape 14201">
                    <a:extLst>
                      <a:ext uri="{FF2B5EF4-FFF2-40B4-BE49-F238E27FC236}">
                        <a16:creationId xmlns:a16="http://schemas.microsoft.com/office/drawing/2014/main" id="{8358568D-CD09-4E4B-FC45-4758C4E10AD7}"/>
                      </a:ext>
                    </a:extLst>
                  </p:cNvPr>
                  <p:cNvSpPr/>
                  <p:nvPr/>
                </p:nvSpPr>
                <p:spPr>
                  <a:xfrm>
                    <a:off x="727395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3" name="Freeform: Shape 14202">
                    <a:extLst>
                      <a:ext uri="{FF2B5EF4-FFF2-40B4-BE49-F238E27FC236}">
                        <a16:creationId xmlns:a16="http://schemas.microsoft.com/office/drawing/2014/main" id="{270279C4-0ACA-4ACC-8571-5B289E040DC2}"/>
                      </a:ext>
                    </a:extLst>
                  </p:cNvPr>
                  <p:cNvSpPr/>
                  <p:nvPr/>
                </p:nvSpPr>
                <p:spPr>
                  <a:xfrm>
                    <a:off x="7236142"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0" name="Graphic 1391">
                  <a:extLst>
                    <a:ext uri="{FF2B5EF4-FFF2-40B4-BE49-F238E27FC236}">
                      <a16:creationId xmlns:a16="http://schemas.microsoft.com/office/drawing/2014/main" id="{3746EA8A-45AD-549F-27E1-66C405C3B074}"/>
                    </a:ext>
                  </a:extLst>
                </p:cNvPr>
                <p:cNvGrpSpPr/>
                <p:nvPr/>
              </p:nvGrpSpPr>
              <p:grpSpPr>
                <a:xfrm>
                  <a:off x="7200804" y="4189952"/>
                  <a:ext cx="75723" cy="75723"/>
                  <a:chOff x="7200804" y="4189952"/>
                  <a:chExt cx="75723" cy="75723"/>
                </a:xfrm>
              </p:grpSpPr>
              <p:sp>
                <p:nvSpPr>
                  <p:cNvPr id="14200" name="Freeform: Shape 14199">
                    <a:extLst>
                      <a:ext uri="{FF2B5EF4-FFF2-40B4-BE49-F238E27FC236}">
                        <a16:creationId xmlns:a16="http://schemas.microsoft.com/office/drawing/2014/main" id="{13D44314-2082-7219-0423-9738E01C678C}"/>
                      </a:ext>
                    </a:extLst>
                  </p:cNvPr>
                  <p:cNvSpPr/>
                  <p:nvPr/>
                </p:nvSpPr>
                <p:spPr>
                  <a:xfrm>
                    <a:off x="723871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201" name="Freeform: Shape 14200">
                    <a:extLst>
                      <a:ext uri="{FF2B5EF4-FFF2-40B4-BE49-F238E27FC236}">
                        <a16:creationId xmlns:a16="http://schemas.microsoft.com/office/drawing/2014/main" id="{B12E4ECB-1469-6E64-CA36-C5D8A5CA19C4}"/>
                      </a:ext>
                    </a:extLst>
                  </p:cNvPr>
                  <p:cNvSpPr/>
                  <p:nvPr/>
                </p:nvSpPr>
                <p:spPr>
                  <a:xfrm>
                    <a:off x="7200804"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1" name="Graphic 1391">
                  <a:extLst>
                    <a:ext uri="{FF2B5EF4-FFF2-40B4-BE49-F238E27FC236}">
                      <a16:creationId xmlns:a16="http://schemas.microsoft.com/office/drawing/2014/main" id="{DD9D4A6C-4F20-DFE5-62E5-7DF747755657}"/>
                    </a:ext>
                  </a:extLst>
                </p:cNvPr>
                <p:cNvGrpSpPr/>
                <p:nvPr/>
              </p:nvGrpSpPr>
              <p:grpSpPr>
                <a:xfrm>
                  <a:off x="7178135" y="4189952"/>
                  <a:ext cx="75723" cy="75723"/>
                  <a:chOff x="7178135" y="4189952"/>
                  <a:chExt cx="75723" cy="75723"/>
                </a:xfrm>
              </p:grpSpPr>
              <p:sp>
                <p:nvSpPr>
                  <p:cNvPr id="14198" name="Freeform: Shape 14197">
                    <a:extLst>
                      <a:ext uri="{FF2B5EF4-FFF2-40B4-BE49-F238E27FC236}">
                        <a16:creationId xmlns:a16="http://schemas.microsoft.com/office/drawing/2014/main" id="{04A4BF42-4890-942F-0A1B-5DF142EB4525}"/>
                      </a:ext>
                    </a:extLst>
                  </p:cNvPr>
                  <p:cNvSpPr/>
                  <p:nvPr/>
                </p:nvSpPr>
                <p:spPr>
                  <a:xfrm>
                    <a:off x="7216044"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9" name="Freeform: Shape 14198">
                    <a:extLst>
                      <a:ext uri="{FF2B5EF4-FFF2-40B4-BE49-F238E27FC236}">
                        <a16:creationId xmlns:a16="http://schemas.microsoft.com/office/drawing/2014/main" id="{619BD2F7-FAE0-5929-120B-048706D35727}"/>
                      </a:ext>
                    </a:extLst>
                  </p:cNvPr>
                  <p:cNvSpPr/>
                  <p:nvPr/>
                </p:nvSpPr>
                <p:spPr>
                  <a:xfrm>
                    <a:off x="7178135"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2" name="Graphic 1391">
                  <a:extLst>
                    <a:ext uri="{FF2B5EF4-FFF2-40B4-BE49-F238E27FC236}">
                      <a16:creationId xmlns:a16="http://schemas.microsoft.com/office/drawing/2014/main" id="{45FA3F9A-AF70-E697-DEA8-C3E766782356}"/>
                    </a:ext>
                  </a:extLst>
                </p:cNvPr>
                <p:cNvGrpSpPr/>
                <p:nvPr/>
              </p:nvGrpSpPr>
              <p:grpSpPr>
                <a:xfrm>
                  <a:off x="6910197" y="4189952"/>
                  <a:ext cx="75723" cy="75723"/>
                  <a:chOff x="6910197" y="4189952"/>
                  <a:chExt cx="75723" cy="75723"/>
                </a:xfrm>
              </p:grpSpPr>
              <p:sp>
                <p:nvSpPr>
                  <p:cNvPr id="14196" name="Freeform: Shape 14195">
                    <a:extLst>
                      <a:ext uri="{FF2B5EF4-FFF2-40B4-BE49-F238E27FC236}">
                        <a16:creationId xmlns:a16="http://schemas.microsoft.com/office/drawing/2014/main" id="{527DF3FC-DF9A-2FF7-A364-C8466661DC75}"/>
                      </a:ext>
                    </a:extLst>
                  </p:cNvPr>
                  <p:cNvSpPr/>
                  <p:nvPr/>
                </p:nvSpPr>
                <p:spPr>
                  <a:xfrm>
                    <a:off x="6948106"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7" name="Freeform: Shape 14196">
                    <a:extLst>
                      <a:ext uri="{FF2B5EF4-FFF2-40B4-BE49-F238E27FC236}">
                        <a16:creationId xmlns:a16="http://schemas.microsoft.com/office/drawing/2014/main" id="{1BF745F4-BE36-2AC7-B976-711031CE60F0}"/>
                      </a:ext>
                    </a:extLst>
                  </p:cNvPr>
                  <p:cNvSpPr/>
                  <p:nvPr/>
                </p:nvSpPr>
                <p:spPr>
                  <a:xfrm>
                    <a:off x="6910197"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3" name="Graphic 1391">
                  <a:extLst>
                    <a:ext uri="{FF2B5EF4-FFF2-40B4-BE49-F238E27FC236}">
                      <a16:creationId xmlns:a16="http://schemas.microsoft.com/office/drawing/2014/main" id="{8618C16D-FDBA-D8DE-FDE4-B845F509DA01}"/>
                    </a:ext>
                  </a:extLst>
                </p:cNvPr>
                <p:cNvGrpSpPr/>
                <p:nvPr/>
              </p:nvGrpSpPr>
              <p:grpSpPr>
                <a:xfrm>
                  <a:off x="6866096" y="4189952"/>
                  <a:ext cx="75628" cy="75723"/>
                  <a:chOff x="6866096" y="4189952"/>
                  <a:chExt cx="75628" cy="75723"/>
                </a:xfrm>
              </p:grpSpPr>
              <p:sp>
                <p:nvSpPr>
                  <p:cNvPr id="14194" name="Freeform: Shape 14193">
                    <a:extLst>
                      <a:ext uri="{FF2B5EF4-FFF2-40B4-BE49-F238E27FC236}">
                        <a16:creationId xmlns:a16="http://schemas.microsoft.com/office/drawing/2014/main" id="{9DA4DC03-DF01-ADC9-BEE9-2C767C36E57A}"/>
                      </a:ext>
                    </a:extLst>
                  </p:cNvPr>
                  <p:cNvSpPr/>
                  <p:nvPr/>
                </p:nvSpPr>
                <p:spPr>
                  <a:xfrm>
                    <a:off x="6903910"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5" name="Freeform: Shape 14194">
                    <a:extLst>
                      <a:ext uri="{FF2B5EF4-FFF2-40B4-BE49-F238E27FC236}">
                        <a16:creationId xmlns:a16="http://schemas.microsoft.com/office/drawing/2014/main" id="{4DDE44C9-A487-A738-5015-4E0897C8C30D}"/>
                      </a:ext>
                    </a:extLst>
                  </p:cNvPr>
                  <p:cNvSpPr/>
                  <p:nvPr/>
                </p:nvSpPr>
                <p:spPr>
                  <a:xfrm>
                    <a:off x="6866096" y="42278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4" name="Graphic 1391">
                  <a:extLst>
                    <a:ext uri="{FF2B5EF4-FFF2-40B4-BE49-F238E27FC236}">
                      <a16:creationId xmlns:a16="http://schemas.microsoft.com/office/drawing/2014/main" id="{978FB6D3-9B6D-AA08-FE5A-70F7394E3FCE}"/>
                    </a:ext>
                  </a:extLst>
                </p:cNvPr>
                <p:cNvGrpSpPr/>
                <p:nvPr/>
              </p:nvGrpSpPr>
              <p:grpSpPr>
                <a:xfrm>
                  <a:off x="6855523" y="4136898"/>
                  <a:ext cx="75723" cy="75628"/>
                  <a:chOff x="6855523" y="4136898"/>
                  <a:chExt cx="75723" cy="75628"/>
                </a:xfrm>
              </p:grpSpPr>
              <p:sp>
                <p:nvSpPr>
                  <p:cNvPr id="14192" name="Freeform: Shape 14191">
                    <a:extLst>
                      <a:ext uri="{FF2B5EF4-FFF2-40B4-BE49-F238E27FC236}">
                        <a16:creationId xmlns:a16="http://schemas.microsoft.com/office/drawing/2014/main" id="{11562D57-EFAD-DFCB-0585-E84BBD460AAA}"/>
                      </a:ext>
                    </a:extLst>
                  </p:cNvPr>
                  <p:cNvSpPr/>
                  <p:nvPr/>
                </p:nvSpPr>
                <p:spPr>
                  <a:xfrm>
                    <a:off x="6893337" y="41368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3" name="Freeform: Shape 14192">
                    <a:extLst>
                      <a:ext uri="{FF2B5EF4-FFF2-40B4-BE49-F238E27FC236}">
                        <a16:creationId xmlns:a16="http://schemas.microsoft.com/office/drawing/2014/main" id="{5AE9D74E-B71F-0BD3-462F-048850EDF81D}"/>
                      </a:ext>
                    </a:extLst>
                  </p:cNvPr>
                  <p:cNvSpPr/>
                  <p:nvPr/>
                </p:nvSpPr>
                <p:spPr>
                  <a:xfrm>
                    <a:off x="6855523" y="4174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5" name="Graphic 1391">
                  <a:extLst>
                    <a:ext uri="{FF2B5EF4-FFF2-40B4-BE49-F238E27FC236}">
                      <a16:creationId xmlns:a16="http://schemas.microsoft.com/office/drawing/2014/main" id="{1A11809D-D3CA-988F-2E8A-FEC798B3C5A5}"/>
                    </a:ext>
                  </a:extLst>
                </p:cNvPr>
                <p:cNvGrpSpPr/>
                <p:nvPr/>
              </p:nvGrpSpPr>
              <p:grpSpPr>
                <a:xfrm>
                  <a:off x="6821424" y="4086129"/>
                  <a:ext cx="75723" cy="75723"/>
                  <a:chOff x="6821424" y="4086129"/>
                  <a:chExt cx="75723" cy="75723"/>
                </a:xfrm>
              </p:grpSpPr>
              <p:sp>
                <p:nvSpPr>
                  <p:cNvPr id="14190" name="Freeform: Shape 14189">
                    <a:extLst>
                      <a:ext uri="{FF2B5EF4-FFF2-40B4-BE49-F238E27FC236}">
                        <a16:creationId xmlns:a16="http://schemas.microsoft.com/office/drawing/2014/main" id="{20CC09CB-213D-4B6F-C732-A623B0E72E19}"/>
                      </a:ext>
                    </a:extLst>
                  </p:cNvPr>
                  <p:cNvSpPr/>
                  <p:nvPr/>
                </p:nvSpPr>
                <p:spPr>
                  <a:xfrm>
                    <a:off x="6859333" y="4086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91" name="Freeform: Shape 14190">
                    <a:extLst>
                      <a:ext uri="{FF2B5EF4-FFF2-40B4-BE49-F238E27FC236}">
                        <a16:creationId xmlns:a16="http://schemas.microsoft.com/office/drawing/2014/main" id="{DA6CC18D-9AA7-0D6A-9A14-C91B753CEF7D}"/>
                      </a:ext>
                    </a:extLst>
                  </p:cNvPr>
                  <p:cNvSpPr/>
                  <p:nvPr/>
                </p:nvSpPr>
                <p:spPr>
                  <a:xfrm>
                    <a:off x="6821424" y="41239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6" name="Graphic 1391">
                  <a:extLst>
                    <a:ext uri="{FF2B5EF4-FFF2-40B4-BE49-F238E27FC236}">
                      <a16:creationId xmlns:a16="http://schemas.microsoft.com/office/drawing/2014/main" id="{BBF6385C-0033-3486-3D19-F871668ACB51}"/>
                    </a:ext>
                  </a:extLst>
                </p:cNvPr>
                <p:cNvGrpSpPr/>
                <p:nvPr/>
              </p:nvGrpSpPr>
              <p:grpSpPr>
                <a:xfrm>
                  <a:off x="6810565" y="4041933"/>
                  <a:ext cx="75628" cy="75723"/>
                  <a:chOff x="6810565" y="4041933"/>
                  <a:chExt cx="75628" cy="75723"/>
                </a:xfrm>
              </p:grpSpPr>
              <p:sp>
                <p:nvSpPr>
                  <p:cNvPr id="14188" name="Freeform: Shape 14187">
                    <a:extLst>
                      <a:ext uri="{FF2B5EF4-FFF2-40B4-BE49-F238E27FC236}">
                        <a16:creationId xmlns:a16="http://schemas.microsoft.com/office/drawing/2014/main" id="{C5997059-2925-770E-9414-B891B514B406}"/>
                      </a:ext>
                    </a:extLst>
                  </p:cNvPr>
                  <p:cNvSpPr/>
                  <p:nvPr/>
                </p:nvSpPr>
                <p:spPr>
                  <a:xfrm>
                    <a:off x="6848379"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9" name="Freeform: Shape 14188">
                    <a:extLst>
                      <a:ext uri="{FF2B5EF4-FFF2-40B4-BE49-F238E27FC236}">
                        <a16:creationId xmlns:a16="http://schemas.microsoft.com/office/drawing/2014/main" id="{D22B7E75-D82F-A0E1-8A01-12982B250C3C}"/>
                      </a:ext>
                    </a:extLst>
                  </p:cNvPr>
                  <p:cNvSpPr/>
                  <p:nvPr/>
                </p:nvSpPr>
                <p:spPr>
                  <a:xfrm>
                    <a:off x="6810565" y="40797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7" name="Graphic 1391">
                  <a:extLst>
                    <a:ext uri="{FF2B5EF4-FFF2-40B4-BE49-F238E27FC236}">
                      <a16:creationId xmlns:a16="http://schemas.microsoft.com/office/drawing/2014/main" id="{44C158FC-2E0E-5699-971F-5F3DBBA783E2}"/>
                    </a:ext>
                  </a:extLst>
                </p:cNvPr>
                <p:cNvGrpSpPr/>
                <p:nvPr/>
              </p:nvGrpSpPr>
              <p:grpSpPr>
                <a:xfrm>
                  <a:off x="6797516" y="4041933"/>
                  <a:ext cx="75723" cy="75723"/>
                  <a:chOff x="6797516" y="4041933"/>
                  <a:chExt cx="75723" cy="75723"/>
                </a:xfrm>
              </p:grpSpPr>
              <p:sp>
                <p:nvSpPr>
                  <p:cNvPr id="14186" name="Freeform: Shape 14185">
                    <a:extLst>
                      <a:ext uri="{FF2B5EF4-FFF2-40B4-BE49-F238E27FC236}">
                        <a16:creationId xmlns:a16="http://schemas.microsoft.com/office/drawing/2014/main" id="{9427C264-0D58-E05C-E0F4-101D47CB297E}"/>
                      </a:ext>
                    </a:extLst>
                  </p:cNvPr>
                  <p:cNvSpPr/>
                  <p:nvPr/>
                </p:nvSpPr>
                <p:spPr>
                  <a:xfrm>
                    <a:off x="6835425"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7" name="Freeform: Shape 14186">
                    <a:extLst>
                      <a:ext uri="{FF2B5EF4-FFF2-40B4-BE49-F238E27FC236}">
                        <a16:creationId xmlns:a16="http://schemas.microsoft.com/office/drawing/2014/main" id="{AB80E09E-D04C-6060-EB62-2F87BC25A1A3}"/>
                      </a:ext>
                    </a:extLst>
                  </p:cNvPr>
                  <p:cNvSpPr/>
                  <p:nvPr/>
                </p:nvSpPr>
                <p:spPr>
                  <a:xfrm>
                    <a:off x="6797516"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8" name="Graphic 1391">
                  <a:extLst>
                    <a:ext uri="{FF2B5EF4-FFF2-40B4-BE49-F238E27FC236}">
                      <a16:creationId xmlns:a16="http://schemas.microsoft.com/office/drawing/2014/main" id="{E478390F-5D6C-7FEA-F93D-28885BA238F7}"/>
                    </a:ext>
                  </a:extLst>
                </p:cNvPr>
                <p:cNvGrpSpPr/>
                <p:nvPr/>
              </p:nvGrpSpPr>
              <p:grpSpPr>
                <a:xfrm>
                  <a:off x="6708362" y="4041933"/>
                  <a:ext cx="75723" cy="75723"/>
                  <a:chOff x="6708362" y="4041933"/>
                  <a:chExt cx="75723" cy="75723"/>
                </a:xfrm>
              </p:grpSpPr>
              <p:sp>
                <p:nvSpPr>
                  <p:cNvPr id="14184" name="Freeform: Shape 14183">
                    <a:extLst>
                      <a:ext uri="{FF2B5EF4-FFF2-40B4-BE49-F238E27FC236}">
                        <a16:creationId xmlns:a16="http://schemas.microsoft.com/office/drawing/2014/main" id="{BFEA6F6E-E187-8FDF-33F3-E66D94EA4AF7}"/>
                      </a:ext>
                    </a:extLst>
                  </p:cNvPr>
                  <p:cNvSpPr/>
                  <p:nvPr/>
                </p:nvSpPr>
                <p:spPr>
                  <a:xfrm>
                    <a:off x="6746271" y="4041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5" name="Freeform: Shape 14184">
                    <a:extLst>
                      <a:ext uri="{FF2B5EF4-FFF2-40B4-BE49-F238E27FC236}">
                        <a16:creationId xmlns:a16="http://schemas.microsoft.com/office/drawing/2014/main" id="{9B7B6772-5B40-C94F-D16A-5939736826F9}"/>
                      </a:ext>
                    </a:extLst>
                  </p:cNvPr>
                  <p:cNvSpPr/>
                  <p:nvPr/>
                </p:nvSpPr>
                <p:spPr>
                  <a:xfrm>
                    <a:off x="6708362" y="40797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49" name="Graphic 1391">
                  <a:extLst>
                    <a:ext uri="{FF2B5EF4-FFF2-40B4-BE49-F238E27FC236}">
                      <a16:creationId xmlns:a16="http://schemas.microsoft.com/office/drawing/2014/main" id="{8122A47A-C0C4-55AC-8766-98EF5F0E8E28}"/>
                    </a:ext>
                  </a:extLst>
                </p:cNvPr>
                <p:cNvGrpSpPr/>
                <p:nvPr/>
              </p:nvGrpSpPr>
              <p:grpSpPr>
                <a:xfrm>
                  <a:off x="6420612" y="3932491"/>
                  <a:ext cx="75723" cy="75723"/>
                  <a:chOff x="6420612" y="3932491"/>
                  <a:chExt cx="75723" cy="75723"/>
                </a:xfrm>
              </p:grpSpPr>
              <p:sp>
                <p:nvSpPr>
                  <p:cNvPr id="14182" name="Freeform: Shape 14181">
                    <a:extLst>
                      <a:ext uri="{FF2B5EF4-FFF2-40B4-BE49-F238E27FC236}">
                        <a16:creationId xmlns:a16="http://schemas.microsoft.com/office/drawing/2014/main" id="{55F45B1C-BA21-4821-C115-55C39FAE4208}"/>
                      </a:ext>
                    </a:extLst>
                  </p:cNvPr>
                  <p:cNvSpPr/>
                  <p:nvPr/>
                </p:nvSpPr>
                <p:spPr>
                  <a:xfrm>
                    <a:off x="6458426"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3" name="Freeform: Shape 14182">
                    <a:extLst>
                      <a:ext uri="{FF2B5EF4-FFF2-40B4-BE49-F238E27FC236}">
                        <a16:creationId xmlns:a16="http://schemas.microsoft.com/office/drawing/2014/main" id="{7EC2E1E1-6B84-891B-690D-07A12EC6B3C7}"/>
                      </a:ext>
                    </a:extLst>
                  </p:cNvPr>
                  <p:cNvSpPr/>
                  <p:nvPr/>
                </p:nvSpPr>
                <p:spPr>
                  <a:xfrm>
                    <a:off x="6420612"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0" name="Graphic 1391">
                  <a:extLst>
                    <a:ext uri="{FF2B5EF4-FFF2-40B4-BE49-F238E27FC236}">
                      <a16:creationId xmlns:a16="http://schemas.microsoft.com/office/drawing/2014/main" id="{22BA381F-3567-3BE6-F797-DB15DFBBE2B8}"/>
                    </a:ext>
                  </a:extLst>
                </p:cNvPr>
                <p:cNvGrpSpPr/>
                <p:nvPr/>
              </p:nvGrpSpPr>
              <p:grpSpPr>
                <a:xfrm>
                  <a:off x="6440900" y="3959256"/>
                  <a:ext cx="75628" cy="75723"/>
                  <a:chOff x="6440900" y="3959256"/>
                  <a:chExt cx="75628" cy="75723"/>
                </a:xfrm>
              </p:grpSpPr>
              <p:sp>
                <p:nvSpPr>
                  <p:cNvPr id="14180" name="Freeform: Shape 14179">
                    <a:extLst>
                      <a:ext uri="{FF2B5EF4-FFF2-40B4-BE49-F238E27FC236}">
                        <a16:creationId xmlns:a16="http://schemas.microsoft.com/office/drawing/2014/main" id="{BD49F0EA-9DA4-5677-74E8-FFBE88EB4010}"/>
                      </a:ext>
                    </a:extLst>
                  </p:cNvPr>
                  <p:cNvSpPr/>
                  <p:nvPr/>
                </p:nvSpPr>
                <p:spPr>
                  <a:xfrm>
                    <a:off x="6478714"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81" name="Freeform: Shape 14180">
                    <a:extLst>
                      <a:ext uri="{FF2B5EF4-FFF2-40B4-BE49-F238E27FC236}">
                        <a16:creationId xmlns:a16="http://schemas.microsoft.com/office/drawing/2014/main" id="{4C8347E9-7375-9952-6050-8EB4CD490041}"/>
                      </a:ext>
                    </a:extLst>
                  </p:cNvPr>
                  <p:cNvSpPr/>
                  <p:nvPr/>
                </p:nvSpPr>
                <p:spPr>
                  <a:xfrm>
                    <a:off x="6440900" y="39970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1" name="Graphic 1391">
                  <a:extLst>
                    <a:ext uri="{FF2B5EF4-FFF2-40B4-BE49-F238E27FC236}">
                      <a16:creationId xmlns:a16="http://schemas.microsoft.com/office/drawing/2014/main" id="{02A1AB8E-A10A-7C52-E0F9-DEBE1335E841}"/>
                    </a:ext>
                  </a:extLst>
                </p:cNvPr>
                <p:cNvGrpSpPr/>
                <p:nvPr/>
              </p:nvGrpSpPr>
              <p:grpSpPr>
                <a:xfrm>
                  <a:off x="6451377" y="3959256"/>
                  <a:ext cx="75723" cy="75723"/>
                  <a:chOff x="6451377" y="3959256"/>
                  <a:chExt cx="75723" cy="75723"/>
                </a:xfrm>
              </p:grpSpPr>
              <p:sp>
                <p:nvSpPr>
                  <p:cNvPr id="14178" name="Freeform: Shape 14177">
                    <a:extLst>
                      <a:ext uri="{FF2B5EF4-FFF2-40B4-BE49-F238E27FC236}">
                        <a16:creationId xmlns:a16="http://schemas.microsoft.com/office/drawing/2014/main" id="{2C88D79E-2F00-AEBD-007C-2E76CDEB14B2}"/>
                      </a:ext>
                    </a:extLst>
                  </p:cNvPr>
                  <p:cNvSpPr/>
                  <p:nvPr/>
                </p:nvSpPr>
                <p:spPr>
                  <a:xfrm>
                    <a:off x="6489287"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9" name="Freeform: Shape 14178">
                    <a:extLst>
                      <a:ext uri="{FF2B5EF4-FFF2-40B4-BE49-F238E27FC236}">
                        <a16:creationId xmlns:a16="http://schemas.microsoft.com/office/drawing/2014/main" id="{B920C1D8-D1E3-2E87-24D8-B85676ACEF50}"/>
                      </a:ext>
                    </a:extLst>
                  </p:cNvPr>
                  <p:cNvSpPr/>
                  <p:nvPr/>
                </p:nvSpPr>
                <p:spPr>
                  <a:xfrm>
                    <a:off x="6451377"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2" name="Graphic 1391">
                  <a:extLst>
                    <a:ext uri="{FF2B5EF4-FFF2-40B4-BE49-F238E27FC236}">
                      <a16:creationId xmlns:a16="http://schemas.microsoft.com/office/drawing/2014/main" id="{C26C9966-5047-3B05-885C-A146FBD21784}"/>
                    </a:ext>
                  </a:extLst>
                </p:cNvPr>
                <p:cNvGrpSpPr/>
                <p:nvPr/>
              </p:nvGrpSpPr>
              <p:grpSpPr>
                <a:xfrm>
                  <a:off x="6465189" y="3959256"/>
                  <a:ext cx="75723" cy="75723"/>
                  <a:chOff x="6465189" y="3959256"/>
                  <a:chExt cx="75723" cy="75723"/>
                </a:xfrm>
              </p:grpSpPr>
              <p:sp>
                <p:nvSpPr>
                  <p:cNvPr id="14176" name="Freeform: Shape 14175">
                    <a:extLst>
                      <a:ext uri="{FF2B5EF4-FFF2-40B4-BE49-F238E27FC236}">
                        <a16:creationId xmlns:a16="http://schemas.microsoft.com/office/drawing/2014/main" id="{4D389F8F-C572-545F-27D1-6F7B7A1F3F63}"/>
                      </a:ext>
                    </a:extLst>
                  </p:cNvPr>
                  <p:cNvSpPr/>
                  <p:nvPr/>
                </p:nvSpPr>
                <p:spPr>
                  <a:xfrm>
                    <a:off x="6503003" y="39592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7" name="Freeform: Shape 14176">
                    <a:extLst>
                      <a:ext uri="{FF2B5EF4-FFF2-40B4-BE49-F238E27FC236}">
                        <a16:creationId xmlns:a16="http://schemas.microsoft.com/office/drawing/2014/main" id="{5A4DE6C8-702E-291A-C2AA-97752CC40650}"/>
                      </a:ext>
                    </a:extLst>
                  </p:cNvPr>
                  <p:cNvSpPr/>
                  <p:nvPr/>
                </p:nvSpPr>
                <p:spPr>
                  <a:xfrm>
                    <a:off x="6465189" y="39970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3" name="Graphic 1391">
                  <a:extLst>
                    <a:ext uri="{FF2B5EF4-FFF2-40B4-BE49-F238E27FC236}">
                      <a16:creationId xmlns:a16="http://schemas.microsoft.com/office/drawing/2014/main" id="{7797BAA8-325A-4E2C-47B3-40C1B9BF9890}"/>
                    </a:ext>
                  </a:extLst>
                </p:cNvPr>
                <p:cNvGrpSpPr/>
                <p:nvPr/>
              </p:nvGrpSpPr>
              <p:grpSpPr>
                <a:xfrm>
                  <a:off x="6396323" y="3932491"/>
                  <a:ext cx="75628" cy="75723"/>
                  <a:chOff x="6396323" y="3932491"/>
                  <a:chExt cx="75628" cy="75723"/>
                </a:xfrm>
              </p:grpSpPr>
              <p:sp>
                <p:nvSpPr>
                  <p:cNvPr id="14174" name="Freeform: Shape 14173">
                    <a:extLst>
                      <a:ext uri="{FF2B5EF4-FFF2-40B4-BE49-F238E27FC236}">
                        <a16:creationId xmlns:a16="http://schemas.microsoft.com/office/drawing/2014/main" id="{06A50574-784B-6B31-E15B-2AA1DA1D0C8F}"/>
                      </a:ext>
                    </a:extLst>
                  </p:cNvPr>
                  <p:cNvSpPr/>
                  <p:nvPr/>
                </p:nvSpPr>
                <p:spPr>
                  <a:xfrm>
                    <a:off x="6434137"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5" name="Freeform: Shape 14174">
                    <a:extLst>
                      <a:ext uri="{FF2B5EF4-FFF2-40B4-BE49-F238E27FC236}">
                        <a16:creationId xmlns:a16="http://schemas.microsoft.com/office/drawing/2014/main" id="{5279AFE6-598D-2B8E-830A-56A260E5C066}"/>
                      </a:ext>
                    </a:extLst>
                  </p:cNvPr>
                  <p:cNvSpPr/>
                  <p:nvPr/>
                </p:nvSpPr>
                <p:spPr>
                  <a:xfrm>
                    <a:off x="6396323" y="39704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4" name="Graphic 1391">
                  <a:extLst>
                    <a:ext uri="{FF2B5EF4-FFF2-40B4-BE49-F238E27FC236}">
                      <a16:creationId xmlns:a16="http://schemas.microsoft.com/office/drawing/2014/main" id="{CF2487BC-B9A8-B2DA-7D18-4D393FF816EC}"/>
                    </a:ext>
                  </a:extLst>
                </p:cNvPr>
                <p:cNvGrpSpPr/>
                <p:nvPr/>
              </p:nvGrpSpPr>
              <p:grpSpPr>
                <a:xfrm>
                  <a:off x="6324504" y="3932491"/>
                  <a:ext cx="75723" cy="75723"/>
                  <a:chOff x="6324504" y="3932491"/>
                  <a:chExt cx="75723" cy="75723"/>
                </a:xfrm>
              </p:grpSpPr>
              <p:sp>
                <p:nvSpPr>
                  <p:cNvPr id="14172" name="Freeform: Shape 14171">
                    <a:extLst>
                      <a:ext uri="{FF2B5EF4-FFF2-40B4-BE49-F238E27FC236}">
                        <a16:creationId xmlns:a16="http://schemas.microsoft.com/office/drawing/2014/main" id="{77186C46-C495-24B2-CCBF-7DC3DC96785C}"/>
                      </a:ext>
                    </a:extLst>
                  </p:cNvPr>
                  <p:cNvSpPr/>
                  <p:nvPr/>
                </p:nvSpPr>
                <p:spPr>
                  <a:xfrm>
                    <a:off x="6362414" y="39324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3" name="Freeform: Shape 14172">
                    <a:extLst>
                      <a:ext uri="{FF2B5EF4-FFF2-40B4-BE49-F238E27FC236}">
                        <a16:creationId xmlns:a16="http://schemas.microsoft.com/office/drawing/2014/main" id="{AF674C7E-7726-8B1A-C6F8-9FD449ADCA9E}"/>
                      </a:ext>
                    </a:extLst>
                  </p:cNvPr>
                  <p:cNvSpPr/>
                  <p:nvPr/>
                </p:nvSpPr>
                <p:spPr>
                  <a:xfrm>
                    <a:off x="6324504" y="3970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5" name="Graphic 1391">
                  <a:extLst>
                    <a:ext uri="{FF2B5EF4-FFF2-40B4-BE49-F238E27FC236}">
                      <a16:creationId xmlns:a16="http://schemas.microsoft.com/office/drawing/2014/main" id="{3D981080-2BDD-789A-DA5C-F0AF32EA7295}"/>
                    </a:ext>
                  </a:extLst>
                </p:cNvPr>
                <p:cNvGrpSpPr/>
                <p:nvPr/>
              </p:nvGrpSpPr>
              <p:grpSpPr>
                <a:xfrm>
                  <a:off x="6106858" y="3849433"/>
                  <a:ext cx="75723" cy="75723"/>
                  <a:chOff x="6106858" y="3849433"/>
                  <a:chExt cx="75723" cy="75723"/>
                </a:xfrm>
              </p:grpSpPr>
              <p:sp>
                <p:nvSpPr>
                  <p:cNvPr id="14170" name="Freeform: Shape 14169">
                    <a:extLst>
                      <a:ext uri="{FF2B5EF4-FFF2-40B4-BE49-F238E27FC236}">
                        <a16:creationId xmlns:a16="http://schemas.microsoft.com/office/drawing/2014/main" id="{A59AF23A-C835-01BF-2352-BCBE5149CD41}"/>
                      </a:ext>
                    </a:extLst>
                  </p:cNvPr>
                  <p:cNvSpPr/>
                  <p:nvPr/>
                </p:nvSpPr>
                <p:spPr>
                  <a:xfrm>
                    <a:off x="6144768" y="38494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71" name="Freeform: Shape 14170">
                    <a:extLst>
                      <a:ext uri="{FF2B5EF4-FFF2-40B4-BE49-F238E27FC236}">
                        <a16:creationId xmlns:a16="http://schemas.microsoft.com/office/drawing/2014/main" id="{865A883E-C672-013C-8D3C-589686790711}"/>
                      </a:ext>
                    </a:extLst>
                  </p:cNvPr>
                  <p:cNvSpPr/>
                  <p:nvPr/>
                </p:nvSpPr>
                <p:spPr>
                  <a:xfrm>
                    <a:off x="6106858" y="3887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6" name="Graphic 1391">
                  <a:extLst>
                    <a:ext uri="{FF2B5EF4-FFF2-40B4-BE49-F238E27FC236}">
                      <a16:creationId xmlns:a16="http://schemas.microsoft.com/office/drawing/2014/main" id="{990DFB0F-6AC5-69DE-5E4A-77326D99A3AE}"/>
                    </a:ext>
                  </a:extLst>
                </p:cNvPr>
                <p:cNvGrpSpPr/>
                <p:nvPr/>
              </p:nvGrpSpPr>
              <p:grpSpPr>
                <a:xfrm>
                  <a:off x="6088284" y="3819429"/>
                  <a:ext cx="75628" cy="75723"/>
                  <a:chOff x="6088284" y="3819429"/>
                  <a:chExt cx="75628" cy="75723"/>
                </a:xfrm>
              </p:grpSpPr>
              <p:sp>
                <p:nvSpPr>
                  <p:cNvPr id="14168" name="Freeform: Shape 14167">
                    <a:extLst>
                      <a:ext uri="{FF2B5EF4-FFF2-40B4-BE49-F238E27FC236}">
                        <a16:creationId xmlns:a16="http://schemas.microsoft.com/office/drawing/2014/main" id="{FFB24677-5ED7-5343-3BCE-397A55EECCC6}"/>
                      </a:ext>
                    </a:extLst>
                  </p:cNvPr>
                  <p:cNvSpPr/>
                  <p:nvPr/>
                </p:nvSpPr>
                <p:spPr>
                  <a:xfrm>
                    <a:off x="6126099" y="38194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9" name="Freeform: Shape 14168">
                    <a:extLst>
                      <a:ext uri="{FF2B5EF4-FFF2-40B4-BE49-F238E27FC236}">
                        <a16:creationId xmlns:a16="http://schemas.microsoft.com/office/drawing/2014/main" id="{279B343F-7080-D098-6546-B10C33A1CB18}"/>
                      </a:ext>
                    </a:extLst>
                  </p:cNvPr>
                  <p:cNvSpPr/>
                  <p:nvPr/>
                </p:nvSpPr>
                <p:spPr>
                  <a:xfrm>
                    <a:off x="6088284" y="38572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7" name="Graphic 1391">
                  <a:extLst>
                    <a:ext uri="{FF2B5EF4-FFF2-40B4-BE49-F238E27FC236}">
                      <a16:creationId xmlns:a16="http://schemas.microsoft.com/office/drawing/2014/main" id="{EFA636D9-1E62-FCD4-D9EE-34E0D9D78DBC}"/>
                    </a:ext>
                  </a:extLst>
                </p:cNvPr>
                <p:cNvGrpSpPr/>
                <p:nvPr/>
              </p:nvGrpSpPr>
              <p:grpSpPr>
                <a:xfrm>
                  <a:off x="6069044" y="3794664"/>
                  <a:ext cx="75723" cy="75723"/>
                  <a:chOff x="6069044" y="3794664"/>
                  <a:chExt cx="75723" cy="75723"/>
                </a:xfrm>
              </p:grpSpPr>
              <p:sp>
                <p:nvSpPr>
                  <p:cNvPr id="14166" name="Freeform: Shape 14165">
                    <a:extLst>
                      <a:ext uri="{FF2B5EF4-FFF2-40B4-BE49-F238E27FC236}">
                        <a16:creationId xmlns:a16="http://schemas.microsoft.com/office/drawing/2014/main" id="{C855FFED-75B0-5A42-2B2A-74DA84E5F21A}"/>
                      </a:ext>
                    </a:extLst>
                  </p:cNvPr>
                  <p:cNvSpPr/>
                  <p:nvPr/>
                </p:nvSpPr>
                <p:spPr>
                  <a:xfrm>
                    <a:off x="6106858"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7" name="Freeform: Shape 14166">
                    <a:extLst>
                      <a:ext uri="{FF2B5EF4-FFF2-40B4-BE49-F238E27FC236}">
                        <a16:creationId xmlns:a16="http://schemas.microsoft.com/office/drawing/2014/main" id="{1B1BB925-512B-0F5E-EED0-C0E35CC93826}"/>
                      </a:ext>
                    </a:extLst>
                  </p:cNvPr>
                  <p:cNvSpPr/>
                  <p:nvPr/>
                </p:nvSpPr>
                <p:spPr>
                  <a:xfrm>
                    <a:off x="6069044"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8" name="Graphic 1391">
                  <a:extLst>
                    <a:ext uri="{FF2B5EF4-FFF2-40B4-BE49-F238E27FC236}">
                      <a16:creationId xmlns:a16="http://schemas.microsoft.com/office/drawing/2014/main" id="{344D2573-1C92-E6D9-5CD0-35208DB399FA}"/>
                    </a:ext>
                  </a:extLst>
                </p:cNvPr>
                <p:cNvGrpSpPr/>
                <p:nvPr/>
              </p:nvGrpSpPr>
              <p:grpSpPr>
                <a:xfrm>
                  <a:off x="6064186" y="3794664"/>
                  <a:ext cx="75723" cy="75723"/>
                  <a:chOff x="6064186" y="3794664"/>
                  <a:chExt cx="75723" cy="75723"/>
                </a:xfrm>
              </p:grpSpPr>
              <p:sp>
                <p:nvSpPr>
                  <p:cNvPr id="14164" name="Freeform: Shape 14163">
                    <a:extLst>
                      <a:ext uri="{FF2B5EF4-FFF2-40B4-BE49-F238E27FC236}">
                        <a16:creationId xmlns:a16="http://schemas.microsoft.com/office/drawing/2014/main" id="{CB140088-ECD4-D3DC-BF84-6E4BB4A132CD}"/>
                      </a:ext>
                    </a:extLst>
                  </p:cNvPr>
                  <p:cNvSpPr/>
                  <p:nvPr/>
                </p:nvSpPr>
                <p:spPr>
                  <a:xfrm>
                    <a:off x="6102000" y="3794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5" name="Freeform: Shape 14164">
                    <a:extLst>
                      <a:ext uri="{FF2B5EF4-FFF2-40B4-BE49-F238E27FC236}">
                        <a16:creationId xmlns:a16="http://schemas.microsoft.com/office/drawing/2014/main" id="{053A3B20-AF20-CF93-5146-5C712D2F32F3}"/>
                      </a:ext>
                    </a:extLst>
                  </p:cNvPr>
                  <p:cNvSpPr/>
                  <p:nvPr/>
                </p:nvSpPr>
                <p:spPr>
                  <a:xfrm>
                    <a:off x="6064186" y="38325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59" name="Graphic 1391">
                  <a:extLst>
                    <a:ext uri="{FF2B5EF4-FFF2-40B4-BE49-F238E27FC236}">
                      <a16:creationId xmlns:a16="http://schemas.microsoft.com/office/drawing/2014/main" id="{6BA7ACAF-82E2-DEF9-D7C6-AAF224FC0E38}"/>
                    </a:ext>
                  </a:extLst>
                </p:cNvPr>
                <p:cNvGrpSpPr/>
                <p:nvPr/>
              </p:nvGrpSpPr>
              <p:grpSpPr>
                <a:xfrm>
                  <a:off x="6058471" y="3768375"/>
                  <a:ext cx="75723" cy="75628"/>
                  <a:chOff x="6058471" y="3768375"/>
                  <a:chExt cx="75723" cy="75628"/>
                </a:xfrm>
              </p:grpSpPr>
              <p:sp>
                <p:nvSpPr>
                  <p:cNvPr id="14162" name="Freeform: Shape 14161">
                    <a:extLst>
                      <a:ext uri="{FF2B5EF4-FFF2-40B4-BE49-F238E27FC236}">
                        <a16:creationId xmlns:a16="http://schemas.microsoft.com/office/drawing/2014/main" id="{9C9F8A10-9539-2288-7C78-F615EC5FC223}"/>
                      </a:ext>
                    </a:extLst>
                  </p:cNvPr>
                  <p:cNvSpPr/>
                  <p:nvPr/>
                </p:nvSpPr>
                <p:spPr>
                  <a:xfrm>
                    <a:off x="609638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3" name="Freeform: Shape 14162">
                    <a:extLst>
                      <a:ext uri="{FF2B5EF4-FFF2-40B4-BE49-F238E27FC236}">
                        <a16:creationId xmlns:a16="http://schemas.microsoft.com/office/drawing/2014/main" id="{5EA70BA6-35FD-540D-D72C-4B84E85012DF}"/>
                      </a:ext>
                    </a:extLst>
                  </p:cNvPr>
                  <p:cNvSpPr/>
                  <p:nvPr/>
                </p:nvSpPr>
                <p:spPr>
                  <a:xfrm>
                    <a:off x="6058471"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0" name="Graphic 1391">
                  <a:extLst>
                    <a:ext uri="{FF2B5EF4-FFF2-40B4-BE49-F238E27FC236}">
                      <a16:creationId xmlns:a16="http://schemas.microsoft.com/office/drawing/2014/main" id="{6416A4A7-B06D-9038-EDD2-1199FAF7A7E4}"/>
                    </a:ext>
                  </a:extLst>
                </p:cNvPr>
                <p:cNvGrpSpPr/>
                <p:nvPr/>
              </p:nvGrpSpPr>
              <p:grpSpPr>
                <a:xfrm>
                  <a:off x="6043517" y="3768375"/>
                  <a:ext cx="75723" cy="75628"/>
                  <a:chOff x="6043517" y="3768375"/>
                  <a:chExt cx="75723" cy="75628"/>
                </a:xfrm>
              </p:grpSpPr>
              <p:sp>
                <p:nvSpPr>
                  <p:cNvPr id="14160" name="Freeform: Shape 14159">
                    <a:extLst>
                      <a:ext uri="{FF2B5EF4-FFF2-40B4-BE49-F238E27FC236}">
                        <a16:creationId xmlns:a16="http://schemas.microsoft.com/office/drawing/2014/main" id="{719E49C8-E1E7-A16D-CBA9-F34B85C0B872}"/>
                      </a:ext>
                    </a:extLst>
                  </p:cNvPr>
                  <p:cNvSpPr/>
                  <p:nvPr/>
                </p:nvSpPr>
                <p:spPr>
                  <a:xfrm>
                    <a:off x="608133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61" name="Freeform: Shape 14160">
                    <a:extLst>
                      <a:ext uri="{FF2B5EF4-FFF2-40B4-BE49-F238E27FC236}">
                        <a16:creationId xmlns:a16="http://schemas.microsoft.com/office/drawing/2014/main" id="{C56D5EA2-26D6-9311-216F-D2E92E4EC6D9}"/>
                      </a:ext>
                    </a:extLst>
                  </p:cNvPr>
                  <p:cNvSpPr/>
                  <p:nvPr/>
                </p:nvSpPr>
                <p:spPr>
                  <a:xfrm>
                    <a:off x="604351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1" name="Graphic 1391">
                  <a:extLst>
                    <a:ext uri="{FF2B5EF4-FFF2-40B4-BE49-F238E27FC236}">
                      <a16:creationId xmlns:a16="http://schemas.microsoft.com/office/drawing/2014/main" id="{E64E9B2E-948A-5F46-3D21-F16D617BFB56}"/>
                    </a:ext>
                  </a:extLst>
                </p:cNvPr>
                <p:cNvGrpSpPr/>
                <p:nvPr/>
              </p:nvGrpSpPr>
              <p:grpSpPr>
                <a:xfrm>
                  <a:off x="5723477" y="3768375"/>
                  <a:ext cx="75723" cy="75628"/>
                  <a:chOff x="5723477" y="3768375"/>
                  <a:chExt cx="75723" cy="75628"/>
                </a:xfrm>
              </p:grpSpPr>
              <p:sp>
                <p:nvSpPr>
                  <p:cNvPr id="14158" name="Freeform: Shape 14157">
                    <a:extLst>
                      <a:ext uri="{FF2B5EF4-FFF2-40B4-BE49-F238E27FC236}">
                        <a16:creationId xmlns:a16="http://schemas.microsoft.com/office/drawing/2014/main" id="{5683EC3B-354F-DF9A-FCDA-599DD5E8AD66}"/>
                      </a:ext>
                    </a:extLst>
                  </p:cNvPr>
                  <p:cNvSpPr/>
                  <p:nvPr/>
                </p:nvSpPr>
                <p:spPr>
                  <a:xfrm>
                    <a:off x="5761291"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9" name="Freeform: Shape 14158">
                    <a:extLst>
                      <a:ext uri="{FF2B5EF4-FFF2-40B4-BE49-F238E27FC236}">
                        <a16:creationId xmlns:a16="http://schemas.microsoft.com/office/drawing/2014/main" id="{43BCA683-B6B3-AB41-A53C-6446AB1F22DF}"/>
                      </a:ext>
                    </a:extLst>
                  </p:cNvPr>
                  <p:cNvSpPr/>
                  <p:nvPr/>
                </p:nvSpPr>
                <p:spPr>
                  <a:xfrm>
                    <a:off x="5723477"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2" name="Graphic 1391">
                  <a:extLst>
                    <a:ext uri="{FF2B5EF4-FFF2-40B4-BE49-F238E27FC236}">
                      <a16:creationId xmlns:a16="http://schemas.microsoft.com/office/drawing/2014/main" id="{2BA8B225-D938-F11F-C4AD-3EB45AF94B5C}"/>
                    </a:ext>
                  </a:extLst>
                </p:cNvPr>
                <p:cNvGrpSpPr/>
                <p:nvPr/>
              </p:nvGrpSpPr>
              <p:grpSpPr>
                <a:xfrm>
                  <a:off x="5704808" y="3768375"/>
                  <a:ext cx="75723" cy="75628"/>
                  <a:chOff x="5704808" y="3768375"/>
                  <a:chExt cx="75723" cy="75628"/>
                </a:xfrm>
              </p:grpSpPr>
              <p:sp>
                <p:nvSpPr>
                  <p:cNvPr id="14156" name="Freeform: Shape 14155">
                    <a:extLst>
                      <a:ext uri="{FF2B5EF4-FFF2-40B4-BE49-F238E27FC236}">
                        <a16:creationId xmlns:a16="http://schemas.microsoft.com/office/drawing/2014/main" id="{6D313C32-7ED0-5E24-F088-2777BC0DA8A1}"/>
                      </a:ext>
                    </a:extLst>
                  </p:cNvPr>
                  <p:cNvSpPr/>
                  <p:nvPr/>
                </p:nvSpPr>
                <p:spPr>
                  <a:xfrm>
                    <a:off x="5742622" y="37683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7" name="Freeform: Shape 14156">
                    <a:extLst>
                      <a:ext uri="{FF2B5EF4-FFF2-40B4-BE49-F238E27FC236}">
                        <a16:creationId xmlns:a16="http://schemas.microsoft.com/office/drawing/2014/main" id="{EC674388-AED1-24F2-F70C-5FDCD2718D68}"/>
                      </a:ext>
                    </a:extLst>
                  </p:cNvPr>
                  <p:cNvSpPr/>
                  <p:nvPr/>
                </p:nvSpPr>
                <p:spPr>
                  <a:xfrm>
                    <a:off x="5704808" y="3806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3" name="Graphic 1391">
                  <a:extLst>
                    <a:ext uri="{FF2B5EF4-FFF2-40B4-BE49-F238E27FC236}">
                      <a16:creationId xmlns:a16="http://schemas.microsoft.com/office/drawing/2014/main" id="{1705C598-ED64-0126-8169-2DE9B7ACE300}"/>
                    </a:ext>
                  </a:extLst>
                </p:cNvPr>
                <p:cNvGrpSpPr/>
                <p:nvPr/>
              </p:nvGrpSpPr>
              <p:grpSpPr>
                <a:xfrm>
                  <a:off x="5664708" y="3705796"/>
                  <a:ext cx="75628" cy="75723"/>
                  <a:chOff x="5664708" y="3705796"/>
                  <a:chExt cx="75628" cy="75723"/>
                </a:xfrm>
              </p:grpSpPr>
              <p:sp>
                <p:nvSpPr>
                  <p:cNvPr id="14154" name="Freeform: Shape 14153">
                    <a:extLst>
                      <a:ext uri="{FF2B5EF4-FFF2-40B4-BE49-F238E27FC236}">
                        <a16:creationId xmlns:a16="http://schemas.microsoft.com/office/drawing/2014/main" id="{34C64341-740D-DB85-50BC-3CBF78282D25}"/>
                      </a:ext>
                    </a:extLst>
                  </p:cNvPr>
                  <p:cNvSpPr/>
                  <p:nvPr/>
                </p:nvSpPr>
                <p:spPr>
                  <a:xfrm>
                    <a:off x="5702522" y="37057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5" name="Freeform: Shape 14154">
                    <a:extLst>
                      <a:ext uri="{FF2B5EF4-FFF2-40B4-BE49-F238E27FC236}">
                        <a16:creationId xmlns:a16="http://schemas.microsoft.com/office/drawing/2014/main" id="{E3ED834A-D195-4D28-FB29-1978EA66BCB6}"/>
                      </a:ext>
                    </a:extLst>
                  </p:cNvPr>
                  <p:cNvSpPr/>
                  <p:nvPr/>
                </p:nvSpPr>
                <p:spPr>
                  <a:xfrm>
                    <a:off x="5664708" y="37437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4" name="Graphic 1391">
                  <a:extLst>
                    <a:ext uri="{FF2B5EF4-FFF2-40B4-BE49-F238E27FC236}">
                      <a16:creationId xmlns:a16="http://schemas.microsoft.com/office/drawing/2014/main" id="{028F18B3-9DB6-BBC8-0233-07530FEF9AE3}"/>
                    </a:ext>
                  </a:extLst>
                </p:cNvPr>
                <p:cNvGrpSpPr/>
                <p:nvPr/>
              </p:nvGrpSpPr>
              <p:grpSpPr>
                <a:xfrm>
                  <a:off x="5267229" y="3503580"/>
                  <a:ext cx="75723" cy="75723"/>
                  <a:chOff x="5267229" y="3503580"/>
                  <a:chExt cx="75723" cy="75723"/>
                </a:xfrm>
              </p:grpSpPr>
              <p:sp>
                <p:nvSpPr>
                  <p:cNvPr id="14152" name="Freeform: Shape 14151">
                    <a:extLst>
                      <a:ext uri="{FF2B5EF4-FFF2-40B4-BE49-F238E27FC236}">
                        <a16:creationId xmlns:a16="http://schemas.microsoft.com/office/drawing/2014/main" id="{D93D6C6A-551D-4386-B501-A0ABC70FABF2}"/>
                      </a:ext>
                    </a:extLst>
                  </p:cNvPr>
                  <p:cNvSpPr/>
                  <p:nvPr/>
                </p:nvSpPr>
                <p:spPr>
                  <a:xfrm>
                    <a:off x="5305044" y="3503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3" name="Freeform: Shape 14152">
                    <a:extLst>
                      <a:ext uri="{FF2B5EF4-FFF2-40B4-BE49-F238E27FC236}">
                        <a16:creationId xmlns:a16="http://schemas.microsoft.com/office/drawing/2014/main" id="{E1476113-7131-D376-4190-6B561EAB4633}"/>
                      </a:ext>
                    </a:extLst>
                  </p:cNvPr>
                  <p:cNvSpPr/>
                  <p:nvPr/>
                </p:nvSpPr>
                <p:spPr>
                  <a:xfrm>
                    <a:off x="5267229" y="354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5" name="Graphic 1391">
                  <a:extLst>
                    <a:ext uri="{FF2B5EF4-FFF2-40B4-BE49-F238E27FC236}">
                      <a16:creationId xmlns:a16="http://schemas.microsoft.com/office/drawing/2014/main" id="{E68E808D-0B21-49A7-C30C-C07E60B8516F}"/>
                    </a:ext>
                  </a:extLst>
                </p:cNvPr>
                <p:cNvGrpSpPr/>
                <p:nvPr/>
              </p:nvGrpSpPr>
              <p:grpSpPr>
                <a:xfrm>
                  <a:off x="4946999" y="3369564"/>
                  <a:ext cx="75723" cy="75628"/>
                  <a:chOff x="4946999" y="3369564"/>
                  <a:chExt cx="75723" cy="75628"/>
                </a:xfrm>
              </p:grpSpPr>
              <p:sp>
                <p:nvSpPr>
                  <p:cNvPr id="14150" name="Freeform: Shape 14149">
                    <a:extLst>
                      <a:ext uri="{FF2B5EF4-FFF2-40B4-BE49-F238E27FC236}">
                        <a16:creationId xmlns:a16="http://schemas.microsoft.com/office/drawing/2014/main" id="{392D9F07-EE35-7062-1508-5782546F79FC}"/>
                      </a:ext>
                    </a:extLst>
                  </p:cNvPr>
                  <p:cNvSpPr/>
                  <p:nvPr/>
                </p:nvSpPr>
                <p:spPr>
                  <a:xfrm>
                    <a:off x="498490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51" name="Freeform: Shape 14150">
                    <a:extLst>
                      <a:ext uri="{FF2B5EF4-FFF2-40B4-BE49-F238E27FC236}">
                        <a16:creationId xmlns:a16="http://schemas.microsoft.com/office/drawing/2014/main" id="{B6ABD0B8-FE07-16F1-1A87-3DBC5BE30D3D}"/>
                      </a:ext>
                    </a:extLst>
                  </p:cNvPr>
                  <p:cNvSpPr/>
                  <p:nvPr/>
                </p:nvSpPr>
                <p:spPr>
                  <a:xfrm>
                    <a:off x="4946999"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6" name="Graphic 1391">
                  <a:extLst>
                    <a:ext uri="{FF2B5EF4-FFF2-40B4-BE49-F238E27FC236}">
                      <a16:creationId xmlns:a16="http://schemas.microsoft.com/office/drawing/2014/main" id="{58C91A95-B8F0-6130-765B-FBFAA04B2305}"/>
                    </a:ext>
                  </a:extLst>
                </p:cNvPr>
                <p:cNvGrpSpPr/>
                <p:nvPr/>
              </p:nvGrpSpPr>
              <p:grpSpPr>
                <a:xfrm>
                  <a:off x="4935664" y="3369564"/>
                  <a:ext cx="75723" cy="75628"/>
                  <a:chOff x="4935664" y="3369564"/>
                  <a:chExt cx="75723" cy="75628"/>
                </a:xfrm>
              </p:grpSpPr>
              <p:sp>
                <p:nvSpPr>
                  <p:cNvPr id="14148" name="Freeform: Shape 14147">
                    <a:extLst>
                      <a:ext uri="{FF2B5EF4-FFF2-40B4-BE49-F238E27FC236}">
                        <a16:creationId xmlns:a16="http://schemas.microsoft.com/office/drawing/2014/main" id="{8C4CED04-666D-909D-A075-BA2CDF2F1071}"/>
                      </a:ext>
                    </a:extLst>
                  </p:cNvPr>
                  <p:cNvSpPr/>
                  <p:nvPr/>
                </p:nvSpPr>
                <p:spPr>
                  <a:xfrm>
                    <a:off x="4973478" y="336956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9" name="Freeform: Shape 14148">
                    <a:extLst>
                      <a:ext uri="{FF2B5EF4-FFF2-40B4-BE49-F238E27FC236}">
                        <a16:creationId xmlns:a16="http://schemas.microsoft.com/office/drawing/2014/main" id="{08C2BE14-B56D-DFFB-26AE-19F950524B15}"/>
                      </a:ext>
                    </a:extLst>
                  </p:cNvPr>
                  <p:cNvSpPr/>
                  <p:nvPr/>
                </p:nvSpPr>
                <p:spPr>
                  <a:xfrm>
                    <a:off x="4935664" y="34073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7" name="Graphic 1391">
                  <a:extLst>
                    <a:ext uri="{FF2B5EF4-FFF2-40B4-BE49-F238E27FC236}">
                      <a16:creationId xmlns:a16="http://schemas.microsoft.com/office/drawing/2014/main" id="{BC1F58BE-F48F-F492-2A4A-37B3F2E08E5B}"/>
                    </a:ext>
                  </a:extLst>
                </p:cNvPr>
                <p:cNvGrpSpPr/>
                <p:nvPr/>
              </p:nvGrpSpPr>
              <p:grpSpPr>
                <a:xfrm>
                  <a:off x="4931092" y="3335464"/>
                  <a:ext cx="75628" cy="75723"/>
                  <a:chOff x="4931092" y="3335464"/>
                  <a:chExt cx="75628" cy="75723"/>
                </a:xfrm>
              </p:grpSpPr>
              <p:sp>
                <p:nvSpPr>
                  <p:cNvPr id="14146" name="Freeform: Shape 14145">
                    <a:extLst>
                      <a:ext uri="{FF2B5EF4-FFF2-40B4-BE49-F238E27FC236}">
                        <a16:creationId xmlns:a16="http://schemas.microsoft.com/office/drawing/2014/main" id="{6A4A0206-196C-3F7C-866C-20C2BFBB0227}"/>
                      </a:ext>
                    </a:extLst>
                  </p:cNvPr>
                  <p:cNvSpPr/>
                  <p:nvPr/>
                </p:nvSpPr>
                <p:spPr>
                  <a:xfrm>
                    <a:off x="4968906" y="33354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7" name="Freeform: Shape 14146">
                    <a:extLst>
                      <a:ext uri="{FF2B5EF4-FFF2-40B4-BE49-F238E27FC236}">
                        <a16:creationId xmlns:a16="http://schemas.microsoft.com/office/drawing/2014/main" id="{436DC032-0C50-5E98-A830-C58B9B3E6198}"/>
                      </a:ext>
                    </a:extLst>
                  </p:cNvPr>
                  <p:cNvSpPr/>
                  <p:nvPr/>
                </p:nvSpPr>
                <p:spPr>
                  <a:xfrm>
                    <a:off x="4931092" y="337327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8" name="Graphic 1391">
                  <a:extLst>
                    <a:ext uri="{FF2B5EF4-FFF2-40B4-BE49-F238E27FC236}">
                      <a16:creationId xmlns:a16="http://schemas.microsoft.com/office/drawing/2014/main" id="{5471E9BE-0E8E-6133-4BD3-78655B3A673A}"/>
                    </a:ext>
                  </a:extLst>
                </p:cNvPr>
                <p:cNvGrpSpPr/>
                <p:nvPr/>
              </p:nvGrpSpPr>
              <p:grpSpPr>
                <a:xfrm>
                  <a:off x="4927854" y="3319081"/>
                  <a:ext cx="75628" cy="75723"/>
                  <a:chOff x="4927854" y="3319081"/>
                  <a:chExt cx="75628" cy="75723"/>
                </a:xfrm>
              </p:grpSpPr>
              <p:sp>
                <p:nvSpPr>
                  <p:cNvPr id="14144" name="Freeform: Shape 14143">
                    <a:extLst>
                      <a:ext uri="{FF2B5EF4-FFF2-40B4-BE49-F238E27FC236}">
                        <a16:creationId xmlns:a16="http://schemas.microsoft.com/office/drawing/2014/main" id="{EF36FD90-3BD5-9123-DFA2-0D4875639BC6}"/>
                      </a:ext>
                    </a:extLst>
                  </p:cNvPr>
                  <p:cNvSpPr/>
                  <p:nvPr/>
                </p:nvSpPr>
                <p:spPr>
                  <a:xfrm>
                    <a:off x="4965668" y="3319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5" name="Freeform: Shape 14144">
                    <a:extLst>
                      <a:ext uri="{FF2B5EF4-FFF2-40B4-BE49-F238E27FC236}">
                        <a16:creationId xmlns:a16="http://schemas.microsoft.com/office/drawing/2014/main" id="{DED923DE-7BDA-617F-E992-FF632D294C9C}"/>
                      </a:ext>
                    </a:extLst>
                  </p:cNvPr>
                  <p:cNvSpPr/>
                  <p:nvPr/>
                </p:nvSpPr>
                <p:spPr>
                  <a:xfrm>
                    <a:off x="4927854" y="33569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69" name="Graphic 1391">
                  <a:extLst>
                    <a:ext uri="{FF2B5EF4-FFF2-40B4-BE49-F238E27FC236}">
                      <a16:creationId xmlns:a16="http://schemas.microsoft.com/office/drawing/2014/main" id="{AD6B92BE-94F4-7810-F0E9-3DCCB0E4021A}"/>
                    </a:ext>
                  </a:extLst>
                </p:cNvPr>
                <p:cNvGrpSpPr/>
                <p:nvPr/>
              </p:nvGrpSpPr>
              <p:grpSpPr>
                <a:xfrm>
                  <a:off x="4916900" y="3272504"/>
                  <a:ext cx="75628" cy="75723"/>
                  <a:chOff x="4916900" y="3272504"/>
                  <a:chExt cx="75628" cy="75723"/>
                </a:xfrm>
              </p:grpSpPr>
              <p:sp>
                <p:nvSpPr>
                  <p:cNvPr id="14142" name="Freeform: Shape 14141">
                    <a:extLst>
                      <a:ext uri="{FF2B5EF4-FFF2-40B4-BE49-F238E27FC236}">
                        <a16:creationId xmlns:a16="http://schemas.microsoft.com/office/drawing/2014/main" id="{76A42D39-4922-17BE-FD60-1316D5B52536}"/>
                      </a:ext>
                    </a:extLst>
                  </p:cNvPr>
                  <p:cNvSpPr/>
                  <p:nvPr/>
                </p:nvSpPr>
                <p:spPr>
                  <a:xfrm>
                    <a:off x="4954714"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3" name="Freeform: Shape 14142">
                    <a:extLst>
                      <a:ext uri="{FF2B5EF4-FFF2-40B4-BE49-F238E27FC236}">
                        <a16:creationId xmlns:a16="http://schemas.microsoft.com/office/drawing/2014/main" id="{7E80AD32-C2F1-A45C-2844-AFCBEB461F70}"/>
                      </a:ext>
                    </a:extLst>
                  </p:cNvPr>
                  <p:cNvSpPr/>
                  <p:nvPr/>
                </p:nvSpPr>
                <p:spPr>
                  <a:xfrm>
                    <a:off x="4916900" y="33103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0" name="Graphic 1391">
                  <a:extLst>
                    <a:ext uri="{FF2B5EF4-FFF2-40B4-BE49-F238E27FC236}">
                      <a16:creationId xmlns:a16="http://schemas.microsoft.com/office/drawing/2014/main" id="{D6A1F4EF-515F-AF8D-AA8E-CF973AB0A1F7}"/>
                    </a:ext>
                  </a:extLst>
                </p:cNvPr>
                <p:cNvGrpSpPr/>
                <p:nvPr/>
              </p:nvGrpSpPr>
              <p:grpSpPr>
                <a:xfrm>
                  <a:off x="4905089" y="3272504"/>
                  <a:ext cx="75723" cy="75723"/>
                  <a:chOff x="4905089" y="3272504"/>
                  <a:chExt cx="75723" cy="75723"/>
                </a:xfrm>
              </p:grpSpPr>
              <p:sp>
                <p:nvSpPr>
                  <p:cNvPr id="14140" name="Freeform: Shape 14139">
                    <a:extLst>
                      <a:ext uri="{FF2B5EF4-FFF2-40B4-BE49-F238E27FC236}">
                        <a16:creationId xmlns:a16="http://schemas.microsoft.com/office/drawing/2014/main" id="{73A50B6C-FD1E-0290-8B6F-3E99ABCDE917}"/>
                      </a:ext>
                    </a:extLst>
                  </p:cNvPr>
                  <p:cNvSpPr/>
                  <p:nvPr/>
                </p:nvSpPr>
                <p:spPr>
                  <a:xfrm>
                    <a:off x="4942998" y="32725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41" name="Freeform: Shape 14140">
                    <a:extLst>
                      <a:ext uri="{FF2B5EF4-FFF2-40B4-BE49-F238E27FC236}">
                        <a16:creationId xmlns:a16="http://schemas.microsoft.com/office/drawing/2014/main" id="{0554B555-CDF4-9FC6-8004-3817E57993B6}"/>
                      </a:ext>
                    </a:extLst>
                  </p:cNvPr>
                  <p:cNvSpPr/>
                  <p:nvPr/>
                </p:nvSpPr>
                <p:spPr>
                  <a:xfrm>
                    <a:off x="4905089" y="33103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1" name="Graphic 1391">
                  <a:extLst>
                    <a:ext uri="{FF2B5EF4-FFF2-40B4-BE49-F238E27FC236}">
                      <a16:creationId xmlns:a16="http://schemas.microsoft.com/office/drawing/2014/main" id="{13B98F8D-C1DC-A5D6-3900-713F0EE0E313}"/>
                    </a:ext>
                  </a:extLst>
                </p:cNvPr>
                <p:cNvGrpSpPr/>
                <p:nvPr/>
              </p:nvGrpSpPr>
              <p:grpSpPr>
                <a:xfrm>
                  <a:off x="4889944" y="3259740"/>
                  <a:ext cx="75723" cy="75723"/>
                  <a:chOff x="4889944" y="3259740"/>
                  <a:chExt cx="75723" cy="75723"/>
                </a:xfrm>
              </p:grpSpPr>
              <p:sp>
                <p:nvSpPr>
                  <p:cNvPr id="14138" name="Freeform: Shape 14137">
                    <a:extLst>
                      <a:ext uri="{FF2B5EF4-FFF2-40B4-BE49-F238E27FC236}">
                        <a16:creationId xmlns:a16="http://schemas.microsoft.com/office/drawing/2014/main" id="{4047F5DE-9B25-CB43-A66D-71416884160E}"/>
                      </a:ext>
                    </a:extLst>
                  </p:cNvPr>
                  <p:cNvSpPr/>
                  <p:nvPr/>
                </p:nvSpPr>
                <p:spPr>
                  <a:xfrm>
                    <a:off x="4927854" y="32597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9" name="Freeform: Shape 14138">
                    <a:extLst>
                      <a:ext uri="{FF2B5EF4-FFF2-40B4-BE49-F238E27FC236}">
                        <a16:creationId xmlns:a16="http://schemas.microsoft.com/office/drawing/2014/main" id="{FFDD0813-BAD2-4959-31F1-A4D07A2E9F19}"/>
                      </a:ext>
                    </a:extLst>
                  </p:cNvPr>
                  <p:cNvSpPr/>
                  <p:nvPr/>
                </p:nvSpPr>
                <p:spPr>
                  <a:xfrm>
                    <a:off x="4889944" y="32976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2" name="Graphic 1391">
                  <a:extLst>
                    <a:ext uri="{FF2B5EF4-FFF2-40B4-BE49-F238E27FC236}">
                      <a16:creationId xmlns:a16="http://schemas.microsoft.com/office/drawing/2014/main" id="{08222372-ECE7-B77D-A5FB-C9B284D6ECB5}"/>
                    </a:ext>
                  </a:extLst>
                </p:cNvPr>
                <p:cNvGrpSpPr/>
                <p:nvPr/>
              </p:nvGrpSpPr>
              <p:grpSpPr>
                <a:xfrm>
                  <a:off x="4657344" y="3139154"/>
                  <a:ext cx="75628" cy="75723"/>
                  <a:chOff x="4657344" y="3139154"/>
                  <a:chExt cx="75628" cy="75723"/>
                </a:xfrm>
              </p:grpSpPr>
              <p:sp>
                <p:nvSpPr>
                  <p:cNvPr id="14136" name="Freeform: Shape 14135">
                    <a:extLst>
                      <a:ext uri="{FF2B5EF4-FFF2-40B4-BE49-F238E27FC236}">
                        <a16:creationId xmlns:a16="http://schemas.microsoft.com/office/drawing/2014/main" id="{B5D824C7-D2E8-45A2-CB6E-BEE2650EDFA3}"/>
                      </a:ext>
                    </a:extLst>
                  </p:cNvPr>
                  <p:cNvSpPr/>
                  <p:nvPr/>
                </p:nvSpPr>
                <p:spPr>
                  <a:xfrm>
                    <a:off x="4695158" y="3139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7" name="Freeform: Shape 14136">
                    <a:extLst>
                      <a:ext uri="{FF2B5EF4-FFF2-40B4-BE49-F238E27FC236}">
                        <a16:creationId xmlns:a16="http://schemas.microsoft.com/office/drawing/2014/main" id="{20ECDD51-3E4C-615F-83BF-E2ADB8B3342B}"/>
                      </a:ext>
                    </a:extLst>
                  </p:cNvPr>
                  <p:cNvSpPr/>
                  <p:nvPr/>
                </p:nvSpPr>
                <p:spPr>
                  <a:xfrm>
                    <a:off x="4657344" y="3177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3" name="Graphic 1391">
                  <a:extLst>
                    <a:ext uri="{FF2B5EF4-FFF2-40B4-BE49-F238E27FC236}">
                      <a16:creationId xmlns:a16="http://schemas.microsoft.com/office/drawing/2014/main" id="{57238B11-1252-0171-3D68-B69CA1E37CA7}"/>
                    </a:ext>
                  </a:extLst>
                </p:cNvPr>
                <p:cNvGrpSpPr/>
                <p:nvPr/>
              </p:nvGrpSpPr>
              <p:grpSpPr>
                <a:xfrm>
                  <a:off x="4566094" y="3094672"/>
                  <a:ext cx="75723" cy="75723"/>
                  <a:chOff x="4566094" y="3094672"/>
                  <a:chExt cx="75723" cy="75723"/>
                </a:xfrm>
              </p:grpSpPr>
              <p:sp>
                <p:nvSpPr>
                  <p:cNvPr id="14134" name="Freeform: Shape 14133">
                    <a:extLst>
                      <a:ext uri="{FF2B5EF4-FFF2-40B4-BE49-F238E27FC236}">
                        <a16:creationId xmlns:a16="http://schemas.microsoft.com/office/drawing/2014/main" id="{59EAC86D-991D-F95E-99E3-03039626D933}"/>
                      </a:ext>
                    </a:extLst>
                  </p:cNvPr>
                  <p:cNvSpPr/>
                  <p:nvPr/>
                </p:nvSpPr>
                <p:spPr>
                  <a:xfrm>
                    <a:off x="4604004" y="30946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5" name="Freeform: Shape 14134">
                    <a:extLst>
                      <a:ext uri="{FF2B5EF4-FFF2-40B4-BE49-F238E27FC236}">
                        <a16:creationId xmlns:a16="http://schemas.microsoft.com/office/drawing/2014/main" id="{AFECA8C2-EC75-A021-8674-7E83C03BEC72}"/>
                      </a:ext>
                    </a:extLst>
                  </p:cNvPr>
                  <p:cNvSpPr/>
                  <p:nvPr/>
                </p:nvSpPr>
                <p:spPr>
                  <a:xfrm>
                    <a:off x="4566094" y="31325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4" name="Graphic 1391">
                  <a:extLst>
                    <a:ext uri="{FF2B5EF4-FFF2-40B4-BE49-F238E27FC236}">
                      <a16:creationId xmlns:a16="http://schemas.microsoft.com/office/drawing/2014/main" id="{5C6BACFB-A5F2-C4F1-6B47-227B0FF261D6}"/>
                    </a:ext>
                  </a:extLst>
                </p:cNvPr>
                <p:cNvGrpSpPr/>
                <p:nvPr/>
              </p:nvGrpSpPr>
              <p:grpSpPr>
                <a:xfrm>
                  <a:off x="4553521" y="3061049"/>
                  <a:ext cx="75723" cy="75723"/>
                  <a:chOff x="4553521" y="3061049"/>
                  <a:chExt cx="75723" cy="75723"/>
                </a:xfrm>
              </p:grpSpPr>
              <p:sp>
                <p:nvSpPr>
                  <p:cNvPr id="14132" name="Freeform: Shape 14131">
                    <a:extLst>
                      <a:ext uri="{FF2B5EF4-FFF2-40B4-BE49-F238E27FC236}">
                        <a16:creationId xmlns:a16="http://schemas.microsoft.com/office/drawing/2014/main" id="{652D5063-2C59-3854-583A-16F77D2E7F4B}"/>
                      </a:ext>
                    </a:extLst>
                  </p:cNvPr>
                  <p:cNvSpPr/>
                  <p:nvPr/>
                </p:nvSpPr>
                <p:spPr>
                  <a:xfrm>
                    <a:off x="4591431" y="306104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3" name="Freeform: Shape 14132">
                    <a:extLst>
                      <a:ext uri="{FF2B5EF4-FFF2-40B4-BE49-F238E27FC236}">
                        <a16:creationId xmlns:a16="http://schemas.microsoft.com/office/drawing/2014/main" id="{C18FFC0B-9B1B-969E-6F71-0EF8D3661B99}"/>
                      </a:ext>
                    </a:extLst>
                  </p:cNvPr>
                  <p:cNvSpPr/>
                  <p:nvPr/>
                </p:nvSpPr>
                <p:spPr>
                  <a:xfrm>
                    <a:off x="4553521" y="30989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5" name="Graphic 1391">
                  <a:extLst>
                    <a:ext uri="{FF2B5EF4-FFF2-40B4-BE49-F238E27FC236}">
                      <a16:creationId xmlns:a16="http://schemas.microsoft.com/office/drawing/2014/main" id="{456E319E-6550-B75B-72D8-43DB8CCD27CF}"/>
                    </a:ext>
                  </a:extLst>
                </p:cNvPr>
                <p:cNvGrpSpPr/>
                <p:nvPr/>
              </p:nvGrpSpPr>
              <p:grpSpPr>
                <a:xfrm>
                  <a:off x="4553521" y="3046476"/>
                  <a:ext cx="75723" cy="75723"/>
                  <a:chOff x="4553521" y="3046476"/>
                  <a:chExt cx="75723" cy="75723"/>
                </a:xfrm>
              </p:grpSpPr>
              <p:sp>
                <p:nvSpPr>
                  <p:cNvPr id="14130" name="Freeform: Shape 14129">
                    <a:extLst>
                      <a:ext uri="{FF2B5EF4-FFF2-40B4-BE49-F238E27FC236}">
                        <a16:creationId xmlns:a16="http://schemas.microsoft.com/office/drawing/2014/main" id="{769D524D-E1B4-A335-BC21-1FC47D1E6CCF}"/>
                      </a:ext>
                    </a:extLst>
                  </p:cNvPr>
                  <p:cNvSpPr/>
                  <p:nvPr/>
                </p:nvSpPr>
                <p:spPr>
                  <a:xfrm>
                    <a:off x="4591431" y="30464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31" name="Freeform: Shape 14130">
                    <a:extLst>
                      <a:ext uri="{FF2B5EF4-FFF2-40B4-BE49-F238E27FC236}">
                        <a16:creationId xmlns:a16="http://schemas.microsoft.com/office/drawing/2014/main" id="{E52F37F0-32CC-BB5D-1230-5A189F93015C}"/>
                      </a:ext>
                    </a:extLst>
                  </p:cNvPr>
                  <p:cNvSpPr/>
                  <p:nvPr/>
                </p:nvSpPr>
                <p:spPr>
                  <a:xfrm>
                    <a:off x="4553521" y="30842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6" name="Graphic 1391">
                  <a:extLst>
                    <a:ext uri="{FF2B5EF4-FFF2-40B4-BE49-F238E27FC236}">
                      <a16:creationId xmlns:a16="http://schemas.microsoft.com/office/drawing/2014/main" id="{F9F264BB-1F7E-3C7A-65DD-BC83FA967FF2}"/>
                    </a:ext>
                  </a:extLst>
                </p:cNvPr>
                <p:cNvGrpSpPr/>
                <p:nvPr/>
              </p:nvGrpSpPr>
              <p:grpSpPr>
                <a:xfrm>
                  <a:off x="4545901" y="3008661"/>
                  <a:ext cx="75628" cy="75628"/>
                  <a:chOff x="4545901" y="3008661"/>
                  <a:chExt cx="75628" cy="75628"/>
                </a:xfrm>
              </p:grpSpPr>
              <p:sp>
                <p:nvSpPr>
                  <p:cNvPr id="14128" name="Freeform: Shape 14127">
                    <a:extLst>
                      <a:ext uri="{FF2B5EF4-FFF2-40B4-BE49-F238E27FC236}">
                        <a16:creationId xmlns:a16="http://schemas.microsoft.com/office/drawing/2014/main" id="{5A0869B5-D196-DB83-1A94-9C0935B9AB60}"/>
                      </a:ext>
                    </a:extLst>
                  </p:cNvPr>
                  <p:cNvSpPr/>
                  <p:nvPr/>
                </p:nvSpPr>
                <p:spPr>
                  <a:xfrm>
                    <a:off x="4583715"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9" name="Freeform: Shape 14128">
                    <a:extLst>
                      <a:ext uri="{FF2B5EF4-FFF2-40B4-BE49-F238E27FC236}">
                        <a16:creationId xmlns:a16="http://schemas.microsoft.com/office/drawing/2014/main" id="{849DA01C-FEB1-0D69-B70F-BD257FBA4BEF}"/>
                      </a:ext>
                    </a:extLst>
                  </p:cNvPr>
                  <p:cNvSpPr/>
                  <p:nvPr/>
                </p:nvSpPr>
                <p:spPr>
                  <a:xfrm>
                    <a:off x="4545901" y="30464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7" name="Graphic 1391">
                  <a:extLst>
                    <a:ext uri="{FF2B5EF4-FFF2-40B4-BE49-F238E27FC236}">
                      <a16:creationId xmlns:a16="http://schemas.microsoft.com/office/drawing/2014/main" id="{AF3AE775-AD8D-D612-19EC-A04818FF2534}"/>
                    </a:ext>
                  </a:extLst>
                </p:cNvPr>
                <p:cNvGrpSpPr/>
                <p:nvPr/>
              </p:nvGrpSpPr>
              <p:grpSpPr>
                <a:xfrm>
                  <a:off x="4537710" y="3008661"/>
                  <a:ext cx="75723" cy="75628"/>
                  <a:chOff x="4537710" y="3008661"/>
                  <a:chExt cx="75723" cy="75628"/>
                </a:xfrm>
              </p:grpSpPr>
              <p:sp>
                <p:nvSpPr>
                  <p:cNvPr id="14126" name="Freeform: Shape 14125">
                    <a:extLst>
                      <a:ext uri="{FF2B5EF4-FFF2-40B4-BE49-F238E27FC236}">
                        <a16:creationId xmlns:a16="http://schemas.microsoft.com/office/drawing/2014/main" id="{1C9C84F8-9198-4782-00DA-724795D65516}"/>
                      </a:ext>
                    </a:extLst>
                  </p:cNvPr>
                  <p:cNvSpPr/>
                  <p:nvPr/>
                </p:nvSpPr>
                <p:spPr>
                  <a:xfrm>
                    <a:off x="4575619" y="30086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7" name="Freeform: Shape 14126">
                    <a:extLst>
                      <a:ext uri="{FF2B5EF4-FFF2-40B4-BE49-F238E27FC236}">
                        <a16:creationId xmlns:a16="http://schemas.microsoft.com/office/drawing/2014/main" id="{13B22C42-B389-4ABF-D058-165EFFAAC32E}"/>
                      </a:ext>
                    </a:extLst>
                  </p:cNvPr>
                  <p:cNvSpPr/>
                  <p:nvPr/>
                </p:nvSpPr>
                <p:spPr>
                  <a:xfrm>
                    <a:off x="4537710" y="30464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8" name="Graphic 1391">
                  <a:extLst>
                    <a:ext uri="{FF2B5EF4-FFF2-40B4-BE49-F238E27FC236}">
                      <a16:creationId xmlns:a16="http://schemas.microsoft.com/office/drawing/2014/main" id="{666C4081-0796-8AC1-F370-78B0126A5E1B}"/>
                    </a:ext>
                  </a:extLst>
                </p:cNvPr>
                <p:cNvGrpSpPr/>
                <p:nvPr/>
              </p:nvGrpSpPr>
              <p:grpSpPr>
                <a:xfrm>
                  <a:off x="4531709" y="2994183"/>
                  <a:ext cx="75628" cy="75723"/>
                  <a:chOff x="4531709" y="2994183"/>
                  <a:chExt cx="75628" cy="75723"/>
                </a:xfrm>
              </p:grpSpPr>
              <p:sp>
                <p:nvSpPr>
                  <p:cNvPr id="14124" name="Freeform: Shape 14123">
                    <a:extLst>
                      <a:ext uri="{FF2B5EF4-FFF2-40B4-BE49-F238E27FC236}">
                        <a16:creationId xmlns:a16="http://schemas.microsoft.com/office/drawing/2014/main" id="{2F32F6CE-3D2A-7A48-B4FB-B4CA3131FCE8}"/>
                      </a:ext>
                    </a:extLst>
                  </p:cNvPr>
                  <p:cNvSpPr/>
                  <p:nvPr/>
                </p:nvSpPr>
                <p:spPr>
                  <a:xfrm>
                    <a:off x="4569523" y="2994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5" name="Freeform: Shape 14124">
                    <a:extLst>
                      <a:ext uri="{FF2B5EF4-FFF2-40B4-BE49-F238E27FC236}">
                        <a16:creationId xmlns:a16="http://schemas.microsoft.com/office/drawing/2014/main" id="{F4FF5760-A041-92C2-AD40-AF13A42BAD9E}"/>
                      </a:ext>
                    </a:extLst>
                  </p:cNvPr>
                  <p:cNvSpPr/>
                  <p:nvPr/>
                </p:nvSpPr>
                <p:spPr>
                  <a:xfrm>
                    <a:off x="4531709" y="30319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79" name="Graphic 1391">
                  <a:extLst>
                    <a:ext uri="{FF2B5EF4-FFF2-40B4-BE49-F238E27FC236}">
                      <a16:creationId xmlns:a16="http://schemas.microsoft.com/office/drawing/2014/main" id="{5A15E816-5B3E-4354-3B91-CB0D4883761F}"/>
                    </a:ext>
                  </a:extLst>
                </p:cNvPr>
                <p:cNvGrpSpPr/>
                <p:nvPr/>
              </p:nvGrpSpPr>
              <p:grpSpPr>
                <a:xfrm>
                  <a:off x="4523136" y="2978372"/>
                  <a:ext cx="75723" cy="75723"/>
                  <a:chOff x="4523136" y="2978372"/>
                  <a:chExt cx="75723" cy="75723"/>
                </a:xfrm>
              </p:grpSpPr>
              <p:sp>
                <p:nvSpPr>
                  <p:cNvPr id="14122" name="Freeform: Shape 14121">
                    <a:extLst>
                      <a:ext uri="{FF2B5EF4-FFF2-40B4-BE49-F238E27FC236}">
                        <a16:creationId xmlns:a16="http://schemas.microsoft.com/office/drawing/2014/main" id="{F8190292-EEFA-02C0-211E-4BCFE2411189}"/>
                      </a:ext>
                    </a:extLst>
                  </p:cNvPr>
                  <p:cNvSpPr/>
                  <p:nvPr/>
                </p:nvSpPr>
                <p:spPr>
                  <a:xfrm>
                    <a:off x="4561046" y="2978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3" name="Freeform: Shape 14122">
                    <a:extLst>
                      <a:ext uri="{FF2B5EF4-FFF2-40B4-BE49-F238E27FC236}">
                        <a16:creationId xmlns:a16="http://schemas.microsoft.com/office/drawing/2014/main" id="{139FA2D2-36A9-73C3-DB25-D6053D39D0AA}"/>
                      </a:ext>
                    </a:extLst>
                  </p:cNvPr>
                  <p:cNvSpPr/>
                  <p:nvPr/>
                </p:nvSpPr>
                <p:spPr>
                  <a:xfrm>
                    <a:off x="4523136" y="3016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0" name="Graphic 1391">
                  <a:extLst>
                    <a:ext uri="{FF2B5EF4-FFF2-40B4-BE49-F238E27FC236}">
                      <a16:creationId xmlns:a16="http://schemas.microsoft.com/office/drawing/2014/main" id="{C099D4E7-9AD4-5A6F-516E-7F212A374B41}"/>
                    </a:ext>
                  </a:extLst>
                </p:cNvPr>
                <p:cNvGrpSpPr/>
                <p:nvPr/>
              </p:nvGrpSpPr>
              <p:grpSpPr>
                <a:xfrm>
                  <a:off x="4521517" y="2956369"/>
                  <a:ext cx="75723" cy="75628"/>
                  <a:chOff x="4521517" y="2956369"/>
                  <a:chExt cx="75723" cy="75628"/>
                </a:xfrm>
              </p:grpSpPr>
              <p:sp>
                <p:nvSpPr>
                  <p:cNvPr id="14120" name="Freeform: Shape 14119">
                    <a:extLst>
                      <a:ext uri="{FF2B5EF4-FFF2-40B4-BE49-F238E27FC236}">
                        <a16:creationId xmlns:a16="http://schemas.microsoft.com/office/drawing/2014/main" id="{17DACD8A-4361-D88E-6DD8-6CFC9E70DE04}"/>
                      </a:ext>
                    </a:extLst>
                  </p:cNvPr>
                  <p:cNvSpPr/>
                  <p:nvPr/>
                </p:nvSpPr>
                <p:spPr>
                  <a:xfrm>
                    <a:off x="4559427" y="29563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21" name="Freeform: Shape 14120">
                    <a:extLst>
                      <a:ext uri="{FF2B5EF4-FFF2-40B4-BE49-F238E27FC236}">
                        <a16:creationId xmlns:a16="http://schemas.microsoft.com/office/drawing/2014/main" id="{C5A1AEAC-6BEF-3BC4-E8AF-9B0A5D47B8D0}"/>
                      </a:ext>
                    </a:extLst>
                  </p:cNvPr>
                  <p:cNvSpPr/>
                  <p:nvPr/>
                </p:nvSpPr>
                <p:spPr>
                  <a:xfrm>
                    <a:off x="4521517" y="2994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1" name="Graphic 1391">
                  <a:extLst>
                    <a:ext uri="{FF2B5EF4-FFF2-40B4-BE49-F238E27FC236}">
                      <a16:creationId xmlns:a16="http://schemas.microsoft.com/office/drawing/2014/main" id="{D2D42425-243A-7073-B6EA-4F47669F6E45}"/>
                    </a:ext>
                  </a:extLst>
                </p:cNvPr>
                <p:cNvGrpSpPr/>
                <p:nvPr/>
              </p:nvGrpSpPr>
              <p:grpSpPr>
                <a:xfrm>
                  <a:off x="4195286" y="2825210"/>
                  <a:ext cx="75628" cy="75628"/>
                  <a:chOff x="4195286" y="2825210"/>
                  <a:chExt cx="75628" cy="75628"/>
                </a:xfrm>
              </p:grpSpPr>
              <p:sp>
                <p:nvSpPr>
                  <p:cNvPr id="14118" name="Freeform: Shape 14117">
                    <a:extLst>
                      <a:ext uri="{FF2B5EF4-FFF2-40B4-BE49-F238E27FC236}">
                        <a16:creationId xmlns:a16="http://schemas.microsoft.com/office/drawing/2014/main" id="{49BD80C8-22D8-114F-785B-1BD1CD61D5C9}"/>
                      </a:ext>
                    </a:extLst>
                  </p:cNvPr>
                  <p:cNvSpPr/>
                  <p:nvPr/>
                </p:nvSpPr>
                <p:spPr>
                  <a:xfrm>
                    <a:off x="4233100" y="282521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9" name="Freeform: Shape 14118">
                    <a:extLst>
                      <a:ext uri="{FF2B5EF4-FFF2-40B4-BE49-F238E27FC236}">
                        <a16:creationId xmlns:a16="http://schemas.microsoft.com/office/drawing/2014/main" id="{AD70F493-8FBF-9163-4C61-E0AA49A9382A}"/>
                      </a:ext>
                    </a:extLst>
                  </p:cNvPr>
                  <p:cNvSpPr/>
                  <p:nvPr/>
                </p:nvSpPr>
                <p:spPr>
                  <a:xfrm>
                    <a:off x="4195286" y="28630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2" name="Graphic 1391">
                  <a:extLst>
                    <a:ext uri="{FF2B5EF4-FFF2-40B4-BE49-F238E27FC236}">
                      <a16:creationId xmlns:a16="http://schemas.microsoft.com/office/drawing/2014/main" id="{E8FDB1CB-373C-FE27-AAF9-0DB1C868F3D5}"/>
                    </a:ext>
                  </a:extLst>
                </p:cNvPr>
                <p:cNvGrpSpPr/>
                <p:nvPr/>
              </p:nvGrpSpPr>
              <p:grpSpPr>
                <a:xfrm>
                  <a:off x="3800475" y="2590800"/>
                  <a:ext cx="75723" cy="75723"/>
                  <a:chOff x="3800475" y="2590800"/>
                  <a:chExt cx="75723" cy="75723"/>
                </a:xfrm>
              </p:grpSpPr>
              <p:sp>
                <p:nvSpPr>
                  <p:cNvPr id="14116" name="Freeform: Shape 14115">
                    <a:extLst>
                      <a:ext uri="{FF2B5EF4-FFF2-40B4-BE49-F238E27FC236}">
                        <a16:creationId xmlns:a16="http://schemas.microsoft.com/office/drawing/2014/main" id="{A8B7D534-C4AB-898A-C291-390026E91249}"/>
                      </a:ext>
                    </a:extLst>
                  </p:cNvPr>
                  <p:cNvSpPr/>
                  <p:nvPr/>
                </p:nvSpPr>
                <p:spPr>
                  <a:xfrm>
                    <a:off x="3838289" y="25908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7" name="Freeform: Shape 14116">
                    <a:extLst>
                      <a:ext uri="{FF2B5EF4-FFF2-40B4-BE49-F238E27FC236}">
                        <a16:creationId xmlns:a16="http://schemas.microsoft.com/office/drawing/2014/main" id="{40682FD3-EFA4-E3DC-E348-31221AB2C846}"/>
                      </a:ext>
                    </a:extLst>
                  </p:cNvPr>
                  <p:cNvSpPr/>
                  <p:nvPr/>
                </p:nvSpPr>
                <p:spPr>
                  <a:xfrm>
                    <a:off x="3800475" y="26286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3" name="Graphic 1391">
                  <a:extLst>
                    <a:ext uri="{FF2B5EF4-FFF2-40B4-BE49-F238E27FC236}">
                      <a16:creationId xmlns:a16="http://schemas.microsoft.com/office/drawing/2014/main" id="{A24D3595-8502-0E4D-8E9B-5A2CED831C1C}"/>
                    </a:ext>
                  </a:extLst>
                </p:cNvPr>
                <p:cNvGrpSpPr/>
                <p:nvPr/>
              </p:nvGrpSpPr>
              <p:grpSpPr>
                <a:xfrm>
                  <a:off x="5280564" y="3536918"/>
                  <a:ext cx="75723" cy="75723"/>
                  <a:chOff x="5280564" y="3536918"/>
                  <a:chExt cx="75723" cy="75723"/>
                </a:xfrm>
              </p:grpSpPr>
              <p:sp>
                <p:nvSpPr>
                  <p:cNvPr id="14114" name="Freeform: Shape 14113">
                    <a:extLst>
                      <a:ext uri="{FF2B5EF4-FFF2-40B4-BE49-F238E27FC236}">
                        <a16:creationId xmlns:a16="http://schemas.microsoft.com/office/drawing/2014/main" id="{D0A9CD01-1401-C5B0-8956-A74E1EB418ED}"/>
                      </a:ext>
                    </a:extLst>
                  </p:cNvPr>
                  <p:cNvSpPr/>
                  <p:nvPr/>
                </p:nvSpPr>
                <p:spPr>
                  <a:xfrm>
                    <a:off x="5318474"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5" name="Freeform: Shape 14114">
                    <a:extLst>
                      <a:ext uri="{FF2B5EF4-FFF2-40B4-BE49-F238E27FC236}">
                        <a16:creationId xmlns:a16="http://schemas.microsoft.com/office/drawing/2014/main" id="{5598AEB3-E18A-5CA7-7CF5-B762922D1E69}"/>
                      </a:ext>
                    </a:extLst>
                  </p:cNvPr>
                  <p:cNvSpPr/>
                  <p:nvPr/>
                </p:nvSpPr>
                <p:spPr>
                  <a:xfrm>
                    <a:off x="5280564"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4" name="Graphic 1391">
                  <a:extLst>
                    <a:ext uri="{FF2B5EF4-FFF2-40B4-BE49-F238E27FC236}">
                      <a16:creationId xmlns:a16="http://schemas.microsoft.com/office/drawing/2014/main" id="{749A88BB-D76B-2170-37E8-E264E5B48940}"/>
                    </a:ext>
                  </a:extLst>
                </p:cNvPr>
                <p:cNvGrpSpPr/>
                <p:nvPr/>
              </p:nvGrpSpPr>
              <p:grpSpPr>
                <a:xfrm>
                  <a:off x="5298852" y="3536918"/>
                  <a:ext cx="75723" cy="75723"/>
                  <a:chOff x="5298852" y="3536918"/>
                  <a:chExt cx="75723" cy="75723"/>
                </a:xfrm>
              </p:grpSpPr>
              <p:sp>
                <p:nvSpPr>
                  <p:cNvPr id="14112" name="Freeform: Shape 14111">
                    <a:extLst>
                      <a:ext uri="{FF2B5EF4-FFF2-40B4-BE49-F238E27FC236}">
                        <a16:creationId xmlns:a16="http://schemas.microsoft.com/office/drawing/2014/main" id="{8808A868-DBD4-9CA8-FBA0-433C62A8F895}"/>
                      </a:ext>
                    </a:extLst>
                  </p:cNvPr>
                  <p:cNvSpPr/>
                  <p:nvPr/>
                </p:nvSpPr>
                <p:spPr>
                  <a:xfrm>
                    <a:off x="5336667" y="35369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3" name="Freeform: Shape 14112">
                    <a:extLst>
                      <a:ext uri="{FF2B5EF4-FFF2-40B4-BE49-F238E27FC236}">
                        <a16:creationId xmlns:a16="http://schemas.microsoft.com/office/drawing/2014/main" id="{F7E0A9F5-7D38-3A02-AA82-AA4786366933}"/>
                      </a:ext>
                    </a:extLst>
                  </p:cNvPr>
                  <p:cNvSpPr/>
                  <p:nvPr/>
                </p:nvSpPr>
                <p:spPr>
                  <a:xfrm>
                    <a:off x="5298852" y="35747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5" name="Graphic 1391">
                  <a:extLst>
                    <a:ext uri="{FF2B5EF4-FFF2-40B4-BE49-F238E27FC236}">
                      <a16:creationId xmlns:a16="http://schemas.microsoft.com/office/drawing/2014/main" id="{12D4C7A1-E6DF-B359-65B2-7EDEAD930A03}"/>
                    </a:ext>
                  </a:extLst>
                </p:cNvPr>
                <p:cNvGrpSpPr/>
                <p:nvPr/>
              </p:nvGrpSpPr>
              <p:grpSpPr>
                <a:xfrm>
                  <a:off x="5305044" y="3573018"/>
                  <a:ext cx="75723" cy="75628"/>
                  <a:chOff x="5305044" y="3573018"/>
                  <a:chExt cx="75723" cy="75628"/>
                </a:xfrm>
              </p:grpSpPr>
              <p:sp>
                <p:nvSpPr>
                  <p:cNvPr id="14110" name="Freeform: Shape 14109">
                    <a:extLst>
                      <a:ext uri="{FF2B5EF4-FFF2-40B4-BE49-F238E27FC236}">
                        <a16:creationId xmlns:a16="http://schemas.microsoft.com/office/drawing/2014/main" id="{952677A2-C462-E941-7AC9-ED46A1B182E1}"/>
                      </a:ext>
                    </a:extLst>
                  </p:cNvPr>
                  <p:cNvSpPr/>
                  <p:nvPr/>
                </p:nvSpPr>
                <p:spPr>
                  <a:xfrm>
                    <a:off x="5342953" y="357301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11" name="Freeform: Shape 14110">
                    <a:extLst>
                      <a:ext uri="{FF2B5EF4-FFF2-40B4-BE49-F238E27FC236}">
                        <a16:creationId xmlns:a16="http://schemas.microsoft.com/office/drawing/2014/main" id="{E4173667-8E17-96CF-6B02-61B07FFE9EC5}"/>
                      </a:ext>
                    </a:extLst>
                  </p:cNvPr>
                  <p:cNvSpPr/>
                  <p:nvPr/>
                </p:nvSpPr>
                <p:spPr>
                  <a:xfrm>
                    <a:off x="5305044" y="3610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6" name="Graphic 1391">
                  <a:extLst>
                    <a:ext uri="{FF2B5EF4-FFF2-40B4-BE49-F238E27FC236}">
                      <a16:creationId xmlns:a16="http://schemas.microsoft.com/office/drawing/2014/main" id="{0C7689B1-9EB8-2AC3-D273-12E60C2ACC89}"/>
                    </a:ext>
                  </a:extLst>
                </p:cNvPr>
                <p:cNvGrpSpPr/>
                <p:nvPr/>
              </p:nvGrpSpPr>
              <p:grpSpPr>
                <a:xfrm>
                  <a:off x="5314473" y="3585114"/>
                  <a:ext cx="75723" cy="75723"/>
                  <a:chOff x="5314473" y="3585114"/>
                  <a:chExt cx="75723" cy="75723"/>
                </a:xfrm>
              </p:grpSpPr>
              <p:sp>
                <p:nvSpPr>
                  <p:cNvPr id="14108" name="Freeform: Shape 14107">
                    <a:extLst>
                      <a:ext uri="{FF2B5EF4-FFF2-40B4-BE49-F238E27FC236}">
                        <a16:creationId xmlns:a16="http://schemas.microsoft.com/office/drawing/2014/main" id="{4DE7603C-2B13-5A6A-9CBA-D318CE8AB572}"/>
                      </a:ext>
                    </a:extLst>
                  </p:cNvPr>
                  <p:cNvSpPr/>
                  <p:nvPr/>
                </p:nvSpPr>
                <p:spPr>
                  <a:xfrm>
                    <a:off x="5352383"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9" name="Freeform: Shape 14108">
                    <a:extLst>
                      <a:ext uri="{FF2B5EF4-FFF2-40B4-BE49-F238E27FC236}">
                        <a16:creationId xmlns:a16="http://schemas.microsoft.com/office/drawing/2014/main" id="{3E5C82D5-81C2-1FE9-D672-825CED35C5BD}"/>
                      </a:ext>
                    </a:extLst>
                  </p:cNvPr>
                  <p:cNvSpPr/>
                  <p:nvPr/>
                </p:nvSpPr>
                <p:spPr>
                  <a:xfrm>
                    <a:off x="5314473"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7" name="Graphic 1391">
                  <a:extLst>
                    <a:ext uri="{FF2B5EF4-FFF2-40B4-BE49-F238E27FC236}">
                      <a16:creationId xmlns:a16="http://schemas.microsoft.com/office/drawing/2014/main" id="{3F45C7EF-AD86-047D-68D3-EB2B8113BAA2}"/>
                    </a:ext>
                  </a:extLst>
                </p:cNvPr>
                <p:cNvGrpSpPr/>
                <p:nvPr/>
              </p:nvGrpSpPr>
              <p:grpSpPr>
                <a:xfrm>
                  <a:off x="5328380" y="3585114"/>
                  <a:ext cx="75723" cy="75723"/>
                  <a:chOff x="5328380" y="3585114"/>
                  <a:chExt cx="75723" cy="75723"/>
                </a:xfrm>
              </p:grpSpPr>
              <p:sp>
                <p:nvSpPr>
                  <p:cNvPr id="14106" name="Freeform: Shape 14105">
                    <a:extLst>
                      <a:ext uri="{FF2B5EF4-FFF2-40B4-BE49-F238E27FC236}">
                        <a16:creationId xmlns:a16="http://schemas.microsoft.com/office/drawing/2014/main" id="{3BB8227C-F63A-7333-CDD4-28C2F6144A08}"/>
                      </a:ext>
                    </a:extLst>
                  </p:cNvPr>
                  <p:cNvSpPr/>
                  <p:nvPr/>
                </p:nvSpPr>
                <p:spPr>
                  <a:xfrm>
                    <a:off x="5366289"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7" name="Freeform: Shape 14106">
                    <a:extLst>
                      <a:ext uri="{FF2B5EF4-FFF2-40B4-BE49-F238E27FC236}">
                        <a16:creationId xmlns:a16="http://schemas.microsoft.com/office/drawing/2014/main" id="{6F4B3EB5-6A5F-87D7-35BF-B18A8FB431E6}"/>
                      </a:ext>
                    </a:extLst>
                  </p:cNvPr>
                  <p:cNvSpPr/>
                  <p:nvPr/>
                </p:nvSpPr>
                <p:spPr>
                  <a:xfrm>
                    <a:off x="5328380"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8" name="Graphic 1391">
                  <a:extLst>
                    <a:ext uri="{FF2B5EF4-FFF2-40B4-BE49-F238E27FC236}">
                      <a16:creationId xmlns:a16="http://schemas.microsoft.com/office/drawing/2014/main" id="{02C0F2C8-2439-A7B7-2A21-8DD4C071A837}"/>
                    </a:ext>
                  </a:extLst>
                </p:cNvPr>
                <p:cNvGrpSpPr/>
                <p:nvPr/>
              </p:nvGrpSpPr>
              <p:grpSpPr>
                <a:xfrm>
                  <a:off x="5342382" y="3585114"/>
                  <a:ext cx="75628" cy="75723"/>
                  <a:chOff x="5342382" y="3585114"/>
                  <a:chExt cx="75628" cy="75723"/>
                </a:xfrm>
              </p:grpSpPr>
              <p:sp>
                <p:nvSpPr>
                  <p:cNvPr id="14104" name="Freeform: Shape 14103">
                    <a:extLst>
                      <a:ext uri="{FF2B5EF4-FFF2-40B4-BE49-F238E27FC236}">
                        <a16:creationId xmlns:a16="http://schemas.microsoft.com/office/drawing/2014/main" id="{11DFCB80-AA1F-25F9-6B07-C2AFAB9B24B4}"/>
                      </a:ext>
                    </a:extLst>
                  </p:cNvPr>
                  <p:cNvSpPr/>
                  <p:nvPr/>
                </p:nvSpPr>
                <p:spPr>
                  <a:xfrm>
                    <a:off x="5380196"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5" name="Freeform: Shape 14104">
                    <a:extLst>
                      <a:ext uri="{FF2B5EF4-FFF2-40B4-BE49-F238E27FC236}">
                        <a16:creationId xmlns:a16="http://schemas.microsoft.com/office/drawing/2014/main" id="{77FAF3D1-6798-2B15-C584-17687EC30D5A}"/>
                      </a:ext>
                    </a:extLst>
                  </p:cNvPr>
                  <p:cNvSpPr/>
                  <p:nvPr/>
                </p:nvSpPr>
                <p:spPr>
                  <a:xfrm>
                    <a:off x="5342382" y="362302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89" name="Graphic 1391">
                  <a:extLst>
                    <a:ext uri="{FF2B5EF4-FFF2-40B4-BE49-F238E27FC236}">
                      <a16:creationId xmlns:a16="http://schemas.microsoft.com/office/drawing/2014/main" id="{97623336-088D-3BB1-B7DE-DE57A3870C56}"/>
                    </a:ext>
                  </a:extLst>
                </p:cNvPr>
                <p:cNvGrpSpPr/>
                <p:nvPr/>
              </p:nvGrpSpPr>
              <p:grpSpPr>
                <a:xfrm>
                  <a:off x="5356288" y="3585114"/>
                  <a:ext cx="75723" cy="75723"/>
                  <a:chOff x="5356288" y="3585114"/>
                  <a:chExt cx="75723" cy="75723"/>
                </a:xfrm>
              </p:grpSpPr>
              <p:sp>
                <p:nvSpPr>
                  <p:cNvPr id="14102" name="Freeform: Shape 14101">
                    <a:extLst>
                      <a:ext uri="{FF2B5EF4-FFF2-40B4-BE49-F238E27FC236}">
                        <a16:creationId xmlns:a16="http://schemas.microsoft.com/office/drawing/2014/main" id="{FEF35D86-B252-A4D9-2C48-25C973BD8EB3}"/>
                      </a:ext>
                    </a:extLst>
                  </p:cNvPr>
                  <p:cNvSpPr/>
                  <p:nvPr/>
                </p:nvSpPr>
                <p:spPr>
                  <a:xfrm>
                    <a:off x="5394102" y="35851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3" name="Freeform: Shape 14102">
                    <a:extLst>
                      <a:ext uri="{FF2B5EF4-FFF2-40B4-BE49-F238E27FC236}">
                        <a16:creationId xmlns:a16="http://schemas.microsoft.com/office/drawing/2014/main" id="{83AD2365-49F3-5D80-80C7-E60DCADBF149}"/>
                      </a:ext>
                    </a:extLst>
                  </p:cNvPr>
                  <p:cNvSpPr/>
                  <p:nvPr/>
                </p:nvSpPr>
                <p:spPr>
                  <a:xfrm>
                    <a:off x="5356288" y="36230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0" name="Graphic 1391">
                  <a:extLst>
                    <a:ext uri="{FF2B5EF4-FFF2-40B4-BE49-F238E27FC236}">
                      <a16:creationId xmlns:a16="http://schemas.microsoft.com/office/drawing/2014/main" id="{4FA25607-22B0-5D78-C0FB-5DA01FA1184C}"/>
                    </a:ext>
                  </a:extLst>
                </p:cNvPr>
                <p:cNvGrpSpPr/>
                <p:nvPr/>
              </p:nvGrpSpPr>
              <p:grpSpPr>
                <a:xfrm>
                  <a:off x="5671566" y="3726180"/>
                  <a:ext cx="75723" cy="75723"/>
                  <a:chOff x="5671566" y="3726180"/>
                  <a:chExt cx="75723" cy="75723"/>
                </a:xfrm>
              </p:grpSpPr>
              <p:sp>
                <p:nvSpPr>
                  <p:cNvPr id="14100" name="Freeform: Shape 14099">
                    <a:extLst>
                      <a:ext uri="{FF2B5EF4-FFF2-40B4-BE49-F238E27FC236}">
                        <a16:creationId xmlns:a16="http://schemas.microsoft.com/office/drawing/2014/main" id="{7A311A9A-FA69-F577-D02F-B3DC78681129}"/>
                      </a:ext>
                    </a:extLst>
                  </p:cNvPr>
                  <p:cNvSpPr/>
                  <p:nvPr/>
                </p:nvSpPr>
                <p:spPr>
                  <a:xfrm>
                    <a:off x="5709380" y="3726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01" name="Freeform: Shape 14100">
                    <a:extLst>
                      <a:ext uri="{FF2B5EF4-FFF2-40B4-BE49-F238E27FC236}">
                        <a16:creationId xmlns:a16="http://schemas.microsoft.com/office/drawing/2014/main" id="{70874437-769E-0E6B-E3A0-C0597FB82EDC}"/>
                      </a:ext>
                    </a:extLst>
                  </p:cNvPr>
                  <p:cNvSpPr/>
                  <p:nvPr/>
                </p:nvSpPr>
                <p:spPr>
                  <a:xfrm>
                    <a:off x="5671566" y="3764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1" name="Graphic 1391">
                  <a:extLst>
                    <a:ext uri="{FF2B5EF4-FFF2-40B4-BE49-F238E27FC236}">
                      <a16:creationId xmlns:a16="http://schemas.microsoft.com/office/drawing/2014/main" id="{C0FE9165-1883-F0DC-E7BE-ABAF492976CD}"/>
                    </a:ext>
                  </a:extLst>
                </p:cNvPr>
                <p:cNvGrpSpPr/>
                <p:nvPr/>
              </p:nvGrpSpPr>
              <p:grpSpPr>
                <a:xfrm>
                  <a:off x="5682900" y="3735514"/>
                  <a:ext cx="75723" cy="75723"/>
                  <a:chOff x="5682900" y="3735514"/>
                  <a:chExt cx="75723" cy="75723"/>
                </a:xfrm>
              </p:grpSpPr>
              <p:sp>
                <p:nvSpPr>
                  <p:cNvPr id="14098" name="Freeform: Shape 14097">
                    <a:extLst>
                      <a:ext uri="{FF2B5EF4-FFF2-40B4-BE49-F238E27FC236}">
                        <a16:creationId xmlns:a16="http://schemas.microsoft.com/office/drawing/2014/main" id="{7FF4AF7F-AF4F-953C-BF6D-84F111FC3B9A}"/>
                      </a:ext>
                    </a:extLst>
                  </p:cNvPr>
                  <p:cNvSpPr/>
                  <p:nvPr/>
                </p:nvSpPr>
                <p:spPr>
                  <a:xfrm>
                    <a:off x="5720810"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9" name="Freeform: Shape 14098">
                    <a:extLst>
                      <a:ext uri="{FF2B5EF4-FFF2-40B4-BE49-F238E27FC236}">
                        <a16:creationId xmlns:a16="http://schemas.microsoft.com/office/drawing/2014/main" id="{D55F91C8-32F1-F238-EC71-ECEA512964AC}"/>
                      </a:ext>
                    </a:extLst>
                  </p:cNvPr>
                  <p:cNvSpPr/>
                  <p:nvPr/>
                </p:nvSpPr>
                <p:spPr>
                  <a:xfrm>
                    <a:off x="5682900"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2" name="Graphic 1391">
                  <a:extLst>
                    <a:ext uri="{FF2B5EF4-FFF2-40B4-BE49-F238E27FC236}">
                      <a16:creationId xmlns:a16="http://schemas.microsoft.com/office/drawing/2014/main" id="{CC222D8A-1213-1C92-B858-21A78A360EBB}"/>
                    </a:ext>
                  </a:extLst>
                </p:cNvPr>
                <p:cNvGrpSpPr/>
                <p:nvPr/>
              </p:nvGrpSpPr>
              <p:grpSpPr>
                <a:xfrm>
                  <a:off x="5692235" y="3735514"/>
                  <a:ext cx="75723" cy="75723"/>
                  <a:chOff x="5692235" y="3735514"/>
                  <a:chExt cx="75723" cy="75723"/>
                </a:xfrm>
              </p:grpSpPr>
              <p:sp>
                <p:nvSpPr>
                  <p:cNvPr id="14096" name="Freeform: Shape 14095">
                    <a:extLst>
                      <a:ext uri="{FF2B5EF4-FFF2-40B4-BE49-F238E27FC236}">
                        <a16:creationId xmlns:a16="http://schemas.microsoft.com/office/drawing/2014/main" id="{D680D720-1F1A-731B-0CC6-B1607AE1E3EC}"/>
                      </a:ext>
                    </a:extLst>
                  </p:cNvPr>
                  <p:cNvSpPr/>
                  <p:nvPr/>
                </p:nvSpPr>
                <p:spPr>
                  <a:xfrm>
                    <a:off x="5730144" y="37355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7" name="Freeform: Shape 14096">
                    <a:extLst>
                      <a:ext uri="{FF2B5EF4-FFF2-40B4-BE49-F238E27FC236}">
                        <a16:creationId xmlns:a16="http://schemas.microsoft.com/office/drawing/2014/main" id="{58F21377-97AE-F352-0272-910DD4757F8F}"/>
                      </a:ext>
                    </a:extLst>
                  </p:cNvPr>
                  <p:cNvSpPr/>
                  <p:nvPr/>
                </p:nvSpPr>
                <p:spPr>
                  <a:xfrm>
                    <a:off x="5692235" y="37733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093" name="Graphic 1391">
                  <a:extLst>
                    <a:ext uri="{FF2B5EF4-FFF2-40B4-BE49-F238E27FC236}">
                      <a16:creationId xmlns:a16="http://schemas.microsoft.com/office/drawing/2014/main" id="{3BF39504-F761-3972-E45D-549AEE79EB35}"/>
                    </a:ext>
                  </a:extLst>
                </p:cNvPr>
                <p:cNvGrpSpPr/>
                <p:nvPr/>
              </p:nvGrpSpPr>
              <p:grpSpPr>
                <a:xfrm>
                  <a:off x="7189470" y="4189952"/>
                  <a:ext cx="75723" cy="75723"/>
                  <a:chOff x="7189470" y="4189952"/>
                  <a:chExt cx="75723" cy="75723"/>
                </a:xfrm>
              </p:grpSpPr>
              <p:sp>
                <p:nvSpPr>
                  <p:cNvPr id="14094" name="Freeform: Shape 14093">
                    <a:extLst>
                      <a:ext uri="{FF2B5EF4-FFF2-40B4-BE49-F238E27FC236}">
                        <a16:creationId xmlns:a16="http://schemas.microsoft.com/office/drawing/2014/main" id="{629A3E54-FAA0-3EDD-8600-C03BA98EF31C}"/>
                      </a:ext>
                    </a:extLst>
                  </p:cNvPr>
                  <p:cNvSpPr/>
                  <p:nvPr/>
                </p:nvSpPr>
                <p:spPr>
                  <a:xfrm>
                    <a:off x="7227379" y="4189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95" name="Freeform: Shape 14094">
                    <a:extLst>
                      <a:ext uri="{FF2B5EF4-FFF2-40B4-BE49-F238E27FC236}">
                        <a16:creationId xmlns:a16="http://schemas.microsoft.com/office/drawing/2014/main" id="{7EBCD9CB-FC35-335D-F45E-0F712417572A}"/>
                      </a:ext>
                    </a:extLst>
                  </p:cNvPr>
                  <p:cNvSpPr/>
                  <p:nvPr/>
                </p:nvSpPr>
                <p:spPr>
                  <a:xfrm>
                    <a:off x="7189470" y="42278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031" name="Freeform: Shape 14030">
                <a:extLst>
                  <a:ext uri="{FF2B5EF4-FFF2-40B4-BE49-F238E27FC236}">
                    <a16:creationId xmlns:a16="http://schemas.microsoft.com/office/drawing/2014/main" id="{FE7E7B02-CD49-4D9C-8D77-0DEC92815D64}"/>
                  </a:ext>
                </a:extLst>
              </p:cNvPr>
              <p:cNvSpPr/>
              <p:nvPr/>
            </p:nvSpPr>
            <p:spPr>
              <a:xfrm>
                <a:off x="3835622" y="2628614"/>
                <a:ext cx="4526375" cy="1599247"/>
              </a:xfrm>
              <a:custGeom>
                <a:avLst/>
                <a:gdLst>
                  <a:gd name="connsiteX0" fmla="*/ 4526375 w 4526375"/>
                  <a:gd name="connsiteY0" fmla="*/ 1599248 h 1599247"/>
                  <a:gd name="connsiteX1" fmla="*/ 3064574 w 4526375"/>
                  <a:gd name="connsiteY1" fmla="*/ 1599248 h 1599247"/>
                  <a:gd name="connsiteX2" fmla="*/ 3064574 w 4526375"/>
                  <a:gd name="connsiteY2" fmla="*/ 1548289 h 1599247"/>
                  <a:gd name="connsiteX3" fmla="*/ 3052382 w 4526375"/>
                  <a:gd name="connsiteY3" fmla="*/ 1548289 h 1599247"/>
                  <a:gd name="connsiteX4" fmla="*/ 3052382 w 4526375"/>
                  <a:gd name="connsiteY4" fmla="*/ 1493234 h 1599247"/>
                  <a:gd name="connsiteX5" fmla="*/ 3018663 w 4526375"/>
                  <a:gd name="connsiteY5" fmla="*/ 1493234 h 1599247"/>
                  <a:gd name="connsiteX6" fmla="*/ 3018663 w 4526375"/>
                  <a:gd name="connsiteY6" fmla="*/ 1451610 h 1599247"/>
                  <a:gd name="connsiteX7" fmla="*/ 2717102 w 4526375"/>
                  <a:gd name="connsiteY7" fmla="*/ 1451610 h 1599247"/>
                  <a:gd name="connsiteX8" fmla="*/ 2717102 w 4526375"/>
                  <a:gd name="connsiteY8" fmla="*/ 1412939 h 1599247"/>
                  <a:gd name="connsiteX9" fmla="*/ 2675382 w 4526375"/>
                  <a:gd name="connsiteY9" fmla="*/ 1412939 h 1599247"/>
                  <a:gd name="connsiteX10" fmla="*/ 2675382 w 4526375"/>
                  <a:gd name="connsiteY10" fmla="*/ 1375886 h 1599247"/>
                  <a:gd name="connsiteX11" fmla="*/ 2642902 w 4526375"/>
                  <a:gd name="connsiteY11" fmla="*/ 1375886 h 1599247"/>
                  <a:gd name="connsiteX12" fmla="*/ 2642902 w 4526375"/>
                  <a:gd name="connsiteY12" fmla="*/ 1341882 h 1599247"/>
                  <a:gd name="connsiteX13" fmla="*/ 2452592 w 4526375"/>
                  <a:gd name="connsiteY13" fmla="*/ 1341882 h 1599247"/>
                  <a:gd name="connsiteX14" fmla="*/ 2452592 w 4526375"/>
                  <a:gd name="connsiteY14" fmla="*/ 1312355 h 1599247"/>
                  <a:gd name="connsiteX15" fmla="*/ 2359914 w 4526375"/>
                  <a:gd name="connsiteY15" fmla="*/ 1312355 h 1599247"/>
                  <a:gd name="connsiteX16" fmla="*/ 2359914 w 4526375"/>
                  <a:gd name="connsiteY16" fmla="*/ 1284732 h 1599247"/>
                  <a:gd name="connsiteX17" fmla="*/ 2329148 w 4526375"/>
                  <a:gd name="connsiteY17" fmla="*/ 1284732 h 1599247"/>
                  <a:gd name="connsiteX18" fmla="*/ 2329148 w 4526375"/>
                  <a:gd name="connsiteY18" fmla="*/ 1257967 h 1599247"/>
                  <a:gd name="connsiteX19" fmla="*/ 2300573 w 4526375"/>
                  <a:gd name="connsiteY19" fmla="*/ 1257967 h 1599247"/>
                  <a:gd name="connsiteX20" fmla="*/ 2300573 w 4526375"/>
                  <a:gd name="connsiteY20" fmla="*/ 1227201 h 1599247"/>
                  <a:gd name="connsiteX21" fmla="*/ 2276570 w 4526375"/>
                  <a:gd name="connsiteY21" fmla="*/ 1227201 h 1599247"/>
                  <a:gd name="connsiteX22" fmla="*/ 2276570 w 4526375"/>
                  <a:gd name="connsiteY22" fmla="*/ 1198340 h 1599247"/>
                  <a:gd name="connsiteX23" fmla="*/ 2264759 w 4526375"/>
                  <a:gd name="connsiteY23" fmla="*/ 1198340 h 1599247"/>
                  <a:gd name="connsiteX24" fmla="*/ 2264759 w 4526375"/>
                  <a:gd name="connsiteY24" fmla="*/ 1176433 h 1599247"/>
                  <a:gd name="connsiteX25" fmla="*/ 1906334 w 4526375"/>
                  <a:gd name="connsiteY25" fmla="*/ 1176433 h 1599247"/>
                  <a:gd name="connsiteX26" fmla="*/ 1906334 w 4526375"/>
                  <a:gd name="connsiteY26" fmla="*/ 1152716 h 1599247"/>
                  <a:gd name="connsiteX27" fmla="*/ 1872329 w 4526375"/>
                  <a:gd name="connsiteY27" fmla="*/ 1152716 h 1599247"/>
                  <a:gd name="connsiteX28" fmla="*/ 1872329 w 4526375"/>
                  <a:gd name="connsiteY28" fmla="*/ 1115092 h 1599247"/>
                  <a:gd name="connsiteX29" fmla="*/ 1843373 w 4526375"/>
                  <a:gd name="connsiteY29" fmla="*/ 1115092 h 1599247"/>
                  <a:gd name="connsiteX30" fmla="*/ 1843373 w 4526375"/>
                  <a:gd name="connsiteY30" fmla="*/ 1075849 h 1599247"/>
                  <a:gd name="connsiteX31" fmla="*/ 1771936 w 4526375"/>
                  <a:gd name="connsiteY31" fmla="*/ 1075849 h 1599247"/>
                  <a:gd name="connsiteX32" fmla="*/ 1771936 w 4526375"/>
                  <a:gd name="connsiteY32" fmla="*/ 1059752 h 1599247"/>
                  <a:gd name="connsiteX33" fmla="*/ 1730883 w 4526375"/>
                  <a:gd name="connsiteY33" fmla="*/ 1059752 h 1599247"/>
                  <a:gd name="connsiteX34" fmla="*/ 1730883 w 4526375"/>
                  <a:gd name="connsiteY34" fmla="*/ 1037844 h 1599247"/>
                  <a:gd name="connsiteX35" fmla="*/ 1631537 w 4526375"/>
                  <a:gd name="connsiteY35" fmla="*/ 1037844 h 1599247"/>
                  <a:gd name="connsiteX36" fmla="*/ 1631537 w 4526375"/>
                  <a:gd name="connsiteY36" fmla="*/ 1016889 h 1599247"/>
                  <a:gd name="connsiteX37" fmla="*/ 1559147 w 4526375"/>
                  <a:gd name="connsiteY37" fmla="*/ 1016889 h 1599247"/>
                  <a:gd name="connsiteX38" fmla="*/ 1559147 w 4526375"/>
                  <a:gd name="connsiteY38" fmla="*/ 994696 h 1599247"/>
                  <a:gd name="connsiteX39" fmla="*/ 1518476 w 4526375"/>
                  <a:gd name="connsiteY39" fmla="*/ 994696 h 1599247"/>
                  <a:gd name="connsiteX40" fmla="*/ 1518476 w 4526375"/>
                  <a:gd name="connsiteY40" fmla="*/ 977646 h 1599247"/>
                  <a:gd name="connsiteX41" fmla="*/ 1503521 w 4526375"/>
                  <a:gd name="connsiteY41" fmla="*/ 977646 h 1599247"/>
                  <a:gd name="connsiteX42" fmla="*/ 1503521 w 4526375"/>
                  <a:gd name="connsiteY42" fmla="*/ 945452 h 1599247"/>
                  <a:gd name="connsiteX43" fmla="*/ 1475899 w 4526375"/>
                  <a:gd name="connsiteY43" fmla="*/ 945452 h 1599247"/>
                  <a:gd name="connsiteX44" fmla="*/ 1475899 w 4526375"/>
                  <a:gd name="connsiteY44" fmla="*/ 912590 h 1599247"/>
                  <a:gd name="connsiteX45" fmla="*/ 1469422 w 4526375"/>
                  <a:gd name="connsiteY45" fmla="*/ 912590 h 1599247"/>
                  <a:gd name="connsiteX46" fmla="*/ 1469422 w 4526375"/>
                  <a:gd name="connsiteY46" fmla="*/ 880682 h 1599247"/>
                  <a:gd name="connsiteX47" fmla="*/ 1399318 w 4526375"/>
                  <a:gd name="connsiteY47" fmla="*/ 880682 h 1599247"/>
                  <a:gd name="connsiteX48" fmla="*/ 1399318 w 4526375"/>
                  <a:gd name="connsiteY48" fmla="*/ 864584 h 1599247"/>
                  <a:gd name="connsiteX49" fmla="*/ 1346073 w 4526375"/>
                  <a:gd name="connsiteY49" fmla="*/ 864584 h 1599247"/>
                  <a:gd name="connsiteX50" fmla="*/ 1346073 w 4526375"/>
                  <a:gd name="connsiteY50" fmla="*/ 844487 h 1599247"/>
                  <a:gd name="connsiteX51" fmla="*/ 1259110 w 4526375"/>
                  <a:gd name="connsiteY51" fmla="*/ 844487 h 1599247"/>
                  <a:gd name="connsiteX52" fmla="*/ 1259110 w 4526375"/>
                  <a:gd name="connsiteY52" fmla="*/ 826865 h 1599247"/>
                  <a:gd name="connsiteX53" fmla="*/ 1190149 w 4526375"/>
                  <a:gd name="connsiteY53" fmla="*/ 826865 h 1599247"/>
                  <a:gd name="connsiteX54" fmla="*/ 1190149 w 4526375"/>
                  <a:gd name="connsiteY54" fmla="*/ 808673 h 1599247"/>
                  <a:gd name="connsiteX55" fmla="*/ 1136618 w 4526375"/>
                  <a:gd name="connsiteY55" fmla="*/ 808673 h 1599247"/>
                  <a:gd name="connsiteX56" fmla="*/ 1136618 w 4526375"/>
                  <a:gd name="connsiteY56" fmla="*/ 727139 h 1599247"/>
                  <a:gd name="connsiteX57" fmla="*/ 1124141 w 4526375"/>
                  <a:gd name="connsiteY57" fmla="*/ 727139 h 1599247"/>
                  <a:gd name="connsiteX58" fmla="*/ 1124141 w 4526375"/>
                  <a:gd name="connsiteY58" fmla="*/ 679132 h 1599247"/>
                  <a:gd name="connsiteX59" fmla="*/ 1091946 w 4526375"/>
                  <a:gd name="connsiteY59" fmla="*/ 679132 h 1599247"/>
                  <a:gd name="connsiteX60" fmla="*/ 1091946 w 4526375"/>
                  <a:gd name="connsiteY60" fmla="*/ 636937 h 1599247"/>
                  <a:gd name="connsiteX61" fmla="*/ 1060323 w 4526375"/>
                  <a:gd name="connsiteY61" fmla="*/ 636937 h 1599247"/>
                  <a:gd name="connsiteX62" fmla="*/ 1060323 w 4526375"/>
                  <a:gd name="connsiteY62" fmla="*/ 591312 h 1599247"/>
                  <a:gd name="connsiteX63" fmla="*/ 1038701 w 4526375"/>
                  <a:gd name="connsiteY63" fmla="*/ 591312 h 1599247"/>
                  <a:gd name="connsiteX64" fmla="*/ 1038701 w 4526375"/>
                  <a:gd name="connsiteY64" fmla="*/ 575501 h 1599247"/>
                  <a:gd name="connsiteX65" fmla="*/ 943642 w 4526375"/>
                  <a:gd name="connsiteY65" fmla="*/ 575501 h 1599247"/>
                  <a:gd name="connsiteX66" fmla="*/ 943642 w 4526375"/>
                  <a:gd name="connsiteY66" fmla="*/ 565785 h 1599247"/>
                  <a:gd name="connsiteX67" fmla="*/ 873347 w 4526375"/>
                  <a:gd name="connsiteY67" fmla="*/ 565785 h 1599247"/>
                  <a:gd name="connsiteX68" fmla="*/ 873347 w 4526375"/>
                  <a:gd name="connsiteY68" fmla="*/ 548450 h 1599247"/>
                  <a:gd name="connsiteX69" fmla="*/ 800767 w 4526375"/>
                  <a:gd name="connsiteY69" fmla="*/ 548450 h 1599247"/>
                  <a:gd name="connsiteX70" fmla="*/ 800767 w 4526375"/>
                  <a:gd name="connsiteY70" fmla="*/ 531114 h 1599247"/>
                  <a:gd name="connsiteX71" fmla="*/ 776097 w 4526375"/>
                  <a:gd name="connsiteY71" fmla="*/ 531114 h 1599247"/>
                  <a:gd name="connsiteX72" fmla="*/ 776097 w 4526375"/>
                  <a:gd name="connsiteY72" fmla="*/ 485775 h 1599247"/>
                  <a:gd name="connsiteX73" fmla="*/ 759714 w 4526375"/>
                  <a:gd name="connsiteY73" fmla="*/ 485775 h 1599247"/>
                  <a:gd name="connsiteX74" fmla="*/ 759714 w 4526375"/>
                  <a:gd name="connsiteY74" fmla="*/ 439865 h 1599247"/>
                  <a:gd name="connsiteX75" fmla="*/ 745998 w 4526375"/>
                  <a:gd name="connsiteY75" fmla="*/ 439865 h 1599247"/>
                  <a:gd name="connsiteX76" fmla="*/ 745998 w 4526375"/>
                  <a:gd name="connsiteY76" fmla="*/ 415862 h 1599247"/>
                  <a:gd name="connsiteX77" fmla="*/ 735997 w 4526375"/>
                  <a:gd name="connsiteY77" fmla="*/ 415862 h 1599247"/>
                  <a:gd name="connsiteX78" fmla="*/ 735997 w 4526375"/>
                  <a:gd name="connsiteY78" fmla="*/ 384239 h 1599247"/>
                  <a:gd name="connsiteX79" fmla="*/ 721995 w 4526375"/>
                  <a:gd name="connsiteY79" fmla="*/ 384239 h 1599247"/>
                  <a:gd name="connsiteX80" fmla="*/ 721995 w 4526375"/>
                  <a:gd name="connsiteY80" fmla="*/ 348710 h 1599247"/>
                  <a:gd name="connsiteX81" fmla="*/ 713518 w 4526375"/>
                  <a:gd name="connsiteY81" fmla="*/ 348710 h 1599247"/>
                  <a:gd name="connsiteX82" fmla="*/ 713518 w 4526375"/>
                  <a:gd name="connsiteY82" fmla="*/ 324041 h 1599247"/>
                  <a:gd name="connsiteX83" fmla="*/ 700754 w 4526375"/>
                  <a:gd name="connsiteY83" fmla="*/ 324041 h 1599247"/>
                  <a:gd name="connsiteX84" fmla="*/ 700754 w 4526375"/>
                  <a:gd name="connsiteY84" fmla="*/ 312801 h 1599247"/>
                  <a:gd name="connsiteX85" fmla="*/ 661797 w 4526375"/>
                  <a:gd name="connsiteY85" fmla="*/ 312801 h 1599247"/>
                  <a:gd name="connsiteX86" fmla="*/ 661797 w 4526375"/>
                  <a:gd name="connsiteY86" fmla="*/ 300418 h 1599247"/>
                  <a:gd name="connsiteX87" fmla="*/ 612553 w 4526375"/>
                  <a:gd name="connsiteY87" fmla="*/ 300418 h 1599247"/>
                  <a:gd name="connsiteX88" fmla="*/ 612553 w 4526375"/>
                  <a:gd name="connsiteY88" fmla="*/ 272701 h 1599247"/>
                  <a:gd name="connsiteX89" fmla="*/ 566642 w 4526375"/>
                  <a:gd name="connsiteY89" fmla="*/ 272701 h 1599247"/>
                  <a:gd name="connsiteX90" fmla="*/ 566642 w 4526375"/>
                  <a:gd name="connsiteY90" fmla="*/ 262033 h 1599247"/>
                  <a:gd name="connsiteX91" fmla="*/ 552641 w 4526375"/>
                  <a:gd name="connsiteY91" fmla="*/ 262033 h 1599247"/>
                  <a:gd name="connsiteX92" fmla="*/ 552641 w 4526375"/>
                  <a:gd name="connsiteY92" fmla="*/ 249936 h 1599247"/>
                  <a:gd name="connsiteX93" fmla="*/ 432911 w 4526375"/>
                  <a:gd name="connsiteY93" fmla="*/ 249936 h 1599247"/>
                  <a:gd name="connsiteX94" fmla="*/ 432911 w 4526375"/>
                  <a:gd name="connsiteY94" fmla="*/ 234410 h 1599247"/>
                  <a:gd name="connsiteX95" fmla="*/ 383381 w 4526375"/>
                  <a:gd name="connsiteY95" fmla="*/ 234410 h 1599247"/>
                  <a:gd name="connsiteX96" fmla="*/ 383381 w 4526375"/>
                  <a:gd name="connsiteY96" fmla="*/ 201549 h 1599247"/>
                  <a:gd name="connsiteX97" fmla="*/ 373952 w 4526375"/>
                  <a:gd name="connsiteY97" fmla="*/ 201549 h 1599247"/>
                  <a:gd name="connsiteX98" fmla="*/ 373952 w 4526375"/>
                  <a:gd name="connsiteY98" fmla="*/ 184214 h 1599247"/>
                  <a:gd name="connsiteX99" fmla="*/ 370237 w 4526375"/>
                  <a:gd name="connsiteY99" fmla="*/ 184214 h 1599247"/>
                  <a:gd name="connsiteX100" fmla="*/ 370237 w 4526375"/>
                  <a:gd name="connsiteY100" fmla="*/ 156305 h 1599247"/>
                  <a:gd name="connsiteX101" fmla="*/ 365760 w 4526375"/>
                  <a:gd name="connsiteY101" fmla="*/ 156305 h 1599247"/>
                  <a:gd name="connsiteX102" fmla="*/ 365760 w 4526375"/>
                  <a:gd name="connsiteY102" fmla="*/ 144113 h 1599247"/>
                  <a:gd name="connsiteX103" fmla="*/ 357188 w 4526375"/>
                  <a:gd name="connsiteY103" fmla="*/ 144113 h 1599247"/>
                  <a:gd name="connsiteX104" fmla="*/ 357188 w 4526375"/>
                  <a:gd name="connsiteY104" fmla="*/ 127730 h 1599247"/>
                  <a:gd name="connsiteX105" fmla="*/ 340805 w 4526375"/>
                  <a:gd name="connsiteY105" fmla="*/ 127730 h 1599247"/>
                  <a:gd name="connsiteX106" fmla="*/ 340805 w 4526375"/>
                  <a:gd name="connsiteY106" fmla="*/ 118872 h 1599247"/>
                  <a:gd name="connsiteX107" fmla="*/ 307658 w 4526375"/>
                  <a:gd name="connsiteY107" fmla="*/ 118872 h 1599247"/>
                  <a:gd name="connsiteX108" fmla="*/ 307658 w 4526375"/>
                  <a:gd name="connsiteY108" fmla="*/ 88487 h 1599247"/>
                  <a:gd name="connsiteX109" fmla="*/ 282988 w 4526375"/>
                  <a:gd name="connsiteY109" fmla="*/ 88487 h 1599247"/>
                  <a:gd name="connsiteX110" fmla="*/ 282988 w 4526375"/>
                  <a:gd name="connsiteY110" fmla="*/ 75438 h 1599247"/>
                  <a:gd name="connsiteX111" fmla="*/ 241078 w 4526375"/>
                  <a:gd name="connsiteY111" fmla="*/ 75438 h 1599247"/>
                  <a:gd name="connsiteX112" fmla="*/ 241078 w 4526375"/>
                  <a:gd name="connsiteY112" fmla="*/ 53816 h 1599247"/>
                  <a:gd name="connsiteX113" fmla="*/ 232601 w 4526375"/>
                  <a:gd name="connsiteY113" fmla="*/ 53816 h 1599247"/>
                  <a:gd name="connsiteX114" fmla="*/ 232601 w 4526375"/>
                  <a:gd name="connsiteY114" fmla="*/ 42291 h 1599247"/>
                  <a:gd name="connsiteX115" fmla="*/ 173546 w 4526375"/>
                  <a:gd name="connsiteY115" fmla="*/ 42291 h 1599247"/>
                  <a:gd name="connsiteX116" fmla="*/ 173546 w 4526375"/>
                  <a:gd name="connsiteY116" fmla="*/ 24956 h 1599247"/>
                  <a:gd name="connsiteX117" fmla="*/ 160211 w 4526375"/>
                  <a:gd name="connsiteY117" fmla="*/ 24956 h 1599247"/>
                  <a:gd name="connsiteX118" fmla="*/ 160211 w 4526375"/>
                  <a:gd name="connsiteY118" fmla="*/ 14002 h 1599247"/>
                  <a:gd name="connsiteX119" fmla="*/ 102489 w 4526375"/>
                  <a:gd name="connsiteY119" fmla="*/ 14002 h 1599247"/>
                  <a:gd name="connsiteX120" fmla="*/ 102489 w 4526375"/>
                  <a:gd name="connsiteY120" fmla="*/ 0 h 1599247"/>
                  <a:gd name="connsiteX121" fmla="*/ 0 w 4526375"/>
                  <a:gd name="connsiteY121" fmla="*/ 0 h 159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526375" h="1599247">
                    <a:moveTo>
                      <a:pt x="4526375" y="1599248"/>
                    </a:moveTo>
                    <a:lnTo>
                      <a:pt x="3064574" y="1599248"/>
                    </a:lnTo>
                    <a:lnTo>
                      <a:pt x="3064574" y="1548289"/>
                    </a:lnTo>
                    <a:lnTo>
                      <a:pt x="3052382" y="1548289"/>
                    </a:lnTo>
                    <a:lnTo>
                      <a:pt x="3052382" y="1493234"/>
                    </a:lnTo>
                    <a:lnTo>
                      <a:pt x="3018663" y="1493234"/>
                    </a:lnTo>
                    <a:lnTo>
                      <a:pt x="3018663" y="1451610"/>
                    </a:lnTo>
                    <a:lnTo>
                      <a:pt x="2717102" y="1451610"/>
                    </a:lnTo>
                    <a:lnTo>
                      <a:pt x="2717102" y="1412939"/>
                    </a:lnTo>
                    <a:lnTo>
                      <a:pt x="2675382" y="1412939"/>
                    </a:lnTo>
                    <a:lnTo>
                      <a:pt x="2675382" y="1375886"/>
                    </a:lnTo>
                    <a:lnTo>
                      <a:pt x="2642902" y="1375886"/>
                    </a:lnTo>
                    <a:lnTo>
                      <a:pt x="2642902" y="1341882"/>
                    </a:lnTo>
                    <a:lnTo>
                      <a:pt x="2452592" y="1341882"/>
                    </a:lnTo>
                    <a:lnTo>
                      <a:pt x="2452592" y="1312355"/>
                    </a:lnTo>
                    <a:lnTo>
                      <a:pt x="2359914" y="1312355"/>
                    </a:lnTo>
                    <a:lnTo>
                      <a:pt x="2359914" y="1284732"/>
                    </a:lnTo>
                    <a:lnTo>
                      <a:pt x="2329148" y="1284732"/>
                    </a:lnTo>
                    <a:lnTo>
                      <a:pt x="2329148" y="1257967"/>
                    </a:lnTo>
                    <a:lnTo>
                      <a:pt x="2300573" y="1257967"/>
                    </a:lnTo>
                    <a:lnTo>
                      <a:pt x="2300573" y="1227201"/>
                    </a:lnTo>
                    <a:lnTo>
                      <a:pt x="2276570" y="1227201"/>
                    </a:lnTo>
                    <a:lnTo>
                      <a:pt x="2276570" y="1198340"/>
                    </a:lnTo>
                    <a:lnTo>
                      <a:pt x="2264759" y="1198340"/>
                    </a:lnTo>
                    <a:lnTo>
                      <a:pt x="2264759" y="1176433"/>
                    </a:lnTo>
                    <a:lnTo>
                      <a:pt x="1906334" y="1176433"/>
                    </a:lnTo>
                    <a:lnTo>
                      <a:pt x="1906334" y="1152716"/>
                    </a:lnTo>
                    <a:lnTo>
                      <a:pt x="1872329" y="1152716"/>
                    </a:lnTo>
                    <a:lnTo>
                      <a:pt x="1872329" y="1115092"/>
                    </a:lnTo>
                    <a:lnTo>
                      <a:pt x="1843373" y="1115092"/>
                    </a:lnTo>
                    <a:lnTo>
                      <a:pt x="1843373" y="1075849"/>
                    </a:lnTo>
                    <a:lnTo>
                      <a:pt x="1771936" y="1075849"/>
                    </a:lnTo>
                    <a:lnTo>
                      <a:pt x="1771936" y="1059752"/>
                    </a:lnTo>
                    <a:lnTo>
                      <a:pt x="1730883" y="1059752"/>
                    </a:lnTo>
                    <a:lnTo>
                      <a:pt x="1730883" y="1037844"/>
                    </a:lnTo>
                    <a:lnTo>
                      <a:pt x="1631537" y="1037844"/>
                    </a:lnTo>
                    <a:lnTo>
                      <a:pt x="1631537" y="1016889"/>
                    </a:lnTo>
                    <a:lnTo>
                      <a:pt x="1559147" y="1016889"/>
                    </a:lnTo>
                    <a:lnTo>
                      <a:pt x="1559147" y="994696"/>
                    </a:lnTo>
                    <a:lnTo>
                      <a:pt x="1518476" y="994696"/>
                    </a:lnTo>
                    <a:lnTo>
                      <a:pt x="1518476" y="977646"/>
                    </a:lnTo>
                    <a:lnTo>
                      <a:pt x="1503521" y="977646"/>
                    </a:lnTo>
                    <a:lnTo>
                      <a:pt x="1503521" y="945452"/>
                    </a:lnTo>
                    <a:lnTo>
                      <a:pt x="1475899" y="945452"/>
                    </a:lnTo>
                    <a:lnTo>
                      <a:pt x="1475899" y="912590"/>
                    </a:lnTo>
                    <a:lnTo>
                      <a:pt x="1469422" y="912590"/>
                    </a:lnTo>
                    <a:lnTo>
                      <a:pt x="1469422" y="880682"/>
                    </a:lnTo>
                    <a:lnTo>
                      <a:pt x="1399318" y="880682"/>
                    </a:lnTo>
                    <a:lnTo>
                      <a:pt x="1399318" y="864584"/>
                    </a:lnTo>
                    <a:lnTo>
                      <a:pt x="1346073" y="864584"/>
                    </a:lnTo>
                    <a:lnTo>
                      <a:pt x="1346073" y="844487"/>
                    </a:lnTo>
                    <a:lnTo>
                      <a:pt x="1259110" y="844487"/>
                    </a:lnTo>
                    <a:lnTo>
                      <a:pt x="1259110" y="826865"/>
                    </a:lnTo>
                    <a:lnTo>
                      <a:pt x="1190149" y="826865"/>
                    </a:lnTo>
                    <a:lnTo>
                      <a:pt x="1190149" y="808673"/>
                    </a:lnTo>
                    <a:lnTo>
                      <a:pt x="1136618" y="808673"/>
                    </a:lnTo>
                    <a:lnTo>
                      <a:pt x="1136618" y="727139"/>
                    </a:lnTo>
                    <a:lnTo>
                      <a:pt x="1124141" y="727139"/>
                    </a:lnTo>
                    <a:lnTo>
                      <a:pt x="1124141" y="679132"/>
                    </a:lnTo>
                    <a:lnTo>
                      <a:pt x="1091946" y="679132"/>
                    </a:lnTo>
                    <a:lnTo>
                      <a:pt x="1091946" y="636937"/>
                    </a:lnTo>
                    <a:lnTo>
                      <a:pt x="1060323" y="636937"/>
                    </a:lnTo>
                    <a:lnTo>
                      <a:pt x="1060323" y="591312"/>
                    </a:lnTo>
                    <a:lnTo>
                      <a:pt x="1038701" y="591312"/>
                    </a:lnTo>
                    <a:lnTo>
                      <a:pt x="1038701" y="575501"/>
                    </a:lnTo>
                    <a:lnTo>
                      <a:pt x="943642" y="575501"/>
                    </a:lnTo>
                    <a:lnTo>
                      <a:pt x="943642" y="565785"/>
                    </a:lnTo>
                    <a:lnTo>
                      <a:pt x="873347" y="565785"/>
                    </a:lnTo>
                    <a:lnTo>
                      <a:pt x="873347" y="548450"/>
                    </a:lnTo>
                    <a:lnTo>
                      <a:pt x="800767" y="548450"/>
                    </a:lnTo>
                    <a:lnTo>
                      <a:pt x="800767" y="531114"/>
                    </a:lnTo>
                    <a:lnTo>
                      <a:pt x="776097" y="531114"/>
                    </a:lnTo>
                    <a:lnTo>
                      <a:pt x="776097" y="485775"/>
                    </a:lnTo>
                    <a:lnTo>
                      <a:pt x="759714" y="485775"/>
                    </a:lnTo>
                    <a:lnTo>
                      <a:pt x="759714" y="439865"/>
                    </a:lnTo>
                    <a:lnTo>
                      <a:pt x="745998" y="439865"/>
                    </a:lnTo>
                    <a:lnTo>
                      <a:pt x="745998" y="415862"/>
                    </a:lnTo>
                    <a:lnTo>
                      <a:pt x="735997" y="415862"/>
                    </a:lnTo>
                    <a:lnTo>
                      <a:pt x="735997" y="384239"/>
                    </a:lnTo>
                    <a:lnTo>
                      <a:pt x="721995" y="384239"/>
                    </a:lnTo>
                    <a:lnTo>
                      <a:pt x="721995" y="348710"/>
                    </a:lnTo>
                    <a:lnTo>
                      <a:pt x="713518" y="348710"/>
                    </a:lnTo>
                    <a:lnTo>
                      <a:pt x="713518" y="324041"/>
                    </a:lnTo>
                    <a:lnTo>
                      <a:pt x="700754" y="324041"/>
                    </a:lnTo>
                    <a:lnTo>
                      <a:pt x="700754" y="312801"/>
                    </a:lnTo>
                    <a:lnTo>
                      <a:pt x="661797" y="312801"/>
                    </a:lnTo>
                    <a:lnTo>
                      <a:pt x="661797" y="300418"/>
                    </a:lnTo>
                    <a:lnTo>
                      <a:pt x="612553" y="300418"/>
                    </a:lnTo>
                    <a:lnTo>
                      <a:pt x="612553" y="272701"/>
                    </a:lnTo>
                    <a:lnTo>
                      <a:pt x="566642" y="272701"/>
                    </a:lnTo>
                    <a:lnTo>
                      <a:pt x="566642" y="262033"/>
                    </a:lnTo>
                    <a:lnTo>
                      <a:pt x="552641" y="262033"/>
                    </a:lnTo>
                    <a:lnTo>
                      <a:pt x="552641" y="249936"/>
                    </a:lnTo>
                    <a:lnTo>
                      <a:pt x="432911" y="249936"/>
                    </a:lnTo>
                    <a:lnTo>
                      <a:pt x="432911" y="234410"/>
                    </a:lnTo>
                    <a:lnTo>
                      <a:pt x="383381" y="234410"/>
                    </a:lnTo>
                    <a:lnTo>
                      <a:pt x="383381" y="201549"/>
                    </a:lnTo>
                    <a:lnTo>
                      <a:pt x="373952" y="201549"/>
                    </a:lnTo>
                    <a:lnTo>
                      <a:pt x="373952" y="184214"/>
                    </a:lnTo>
                    <a:lnTo>
                      <a:pt x="370237" y="184214"/>
                    </a:lnTo>
                    <a:lnTo>
                      <a:pt x="370237" y="156305"/>
                    </a:lnTo>
                    <a:lnTo>
                      <a:pt x="365760" y="156305"/>
                    </a:lnTo>
                    <a:lnTo>
                      <a:pt x="365760" y="144113"/>
                    </a:lnTo>
                    <a:lnTo>
                      <a:pt x="357188" y="144113"/>
                    </a:lnTo>
                    <a:lnTo>
                      <a:pt x="357188" y="127730"/>
                    </a:lnTo>
                    <a:lnTo>
                      <a:pt x="340805" y="127730"/>
                    </a:lnTo>
                    <a:lnTo>
                      <a:pt x="340805" y="118872"/>
                    </a:lnTo>
                    <a:lnTo>
                      <a:pt x="307658" y="118872"/>
                    </a:lnTo>
                    <a:lnTo>
                      <a:pt x="307658" y="88487"/>
                    </a:lnTo>
                    <a:lnTo>
                      <a:pt x="282988" y="88487"/>
                    </a:lnTo>
                    <a:lnTo>
                      <a:pt x="282988" y="75438"/>
                    </a:lnTo>
                    <a:lnTo>
                      <a:pt x="241078" y="75438"/>
                    </a:lnTo>
                    <a:lnTo>
                      <a:pt x="241078" y="53816"/>
                    </a:lnTo>
                    <a:lnTo>
                      <a:pt x="232601" y="53816"/>
                    </a:lnTo>
                    <a:lnTo>
                      <a:pt x="232601" y="42291"/>
                    </a:lnTo>
                    <a:lnTo>
                      <a:pt x="173546" y="42291"/>
                    </a:lnTo>
                    <a:lnTo>
                      <a:pt x="173546" y="24956"/>
                    </a:lnTo>
                    <a:lnTo>
                      <a:pt x="160211" y="24956"/>
                    </a:lnTo>
                    <a:lnTo>
                      <a:pt x="160211" y="14002"/>
                    </a:lnTo>
                    <a:lnTo>
                      <a:pt x="102489" y="14002"/>
                    </a:lnTo>
                    <a:lnTo>
                      <a:pt x="10248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29" name="Group 13828">
              <a:extLst>
                <a:ext uri="{FF2B5EF4-FFF2-40B4-BE49-F238E27FC236}">
                  <a16:creationId xmlns:a16="http://schemas.microsoft.com/office/drawing/2014/main" id="{4EE8EE1A-5007-9218-9EF7-AA89E7CE1CC4}"/>
                </a:ext>
              </a:extLst>
            </p:cNvPr>
            <p:cNvGrpSpPr/>
            <p:nvPr/>
          </p:nvGrpSpPr>
          <p:grpSpPr>
            <a:xfrm>
              <a:off x="1040606" y="1476375"/>
              <a:ext cx="6090949" cy="1935956"/>
              <a:chOff x="1040606" y="1476375"/>
              <a:chExt cx="6090949" cy="1935956"/>
            </a:xfrm>
          </p:grpSpPr>
          <p:grpSp>
            <p:nvGrpSpPr>
              <p:cNvPr id="13830" name="Graphic 1583">
                <a:extLst>
                  <a:ext uri="{FF2B5EF4-FFF2-40B4-BE49-F238E27FC236}">
                    <a16:creationId xmlns:a16="http://schemas.microsoft.com/office/drawing/2014/main" id="{C70B819A-3CBA-C05D-2639-7EA659A58A6D}"/>
                  </a:ext>
                </a:extLst>
              </p:cNvPr>
              <p:cNvGrpSpPr/>
              <p:nvPr/>
            </p:nvGrpSpPr>
            <p:grpSpPr>
              <a:xfrm>
                <a:off x="1469675" y="1616392"/>
                <a:ext cx="5661880" cy="1795939"/>
                <a:chOff x="4136421" y="2810065"/>
                <a:chExt cx="4244530" cy="1346358"/>
              </a:xfrm>
            </p:grpSpPr>
            <p:grpSp>
              <p:nvGrpSpPr>
                <p:cNvPr id="13832" name="Graphic 1583">
                  <a:extLst>
                    <a:ext uri="{FF2B5EF4-FFF2-40B4-BE49-F238E27FC236}">
                      <a16:creationId xmlns:a16="http://schemas.microsoft.com/office/drawing/2014/main" id="{F9FF887D-5194-5115-27A3-F434AB15C272}"/>
                    </a:ext>
                  </a:extLst>
                </p:cNvPr>
                <p:cNvGrpSpPr/>
                <p:nvPr/>
              </p:nvGrpSpPr>
              <p:grpSpPr>
                <a:xfrm>
                  <a:off x="8305323" y="4080700"/>
                  <a:ext cx="75628" cy="75723"/>
                  <a:chOff x="8305323" y="4080700"/>
                  <a:chExt cx="75628" cy="75723"/>
                </a:xfrm>
              </p:grpSpPr>
              <p:sp>
                <p:nvSpPr>
                  <p:cNvPr id="14028" name="Freeform: Shape 14027">
                    <a:extLst>
                      <a:ext uri="{FF2B5EF4-FFF2-40B4-BE49-F238E27FC236}">
                        <a16:creationId xmlns:a16="http://schemas.microsoft.com/office/drawing/2014/main" id="{4F9C30BE-D621-0E0D-91E9-F50998943523}"/>
                      </a:ext>
                    </a:extLst>
                  </p:cNvPr>
                  <p:cNvSpPr/>
                  <p:nvPr/>
                </p:nvSpPr>
                <p:spPr>
                  <a:xfrm>
                    <a:off x="8343137"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9" name="Freeform: Shape 14028">
                    <a:extLst>
                      <a:ext uri="{FF2B5EF4-FFF2-40B4-BE49-F238E27FC236}">
                        <a16:creationId xmlns:a16="http://schemas.microsoft.com/office/drawing/2014/main" id="{893D102E-59A5-A385-9DB6-C1E8ADA1712E}"/>
                      </a:ext>
                    </a:extLst>
                  </p:cNvPr>
                  <p:cNvSpPr/>
                  <p:nvPr/>
                </p:nvSpPr>
                <p:spPr>
                  <a:xfrm>
                    <a:off x="8305323" y="41185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3" name="Graphic 1583">
                  <a:extLst>
                    <a:ext uri="{FF2B5EF4-FFF2-40B4-BE49-F238E27FC236}">
                      <a16:creationId xmlns:a16="http://schemas.microsoft.com/office/drawing/2014/main" id="{D237A6C2-96B8-F6B3-6ED1-80C1570338CE}"/>
                    </a:ext>
                  </a:extLst>
                </p:cNvPr>
                <p:cNvGrpSpPr/>
                <p:nvPr/>
              </p:nvGrpSpPr>
              <p:grpSpPr>
                <a:xfrm>
                  <a:off x="7934800" y="4080700"/>
                  <a:ext cx="75628" cy="75723"/>
                  <a:chOff x="7934800" y="4080700"/>
                  <a:chExt cx="75628" cy="75723"/>
                </a:xfrm>
              </p:grpSpPr>
              <p:sp>
                <p:nvSpPr>
                  <p:cNvPr id="14026" name="Freeform: Shape 14025">
                    <a:extLst>
                      <a:ext uri="{FF2B5EF4-FFF2-40B4-BE49-F238E27FC236}">
                        <a16:creationId xmlns:a16="http://schemas.microsoft.com/office/drawing/2014/main" id="{9CD880DB-8A4D-A8B2-4B45-249753014535}"/>
                      </a:ext>
                    </a:extLst>
                  </p:cNvPr>
                  <p:cNvSpPr/>
                  <p:nvPr/>
                </p:nvSpPr>
                <p:spPr>
                  <a:xfrm>
                    <a:off x="797261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7" name="Freeform: Shape 14026">
                    <a:extLst>
                      <a:ext uri="{FF2B5EF4-FFF2-40B4-BE49-F238E27FC236}">
                        <a16:creationId xmlns:a16="http://schemas.microsoft.com/office/drawing/2014/main" id="{5B1596EF-7A49-8239-299D-C74E86070B6A}"/>
                      </a:ext>
                    </a:extLst>
                  </p:cNvPr>
                  <p:cNvSpPr/>
                  <p:nvPr/>
                </p:nvSpPr>
                <p:spPr>
                  <a:xfrm>
                    <a:off x="7934800"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4" name="Graphic 1583">
                  <a:extLst>
                    <a:ext uri="{FF2B5EF4-FFF2-40B4-BE49-F238E27FC236}">
                      <a16:creationId xmlns:a16="http://schemas.microsoft.com/office/drawing/2014/main" id="{59B97867-1499-F47C-90F8-760ACA512EDE}"/>
                    </a:ext>
                  </a:extLst>
                </p:cNvPr>
                <p:cNvGrpSpPr/>
                <p:nvPr/>
              </p:nvGrpSpPr>
              <p:grpSpPr>
                <a:xfrm>
                  <a:off x="7923561" y="4080700"/>
                  <a:ext cx="75628" cy="75723"/>
                  <a:chOff x="7923561" y="4080700"/>
                  <a:chExt cx="75628" cy="75723"/>
                </a:xfrm>
              </p:grpSpPr>
              <p:sp>
                <p:nvSpPr>
                  <p:cNvPr id="14024" name="Freeform: Shape 14023">
                    <a:extLst>
                      <a:ext uri="{FF2B5EF4-FFF2-40B4-BE49-F238E27FC236}">
                        <a16:creationId xmlns:a16="http://schemas.microsoft.com/office/drawing/2014/main" id="{D5BB2613-5D51-62E1-14A1-CE4F53C8772D}"/>
                      </a:ext>
                    </a:extLst>
                  </p:cNvPr>
                  <p:cNvSpPr/>
                  <p:nvPr/>
                </p:nvSpPr>
                <p:spPr>
                  <a:xfrm>
                    <a:off x="7961375"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5" name="Freeform: Shape 14024">
                    <a:extLst>
                      <a:ext uri="{FF2B5EF4-FFF2-40B4-BE49-F238E27FC236}">
                        <a16:creationId xmlns:a16="http://schemas.microsoft.com/office/drawing/2014/main" id="{0EF2E468-91B3-182E-4889-768ECC7F6008}"/>
                      </a:ext>
                    </a:extLst>
                  </p:cNvPr>
                  <p:cNvSpPr/>
                  <p:nvPr/>
                </p:nvSpPr>
                <p:spPr>
                  <a:xfrm>
                    <a:off x="7923561" y="41185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5" name="Graphic 1583">
                  <a:extLst>
                    <a:ext uri="{FF2B5EF4-FFF2-40B4-BE49-F238E27FC236}">
                      <a16:creationId xmlns:a16="http://schemas.microsoft.com/office/drawing/2014/main" id="{A3B73212-6B51-736E-6AAC-415C92E75453}"/>
                    </a:ext>
                  </a:extLst>
                </p:cNvPr>
                <p:cNvGrpSpPr/>
                <p:nvPr/>
              </p:nvGrpSpPr>
              <p:grpSpPr>
                <a:xfrm>
                  <a:off x="7590281" y="4080700"/>
                  <a:ext cx="75723" cy="75723"/>
                  <a:chOff x="7590281" y="4080700"/>
                  <a:chExt cx="75723" cy="75723"/>
                </a:xfrm>
              </p:grpSpPr>
              <p:sp>
                <p:nvSpPr>
                  <p:cNvPr id="14022" name="Freeform: Shape 14021">
                    <a:extLst>
                      <a:ext uri="{FF2B5EF4-FFF2-40B4-BE49-F238E27FC236}">
                        <a16:creationId xmlns:a16="http://schemas.microsoft.com/office/drawing/2014/main" id="{8E24B77D-C292-EC09-2F20-00E66AC1765D}"/>
                      </a:ext>
                    </a:extLst>
                  </p:cNvPr>
                  <p:cNvSpPr/>
                  <p:nvPr/>
                </p:nvSpPr>
                <p:spPr>
                  <a:xfrm>
                    <a:off x="7628191"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3" name="Freeform: Shape 14022">
                    <a:extLst>
                      <a:ext uri="{FF2B5EF4-FFF2-40B4-BE49-F238E27FC236}">
                        <a16:creationId xmlns:a16="http://schemas.microsoft.com/office/drawing/2014/main" id="{7F1486F5-3D62-BBDF-2322-1D04A3896FAC}"/>
                      </a:ext>
                    </a:extLst>
                  </p:cNvPr>
                  <p:cNvSpPr/>
                  <p:nvPr/>
                </p:nvSpPr>
                <p:spPr>
                  <a:xfrm>
                    <a:off x="7590281"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6" name="Graphic 1583">
                  <a:extLst>
                    <a:ext uri="{FF2B5EF4-FFF2-40B4-BE49-F238E27FC236}">
                      <a16:creationId xmlns:a16="http://schemas.microsoft.com/office/drawing/2014/main" id="{75E279EA-BA9D-F29C-96BA-DD273D15ABA1}"/>
                    </a:ext>
                  </a:extLst>
                </p:cNvPr>
                <p:cNvGrpSpPr/>
                <p:nvPr/>
              </p:nvGrpSpPr>
              <p:grpSpPr>
                <a:xfrm>
                  <a:off x="7565040" y="4080700"/>
                  <a:ext cx="75723" cy="75723"/>
                  <a:chOff x="7565040" y="4080700"/>
                  <a:chExt cx="75723" cy="75723"/>
                </a:xfrm>
              </p:grpSpPr>
              <p:sp>
                <p:nvSpPr>
                  <p:cNvPr id="14020" name="Freeform: Shape 14019">
                    <a:extLst>
                      <a:ext uri="{FF2B5EF4-FFF2-40B4-BE49-F238E27FC236}">
                        <a16:creationId xmlns:a16="http://schemas.microsoft.com/office/drawing/2014/main" id="{1D50B8D7-F4AC-2909-7754-92D1F03BCDE7}"/>
                      </a:ext>
                    </a:extLst>
                  </p:cNvPr>
                  <p:cNvSpPr/>
                  <p:nvPr/>
                </p:nvSpPr>
                <p:spPr>
                  <a:xfrm>
                    <a:off x="7602854" y="40807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21" name="Freeform: Shape 14020">
                    <a:extLst>
                      <a:ext uri="{FF2B5EF4-FFF2-40B4-BE49-F238E27FC236}">
                        <a16:creationId xmlns:a16="http://schemas.microsoft.com/office/drawing/2014/main" id="{8D1CFFE2-4AC5-5E7C-9F35-23499304D9F1}"/>
                      </a:ext>
                    </a:extLst>
                  </p:cNvPr>
                  <p:cNvSpPr/>
                  <p:nvPr/>
                </p:nvSpPr>
                <p:spPr>
                  <a:xfrm>
                    <a:off x="7565040" y="41185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7" name="Graphic 1583">
                  <a:extLst>
                    <a:ext uri="{FF2B5EF4-FFF2-40B4-BE49-F238E27FC236}">
                      <a16:creationId xmlns:a16="http://schemas.microsoft.com/office/drawing/2014/main" id="{F2463A66-7DA1-58FC-E659-6047BC2FB648}"/>
                    </a:ext>
                  </a:extLst>
                </p:cNvPr>
                <p:cNvGrpSpPr/>
                <p:nvPr/>
              </p:nvGrpSpPr>
              <p:grpSpPr>
                <a:xfrm>
                  <a:off x="7541799" y="3949826"/>
                  <a:ext cx="75723" cy="75723"/>
                  <a:chOff x="7541799" y="3949826"/>
                  <a:chExt cx="75723" cy="75723"/>
                </a:xfrm>
              </p:grpSpPr>
              <p:sp>
                <p:nvSpPr>
                  <p:cNvPr id="14018" name="Freeform: Shape 14017">
                    <a:extLst>
                      <a:ext uri="{FF2B5EF4-FFF2-40B4-BE49-F238E27FC236}">
                        <a16:creationId xmlns:a16="http://schemas.microsoft.com/office/drawing/2014/main" id="{CD6347D5-0DEC-B35B-37D9-D12AB740B70A}"/>
                      </a:ext>
                    </a:extLst>
                  </p:cNvPr>
                  <p:cNvSpPr/>
                  <p:nvPr/>
                </p:nvSpPr>
                <p:spPr>
                  <a:xfrm>
                    <a:off x="7579708"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9" name="Freeform: Shape 14018">
                    <a:extLst>
                      <a:ext uri="{FF2B5EF4-FFF2-40B4-BE49-F238E27FC236}">
                        <a16:creationId xmlns:a16="http://schemas.microsoft.com/office/drawing/2014/main" id="{8F4DB974-2FE7-F195-F889-69F530833C8A}"/>
                      </a:ext>
                    </a:extLst>
                  </p:cNvPr>
                  <p:cNvSpPr/>
                  <p:nvPr/>
                </p:nvSpPr>
                <p:spPr>
                  <a:xfrm>
                    <a:off x="7541799"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8" name="Graphic 1583">
                  <a:extLst>
                    <a:ext uri="{FF2B5EF4-FFF2-40B4-BE49-F238E27FC236}">
                      <a16:creationId xmlns:a16="http://schemas.microsoft.com/office/drawing/2014/main" id="{067166A8-38BF-393A-ABDE-BC3EF399CEF3}"/>
                    </a:ext>
                  </a:extLst>
                </p:cNvPr>
                <p:cNvGrpSpPr/>
                <p:nvPr/>
              </p:nvGrpSpPr>
              <p:grpSpPr>
                <a:xfrm>
                  <a:off x="7272146" y="3949826"/>
                  <a:ext cx="75723" cy="75723"/>
                  <a:chOff x="7272146" y="3949826"/>
                  <a:chExt cx="75723" cy="75723"/>
                </a:xfrm>
              </p:grpSpPr>
              <p:sp>
                <p:nvSpPr>
                  <p:cNvPr id="14016" name="Freeform: Shape 14015">
                    <a:extLst>
                      <a:ext uri="{FF2B5EF4-FFF2-40B4-BE49-F238E27FC236}">
                        <a16:creationId xmlns:a16="http://schemas.microsoft.com/office/drawing/2014/main" id="{63AF7624-4A9C-3397-7017-D1EA38B9BDE9}"/>
                      </a:ext>
                    </a:extLst>
                  </p:cNvPr>
                  <p:cNvSpPr/>
                  <p:nvPr/>
                </p:nvSpPr>
                <p:spPr>
                  <a:xfrm>
                    <a:off x="7310056" y="39498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7" name="Freeform: Shape 14016">
                    <a:extLst>
                      <a:ext uri="{FF2B5EF4-FFF2-40B4-BE49-F238E27FC236}">
                        <a16:creationId xmlns:a16="http://schemas.microsoft.com/office/drawing/2014/main" id="{EF774A6C-71F6-39CF-34B3-A689B198474F}"/>
                      </a:ext>
                    </a:extLst>
                  </p:cNvPr>
                  <p:cNvSpPr/>
                  <p:nvPr/>
                </p:nvSpPr>
                <p:spPr>
                  <a:xfrm>
                    <a:off x="7272146" y="3987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39" name="Graphic 1583">
                  <a:extLst>
                    <a:ext uri="{FF2B5EF4-FFF2-40B4-BE49-F238E27FC236}">
                      <a16:creationId xmlns:a16="http://schemas.microsoft.com/office/drawing/2014/main" id="{19890FBC-DB55-33A2-FBD1-FC6181971957}"/>
                    </a:ext>
                  </a:extLst>
                </p:cNvPr>
                <p:cNvGrpSpPr/>
                <p:nvPr/>
              </p:nvGrpSpPr>
              <p:grpSpPr>
                <a:xfrm>
                  <a:off x="7220330" y="3850290"/>
                  <a:ext cx="75628" cy="75723"/>
                  <a:chOff x="7220330" y="3850290"/>
                  <a:chExt cx="75628" cy="75723"/>
                </a:xfrm>
              </p:grpSpPr>
              <p:sp>
                <p:nvSpPr>
                  <p:cNvPr id="14014" name="Freeform: Shape 14013">
                    <a:extLst>
                      <a:ext uri="{FF2B5EF4-FFF2-40B4-BE49-F238E27FC236}">
                        <a16:creationId xmlns:a16="http://schemas.microsoft.com/office/drawing/2014/main" id="{C66815CB-1127-25BF-6733-9F3AAC26004E}"/>
                      </a:ext>
                    </a:extLst>
                  </p:cNvPr>
                  <p:cNvSpPr/>
                  <p:nvPr/>
                </p:nvSpPr>
                <p:spPr>
                  <a:xfrm>
                    <a:off x="7258144"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5" name="Freeform: Shape 14014">
                    <a:extLst>
                      <a:ext uri="{FF2B5EF4-FFF2-40B4-BE49-F238E27FC236}">
                        <a16:creationId xmlns:a16="http://schemas.microsoft.com/office/drawing/2014/main" id="{8C823EC5-0015-607F-501A-265DEE159CEE}"/>
                      </a:ext>
                    </a:extLst>
                  </p:cNvPr>
                  <p:cNvSpPr/>
                  <p:nvPr/>
                </p:nvSpPr>
                <p:spPr>
                  <a:xfrm>
                    <a:off x="7220330" y="388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0" name="Graphic 1583">
                  <a:extLst>
                    <a:ext uri="{FF2B5EF4-FFF2-40B4-BE49-F238E27FC236}">
                      <a16:creationId xmlns:a16="http://schemas.microsoft.com/office/drawing/2014/main" id="{7C19C6D3-C512-8D1A-BAD9-CF37474135BF}"/>
                    </a:ext>
                  </a:extLst>
                </p:cNvPr>
                <p:cNvGrpSpPr/>
                <p:nvPr/>
              </p:nvGrpSpPr>
              <p:grpSpPr>
                <a:xfrm>
                  <a:off x="7176515" y="3850290"/>
                  <a:ext cx="75723" cy="75723"/>
                  <a:chOff x="7176515" y="3850290"/>
                  <a:chExt cx="75723" cy="75723"/>
                </a:xfrm>
              </p:grpSpPr>
              <p:sp>
                <p:nvSpPr>
                  <p:cNvPr id="14012" name="Freeform: Shape 14011">
                    <a:extLst>
                      <a:ext uri="{FF2B5EF4-FFF2-40B4-BE49-F238E27FC236}">
                        <a16:creationId xmlns:a16="http://schemas.microsoft.com/office/drawing/2014/main" id="{E8970F98-C0A6-2974-EC2E-97EB097CE77B}"/>
                      </a:ext>
                    </a:extLst>
                  </p:cNvPr>
                  <p:cNvSpPr/>
                  <p:nvPr/>
                </p:nvSpPr>
                <p:spPr>
                  <a:xfrm>
                    <a:off x="7214329"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3" name="Freeform: Shape 14012">
                    <a:extLst>
                      <a:ext uri="{FF2B5EF4-FFF2-40B4-BE49-F238E27FC236}">
                        <a16:creationId xmlns:a16="http://schemas.microsoft.com/office/drawing/2014/main" id="{A6AC8134-FAAC-8769-C323-C4DFC2F61476}"/>
                      </a:ext>
                    </a:extLst>
                  </p:cNvPr>
                  <p:cNvSpPr/>
                  <p:nvPr/>
                </p:nvSpPr>
                <p:spPr>
                  <a:xfrm>
                    <a:off x="7176515"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1" name="Graphic 1583">
                  <a:extLst>
                    <a:ext uri="{FF2B5EF4-FFF2-40B4-BE49-F238E27FC236}">
                      <a16:creationId xmlns:a16="http://schemas.microsoft.com/office/drawing/2014/main" id="{6A6CD5D5-1DD3-94DB-65C4-A325792510E4}"/>
                    </a:ext>
                  </a:extLst>
                </p:cNvPr>
                <p:cNvGrpSpPr/>
                <p:nvPr/>
              </p:nvGrpSpPr>
              <p:grpSpPr>
                <a:xfrm>
                  <a:off x="6829996" y="3789520"/>
                  <a:ext cx="75723" cy="75628"/>
                  <a:chOff x="6829996" y="3789520"/>
                  <a:chExt cx="75723" cy="75628"/>
                </a:xfrm>
              </p:grpSpPr>
              <p:sp>
                <p:nvSpPr>
                  <p:cNvPr id="14010" name="Freeform: Shape 14009">
                    <a:extLst>
                      <a:ext uri="{FF2B5EF4-FFF2-40B4-BE49-F238E27FC236}">
                        <a16:creationId xmlns:a16="http://schemas.microsoft.com/office/drawing/2014/main" id="{FC59EB06-B439-B203-3CDA-B6F2A3DDBCE3}"/>
                      </a:ext>
                    </a:extLst>
                  </p:cNvPr>
                  <p:cNvSpPr/>
                  <p:nvPr/>
                </p:nvSpPr>
                <p:spPr>
                  <a:xfrm>
                    <a:off x="6867810"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11" name="Freeform: Shape 14010">
                    <a:extLst>
                      <a:ext uri="{FF2B5EF4-FFF2-40B4-BE49-F238E27FC236}">
                        <a16:creationId xmlns:a16="http://schemas.microsoft.com/office/drawing/2014/main" id="{F0417752-2BFC-972A-90E5-D0564C91BE48}"/>
                      </a:ext>
                    </a:extLst>
                  </p:cNvPr>
                  <p:cNvSpPr/>
                  <p:nvPr/>
                </p:nvSpPr>
                <p:spPr>
                  <a:xfrm>
                    <a:off x="6829996"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2" name="Graphic 1583">
                  <a:extLst>
                    <a:ext uri="{FF2B5EF4-FFF2-40B4-BE49-F238E27FC236}">
                      <a16:creationId xmlns:a16="http://schemas.microsoft.com/office/drawing/2014/main" id="{883021F7-B8F0-A881-787B-A443F2E9A8F1}"/>
                    </a:ext>
                  </a:extLst>
                </p:cNvPr>
                <p:cNvGrpSpPr/>
                <p:nvPr/>
              </p:nvGrpSpPr>
              <p:grpSpPr>
                <a:xfrm>
                  <a:off x="6816280" y="3789520"/>
                  <a:ext cx="75723" cy="75628"/>
                  <a:chOff x="6816280" y="3789520"/>
                  <a:chExt cx="75723" cy="75628"/>
                </a:xfrm>
              </p:grpSpPr>
              <p:sp>
                <p:nvSpPr>
                  <p:cNvPr id="14008" name="Freeform: Shape 14007">
                    <a:extLst>
                      <a:ext uri="{FF2B5EF4-FFF2-40B4-BE49-F238E27FC236}">
                        <a16:creationId xmlns:a16="http://schemas.microsoft.com/office/drawing/2014/main" id="{269F2C0C-1126-8736-3D67-755305A43BA0}"/>
                      </a:ext>
                    </a:extLst>
                  </p:cNvPr>
                  <p:cNvSpPr/>
                  <p:nvPr/>
                </p:nvSpPr>
                <p:spPr>
                  <a:xfrm>
                    <a:off x="685418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9" name="Freeform: Shape 14008">
                    <a:extLst>
                      <a:ext uri="{FF2B5EF4-FFF2-40B4-BE49-F238E27FC236}">
                        <a16:creationId xmlns:a16="http://schemas.microsoft.com/office/drawing/2014/main" id="{39E6B394-CB05-D855-B40E-7575D67C78B9}"/>
                      </a:ext>
                    </a:extLst>
                  </p:cNvPr>
                  <p:cNvSpPr/>
                  <p:nvPr/>
                </p:nvSpPr>
                <p:spPr>
                  <a:xfrm>
                    <a:off x="6816280"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3" name="Graphic 1583">
                  <a:extLst>
                    <a:ext uri="{FF2B5EF4-FFF2-40B4-BE49-F238E27FC236}">
                      <a16:creationId xmlns:a16="http://schemas.microsoft.com/office/drawing/2014/main" id="{6FA487E9-91E5-29BF-DB81-AA2B4B5A7608}"/>
                    </a:ext>
                  </a:extLst>
                </p:cNvPr>
                <p:cNvGrpSpPr/>
                <p:nvPr/>
              </p:nvGrpSpPr>
              <p:grpSpPr>
                <a:xfrm>
                  <a:off x="6795325" y="3789520"/>
                  <a:ext cx="75723" cy="75628"/>
                  <a:chOff x="6795325" y="3789520"/>
                  <a:chExt cx="75723" cy="75628"/>
                </a:xfrm>
              </p:grpSpPr>
              <p:sp>
                <p:nvSpPr>
                  <p:cNvPr id="14006" name="Freeform: Shape 14005">
                    <a:extLst>
                      <a:ext uri="{FF2B5EF4-FFF2-40B4-BE49-F238E27FC236}">
                        <a16:creationId xmlns:a16="http://schemas.microsoft.com/office/drawing/2014/main" id="{50CF1E03-8BBB-2A0B-D0BC-3BCB887BCFE9}"/>
                      </a:ext>
                    </a:extLst>
                  </p:cNvPr>
                  <p:cNvSpPr/>
                  <p:nvPr/>
                </p:nvSpPr>
                <p:spPr>
                  <a:xfrm>
                    <a:off x="6833139"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7" name="Freeform: Shape 14006">
                    <a:extLst>
                      <a:ext uri="{FF2B5EF4-FFF2-40B4-BE49-F238E27FC236}">
                        <a16:creationId xmlns:a16="http://schemas.microsoft.com/office/drawing/2014/main" id="{908431AF-A1D3-BD14-3328-FCC32FFB517E}"/>
                      </a:ext>
                    </a:extLst>
                  </p:cNvPr>
                  <p:cNvSpPr/>
                  <p:nvPr/>
                </p:nvSpPr>
                <p:spPr>
                  <a:xfrm>
                    <a:off x="679532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4" name="Graphic 1583">
                  <a:extLst>
                    <a:ext uri="{FF2B5EF4-FFF2-40B4-BE49-F238E27FC236}">
                      <a16:creationId xmlns:a16="http://schemas.microsoft.com/office/drawing/2014/main" id="{E7171A6E-3548-EE08-B282-4ABF9A9075D7}"/>
                    </a:ext>
                  </a:extLst>
                </p:cNvPr>
                <p:cNvGrpSpPr/>
                <p:nvPr/>
              </p:nvGrpSpPr>
              <p:grpSpPr>
                <a:xfrm>
                  <a:off x="6781990" y="3789520"/>
                  <a:ext cx="75628" cy="75628"/>
                  <a:chOff x="6781990" y="3789520"/>
                  <a:chExt cx="75628" cy="75628"/>
                </a:xfrm>
              </p:grpSpPr>
              <p:sp>
                <p:nvSpPr>
                  <p:cNvPr id="14004" name="Freeform: Shape 14003">
                    <a:extLst>
                      <a:ext uri="{FF2B5EF4-FFF2-40B4-BE49-F238E27FC236}">
                        <a16:creationId xmlns:a16="http://schemas.microsoft.com/office/drawing/2014/main" id="{4396A297-8722-3528-E798-64744DD3D785}"/>
                      </a:ext>
                    </a:extLst>
                  </p:cNvPr>
                  <p:cNvSpPr/>
                  <p:nvPr/>
                </p:nvSpPr>
                <p:spPr>
                  <a:xfrm>
                    <a:off x="6819804"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5" name="Freeform: Shape 14004">
                    <a:extLst>
                      <a:ext uri="{FF2B5EF4-FFF2-40B4-BE49-F238E27FC236}">
                        <a16:creationId xmlns:a16="http://schemas.microsoft.com/office/drawing/2014/main" id="{3771555C-C422-75B1-4726-3D2425874030}"/>
                      </a:ext>
                    </a:extLst>
                  </p:cNvPr>
                  <p:cNvSpPr/>
                  <p:nvPr/>
                </p:nvSpPr>
                <p:spPr>
                  <a:xfrm>
                    <a:off x="6781990"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5" name="Graphic 1583">
                  <a:extLst>
                    <a:ext uri="{FF2B5EF4-FFF2-40B4-BE49-F238E27FC236}">
                      <a16:creationId xmlns:a16="http://schemas.microsoft.com/office/drawing/2014/main" id="{29F02F61-367D-6766-C6CB-124171B15758}"/>
                    </a:ext>
                  </a:extLst>
                </p:cNvPr>
                <p:cNvGrpSpPr/>
                <p:nvPr/>
              </p:nvGrpSpPr>
              <p:grpSpPr>
                <a:xfrm>
                  <a:off x="6768845" y="3789520"/>
                  <a:ext cx="75723" cy="75628"/>
                  <a:chOff x="6768845" y="3789520"/>
                  <a:chExt cx="75723" cy="75628"/>
                </a:xfrm>
              </p:grpSpPr>
              <p:sp>
                <p:nvSpPr>
                  <p:cNvPr id="14002" name="Freeform: Shape 14001">
                    <a:extLst>
                      <a:ext uri="{FF2B5EF4-FFF2-40B4-BE49-F238E27FC236}">
                        <a16:creationId xmlns:a16="http://schemas.microsoft.com/office/drawing/2014/main" id="{57E24A83-AD6B-C3C8-8EBD-5CC47898BCB7}"/>
                      </a:ext>
                    </a:extLst>
                  </p:cNvPr>
                  <p:cNvSpPr/>
                  <p:nvPr/>
                </p:nvSpPr>
                <p:spPr>
                  <a:xfrm>
                    <a:off x="6806755"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3" name="Freeform: Shape 14002">
                    <a:extLst>
                      <a:ext uri="{FF2B5EF4-FFF2-40B4-BE49-F238E27FC236}">
                        <a16:creationId xmlns:a16="http://schemas.microsoft.com/office/drawing/2014/main" id="{707DAAA1-2DAB-BD9D-BEE9-1E7160E408E1}"/>
                      </a:ext>
                    </a:extLst>
                  </p:cNvPr>
                  <p:cNvSpPr/>
                  <p:nvPr/>
                </p:nvSpPr>
                <p:spPr>
                  <a:xfrm>
                    <a:off x="6768845"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6" name="Graphic 1583">
                  <a:extLst>
                    <a:ext uri="{FF2B5EF4-FFF2-40B4-BE49-F238E27FC236}">
                      <a16:creationId xmlns:a16="http://schemas.microsoft.com/office/drawing/2014/main" id="{93926587-534E-37CD-870D-26ADFDDACE0D}"/>
                    </a:ext>
                  </a:extLst>
                </p:cNvPr>
                <p:cNvGrpSpPr/>
                <p:nvPr/>
              </p:nvGrpSpPr>
              <p:grpSpPr>
                <a:xfrm>
                  <a:off x="6443757" y="3789520"/>
                  <a:ext cx="75723" cy="75628"/>
                  <a:chOff x="6443757" y="3789520"/>
                  <a:chExt cx="75723" cy="75628"/>
                </a:xfrm>
              </p:grpSpPr>
              <p:sp>
                <p:nvSpPr>
                  <p:cNvPr id="14000" name="Freeform: Shape 13999">
                    <a:extLst>
                      <a:ext uri="{FF2B5EF4-FFF2-40B4-BE49-F238E27FC236}">
                        <a16:creationId xmlns:a16="http://schemas.microsoft.com/office/drawing/2014/main" id="{AE064A7B-3887-3942-DFF5-36952540E91C}"/>
                      </a:ext>
                    </a:extLst>
                  </p:cNvPr>
                  <p:cNvSpPr/>
                  <p:nvPr/>
                </p:nvSpPr>
                <p:spPr>
                  <a:xfrm>
                    <a:off x="6481571"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01" name="Freeform: Shape 14000">
                    <a:extLst>
                      <a:ext uri="{FF2B5EF4-FFF2-40B4-BE49-F238E27FC236}">
                        <a16:creationId xmlns:a16="http://schemas.microsoft.com/office/drawing/2014/main" id="{4027139F-36E0-7D04-BF5F-025F9ECDCDF4}"/>
                      </a:ext>
                    </a:extLst>
                  </p:cNvPr>
                  <p:cNvSpPr/>
                  <p:nvPr/>
                </p:nvSpPr>
                <p:spPr>
                  <a:xfrm>
                    <a:off x="644375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7" name="Graphic 1583">
                  <a:extLst>
                    <a:ext uri="{FF2B5EF4-FFF2-40B4-BE49-F238E27FC236}">
                      <a16:creationId xmlns:a16="http://schemas.microsoft.com/office/drawing/2014/main" id="{129A3418-6E4F-EAD7-3BA7-594547B2306D}"/>
                    </a:ext>
                  </a:extLst>
                </p:cNvPr>
                <p:cNvGrpSpPr/>
                <p:nvPr/>
              </p:nvGrpSpPr>
              <p:grpSpPr>
                <a:xfrm>
                  <a:off x="6430422" y="3789520"/>
                  <a:ext cx="75628" cy="75628"/>
                  <a:chOff x="6430422" y="3789520"/>
                  <a:chExt cx="75628" cy="75628"/>
                </a:xfrm>
              </p:grpSpPr>
              <p:sp>
                <p:nvSpPr>
                  <p:cNvPr id="13998" name="Freeform: Shape 13997">
                    <a:extLst>
                      <a:ext uri="{FF2B5EF4-FFF2-40B4-BE49-F238E27FC236}">
                        <a16:creationId xmlns:a16="http://schemas.microsoft.com/office/drawing/2014/main" id="{BE4B2DD3-8A78-9A4F-4E92-89DFF1FCD407}"/>
                      </a:ext>
                    </a:extLst>
                  </p:cNvPr>
                  <p:cNvSpPr/>
                  <p:nvPr/>
                </p:nvSpPr>
                <p:spPr>
                  <a:xfrm>
                    <a:off x="6468236"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9" name="Freeform: Shape 13998">
                    <a:extLst>
                      <a:ext uri="{FF2B5EF4-FFF2-40B4-BE49-F238E27FC236}">
                        <a16:creationId xmlns:a16="http://schemas.microsoft.com/office/drawing/2014/main" id="{B8EB5FD5-F7DF-F68B-4EC1-99AFA87C6493}"/>
                      </a:ext>
                    </a:extLst>
                  </p:cNvPr>
                  <p:cNvSpPr/>
                  <p:nvPr/>
                </p:nvSpPr>
                <p:spPr>
                  <a:xfrm>
                    <a:off x="6430422" y="382733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8" name="Graphic 1583">
                  <a:extLst>
                    <a:ext uri="{FF2B5EF4-FFF2-40B4-BE49-F238E27FC236}">
                      <a16:creationId xmlns:a16="http://schemas.microsoft.com/office/drawing/2014/main" id="{EEFD0235-91CD-0407-B676-B1BB6E044619}"/>
                    </a:ext>
                  </a:extLst>
                </p:cNvPr>
                <p:cNvGrpSpPr/>
                <p:nvPr/>
              </p:nvGrpSpPr>
              <p:grpSpPr>
                <a:xfrm>
                  <a:off x="6417277" y="3789520"/>
                  <a:ext cx="75723" cy="75628"/>
                  <a:chOff x="6417277" y="3789520"/>
                  <a:chExt cx="75723" cy="75628"/>
                </a:xfrm>
              </p:grpSpPr>
              <p:sp>
                <p:nvSpPr>
                  <p:cNvPr id="13996" name="Freeform: Shape 13995">
                    <a:extLst>
                      <a:ext uri="{FF2B5EF4-FFF2-40B4-BE49-F238E27FC236}">
                        <a16:creationId xmlns:a16="http://schemas.microsoft.com/office/drawing/2014/main" id="{6A2D3BB2-D70D-6D1B-B8EF-E2D9259A6CEF}"/>
                      </a:ext>
                    </a:extLst>
                  </p:cNvPr>
                  <p:cNvSpPr/>
                  <p:nvPr/>
                </p:nvSpPr>
                <p:spPr>
                  <a:xfrm>
                    <a:off x="6455187" y="37895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7" name="Freeform: Shape 13996">
                    <a:extLst>
                      <a:ext uri="{FF2B5EF4-FFF2-40B4-BE49-F238E27FC236}">
                        <a16:creationId xmlns:a16="http://schemas.microsoft.com/office/drawing/2014/main" id="{DB0E0DF1-B672-3501-B7E9-6B227D6CF6DC}"/>
                      </a:ext>
                    </a:extLst>
                  </p:cNvPr>
                  <p:cNvSpPr/>
                  <p:nvPr/>
                </p:nvSpPr>
                <p:spPr>
                  <a:xfrm>
                    <a:off x="6417277" y="38273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49" name="Graphic 1583">
                  <a:extLst>
                    <a:ext uri="{FF2B5EF4-FFF2-40B4-BE49-F238E27FC236}">
                      <a16:creationId xmlns:a16="http://schemas.microsoft.com/office/drawing/2014/main" id="{4D7D5E24-ECF9-D6D3-3FB4-70A369751648}"/>
                    </a:ext>
                  </a:extLst>
                </p:cNvPr>
                <p:cNvGrpSpPr/>
                <p:nvPr/>
              </p:nvGrpSpPr>
              <p:grpSpPr>
                <a:xfrm>
                  <a:off x="6400704" y="3746277"/>
                  <a:ext cx="75723" cy="75723"/>
                  <a:chOff x="6400704" y="3746277"/>
                  <a:chExt cx="75723" cy="75723"/>
                </a:xfrm>
              </p:grpSpPr>
              <p:sp>
                <p:nvSpPr>
                  <p:cNvPr id="13994" name="Freeform: Shape 13993">
                    <a:extLst>
                      <a:ext uri="{FF2B5EF4-FFF2-40B4-BE49-F238E27FC236}">
                        <a16:creationId xmlns:a16="http://schemas.microsoft.com/office/drawing/2014/main" id="{B5CCB1CF-1F78-4A63-69F8-691D21DE485D}"/>
                      </a:ext>
                    </a:extLst>
                  </p:cNvPr>
                  <p:cNvSpPr/>
                  <p:nvPr/>
                </p:nvSpPr>
                <p:spPr>
                  <a:xfrm>
                    <a:off x="643861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5" name="Freeform: Shape 13994">
                    <a:extLst>
                      <a:ext uri="{FF2B5EF4-FFF2-40B4-BE49-F238E27FC236}">
                        <a16:creationId xmlns:a16="http://schemas.microsoft.com/office/drawing/2014/main" id="{220EC9B1-21B9-8070-8EF7-7882A22F15CE}"/>
                      </a:ext>
                    </a:extLst>
                  </p:cNvPr>
                  <p:cNvSpPr/>
                  <p:nvPr/>
                </p:nvSpPr>
                <p:spPr>
                  <a:xfrm>
                    <a:off x="6400704"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0" name="Graphic 1583">
                  <a:extLst>
                    <a:ext uri="{FF2B5EF4-FFF2-40B4-BE49-F238E27FC236}">
                      <a16:creationId xmlns:a16="http://schemas.microsoft.com/office/drawing/2014/main" id="{C11684DD-6976-3B4A-CCFE-0BCB9CF0873A}"/>
                    </a:ext>
                  </a:extLst>
                </p:cNvPr>
                <p:cNvGrpSpPr/>
                <p:nvPr/>
              </p:nvGrpSpPr>
              <p:grpSpPr>
                <a:xfrm>
                  <a:off x="6387369" y="3746277"/>
                  <a:ext cx="75723" cy="75723"/>
                  <a:chOff x="6387369" y="3746277"/>
                  <a:chExt cx="75723" cy="75723"/>
                </a:xfrm>
              </p:grpSpPr>
              <p:sp>
                <p:nvSpPr>
                  <p:cNvPr id="13992" name="Freeform: Shape 13991">
                    <a:extLst>
                      <a:ext uri="{FF2B5EF4-FFF2-40B4-BE49-F238E27FC236}">
                        <a16:creationId xmlns:a16="http://schemas.microsoft.com/office/drawing/2014/main" id="{6E52FB6B-8825-F0E4-363E-0A13FB684A9E}"/>
                      </a:ext>
                    </a:extLst>
                  </p:cNvPr>
                  <p:cNvSpPr/>
                  <p:nvPr/>
                </p:nvSpPr>
                <p:spPr>
                  <a:xfrm>
                    <a:off x="6425183"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3" name="Freeform: Shape 13992">
                    <a:extLst>
                      <a:ext uri="{FF2B5EF4-FFF2-40B4-BE49-F238E27FC236}">
                        <a16:creationId xmlns:a16="http://schemas.microsoft.com/office/drawing/2014/main" id="{56B68A09-354B-2BCA-4592-CD4A230034ED}"/>
                      </a:ext>
                    </a:extLst>
                  </p:cNvPr>
                  <p:cNvSpPr/>
                  <p:nvPr/>
                </p:nvSpPr>
                <p:spPr>
                  <a:xfrm>
                    <a:off x="638736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1" name="Graphic 1583">
                  <a:extLst>
                    <a:ext uri="{FF2B5EF4-FFF2-40B4-BE49-F238E27FC236}">
                      <a16:creationId xmlns:a16="http://schemas.microsoft.com/office/drawing/2014/main" id="{03A319A4-3699-D2AA-CC61-7749B985F257}"/>
                    </a:ext>
                  </a:extLst>
                </p:cNvPr>
                <p:cNvGrpSpPr/>
                <p:nvPr/>
              </p:nvGrpSpPr>
              <p:grpSpPr>
                <a:xfrm>
                  <a:off x="6374320" y="3746277"/>
                  <a:ext cx="75628" cy="75723"/>
                  <a:chOff x="6374320" y="3746277"/>
                  <a:chExt cx="75628" cy="75723"/>
                </a:xfrm>
              </p:grpSpPr>
              <p:sp>
                <p:nvSpPr>
                  <p:cNvPr id="13990" name="Freeform: Shape 13989">
                    <a:extLst>
                      <a:ext uri="{FF2B5EF4-FFF2-40B4-BE49-F238E27FC236}">
                        <a16:creationId xmlns:a16="http://schemas.microsoft.com/office/drawing/2014/main" id="{DD72AE2C-24F6-DDEC-114B-A96104391003}"/>
                      </a:ext>
                    </a:extLst>
                  </p:cNvPr>
                  <p:cNvSpPr/>
                  <p:nvPr/>
                </p:nvSpPr>
                <p:spPr>
                  <a:xfrm>
                    <a:off x="6412134"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91" name="Freeform: Shape 13990">
                    <a:extLst>
                      <a:ext uri="{FF2B5EF4-FFF2-40B4-BE49-F238E27FC236}">
                        <a16:creationId xmlns:a16="http://schemas.microsoft.com/office/drawing/2014/main" id="{C6D509E5-E2C2-2CCF-87CA-170AC6B50C28}"/>
                      </a:ext>
                    </a:extLst>
                  </p:cNvPr>
                  <p:cNvSpPr/>
                  <p:nvPr/>
                </p:nvSpPr>
                <p:spPr>
                  <a:xfrm>
                    <a:off x="6374320"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2" name="Graphic 1583">
                  <a:extLst>
                    <a:ext uri="{FF2B5EF4-FFF2-40B4-BE49-F238E27FC236}">
                      <a16:creationId xmlns:a16="http://schemas.microsoft.com/office/drawing/2014/main" id="{9EF5AB9D-8B4C-939C-74FE-4D769FFA3833}"/>
                    </a:ext>
                  </a:extLst>
                </p:cNvPr>
                <p:cNvGrpSpPr/>
                <p:nvPr/>
              </p:nvGrpSpPr>
              <p:grpSpPr>
                <a:xfrm>
                  <a:off x="6244208" y="3746277"/>
                  <a:ext cx="75723" cy="75723"/>
                  <a:chOff x="6244208" y="3746277"/>
                  <a:chExt cx="75723" cy="75723"/>
                </a:xfrm>
              </p:grpSpPr>
              <p:sp>
                <p:nvSpPr>
                  <p:cNvPr id="13988" name="Freeform: Shape 13987">
                    <a:extLst>
                      <a:ext uri="{FF2B5EF4-FFF2-40B4-BE49-F238E27FC236}">
                        <a16:creationId xmlns:a16="http://schemas.microsoft.com/office/drawing/2014/main" id="{FCC1FEA0-EDC8-C676-4B9B-A9B6312807C7}"/>
                      </a:ext>
                    </a:extLst>
                  </p:cNvPr>
                  <p:cNvSpPr/>
                  <p:nvPr/>
                </p:nvSpPr>
                <p:spPr>
                  <a:xfrm>
                    <a:off x="6282022"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9" name="Freeform: Shape 13988">
                    <a:extLst>
                      <a:ext uri="{FF2B5EF4-FFF2-40B4-BE49-F238E27FC236}">
                        <a16:creationId xmlns:a16="http://schemas.microsoft.com/office/drawing/2014/main" id="{B28945C6-D6C3-4EC2-9F30-A464BDA10AC2}"/>
                      </a:ext>
                    </a:extLst>
                  </p:cNvPr>
                  <p:cNvSpPr/>
                  <p:nvPr/>
                </p:nvSpPr>
                <p:spPr>
                  <a:xfrm>
                    <a:off x="624420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3" name="Graphic 1583">
                  <a:extLst>
                    <a:ext uri="{FF2B5EF4-FFF2-40B4-BE49-F238E27FC236}">
                      <a16:creationId xmlns:a16="http://schemas.microsoft.com/office/drawing/2014/main" id="{82CE5956-EBD0-863F-4558-85E1029DEF0F}"/>
                    </a:ext>
                  </a:extLst>
                </p:cNvPr>
                <p:cNvGrpSpPr/>
                <p:nvPr/>
              </p:nvGrpSpPr>
              <p:grpSpPr>
                <a:xfrm>
                  <a:off x="6229635" y="3746277"/>
                  <a:ext cx="75628" cy="75723"/>
                  <a:chOff x="6229635" y="3746277"/>
                  <a:chExt cx="75628" cy="75723"/>
                </a:xfrm>
              </p:grpSpPr>
              <p:sp>
                <p:nvSpPr>
                  <p:cNvPr id="13986" name="Freeform: Shape 13985">
                    <a:extLst>
                      <a:ext uri="{FF2B5EF4-FFF2-40B4-BE49-F238E27FC236}">
                        <a16:creationId xmlns:a16="http://schemas.microsoft.com/office/drawing/2014/main" id="{A3412929-50CE-7F34-E69A-7F635D26170A}"/>
                      </a:ext>
                    </a:extLst>
                  </p:cNvPr>
                  <p:cNvSpPr/>
                  <p:nvPr/>
                </p:nvSpPr>
                <p:spPr>
                  <a:xfrm>
                    <a:off x="6267449"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7" name="Freeform: Shape 13986">
                    <a:extLst>
                      <a:ext uri="{FF2B5EF4-FFF2-40B4-BE49-F238E27FC236}">
                        <a16:creationId xmlns:a16="http://schemas.microsoft.com/office/drawing/2014/main" id="{6DAD72BD-4C19-CAC7-A5FC-F826169C64AD}"/>
                      </a:ext>
                    </a:extLst>
                  </p:cNvPr>
                  <p:cNvSpPr/>
                  <p:nvPr/>
                </p:nvSpPr>
                <p:spPr>
                  <a:xfrm>
                    <a:off x="6229635" y="37841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4" name="Graphic 1583">
                  <a:extLst>
                    <a:ext uri="{FF2B5EF4-FFF2-40B4-BE49-F238E27FC236}">
                      <a16:creationId xmlns:a16="http://schemas.microsoft.com/office/drawing/2014/main" id="{3662E78C-A9B5-F344-3D9D-1CFD385AB7C0}"/>
                    </a:ext>
                  </a:extLst>
                </p:cNvPr>
                <p:cNvGrpSpPr/>
                <p:nvPr/>
              </p:nvGrpSpPr>
              <p:grpSpPr>
                <a:xfrm>
                  <a:off x="6184296" y="3746277"/>
                  <a:ext cx="75723" cy="75723"/>
                  <a:chOff x="6184296" y="3746277"/>
                  <a:chExt cx="75723" cy="75723"/>
                </a:xfrm>
              </p:grpSpPr>
              <p:sp>
                <p:nvSpPr>
                  <p:cNvPr id="13984" name="Freeform: Shape 13983">
                    <a:extLst>
                      <a:ext uri="{FF2B5EF4-FFF2-40B4-BE49-F238E27FC236}">
                        <a16:creationId xmlns:a16="http://schemas.microsoft.com/office/drawing/2014/main" id="{02FF3AEC-E224-2F67-C2D4-12365F887D0E}"/>
                      </a:ext>
                    </a:extLst>
                  </p:cNvPr>
                  <p:cNvSpPr/>
                  <p:nvPr/>
                </p:nvSpPr>
                <p:spPr>
                  <a:xfrm>
                    <a:off x="6222110"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5" name="Freeform: Shape 13984">
                    <a:extLst>
                      <a:ext uri="{FF2B5EF4-FFF2-40B4-BE49-F238E27FC236}">
                        <a16:creationId xmlns:a16="http://schemas.microsoft.com/office/drawing/2014/main" id="{21F2A6AA-1CB0-0EF4-782D-4B214E28575A}"/>
                      </a:ext>
                    </a:extLst>
                  </p:cNvPr>
                  <p:cNvSpPr/>
                  <p:nvPr/>
                </p:nvSpPr>
                <p:spPr>
                  <a:xfrm>
                    <a:off x="6184296"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5" name="Graphic 1583">
                  <a:extLst>
                    <a:ext uri="{FF2B5EF4-FFF2-40B4-BE49-F238E27FC236}">
                      <a16:creationId xmlns:a16="http://schemas.microsoft.com/office/drawing/2014/main" id="{73F32E6E-DF26-455E-E353-48FC5B4AEFA4}"/>
                    </a:ext>
                  </a:extLst>
                </p:cNvPr>
                <p:cNvGrpSpPr/>
                <p:nvPr/>
              </p:nvGrpSpPr>
              <p:grpSpPr>
                <a:xfrm>
                  <a:off x="6095618" y="3746277"/>
                  <a:ext cx="75723" cy="75723"/>
                  <a:chOff x="6095618" y="3746277"/>
                  <a:chExt cx="75723" cy="75723"/>
                </a:xfrm>
              </p:grpSpPr>
              <p:sp>
                <p:nvSpPr>
                  <p:cNvPr id="13982" name="Freeform: Shape 13981">
                    <a:extLst>
                      <a:ext uri="{FF2B5EF4-FFF2-40B4-BE49-F238E27FC236}">
                        <a16:creationId xmlns:a16="http://schemas.microsoft.com/office/drawing/2014/main" id="{67CC264D-E89F-482B-F697-EEA07A0AF0FB}"/>
                      </a:ext>
                    </a:extLst>
                  </p:cNvPr>
                  <p:cNvSpPr/>
                  <p:nvPr/>
                </p:nvSpPr>
                <p:spPr>
                  <a:xfrm>
                    <a:off x="613352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3" name="Freeform: Shape 13982">
                    <a:extLst>
                      <a:ext uri="{FF2B5EF4-FFF2-40B4-BE49-F238E27FC236}">
                        <a16:creationId xmlns:a16="http://schemas.microsoft.com/office/drawing/2014/main" id="{2442FA00-E6F2-DB79-8680-7B82FF0184F3}"/>
                      </a:ext>
                    </a:extLst>
                  </p:cNvPr>
                  <p:cNvSpPr/>
                  <p:nvPr/>
                </p:nvSpPr>
                <p:spPr>
                  <a:xfrm>
                    <a:off x="6095618"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6" name="Graphic 1583">
                  <a:extLst>
                    <a:ext uri="{FF2B5EF4-FFF2-40B4-BE49-F238E27FC236}">
                      <a16:creationId xmlns:a16="http://schemas.microsoft.com/office/drawing/2014/main" id="{20B6EC0F-2C59-BE0D-BCDE-42EA17923463}"/>
                    </a:ext>
                  </a:extLst>
                </p:cNvPr>
                <p:cNvGrpSpPr/>
                <p:nvPr/>
              </p:nvGrpSpPr>
              <p:grpSpPr>
                <a:xfrm>
                  <a:off x="6086379" y="3746277"/>
                  <a:ext cx="75723" cy="75723"/>
                  <a:chOff x="6086379" y="3746277"/>
                  <a:chExt cx="75723" cy="75723"/>
                </a:xfrm>
              </p:grpSpPr>
              <p:sp>
                <p:nvSpPr>
                  <p:cNvPr id="13980" name="Freeform: Shape 13979">
                    <a:extLst>
                      <a:ext uri="{FF2B5EF4-FFF2-40B4-BE49-F238E27FC236}">
                        <a16:creationId xmlns:a16="http://schemas.microsoft.com/office/drawing/2014/main" id="{0A69D94E-35FC-8808-E1F0-4ED82E984EDA}"/>
                      </a:ext>
                    </a:extLst>
                  </p:cNvPr>
                  <p:cNvSpPr/>
                  <p:nvPr/>
                </p:nvSpPr>
                <p:spPr>
                  <a:xfrm>
                    <a:off x="6124288" y="3746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81" name="Freeform: Shape 13980">
                    <a:extLst>
                      <a:ext uri="{FF2B5EF4-FFF2-40B4-BE49-F238E27FC236}">
                        <a16:creationId xmlns:a16="http://schemas.microsoft.com/office/drawing/2014/main" id="{98A4C2BE-FB94-1FA9-DEFE-2EF5363DA20D}"/>
                      </a:ext>
                    </a:extLst>
                  </p:cNvPr>
                  <p:cNvSpPr/>
                  <p:nvPr/>
                </p:nvSpPr>
                <p:spPr>
                  <a:xfrm>
                    <a:off x="6086379" y="37841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7" name="Graphic 1583">
                  <a:extLst>
                    <a:ext uri="{FF2B5EF4-FFF2-40B4-BE49-F238E27FC236}">
                      <a16:creationId xmlns:a16="http://schemas.microsoft.com/office/drawing/2014/main" id="{5860F30F-DFB4-9970-AF2C-7258B9B1DC1E}"/>
                    </a:ext>
                  </a:extLst>
                </p:cNvPr>
                <p:cNvGrpSpPr/>
                <p:nvPr/>
              </p:nvGrpSpPr>
              <p:grpSpPr>
                <a:xfrm>
                  <a:off x="6050089" y="3687603"/>
                  <a:ext cx="75723" cy="75723"/>
                  <a:chOff x="6050089" y="3687603"/>
                  <a:chExt cx="75723" cy="75723"/>
                </a:xfrm>
              </p:grpSpPr>
              <p:sp>
                <p:nvSpPr>
                  <p:cNvPr id="13978" name="Freeform: Shape 13977">
                    <a:extLst>
                      <a:ext uri="{FF2B5EF4-FFF2-40B4-BE49-F238E27FC236}">
                        <a16:creationId xmlns:a16="http://schemas.microsoft.com/office/drawing/2014/main" id="{67F8BE8A-F4C6-B139-B545-D4101157BED3}"/>
                      </a:ext>
                    </a:extLst>
                  </p:cNvPr>
                  <p:cNvSpPr/>
                  <p:nvPr/>
                </p:nvSpPr>
                <p:spPr>
                  <a:xfrm>
                    <a:off x="6087903"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9" name="Freeform: Shape 13978">
                    <a:extLst>
                      <a:ext uri="{FF2B5EF4-FFF2-40B4-BE49-F238E27FC236}">
                        <a16:creationId xmlns:a16="http://schemas.microsoft.com/office/drawing/2014/main" id="{4CA53BAC-2057-4775-A28A-A1E79FC583F9}"/>
                      </a:ext>
                    </a:extLst>
                  </p:cNvPr>
                  <p:cNvSpPr/>
                  <p:nvPr/>
                </p:nvSpPr>
                <p:spPr>
                  <a:xfrm>
                    <a:off x="605008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8" name="Graphic 1583">
                  <a:extLst>
                    <a:ext uri="{FF2B5EF4-FFF2-40B4-BE49-F238E27FC236}">
                      <a16:creationId xmlns:a16="http://schemas.microsoft.com/office/drawing/2014/main" id="{BCFCA7B0-0AA8-CDC7-E886-B0EC36BB0E44}"/>
                    </a:ext>
                  </a:extLst>
                </p:cNvPr>
                <p:cNvGrpSpPr/>
                <p:nvPr/>
              </p:nvGrpSpPr>
              <p:grpSpPr>
                <a:xfrm>
                  <a:off x="6040849" y="3687603"/>
                  <a:ext cx="75723" cy="75723"/>
                  <a:chOff x="6040849" y="3687603"/>
                  <a:chExt cx="75723" cy="75723"/>
                </a:xfrm>
              </p:grpSpPr>
              <p:sp>
                <p:nvSpPr>
                  <p:cNvPr id="13976" name="Freeform: Shape 13975">
                    <a:extLst>
                      <a:ext uri="{FF2B5EF4-FFF2-40B4-BE49-F238E27FC236}">
                        <a16:creationId xmlns:a16="http://schemas.microsoft.com/office/drawing/2014/main" id="{F9889085-1F8B-CDBD-5968-8688CB75D5D6}"/>
                      </a:ext>
                    </a:extLst>
                  </p:cNvPr>
                  <p:cNvSpPr/>
                  <p:nvPr/>
                </p:nvSpPr>
                <p:spPr>
                  <a:xfrm>
                    <a:off x="6078759" y="36876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7" name="Freeform: Shape 13976">
                    <a:extLst>
                      <a:ext uri="{FF2B5EF4-FFF2-40B4-BE49-F238E27FC236}">
                        <a16:creationId xmlns:a16="http://schemas.microsoft.com/office/drawing/2014/main" id="{32E4C2FC-1118-64FA-AB1A-17B2E50A0F17}"/>
                      </a:ext>
                    </a:extLst>
                  </p:cNvPr>
                  <p:cNvSpPr/>
                  <p:nvPr/>
                </p:nvSpPr>
                <p:spPr>
                  <a:xfrm>
                    <a:off x="6040849" y="37255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59" name="Graphic 1583">
                  <a:extLst>
                    <a:ext uri="{FF2B5EF4-FFF2-40B4-BE49-F238E27FC236}">
                      <a16:creationId xmlns:a16="http://schemas.microsoft.com/office/drawing/2014/main" id="{ED074275-C4EF-061D-695E-A1BB03596463}"/>
                    </a:ext>
                  </a:extLst>
                </p:cNvPr>
                <p:cNvGrpSpPr/>
                <p:nvPr/>
              </p:nvGrpSpPr>
              <p:grpSpPr>
                <a:xfrm>
                  <a:off x="6032277" y="3578542"/>
                  <a:ext cx="75723" cy="75628"/>
                  <a:chOff x="6032277" y="3578542"/>
                  <a:chExt cx="75723" cy="75628"/>
                </a:xfrm>
              </p:grpSpPr>
              <p:sp>
                <p:nvSpPr>
                  <p:cNvPr id="13974" name="Freeform: Shape 13973">
                    <a:extLst>
                      <a:ext uri="{FF2B5EF4-FFF2-40B4-BE49-F238E27FC236}">
                        <a16:creationId xmlns:a16="http://schemas.microsoft.com/office/drawing/2014/main" id="{429DC8C9-37E9-20E8-CC03-29D604FD22CC}"/>
                      </a:ext>
                    </a:extLst>
                  </p:cNvPr>
                  <p:cNvSpPr/>
                  <p:nvPr/>
                </p:nvSpPr>
                <p:spPr>
                  <a:xfrm>
                    <a:off x="6070186"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5" name="Freeform: Shape 13974">
                    <a:extLst>
                      <a:ext uri="{FF2B5EF4-FFF2-40B4-BE49-F238E27FC236}">
                        <a16:creationId xmlns:a16="http://schemas.microsoft.com/office/drawing/2014/main" id="{222B670E-0A44-DC04-1A51-BF8C21CBC93E}"/>
                      </a:ext>
                    </a:extLst>
                  </p:cNvPr>
                  <p:cNvSpPr/>
                  <p:nvPr/>
                </p:nvSpPr>
                <p:spPr>
                  <a:xfrm>
                    <a:off x="6032277" y="36163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0" name="Graphic 1583">
                  <a:extLst>
                    <a:ext uri="{FF2B5EF4-FFF2-40B4-BE49-F238E27FC236}">
                      <a16:creationId xmlns:a16="http://schemas.microsoft.com/office/drawing/2014/main" id="{2E0E7413-6E8A-7129-E1B8-98F3650565BD}"/>
                    </a:ext>
                  </a:extLst>
                </p:cNvPr>
                <p:cNvGrpSpPr/>
                <p:nvPr/>
              </p:nvGrpSpPr>
              <p:grpSpPr>
                <a:xfrm>
                  <a:off x="6023133" y="3578542"/>
                  <a:ext cx="75628" cy="75628"/>
                  <a:chOff x="6023133" y="3578542"/>
                  <a:chExt cx="75628" cy="75628"/>
                </a:xfrm>
              </p:grpSpPr>
              <p:sp>
                <p:nvSpPr>
                  <p:cNvPr id="13972" name="Freeform: Shape 13971">
                    <a:extLst>
                      <a:ext uri="{FF2B5EF4-FFF2-40B4-BE49-F238E27FC236}">
                        <a16:creationId xmlns:a16="http://schemas.microsoft.com/office/drawing/2014/main" id="{54679B9E-277A-D00D-4A3E-10C82F43DBAA}"/>
                      </a:ext>
                    </a:extLst>
                  </p:cNvPr>
                  <p:cNvSpPr/>
                  <p:nvPr/>
                </p:nvSpPr>
                <p:spPr>
                  <a:xfrm>
                    <a:off x="6060947" y="357854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3" name="Freeform: Shape 13972">
                    <a:extLst>
                      <a:ext uri="{FF2B5EF4-FFF2-40B4-BE49-F238E27FC236}">
                        <a16:creationId xmlns:a16="http://schemas.microsoft.com/office/drawing/2014/main" id="{F01B3043-0506-78C0-C15A-5F973CCE5E24}"/>
                      </a:ext>
                    </a:extLst>
                  </p:cNvPr>
                  <p:cNvSpPr/>
                  <p:nvPr/>
                </p:nvSpPr>
                <p:spPr>
                  <a:xfrm>
                    <a:off x="6023133" y="361635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1" name="Graphic 1583">
                  <a:extLst>
                    <a:ext uri="{FF2B5EF4-FFF2-40B4-BE49-F238E27FC236}">
                      <a16:creationId xmlns:a16="http://schemas.microsoft.com/office/drawing/2014/main" id="{31A05ACF-3991-B39A-BCDA-53A27F5CD4B3}"/>
                    </a:ext>
                  </a:extLst>
                </p:cNvPr>
                <p:cNvGrpSpPr/>
                <p:nvPr/>
              </p:nvGrpSpPr>
              <p:grpSpPr>
                <a:xfrm>
                  <a:off x="5692711" y="3553300"/>
                  <a:ext cx="75723" cy="75628"/>
                  <a:chOff x="5692711" y="3553300"/>
                  <a:chExt cx="75723" cy="75628"/>
                </a:xfrm>
              </p:grpSpPr>
              <p:sp>
                <p:nvSpPr>
                  <p:cNvPr id="13970" name="Freeform: Shape 13969">
                    <a:extLst>
                      <a:ext uri="{FF2B5EF4-FFF2-40B4-BE49-F238E27FC236}">
                        <a16:creationId xmlns:a16="http://schemas.microsoft.com/office/drawing/2014/main" id="{64277111-46EB-146C-178C-7C1B28CD5823}"/>
                      </a:ext>
                    </a:extLst>
                  </p:cNvPr>
                  <p:cNvSpPr/>
                  <p:nvPr/>
                </p:nvSpPr>
                <p:spPr>
                  <a:xfrm>
                    <a:off x="5730620"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71" name="Freeform: Shape 13970">
                    <a:extLst>
                      <a:ext uri="{FF2B5EF4-FFF2-40B4-BE49-F238E27FC236}">
                        <a16:creationId xmlns:a16="http://schemas.microsoft.com/office/drawing/2014/main" id="{3E582790-4202-1E53-7AAE-A5CE518E8681}"/>
                      </a:ext>
                    </a:extLst>
                  </p:cNvPr>
                  <p:cNvSpPr/>
                  <p:nvPr/>
                </p:nvSpPr>
                <p:spPr>
                  <a:xfrm>
                    <a:off x="5692711"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2" name="Graphic 1583">
                  <a:extLst>
                    <a:ext uri="{FF2B5EF4-FFF2-40B4-BE49-F238E27FC236}">
                      <a16:creationId xmlns:a16="http://schemas.microsoft.com/office/drawing/2014/main" id="{304EDBAE-A176-30E4-E647-421727669421}"/>
                    </a:ext>
                  </a:extLst>
                </p:cNvPr>
                <p:cNvGrpSpPr/>
                <p:nvPr/>
              </p:nvGrpSpPr>
              <p:grpSpPr>
                <a:xfrm>
                  <a:off x="5662993" y="3515391"/>
                  <a:ext cx="75628" cy="75723"/>
                  <a:chOff x="5662993" y="3515391"/>
                  <a:chExt cx="75628" cy="75723"/>
                </a:xfrm>
              </p:grpSpPr>
              <p:sp>
                <p:nvSpPr>
                  <p:cNvPr id="13968" name="Freeform: Shape 13967">
                    <a:extLst>
                      <a:ext uri="{FF2B5EF4-FFF2-40B4-BE49-F238E27FC236}">
                        <a16:creationId xmlns:a16="http://schemas.microsoft.com/office/drawing/2014/main" id="{6CFE6A1F-9035-F2BA-E08C-FF8D673D9367}"/>
                      </a:ext>
                    </a:extLst>
                  </p:cNvPr>
                  <p:cNvSpPr/>
                  <p:nvPr/>
                </p:nvSpPr>
                <p:spPr>
                  <a:xfrm>
                    <a:off x="5700807"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9" name="Freeform: Shape 13968">
                    <a:extLst>
                      <a:ext uri="{FF2B5EF4-FFF2-40B4-BE49-F238E27FC236}">
                        <a16:creationId xmlns:a16="http://schemas.microsoft.com/office/drawing/2014/main" id="{AAE3CF04-DA1C-9458-666C-D2598C9B3EB9}"/>
                      </a:ext>
                    </a:extLst>
                  </p:cNvPr>
                  <p:cNvSpPr/>
                  <p:nvPr/>
                </p:nvSpPr>
                <p:spPr>
                  <a:xfrm>
                    <a:off x="5662993" y="355330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3" name="Graphic 1583">
                  <a:extLst>
                    <a:ext uri="{FF2B5EF4-FFF2-40B4-BE49-F238E27FC236}">
                      <a16:creationId xmlns:a16="http://schemas.microsoft.com/office/drawing/2014/main" id="{82DA327C-170E-0FC8-699C-8EF6867FBFD1}"/>
                    </a:ext>
                  </a:extLst>
                </p:cNvPr>
                <p:cNvGrpSpPr/>
                <p:nvPr/>
              </p:nvGrpSpPr>
              <p:grpSpPr>
                <a:xfrm>
                  <a:off x="5648038" y="3515391"/>
                  <a:ext cx="75628" cy="75723"/>
                  <a:chOff x="5648038" y="3515391"/>
                  <a:chExt cx="75628" cy="75723"/>
                </a:xfrm>
              </p:grpSpPr>
              <p:sp>
                <p:nvSpPr>
                  <p:cNvPr id="13966" name="Freeform: Shape 13965">
                    <a:extLst>
                      <a:ext uri="{FF2B5EF4-FFF2-40B4-BE49-F238E27FC236}">
                        <a16:creationId xmlns:a16="http://schemas.microsoft.com/office/drawing/2014/main" id="{921F068C-C430-DCA3-C656-B77214CDD846}"/>
                      </a:ext>
                    </a:extLst>
                  </p:cNvPr>
                  <p:cNvSpPr/>
                  <p:nvPr/>
                </p:nvSpPr>
                <p:spPr>
                  <a:xfrm>
                    <a:off x="5685853" y="35153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7" name="Freeform: Shape 13966">
                    <a:extLst>
                      <a:ext uri="{FF2B5EF4-FFF2-40B4-BE49-F238E27FC236}">
                        <a16:creationId xmlns:a16="http://schemas.microsoft.com/office/drawing/2014/main" id="{D45D9472-C904-D903-E53B-C6CB99F34F65}"/>
                      </a:ext>
                    </a:extLst>
                  </p:cNvPr>
                  <p:cNvSpPr/>
                  <p:nvPr/>
                </p:nvSpPr>
                <p:spPr>
                  <a:xfrm>
                    <a:off x="5648038" y="355330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4" name="Graphic 1583">
                  <a:extLst>
                    <a:ext uri="{FF2B5EF4-FFF2-40B4-BE49-F238E27FC236}">
                      <a16:creationId xmlns:a16="http://schemas.microsoft.com/office/drawing/2014/main" id="{765914D1-62EE-A854-2401-7A9C0B891947}"/>
                    </a:ext>
                  </a:extLst>
                </p:cNvPr>
                <p:cNvGrpSpPr/>
                <p:nvPr/>
              </p:nvGrpSpPr>
              <p:grpSpPr>
                <a:xfrm>
                  <a:off x="5632894" y="3474433"/>
                  <a:ext cx="75628" cy="75628"/>
                  <a:chOff x="5632894" y="3474433"/>
                  <a:chExt cx="75628" cy="75628"/>
                </a:xfrm>
              </p:grpSpPr>
              <p:sp>
                <p:nvSpPr>
                  <p:cNvPr id="13964" name="Freeform: Shape 13963">
                    <a:extLst>
                      <a:ext uri="{FF2B5EF4-FFF2-40B4-BE49-F238E27FC236}">
                        <a16:creationId xmlns:a16="http://schemas.microsoft.com/office/drawing/2014/main" id="{65200F0D-1FD3-1F0B-633A-73254AC63510}"/>
                      </a:ext>
                    </a:extLst>
                  </p:cNvPr>
                  <p:cNvSpPr/>
                  <p:nvPr/>
                </p:nvSpPr>
                <p:spPr>
                  <a:xfrm>
                    <a:off x="5670708" y="347443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5" name="Freeform: Shape 13964">
                    <a:extLst>
                      <a:ext uri="{FF2B5EF4-FFF2-40B4-BE49-F238E27FC236}">
                        <a16:creationId xmlns:a16="http://schemas.microsoft.com/office/drawing/2014/main" id="{30C71C75-C708-91A5-458D-743A5E9DF857}"/>
                      </a:ext>
                    </a:extLst>
                  </p:cNvPr>
                  <p:cNvSpPr/>
                  <p:nvPr/>
                </p:nvSpPr>
                <p:spPr>
                  <a:xfrm>
                    <a:off x="5632894" y="3512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5" name="Graphic 1583">
                  <a:extLst>
                    <a:ext uri="{FF2B5EF4-FFF2-40B4-BE49-F238E27FC236}">
                      <a16:creationId xmlns:a16="http://schemas.microsoft.com/office/drawing/2014/main" id="{D45FB0E7-53D8-199E-454F-52A88A38E2AC}"/>
                    </a:ext>
                  </a:extLst>
                </p:cNvPr>
                <p:cNvGrpSpPr/>
                <p:nvPr/>
              </p:nvGrpSpPr>
              <p:grpSpPr>
                <a:xfrm>
                  <a:off x="5429154" y="3396614"/>
                  <a:ext cx="75723" cy="75628"/>
                  <a:chOff x="5429154" y="3396614"/>
                  <a:chExt cx="75723" cy="75628"/>
                </a:xfrm>
              </p:grpSpPr>
              <p:sp>
                <p:nvSpPr>
                  <p:cNvPr id="13962" name="Freeform: Shape 13961">
                    <a:extLst>
                      <a:ext uri="{FF2B5EF4-FFF2-40B4-BE49-F238E27FC236}">
                        <a16:creationId xmlns:a16="http://schemas.microsoft.com/office/drawing/2014/main" id="{B1364E24-FB0E-9110-8041-05929D417ADC}"/>
                      </a:ext>
                    </a:extLst>
                  </p:cNvPr>
                  <p:cNvSpPr/>
                  <p:nvPr/>
                </p:nvSpPr>
                <p:spPr>
                  <a:xfrm>
                    <a:off x="5467063" y="339661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3" name="Freeform: Shape 13962">
                    <a:extLst>
                      <a:ext uri="{FF2B5EF4-FFF2-40B4-BE49-F238E27FC236}">
                        <a16:creationId xmlns:a16="http://schemas.microsoft.com/office/drawing/2014/main" id="{BE339C05-AABD-448D-B2A5-C915D3207103}"/>
                      </a:ext>
                    </a:extLst>
                  </p:cNvPr>
                  <p:cNvSpPr/>
                  <p:nvPr/>
                </p:nvSpPr>
                <p:spPr>
                  <a:xfrm>
                    <a:off x="5429154" y="34344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6" name="Graphic 1583">
                  <a:extLst>
                    <a:ext uri="{FF2B5EF4-FFF2-40B4-BE49-F238E27FC236}">
                      <a16:creationId xmlns:a16="http://schemas.microsoft.com/office/drawing/2014/main" id="{85CE0831-33A6-8DCE-E45C-75398D5F4F08}"/>
                    </a:ext>
                  </a:extLst>
                </p:cNvPr>
                <p:cNvGrpSpPr/>
                <p:nvPr/>
              </p:nvGrpSpPr>
              <p:grpSpPr>
                <a:xfrm>
                  <a:off x="5315235" y="3375278"/>
                  <a:ext cx="75628" cy="75723"/>
                  <a:chOff x="5315235" y="3375278"/>
                  <a:chExt cx="75628" cy="75723"/>
                </a:xfrm>
              </p:grpSpPr>
              <p:sp>
                <p:nvSpPr>
                  <p:cNvPr id="13960" name="Freeform: Shape 13959">
                    <a:extLst>
                      <a:ext uri="{FF2B5EF4-FFF2-40B4-BE49-F238E27FC236}">
                        <a16:creationId xmlns:a16="http://schemas.microsoft.com/office/drawing/2014/main" id="{9FA2767C-DAF0-D907-DB68-F103FEDB1629}"/>
                      </a:ext>
                    </a:extLst>
                  </p:cNvPr>
                  <p:cNvSpPr/>
                  <p:nvPr/>
                </p:nvSpPr>
                <p:spPr>
                  <a:xfrm>
                    <a:off x="5353049"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61" name="Freeform: Shape 13960">
                    <a:extLst>
                      <a:ext uri="{FF2B5EF4-FFF2-40B4-BE49-F238E27FC236}">
                        <a16:creationId xmlns:a16="http://schemas.microsoft.com/office/drawing/2014/main" id="{92DD7171-CCDC-2FEC-E255-A680165C3577}"/>
                      </a:ext>
                    </a:extLst>
                  </p:cNvPr>
                  <p:cNvSpPr/>
                  <p:nvPr/>
                </p:nvSpPr>
                <p:spPr>
                  <a:xfrm>
                    <a:off x="5315235" y="341318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7" name="Graphic 1583">
                  <a:extLst>
                    <a:ext uri="{FF2B5EF4-FFF2-40B4-BE49-F238E27FC236}">
                      <a16:creationId xmlns:a16="http://schemas.microsoft.com/office/drawing/2014/main" id="{FA1F9AFD-F25D-6421-9648-6EE85425A853}"/>
                    </a:ext>
                  </a:extLst>
                </p:cNvPr>
                <p:cNvGrpSpPr/>
                <p:nvPr/>
              </p:nvGrpSpPr>
              <p:grpSpPr>
                <a:xfrm>
                  <a:off x="5284850" y="3341560"/>
                  <a:ext cx="75628" cy="75723"/>
                  <a:chOff x="5284850" y="3341560"/>
                  <a:chExt cx="75628" cy="75723"/>
                </a:xfrm>
              </p:grpSpPr>
              <p:sp>
                <p:nvSpPr>
                  <p:cNvPr id="13958" name="Freeform: Shape 13957">
                    <a:extLst>
                      <a:ext uri="{FF2B5EF4-FFF2-40B4-BE49-F238E27FC236}">
                        <a16:creationId xmlns:a16="http://schemas.microsoft.com/office/drawing/2014/main" id="{1D4ABCC9-CC46-A73E-60A4-84996FBFAADA}"/>
                      </a:ext>
                    </a:extLst>
                  </p:cNvPr>
                  <p:cNvSpPr/>
                  <p:nvPr/>
                </p:nvSpPr>
                <p:spPr>
                  <a:xfrm>
                    <a:off x="5322664" y="33415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9" name="Freeform: Shape 13958">
                    <a:extLst>
                      <a:ext uri="{FF2B5EF4-FFF2-40B4-BE49-F238E27FC236}">
                        <a16:creationId xmlns:a16="http://schemas.microsoft.com/office/drawing/2014/main" id="{F77D675F-AE91-4D78-6EEC-51035A35E5D0}"/>
                      </a:ext>
                    </a:extLst>
                  </p:cNvPr>
                  <p:cNvSpPr/>
                  <p:nvPr/>
                </p:nvSpPr>
                <p:spPr>
                  <a:xfrm>
                    <a:off x="5284850" y="337937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8" name="Graphic 1583">
                  <a:extLst>
                    <a:ext uri="{FF2B5EF4-FFF2-40B4-BE49-F238E27FC236}">
                      <a16:creationId xmlns:a16="http://schemas.microsoft.com/office/drawing/2014/main" id="{DCEC566C-8650-BD5F-1DAB-0BE166D49A7F}"/>
                    </a:ext>
                  </a:extLst>
                </p:cNvPr>
                <p:cNvGrpSpPr/>
                <p:nvPr/>
              </p:nvGrpSpPr>
              <p:grpSpPr>
                <a:xfrm>
                  <a:off x="5269039" y="3313842"/>
                  <a:ext cx="75628" cy="75723"/>
                  <a:chOff x="5269039" y="3313842"/>
                  <a:chExt cx="75628" cy="75723"/>
                </a:xfrm>
              </p:grpSpPr>
              <p:sp>
                <p:nvSpPr>
                  <p:cNvPr id="13956" name="Freeform: Shape 13955">
                    <a:extLst>
                      <a:ext uri="{FF2B5EF4-FFF2-40B4-BE49-F238E27FC236}">
                        <a16:creationId xmlns:a16="http://schemas.microsoft.com/office/drawing/2014/main" id="{815044E8-974F-63F0-477D-5972F7D3983D}"/>
                      </a:ext>
                    </a:extLst>
                  </p:cNvPr>
                  <p:cNvSpPr/>
                  <p:nvPr/>
                </p:nvSpPr>
                <p:spPr>
                  <a:xfrm>
                    <a:off x="5306853" y="3313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7" name="Freeform: Shape 13956">
                    <a:extLst>
                      <a:ext uri="{FF2B5EF4-FFF2-40B4-BE49-F238E27FC236}">
                        <a16:creationId xmlns:a16="http://schemas.microsoft.com/office/drawing/2014/main" id="{6A663BDB-4279-CEF0-398F-C81913328813}"/>
                      </a:ext>
                    </a:extLst>
                  </p:cNvPr>
                  <p:cNvSpPr/>
                  <p:nvPr/>
                </p:nvSpPr>
                <p:spPr>
                  <a:xfrm>
                    <a:off x="5269039" y="335175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69" name="Graphic 1583">
                  <a:extLst>
                    <a:ext uri="{FF2B5EF4-FFF2-40B4-BE49-F238E27FC236}">
                      <a16:creationId xmlns:a16="http://schemas.microsoft.com/office/drawing/2014/main" id="{8546A05D-B193-CDE0-B613-04962D59DA73}"/>
                    </a:ext>
                  </a:extLst>
                </p:cNvPr>
                <p:cNvGrpSpPr/>
                <p:nvPr/>
              </p:nvGrpSpPr>
              <p:grpSpPr>
                <a:xfrm>
                  <a:off x="5246941" y="3293554"/>
                  <a:ext cx="75723" cy="75628"/>
                  <a:chOff x="5246941" y="3293554"/>
                  <a:chExt cx="75723" cy="75628"/>
                </a:xfrm>
              </p:grpSpPr>
              <p:sp>
                <p:nvSpPr>
                  <p:cNvPr id="13954" name="Freeform: Shape 13953">
                    <a:extLst>
                      <a:ext uri="{FF2B5EF4-FFF2-40B4-BE49-F238E27FC236}">
                        <a16:creationId xmlns:a16="http://schemas.microsoft.com/office/drawing/2014/main" id="{F568BAAC-1368-4B96-55C5-F46F78E2A426}"/>
                      </a:ext>
                    </a:extLst>
                  </p:cNvPr>
                  <p:cNvSpPr/>
                  <p:nvPr/>
                </p:nvSpPr>
                <p:spPr>
                  <a:xfrm>
                    <a:off x="5284850" y="32935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5" name="Freeform: Shape 13954">
                    <a:extLst>
                      <a:ext uri="{FF2B5EF4-FFF2-40B4-BE49-F238E27FC236}">
                        <a16:creationId xmlns:a16="http://schemas.microsoft.com/office/drawing/2014/main" id="{0F8F85EB-EEF7-4892-3BB5-DB21DD41896E}"/>
                      </a:ext>
                    </a:extLst>
                  </p:cNvPr>
                  <p:cNvSpPr/>
                  <p:nvPr/>
                </p:nvSpPr>
                <p:spPr>
                  <a:xfrm>
                    <a:off x="5246941" y="33313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0" name="Graphic 1583">
                  <a:extLst>
                    <a:ext uri="{FF2B5EF4-FFF2-40B4-BE49-F238E27FC236}">
                      <a16:creationId xmlns:a16="http://schemas.microsoft.com/office/drawing/2014/main" id="{E6B2A1A2-CF7B-DEC5-806D-3CA1D8495E05}"/>
                    </a:ext>
                  </a:extLst>
                </p:cNvPr>
                <p:cNvGrpSpPr/>
                <p:nvPr/>
              </p:nvGrpSpPr>
              <p:grpSpPr>
                <a:xfrm>
                  <a:off x="5179599" y="3270122"/>
                  <a:ext cx="75723" cy="75723"/>
                  <a:chOff x="5179599" y="3270122"/>
                  <a:chExt cx="75723" cy="75723"/>
                </a:xfrm>
              </p:grpSpPr>
              <p:sp>
                <p:nvSpPr>
                  <p:cNvPr id="13952" name="Freeform: Shape 13951">
                    <a:extLst>
                      <a:ext uri="{FF2B5EF4-FFF2-40B4-BE49-F238E27FC236}">
                        <a16:creationId xmlns:a16="http://schemas.microsoft.com/office/drawing/2014/main" id="{CFBF3A27-F735-A816-0EFF-A9ADC1B8EA99}"/>
                      </a:ext>
                    </a:extLst>
                  </p:cNvPr>
                  <p:cNvSpPr/>
                  <p:nvPr/>
                </p:nvSpPr>
                <p:spPr>
                  <a:xfrm>
                    <a:off x="5217508" y="3270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3" name="Freeform: Shape 13952">
                    <a:extLst>
                      <a:ext uri="{FF2B5EF4-FFF2-40B4-BE49-F238E27FC236}">
                        <a16:creationId xmlns:a16="http://schemas.microsoft.com/office/drawing/2014/main" id="{0B2DA4D4-27D2-6096-3729-4946E80D8A38}"/>
                      </a:ext>
                    </a:extLst>
                  </p:cNvPr>
                  <p:cNvSpPr/>
                  <p:nvPr/>
                </p:nvSpPr>
                <p:spPr>
                  <a:xfrm>
                    <a:off x="5179599" y="3307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1" name="Graphic 1583">
                  <a:extLst>
                    <a:ext uri="{FF2B5EF4-FFF2-40B4-BE49-F238E27FC236}">
                      <a16:creationId xmlns:a16="http://schemas.microsoft.com/office/drawing/2014/main" id="{82CC64E4-9810-D253-1127-1E587A1F8B7A}"/>
                    </a:ext>
                  </a:extLst>
                </p:cNvPr>
                <p:cNvGrpSpPr/>
                <p:nvPr/>
              </p:nvGrpSpPr>
              <p:grpSpPr>
                <a:xfrm>
                  <a:off x="4918233" y="3223926"/>
                  <a:ext cx="75628" cy="75628"/>
                  <a:chOff x="4918233" y="3223926"/>
                  <a:chExt cx="75628" cy="75628"/>
                </a:xfrm>
              </p:grpSpPr>
              <p:sp>
                <p:nvSpPr>
                  <p:cNvPr id="13950" name="Freeform: Shape 13949">
                    <a:extLst>
                      <a:ext uri="{FF2B5EF4-FFF2-40B4-BE49-F238E27FC236}">
                        <a16:creationId xmlns:a16="http://schemas.microsoft.com/office/drawing/2014/main" id="{5179EB64-F518-7F67-A76D-286FC2A5C0D4}"/>
                      </a:ext>
                    </a:extLst>
                  </p:cNvPr>
                  <p:cNvSpPr/>
                  <p:nvPr/>
                </p:nvSpPr>
                <p:spPr>
                  <a:xfrm>
                    <a:off x="4956047"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51" name="Freeform: Shape 13950">
                    <a:extLst>
                      <a:ext uri="{FF2B5EF4-FFF2-40B4-BE49-F238E27FC236}">
                        <a16:creationId xmlns:a16="http://schemas.microsoft.com/office/drawing/2014/main" id="{3F063959-8827-EB1C-14F8-7D14B9624F6E}"/>
                      </a:ext>
                    </a:extLst>
                  </p:cNvPr>
                  <p:cNvSpPr/>
                  <p:nvPr/>
                </p:nvSpPr>
                <p:spPr>
                  <a:xfrm>
                    <a:off x="4918233" y="32617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2" name="Graphic 1583">
                  <a:extLst>
                    <a:ext uri="{FF2B5EF4-FFF2-40B4-BE49-F238E27FC236}">
                      <a16:creationId xmlns:a16="http://schemas.microsoft.com/office/drawing/2014/main" id="{9D251FC5-DCBB-FE4D-6250-9F74F9E1893E}"/>
                    </a:ext>
                  </a:extLst>
                </p:cNvPr>
                <p:cNvGrpSpPr/>
                <p:nvPr/>
              </p:nvGrpSpPr>
              <p:grpSpPr>
                <a:xfrm>
                  <a:off x="4912137" y="3214782"/>
                  <a:ext cx="75628" cy="75723"/>
                  <a:chOff x="4912137" y="3214782"/>
                  <a:chExt cx="75628" cy="75723"/>
                </a:xfrm>
              </p:grpSpPr>
              <p:sp>
                <p:nvSpPr>
                  <p:cNvPr id="13948" name="Freeform: Shape 13947">
                    <a:extLst>
                      <a:ext uri="{FF2B5EF4-FFF2-40B4-BE49-F238E27FC236}">
                        <a16:creationId xmlns:a16="http://schemas.microsoft.com/office/drawing/2014/main" id="{5BB3E646-BE1C-A671-E1FB-4F2028647E88}"/>
                      </a:ext>
                    </a:extLst>
                  </p:cNvPr>
                  <p:cNvSpPr/>
                  <p:nvPr/>
                </p:nvSpPr>
                <p:spPr>
                  <a:xfrm>
                    <a:off x="4949951" y="321478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9" name="Freeform: Shape 13948">
                    <a:extLst>
                      <a:ext uri="{FF2B5EF4-FFF2-40B4-BE49-F238E27FC236}">
                        <a16:creationId xmlns:a16="http://schemas.microsoft.com/office/drawing/2014/main" id="{D973F9C9-05CA-1FCB-C339-8A20E6F03956}"/>
                      </a:ext>
                    </a:extLst>
                  </p:cNvPr>
                  <p:cNvSpPr/>
                  <p:nvPr/>
                </p:nvSpPr>
                <p:spPr>
                  <a:xfrm>
                    <a:off x="4912137" y="32525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3" name="Graphic 1583">
                  <a:extLst>
                    <a:ext uri="{FF2B5EF4-FFF2-40B4-BE49-F238E27FC236}">
                      <a16:creationId xmlns:a16="http://schemas.microsoft.com/office/drawing/2014/main" id="{47583C06-94C5-5043-A036-573741AEE614}"/>
                    </a:ext>
                  </a:extLst>
                </p:cNvPr>
                <p:cNvGrpSpPr/>
                <p:nvPr/>
              </p:nvGrpSpPr>
              <p:grpSpPr>
                <a:xfrm>
                  <a:off x="4907470" y="3206590"/>
                  <a:ext cx="75723" cy="75723"/>
                  <a:chOff x="4907470" y="3206590"/>
                  <a:chExt cx="75723" cy="75723"/>
                </a:xfrm>
              </p:grpSpPr>
              <p:sp>
                <p:nvSpPr>
                  <p:cNvPr id="13946" name="Freeform: Shape 13945">
                    <a:extLst>
                      <a:ext uri="{FF2B5EF4-FFF2-40B4-BE49-F238E27FC236}">
                        <a16:creationId xmlns:a16="http://schemas.microsoft.com/office/drawing/2014/main" id="{E5666237-E53E-07BB-4979-525810C2C936}"/>
                      </a:ext>
                    </a:extLst>
                  </p:cNvPr>
                  <p:cNvSpPr/>
                  <p:nvPr/>
                </p:nvSpPr>
                <p:spPr>
                  <a:xfrm>
                    <a:off x="4945379" y="32065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7" name="Freeform: Shape 13946">
                    <a:extLst>
                      <a:ext uri="{FF2B5EF4-FFF2-40B4-BE49-F238E27FC236}">
                        <a16:creationId xmlns:a16="http://schemas.microsoft.com/office/drawing/2014/main" id="{5EC10880-8EA4-6EE3-031F-FDB1FF9A9526}"/>
                      </a:ext>
                    </a:extLst>
                  </p:cNvPr>
                  <p:cNvSpPr/>
                  <p:nvPr/>
                </p:nvSpPr>
                <p:spPr>
                  <a:xfrm>
                    <a:off x="4907470" y="32444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4" name="Graphic 1583">
                  <a:extLst>
                    <a:ext uri="{FF2B5EF4-FFF2-40B4-BE49-F238E27FC236}">
                      <a16:creationId xmlns:a16="http://schemas.microsoft.com/office/drawing/2014/main" id="{8CF50FDA-AD49-A8E4-2B55-2B04157299C3}"/>
                    </a:ext>
                  </a:extLst>
                </p:cNvPr>
                <p:cNvGrpSpPr/>
                <p:nvPr/>
              </p:nvGrpSpPr>
              <p:grpSpPr>
                <a:xfrm>
                  <a:off x="4888420" y="3176968"/>
                  <a:ext cx="75628" cy="75628"/>
                  <a:chOff x="4888420" y="3176968"/>
                  <a:chExt cx="75628" cy="75628"/>
                </a:xfrm>
              </p:grpSpPr>
              <p:sp>
                <p:nvSpPr>
                  <p:cNvPr id="13944" name="Freeform: Shape 13943">
                    <a:extLst>
                      <a:ext uri="{FF2B5EF4-FFF2-40B4-BE49-F238E27FC236}">
                        <a16:creationId xmlns:a16="http://schemas.microsoft.com/office/drawing/2014/main" id="{8A12D783-8A1A-8F13-8524-4EC9B5364DAA}"/>
                      </a:ext>
                    </a:extLst>
                  </p:cNvPr>
                  <p:cNvSpPr/>
                  <p:nvPr/>
                </p:nvSpPr>
                <p:spPr>
                  <a:xfrm>
                    <a:off x="4926234" y="31769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5" name="Freeform: Shape 13944">
                    <a:extLst>
                      <a:ext uri="{FF2B5EF4-FFF2-40B4-BE49-F238E27FC236}">
                        <a16:creationId xmlns:a16="http://schemas.microsoft.com/office/drawing/2014/main" id="{8544B2DE-BAEE-9F27-E245-E3ACA6144831}"/>
                      </a:ext>
                    </a:extLst>
                  </p:cNvPr>
                  <p:cNvSpPr/>
                  <p:nvPr/>
                </p:nvSpPr>
                <p:spPr>
                  <a:xfrm>
                    <a:off x="4888420" y="32147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5" name="Graphic 1583">
                  <a:extLst>
                    <a:ext uri="{FF2B5EF4-FFF2-40B4-BE49-F238E27FC236}">
                      <a16:creationId xmlns:a16="http://schemas.microsoft.com/office/drawing/2014/main" id="{9178A938-970F-B79F-E43C-4575D9F937A4}"/>
                    </a:ext>
                  </a:extLst>
                </p:cNvPr>
                <p:cNvGrpSpPr/>
                <p:nvPr/>
              </p:nvGrpSpPr>
              <p:grpSpPr>
                <a:xfrm>
                  <a:off x="4855463" y="3132867"/>
                  <a:ext cx="75723" cy="75723"/>
                  <a:chOff x="4855463" y="3132867"/>
                  <a:chExt cx="75723" cy="75723"/>
                </a:xfrm>
              </p:grpSpPr>
              <p:sp>
                <p:nvSpPr>
                  <p:cNvPr id="13942" name="Freeform: Shape 13941">
                    <a:extLst>
                      <a:ext uri="{FF2B5EF4-FFF2-40B4-BE49-F238E27FC236}">
                        <a16:creationId xmlns:a16="http://schemas.microsoft.com/office/drawing/2014/main" id="{5354061D-60A1-4913-48DD-E282962F7308}"/>
                      </a:ext>
                    </a:extLst>
                  </p:cNvPr>
                  <p:cNvSpPr/>
                  <p:nvPr/>
                </p:nvSpPr>
                <p:spPr>
                  <a:xfrm>
                    <a:off x="4893277" y="31328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3" name="Freeform: Shape 13942">
                    <a:extLst>
                      <a:ext uri="{FF2B5EF4-FFF2-40B4-BE49-F238E27FC236}">
                        <a16:creationId xmlns:a16="http://schemas.microsoft.com/office/drawing/2014/main" id="{7790DCCA-2971-1354-2728-598395D3AA29}"/>
                      </a:ext>
                    </a:extLst>
                  </p:cNvPr>
                  <p:cNvSpPr/>
                  <p:nvPr/>
                </p:nvSpPr>
                <p:spPr>
                  <a:xfrm>
                    <a:off x="4855463" y="3170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6" name="Graphic 1583">
                  <a:extLst>
                    <a:ext uri="{FF2B5EF4-FFF2-40B4-BE49-F238E27FC236}">
                      <a16:creationId xmlns:a16="http://schemas.microsoft.com/office/drawing/2014/main" id="{E039560D-7AFF-DE32-7795-9FE381F43EA8}"/>
                    </a:ext>
                  </a:extLst>
                </p:cNvPr>
                <p:cNvGrpSpPr/>
                <p:nvPr/>
              </p:nvGrpSpPr>
              <p:grpSpPr>
                <a:xfrm>
                  <a:off x="4834603" y="3097339"/>
                  <a:ext cx="75723" cy="75628"/>
                  <a:chOff x="4834603" y="3097339"/>
                  <a:chExt cx="75723" cy="75628"/>
                </a:xfrm>
              </p:grpSpPr>
              <p:sp>
                <p:nvSpPr>
                  <p:cNvPr id="13940" name="Freeform: Shape 13939">
                    <a:extLst>
                      <a:ext uri="{FF2B5EF4-FFF2-40B4-BE49-F238E27FC236}">
                        <a16:creationId xmlns:a16="http://schemas.microsoft.com/office/drawing/2014/main" id="{C4118423-81DD-F192-3D8E-BC7AC4950CAB}"/>
                      </a:ext>
                    </a:extLst>
                  </p:cNvPr>
                  <p:cNvSpPr/>
                  <p:nvPr/>
                </p:nvSpPr>
                <p:spPr>
                  <a:xfrm>
                    <a:off x="4872418"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41" name="Freeform: Shape 13940">
                    <a:extLst>
                      <a:ext uri="{FF2B5EF4-FFF2-40B4-BE49-F238E27FC236}">
                        <a16:creationId xmlns:a16="http://schemas.microsoft.com/office/drawing/2014/main" id="{1C64B84C-F8D7-BBFB-631A-635A20020D80}"/>
                      </a:ext>
                    </a:extLst>
                  </p:cNvPr>
                  <p:cNvSpPr/>
                  <p:nvPr/>
                </p:nvSpPr>
                <p:spPr>
                  <a:xfrm>
                    <a:off x="4834603" y="31351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7" name="Graphic 1583">
                  <a:extLst>
                    <a:ext uri="{FF2B5EF4-FFF2-40B4-BE49-F238E27FC236}">
                      <a16:creationId xmlns:a16="http://schemas.microsoft.com/office/drawing/2014/main" id="{DF3C85A7-E946-094E-900C-C0A28BD3F2D1}"/>
                    </a:ext>
                  </a:extLst>
                </p:cNvPr>
                <p:cNvGrpSpPr/>
                <p:nvPr/>
              </p:nvGrpSpPr>
              <p:grpSpPr>
                <a:xfrm>
                  <a:off x="4626101" y="3097339"/>
                  <a:ext cx="75628" cy="75628"/>
                  <a:chOff x="4626101" y="3097339"/>
                  <a:chExt cx="75628" cy="75628"/>
                </a:xfrm>
              </p:grpSpPr>
              <p:sp>
                <p:nvSpPr>
                  <p:cNvPr id="13938" name="Freeform: Shape 13937">
                    <a:extLst>
                      <a:ext uri="{FF2B5EF4-FFF2-40B4-BE49-F238E27FC236}">
                        <a16:creationId xmlns:a16="http://schemas.microsoft.com/office/drawing/2014/main" id="{4CD6A023-BE78-896B-A573-544245E471D2}"/>
                      </a:ext>
                    </a:extLst>
                  </p:cNvPr>
                  <p:cNvSpPr/>
                  <p:nvPr/>
                </p:nvSpPr>
                <p:spPr>
                  <a:xfrm>
                    <a:off x="4663915" y="309733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9" name="Freeform: Shape 13938">
                    <a:extLst>
                      <a:ext uri="{FF2B5EF4-FFF2-40B4-BE49-F238E27FC236}">
                        <a16:creationId xmlns:a16="http://schemas.microsoft.com/office/drawing/2014/main" id="{28BB714B-37E5-E3BE-12CC-16F3A2BA4D42}"/>
                      </a:ext>
                    </a:extLst>
                  </p:cNvPr>
                  <p:cNvSpPr/>
                  <p:nvPr/>
                </p:nvSpPr>
                <p:spPr>
                  <a:xfrm>
                    <a:off x="4626101" y="31351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8" name="Graphic 1583">
                  <a:extLst>
                    <a:ext uri="{FF2B5EF4-FFF2-40B4-BE49-F238E27FC236}">
                      <a16:creationId xmlns:a16="http://schemas.microsoft.com/office/drawing/2014/main" id="{00E2B639-280B-2B28-F880-73B5FCFE2D2B}"/>
                    </a:ext>
                  </a:extLst>
                </p:cNvPr>
                <p:cNvGrpSpPr/>
                <p:nvPr/>
              </p:nvGrpSpPr>
              <p:grpSpPr>
                <a:xfrm>
                  <a:off x="4555807" y="3053524"/>
                  <a:ext cx="75723" cy="75723"/>
                  <a:chOff x="4555807" y="3053524"/>
                  <a:chExt cx="75723" cy="75723"/>
                </a:xfrm>
              </p:grpSpPr>
              <p:sp>
                <p:nvSpPr>
                  <p:cNvPr id="13936" name="Freeform: Shape 13935">
                    <a:extLst>
                      <a:ext uri="{FF2B5EF4-FFF2-40B4-BE49-F238E27FC236}">
                        <a16:creationId xmlns:a16="http://schemas.microsoft.com/office/drawing/2014/main" id="{6659248C-81DA-B6C0-8D68-CF2A6F8DACDD}"/>
                      </a:ext>
                    </a:extLst>
                  </p:cNvPr>
                  <p:cNvSpPr/>
                  <p:nvPr/>
                </p:nvSpPr>
                <p:spPr>
                  <a:xfrm>
                    <a:off x="4593716" y="30535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7" name="Freeform: Shape 13936">
                    <a:extLst>
                      <a:ext uri="{FF2B5EF4-FFF2-40B4-BE49-F238E27FC236}">
                        <a16:creationId xmlns:a16="http://schemas.microsoft.com/office/drawing/2014/main" id="{2299D90E-5EE8-15F9-CB49-497EBA2FCF98}"/>
                      </a:ext>
                    </a:extLst>
                  </p:cNvPr>
                  <p:cNvSpPr/>
                  <p:nvPr/>
                </p:nvSpPr>
                <p:spPr>
                  <a:xfrm>
                    <a:off x="4555807" y="30913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79" name="Graphic 1583">
                  <a:extLst>
                    <a:ext uri="{FF2B5EF4-FFF2-40B4-BE49-F238E27FC236}">
                      <a16:creationId xmlns:a16="http://schemas.microsoft.com/office/drawing/2014/main" id="{4447F7D5-2C34-B017-A194-1B968BE99D53}"/>
                    </a:ext>
                  </a:extLst>
                </p:cNvPr>
                <p:cNvGrpSpPr/>
                <p:nvPr/>
              </p:nvGrpSpPr>
              <p:grpSpPr>
                <a:xfrm>
                  <a:off x="4504753" y="2948939"/>
                  <a:ext cx="75628" cy="75723"/>
                  <a:chOff x="4504753" y="2948939"/>
                  <a:chExt cx="75628" cy="75723"/>
                </a:xfrm>
              </p:grpSpPr>
              <p:sp>
                <p:nvSpPr>
                  <p:cNvPr id="13934" name="Freeform: Shape 13933">
                    <a:extLst>
                      <a:ext uri="{FF2B5EF4-FFF2-40B4-BE49-F238E27FC236}">
                        <a16:creationId xmlns:a16="http://schemas.microsoft.com/office/drawing/2014/main" id="{D567D2C4-1497-2FE5-C93F-09D3FD090A59}"/>
                      </a:ext>
                    </a:extLst>
                  </p:cNvPr>
                  <p:cNvSpPr/>
                  <p:nvPr/>
                </p:nvSpPr>
                <p:spPr>
                  <a:xfrm>
                    <a:off x="4542567" y="29489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5" name="Freeform: Shape 13934">
                    <a:extLst>
                      <a:ext uri="{FF2B5EF4-FFF2-40B4-BE49-F238E27FC236}">
                        <a16:creationId xmlns:a16="http://schemas.microsoft.com/office/drawing/2014/main" id="{6E4247B2-4A56-BEDC-E800-9E3D2C777FB0}"/>
                      </a:ext>
                    </a:extLst>
                  </p:cNvPr>
                  <p:cNvSpPr/>
                  <p:nvPr/>
                </p:nvSpPr>
                <p:spPr>
                  <a:xfrm>
                    <a:off x="4504753" y="298675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0" name="Graphic 1583">
                  <a:extLst>
                    <a:ext uri="{FF2B5EF4-FFF2-40B4-BE49-F238E27FC236}">
                      <a16:creationId xmlns:a16="http://schemas.microsoft.com/office/drawing/2014/main" id="{3F669FDC-8892-0CE3-422D-C007989E903A}"/>
                    </a:ext>
                  </a:extLst>
                </p:cNvPr>
                <p:cNvGrpSpPr/>
                <p:nvPr/>
              </p:nvGrpSpPr>
              <p:grpSpPr>
                <a:xfrm>
                  <a:off x="4510277" y="2958369"/>
                  <a:ext cx="75628" cy="75723"/>
                  <a:chOff x="4510277" y="2958369"/>
                  <a:chExt cx="75628" cy="75723"/>
                </a:xfrm>
              </p:grpSpPr>
              <p:sp>
                <p:nvSpPr>
                  <p:cNvPr id="13932" name="Freeform: Shape 13931">
                    <a:extLst>
                      <a:ext uri="{FF2B5EF4-FFF2-40B4-BE49-F238E27FC236}">
                        <a16:creationId xmlns:a16="http://schemas.microsoft.com/office/drawing/2014/main" id="{BC4148F3-6117-A17F-D085-2E2DF7912FF6}"/>
                      </a:ext>
                    </a:extLst>
                  </p:cNvPr>
                  <p:cNvSpPr/>
                  <p:nvPr/>
                </p:nvSpPr>
                <p:spPr>
                  <a:xfrm>
                    <a:off x="454809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3" name="Freeform: Shape 13932">
                    <a:extLst>
                      <a:ext uri="{FF2B5EF4-FFF2-40B4-BE49-F238E27FC236}">
                        <a16:creationId xmlns:a16="http://schemas.microsoft.com/office/drawing/2014/main" id="{6FDE89A2-A4AB-5EF6-CDA3-32E16EBBCD20}"/>
                      </a:ext>
                    </a:extLst>
                  </p:cNvPr>
                  <p:cNvSpPr/>
                  <p:nvPr/>
                </p:nvSpPr>
                <p:spPr>
                  <a:xfrm>
                    <a:off x="4510277" y="299618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1" name="Graphic 1583">
                  <a:extLst>
                    <a:ext uri="{FF2B5EF4-FFF2-40B4-BE49-F238E27FC236}">
                      <a16:creationId xmlns:a16="http://schemas.microsoft.com/office/drawing/2014/main" id="{AE061ABE-4797-9C9A-04AA-DD9D05C496DE}"/>
                    </a:ext>
                  </a:extLst>
                </p:cNvPr>
                <p:cNvGrpSpPr/>
                <p:nvPr/>
              </p:nvGrpSpPr>
              <p:grpSpPr>
                <a:xfrm>
                  <a:off x="4517992" y="2970561"/>
                  <a:ext cx="75723" cy="75628"/>
                  <a:chOff x="4517992" y="2970561"/>
                  <a:chExt cx="75723" cy="75628"/>
                </a:xfrm>
              </p:grpSpPr>
              <p:sp>
                <p:nvSpPr>
                  <p:cNvPr id="13930" name="Freeform: Shape 13929">
                    <a:extLst>
                      <a:ext uri="{FF2B5EF4-FFF2-40B4-BE49-F238E27FC236}">
                        <a16:creationId xmlns:a16="http://schemas.microsoft.com/office/drawing/2014/main" id="{4D8DC965-41DF-9A01-1B81-AFC445E820F4}"/>
                      </a:ext>
                    </a:extLst>
                  </p:cNvPr>
                  <p:cNvSpPr/>
                  <p:nvPr/>
                </p:nvSpPr>
                <p:spPr>
                  <a:xfrm>
                    <a:off x="4555807" y="297056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31" name="Freeform: Shape 13930">
                    <a:extLst>
                      <a:ext uri="{FF2B5EF4-FFF2-40B4-BE49-F238E27FC236}">
                        <a16:creationId xmlns:a16="http://schemas.microsoft.com/office/drawing/2014/main" id="{E9525F52-40A5-5D96-F866-ABFB02F53245}"/>
                      </a:ext>
                    </a:extLst>
                  </p:cNvPr>
                  <p:cNvSpPr/>
                  <p:nvPr/>
                </p:nvSpPr>
                <p:spPr>
                  <a:xfrm>
                    <a:off x="4517992" y="300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2" name="Graphic 1583">
                  <a:extLst>
                    <a:ext uri="{FF2B5EF4-FFF2-40B4-BE49-F238E27FC236}">
                      <a16:creationId xmlns:a16="http://schemas.microsoft.com/office/drawing/2014/main" id="{09D32217-561F-8649-5A9D-C165C11614F8}"/>
                    </a:ext>
                  </a:extLst>
                </p:cNvPr>
                <p:cNvGrpSpPr/>
                <p:nvPr/>
              </p:nvGrpSpPr>
              <p:grpSpPr>
                <a:xfrm>
                  <a:off x="4525708" y="2982277"/>
                  <a:ext cx="75723" cy="75628"/>
                  <a:chOff x="4525708" y="2982277"/>
                  <a:chExt cx="75723" cy="75628"/>
                </a:xfrm>
              </p:grpSpPr>
              <p:sp>
                <p:nvSpPr>
                  <p:cNvPr id="13928" name="Freeform: Shape 13927">
                    <a:extLst>
                      <a:ext uri="{FF2B5EF4-FFF2-40B4-BE49-F238E27FC236}">
                        <a16:creationId xmlns:a16="http://schemas.microsoft.com/office/drawing/2014/main" id="{3D5DC029-55E2-B3A3-10E9-477D4F78B25E}"/>
                      </a:ext>
                    </a:extLst>
                  </p:cNvPr>
                  <p:cNvSpPr/>
                  <p:nvPr/>
                </p:nvSpPr>
                <p:spPr>
                  <a:xfrm>
                    <a:off x="4563617" y="29822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9" name="Freeform: Shape 13928">
                    <a:extLst>
                      <a:ext uri="{FF2B5EF4-FFF2-40B4-BE49-F238E27FC236}">
                        <a16:creationId xmlns:a16="http://schemas.microsoft.com/office/drawing/2014/main" id="{5A47B365-347D-5AE4-51AF-3B5DAFA532E9}"/>
                      </a:ext>
                    </a:extLst>
                  </p:cNvPr>
                  <p:cNvSpPr/>
                  <p:nvPr/>
                </p:nvSpPr>
                <p:spPr>
                  <a:xfrm>
                    <a:off x="4525708" y="30200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3" name="Graphic 1583">
                  <a:extLst>
                    <a:ext uri="{FF2B5EF4-FFF2-40B4-BE49-F238E27FC236}">
                      <a16:creationId xmlns:a16="http://schemas.microsoft.com/office/drawing/2014/main" id="{0B1EC49A-96ED-1DD5-DA6D-F9A433EA8836}"/>
                    </a:ext>
                  </a:extLst>
                </p:cNvPr>
                <p:cNvGrpSpPr/>
                <p:nvPr/>
              </p:nvGrpSpPr>
              <p:grpSpPr>
                <a:xfrm>
                  <a:off x="4534280" y="2993516"/>
                  <a:ext cx="75628" cy="75628"/>
                  <a:chOff x="4534280" y="2993516"/>
                  <a:chExt cx="75628" cy="75628"/>
                </a:xfrm>
              </p:grpSpPr>
              <p:sp>
                <p:nvSpPr>
                  <p:cNvPr id="13926" name="Freeform: Shape 13925">
                    <a:extLst>
                      <a:ext uri="{FF2B5EF4-FFF2-40B4-BE49-F238E27FC236}">
                        <a16:creationId xmlns:a16="http://schemas.microsoft.com/office/drawing/2014/main" id="{C78EB28C-F08D-DF6C-F285-14FBD50524CB}"/>
                      </a:ext>
                    </a:extLst>
                  </p:cNvPr>
                  <p:cNvSpPr/>
                  <p:nvPr/>
                </p:nvSpPr>
                <p:spPr>
                  <a:xfrm>
                    <a:off x="4572094" y="299351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7" name="Freeform: Shape 13926">
                    <a:extLst>
                      <a:ext uri="{FF2B5EF4-FFF2-40B4-BE49-F238E27FC236}">
                        <a16:creationId xmlns:a16="http://schemas.microsoft.com/office/drawing/2014/main" id="{31B08CB9-F3C7-66A9-5ACD-FE854AC56FBD}"/>
                      </a:ext>
                    </a:extLst>
                  </p:cNvPr>
                  <p:cNvSpPr/>
                  <p:nvPr/>
                </p:nvSpPr>
                <p:spPr>
                  <a:xfrm>
                    <a:off x="4534280" y="303133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4" name="Graphic 1583">
                  <a:extLst>
                    <a:ext uri="{FF2B5EF4-FFF2-40B4-BE49-F238E27FC236}">
                      <a16:creationId xmlns:a16="http://schemas.microsoft.com/office/drawing/2014/main" id="{358F79A7-D74C-6EEB-80FE-66756BBE5CD5}"/>
                    </a:ext>
                  </a:extLst>
                </p:cNvPr>
                <p:cNvGrpSpPr/>
                <p:nvPr/>
              </p:nvGrpSpPr>
              <p:grpSpPr>
                <a:xfrm>
                  <a:off x="4544281" y="3005327"/>
                  <a:ext cx="75723" cy="75723"/>
                  <a:chOff x="4544281" y="3005327"/>
                  <a:chExt cx="75723" cy="75723"/>
                </a:xfrm>
              </p:grpSpPr>
              <p:sp>
                <p:nvSpPr>
                  <p:cNvPr id="13924" name="Freeform: Shape 13923">
                    <a:extLst>
                      <a:ext uri="{FF2B5EF4-FFF2-40B4-BE49-F238E27FC236}">
                        <a16:creationId xmlns:a16="http://schemas.microsoft.com/office/drawing/2014/main" id="{08BC59D7-EDB7-E22C-F869-E81F81E6FAA4}"/>
                      </a:ext>
                    </a:extLst>
                  </p:cNvPr>
                  <p:cNvSpPr/>
                  <p:nvPr/>
                </p:nvSpPr>
                <p:spPr>
                  <a:xfrm>
                    <a:off x="4582096" y="3005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5" name="Freeform: Shape 13924">
                    <a:extLst>
                      <a:ext uri="{FF2B5EF4-FFF2-40B4-BE49-F238E27FC236}">
                        <a16:creationId xmlns:a16="http://schemas.microsoft.com/office/drawing/2014/main" id="{5FD6CED6-6F69-B2E4-62AB-994D6ADEE713}"/>
                      </a:ext>
                    </a:extLst>
                  </p:cNvPr>
                  <p:cNvSpPr/>
                  <p:nvPr/>
                </p:nvSpPr>
                <p:spPr>
                  <a:xfrm>
                    <a:off x="4544281" y="3043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5" name="Graphic 1583">
                  <a:extLst>
                    <a:ext uri="{FF2B5EF4-FFF2-40B4-BE49-F238E27FC236}">
                      <a16:creationId xmlns:a16="http://schemas.microsoft.com/office/drawing/2014/main" id="{09C2048C-F0A4-9FF3-7154-EF0F1E53903E}"/>
                    </a:ext>
                  </a:extLst>
                </p:cNvPr>
                <p:cNvGrpSpPr/>
                <p:nvPr/>
              </p:nvGrpSpPr>
              <p:grpSpPr>
                <a:xfrm>
                  <a:off x="4555807" y="3035712"/>
                  <a:ext cx="75723" cy="75723"/>
                  <a:chOff x="4555807" y="3035712"/>
                  <a:chExt cx="75723" cy="75723"/>
                </a:xfrm>
              </p:grpSpPr>
              <p:sp>
                <p:nvSpPr>
                  <p:cNvPr id="13922" name="Freeform: Shape 13921">
                    <a:extLst>
                      <a:ext uri="{FF2B5EF4-FFF2-40B4-BE49-F238E27FC236}">
                        <a16:creationId xmlns:a16="http://schemas.microsoft.com/office/drawing/2014/main" id="{0C7940BF-A3FA-BEBF-9C01-B0843119A34A}"/>
                      </a:ext>
                    </a:extLst>
                  </p:cNvPr>
                  <p:cNvSpPr/>
                  <p:nvPr/>
                </p:nvSpPr>
                <p:spPr>
                  <a:xfrm>
                    <a:off x="4593716"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3" name="Freeform: Shape 13922">
                    <a:extLst>
                      <a:ext uri="{FF2B5EF4-FFF2-40B4-BE49-F238E27FC236}">
                        <a16:creationId xmlns:a16="http://schemas.microsoft.com/office/drawing/2014/main" id="{2F8639D1-740B-15FD-F9CD-11772F89F898}"/>
                      </a:ext>
                    </a:extLst>
                  </p:cNvPr>
                  <p:cNvSpPr/>
                  <p:nvPr/>
                </p:nvSpPr>
                <p:spPr>
                  <a:xfrm>
                    <a:off x="4555807"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6" name="Graphic 1583">
                  <a:extLst>
                    <a:ext uri="{FF2B5EF4-FFF2-40B4-BE49-F238E27FC236}">
                      <a16:creationId xmlns:a16="http://schemas.microsoft.com/office/drawing/2014/main" id="{6500930C-72B3-9B7F-641B-A0C05A6722DF}"/>
                    </a:ext>
                  </a:extLst>
                </p:cNvPr>
                <p:cNvGrpSpPr/>
                <p:nvPr/>
              </p:nvGrpSpPr>
              <p:grpSpPr>
                <a:xfrm>
                  <a:off x="4542567" y="3024663"/>
                  <a:ext cx="75723" cy="75628"/>
                  <a:chOff x="4542567" y="3024663"/>
                  <a:chExt cx="75723" cy="75628"/>
                </a:xfrm>
              </p:grpSpPr>
              <p:sp>
                <p:nvSpPr>
                  <p:cNvPr id="13920" name="Freeform: Shape 13919">
                    <a:extLst>
                      <a:ext uri="{FF2B5EF4-FFF2-40B4-BE49-F238E27FC236}">
                        <a16:creationId xmlns:a16="http://schemas.microsoft.com/office/drawing/2014/main" id="{2A6FFCBD-D4DA-62D9-7EB9-0783A3134C3F}"/>
                      </a:ext>
                    </a:extLst>
                  </p:cNvPr>
                  <p:cNvSpPr/>
                  <p:nvPr/>
                </p:nvSpPr>
                <p:spPr>
                  <a:xfrm>
                    <a:off x="4580381" y="30246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21" name="Freeform: Shape 13920">
                    <a:extLst>
                      <a:ext uri="{FF2B5EF4-FFF2-40B4-BE49-F238E27FC236}">
                        <a16:creationId xmlns:a16="http://schemas.microsoft.com/office/drawing/2014/main" id="{922F6C0E-44D8-740B-3197-9EE5396ABC6F}"/>
                      </a:ext>
                    </a:extLst>
                  </p:cNvPr>
                  <p:cNvSpPr/>
                  <p:nvPr/>
                </p:nvSpPr>
                <p:spPr>
                  <a:xfrm>
                    <a:off x="4542567" y="30624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7" name="Graphic 1583">
                  <a:extLst>
                    <a:ext uri="{FF2B5EF4-FFF2-40B4-BE49-F238E27FC236}">
                      <a16:creationId xmlns:a16="http://schemas.microsoft.com/office/drawing/2014/main" id="{4712EF19-BD5A-DC3D-EE97-6BC2E9945BB2}"/>
                    </a:ext>
                  </a:extLst>
                </p:cNvPr>
                <p:cNvGrpSpPr/>
                <p:nvPr/>
              </p:nvGrpSpPr>
              <p:grpSpPr>
                <a:xfrm>
                  <a:off x="4369879" y="2860166"/>
                  <a:ext cx="75723" cy="75723"/>
                  <a:chOff x="4369879" y="2860166"/>
                  <a:chExt cx="75723" cy="75723"/>
                </a:xfrm>
              </p:grpSpPr>
              <p:sp>
                <p:nvSpPr>
                  <p:cNvPr id="13918" name="Freeform: Shape 13917">
                    <a:extLst>
                      <a:ext uri="{FF2B5EF4-FFF2-40B4-BE49-F238E27FC236}">
                        <a16:creationId xmlns:a16="http://schemas.microsoft.com/office/drawing/2014/main" id="{A25600EB-DFC8-41C5-8312-EF55D61B5D46}"/>
                      </a:ext>
                    </a:extLst>
                  </p:cNvPr>
                  <p:cNvSpPr/>
                  <p:nvPr/>
                </p:nvSpPr>
                <p:spPr>
                  <a:xfrm>
                    <a:off x="4407788" y="28601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9" name="Freeform: Shape 13918">
                    <a:extLst>
                      <a:ext uri="{FF2B5EF4-FFF2-40B4-BE49-F238E27FC236}">
                        <a16:creationId xmlns:a16="http://schemas.microsoft.com/office/drawing/2014/main" id="{E3729899-5ACF-D4F9-0986-959687D6A87F}"/>
                      </a:ext>
                    </a:extLst>
                  </p:cNvPr>
                  <p:cNvSpPr/>
                  <p:nvPr/>
                </p:nvSpPr>
                <p:spPr>
                  <a:xfrm>
                    <a:off x="4369879" y="28980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8" name="Graphic 1583">
                  <a:extLst>
                    <a:ext uri="{FF2B5EF4-FFF2-40B4-BE49-F238E27FC236}">
                      <a16:creationId xmlns:a16="http://schemas.microsoft.com/office/drawing/2014/main" id="{04E9F4B5-62E2-B752-1FAD-9956544DB74B}"/>
                    </a:ext>
                  </a:extLst>
                </p:cNvPr>
                <p:cNvGrpSpPr/>
                <p:nvPr/>
              </p:nvGrpSpPr>
              <p:grpSpPr>
                <a:xfrm>
                  <a:off x="4156804" y="2823971"/>
                  <a:ext cx="75723" cy="75723"/>
                  <a:chOff x="4156804" y="2823971"/>
                  <a:chExt cx="75723" cy="75723"/>
                </a:xfrm>
              </p:grpSpPr>
              <p:sp>
                <p:nvSpPr>
                  <p:cNvPr id="13916" name="Freeform: Shape 13915">
                    <a:extLst>
                      <a:ext uri="{FF2B5EF4-FFF2-40B4-BE49-F238E27FC236}">
                        <a16:creationId xmlns:a16="http://schemas.microsoft.com/office/drawing/2014/main" id="{EBD56A88-A0D5-343B-4FFE-688DC99B2CEB}"/>
                      </a:ext>
                    </a:extLst>
                  </p:cNvPr>
                  <p:cNvSpPr/>
                  <p:nvPr/>
                </p:nvSpPr>
                <p:spPr>
                  <a:xfrm>
                    <a:off x="4194619" y="28239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7" name="Freeform: Shape 13916">
                    <a:extLst>
                      <a:ext uri="{FF2B5EF4-FFF2-40B4-BE49-F238E27FC236}">
                        <a16:creationId xmlns:a16="http://schemas.microsoft.com/office/drawing/2014/main" id="{CC785272-B43E-BE29-373A-4166CAADB7FE}"/>
                      </a:ext>
                    </a:extLst>
                  </p:cNvPr>
                  <p:cNvSpPr/>
                  <p:nvPr/>
                </p:nvSpPr>
                <p:spPr>
                  <a:xfrm>
                    <a:off x="4156804" y="28618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89" name="Graphic 1583">
                  <a:extLst>
                    <a:ext uri="{FF2B5EF4-FFF2-40B4-BE49-F238E27FC236}">
                      <a16:creationId xmlns:a16="http://schemas.microsoft.com/office/drawing/2014/main" id="{D8031CAB-859D-C83E-470F-1066219F2B47}"/>
                    </a:ext>
                  </a:extLst>
                </p:cNvPr>
                <p:cNvGrpSpPr/>
                <p:nvPr/>
              </p:nvGrpSpPr>
              <p:grpSpPr>
                <a:xfrm>
                  <a:off x="4136421" y="2810065"/>
                  <a:ext cx="75723" cy="75628"/>
                  <a:chOff x="4136421" y="2810065"/>
                  <a:chExt cx="75723" cy="75628"/>
                </a:xfrm>
              </p:grpSpPr>
              <p:sp>
                <p:nvSpPr>
                  <p:cNvPr id="13914" name="Freeform: Shape 13913">
                    <a:extLst>
                      <a:ext uri="{FF2B5EF4-FFF2-40B4-BE49-F238E27FC236}">
                        <a16:creationId xmlns:a16="http://schemas.microsoft.com/office/drawing/2014/main" id="{4664D1ED-15C4-A402-1693-34D17E7A8546}"/>
                      </a:ext>
                    </a:extLst>
                  </p:cNvPr>
                  <p:cNvSpPr/>
                  <p:nvPr/>
                </p:nvSpPr>
                <p:spPr>
                  <a:xfrm>
                    <a:off x="4174235" y="281006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5" name="Freeform: Shape 13914">
                    <a:extLst>
                      <a:ext uri="{FF2B5EF4-FFF2-40B4-BE49-F238E27FC236}">
                        <a16:creationId xmlns:a16="http://schemas.microsoft.com/office/drawing/2014/main" id="{BF018D2D-2006-9EFE-A552-17F730275C8F}"/>
                      </a:ext>
                    </a:extLst>
                  </p:cNvPr>
                  <p:cNvSpPr/>
                  <p:nvPr/>
                </p:nvSpPr>
                <p:spPr>
                  <a:xfrm>
                    <a:off x="4136421" y="28478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0" name="Graphic 1583">
                  <a:extLst>
                    <a:ext uri="{FF2B5EF4-FFF2-40B4-BE49-F238E27FC236}">
                      <a16:creationId xmlns:a16="http://schemas.microsoft.com/office/drawing/2014/main" id="{2EEB8C6D-62F7-F3CE-A7BE-8F297A6F11E7}"/>
                    </a:ext>
                  </a:extLst>
                </p:cNvPr>
                <p:cNvGrpSpPr/>
                <p:nvPr/>
              </p:nvGrpSpPr>
              <p:grpSpPr>
                <a:xfrm>
                  <a:off x="5287517" y="3375278"/>
                  <a:ext cx="75723" cy="75723"/>
                  <a:chOff x="5287517" y="3375278"/>
                  <a:chExt cx="75723" cy="75723"/>
                </a:xfrm>
              </p:grpSpPr>
              <p:sp>
                <p:nvSpPr>
                  <p:cNvPr id="13912" name="Freeform: Shape 13911">
                    <a:extLst>
                      <a:ext uri="{FF2B5EF4-FFF2-40B4-BE49-F238E27FC236}">
                        <a16:creationId xmlns:a16="http://schemas.microsoft.com/office/drawing/2014/main" id="{6E984C91-3DD9-6A07-4BDD-8DC9EBA47BC2}"/>
                      </a:ext>
                    </a:extLst>
                  </p:cNvPr>
                  <p:cNvSpPr/>
                  <p:nvPr/>
                </p:nvSpPr>
                <p:spPr>
                  <a:xfrm>
                    <a:off x="5325427"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3" name="Freeform: Shape 13912">
                    <a:extLst>
                      <a:ext uri="{FF2B5EF4-FFF2-40B4-BE49-F238E27FC236}">
                        <a16:creationId xmlns:a16="http://schemas.microsoft.com/office/drawing/2014/main" id="{B873D6FB-8E78-5D15-A3B5-5F273C415D27}"/>
                      </a:ext>
                    </a:extLst>
                  </p:cNvPr>
                  <p:cNvSpPr/>
                  <p:nvPr/>
                </p:nvSpPr>
                <p:spPr>
                  <a:xfrm>
                    <a:off x="5287517"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1" name="Graphic 1583">
                  <a:extLst>
                    <a:ext uri="{FF2B5EF4-FFF2-40B4-BE49-F238E27FC236}">
                      <a16:creationId xmlns:a16="http://schemas.microsoft.com/office/drawing/2014/main" id="{9BBB2113-537B-5246-26C9-5DF11F3EE58B}"/>
                    </a:ext>
                  </a:extLst>
                </p:cNvPr>
                <p:cNvGrpSpPr/>
                <p:nvPr/>
              </p:nvGrpSpPr>
              <p:grpSpPr>
                <a:xfrm>
                  <a:off x="5299709" y="3375278"/>
                  <a:ext cx="75723" cy="75723"/>
                  <a:chOff x="5299709" y="3375278"/>
                  <a:chExt cx="75723" cy="75723"/>
                </a:xfrm>
              </p:grpSpPr>
              <p:sp>
                <p:nvSpPr>
                  <p:cNvPr id="13910" name="Freeform: Shape 13909">
                    <a:extLst>
                      <a:ext uri="{FF2B5EF4-FFF2-40B4-BE49-F238E27FC236}">
                        <a16:creationId xmlns:a16="http://schemas.microsoft.com/office/drawing/2014/main" id="{B2D86F67-25F7-DF61-F97D-0D24D6F6AFC0}"/>
                      </a:ext>
                    </a:extLst>
                  </p:cNvPr>
                  <p:cNvSpPr/>
                  <p:nvPr/>
                </p:nvSpPr>
                <p:spPr>
                  <a:xfrm>
                    <a:off x="5337523" y="33752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11" name="Freeform: Shape 13910">
                    <a:extLst>
                      <a:ext uri="{FF2B5EF4-FFF2-40B4-BE49-F238E27FC236}">
                        <a16:creationId xmlns:a16="http://schemas.microsoft.com/office/drawing/2014/main" id="{1BFEFC8A-E8F6-1C84-C4D9-CB7B663BEECC}"/>
                      </a:ext>
                    </a:extLst>
                  </p:cNvPr>
                  <p:cNvSpPr/>
                  <p:nvPr/>
                </p:nvSpPr>
                <p:spPr>
                  <a:xfrm>
                    <a:off x="5299709" y="34131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2" name="Graphic 1583">
                  <a:extLst>
                    <a:ext uri="{FF2B5EF4-FFF2-40B4-BE49-F238E27FC236}">
                      <a16:creationId xmlns:a16="http://schemas.microsoft.com/office/drawing/2014/main" id="{3866C443-B813-CCBC-06C1-C441C72A6C49}"/>
                    </a:ext>
                  </a:extLst>
                </p:cNvPr>
                <p:cNvGrpSpPr/>
                <p:nvPr/>
              </p:nvGrpSpPr>
              <p:grpSpPr>
                <a:xfrm>
                  <a:off x="5656611" y="3553300"/>
                  <a:ext cx="75628" cy="75628"/>
                  <a:chOff x="5656611" y="3553300"/>
                  <a:chExt cx="75628" cy="75628"/>
                </a:xfrm>
              </p:grpSpPr>
              <p:sp>
                <p:nvSpPr>
                  <p:cNvPr id="13908" name="Freeform: Shape 13907">
                    <a:extLst>
                      <a:ext uri="{FF2B5EF4-FFF2-40B4-BE49-F238E27FC236}">
                        <a16:creationId xmlns:a16="http://schemas.microsoft.com/office/drawing/2014/main" id="{2EC9773E-F771-F9B7-0D73-A2CF8414DFD6}"/>
                      </a:ext>
                    </a:extLst>
                  </p:cNvPr>
                  <p:cNvSpPr/>
                  <p:nvPr/>
                </p:nvSpPr>
                <p:spPr>
                  <a:xfrm>
                    <a:off x="5694425"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9" name="Freeform: Shape 13908">
                    <a:extLst>
                      <a:ext uri="{FF2B5EF4-FFF2-40B4-BE49-F238E27FC236}">
                        <a16:creationId xmlns:a16="http://schemas.microsoft.com/office/drawing/2014/main" id="{D6977BCD-B972-3D6B-ADC7-2B94891B1C44}"/>
                      </a:ext>
                    </a:extLst>
                  </p:cNvPr>
                  <p:cNvSpPr/>
                  <p:nvPr/>
                </p:nvSpPr>
                <p:spPr>
                  <a:xfrm>
                    <a:off x="5656611" y="3591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3" name="Graphic 1583">
                  <a:extLst>
                    <a:ext uri="{FF2B5EF4-FFF2-40B4-BE49-F238E27FC236}">
                      <a16:creationId xmlns:a16="http://schemas.microsoft.com/office/drawing/2014/main" id="{CF9AAFF0-DB50-25EE-0967-34DB005953D5}"/>
                    </a:ext>
                  </a:extLst>
                </p:cNvPr>
                <p:cNvGrpSpPr/>
                <p:nvPr/>
              </p:nvGrpSpPr>
              <p:grpSpPr>
                <a:xfrm>
                  <a:off x="5668612" y="3553300"/>
                  <a:ext cx="75723" cy="75628"/>
                  <a:chOff x="5668612" y="3553300"/>
                  <a:chExt cx="75723" cy="75628"/>
                </a:xfrm>
              </p:grpSpPr>
              <p:sp>
                <p:nvSpPr>
                  <p:cNvPr id="13906" name="Freeform: Shape 13905">
                    <a:extLst>
                      <a:ext uri="{FF2B5EF4-FFF2-40B4-BE49-F238E27FC236}">
                        <a16:creationId xmlns:a16="http://schemas.microsoft.com/office/drawing/2014/main" id="{670D953C-710E-DB55-F3AF-136EE3BC1118}"/>
                      </a:ext>
                    </a:extLst>
                  </p:cNvPr>
                  <p:cNvSpPr/>
                  <p:nvPr/>
                </p:nvSpPr>
                <p:spPr>
                  <a:xfrm>
                    <a:off x="5706522"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7" name="Freeform: Shape 13906">
                    <a:extLst>
                      <a:ext uri="{FF2B5EF4-FFF2-40B4-BE49-F238E27FC236}">
                        <a16:creationId xmlns:a16="http://schemas.microsoft.com/office/drawing/2014/main" id="{2298E634-A8C8-153D-DA4D-608A6E833CA7}"/>
                      </a:ext>
                    </a:extLst>
                  </p:cNvPr>
                  <p:cNvSpPr/>
                  <p:nvPr/>
                </p:nvSpPr>
                <p:spPr>
                  <a:xfrm>
                    <a:off x="5668612"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4" name="Graphic 1583">
                  <a:extLst>
                    <a:ext uri="{FF2B5EF4-FFF2-40B4-BE49-F238E27FC236}">
                      <a16:creationId xmlns:a16="http://schemas.microsoft.com/office/drawing/2014/main" id="{C3A1AA73-AA00-F095-E8D3-12590C33B774}"/>
                    </a:ext>
                  </a:extLst>
                </p:cNvPr>
                <p:cNvGrpSpPr/>
                <p:nvPr/>
              </p:nvGrpSpPr>
              <p:grpSpPr>
                <a:xfrm>
                  <a:off x="5680709" y="3553300"/>
                  <a:ext cx="75723" cy="75628"/>
                  <a:chOff x="5680709" y="3553300"/>
                  <a:chExt cx="75723" cy="75628"/>
                </a:xfrm>
              </p:grpSpPr>
              <p:sp>
                <p:nvSpPr>
                  <p:cNvPr id="13904" name="Freeform: Shape 13903">
                    <a:extLst>
                      <a:ext uri="{FF2B5EF4-FFF2-40B4-BE49-F238E27FC236}">
                        <a16:creationId xmlns:a16="http://schemas.microsoft.com/office/drawing/2014/main" id="{08C3D985-6D5C-FFAD-85E8-55794AB45B79}"/>
                      </a:ext>
                    </a:extLst>
                  </p:cNvPr>
                  <p:cNvSpPr/>
                  <p:nvPr/>
                </p:nvSpPr>
                <p:spPr>
                  <a:xfrm>
                    <a:off x="5718523" y="355330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5" name="Freeform: Shape 13904">
                    <a:extLst>
                      <a:ext uri="{FF2B5EF4-FFF2-40B4-BE49-F238E27FC236}">
                        <a16:creationId xmlns:a16="http://schemas.microsoft.com/office/drawing/2014/main" id="{AB972726-C0D3-9E5A-9153-93E4B6E65D73}"/>
                      </a:ext>
                    </a:extLst>
                  </p:cNvPr>
                  <p:cNvSpPr/>
                  <p:nvPr/>
                </p:nvSpPr>
                <p:spPr>
                  <a:xfrm>
                    <a:off x="5680709" y="35911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5" name="Graphic 1583">
                  <a:extLst>
                    <a:ext uri="{FF2B5EF4-FFF2-40B4-BE49-F238E27FC236}">
                      <a16:creationId xmlns:a16="http://schemas.microsoft.com/office/drawing/2014/main" id="{45D80518-5EFE-20D2-7DD8-ED1408661A05}"/>
                    </a:ext>
                  </a:extLst>
                </p:cNvPr>
                <p:cNvGrpSpPr/>
                <p:nvPr/>
              </p:nvGrpSpPr>
              <p:grpSpPr>
                <a:xfrm>
                  <a:off x="6040659" y="3606450"/>
                  <a:ext cx="75628" cy="75723"/>
                  <a:chOff x="6040659" y="3606450"/>
                  <a:chExt cx="75628" cy="75723"/>
                </a:xfrm>
              </p:grpSpPr>
              <p:sp>
                <p:nvSpPr>
                  <p:cNvPr id="13902" name="Freeform: Shape 13901">
                    <a:extLst>
                      <a:ext uri="{FF2B5EF4-FFF2-40B4-BE49-F238E27FC236}">
                        <a16:creationId xmlns:a16="http://schemas.microsoft.com/office/drawing/2014/main" id="{4A9AC203-B4B7-A773-CB7B-60CBD6A6FE1D}"/>
                      </a:ext>
                    </a:extLst>
                  </p:cNvPr>
                  <p:cNvSpPr/>
                  <p:nvPr/>
                </p:nvSpPr>
                <p:spPr>
                  <a:xfrm>
                    <a:off x="6078473" y="36064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3" name="Freeform: Shape 13902">
                    <a:extLst>
                      <a:ext uri="{FF2B5EF4-FFF2-40B4-BE49-F238E27FC236}">
                        <a16:creationId xmlns:a16="http://schemas.microsoft.com/office/drawing/2014/main" id="{8F0774FE-7833-D2AD-0B0D-B7F2E3D6CFCE}"/>
                      </a:ext>
                    </a:extLst>
                  </p:cNvPr>
                  <p:cNvSpPr/>
                  <p:nvPr/>
                </p:nvSpPr>
                <p:spPr>
                  <a:xfrm>
                    <a:off x="6040659" y="36443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6" name="Graphic 1583">
                  <a:extLst>
                    <a:ext uri="{FF2B5EF4-FFF2-40B4-BE49-F238E27FC236}">
                      <a16:creationId xmlns:a16="http://schemas.microsoft.com/office/drawing/2014/main" id="{84ACE412-2B20-C065-59F3-A2D9CD698E11}"/>
                    </a:ext>
                  </a:extLst>
                </p:cNvPr>
                <p:cNvGrpSpPr/>
                <p:nvPr/>
              </p:nvGrpSpPr>
              <p:grpSpPr>
                <a:xfrm>
                  <a:off x="6040659" y="3657218"/>
                  <a:ext cx="75628" cy="75723"/>
                  <a:chOff x="6040659" y="3657218"/>
                  <a:chExt cx="75628" cy="75723"/>
                </a:xfrm>
              </p:grpSpPr>
              <p:sp>
                <p:nvSpPr>
                  <p:cNvPr id="13900" name="Freeform: Shape 13899">
                    <a:extLst>
                      <a:ext uri="{FF2B5EF4-FFF2-40B4-BE49-F238E27FC236}">
                        <a16:creationId xmlns:a16="http://schemas.microsoft.com/office/drawing/2014/main" id="{F0A30894-F35D-5AC7-78AF-B571206B0318}"/>
                      </a:ext>
                    </a:extLst>
                  </p:cNvPr>
                  <p:cNvSpPr/>
                  <p:nvPr/>
                </p:nvSpPr>
                <p:spPr>
                  <a:xfrm>
                    <a:off x="6078473" y="36572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01" name="Freeform: Shape 13900">
                    <a:extLst>
                      <a:ext uri="{FF2B5EF4-FFF2-40B4-BE49-F238E27FC236}">
                        <a16:creationId xmlns:a16="http://schemas.microsoft.com/office/drawing/2014/main" id="{AD2C9DC3-6B79-52B6-3FB6-22896150A3C1}"/>
                      </a:ext>
                    </a:extLst>
                  </p:cNvPr>
                  <p:cNvSpPr/>
                  <p:nvPr/>
                </p:nvSpPr>
                <p:spPr>
                  <a:xfrm>
                    <a:off x="6040659" y="36951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897" name="Graphic 1583">
                  <a:extLst>
                    <a:ext uri="{FF2B5EF4-FFF2-40B4-BE49-F238E27FC236}">
                      <a16:creationId xmlns:a16="http://schemas.microsoft.com/office/drawing/2014/main" id="{9A3582A9-A426-B844-D27C-7043660DF7B2}"/>
                    </a:ext>
                  </a:extLst>
                </p:cNvPr>
                <p:cNvGrpSpPr/>
                <p:nvPr/>
              </p:nvGrpSpPr>
              <p:grpSpPr>
                <a:xfrm>
                  <a:off x="7192517" y="3850290"/>
                  <a:ext cx="75723" cy="75723"/>
                  <a:chOff x="7192517" y="3850290"/>
                  <a:chExt cx="75723" cy="75723"/>
                </a:xfrm>
              </p:grpSpPr>
              <p:sp>
                <p:nvSpPr>
                  <p:cNvPr id="13898" name="Freeform: Shape 13897">
                    <a:extLst>
                      <a:ext uri="{FF2B5EF4-FFF2-40B4-BE49-F238E27FC236}">
                        <a16:creationId xmlns:a16="http://schemas.microsoft.com/office/drawing/2014/main" id="{60CA3220-62E8-B2BA-E20E-950DA8F23A05}"/>
                      </a:ext>
                    </a:extLst>
                  </p:cNvPr>
                  <p:cNvSpPr/>
                  <p:nvPr/>
                </p:nvSpPr>
                <p:spPr>
                  <a:xfrm>
                    <a:off x="7230427" y="38502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99" name="Freeform: Shape 13898">
                    <a:extLst>
                      <a:ext uri="{FF2B5EF4-FFF2-40B4-BE49-F238E27FC236}">
                        <a16:creationId xmlns:a16="http://schemas.microsoft.com/office/drawing/2014/main" id="{59D06D92-F2A1-CA31-F8FD-58FD9A7E487A}"/>
                      </a:ext>
                    </a:extLst>
                  </p:cNvPr>
                  <p:cNvSpPr/>
                  <p:nvPr/>
                </p:nvSpPr>
                <p:spPr>
                  <a:xfrm>
                    <a:off x="7192517" y="3888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31" name="Freeform: Shape 13830">
                <a:extLst>
                  <a:ext uri="{FF2B5EF4-FFF2-40B4-BE49-F238E27FC236}">
                    <a16:creationId xmlns:a16="http://schemas.microsoft.com/office/drawing/2014/main" id="{F4C73CBE-5E9C-00C9-1154-947284BE2A9B}"/>
                  </a:ext>
                </a:extLst>
              </p:cNvPr>
              <p:cNvSpPr/>
              <p:nvPr/>
            </p:nvSpPr>
            <p:spPr>
              <a:xfrm>
                <a:off x="1040606" y="1476375"/>
                <a:ext cx="6040508" cy="1885387"/>
              </a:xfrm>
              <a:custGeom>
                <a:avLst/>
                <a:gdLst>
                  <a:gd name="connsiteX0" fmla="*/ 4528376 w 4528375"/>
                  <a:gd name="connsiteY0" fmla="*/ 1413415 h 1413414"/>
                  <a:gd name="connsiteX1" fmla="*/ 3768852 w 4528375"/>
                  <a:gd name="connsiteY1" fmla="*/ 1413415 h 1413414"/>
                  <a:gd name="connsiteX2" fmla="*/ 3768852 w 4528375"/>
                  <a:gd name="connsiteY2" fmla="*/ 1282541 h 1413414"/>
                  <a:gd name="connsiteX3" fmla="*/ 3490817 w 4528375"/>
                  <a:gd name="connsiteY3" fmla="*/ 1282541 h 1413414"/>
                  <a:gd name="connsiteX4" fmla="*/ 3490817 w 4528375"/>
                  <a:gd name="connsiteY4" fmla="*/ 1183291 h 1413414"/>
                  <a:gd name="connsiteX5" fmla="*/ 3216593 w 4528375"/>
                  <a:gd name="connsiteY5" fmla="*/ 1183291 h 1413414"/>
                  <a:gd name="connsiteX6" fmla="*/ 3216593 w 4528375"/>
                  <a:gd name="connsiteY6" fmla="*/ 1122236 h 1413414"/>
                  <a:gd name="connsiteX7" fmla="*/ 2639473 w 4528375"/>
                  <a:gd name="connsiteY7" fmla="*/ 1122236 h 1413414"/>
                  <a:gd name="connsiteX8" fmla="*/ 2639473 w 4528375"/>
                  <a:gd name="connsiteY8" fmla="*/ 1079945 h 1413414"/>
                  <a:gd name="connsiteX9" fmla="*/ 2284190 w 4528375"/>
                  <a:gd name="connsiteY9" fmla="*/ 1079945 h 1413414"/>
                  <a:gd name="connsiteX10" fmla="*/ 2284190 w 4528375"/>
                  <a:gd name="connsiteY10" fmla="*/ 1054989 h 1413414"/>
                  <a:gd name="connsiteX11" fmla="*/ 2279714 w 4528375"/>
                  <a:gd name="connsiteY11" fmla="*/ 1054989 h 1413414"/>
                  <a:gd name="connsiteX12" fmla="*/ 2279714 w 4528375"/>
                  <a:gd name="connsiteY12" fmla="*/ 1021556 h 1413414"/>
                  <a:gd name="connsiteX13" fmla="*/ 2267141 w 4528375"/>
                  <a:gd name="connsiteY13" fmla="*/ 1021556 h 1413414"/>
                  <a:gd name="connsiteX14" fmla="*/ 2267141 w 4528375"/>
                  <a:gd name="connsiteY14" fmla="*/ 991553 h 1413414"/>
                  <a:gd name="connsiteX15" fmla="*/ 2263712 w 4528375"/>
                  <a:gd name="connsiteY15" fmla="*/ 991553 h 1413414"/>
                  <a:gd name="connsiteX16" fmla="*/ 2263712 w 4528375"/>
                  <a:gd name="connsiteY16" fmla="*/ 911352 h 1413414"/>
                  <a:gd name="connsiteX17" fmla="*/ 1970056 w 4528375"/>
                  <a:gd name="connsiteY17" fmla="*/ 911352 h 1413414"/>
                  <a:gd name="connsiteX18" fmla="*/ 1970056 w 4528375"/>
                  <a:gd name="connsiteY18" fmla="*/ 885730 h 1413414"/>
                  <a:gd name="connsiteX19" fmla="*/ 1884331 w 4528375"/>
                  <a:gd name="connsiteY19" fmla="*/ 885730 h 1413414"/>
                  <a:gd name="connsiteX20" fmla="*/ 1884331 w 4528375"/>
                  <a:gd name="connsiteY20" fmla="*/ 847630 h 1413414"/>
                  <a:gd name="connsiteX21" fmla="*/ 1861471 w 4528375"/>
                  <a:gd name="connsiteY21" fmla="*/ 847630 h 1413414"/>
                  <a:gd name="connsiteX22" fmla="*/ 1861471 w 4528375"/>
                  <a:gd name="connsiteY22" fmla="*/ 805910 h 1413414"/>
                  <a:gd name="connsiteX23" fmla="*/ 1792319 w 4528375"/>
                  <a:gd name="connsiteY23" fmla="*/ 805910 h 1413414"/>
                  <a:gd name="connsiteX24" fmla="*/ 1792319 w 4528375"/>
                  <a:gd name="connsiteY24" fmla="*/ 784479 h 1413414"/>
                  <a:gd name="connsiteX25" fmla="*/ 1756410 w 4528375"/>
                  <a:gd name="connsiteY25" fmla="*/ 784479 h 1413414"/>
                  <a:gd name="connsiteX26" fmla="*/ 1756410 w 4528375"/>
                  <a:gd name="connsiteY26" fmla="*/ 770477 h 1413414"/>
                  <a:gd name="connsiteX27" fmla="*/ 1706213 w 4528375"/>
                  <a:gd name="connsiteY27" fmla="*/ 770477 h 1413414"/>
                  <a:gd name="connsiteX28" fmla="*/ 1706213 w 4528375"/>
                  <a:gd name="connsiteY28" fmla="*/ 751618 h 1413414"/>
                  <a:gd name="connsiteX29" fmla="*/ 1656112 w 4528375"/>
                  <a:gd name="connsiteY29" fmla="*/ 751618 h 1413414"/>
                  <a:gd name="connsiteX30" fmla="*/ 1656112 w 4528375"/>
                  <a:gd name="connsiteY30" fmla="*/ 729710 h 1413414"/>
                  <a:gd name="connsiteX31" fmla="*/ 1551527 w 4528375"/>
                  <a:gd name="connsiteY31" fmla="*/ 729710 h 1413414"/>
                  <a:gd name="connsiteX32" fmla="*/ 1551527 w 4528375"/>
                  <a:gd name="connsiteY32" fmla="*/ 709041 h 1413414"/>
                  <a:gd name="connsiteX33" fmla="*/ 1518285 w 4528375"/>
                  <a:gd name="connsiteY33" fmla="*/ 709041 h 1413414"/>
                  <a:gd name="connsiteX34" fmla="*/ 1518285 w 4528375"/>
                  <a:gd name="connsiteY34" fmla="*/ 691991 h 1413414"/>
                  <a:gd name="connsiteX35" fmla="*/ 1505141 w 4528375"/>
                  <a:gd name="connsiteY35" fmla="*/ 691991 h 1413414"/>
                  <a:gd name="connsiteX36" fmla="*/ 1505141 w 4528375"/>
                  <a:gd name="connsiteY36" fmla="*/ 654177 h 1413414"/>
                  <a:gd name="connsiteX37" fmla="*/ 1486948 w 4528375"/>
                  <a:gd name="connsiteY37" fmla="*/ 654177 h 1413414"/>
                  <a:gd name="connsiteX38" fmla="*/ 1486948 w 4528375"/>
                  <a:gd name="connsiteY38" fmla="*/ 624935 h 1413414"/>
                  <a:gd name="connsiteX39" fmla="*/ 1426274 w 4528375"/>
                  <a:gd name="connsiteY39" fmla="*/ 624935 h 1413414"/>
                  <a:gd name="connsiteX40" fmla="*/ 1426274 w 4528375"/>
                  <a:gd name="connsiteY40" fmla="*/ 603504 h 1413414"/>
                  <a:gd name="connsiteX41" fmla="*/ 1279589 w 4528375"/>
                  <a:gd name="connsiteY41" fmla="*/ 603504 h 1413414"/>
                  <a:gd name="connsiteX42" fmla="*/ 1279589 w 4528375"/>
                  <a:gd name="connsiteY42" fmla="*/ 586454 h 1413414"/>
                  <a:gd name="connsiteX43" fmla="*/ 1237679 w 4528375"/>
                  <a:gd name="connsiteY43" fmla="*/ 586454 h 1413414"/>
                  <a:gd name="connsiteX44" fmla="*/ 1237679 w 4528375"/>
                  <a:gd name="connsiteY44" fmla="*/ 569786 h 1413414"/>
                  <a:gd name="connsiteX45" fmla="*/ 1150049 w 4528375"/>
                  <a:gd name="connsiteY45" fmla="*/ 569786 h 1413414"/>
                  <a:gd name="connsiteX46" fmla="*/ 1150049 w 4528375"/>
                  <a:gd name="connsiteY46" fmla="*/ 556641 h 1413414"/>
                  <a:gd name="connsiteX47" fmla="*/ 1139571 w 4528375"/>
                  <a:gd name="connsiteY47" fmla="*/ 556641 h 1413414"/>
                  <a:gd name="connsiteX48" fmla="*/ 1139571 w 4528375"/>
                  <a:gd name="connsiteY48" fmla="*/ 540068 h 1413414"/>
                  <a:gd name="connsiteX49" fmla="*/ 1119473 w 4528375"/>
                  <a:gd name="connsiteY49" fmla="*/ 540068 h 1413414"/>
                  <a:gd name="connsiteX50" fmla="*/ 1119473 w 4528375"/>
                  <a:gd name="connsiteY50" fmla="*/ 525399 h 1413414"/>
                  <a:gd name="connsiteX51" fmla="*/ 1112996 w 4528375"/>
                  <a:gd name="connsiteY51" fmla="*/ 525399 h 1413414"/>
                  <a:gd name="connsiteX52" fmla="*/ 1112996 w 4528375"/>
                  <a:gd name="connsiteY52" fmla="*/ 507016 h 1413414"/>
                  <a:gd name="connsiteX53" fmla="*/ 1096613 w 4528375"/>
                  <a:gd name="connsiteY53" fmla="*/ 507016 h 1413414"/>
                  <a:gd name="connsiteX54" fmla="*/ 1096613 w 4528375"/>
                  <a:gd name="connsiteY54" fmla="*/ 464249 h 1413414"/>
                  <a:gd name="connsiteX55" fmla="*/ 1062323 w 4528375"/>
                  <a:gd name="connsiteY55" fmla="*/ 464249 h 1413414"/>
                  <a:gd name="connsiteX56" fmla="*/ 1062323 w 4528375"/>
                  <a:gd name="connsiteY56" fmla="*/ 430625 h 1413414"/>
                  <a:gd name="connsiteX57" fmla="*/ 840391 w 4528375"/>
                  <a:gd name="connsiteY57" fmla="*/ 430625 h 1413414"/>
                  <a:gd name="connsiteX58" fmla="*/ 840391 w 4528375"/>
                  <a:gd name="connsiteY58" fmla="*/ 413575 h 1413414"/>
                  <a:gd name="connsiteX59" fmla="*/ 823436 w 4528375"/>
                  <a:gd name="connsiteY59" fmla="*/ 413575 h 1413414"/>
                  <a:gd name="connsiteX60" fmla="*/ 823436 w 4528375"/>
                  <a:gd name="connsiteY60" fmla="*/ 397193 h 1413414"/>
                  <a:gd name="connsiteX61" fmla="*/ 777431 w 4528375"/>
                  <a:gd name="connsiteY61" fmla="*/ 397193 h 1413414"/>
                  <a:gd name="connsiteX62" fmla="*/ 777431 w 4528375"/>
                  <a:gd name="connsiteY62" fmla="*/ 368141 h 1413414"/>
                  <a:gd name="connsiteX63" fmla="*/ 773525 w 4528375"/>
                  <a:gd name="connsiteY63" fmla="*/ 368141 h 1413414"/>
                  <a:gd name="connsiteX64" fmla="*/ 773525 w 4528375"/>
                  <a:gd name="connsiteY64" fmla="*/ 341662 h 1413414"/>
                  <a:gd name="connsiteX65" fmla="*/ 758952 w 4528375"/>
                  <a:gd name="connsiteY65" fmla="*/ 341662 h 1413414"/>
                  <a:gd name="connsiteX66" fmla="*/ 758952 w 4528375"/>
                  <a:gd name="connsiteY66" fmla="*/ 313087 h 1413414"/>
                  <a:gd name="connsiteX67" fmla="*/ 739331 w 4528375"/>
                  <a:gd name="connsiteY67" fmla="*/ 313087 h 1413414"/>
                  <a:gd name="connsiteX68" fmla="*/ 739331 w 4528375"/>
                  <a:gd name="connsiteY68" fmla="*/ 295656 h 1413414"/>
                  <a:gd name="connsiteX69" fmla="*/ 725900 w 4528375"/>
                  <a:gd name="connsiteY69" fmla="*/ 295656 h 1413414"/>
                  <a:gd name="connsiteX70" fmla="*/ 725900 w 4528375"/>
                  <a:gd name="connsiteY70" fmla="*/ 282893 h 1413414"/>
                  <a:gd name="connsiteX71" fmla="*/ 706660 w 4528375"/>
                  <a:gd name="connsiteY71" fmla="*/ 282893 h 1413414"/>
                  <a:gd name="connsiteX72" fmla="*/ 706660 w 4528375"/>
                  <a:gd name="connsiteY72" fmla="*/ 270701 h 1413414"/>
                  <a:gd name="connsiteX73" fmla="*/ 699421 w 4528375"/>
                  <a:gd name="connsiteY73" fmla="*/ 270701 h 1413414"/>
                  <a:gd name="connsiteX74" fmla="*/ 699421 w 4528375"/>
                  <a:gd name="connsiteY74" fmla="*/ 262604 h 1413414"/>
                  <a:gd name="connsiteX75" fmla="*/ 673037 w 4528375"/>
                  <a:gd name="connsiteY75" fmla="*/ 262604 h 1413414"/>
                  <a:gd name="connsiteX76" fmla="*/ 673037 w 4528375"/>
                  <a:gd name="connsiteY76" fmla="*/ 245174 h 1413414"/>
                  <a:gd name="connsiteX77" fmla="*/ 668750 w 4528375"/>
                  <a:gd name="connsiteY77" fmla="*/ 245174 h 1413414"/>
                  <a:gd name="connsiteX78" fmla="*/ 668750 w 4528375"/>
                  <a:gd name="connsiteY78" fmla="*/ 232219 h 1413414"/>
                  <a:gd name="connsiteX79" fmla="*/ 639604 w 4528375"/>
                  <a:gd name="connsiteY79" fmla="*/ 232219 h 1413414"/>
                  <a:gd name="connsiteX80" fmla="*/ 639604 w 4528375"/>
                  <a:gd name="connsiteY80" fmla="*/ 219837 h 1413414"/>
                  <a:gd name="connsiteX81" fmla="*/ 618744 w 4528375"/>
                  <a:gd name="connsiteY81" fmla="*/ 219837 h 1413414"/>
                  <a:gd name="connsiteX82" fmla="*/ 618744 w 4528375"/>
                  <a:gd name="connsiteY82" fmla="*/ 207074 h 1413414"/>
                  <a:gd name="connsiteX83" fmla="*/ 601885 w 4528375"/>
                  <a:gd name="connsiteY83" fmla="*/ 207074 h 1413414"/>
                  <a:gd name="connsiteX84" fmla="*/ 601885 w 4528375"/>
                  <a:gd name="connsiteY84" fmla="*/ 193929 h 1413414"/>
                  <a:gd name="connsiteX85" fmla="*/ 539115 w 4528375"/>
                  <a:gd name="connsiteY85" fmla="*/ 193929 h 1413414"/>
                  <a:gd name="connsiteX86" fmla="*/ 539115 w 4528375"/>
                  <a:gd name="connsiteY86" fmla="*/ 177451 h 1413414"/>
                  <a:gd name="connsiteX87" fmla="*/ 510254 w 4528375"/>
                  <a:gd name="connsiteY87" fmla="*/ 177451 h 1413414"/>
                  <a:gd name="connsiteX88" fmla="*/ 510254 w 4528375"/>
                  <a:gd name="connsiteY88" fmla="*/ 164306 h 1413414"/>
                  <a:gd name="connsiteX89" fmla="*/ 434531 w 4528375"/>
                  <a:gd name="connsiteY89" fmla="*/ 164306 h 1413414"/>
                  <a:gd name="connsiteX90" fmla="*/ 434531 w 4528375"/>
                  <a:gd name="connsiteY90" fmla="*/ 156401 h 1413414"/>
                  <a:gd name="connsiteX91" fmla="*/ 376333 w 4528375"/>
                  <a:gd name="connsiteY91" fmla="*/ 156401 h 1413414"/>
                  <a:gd name="connsiteX92" fmla="*/ 376333 w 4528375"/>
                  <a:gd name="connsiteY92" fmla="*/ 143256 h 1413414"/>
                  <a:gd name="connsiteX93" fmla="*/ 339281 w 4528375"/>
                  <a:gd name="connsiteY93" fmla="*/ 143256 h 1413414"/>
                  <a:gd name="connsiteX94" fmla="*/ 339281 w 4528375"/>
                  <a:gd name="connsiteY94" fmla="*/ 130493 h 1413414"/>
                  <a:gd name="connsiteX95" fmla="*/ 330518 w 4528375"/>
                  <a:gd name="connsiteY95" fmla="*/ 130493 h 1413414"/>
                  <a:gd name="connsiteX96" fmla="*/ 330518 w 4528375"/>
                  <a:gd name="connsiteY96" fmla="*/ 114681 h 1413414"/>
                  <a:gd name="connsiteX97" fmla="*/ 321850 w 4528375"/>
                  <a:gd name="connsiteY97" fmla="*/ 114681 h 1413414"/>
                  <a:gd name="connsiteX98" fmla="*/ 321850 w 4528375"/>
                  <a:gd name="connsiteY98" fmla="*/ 101727 h 1413414"/>
                  <a:gd name="connsiteX99" fmla="*/ 280511 w 4528375"/>
                  <a:gd name="connsiteY99" fmla="*/ 101727 h 1413414"/>
                  <a:gd name="connsiteX100" fmla="*/ 280511 w 4528375"/>
                  <a:gd name="connsiteY100" fmla="*/ 89345 h 1413414"/>
                  <a:gd name="connsiteX101" fmla="*/ 129064 w 4528375"/>
                  <a:gd name="connsiteY101" fmla="*/ 89345 h 1413414"/>
                  <a:gd name="connsiteX102" fmla="*/ 129064 w 4528375"/>
                  <a:gd name="connsiteY102" fmla="*/ 76581 h 1413414"/>
                  <a:gd name="connsiteX103" fmla="*/ 87535 w 4528375"/>
                  <a:gd name="connsiteY103" fmla="*/ 76581 h 1413414"/>
                  <a:gd name="connsiteX104" fmla="*/ 87535 w 4528375"/>
                  <a:gd name="connsiteY104" fmla="*/ 63151 h 1413414"/>
                  <a:gd name="connsiteX105" fmla="*/ 83534 w 4528375"/>
                  <a:gd name="connsiteY105" fmla="*/ 63151 h 1413414"/>
                  <a:gd name="connsiteX106" fmla="*/ 83534 w 4528375"/>
                  <a:gd name="connsiteY106" fmla="*/ 55055 h 1413414"/>
                  <a:gd name="connsiteX107" fmla="*/ 45625 w 4528375"/>
                  <a:gd name="connsiteY107" fmla="*/ 55055 h 1413414"/>
                  <a:gd name="connsiteX108" fmla="*/ 45625 w 4528375"/>
                  <a:gd name="connsiteY108" fmla="*/ 37814 h 1413414"/>
                  <a:gd name="connsiteX109" fmla="*/ 33242 w 4528375"/>
                  <a:gd name="connsiteY109" fmla="*/ 37814 h 1413414"/>
                  <a:gd name="connsiteX110" fmla="*/ 33242 w 4528375"/>
                  <a:gd name="connsiteY110" fmla="*/ 13145 h 1413414"/>
                  <a:gd name="connsiteX111" fmla="*/ 28575 w 4528375"/>
                  <a:gd name="connsiteY111" fmla="*/ 13145 h 1413414"/>
                  <a:gd name="connsiteX112" fmla="*/ 28575 w 4528375"/>
                  <a:gd name="connsiteY112" fmla="*/ 0 h 1413414"/>
                  <a:gd name="connsiteX113" fmla="*/ 0 w 4528375"/>
                  <a:gd name="connsiteY113" fmla="*/ 0 h 14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28375" h="1413414">
                    <a:moveTo>
                      <a:pt x="4528376" y="1413415"/>
                    </a:moveTo>
                    <a:lnTo>
                      <a:pt x="3768852" y="1413415"/>
                    </a:lnTo>
                    <a:lnTo>
                      <a:pt x="3768852" y="1282541"/>
                    </a:lnTo>
                    <a:lnTo>
                      <a:pt x="3490817" y="1282541"/>
                    </a:lnTo>
                    <a:lnTo>
                      <a:pt x="3490817" y="1183291"/>
                    </a:lnTo>
                    <a:lnTo>
                      <a:pt x="3216593" y="1183291"/>
                    </a:lnTo>
                    <a:lnTo>
                      <a:pt x="3216593" y="1122236"/>
                    </a:lnTo>
                    <a:lnTo>
                      <a:pt x="2639473" y="1122236"/>
                    </a:lnTo>
                    <a:lnTo>
                      <a:pt x="2639473" y="1079945"/>
                    </a:lnTo>
                    <a:lnTo>
                      <a:pt x="2284190" y="1079945"/>
                    </a:lnTo>
                    <a:lnTo>
                      <a:pt x="2284190" y="1054989"/>
                    </a:lnTo>
                    <a:lnTo>
                      <a:pt x="2279714" y="1054989"/>
                    </a:lnTo>
                    <a:lnTo>
                      <a:pt x="2279714" y="1021556"/>
                    </a:lnTo>
                    <a:lnTo>
                      <a:pt x="2267141" y="1021556"/>
                    </a:lnTo>
                    <a:lnTo>
                      <a:pt x="2267141" y="991553"/>
                    </a:lnTo>
                    <a:lnTo>
                      <a:pt x="2263712" y="991553"/>
                    </a:lnTo>
                    <a:lnTo>
                      <a:pt x="2263712" y="911352"/>
                    </a:lnTo>
                    <a:lnTo>
                      <a:pt x="1970056" y="911352"/>
                    </a:lnTo>
                    <a:lnTo>
                      <a:pt x="1970056" y="885730"/>
                    </a:lnTo>
                    <a:lnTo>
                      <a:pt x="1884331" y="885730"/>
                    </a:lnTo>
                    <a:lnTo>
                      <a:pt x="1884331" y="847630"/>
                    </a:lnTo>
                    <a:lnTo>
                      <a:pt x="1861471" y="847630"/>
                    </a:lnTo>
                    <a:lnTo>
                      <a:pt x="1861471" y="805910"/>
                    </a:lnTo>
                    <a:lnTo>
                      <a:pt x="1792319" y="805910"/>
                    </a:lnTo>
                    <a:lnTo>
                      <a:pt x="1792319" y="784479"/>
                    </a:lnTo>
                    <a:lnTo>
                      <a:pt x="1756410" y="784479"/>
                    </a:lnTo>
                    <a:lnTo>
                      <a:pt x="1756410" y="770477"/>
                    </a:lnTo>
                    <a:lnTo>
                      <a:pt x="1706213" y="770477"/>
                    </a:lnTo>
                    <a:lnTo>
                      <a:pt x="1706213" y="751618"/>
                    </a:lnTo>
                    <a:lnTo>
                      <a:pt x="1656112" y="751618"/>
                    </a:lnTo>
                    <a:lnTo>
                      <a:pt x="1656112" y="729710"/>
                    </a:lnTo>
                    <a:lnTo>
                      <a:pt x="1551527" y="729710"/>
                    </a:lnTo>
                    <a:lnTo>
                      <a:pt x="1551527" y="709041"/>
                    </a:lnTo>
                    <a:lnTo>
                      <a:pt x="1518285" y="709041"/>
                    </a:lnTo>
                    <a:lnTo>
                      <a:pt x="1518285" y="691991"/>
                    </a:lnTo>
                    <a:lnTo>
                      <a:pt x="1505141" y="691991"/>
                    </a:lnTo>
                    <a:lnTo>
                      <a:pt x="1505141" y="654177"/>
                    </a:lnTo>
                    <a:lnTo>
                      <a:pt x="1486948" y="654177"/>
                    </a:lnTo>
                    <a:lnTo>
                      <a:pt x="1486948" y="624935"/>
                    </a:lnTo>
                    <a:lnTo>
                      <a:pt x="1426274" y="624935"/>
                    </a:lnTo>
                    <a:lnTo>
                      <a:pt x="1426274" y="603504"/>
                    </a:lnTo>
                    <a:lnTo>
                      <a:pt x="1279589" y="603504"/>
                    </a:lnTo>
                    <a:lnTo>
                      <a:pt x="1279589" y="586454"/>
                    </a:lnTo>
                    <a:lnTo>
                      <a:pt x="1237679" y="586454"/>
                    </a:lnTo>
                    <a:lnTo>
                      <a:pt x="1237679" y="569786"/>
                    </a:lnTo>
                    <a:lnTo>
                      <a:pt x="1150049" y="569786"/>
                    </a:lnTo>
                    <a:lnTo>
                      <a:pt x="1150049" y="556641"/>
                    </a:lnTo>
                    <a:lnTo>
                      <a:pt x="1139571" y="556641"/>
                    </a:lnTo>
                    <a:lnTo>
                      <a:pt x="1139571" y="540068"/>
                    </a:lnTo>
                    <a:lnTo>
                      <a:pt x="1119473" y="540068"/>
                    </a:lnTo>
                    <a:lnTo>
                      <a:pt x="1119473" y="525399"/>
                    </a:lnTo>
                    <a:lnTo>
                      <a:pt x="1112996" y="525399"/>
                    </a:lnTo>
                    <a:lnTo>
                      <a:pt x="1112996" y="507016"/>
                    </a:lnTo>
                    <a:lnTo>
                      <a:pt x="1096613" y="507016"/>
                    </a:lnTo>
                    <a:lnTo>
                      <a:pt x="1096613" y="464249"/>
                    </a:lnTo>
                    <a:lnTo>
                      <a:pt x="1062323" y="464249"/>
                    </a:lnTo>
                    <a:lnTo>
                      <a:pt x="1062323" y="430625"/>
                    </a:lnTo>
                    <a:lnTo>
                      <a:pt x="840391" y="430625"/>
                    </a:lnTo>
                    <a:lnTo>
                      <a:pt x="840391" y="413575"/>
                    </a:lnTo>
                    <a:lnTo>
                      <a:pt x="823436" y="413575"/>
                    </a:lnTo>
                    <a:lnTo>
                      <a:pt x="823436" y="397193"/>
                    </a:lnTo>
                    <a:lnTo>
                      <a:pt x="777431" y="397193"/>
                    </a:lnTo>
                    <a:lnTo>
                      <a:pt x="777431" y="368141"/>
                    </a:lnTo>
                    <a:lnTo>
                      <a:pt x="773525" y="368141"/>
                    </a:lnTo>
                    <a:lnTo>
                      <a:pt x="773525" y="341662"/>
                    </a:lnTo>
                    <a:lnTo>
                      <a:pt x="758952" y="341662"/>
                    </a:lnTo>
                    <a:lnTo>
                      <a:pt x="758952" y="313087"/>
                    </a:lnTo>
                    <a:lnTo>
                      <a:pt x="739331" y="313087"/>
                    </a:lnTo>
                    <a:lnTo>
                      <a:pt x="739331" y="295656"/>
                    </a:lnTo>
                    <a:lnTo>
                      <a:pt x="725900" y="295656"/>
                    </a:lnTo>
                    <a:lnTo>
                      <a:pt x="725900" y="282893"/>
                    </a:lnTo>
                    <a:lnTo>
                      <a:pt x="706660" y="282893"/>
                    </a:lnTo>
                    <a:lnTo>
                      <a:pt x="706660" y="270701"/>
                    </a:lnTo>
                    <a:lnTo>
                      <a:pt x="699421" y="270701"/>
                    </a:lnTo>
                    <a:lnTo>
                      <a:pt x="699421" y="262604"/>
                    </a:lnTo>
                    <a:lnTo>
                      <a:pt x="673037" y="262604"/>
                    </a:lnTo>
                    <a:lnTo>
                      <a:pt x="673037" y="245174"/>
                    </a:lnTo>
                    <a:lnTo>
                      <a:pt x="668750" y="245174"/>
                    </a:lnTo>
                    <a:lnTo>
                      <a:pt x="668750" y="232219"/>
                    </a:lnTo>
                    <a:lnTo>
                      <a:pt x="639604" y="232219"/>
                    </a:lnTo>
                    <a:lnTo>
                      <a:pt x="639604" y="219837"/>
                    </a:lnTo>
                    <a:lnTo>
                      <a:pt x="618744" y="219837"/>
                    </a:lnTo>
                    <a:lnTo>
                      <a:pt x="618744" y="207074"/>
                    </a:lnTo>
                    <a:lnTo>
                      <a:pt x="601885" y="207074"/>
                    </a:lnTo>
                    <a:lnTo>
                      <a:pt x="601885" y="193929"/>
                    </a:lnTo>
                    <a:lnTo>
                      <a:pt x="539115" y="193929"/>
                    </a:lnTo>
                    <a:lnTo>
                      <a:pt x="539115" y="177451"/>
                    </a:lnTo>
                    <a:lnTo>
                      <a:pt x="510254" y="177451"/>
                    </a:lnTo>
                    <a:lnTo>
                      <a:pt x="510254" y="164306"/>
                    </a:lnTo>
                    <a:lnTo>
                      <a:pt x="434531" y="164306"/>
                    </a:lnTo>
                    <a:lnTo>
                      <a:pt x="434531" y="156401"/>
                    </a:lnTo>
                    <a:lnTo>
                      <a:pt x="376333" y="156401"/>
                    </a:lnTo>
                    <a:lnTo>
                      <a:pt x="376333" y="143256"/>
                    </a:lnTo>
                    <a:lnTo>
                      <a:pt x="339281" y="143256"/>
                    </a:lnTo>
                    <a:lnTo>
                      <a:pt x="339281" y="130493"/>
                    </a:lnTo>
                    <a:lnTo>
                      <a:pt x="330518" y="130493"/>
                    </a:lnTo>
                    <a:lnTo>
                      <a:pt x="330518" y="114681"/>
                    </a:lnTo>
                    <a:lnTo>
                      <a:pt x="321850" y="114681"/>
                    </a:lnTo>
                    <a:lnTo>
                      <a:pt x="321850" y="101727"/>
                    </a:lnTo>
                    <a:lnTo>
                      <a:pt x="280511" y="101727"/>
                    </a:lnTo>
                    <a:lnTo>
                      <a:pt x="280511" y="89345"/>
                    </a:lnTo>
                    <a:lnTo>
                      <a:pt x="129064" y="89345"/>
                    </a:lnTo>
                    <a:lnTo>
                      <a:pt x="129064" y="76581"/>
                    </a:lnTo>
                    <a:lnTo>
                      <a:pt x="87535" y="76581"/>
                    </a:lnTo>
                    <a:lnTo>
                      <a:pt x="87535" y="63151"/>
                    </a:lnTo>
                    <a:lnTo>
                      <a:pt x="83534" y="63151"/>
                    </a:lnTo>
                    <a:lnTo>
                      <a:pt x="83534" y="55055"/>
                    </a:lnTo>
                    <a:lnTo>
                      <a:pt x="45625" y="55055"/>
                    </a:lnTo>
                    <a:lnTo>
                      <a:pt x="45625" y="37814"/>
                    </a:lnTo>
                    <a:lnTo>
                      <a:pt x="33242" y="37814"/>
                    </a:lnTo>
                    <a:lnTo>
                      <a:pt x="33242" y="13145"/>
                    </a:lnTo>
                    <a:lnTo>
                      <a:pt x="28575" y="13145"/>
                    </a:lnTo>
                    <a:lnTo>
                      <a:pt x="28575"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826" name="Rectangle 13825" hidden="1">
            <a:extLst>
              <a:ext uri="{FF2B5EF4-FFF2-40B4-BE49-F238E27FC236}">
                <a16:creationId xmlns:a16="http://schemas.microsoft.com/office/drawing/2014/main" id="{31391D8D-7B7F-C068-34DC-A185FBE4D121}"/>
              </a:ext>
            </a:extLst>
          </p:cNvPr>
          <p:cNvSpPr/>
          <p:nvPr/>
        </p:nvSpPr>
        <p:spPr>
          <a:xfrm>
            <a:off x="1058627" y="1036320"/>
            <a:ext cx="10941572"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3183" name="Group 13182" hidden="1">
            <a:extLst>
              <a:ext uri="{FF2B5EF4-FFF2-40B4-BE49-F238E27FC236}">
                <a16:creationId xmlns:a16="http://schemas.microsoft.com/office/drawing/2014/main" id="{BBE554DF-2DF6-E03F-7735-28DD46FA24BE}"/>
              </a:ext>
            </a:extLst>
          </p:cNvPr>
          <p:cNvGrpSpPr/>
          <p:nvPr/>
        </p:nvGrpSpPr>
        <p:grpSpPr>
          <a:xfrm>
            <a:off x="1041931" y="1436686"/>
            <a:ext cx="6542190" cy="2408561"/>
            <a:chOff x="1009649" y="1436686"/>
            <a:chExt cx="6136482" cy="2408561"/>
          </a:xfrm>
        </p:grpSpPr>
        <p:grpSp>
          <p:nvGrpSpPr>
            <p:cNvPr id="13184" name="Group 13183">
              <a:extLst>
                <a:ext uri="{FF2B5EF4-FFF2-40B4-BE49-F238E27FC236}">
                  <a16:creationId xmlns:a16="http://schemas.microsoft.com/office/drawing/2014/main" id="{D69C4C6C-32FF-FD50-2BFB-22C8C2795DF7}"/>
                </a:ext>
              </a:extLst>
            </p:cNvPr>
            <p:cNvGrpSpPr/>
            <p:nvPr/>
          </p:nvGrpSpPr>
          <p:grpSpPr>
            <a:xfrm>
              <a:off x="1009649" y="1436686"/>
              <a:ext cx="6126957" cy="2159001"/>
              <a:chOff x="3486150" y="2509837"/>
              <a:chExt cx="5217128" cy="1841658"/>
            </a:xfrm>
          </p:grpSpPr>
          <p:grpSp>
            <p:nvGrpSpPr>
              <p:cNvPr id="13515" name="Graphic 745">
                <a:extLst>
                  <a:ext uri="{FF2B5EF4-FFF2-40B4-BE49-F238E27FC236}">
                    <a16:creationId xmlns:a16="http://schemas.microsoft.com/office/drawing/2014/main" id="{3FADDCDB-EF8C-5948-5641-ECE7219FD6C0}"/>
                  </a:ext>
                </a:extLst>
              </p:cNvPr>
              <p:cNvGrpSpPr/>
              <p:nvPr/>
            </p:nvGrpSpPr>
            <p:grpSpPr>
              <a:xfrm>
                <a:off x="3486150" y="2509837"/>
                <a:ext cx="5217128" cy="1841658"/>
                <a:chOff x="3486150" y="2509837"/>
                <a:chExt cx="5217128" cy="1841658"/>
              </a:xfrm>
            </p:grpSpPr>
            <p:grpSp>
              <p:nvGrpSpPr>
                <p:cNvPr id="13517" name="Graphic 745">
                  <a:extLst>
                    <a:ext uri="{FF2B5EF4-FFF2-40B4-BE49-F238E27FC236}">
                      <a16:creationId xmlns:a16="http://schemas.microsoft.com/office/drawing/2014/main" id="{639C45F5-E203-EA8F-D6B9-C980E8B2F05B}"/>
                    </a:ext>
                  </a:extLst>
                </p:cNvPr>
                <p:cNvGrpSpPr/>
                <p:nvPr/>
              </p:nvGrpSpPr>
              <p:grpSpPr>
                <a:xfrm>
                  <a:off x="8627554" y="4275772"/>
                  <a:ext cx="75723" cy="75723"/>
                  <a:chOff x="8627554" y="4275772"/>
                  <a:chExt cx="75723" cy="75723"/>
                </a:xfrm>
              </p:grpSpPr>
              <p:sp>
                <p:nvSpPr>
                  <p:cNvPr id="13824" name="Freeform: Shape 13823">
                    <a:extLst>
                      <a:ext uri="{FF2B5EF4-FFF2-40B4-BE49-F238E27FC236}">
                        <a16:creationId xmlns:a16="http://schemas.microsoft.com/office/drawing/2014/main" id="{C02597EB-18B4-2A34-CD92-CC696E55BE90}"/>
                      </a:ext>
                    </a:extLst>
                  </p:cNvPr>
                  <p:cNvSpPr/>
                  <p:nvPr/>
                </p:nvSpPr>
                <p:spPr>
                  <a:xfrm>
                    <a:off x="866546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5" name="Freeform: Shape 13824">
                    <a:extLst>
                      <a:ext uri="{FF2B5EF4-FFF2-40B4-BE49-F238E27FC236}">
                        <a16:creationId xmlns:a16="http://schemas.microsoft.com/office/drawing/2014/main" id="{656E733D-1296-AC95-63C0-1378635758E6}"/>
                      </a:ext>
                    </a:extLst>
                  </p:cNvPr>
                  <p:cNvSpPr/>
                  <p:nvPr/>
                </p:nvSpPr>
                <p:spPr>
                  <a:xfrm>
                    <a:off x="862755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8" name="Graphic 745">
                  <a:extLst>
                    <a:ext uri="{FF2B5EF4-FFF2-40B4-BE49-F238E27FC236}">
                      <a16:creationId xmlns:a16="http://schemas.microsoft.com/office/drawing/2014/main" id="{18900711-E353-8D1E-8E8B-C3E00D3B34AC}"/>
                    </a:ext>
                  </a:extLst>
                </p:cNvPr>
                <p:cNvGrpSpPr/>
                <p:nvPr/>
              </p:nvGrpSpPr>
              <p:grpSpPr>
                <a:xfrm>
                  <a:off x="8617458" y="4275772"/>
                  <a:ext cx="75628" cy="75723"/>
                  <a:chOff x="8617458" y="4275772"/>
                  <a:chExt cx="75628" cy="75723"/>
                </a:xfrm>
              </p:grpSpPr>
              <p:sp>
                <p:nvSpPr>
                  <p:cNvPr id="13822" name="Freeform: Shape 13821">
                    <a:extLst>
                      <a:ext uri="{FF2B5EF4-FFF2-40B4-BE49-F238E27FC236}">
                        <a16:creationId xmlns:a16="http://schemas.microsoft.com/office/drawing/2014/main" id="{575ED338-9DB0-043A-7A8E-A7D41AFCF190}"/>
                      </a:ext>
                    </a:extLst>
                  </p:cNvPr>
                  <p:cNvSpPr/>
                  <p:nvPr/>
                </p:nvSpPr>
                <p:spPr>
                  <a:xfrm>
                    <a:off x="865527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3" name="Freeform: Shape 13822">
                    <a:extLst>
                      <a:ext uri="{FF2B5EF4-FFF2-40B4-BE49-F238E27FC236}">
                        <a16:creationId xmlns:a16="http://schemas.microsoft.com/office/drawing/2014/main" id="{9998B327-478E-5F99-08B9-1A2F9C5AA323}"/>
                      </a:ext>
                    </a:extLst>
                  </p:cNvPr>
                  <p:cNvSpPr/>
                  <p:nvPr/>
                </p:nvSpPr>
                <p:spPr>
                  <a:xfrm>
                    <a:off x="8617458"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19" name="Graphic 745">
                  <a:extLst>
                    <a:ext uri="{FF2B5EF4-FFF2-40B4-BE49-F238E27FC236}">
                      <a16:creationId xmlns:a16="http://schemas.microsoft.com/office/drawing/2014/main" id="{98B9FBD4-B5F2-7986-712C-BCAC6712A88E}"/>
                    </a:ext>
                  </a:extLst>
                </p:cNvPr>
                <p:cNvGrpSpPr/>
                <p:nvPr/>
              </p:nvGrpSpPr>
              <p:grpSpPr>
                <a:xfrm>
                  <a:off x="8244268" y="4275772"/>
                  <a:ext cx="75628" cy="75723"/>
                  <a:chOff x="8244268" y="4275772"/>
                  <a:chExt cx="75628" cy="75723"/>
                </a:xfrm>
              </p:grpSpPr>
              <p:sp>
                <p:nvSpPr>
                  <p:cNvPr id="13820" name="Freeform: Shape 13819">
                    <a:extLst>
                      <a:ext uri="{FF2B5EF4-FFF2-40B4-BE49-F238E27FC236}">
                        <a16:creationId xmlns:a16="http://schemas.microsoft.com/office/drawing/2014/main" id="{B11B5161-F93E-A6BA-DF3C-BB76EFEB731D}"/>
                      </a:ext>
                    </a:extLst>
                  </p:cNvPr>
                  <p:cNvSpPr/>
                  <p:nvPr/>
                </p:nvSpPr>
                <p:spPr>
                  <a:xfrm>
                    <a:off x="828208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21" name="Freeform: Shape 13820">
                    <a:extLst>
                      <a:ext uri="{FF2B5EF4-FFF2-40B4-BE49-F238E27FC236}">
                        <a16:creationId xmlns:a16="http://schemas.microsoft.com/office/drawing/2014/main" id="{D687E8BF-A558-FB12-C47C-A2994C07261A}"/>
                      </a:ext>
                    </a:extLst>
                  </p:cNvPr>
                  <p:cNvSpPr/>
                  <p:nvPr/>
                </p:nvSpPr>
                <p:spPr>
                  <a:xfrm>
                    <a:off x="8244268"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0" name="Graphic 745">
                  <a:extLst>
                    <a:ext uri="{FF2B5EF4-FFF2-40B4-BE49-F238E27FC236}">
                      <a16:creationId xmlns:a16="http://schemas.microsoft.com/office/drawing/2014/main" id="{23E78FC8-971D-547E-A290-F3F8503037D1}"/>
                    </a:ext>
                  </a:extLst>
                </p:cNvPr>
                <p:cNvGrpSpPr/>
                <p:nvPr/>
              </p:nvGrpSpPr>
              <p:grpSpPr>
                <a:xfrm>
                  <a:off x="8139684" y="4275772"/>
                  <a:ext cx="75723" cy="75723"/>
                  <a:chOff x="8139684" y="4275772"/>
                  <a:chExt cx="75723" cy="75723"/>
                </a:xfrm>
              </p:grpSpPr>
              <p:sp>
                <p:nvSpPr>
                  <p:cNvPr id="13818" name="Freeform: Shape 13817">
                    <a:extLst>
                      <a:ext uri="{FF2B5EF4-FFF2-40B4-BE49-F238E27FC236}">
                        <a16:creationId xmlns:a16="http://schemas.microsoft.com/office/drawing/2014/main" id="{62454F48-7AF2-E7EA-0F29-67134AB4A6B7}"/>
                      </a:ext>
                    </a:extLst>
                  </p:cNvPr>
                  <p:cNvSpPr/>
                  <p:nvPr/>
                </p:nvSpPr>
                <p:spPr>
                  <a:xfrm>
                    <a:off x="8177498"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9" name="Freeform: Shape 13818">
                    <a:extLst>
                      <a:ext uri="{FF2B5EF4-FFF2-40B4-BE49-F238E27FC236}">
                        <a16:creationId xmlns:a16="http://schemas.microsoft.com/office/drawing/2014/main" id="{EAD00DD8-2ED0-1C4C-3BDF-B40E8C493D5F}"/>
                      </a:ext>
                    </a:extLst>
                  </p:cNvPr>
                  <p:cNvSpPr/>
                  <p:nvPr/>
                </p:nvSpPr>
                <p:spPr>
                  <a:xfrm>
                    <a:off x="8139684"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1" name="Graphic 745">
                  <a:extLst>
                    <a:ext uri="{FF2B5EF4-FFF2-40B4-BE49-F238E27FC236}">
                      <a16:creationId xmlns:a16="http://schemas.microsoft.com/office/drawing/2014/main" id="{FE840432-475F-9663-7ADE-735C34BC3CB4}"/>
                    </a:ext>
                  </a:extLst>
                </p:cNvPr>
                <p:cNvGrpSpPr/>
                <p:nvPr/>
              </p:nvGrpSpPr>
              <p:grpSpPr>
                <a:xfrm>
                  <a:off x="7737157" y="4275772"/>
                  <a:ext cx="75723" cy="75723"/>
                  <a:chOff x="7737157" y="4275772"/>
                  <a:chExt cx="75723" cy="75723"/>
                </a:xfrm>
              </p:grpSpPr>
              <p:sp>
                <p:nvSpPr>
                  <p:cNvPr id="13816" name="Freeform: Shape 13815">
                    <a:extLst>
                      <a:ext uri="{FF2B5EF4-FFF2-40B4-BE49-F238E27FC236}">
                        <a16:creationId xmlns:a16="http://schemas.microsoft.com/office/drawing/2014/main" id="{77E892B7-47A4-CA05-45B8-61C987ABAC2F}"/>
                      </a:ext>
                    </a:extLst>
                  </p:cNvPr>
                  <p:cNvSpPr/>
                  <p:nvPr/>
                </p:nvSpPr>
                <p:spPr>
                  <a:xfrm>
                    <a:off x="7775067"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7" name="Freeform: Shape 13816">
                    <a:extLst>
                      <a:ext uri="{FF2B5EF4-FFF2-40B4-BE49-F238E27FC236}">
                        <a16:creationId xmlns:a16="http://schemas.microsoft.com/office/drawing/2014/main" id="{DA910BBA-D717-05A3-ADED-E3A2060C09F7}"/>
                      </a:ext>
                    </a:extLst>
                  </p:cNvPr>
                  <p:cNvSpPr/>
                  <p:nvPr/>
                </p:nvSpPr>
                <p:spPr>
                  <a:xfrm>
                    <a:off x="7737157"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2" name="Graphic 745">
                  <a:extLst>
                    <a:ext uri="{FF2B5EF4-FFF2-40B4-BE49-F238E27FC236}">
                      <a16:creationId xmlns:a16="http://schemas.microsoft.com/office/drawing/2014/main" id="{E70DAF1B-D721-C430-4A4B-3EAE0C16A966}"/>
                    </a:ext>
                  </a:extLst>
                </p:cNvPr>
                <p:cNvGrpSpPr/>
                <p:nvPr/>
              </p:nvGrpSpPr>
              <p:grpSpPr>
                <a:xfrm>
                  <a:off x="7382160" y="4275772"/>
                  <a:ext cx="75628" cy="75723"/>
                  <a:chOff x="7382160" y="4275772"/>
                  <a:chExt cx="75628" cy="75723"/>
                </a:xfrm>
              </p:grpSpPr>
              <p:sp>
                <p:nvSpPr>
                  <p:cNvPr id="13814" name="Freeform: Shape 13813">
                    <a:extLst>
                      <a:ext uri="{FF2B5EF4-FFF2-40B4-BE49-F238E27FC236}">
                        <a16:creationId xmlns:a16="http://schemas.microsoft.com/office/drawing/2014/main" id="{D6C63956-D2F0-063E-5107-2CC1903BC337}"/>
                      </a:ext>
                    </a:extLst>
                  </p:cNvPr>
                  <p:cNvSpPr/>
                  <p:nvPr/>
                </p:nvSpPr>
                <p:spPr>
                  <a:xfrm>
                    <a:off x="7419975"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5" name="Freeform: Shape 13814">
                    <a:extLst>
                      <a:ext uri="{FF2B5EF4-FFF2-40B4-BE49-F238E27FC236}">
                        <a16:creationId xmlns:a16="http://schemas.microsoft.com/office/drawing/2014/main" id="{15D261F7-D05F-BBCE-E843-133EAB2BEAD7}"/>
                      </a:ext>
                    </a:extLst>
                  </p:cNvPr>
                  <p:cNvSpPr/>
                  <p:nvPr/>
                </p:nvSpPr>
                <p:spPr>
                  <a:xfrm>
                    <a:off x="7382160"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3" name="Graphic 745">
                  <a:extLst>
                    <a:ext uri="{FF2B5EF4-FFF2-40B4-BE49-F238E27FC236}">
                      <a16:creationId xmlns:a16="http://schemas.microsoft.com/office/drawing/2014/main" id="{844E56B8-F37A-CCFD-3C27-D47C62C92F7A}"/>
                    </a:ext>
                  </a:extLst>
                </p:cNvPr>
                <p:cNvGrpSpPr/>
                <p:nvPr/>
              </p:nvGrpSpPr>
              <p:grpSpPr>
                <a:xfrm>
                  <a:off x="7337964" y="4242339"/>
                  <a:ext cx="75723" cy="75723"/>
                  <a:chOff x="7337964" y="4242339"/>
                  <a:chExt cx="75723" cy="75723"/>
                </a:xfrm>
              </p:grpSpPr>
              <p:sp>
                <p:nvSpPr>
                  <p:cNvPr id="13812" name="Freeform: Shape 13811">
                    <a:extLst>
                      <a:ext uri="{FF2B5EF4-FFF2-40B4-BE49-F238E27FC236}">
                        <a16:creationId xmlns:a16="http://schemas.microsoft.com/office/drawing/2014/main" id="{F977FADA-8B0C-CF7E-546A-98FB999C1B73}"/>
                      </a:ext>
                    </a:extLst>
                  </p:cNvPr>
                  <p:cNvSpPr/>
                  <p:nvPr/>
                </p:nvSpPr>
                <p:spPr>
                  <a:xfrm>
                    <a:off x="7375779"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3" name="Freeform: Shape 13812">
                    <a:extLst>
                      <a:ext uri="{FF2B5EF4-FFF2-40B4-BE49-F238E27FC236}">
                        <a16:creationId xmlns:a16="http://schemas.microsoft.com/office/drawing/2014/main" id="{30271EFC-16E3-3127-788A-487B2E495F49}"/>
                      </a:ext>
                    </a:extLst>
                  </p:cNvPr>
                  <p:cNvSpPr/>
                  <p:nvPr/>
                </p:nvSpPr>
                <p:spPr>
                  <a:xfrm>
                    <a:off x="7337964" y="42802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4" name="Graphic 745">
                  <a:extLst>
                    <a:ext uri="{FF2B5EF4-FFF2-40B4-BE49-F238E27FC236}">
                      <a16:creationId xmlns:a16="http://schemas.microsoft.com/office/drawing/2014/main" id="{732E13C8-C804-D2ED-5ABC-F0752FD1AC8B}"/>
                    </a:ext>
                  </a:extLst>
                </p:cNvPr>
                <p:cNvGrpSpPr/>
                <p:nvPr/>
              </p:nvGrpSpPr>
              <p:grpSpPr>
                <a:xfrm>
                  <a:off x="7347394" y="4242339"/>
                  <a:ext cx="75628" cy="75723"/>
                  <a:chOff x="7347394" y="4242339"/>
                  <a:chExt cx="75628" cy="75723"/>
                </a:xfrm>
              </p:grpSpPr>
              <p:sp>
                <p:nvSpPr>
                  <p:cNvPr id="13810" name="Freeform: Shape 13809">
                    <a:extLst>
                      <a:ext uri="{FF2B5EF4-FFF2-40B4-BE49-F238E27FC236}">
                        <a16:creationId xmlns:a16="http://schemas.microsoft.com/office/drawing/2014/main" id="{3520542F-324B-2E4E-A1C7-05F139FBFDBE}"/>
                      </a:ext>
                    </a:extLst>
                  </p:cNvPr>
                  <p:cNvSpPr/>
                  <p:nvPr/>
                </p:nvSpPr>
                <p:spPr>
                  <a:xfrm>
                    <a:off x="7385208" y="42423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11" name="Freeform: Shape 13810">
                    <a:extLst>
                      <a:ext uri="{FF2B5EF4-FFF2-40B4-BE49-F238E27FC236}">
                        <a16:creationId xmlns:a16="http://schemas.microsoft.com/office/drawing/2014/main" id="{071DFD13-9088-D5DB-E6DE-4F3B7AE6CD16}"/>
                      </a:ext>
                    </a:extLst>
                  </p:cNvPr>
                  <p:cNvSpPr/>
                  <p:nvPr/>
                </p:nvSpPr>
                <p:spPr>
                  <a:xfrm>
                    <a:off x="7347394" y="42802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5" name="Graphic 745">
                  <a:extLst>
                    <a:ext uri="{FF2B5EF4-FFF2-40B4-BE49-F238E27FC236}">
                      <a16:creationId xmlns:a16="http://schemas.microsoft.com/office/drawing/2014/main" id="{B8EB8AC9-00D3-6CF8-AF46-036407FDB15D}"/>
                    </a:ext>
                  </a:extLst>
                </p:cNvPr>
                <p:cNvGrpSpPr/>
                <p:nvPr/>
              </p:nvGrpSpPr>
              <p:grpSpPr>
                <a:xfrm>
                  <a:off x="7308151" y="4185284"/>
                  <a:ext cx="75723" cy="75723"/>
                  <a:chOff x="7308151" y="4185284"/>
                  <a:chExt cx="75723" cy="75723"/>
                </a:xfrm>
              </p:grpSpPr>
              <p:sp>
                <p:nvSpPr>
                  <p:cNvPr id="13808" name="Freeform: Shape 13807">
                    <a:extLst>
                      <a:ext uri="{FF2B5EF4-FFF2-40B4-BE49-F238E27FC236}">
                        <a16:creationId xmlns:a16="http://schemas.microsoft.com/office/drawing/2014/main" id="{09F7BF92-D168-EEC2-A7F5-500FE4104096}"/>
                      </a:ext>
                    </a:extLst>
                  </p:cNvPr>
                  <p:cNvSpPr/>
                  <p:nvPr/>
                </p:nvSpPr>
                <p:spPr>
                  <a:xfrm>
                    <a:off x="7345965"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9" name="Freeform: Shape 13808">
                    <a:extLst>
                      <a:ext uri="{FF2B5EF4-FFF2-40B4-BE49-F238E27FC236}">
                        <a16:creationId xmlns:a16="http://schemas.microsoft.com/office/drawing/2014/main" id="{B92E3A57-CB9E-53C3-80F8-B5BA39C6AE52}"/>
                      </a:ext>
                    </a:extLst>
                  </p:cNvPr>
                  <p:cNvSpPr/>
                  <p:nvPr/>
                </p:nvSpPr>
                <p:spPr>
                  <a:xfrm>
                    <a:off x="7308151"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6" name="Graphic 745">
                  <a:extLst>
                    <a:ext uri="{FF2B5EF4-FFF2-40B4-BE49-F238E27FC236}">
                      <a16:creationId xmlns:a16="http://schemas.microsoft.com/office/drawing/2014/main" id="{741858D1-F73C-5A52-8868-F9FE7B3EC806}"/>
                    </a:ext>
                  </a:extLst>
                </p:cNvPr>
                <p:cNvGrpSpPr/>
                <p:nvPr/>
              </p:nvGrpSpPr>
              <p:grpSpPr>
                <a:xfrm>
                  <a:off x="7319295" y="4185284"/>
                  <a:ext cx="75628" cy="75723"/>
                  <a:chOff x="7319295" y="4185284"/>
                  <a:chExt cx="75628" cy="75723"/>
                </a:xfrm>
              </p:grpSpPr>
              <p:sp>
                <p:nvSpPr>
                  <p:cNvPr id="13806" name="Freeform: Shape 13805">
                    <a:extLst>
                      <a:ext uri="{FF2B5EF4-FFF2-40B4-BE49-F238E27FC236}">
                        <a16:creationId xmlns:a16="http://schemas.microsoft.com/office/drawing/2014/main" id="{CEF03B4A-1A97-426D-5952-B02A57FA8304}"/>
                      </a:ext>
                    </a:extLst>
                  </p:cNvPr>
                  <p:cNvSpPr/>
                  <p:nvPr/>
                </p:nvSpPr>
                <p:spPr>
                  <a:xfrm>
                    <a:off x="7357110"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7" name="Freeform: Shape 13806">
                    <a:extLst>
                      <a:ext uri="{FF2B5EF4-FFF2-40B4-BE49-F238E27FC236}">
                        <a16:creationId xmlns:a16="http://schemas.microsoft.com/office/drawing/2014/main" id="{A7A1FC61-3D16-3CBD-3F65-9ADB629E421F}"/>
                      </a:ext>
                    </a:extLst>
                  </p:cNvPr>
                  <p:cNvSpPr/>
                  <p:nvPr/>
                </p:nvSpPr>
                <p:spPr>
                  <a:xfrm>
                    <a:off x="7319295"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7" name="Graphic 745">
                  <a:extLst>
                    <a:ext uri="{FF2B5EF4-FFF2-40B4-BE49-F238E27FC236}">
                      <a16:creationId xmlns:a16="http://schemas.microsoft.com/office/drawing/2014/main" id="{8A057344-123B-629C-01F8-41886A7D712F}"/>
                    </a:ext>
                  </a:extLst>
                </p:cNvPr>
                <p:cNvGrpSpPr/>
                <p:nvPr/>
              </p:nvGrpSpPr>
              <p:grpSpPr>
                <a:xfrm>
                  <a:off x="7330344" y="4185284"/>
                  <a:ext cx="75723" cy="75723"/>
                  <a:chOff x="7330344" y="4185284"/>
                  <a:chExt cx="75723" cy="75723"/>
                </a:xfrm>
              </p:grpSpPr>
              <p:sp>
                <p:nvSpPr>
                  <p:cNvPr id="13804" name="Freeform: Shape 13803">
                    <a:extLst>
                      <a:ext uri="{FF2B5EF4-FFF2-40B4-BE49-F238E27FC236}">
                        <a16:creationId xmlns:a16="http://schemas.microsoft.com/office/drawing/2014/main" id="{1AFDEC9B-A1F7-99FD-39DB-57A0D9640CEF}"/>
                      </a:ext>
                    </a:extLst>
                  </p:cNvPr>
                  <p:cNvSpPr/>
                  <p:nvPr/>
                </p:nvSpPr>
                <p:spPr>
                  <a:xfrm>
                    <a:off x="7368159"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5" name="Freeform: Shape 13804">
                    <a:extLst>
                      <a:ext uri="{FF2B5EF4-FFF2-40B4-BE49-F238E27FC236}">
                        <a16:creationId xmlns:a16="http://schemas.microsoft.com/office/drawing/2014/main" id="{A2620C77-3652-9D8C-7FE9-0B1D1D895693}"/>
                      </a:ext>
                    </a:extLst>
                  </p:cNvPr>
                  <p:cNvSpPr/>
                  <p:nvPr/>
                </p:nvSpPr>
                <p:spPr>
                  <a:xfrm>
                    <a:off x="7330344"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8" name="Graphic 745">
                  <a:extLst>
                    <a:ext uri="{FF2B5EF4-FFF2-40B4-BE49-F238E27FC236}">
                      <a16:creationId xmlns:a16="http://schemas.microsoft.com/office/drawing/2014/main" id="{C4B09A58-3EA4-BAC1-1FBE-67FC2DE6AD42}"/>
                    </a:ext>
                  </a:extLst>
                </p:cNvPr>
                <p:cNvGrpSpPr/>
                <p:nvPr/>
              </p:nvGrpSpPr>
              <p:grpSpPr>
                <a:xfrm>
                  <a:off x="7009923" y="4185284"/>
                  <a:ext cx="75723" cy="75723"/>
                  <a:chOff x="7009923" y="4185284"/>
                  <a:chExt cx="75723" cy="75723"/>
                </a:xfrm>
              </p:grpSpPr>
              <p:sp>
                <p:nvSpPr>
                  <p:cNvPr id="13802" name="Freeform: Shape 13801">
                    <a:extLst>
                      <a:ext uri="{FF2B5EF4-FFF2-40B4-BE49-F238E27FC236}">
                        <a16:creationId xmlns:a16="http://schemas.microsoft.com/office/drawing/2014/main" id="{FFBABF63-BDAF-6D2F-AB5B-5FDEB5C7550B}"/>
                      </a:ext>
                    </a:extLst>
                  </p:cNvPr>
                  <p:cNvSpPr/>
                  <p:nvPr/>
                </p:nvSpPr>
                <p:spPr>
                  <a:xfrm>
                    <a:off x="7047833"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3" name="Freeform: Shape 13802">
                    <a:extLst>
                      <a:ext uri="{FF2B5EF4-FFF2-40B4-BE49-F238E27FC236}">
                        <a16:creationId xmlns:a16="http://schemas.microsoft.com/office/drawing/2014/main" id="{889FD406-C13E-214F-4D7C-D184A1DB66FB}"/>
                      </a:ext>
                    </a:extLst>
                  </p:cNvPr>
                  <p:cNvSpPr/>
                  <p:nvPr/>
                </p:nvSpPr>
                <p:spPr>
                  <a:xfrm>
                    <a:off x="7009923"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29" name="Graphic 745">
                  <a:extLst>
                    <a:ext uri="{FF2B5EF4-FFF2-40B4-BE49-F238E27FC236}">
                      <a16:creationId xmlns:a16="http://schemas.microsoft.com/office/drawing/2014/main" id="{FBFDC667-87B8-9875-C048-C14F05D5C989}"/>
                    </a:ext>
                  </a:extLst>
                </p:cNvPr>
                <p:cNvGrpSpPr/>
                <p:nvPr/>
              </p:nvGrpSpPr>
              <p:grpSpPr>
                <a:xfrm>
                  <a:off x="7021068" y="4185284"/>
                  <a:ext cx="75628" cy="75723"/>
                  <a:chOff x="7021068" y="4185284"/>
                  <a:chExt cx="75628" cy="75723"/>
                </a:xfrm>
              </p:grpSpPr>
              <p:sp>
                <p:nvSpPr>
                  <p:cNvPr id="13800" name="Freeform: Shape 13799">
                    <a:extLst>
                      <a:ext uri="{FF2B5EF4-FFF2-40B4-BE49-F238E27FC236}">
                        <a16:creationId xmlns:a16="http://schemas.microsoft.com/office/drawing/2014/main" id="{4CA801A3-F64F-7F9C-B020-BE9560854BD3}"/>
                      </a:ext>
                    </a:extLst>
                  </p:cNvPr>
                  <p:cNvSpPr/>
                  <p:nvPr/>
                </p:nvSpPr>
                <p:spPr>
                  <a:xfrm>
                    <a:off x="7058882"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01" name="Freeform: Shape 13800">
                    <a:extLst>
                      <a:ext uri="{FF2B5EF4-FFF2-40B4-BE49-F238E27FC236}">
                        <a16:creationId xmlns:a16="http://schemas.microsoft.com/office/drawing/2014/main" id="{60D23BAE-503E-770F-1F72-E25383C1FB6E}"/>
                      </a:ext>
                    </a:extLst>
                  </p:cNvPr>
                  <p:cNvSpPr/>
                  <p:nvPr/>
                </p:nvSpPr>
                <p:spPr>
                  <a:xfrm>
                    <a:off x="7021068" y="42231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0" name="Graphic 745">
                  <a:extLst>
                    <a:ext uri="{FF2B5EF4-FFF2-40B4-BE49-F238E27FC236}">
                      <a16:creationId xmlns:a16="http://schemas.microsoft.com/office/drawing/2014/main" id="{135CF931-35E2-B1AC-5685-EBF2EAEA9ABF}"/>
                    </a:ext>
                  </a:extLst>
                </p:cNvPr>
                <p:cNvGrpSpPr/>
                <p:nvPr/>
              </p:nvGrpSpPr>
              <p:grpSpPr>
                <a:xfrm>
                  <a:off x="6889051" y="4071937"/>
                  <a:ext cx="75628" cy="75723"/>
                  <a:chOff x="6889051" y="4071937"/>
                  <a:chExt cx="75628" cy="75723"/>
                </a:xfrm>
              </p:grpSpPr>
              <p:sp>
                <p:nvSpPr>
                  <p:cNvPr id="13798" name="Freeform: Shape 13797">
                    <a:extLst>
                      <a:ext uri="{FF2B5EF4-FFF2-40B4-BE49-F238E27FC236}">
                        <a16:creationId xmlns:a16="http://schemas.microsoft.com/office/drawing/2014/main" id="{5A477D2E-A63E-4672-D75C-C317AB74532B}"/>
                      </a:ext>
                    </a:extLst>
                  </p:cNvPr>
                  <p:cNvSpPr/>
                  <p:nvPr/>
                </p:nvSpPr>
                <p:spPr>
                  <a:xfrm>
                    <a:off x="6926865"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9" name="Freeform: Shape 13798">
                    <a:extLst>
                      <a:ext uri="{FF2B5EF4-FFF2-40B4-BE49-F238E27FC236}">
                        <a16:creationId xmlns:a16="http://schemas.microsoft.com/office/drawing/2014/main" id="{EED3A7A0-71F2-97F1-645A-815C5A3F5177}"/>
                      </a:ext>
                    </a:extLst>
                  </p:cNvPr>
                  <p:cNvSpPr/>
                  <p:nvPr/>
                </p:nvSpPr>
                <p:spPr>
                  <a:xfrm>
                    <a:off x="6889051" y="41097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1" name="Graphic 745">
                  <a:extLst>
                    <a:ext uri="{FF2B5EF4-FFF2-40B4-BE49-F238E27FC236}">
                      <a16:creationId xmlns:a16="http://schemas.microsoft.com/office/drawing/2014/main" id="{250B51A5-30DF-DA63-1099-77B197883C60}"/>
                    </a:ext>
                  </a:extLst>
                </p:cNvPr>
                <p:cNvGrpSpPr/>
                <p:nvPr/>
              </p:nvGrpSpPr>
              <p:grpSpPr>
                <a:xfrm>
                  <a:off x="6786372" y="4071937"/>
                  <a:ext cx="75723" cy="75723"/>
                  <a:chOff x="6786372" y="4071937"/>
                  <a:chExt cx="75723" cy="75723"/>
                </a:xfrm>
              </p:grpSpPr>
              <p:sp>
                <p:nvSpPr>
                  <p:cNvPr id="13796" name="Freeform: Shape 13795">
                    <a:extLst>
                      <a:ext uri="{FF2B5EF4-FFF2-40B4-BE49-F238E27FC236}">
                        <a16:creationId xmlns:a16="http://schemas.microsoft.com/office/drawing/2014/main" id="{3CCBE0C6-6AF5-621F-681E-9BEC3B09D92D}"/>
                      </a:ext>
                    </a:extLst>
                  </p:cNvPr>
                  <p:cNvSpPr/>
                  <p:nvPr/>
                </p:nvSpPr>
                <p:spPr>
                  <a:xfrm>
                    <a:off x="6824281"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7" name="Freeform: Shape 13796">
                    <a:extLst>
                      <a:ext uri="{FF2B5EF4-FFF2-40B4-BE49-F238E27FC236}">
                        <a16:creationId xmlns:a16="http://schemas.microsoft.com/office/drawing/2014/main" id="{28E48C24-9403-95FC-12CD-2A391A9C78BD}"/>
                      </a:ext>
                    </a:extLst>
                  </p:cNvPr>
                  <p:cNvSpPr/>
                  <p:nvPr/>
                </p:nvSpPr>
                <p:spPr>
                  <a:xfrm>
                    <a:off x="6786372"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2" name="Graphic 745">
                  <a:extLst>
                    <a:ext uri="{FF2B5EF4-FFF2-40B4-BE49-F238E27FC236}">
                      <a16:creationId xmlns:a16="http://schemas.microsoft.com/office/drawing/2014/main" id="{981AF9D5-ABA1-C052-678B-C3C7DE7C70CA}"/>
                    </a:ext>
                  </a:extLst>
                </p:cNvPr>
                <p:cNvGrpSpPr/>
                <p:nvPr/>
              </p:nvGrpSpPr>
              <p:grpSpPr>
                <a:xfrm>
                  <a:off x="6533864" y="4050886"/>
                  <a:ext cx="75723" cy="75628"/>
                  <a:chOff x="6533864" y="4050886"/>
                  <a:chExt cx="75723" cy="75628"/>
                </a:xfrm>
              </p:grpSpPr>
              <p:sp>
                <p:nvSpPr>
                  <p:cNvPr id="13794" name="Freeform: Shape 13793">
                    <a:extLst>
                      <a:ext uri="{FF2B5EF4-FFF2-40B4-BE49-F238E27FC236}">
                        <a16:creationId xmlns:a16="http://schemas.microsoft.com/office/drawing/2014/main" id="{CCFE859E-78F6-3614-1C19-B50E151C9F48}"/>
                      </a:ext>
                    </a:extLst>
                  </p:cNvPr>
                  <p:cNvSpPr/>
                  <p:nvPr/>
                </p:nvSpPr>
                <p:spPr>
                  <a:xfrm>
                    <a:off x="6571773" y="405088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5" name="Freeform: Shape 13794">
                    <a:extLst>
                      <a:ext uri="{FF2B5EF4-FFF2-40B4-BE49-F238E27FC236}">
                        <a16:creationId xmlns:a16="http://schemas.microsoft.com/office/drawing/2014/main" id="{B4A18277-42EA-A63A-4FCC-9A639E83E32B}"/>
                      </a:ext>
                    </a:extLst>
                  </p:cNvPr>
                  <p:cNvSpPr/>
                  <p:nvPr/>
                </p:nvSpPr>
                <p:spPr>
                  <a:xfrm>
                    <a:off x="6533864" y="40887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3" name="Graphic 745">
                  <a:extLst>
                    <a:ext uri="{FF2B5EF4-FFF2-40B4-BE49-F238E27FC236}">
                      <a16:creationId xmlns:a16="http://schemas.microsoft.com/office/drawing/2014/main" id="{96914E4D-06EE-C9F6-021D-D6459A2B3924}"/>
                    </a:ext>
                  </a:extLst>
                </p:cNvPr>
                <p:cNvGrpSpPr/>
                <p:nvPr/>
              </p:nvGrpSpPr>
              <p:grpSpPr>
                <a:xfrm>
                  <a:off x="6504717" y="4028598"/>
                  <a:ext cx="75723" cy="75723"/>
                  <a:chOff x="6504717" y="4028598"/>
                  <a:chExt cx="75723" cy="75723"/>
                </a:xfrm>
              </p:grpSpPr>
              <p:sp>
                <p:nvSpPr>
                  <p:cNvPr id="13792" name="Freeform: Shape 13791">
                    <a:extLst>
                      <a:ext uri="{FF2B5EF4-FFF2-40B4-BE49-F238E27FC236}">
                        <a16:creationId xmlns:a16="http://schemas.microsoft.com/office/drawing/2014/main" id="{D2AAEF15-2C89-9680-8F61-C922F2EE957A}"/>
                      </a:ext>
                    </a:extLst>
                  </p:cNvPr>
                  <p:cNvSpPr/>
                  <p:nvPr/>
                </p:nvSpPr>
                <p:spPr>
                  <a:xfrm>
                    <a:off x="6542532"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3" name="Freeform: Shape 13792">
                    <a:extLst>
                      <a:ext uri="{FF2B5EF4-FFF2-40B4-BE49-F238E27FC236}">
                        <a16:creationId xmlns:a16="http://schemas.microsoft.com/office/drawing/2014/main" id="{54C8C302-515E-9699-5DDA-7FB3882864AC}"/>
                      </a:ext>
                    </a:extLst>
                  </p:cNvPr>
                  <p:cNvSpPr/>
                  <p:nvPr/>
                </p:nvSpPr>
                <p:spPr>
                  <a:xfrm>
                    <a:off x="6504717"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4" name="Graphic 745">
                  <a:extLst>
                    <a:ext uri="{FF2B5EF4-FFF2-40B4-BE49-F238E27FC236}">
                      <a16:creationId xmlns:a16="http://schemas.microsoft.com/office/drawing/2014/main" id="{10B659C3-EAB9-2A51-3705-DF21EDFE24E6}"/>
                    </a:ext>
                  </a:extLst>
                </p:cNvPr>
                <p:cNvGrpSpPr/>
                <p:nvPr/>
              </p:nvGrpSpPr>
              <p:grpSpPr>
                <a:xfrm>
                  <a:off x="6477952" y="4028598"/>
                  <a:ext cx="75723" cy="75723"/>
                  <a:chOff x="6477952" y="4028598"/>
                  <a:chExt cx="75723" cy="75723"/>
                </a:xfrm>
              </p:grpSpPr>
              <p:sp>
                <p:nvSpPr>
                  <p:cNvPr id="13790" name="Freeform: Shape 13789">
                    <a:extLst>
                      <a:ext uri="{FF2B5EF4-FFF2-40B4-BE49-F238E27FC236}">
                        <a16:creationId xmlns:a16="http://schemas.microsoft.com/office/drawing/2014/main" id="{9A7D3CD7-7207-E495-4ED1-FF8A14718D4B}"/>
                      </a:ext>
                    </a:extLst>
                  </p:cNvPr>
                  <p:cNvSpPr/>
                  <p:nvPr/>
                </p:nvSpPr>
                <p:spPr>
                  <a:xfrm>
                    <a:off x="6515766"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91" name="Freeform: Shape 13790">
                    <a:extLst>
                      <a:ext uri="{FF2B5EF4-FFF2-40B4-BE49-F238E27FC236}">
                        <a16:creationId xmlns:a16="http://schemas.microsoft.com/office/drawing/2014/main" id="{44BA221E-60B2-8DD9-6C67-453F8265E8D1}"/>
                      </a:ext>
                    </a:extLst>
                  </p:cNvPr>
                  <p:cNvSpPr/>
                  <p:nvPr/>
                </p:nvSpPr>
                <p:spPr>
                  <a:xfrm>
                    <a:off x="6477952" y="40665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5" name="Graphic 745">
                  <a:extLst>
                    <a:ext uri="{FF2B5EF4-FFF2-40B4-BE49-F238E27FC236}">
                      <a16:creationId xmlns:a16="http://schemas.microsoft.com/office/drawing/2014/main" id="{A414E45E-6778-679F-82CE-A296839E5E4C}"/>
                    </a:ext>
                  </a:extLst>
                </p:cNvPr>
                <p:cNvGrpSpPr/>
                <p:nvPr/>
              </p:nvGrpSpPr>
              <p:grpSpPr>
                <a:xfrm>
                  <a:off x="6491382" y="4028598"/>
                  <a:ext cx="75628" cy="75723"/>
                  <a:chOff x="6491382" y="4028598"/>
                  <a:chExt cx="75628" cy="75723"/>
                </a:xfrm>
              </p:grpSpPr>
              <p:sp>
                <p:nvSpPr>
                  <p:cNvPr id="13788" name="Freeform: Shape 13787">
                    <a:extLst>
                      <a:ext uri="{FF2B5EF4-FFF2-40B4-BE49-F238E27FC236}">
                        <a16:creationId xmlns:a16="http://schemas.microsoft.com/office/drawing/2014/main" id="{CABC64C7-9E71-BF3D-E67A-D4280116BDCA}"/>
                      </a:ext>
                    </a:extLst>
                  </p:cNvPr>
                  <p:cNvSpPr/>
                  <p:nvPr/>
                </p:nvSpPr>
                <p:spPr>
                  <a:xfrm>
                    <a:off x="6529197" y="40285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9" name="Freeform: Shape 13788">
                    <a:extLst>
                      <a:ext uri="{FF2B5EF4-FFF2-40B4-BE49-F238E27FC236}">
                        <a16:creationId xmlns:a16="http://schemas.microsoft.com/office/drawing/2014/main" id="{CD61D7C5-37A4-47BB-4D0C-A4681BFC8198}"/>
                      </a:ext>
                    </a:extLst>
                  </p:cNvPr>
                  <p:cNvSpPr/>
                  <p:nvPr/>
                </p:nvSpPr>
                <p:spPr>
                  <a:xfrm>
                    <a:off x="6491382" y="40665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6" name="Graphic 745">
                  <a:extLst>
                    <a:ext uri="{FF2B5EF4-FFF2-40B4-BE49-F238E27FC236}">
                      <a16:creationId xmlns:a16="http://schemas.microsoft.com/office/drawing/2014/main" id="{51A9D81E-88BB-3301-5D57-B5036C7A5F13}"/>
                    </a:ext>
                  </a:extLst>
                </p:cNvPr>
                <p:cNvGrpSpPr/>
                <p:nvPr/>
              </p:nvGrpSpPr>
              <p:grpSpPr>
                <a:xfrm>
                  <a:off x="6347460" y="3952969"/>
                  <a:ext cx="75723" cy="75628"/>
                  <a:chOff x="6347460" y="3952969"/>
                  <a:chExt cx="75723" cy="75628"/>
                </a:xfrm>
              </p:grpSpPr>
              <p:sp>
                <p:nvSpPr>
                  <p:cNvPr id="13786" name="Freeform: Shape 13785">
                    <a:extLst>
                      <a:ext uri="{FF2B5EF4-FFF2-40B4-BE49-F238E27FC236}">
                        <a16:creationId xmlns:a16="http://schemas.microsoft.com/office/drawing/2014/main" id="{2D169234-0258-1005-FE4E-957508CE4896}"/>
                      </a:ext>
                    </a:extLst>
                  </p:cNvPr>
                  <p:cNvSpPr/>
                  <p:nvPr/>
                </p:nvSpPr>
                <p:spPr>
                  <a:xfrm>
                    <a:off x="6385274"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7" name="Freeform: Shape 13786">
                    <a:extLst>
                      <a:ext uri="{FF2B5EF4-FFF2-40B4-BE49-F238E27FC236}">
                        <a16:creationId xmlns:a16="http://schemas.microsoft.com/office/drawing/2014/main" id="{372F16AF-3406-1ED1-A303-B3F8C8F21D42}"/>
                      </a:ext>
                    </a:extLst>
                  </p:cNvPr>
                  <p:cNvSpPr/>
                  <p:nvPr/>
                </p:nvSpPr>
                <p:spPr>
                  <a:xfrm>
                    <a:off x="6347460"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7" name="Graphic 745">
                  <a:extLst>
                    <a:ext uri="{FF2B5EF4-FFF2-40B4-BE49-F238E27FC236}">
                      <a16:creationId xmlns:a16="http://schemas.microsoft.com/office/drawing/2014/main" id="{F04127AF-72C1-6622-98A9-A2DDC41C05BF}"/>
                    </a:ext>
                  </a:extLst>
                </p:cNvPr>
                <p:cNvGrpSpPr/>
                <p:nvPr/>
              </p:nvGrpSpPr>
              <p:grpSpPr>
                <a:xfrm>
                  <a:off x="6402228" y="3952969"/>
                  <a:ext cx="75723" cy="75628"/>
                  <a:chOff x="6402228" y="3952969"/>
                  <a:chExt cx="75723" cy="75628"/>
                </a:xfrm>
              </p:grpSpPr>
              <p:sp>
                <p:nvSpPr>
                  <p:cNvPr id="13784" name="Freeform: Shape 13783">
                    <a:extLst>
                      <a:ext uri="{FF2B5EF4-FFF2-40B4-BE49-F238E27FC236}">
                        <a16:creationId xmlns:a16="http://schemas.microsoft.com/office/drawing/2014/main" id="{4DFED8F7-86AF-6408-98A2-62913C2C979A}"/>
                      </a:ext>
                    </a:extLst>
                  </p:cNvPr>
                  <p:cNvSpPr/>
                  <p:nvPr/>
                </p:nvSpPr>
                <p:spPr>
                  <a:xfrm>
                    <a:off x="6440138" y="39529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5" name="Freeform: Shape 13784">
                    <a:extLst>
                      <a:ext uri="{FF2B5EF4-FFF2-40B4-BE49-F238E27FC236}">
                        <a16:creationId xmlns:a16="http://schemas.microsoft.com/office/drawing/2014/main" id="{8CF30B61-3E14-28AC-897D-D0D53D061B7C}"/>
                      </a:ext>
                    </a:extLst>
                  </p:cNvPr>
                  <p:cNvSpPr/>
                  <p:nvPr/>
                </p:nvSpPr>
                <p:spPr>
                  <a:xfrm>
                    <a:off x="6402228" y="39907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8" name="Graphic 745">
                  <a:extLst>
                    <a:ext uri="{FF2B5EF4-FFF2-40B4-BE49-F238E27FC236}">
                      <a16:creationId xmlns:a16="http://schemas.microsoft.com/office/drawing/2014/main" id="{111CF761-D045-C0E0-5341-91B826D2C790}"/>
                    </a:ext>
                  </a:extLst>
                </p:cNvPr>
                <p:cNvGrpSpPr/>
                <p:nvPr/>
              </p:nvGrpSpPr>
              <p:grpSpPr>
                <a:xfrm>
                  <a:off x="6437852" y="3966304"/>
                  <a:ext cx="75723" cy="75723"/>
                  <a:chOff x="6437852" y="3966304"/>
                  <a:chExt cx="75723" cy="75723"/>
                </a:xfrm>
              </p:grpSpPr>
              <p:sp>
                <p:nvSpPr>
                  <p:cNvPr id="13782" name="Freeform: Shape 13781">
                    <a:extLst>
                      <a:ext uri="{FF2B5EF4-FFF2-40B4-BE49-F238E27FC236}">
                        <a16:creationId xmlns:a16="http://schemas.microsoft.com/office/drawing/2014/main" id="{13E7D750-37E5-A6E1-2270-223C8607296B}"/>
                      </a:ext>
                    </a:extLst>
                  </p:cNvPr>
                  <p:cNvSpPr/>
                  <p:nvPr/>
                </p:nvSpPr>
                <p:spPr>
                  <a:xfrm>
                    <a:off x="6475666" y="39663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3" name="Freeform: Shape 13782">
                    <a:extLst>
                      <a:ext uri="{FF2B5EF4-FFF2-40B4-BE49-F238E27FC236}">
                        <a16:creationId xmlns:a16="http://schemas.microsoft.com/office/drawing/2014/main" id="{14ED229A-4480-3999-5F32-03472A9A5850}"/>
                      </a:ext>
                    </a:extLst>
                  </p:cNvPr>
                  <p:cNvSpPr/>
                  <p:nvPr/>
                </p:nvSpPr>
                <p:spPr>
                  <a:xfrm>
                    <a:off x="6437852" y="40041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39" name="Graphic 745">
                  <a:extLst>
                    <a:ext uri="{FF2B5EF4-FFF2-40B4-BE49-F238E27FC236}">
                      <a16:creationId xmlns:a16="http://schemas.microsoft.com/office/drawing/2014/main" id="{E376E588-5973-8A28-F113-D7D0D68497E6}"/>
                    </a:ext>
                  </a:extLst>
                </p:cNvPr>
                <p:cNvGrpSpPr/>
                <p:nvPr/>
              </p:nvGrpSpPr>
              <p:grpSpPr>
                <a:xfrm>
                  <a:off x="6461379" y="3976877"/>
                  <a:ext cx="75628" cy="75628"/>
                  <a:chOff x="6461379" y="3976877"/>
                  <a:chExt cx="75628" cy="75628"/>
                </a:xfrm>
              </p:grpSpPr>
              <p:sp>
                <p:nvSpPr>
                  <p:cNvPr id="13780" name="Freeform: Shape 13779">
                    <a:extLst>
                      <a:ext uri="{FF2B5EF4-FFF2-40B4-BE49-F238E27FC236}">
                        <a16:creationId xmlns:a16="http://schemas.microsoft.com/office/drawing/2014/main" id="{3826BC5F-DC47-8DEB-7330-C4AF45AC167D}"/>
                      </a:ext>
                    </a:extLst>
                  </p:cNvPr>
                  <p:cNvSpPr/>
                  <p:nvPr/>
                </p:nvSpPr>
                <p:spPr>
                  <a:xfrm>
                    <a:off x="6499193" y="39768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81" name="Freeform: Shape 13780">
                    <a:extLst>
                      <a:ext uri="{FF2B5EF4-FFF2-40B4-BE49-F238E27FC236}">
                        <a16:creationId xmlns:a16="http://schemas.microsoft.com/office/drawing/2014/main" id="{B42B1437-5823-0183-E5D2-17E5FB6FC725}"/>
                      </a:ext>
                    </a:extLst>
                  </p:cNvPr>
                  <p:cNvSpPr/>
                  <p:nvPr/>
                </p:nvSpPr>
                <p:spPr>
                  <a:xfrm>
                    <a:off x="6461379" y="40146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0" name="Graphic 745">
                  <a:extLst>
                    <a:ext uri="{FF2B5EF4-FFF2-40B4-BE49-F238E27FC236}">
                      <a16:creationId xmlns:a16="http://schemas.microsoft.com/office/drawing/2014/main" id="{EF3C230E-7A5B-14CA-6D71-6A23FCBAD268}"/>
                    </a:ext>
                  </a:extLst>
                </p:cNvPr>
                <p:cNvGrpSpPr/>
                <p:nvPr/>
              </p:nvGrpSpPr>
              <p:grpSpPr>
                <a:xfrm>
                  <a:off x="6475666" y="3986974"/>
                  <a:ext cx="75723" cy="75723"/>
                  <a:chOff x="6475666" y="3986974"/>
                  <a:chExt cx="75723" cy="75723"/>
                </a:xfrm>
              </p:grpSpPr>
              <p:sp>
                <p:nvSpPr>
                  <p:cNvPr id="13778" name="Freeform: Shape 13777">
                    <a:extLst>
                      <a:ext uri="{FF2B5EF4-FFF2-40B4-BE49-F238E27FC236}">
                        <a16:creationId xmlns:a16="http://schemas.microsoft.com/office/drawing/2014/main" id="{41BB0DA5-7C1C-E641-132E-594DE7BAD5E7}"/>
                      </a:ext>
                    </a:extLst>
                  </p:cNvPr>
                  <p:cNvSpPr/>
                  <p:nvPr/>
                </p:nvSpPr>
                <p:spPr>
                  <a:xfrm>
                    <a:off x="6513576" y="398697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9" name="Freeform: Shape 13778">
                    <a:extLst>
                      <a:ext uri="{FF2B5EF4-FFF2-40B4-BE49-F238E27FC236}">
                        <a16:creationId xmlns:a16="http://schemas.microsoft.com/office/drawing/2014/main" id="{4170726E-06AD-F5BC-808E-6A80729CC25F}"/>
                      </a:ext>
                    </a:extLst>
                  </p:cNvPr>
                  <p:cNvSpPr/>
                  <p:nvPr/>
                </p:nvSpPr>
                <p:spPr>
                  <a:xfrm>
                    <a:off x="6475666" y="40247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1" name="Graphic 745">
                  <a:extLst>
                    <a:ext uri="{FF2B5EF4-FFF2-40B4-BE49-F238E27FC236}">
                      <a16:creationId xmlns:a16="http://schemas.microsoft.com/office/drawing/2014/main" id="{EBA0F709-1272-9133-02E4-BF6E6044618F}"/>
                    </a:ext>
                  </a:extLst>
                </p:cNvPr>
                <p:cNvGrpSpPr/>
                <p:nvPr/>
              </p:nvGrpSpPr>
              <p:grpSpPr>
                <a:xfrm>
                  <a:off x="6229540" y="3936301"/>
                  <a:ext cx="75628" cy="75723"/>
                  <a:chOff x="6229540" y="3936301"/>
                  <a:chExt cx="75628" cy="75723"/>
                </a:xfrm>
              </p:grpSpPr>
              <p:sp>
                <p:nvSpPr>
                  <p:cNvPr id="13776" name="Freeform: Shape 13775">
                    <a:extLst>
                      <a:ext uri="{FF2B5EF4-FFF2-40B4-BE49-F238E27FC236}">
                        <a16:creationId xmlns:a16="http://schemas.microsoft.com/office/drawing/2014/main" id="{195DA45A-1F80-1E50-7F9C-329BD6C24654}"/>
                      </a:ext>
                    </a:extLst>
                  </p:cNvPr>
                  <p:cNvSpPr/>
                  <p:nvPr/>
                </p:nvSpPr>
                <p:spPr>
                  <a:xfrm>
                    <a:off x="6267354" y="393630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7" name="Freeform: Shape 13776">
                    <a:extLst>
                      <a:ext uri="{FF2B5EF4-FFF2-40B4-BE49-F238E27FC236}">
                        <a16:creationId xmlns:a16="http://schemas.microsoft.com/office/drawing/2014/main" id="{D085FC9C-4AC7-D1E9-44DE-51C5A905329F}"/>
                      </a:ext>
                    </a:extLst>
                  </p:cNvPr>
                  <p:cNvSpPr/>
                  <p:nvPr/>
                </p:nvSpPr>
                <p:spPr>
                  <a:xfrm>
                    <a:off x="6229540" y="397411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2" name="Graphic 745">
                  <a:extLst>
                    <a:ext uri="{FF2B5EF4-FFF2-40B4-BE49-F238E27FC236}">
                      <a16:creationId xmlns:a16="http://schemas.microsoft.com/office/drawing/2014/main" id="{42B2B186-C447-B9DC-5383-606B5F086FE5}"/>
                    </a:ext>
                  </a:extLst>
                </p:cNvPr>
                <p:cNvGrpSpPr/>
                <p:nvPr/>
              </p:nvGrpSpPr>
              <p:grpSpPr>
                <a:xfrm>
                  <a:off x="5918644" y="3830478"/>
                  <a:ext cx="75628" cy="75723"/>
                  <a:chOff x="5918644" y="3830478"/>
                  <a:chExt cx="75628" cy="75723"/>
                </a:xfrm>
              </p:grpSpPr>
              <p:sp>
                <p:nvSpPr>
                  <p:cNvPr id="13774" name="Freeform: Shape 13773">
                    <a:extLst>
                      <a:ext uri="{FF2B5EF4-FFF2-40B4-BE49-F238E27FC236}">
                        <a16:creationId xmlns:a16="http://schemas.microsoft.com/office/drawing/2014/main" id="{0282C728-2A48-136B-F540-927179AAC0AC}"/>
                      </a:ext>
                    </a:extLst>
                  </p:cNvPr>
                  <p:cNvSpPr/>
                  <p:nvPr/>
                </p:nvSpPr>
                <p:spPr>
                  <a:xfrm>
                    <a:off x="5956458" y="3830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5" name="Freeform: Shape 13774">
                    <a:extLst>
                      <a:ext uri="{FF2B5EF4-FFF2-40B4-BE49-F238E27FC236}">
                        <a16:creationId xmlns:a16="http://schemas.microsoft.com/office/drawing/2014/main" id="{9FF14C91-CBA3-EF69-414E-46BE79A334AE}"/>
                      </a:ext>
                    </a:extLst>
                  </p:cNvPr>
                  <p:cNvSpPr/>
                  <p:nvPr/>
                </p:nvSpPr>
                <p:spPr>
                  <a:xfrm>
                    <a:off x="5918644" y="3868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3" name="Graphic 745">
                  <a:extLst>
                    <a:ext uri="{FF2B5EF4-FFF2-40B4-BE49-F238E27FC236}">
                      <a16:creationId xmlns:a16="http://schemas.microsoft.com/office/drawing/2014/main" id="{0AFE57E8-510F-6922-94F0-2D7B89481344}"/>
                    </a:ext>
                  </a:extLst>
                </p:cNvPr>
                <p:cNvGrpSpPr/>
                <p:nvPr/>
              </p:nvGrpSpPr>
              <p:grpSpPr>
                <a:xfrm>
                  <a:off x="5699379" y="3807427"/>
                  <a:ext cx="75628" cy="75723"/>
                  <a:chOff x="5699379" y="3807427"/>
                  <a:chExt cx="75628" cy="75723"/>
                </a:xfrm>
              </p:grpSpPr>
              <p:sp>
                <p:nvSpPr>
                  <p:cNvPr id="13772" name="Freeform: Shape 13771">
                    <a:extLst>
                      <a:ext uri="{FF2B5EF4-FFF2-40B4-BE49-F238E27FC236}">
                        <a16:creationId xmlns:a16="http://schemas.microsoft.com/office/drawing/2014/main" id="{0951F275-45FD-75E3-6C8B-3654158009EF}"/>
                      </a:ext>
                    </a:extLst>
                  </p:cNvPr>
                  <p:cNvSpPr/>
                  <p:nvPr/>
                </p:nvSpPr>
                <p:spPr>
                  <a:xfrm>
                    <a:off x="5737193" y="3807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3" name="Freeform: Shape 13772">
                    <a:extLst>
                      <a:ext uri="{FF2B5EF4-FFF2-40B4-BE49-F238E27FC236}">
                        <a16:creationId xmlns:a16="http://schemas.microsoft.com/office/drawing/2014/main" id="{6757826B-1636-CFF2-2683-A87B288E5B66}"/>
                      </a:ext>
                    </a:extLst>
                  </p:cNvPr>
                  <p:cNvSpPr/>
                  <p:nvPr/>
                </p:nvSpPr>
                <p:spPr>
                  <a:xfrm>
                    <a:off x="5699379" y="38452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4" name="Graphic 745">
                  <a:extLst>
                    <a:ext uri="{FF2B5EF4-FFF2-40B4-BE49-F238E27FC236}">
                      <a16:creationId xmlns:a16="http://schemas.microsoft.com/office/drawing/2014/main" id="{4429CE95-957F-24B9-8DEA-F34473782DEF}"/>
                    </a:ext>
                  </a:extLst>
                </p:cNvPr>
                <p:cNvGrpSpPr/>
                <p:nvPr/>
              </p:nvGrpSpPr>
              <p:grpSpPr>
                <a:xfrm>
                  <a:off x="5574125" y="3710177"/>
                  <a:ext cx="75628" cy="75628"/>
                  <a:chOff x="5574125" y="3710177"/>
                  <a:chExt cx="75628" cy="75628"/>
                </a:xfrm>
              </p:grpSpPr>
              <p:sp>
                <p:nvSpPr>
                  <p:cNvPr id="13770" name="Freeform: Shape 13769">
                    <a:extLst>
                      <a:ext uri="{FF2B5EF4-FFF2-40B4-BE49-F238E27FC236}">
                        <a16:creationId xmlns:a16="http://schemas.microsoft.com/office/drawing/2014/main" id="{31CEA31E-FAF2-A8E4-355F-FF6937E74FE8}"/>
                      </a:ext>
                    </a:extLst>
                  </p:cNvPr>
                  <p:cNvSpPr/>
                  <p:nvPr/>
                </p:nvSpPr>
                <p:spPr>
                  <a:xfrm>
                    <a:off x="5611939" y="371017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71" name="Freeform: Shape 13770">
                    <a:extLst>
                      <a:ext uri="{FF2B5EF4-FFF2-40B4-BE49-F238E27FC236}">
                        <a16:creationId xmlns:a16="http://schemas.microsoft.com/office/drawing/2014/main" id="{018C54F0-59E4-B9C0-1C8D-804F1D491DF9}"/>
                      </a:ext>
                    </a:extLst>
                  </p:cNvPr>
                  <p:cNvSpPr/>
                  <p:nvPr/>
                </p:nvSpPr>
                <p:spPr>
                  <a:xfrm>
                    <a:off x="5574125" y="37479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5" name="Graphic 745">
                  <a:extLst>
                    <a:ext uri="{FF2B5EF4-FFF2-40B4-BE49-F238E27FC236}">
                      <a16:creationId xmlns:a16="http://schemas.microsoft.com/office/drawing/2014/main" id="{C25E1577-BF76-E4BB-7DF2-2FF8FDAFDC03}"/>
                    </a:ext>
                  </a:extLst>
                </p:cNvPr>
                <p:cNvGrpSpPr/>
                <p:nvPr/>
              </p:nvGrpSpPr>
              <p:grpSpPr>
                <a:xfrm>
                  <a:off x="5244941" y="3624643"/>
                  <a:ext cx="75723" cy="75628"/>
                  <a:chOff x="5244941" y="3624643"/>
                  <a:chExt cx="75723" cy="75628"/>
                </a:xfrm>
              </p:grpSpPr>
              <p:sp>
                <p:nvSpPr>
                  <p:cNvPr id="13768" name="Freeform: Shape 13767">
                    <a:extLst>
                      <a:ext uri="{FF2B5EF4-FFF2-40B4-BE49-F238E27FC236}">
                        <a16:creationId xmlns:a16="http://schemas.microsoft.com/office/drawing/2014/main" id="{0C731084-4B79-C2F7-02BD-846EB741AF64}"/>
                      </a:ext>
                    </a:extLst>
                  </p:cNvPr>
                  <p:cNvSpPr/>
                  <p:nvPr/>
                </p:nvSpPr>
                <p:spPr>
                  <a:xfrm>
                    <a:off x="5282850"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9" name="Freeform: Shape 13768">
                    <a:extLst>
                      <a:ext uri="{FF2B5EF4-FFF2-40B4-BE49-F238E27FC236}">
                        <a16:creationId xmlns:a16="http://schemas.microsoft.com/office/drawing/2014/main" id="{E82965FC-677A-81C7-E3D8-D52CD9E87F79}"/>
                      </a:ext>
                    </a:extLst>
                  </p:cNvPr>
                  <p:cNvSpPr/>
                  <p:nvPr/>
                </p:nvSpPr>
                <p:spPr>
                  <a:xfrm>
                    <a:off x="5244941" y="36624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6" name="Graphic 745">
                  <a:extLst>
                    <a:ext uri="{FF2B5EF4-FFF2-40B4-BE49-F238E27FC236}">
                      <a16:creationId xmlns:a16="http://schemas.microsoft.com/office/drawing/2014/main" id="{04800658-F3D5-D4AE-4FA0-D36F2D44C65F}"/>
                    </a:ext>
                  </a:extLst>
                </p:cNvPr>
                <p:cNvGrpSpPr/>
                <p:nvPr/>
              </p:nvGrpSpPr>
              <p:grpSpPr>
                <a:xfrm>
                  <a:off x="5150929" y="3447097"/>
                  <a:ext cx="75723" cy="75723"/>
                  <a:chOff x="5150929" y="3447097"/>
                  <a:chExt cx="75723" cy="75723"/>
                </a:xfrm>
              </p:grpSpPr>
              <p:sp>
                <p:nvSpPr>
                  <p:cNvPr id="13766" name="Freeform: Shape 13765">
                    <a:extLst>
                      <a:ext uri="{FF2B5EF4-FFF2-40B4-BE49-F238E27FC236}">
                        <a16:creationId xmlns:a16="http://schemas.microsoft.com/office/drawing/2014/main" id="{DF2047AA-B835-DB62-3721-3D7CAEBDF174}"/>
                      </a:ext>
                    </a:extLst>
                  </p:cNvPr>
                  <p:cNvSpPr/>
                  <p:nvPr/>
                </p:nvSpPr>
                <p:spPr>
                  <a:xfrm>
                    <a:off x="5188839" y="34470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7" name="Freeform: Shape 13766">
                    <a:extLst>
                      <a:ext uri="{FF2B5EF4-FFF2-40B4-BE49-F238E27FC236}">
                        <a16:creationId xmlns:a16="http://schemas.microsoft.com/office/drawing/2014/main" id="{B761AA5C-E08C-1E5A-477C-43340BFF75DA}"/>
                      </a:ext>
                    </a:extLst>
                  </p:cNvPr>
                  <p:cNvSpPr/>
                  <p:nvPr/>
                </p:nvSpPr>
                <p:spPr>
                  <a:xfrm>
                    <a:off x="5150929" y="34849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7" name="Graphic 745">
                  <a:extLst>
                    <a:ext uri="{FF2B5EF4-FFF2-40B4-BE49-F238E27FC236}">
                      <a16:creationId xmlns:a16="http://schemas.microsoft.com/office/drawing/2014/main" id="{31E9563F-CCCE-28DC-46EB-95BDEC6AF36A}"/>
                    </a:ext>
                  </a:extLst>
                </p:cNvPr>
                <p:cNvGrpSpPr/>
                <p:nvPr/>
              </p:nvGrpSpPr>
              <p:grpSpPr>
                <a:xfrm>
                  <a:off x="4796694" y="3325081"/>
                  <a:ext cx="75723" cy="75723"/>
                  <a:chOff x="4796694" y="3325081"/>
                  <a:chExt cx="75723" cy="75723"/>
                </a:xfrm>
              </p:grpSpPr>
              <p:sp>
                <p:nvSpPr>
                  <p:cNvPr id="13764" name="Freeform: Shape 13763">
                    <a:extLst>
                      <a:ext uri="{FF2B5EF4-FFF2-40B4-BE49-F238E27FC236}">
                        <a16:creationId xmlns:a16="http://schemas.microsoft.com/office/drawing/2014/main" id="{26DB3F7A-6A43-3479-561C-6841D72BEC4F}"/>
                      </a:ext>
                    </a:extLst>
                  </p:cNvPr>
                  <p:cNvSpPr/>
                  <p:nvPr/>
                </p:nvSpPr>
                <p:spPr>
                  <a:xfrm>
                    <a:off x="4834509" y="33250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5" name="Freeform: Shape 13764">
                    <a:extLst>
                      <a:ext uri="{FF2B5EF4-FFF2-40B4-BE49-F238E27FC236}">
                        <a16:creationId xmlns:a16="http://schemas.microsoft.com/office/drawing/2014/main" id="{AB1BF6F1-236D-7662-F9B2-56B290336794}"/>
                      </a:ext>
                    </a:extLst>
                  </p:cNvPr>
                  <p:cNvSpPr/>
                  <p:nvPr/>
                </p:nvSpPr>
                <p:spPr>
                  <a:xfrm>
                    <a:off x="4796694" y="33628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8" name="Graphic 745">
                  <a:extLst>
                    <a:ext uri="{FF2B5EF4-FFF2-40B4-BE49-F238E27FC236}">
                      <a16:creationId xmlns:a16="http://schemas.microsoft.com/office/drawing/2014/main" id="{F00E695F-9F72-2C7C-72A0-38230C9D3ABE}"/>
                    </a:ext>
                  </a:extLst>
                </p:cNvPr>
                <p:cNvGrpSpPr/>
                <p:nvPr/>
              </p:nvGrpSpPr>
              <p:grpSpPr>
                <a:xfrm>
                  <a:off x="4718494" y="3173920"/>
                  <a:ext cx="75628" cy="75628"/>
                  <a:chOff x="4718494" y="3173920"/>
                  <a:chExt cx="75628" cy="75628"/>
                </a:xfrm>
              </p:grpSpPr>
              <p:sp>
                <p:nvSpPr>
                  <p:cNvPr id="13762" name="Freeform: Shape 13761">
                    <a:extLst>
                      <a:ext uri="{FF2B5EF4-FFF2-40B4-BE49-F238E27FC236}">
                        <a16:creationId xmlns:a16="http://schemas.microsoft.com/office/drawing/2014/main" id="{89AB60CB-CB80-4129-317E-A55D729CD6D6}"/>
                      </a:ext>
                    </a:extLst>
                  </p:cNvPr>
                  <p:cNvSpPr/>
                  <p:nvPr/>
                </p:nvSpPr>
                <p:spPr>
                  <a:xfrm>
                    <a:off x="4756308" y="31739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3" name="Freeform: Shape 13762">
                    <a:extLst>
                      <a:ext uri="{FF2B5EF4-FFF2-40B4-BE49-F238E27FC236}">
                        <a16:creationId xmlns:a16="http://schemas.microsoft.com/office/drawing/2014/main" id="{1A096629-04E1-8265-B414-0E4F19AA38F1}"/>
                      </a:ext>
                    </a:extLst>
                  </p:cNvPr>
                  <p:cNvSpPr/>
                  <p:nvPr/>
                </p:nvSpPr>
                <p:spPr>
                  <a:xfrm>
                    <a:off x="4718494" y="32117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49" name="Graphic 745">
                  <a:extLst>
                    <a:ext uri="{FF2B5EF4-FFF2-40B4-BE49-F238E27FC236}">
                      <a16:creationId xmlns:a16="http://schemas.microsoft.com/office/drawing/2014/main" id="{B17757C1-9DD9-4DBF-8C3E-25A53EDBD158}"/>
                    </a:ext>
                  </a:extLst>
                </p:cNvPr>
                <p:cNvGrpSpPr/>
                <p:nvPr/>
              </p:nvGrpSpPr>
              <p:grpSpPr>
                <a:xfrm>
                  <a:off x="4527994" y="3072955"/>
                  <a:ext cx="75628" cy="75723"/>
                  <a:chOff x="4527994" y="3072955"/>
                  <a:chExt cx="75628" cy="75723"/>
                </a:xfrm>
              </p:grpSpPr>
              <p:sp>
                <p:nvSpPr>
                  <p:cNvPr id="13760" name="Freeform: Shape 13759">
                    <a:extLst>
                      <a:ext uri="{FF2B5EF4-FFF2-40B4-BE49-F238E27FC236}">
                        <a16:creationId xmlns:a16="http://schemas.microsoft.com/office/drawing/2014/main" id="{4164EF23-34E3-BB31-BB4F-E70ABA4C22B1}"/>
                      </a:ext>
                    </a:extLst>
                  </p:cNvPr>
                  <p:cNvSpPr/>
                  <p:nvPr/>
                </p:nvSpPr>
                <p:spPr>
                  <a:xfrm>
                    <a:off x="4565808" y="3072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61" name="Freeform: Shape 13760">
                    <a:extLst>
                      <a:ext uri="{FF2B5EF4-FFF2-40B4-BE49-F238E27FC236}">
                        <a16:creationId xmlns:a16="http://schemas.microsoft.com/office/drawing/2014/main" id="{48893211-C655-63A1-66E0-293416FC39B9}"/>
                      </a:ext>
                    </a:extLst>
                  </p:cNvPr>
                  <p:cNvSpPr/>
                  <p:nvPr/>
                </p:nvSpPr>
                <p:spPr>
                  <a:xfrm>
                    <a:off x="4527994" y="31108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0" name="Graphic 745">
                  <a:extLst>
                    <a:ext uri="{FF2B5EF4-FFF2-40B4-BE49-F238E27FC236}">
                      <a16:creationId xmlns:a16="http://schemas.microsoft.com/office/drawing/2014/main" id="{723B48DA-32C0-2601-79EF-8B42544F3D04}"/>
                    </a:ext>
                  </a:extLst>
                </p:cNvPr>
                <p:cNvGrpSpPr/>
                <p:nvPr/>
              </p:nvGrpSpPr>
              <p:grpSpPr>
                <a:xfrm>
                  <a:off x="4457414" y="3047809"/>
                  <a:ext cx="75723" cy="75723"/>
                  <a:chOff x="4457414" y="3047809"/>
                  <a:chExt cx="75723" cy="75723"/>
                </a:xfrm>
              </p:grpSpPr>
              <p:sp>
                <p:nvSpPr>
                  <p:cNvPr id="13758" name="Freeform: Shape 13757">
                    <a:extLst>
                      <a:ext uri="{FF2B5EF4-FFF2-40B4-BE49-F238E27FC236}">
                        <a16:creationId xmlns:a16="http://schemas.microsoft.com/office/drawing/2014/main" id="{419A4D49-0C32-0D5B-5A9E-A228B4F85DB9}"/>
                      </a:ext>
                    </a:extLst>
                  </p:cNvPr>
                  <p:cNvSpPr/>
                  <p:nvPr/>
                </p:nvSpPr>
                <p:spPr>
                  <a:xfrm>
                    <a:off x="4495323" y="30478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9" name="Freeform: Shape 13758">
                    <a:extLst>
                      <a:ext uri="{FF2B5EF4-FFF2-40B4-BE49-F238E27FC236}">
                        <a16:creationId xmlns:a16="http://schemas.microsoft.com/office/drawing/2014/main" id="{605003F8-180C-24E6-7D8E-7ADB536F4349}"/>
                      </a:ext>
                    </a:extLst>
                  </p:cNvPr>
                  <p:cNvSpPr/>
                  <p:nvPr/>
                </p:nvSpPr>
                <p:spPr>
                  <a:xfrm>
                    <a:off x="4457414" y="30857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1" name="Graphic 745">
                  <a:extLst>
                    <a:ext uri="{FF2B5EF4-FFF2-40B4-BE49-F238E27FC236}">
                      <a16:creationId xmlns:a16="http://schemas.microsoft.com/office/drawing/2014/main" id="{5DDA11C5-E91E-EB9A-B139-63DD2DCB4057}"/>
                    </a:ext>
                  </a:extLst>
                </p:cNvPr>
                <p:cNvGrpSpPr/>
                <p:nvPr/>
              </p:nvGrpSpPr>
              <p:grpSpPr>
                <a:xfrm>
                  <a:off x="4358925" y="3014471"/>
                  <a:ext cx="75723" cy="75723"/>
                  <a:chOff x="4358925" y="3014471"/>
                  <a:chExt cx="75723" cy="75723"/>
                </a:xfrm>
              </p:grpSpPr>
              <p:sp>
                <p:nvSpPr>
                  <p:cNvPr id="13756" name="Freeform: Shape 13755">
                    <a:extLst>
                      <a:ext uri="{FF2B5EF4-FFF2-40B4-BE49-F238E27FC236}">
                        <a16:creationId xmlns:a16="http://schemas.microsoft.com/office/drawing/2014/main" id="{D1B54999-5B6A-400F-451E-BB13ADAE1787}"/>
                      </a:ext>
                    </a:extLst>
                  </p:cNvPr>
                  <p:cNvSpPr/>
                  <p:nvPr/>
                </p:nvSpPr>
                <p:spPr>
                  <a:xfrm>
                    <a:off x="4396835" y="3014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7" name="Freeform: Shape 13756">
                    <a:extLst>
                      <a:ext uri="{FF2B5EF4-FFF2-40B4-BE49-F238E27FC236}">
                        <a16:creationId xmlns:a16="http://schemas.microsoft.com/office/drawing/2014/main" id="{573A8DC9-65A7-2221-B7A6-C5CEA6B5D5F1}"/>
                      </a:ext>
                    </a:extLst>
                  </p:cNvPr>
                  <p:cNvSpPr/>
                  <p:nvPr/>
                </p:nvSpPr>
                <p:spPr>
                  <a:xfrm>
                    <a:off x="4358925" y="30522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2" name="Graphic 745">
                  <a:extLst>
                    <a:ext uri="{FF2B5EF4-FFF2-40B4-BE49-F238E27FC236}">
                      <a16:creationId xmlns:a16="http://schemas.microsoft.com/office/drawing/2014/main" id="{CD330DFA-0BB4-27CC-A57C-5E0150DB2B7C}"/>
                    </a:ext>
                  </a:extLst>
                </p:cNvPr>
                <p:cNvGrpSpPr/>
                <p:nvPr/>
              </p:nvGrpSpPr>
              <p:grpSpPr>
                <a:xfrm>
                  <a:off x="4350448" y="3001898"/>
                  <a:ext cx="75723" cy="75723"/>
                  <a:chOff x="4350448" y="3001898"/>
                  <a:chExt cx="75723" cy="75723"/>
                </a:xfrm>
              </p:grpSpPr>
              <p:sp>
                <p:nvSpPr>
                  <p:cNvPr id="13754" name="Freeform: Shape 13753">
                    <a:extLst>
                      <a:ext uri="{FF2B5EF4-FFF2-40B4-BE49-F238E27FC236}">
                        <a16:creationId xmlns:a16="http://schemas.microsoft.com/office/drawing/2014/main" id="{B0D74ACF-D663-351A-3460-7259BE3834DE}"/>
                      </a:ext>
                    </a:extLst>
                  </p:cNvPr>
                  <p:cNvSpPr/>
                  <p:nvPr/>
                </p:nvSpPr>
                <p:spPr>
                  <a:xfrm>
                    <a:off x="4388262" y="3001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5" name="Freeform: Shape 13754">
                    <a:extLst>
                      <a:ext uri="{FF2B5EF4-FFF2-40B4-BE49-F238E27FC236}">
                        <a16:creationId xmlns:a16="http://schemas.microsoft.com/office/drawing/2014/main" id="{55687CCB-D745-201E-BA96-242012B47C87}"/>
                      </a:ext>
                    </a:extLst>
                  </p:cNvPr>
                  <p:cNvSpPr/>
                  <p:nvPr/>
                </p:nvSpPr>
                <p:spPr>
                  <a:xfrm>
                    <a:off x="4350448" y="3039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3" name="Graphic 745">
                  <a:extLst>
                    <a:ext uri="{FF2B5EF4-FFF2-40B4-BE49-F238E27FC236}">
                      <a16:creationId xmlns:a16="http://schemas.microsoft.com/office/drawing/2014/main" id="{04FB5057-ED83-1130-A2F8-05BE23039E5B}"/>
                    </a:ext>
                  </a:extLst>
                </p:cNvPr>
                <p:cNvGrpSpPr/>
                <p:nvPr/>
              </p:nvGrpSpPr>
              <p:grpSpPr>
                <a:xfrm>
                  <a:off x="4301775" y="2881883"/>
                  <a:ext cx="75723" cy="75723"/>
                  <a:chOff x="4301775" y="2881883"/>
                  <a:chExt cx="75723" cy="75723"/>
                </a:xfrm>
              </p:grpSpPr>
              <p:sp>
                <p:nvSpPr>
                  <p:cNvPr id="13752" name="Freeform: Shape 13751">
                    <a:extLst>
                      <a:ext uri="{FF2B5EF4-FFF2-40B4-BE49-F238E27FC236}">
                        <a16:creationId xmlns:a16="http://schemas.microsoft.com/office/drawing/2014/main" id="{9977A8F8-EEF8-714A-23C3-77DAFFCE2DFA}"/>
                      </a:ext>
                    </a:extLst>
                  </p:cNvPr>
                  <p:cNvSpPr/>
                  <p:nvPr/>
                </p:nvSpPr>
                <p:spPr>
                  <a:xfrm>
                    <a:off x="4339685" y="2881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3" name="Freeform: Shape 13752">
                    <a:extLst>
                      <a:ext uri="{FF2B5EF4-FFF2-40B4-BE49-F238E27FC236}">
                        <a16:creationId xmlns:a16="http://schemas.microsoft.com/office/drawing/2014/main" id="{833B2E33-329C-9A93-D74F-1A944881D181}"/>
                      </a:ext>
                    </a:extLst>
                  </p:cNvPr>
                  <p:cNvSpPr/>
                  <p:nvPr/>
                </p:nvSpPr>
                <p:spPr>
                  <a:xfrm>
                    <a:off x="4301775" y="29197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4" name="Graphic 745">
                  <a:extLst>
                    <a:ext uri="{FF2B5EF4-FFF2-40B4-BE49-F238E27FC236}">
                      <a16:creationId xmlns:a16="http://schemas.microsoft.com/office/drawing/2014/main" id="{D38661A5-3ADF-7F72-E4DB-19BFBE9EF5FC}"/>
                    </a:ext>
                  </a:extLst>
                </p:cNvPr>
                <p:cNvGrpSpPr/>
                <p:nvPr/>
              </p:nvGrpSpPr>
              <p:grpSpPr>
                <a:xfrm>
                  <a:off x="3954018" y="2741485"/>
                  <a:ext cx="75723" cy="75723"/>
                  <a:chOff x="3954018" y="2741485"/>
                  <a:chExt cx="75723" cy="75723"/>
                </a:xfrm>
              </p:grpSpPr>
              <p:sp>
                <p:nvSpPr>
                  <p:cNvPr id="13750" name="Freeform: Shape 13749">
                    <a:extLst>
                      <a:ext uri="{FF2B5EF4-FFF2-40B4-BE49-F238E27FC236}">
                        <a16:creationId xmlns:a16="http://schemas.microsoft.com/office/drawing/2014/main" id="{E98001F4-F0D9-067A-9802-2BB98582BC9B}"/>
                      </a:ext>
                    </a:extLst>
                  </p:cNvPr>
                  <p:cNvSpPr/>
                  <p:nvPr/>
                </p:nvSpPr>
                <p:spPr>
                  <a:xfrm>
                    <a:off x="3991927"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51" name="Freeform: Shape 13750">
                    <a:extLst>
                      <a:ext uri="{FF2B5EF4-FFF2-40B4-BE49-F238E27FC236}">
                        <a16:creationId xmlns:a16="http://schemas.microsoft.com/office/drawing/2014/main" id="{38C3DFE9-886F-A696-E76D-706EDBF2BA12}"/>
                      </a:ext>
                    </a:extLst>
                  </p:cNvPr>
                  <p:cNvSpPr/>
                  <p:nvPr/>
                </p:nvSpPr>
                <p:spPr>
                  <a:xfrm>
                    <a:off x="3954018" y="27792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5" name="Graphic 745">
                  <a:extLst>
                    <a:ext uri="{FF2B5EF4-FFF2-40B4-BE49-F238E27FC236}">
                      <a16:creationId xmlns:a16="http://schemas.microsoft.com/office/drawing/2014/main" id="{7399C6BD-C948-80AC-C0FB-B7C4DBA47236}"/>
                    </a:ext>
                  </a:extLst>
                </p:cNvPr>
                <p:cNvGrpSpPr/>
                <p:nvPr/>
              </p:nvGrpSpPr>
              <p:grpSpPr>
                <a:xfrm>
                  <a:off x="3935825" y="2741485"/>
                  <a:ext cx="75628" cy="75723"/>
                  <a:chOff x="3935825" y="2741485"/>
                  <a:chExt cx="75628" cy="75723"/>
                </a:xfrm>
              </p:grpSpPr>
              <p:sp>
                <p:nvSpPr>
                  <p:cNvPr id="13748" name="Freeform: Shape 13747">
                    <a:extLst>
                      <a:ext uri="{FF2B5EF4-FFF2-40B4-BE49-F238E27FC236}">
                        <a16:creationId xmlns:a16="http://schemas.microsoft.com/office/drawing/2014/main" id="{AE8957A4-77AD-47C9-C6A3-CD44648D00D4}"/>
                      </a:ext>
                    </a:extLst>
                  </p:cNvPr>
                  <p:cNvSpPr/>
                  <p:nvPr/>
                </p:nvSpPr>
                <p:spPr>
                  <a:xfrm>
                    <a:off x="3973639" y="2741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9" name="Freeform: Shape 13748">
                    <a:extLst>
                      <a:ext uri="{FF2B5EF4-FFF2-40B4-BE49-F238E27FC236}">
                        <a16:creationId xmlns:a16="http://schemas.microsoft.com/office/drawing/2014/main" id="{C8F0DB23-692F-364D-EB84-8AE03A39CA4B}"/>
                      </a:ext>
                    </a:extLst>
                  </p:cNvPr>
                  <p:cNvSpPr/>
                  <p:nvPr/>
                </p:nvSpPr>
                <p:spPr>
                  <a:xfrm>
                    <a:off x="3935825" y="27792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6" name="Graphic 745">
                  <a:extLst>
                    <a:ext uri="{FF2B5EF4-FFF2-40B4-BE49-F238E27FC236}">
                      <a16:creationId xmlns:a16="http://schemas.microsoft.com/office/drawing/2014/main" id="{1EE0781C-C4A5-F707-1FE1-067A16DE5C37}"/>
                    </a:ext>
                  </a:extLst>
                </p:cNvPr>
                <p:cNvGrpSpPr/>
                <p:nvPr/>
              </p:nvGrpSpPr>
              <p:grpSpPr>
                <a:xfrm>
                  <a:off x="3916203" y="2706623"/>
                  <a:ext cx="75723" cy="75723"/>
                  <a:chOff x="3916203" y="2706623"/>
                  <a:chExt cx="75723" cy="75723"/>
                </a:xfrm>
              </p:grpSpPr>
              <p:sp>
                <p:nvSpPr>
                  <p:cNvPr id="13746" name="Freeform: Shape 13745">
                    <a:extLst>
                      <a:ext uri="{FF2B5EF4-FFF2-40B4-BE49-F238E27FC236}">
                        <a16:creationId xmlns:a16="http://schemas.microsoft.com/office/drawing/2014/main" id="{72C37FD6-0E90-85A0-F071-F3FA880E7E9F}"/>
                      </a:ext>
                    </a:extLst>
                  </p:cNvPr>
                  <p:cNvSpPr/>
                  <p:nvPr/>
                </p:nvSpPr>
                <p:spPr>
                  <a:xfrm>
                    <a:off x="3954018"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7" name="Freeform: Shape 13746">
                    <a:extLst>
                      <a:ext uri="{FF2B5EF4-FFF2-40B4-BE49-F238E27FC236}">
                        <a16:creationId xmlns:a16="http://schemas.microsoft.com/office/drawing/2014/main" id="{D833959F-C7A5-9B10-8990-BDD705A1FD2C}"/>
                      </a:ext>
                    </a:extLst>
                  </p:cNvPr>
                  <p:cNvSpPr/>
                  <p:nvPr/>
                </p:nvSpPr>
                <p:spPr>
                  <a:xfrm>
                    <a:off x="3916203"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7" name="Graphic 745">
                  <a:extLst>
                    <a:ext uri="{FF2B5EF4-FFF2-40B4-BE49-F238E27FC236}">
                      <a16:creationId xmlns:a16="http://schemas.microsoft.com/office/drawing/2014/main" id="{55F9D6D0-D0D5-6397-B906-8673BADC87CC}"/>
                    </a:ext>
                  </a:extLst>
                </p:cNvPr>
                <p:cNvGrpSpPr/>
                <p:nvPr/>
              </p:nvGrpSpPr>
              <p:grpSpPr>
                <a:xfrm>
                  <a:off x="3916203" y="2733293"/>
                  <a:ext cx="75723" cy="75723"/>
                  <a:chOff x="3916203" y="2733293"/>
                  <a:chExt cx="75723" cy="75723"/>
                </a:xfrm>
              </p:grpSpPr>
              <p:sp>
                <p:nvSpPr>
                  <p:cNvPr id="13744" name="Freeform: Shape 13743">
                    <a:extLst>
                      <a:ext uri="{FF2B5EF4-FFF2-40B4-BE49-F238E27FC236}">
                        <a16:creationId xmlns:a16="http://schemas.microsoft.com/office/drawing/2014/main" id="{E580E5CB-339E-8CC2-DAD7-6D3E1E478EE3}"/>
                      </a:ext>
                    </a:extLst>
                  </p:cNvPr>
                  <p:cNvSpPr/>
                  <p:nvPr/>
                </p:nvSpPr>
                <p:spPr>
                  <a:xfrm>
                    <a:off x="3954018" y="2733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5" name="Freeform: Shape 13744">
                    <a:extLst>
                      <a:ext uri="{FF2B5EF4-FFF2-40B4-BE49-F238E27FC236}">
                        <a16:creationId xmlns:a16="http://schemas.microsoft.com/office/drawing/2014/main" id="{1B58FB86-9AD4-B6BA-D4C7-F8EAD5BEFFDA}"/>
                      </a:ext>
                    </a:extLst>
                  </p:cNvPr>
                  <p:cNvSpPr/>
                  <p:nvPr/>
                </p:nvSpPr>
                <p:spPr>
                  <a:xfrm>
                    <a:off x="3916203" y="2771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8" name="Graphic 745">
                  <a:extLst>
                    <a:ext uri="{FF2B5EF4-FFF2-40B4-BE49-F238E27FC236}">
                      <a16:creationId xmlns:a16="http://schemas.microsoft.com/office/drawing/2014/main" id="{E6551E57-0B49-86E9-B3C3-4A3A5AAFE417}"/>
                    </a:ext>
                  </a:extLst>
                </p:cNvPr>
                <p:cNvGrpSpPr/>
                <p:nvPr/>
              </p:nvGrpSpPr>
              <p:grpSpPr>
                <a:xfrm>
                  <a:off x="3486150" y="2509837"/>
                  <a:ext cx="75723" cy="75723"/>
                  <a:chOff x="3486150" y="2509837"/>
                  <a:chExt cx="75723" cy="75723"/>
                </a:xfrm>
              </p:grpSpPr>
              <p:sp>
                <p:nvSpPr>
                  <p:cNvPr id="13742" name="Freeform: Shape 13741">
                    <a:extLst>
                      <a:ext uri="{FF2B5EF4-FFF2-40B4-BE49-F238E27FC236}">
                        <a16:creationId xmlns:a16="http://schemas.microsoft.com/office/drawing/2014/main" id="{2C2F9AFA-9884-67B6-4434-055A478FC98B}"/>
                      </a:ext>
                    </a:extLst>
                  </p:cNvPr>
                  <p:cNvSpPr/>
                  <p:nvPr/>
                </p:nvSpPr>
                <p:spPr>
                  <a:xfrm>
                    <a:off x="3523964" y="25098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3" name="Freeform: Shape 13742">
                    <a:extLst>
                      <a:ext uri="{FF2B5EF4-FFF2-40B4-BE49-F238E27FC236}">
                        <a16:creationId xmlns:a16="http://schemas.microsoft.com/office/drawing/2014/main" id="{D17E3B9A-9101-7F13-CF35-FA8B686E7F3C}"/>
                      </a:ext>
                    </a:extLst>
                  </p:cNvPr>
                  <p:cNvSpPr/>
                  <p:nvPr/>
                </p:nvSpPr>
                <p:spPr>
                  <a:xfrm>
                    <a:off x="3486150" y="25476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59" name="Graphic 745">
                  <a:extLst>
                    <a:ext uri="{FF2B5EF4-FFF2-40B4-BE49-F238E27FC236}">
                      <a16:creationId xmlns:a16="http://schemas.microsoft.com/office/drawing/2014/main" id="{16BE5B8D-54E3-FA41-54D6-6E6F2978425F}"/>
                    </a:ext>
                  </a:extLst>
                </p:cNvPr>
                <p:cNvGrpSpPr/>
                <p:nvPr/>
              </p:nvGrpSpPr>
              <p:grpSpPr>
                <a:xfrm>
                  <a:off x="4306633" y="2894932"/>
                  <a:ext cx="75723" cy="75628"/>
                  <a:chOff x="4306633" y="2894932"/>
                  <a:chExt cx="75723" cy="75628"/>
                </a:xfrm>
              </p:grpSpPr>
              <p:sp>
                <p:nvSpPr>
                  <p:cNvPr id="13740" name="Freeform: Shape 13739">
                    <a:extLst>
                      <a:ext uri="{FF2B5EF4-FFF2-40B4-BE49-F238E27FC236}">
                        <a16:creationId xmlns:a16="http://schemas.microsoft.com/office/drawing/2014/main" id="{1778719D-F7A9-6914-937B-12C968B272AE}"/>
                      </a:ext>
                    </a:extLst>
                  </p:cNvPr>
                  <p:cNvSpPr/>
                  <p:nvPr/>
                </p:nvSpPr>
                <p:spPr>
                  <a:xfrm>
                    <a:off x="4344543" y="289493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41" name="Freeform: Shape 13740">
                    <a:extLst>
                      <a:ext uri="{FF2B5EF4-FFF2-40B4-BE49-F238E27FC236}">
                        <a16:creationId xmlns:a16="http://schemas.microsoft.com/office/drawing/2014/main" id="{9A645DDF-E415-D13C-584D-617E0FA524E3}"/>
                      </a:ext>
                    </a:extLst>
                  </p:cNvPr>
                  <p:cNvSpPr/>
                  <p:nvPr/>
                </p:nvSpPr>
                <p:spPr>
                  <a:xfrm>
                    <a:off x="4306633" y="29327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0" name="Graphic 745">
                  <a:extLst>
                    <a:ext uri="{FF2B5EF4-FFF2-40B4-BE49-F238E27FC236}">
                      <a16:creationId xmlns:a16="http://schemas.microsoft.com/office/drawing/2014/main" id="{8049043F-ECEF-6AB6-F908-84CDCFE3F35D}"/>
                    </a:ext>
                  </a:extLst>
                </p:cNvPr>
                <p:cNvGrpSpPr/>
                <p:nvPr/>
              </p:nvGrpSpPr>
              <p:grpSpPr>
                <a:xfrm>
                  <a:off x="4312634" y="2905410"/>
                  <a:ext cx="75628" cy="75723"/>
                  <a:chOff x="4312634" y="2905410"/>
                  <a:chExt cx="75628" cy="75723"/>
                </a:xfrm>
              </p:grpSpPr>
              <p:sp>
                <p:nvSpPr>
                  <p:cNvPr id="13738" name="Freeform: Shape 13737">
                    <a:extLst>
                      <a:ext uri="{FF2B5EF4-FFF2-40B4-BE49-F238E27FC236}">
                        <a16:creationId xmlns:a16="http://schemas.microsoft.com/office/drawing/2014/main" id="{B402E1FA-0C63-097B-736C-8A44894FF583}"/>
                      </a:ext>
                    </a:extLst>
                  </p:cNvPr>
                  <p:cNvSpPr/>
                  <p:nvPr/>
                </p:nvSpPr>
                <p:spPr>
                  <a:xfrm>
                    <a:off x="4350448" y="29054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9" name="Freeform: Shape 13738">
                    <a:extLst>
                      <a:ext uri="{FF2B5EF4-FFF2-40B4-BE49-F238E27FC236}">
                        <a16:creationId xmlns:a16="http://schemas.microsoft.com/office/drawing/2014/main" id="{D7BD0545-4AF3-2EC4-5649-1F790E95E584}"/>
                      </a:ext>
                    </a:extLst>
                  </p:cNvPr>
                  <p:cNvSpPr/>
                  <p:nvPr/>
                </p:nvSpPr>
                <p:spPr>
                  <a:xfrm>
                    <a:off x="4312634" y="29433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1" name="Graphic 745">
                  <a:extLst>
                    <a:ext uri="{FF2B5EF4-FFF2-40B4-BE49-F238E27FC236}">
                      <a16:creationId xmlns:a16="http://schemas.microsoft.com/office/drawing/2014/main" id="{BC7E74DA-D638-90AA-6366-55EA636F41E4}"/>
                    </a:ext>
                  </a:extLst>
                </p:cNvPr>
                <p:cNvGrpSpPr/>
                <p:nvPr/>
              </p:nvGrpSpPr>
              <p:grpSpPr>
                <a:xfrm>
                  <a:off x="4321111" y="2915602"/>
                  <a:ext cx="75723" cy="75628"/>
                  <a:chOff x="4321111" y="2915602"/>
                  <a:chExt cx="75723" cy="75628"/>
                </a:xfrm>
              </p:grpSpPr>
              <p:sp>
                <p:nvSpPr>
                  <p:cNvPr id="13736" name="Freeform: Shape 13735">
                    <a:extLst>
                      <a:ext uri="{FF2B5EF4-FFF2-40B4-BE49-F238E27FC236}">
                        <a16:creationId xmlns:a16="http://schemas.microsoft.com/office/drawing/2014/main" id="{4646388C-BDDC-77D9-F752-419722593D7C}"/>
                      </a:ext>
                    </a:extLst>
                  </p:cNvPr>
                  <p:cNvSpPr/>
                  <p:nvPr/>
                </p:nvSpPr>
                <p:spPr>
                  <a:xfrm>
                    <a:off x="4358925"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7" name="Freeform: Shape 13736">
                    <a:extLst>
                      <a:ext uri="{FF2B5EF4-FFF2-40B4-BE49-F238E27FC236}">
                        <a16:creationId xmlns:a16="http://schemas.microsoft.com/office/drawing/2014/main" id="{6E5F16D1-8643-BB2D-1E6F-D96004EEE430}"/>
                      </a:ext>
                    </a:extLst>
                  </p:cNvPr>
                  <p:cNvSpPr/>
                  <p:nvPr/>
                </p:nvSpPr>
                <p:spPr>
                  <a:xfrm>
                    <a:off x="4321111" y="29534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2" name="Graphic 745">
                  <a:extLst>
                    <a:ext uri="{FF2B5EF4-FFF2-40B4-BE49-F238E27FC236}">
                      <a16:creationId xmlns:a16="http://schemas.microsoft.com/office/drawing/2014/main" id="{A61D8A93-A7C5-C2F2-B648-397A9FBC09C5}"/>
                    </a:ext>
                  </a:extLst>
                </p:cNvPr>
                <p:cNvGrpSpPr/>
                <p:nvPr/>
              </p:nvGrpSpPr>
              <p:grpSpPr>
                <a:xfrm>
                  <a:off x="4334256" y="2915602"/>
                  <a:ext cx="75628" cy="75628"/>
                  <a:chOff x="4334256" y="2915602"/>
                  <a:chExt cx="75628" cy="75628"/>
                </a:xfrm>
              </p:grpSpPr>
              <p:sp>
                <p:nvSpPr>
                  <p:cNvPr id="13734" name="Freeform: Shape 13733">
                    <a:extLst>
                      <a:ext uri="{FF2B5EF4-FFF2-40B4-BE49-F238E27FC236}">
                        <a16:creationId xmlns:a16="http://schemas.microsoft.com/office/drawing/2014/main" id="{0532DCB5-F48C-CAF4-B506-BB5E0247CE1B}"/>
                      </a:ext>
                    </a:extLst>
                  </p:cNvPr>
                  <p:cNvSpPr/>
                  <p:nvPr/>
                </p:nvSpPr>
                <p:spPr>
                  <a:xfrm>
                    <a:off x="4372070" y="29156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5" name="Freeform: Shape 13734">
                    <a:extLst>
                      <a:ext uri="{FF2B5EF4-FFF2-40B4-BE49-F238E27FC236}">
                        <a16:creationId xmlns:a16="http://schemas.microsoft.com/office/drawing/2014/main" id="{AA4C8810-8E97-0013-8011-2D8686816A3C}"/>
                      </a:ext>
                    </a:extLst>
                  </p:cNvPr>
                  <p:cNvSpPr/>
                  <p:nvPr/>
                </p:nvSpPr>
                <p:spPr>
                  <a:xfrm>
                    <a:off x="4334256" y="29534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3" name="Graphic 745">
                  <a:extLst>
                    <a:ext uri="{FF2B5EF4-FFF2-40B4-BE49-F238E27FC236}">
                      <a16:creationId xmlns:a16="http://schemas.microsoft.com/office/drawing/2014/main" id="{0C28D28F-AFB8-A25A-6F52-EAF41D8AA8BC}"/>
                    </a:ext>
                  </a:extLst>
                </p:cNvPr>
                <p:cNvGrpSpPr/>
                <p:nvPr/>
              </p:nvGrpSpPr>
              <p:grpSpPr>
                <a:xfrm>
                  <a:off x="4344543" y="2966656"/>
                  <a:ext cx="75628" cy="75628"/>
                  <a:chOff x="4344543" y="2966656"/>
                  <a:chExt cx="75628" cy="75628"/>
                </a:xfrm>
              </p:grpSpPr>
              <p:sp>
                <p:nvSpPr>
                  <p:cNvPr id="13732" name="Freeform: Shape 13731">
                    <a:extLst>
                      <a:ext uri="{FF2B5EF4-FFF2-40B4-BE49-F238E27FC236}">
                        <a16:creationId xmlns:a16="http://schemas.microsoft.com/office/drawing/2014/main" id="{3533A772-0A30-12F1-008E-4A40B96C87C9}"/>
                      </a:ext>
                    </a:extLst>
                  </p:cNvPr>
                  <p:cNvSpPr/>
                  <p:nvPr/>
                </p:nvSpPr>
                <p:spPr>
                  <a:xfrm>
                    <a:off x="4382357" y="29666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3" name="Freeform: Shape 13732">
                    <a:extLst>
                      <a:ext uri="{FF2B5EF4-FFF2-40B4-BE49-F238E27FC236}">
                        <a16:creationId xmlns:a16="http://schemas.microsoft.com/office/drawing/2014/main" id="{B508726A-EBA6-E8F4-D342-62CB629926ED}"/>
                      </a:ext>
                    </a:extLst>
                  </p:cNvPr>
                  <p:cNvSpPr/>
                  <p:nvPr/>
                </p:nvSpPr>
                <p:spPr>
                  <a:xfrm>
                    <a:off x="4344543" y="30044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4" name="Graphic 745">
                  <a:extLst>
                    <a:ext uri="{FF2B5EF4-FFF2-40B4-BE49-F238E27FC236}">
                      <a16:creationId xmlns:a16="http://schemas.microsoft.com/office/drawing/2014/main" id="{B397EBE9-608E-79BE-2A35-D7475447EC57}"/>
                    </a:ext>
                  </a:extLst>
                </p:cNvPr>
                <p:cNvGrpSpPr/>
                <p:nvPr/>
              </p:nvGrpSpPr>
              <p:grpSpPr>
                <a:xfrm>
                  <a:off x="4344543" y="2981134"/>
                  <a:ext cx="75628" cy="75723"/>
                  <a:chOff x="4344543" y="2981134"/>
                  <a:chExt cx="75628" cy="75723"/>
                </a:xfrm>
              </p:grpSpPr>
              <p:sp>
                <p:nvSpPr>
                  <p:cNvPr id="13730" name="Freeform: Shape 13729">
                    <a:extLst>
                      <a:ext uri="{FF2B5EF4-FFF2-40B4-BE49-F238E27FC236}">
                        <a16:creationId xmlns:a16="http://schemas.microsoft.com/office/drawing/2014/main" id="{71FAE196-322A-5814-60B3-B48FC28EE247}"/>
                      </a:ext>
                    </a:extLst>
                  </p:cNvPr>
                  <p:cNvSpPr/>
                  <p:nvPr/>
                </p:nvSpPr>
                <p:spPr>
                  <a:xfrm>
                    <a:off x="4382357" y="298113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31" name="Freeform: Shape 13730">
                    <a:extLst>
                      <a:ext uri="{FF2B5EF4-FFF2-40B4-BE49-F238E27FC236}">
                        <a16:creationId xmlns:a16="http://schemas.microsoft.com/office/drawing/2014/main" id="{1CD091D9-4632-5675-A20B-A3E07EBDE76C}"/>
                      </a:ext>
                    </a:extLst>
                  </p:cNvPr>
                  <p:cNvSpPr/>
                  <p:nvPr/>
                </p:nvSpPr>
                <p:spPr>
                  <a:xfrm>
                    <a:off x="4344543" y="30189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5" name="Graphic 745">
                  <a:extLst>
                    <a:ext uri="{FF2B5EF4-FFF2-40B4-BE49-F238E27FC236}">
                      <a16:creationId xmlns:a16="http://schemas.microsoft.com/office/drawing/2014/main" id="{3F100D1D-4518-5551-2615-37B9D50F8C96}"/>
                    </a:ext>
                  </a:extLst>
                </p:cNvPr>
                <p:cNvGrpSpPr/>
                <p:nvPr/>
              </p:nvGrpSpPr>
              <p:grpSpPr>
                <a:xfrm>
                  <a:off x="4350448" y="3006375"/>
                  <a:ext cx="75723" cy="75723"/>
                  <a:chOff x="4350448" y="3006375"/>
                  <a:chExt cx="75723" cy="75723"/>
                </a:xfrm>
              </p:grpSpPr>
              <p:sp>
                <p:nvSpPr>
                  <p:cNvPr id="13728" name="Freeform: Shape 13727">
                    <a:extLst>
                      <a:ext uri="{FF2B5EF4-FFF2-40B4-BE49-F238E27FC236}">
                        <a16:creationId xmlns:a16="http://schemas.microsoft.com/office/drawing/2014/main" id="{F63006D2-0D4A-44B0-1D3D-27729911A4D1}"/>
                      </a:ext>
                    </a:extLst>
                  </p:cNvPr>
                  <p:cNvSpPr/>
                  <p:nvPr/>
                </p:nvSpPr>
                <p:spPr>
                  <a:xfrm>
                    <a:off x="4388262" y="3006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9" name="Freeform: Shape 13728">
                    <a:extLst>
                      <a:ext uri="{FF2B5EF4-FFF2-40B4-BE49-F238E27FC236}">
                        <a16:creationId xmlns:a16="http://schemas.microsoft.com/office/drawing/2014/main" id="{02617E0B-05EB-9B91-54D8-2F83BE2701E7}"/>
                      </a:ext>
                    </a:extLst>
                  </p:cNvPr>
                  <p:cNvSpPr/>
                  <p:nvPr/>
                </p:nvSpPr>
                <p:spPr>
                  <a:xfrm>
                    <a:off x="4350448" y="30442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6" name="Graphic 745">
                  <a:extLst>
                    <a:ext uri="{FF2B5EF4-FFF2-40B4-BE49-F238E27FC236}">
                      <a16:creationId xmlns:a16="http://schemas.microsoft.com/office/drawing/2014/main" id="{3BCB4879-EBEA-A342-B140-48548429ABD9}"/>
                    </a:ext>
                  </a:extLst>
                </p:cNvPr>
                <p:cNvGrpSpPr/>
                <p:nvPr/>
              </p:nvGrpSpPr>
              <p:grpSpPr>
                <a:xfrm>
                  <a:off x="4727829" y="3184397"/>
                  <a:ext cx="75628" cy="75723"/>
                  <a:chOff x="4727829" y="3184397"/>
                  <a:chExt cx="75628" cy="75723"/>
                </a:xfrm>
              </p:grpSpPr>
              <p:sp>
                <p:nvSpPr>
                  <p:cNvPr id="13726" name="Freeform: Shape 13725">
                    <a:extLst>
                      <a:ext uri="{FF2B5EF4-FFF2-40B4-BE49-F238E27FC236}">
                        <a16:creationId xmlns:a16="http://schemas.microsoft.com/office/drawing/2014/main" id="{391DDC59-2D24-E213-6A50-35E98558B4FB}"/>
                      </a:ext>
                    </a:extLst>
                  </p:cNvPr>
                  <p:cNvSpPr/>
                  <p:nvPr/>
                </p:nvSpPr>
                <p:spPr>
                  <a:xfrm>
                    <a:off x="4765643" y="31843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7" name="Freeform: Shape 13726">
                    <a:extLst>
                      <a:ext uri="{FF2B5EF4-FFF2-40B4-BE49-F238E27FC236}">
                        <a16:creationId xmlns:a16="http://schemas.microsoft.com/office/drawing/2014/main" id="{63432D0D-39A2-3ED7-D997-6072048A814F}"/>
                      </a:ext>
                    </a:extLst>
                  </p:cNvPr>
                  <p:cNvSpPr/>
                  <p:nvPr/>
                </p:nvSpPr>
                <p:spPr>
                  <a:xfrm>
                    <a:off x="4727829" y="322230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7" name="Graphic 745">
                  <a:extLst>
                    <a:ext uri="{FF2B5EF4-FFF2-40B4-BE49-F238E27FC236}">
                      <a16:creationId xmlns:a16="http://schemas.microsoft.com/office/drawing/2014/main" id="{37366C61-C1E8-755A-D9FA-59B98CF06B11}"/>
                    </a:ext>
                  </a:extLst>
                </p:cNvPr>
                <p:cNvGrpSpPr/>
                <p:nvPr/>
              </p:nvGrpSpPr>
              <p:grpSpPr>
                <a:xfrm>
                  <a:off x="4736973" y="3189350"/>
                  <a:ext cx="75723" cy="75628"/>
                  <a:chOff x="4736973" y="3189350"/>
                  <a:chExt cx="75723" cy="75628"/>
                </a:xfrm>
              </p:grpSpPr>
              <p:sp>
                <p:nvSpPr>
                  <p:cNvPr id="13724" name="Freeform: Shape 13723">
                    <a:extLst>
                      <a:ext uri="{FF2B5EF4-FFF2-40B4-BE49-F238E27FC236}">
                        <a16:creationId xmlns:a16="http://schemas.microsoft.com/office/drawing/2014/main" id="{22B86DC9-CC80-5250-98E1-1D2AA676A3E9}"/>
                      </a:ext>
                    </a:extLst>
                  </p:cNvPr>
                  <p:cNvSpPr/>
                  <p:nvPr/>
                </p:nvSpPr>
                <p:spPr>
                  <a:xfrm>
                    <a:off x="4774787" y="318935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5" name="Freeform: Shape 13724">
                    <a:extLst>
                      <a:ext uri="{FF2B5EF4-FFF2-40B4-BE49-F238E27FC236}">
                        <a16:creationId xmlns:a16="http://schemas.microsoft.com/office/drawing/2014/main" id="{3ADCDB00-BED4-5BCF-57C1-A2114FF06450}"/>
                      </a:ext>
                    </a:extLst>
                  </p:cNvPr>
                  <p:cNvSpPr/>
                  <p:nvPr/>
                </p:nvSpPr>
                <p:spPr>
                  <a:xfrm>
                    <a:off x="4736973" y="32271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8" name="Graphic 745">
                  <a:extLst>
                    <a:ext uri="{FF2B5EF4-FFF2-40B4-BE49-F238E27FC236}">
                      <a16:creationId xmlns:a16="http://schemas.microsoft.com/office/drawing/2014/main" id="{36C1CFF0-08E8-A6A0-72C0-140A70EBAD56}"/>
                    </a:ext>
                  </a:extLst>
                </p:cNvPr>
                <p:cNvGrpSpPr/>
                <p:nvPr/>
              </p:nvGrpSpPr>
              <p:grpSpPr>
                <a:xfrm>
                  <a:off x="4749165" y="3206305"/>
                  <a:ext cx="75628" cy="75723"/>
                  <a:chOff x="4749165" y="3206305"/>
                  <a:chExt cx="75628" cy="75723"/>
                </a:xfrm>
              </p:grpSpPr>
              <p:sp>
                <p:nvSpPr>
                  <p:cNvPr id="13722" name="Freeform: Shape 13721">
                    <a:extLst>
                      <a:ext uri="{FF2B5EF4-FFF2-40B4-BE49-F238E27FC236}">
                        <a16:creationId xmlns:a16="http://schemas.microsoft.com/office/drawing/2014/main" id="{9F32CB30-CCBB-5221-5248-CE874CC877EF}"/>
                      </a:ext>
                    </a:extLst>
                  </p:cNvPr>
                  <p:cNvSpPr/>
                  <p:nvPr/>
                </p:nvSpPr>
                <p:spPr>
                  <a:xfrm>
                    <a:off x="4786979" y="3206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3" name="Freeform: Shape 13722">
                    <a:extLst>
                      <a:ext uri="{FF2B5EF4-FFF2-40B4-BE49-F238E27FC236}">
                        <a16:creationId xmlns:a16="http://schemas.microsoft.com/office/drawing/2014/main" id="{C0963447-8549-016B-6080-6DAF7652AD92}"/>
                      </a:ext>
                    </a:extLst>
                  </p:cNvPr>
                  <p:cNvSpPr/>
                  <p:nvPr/>
                </p:nvSpPr>
                <p:spPr>
                  <a:xfrm>
                    <a:off x="4749165" y="32442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69" name="Graphic 745">
                  <a:extLst>
                    <a:ext uri="{FF2B5EF4-FFF2-40B4-BE49-F238E27FC236}">
                      <a16:creationId xmlns:a16="http://schemas.microsoft.com/office/drawing/2014/main" id="{4D2BA7CC-0A43-364D-F7AF-121F9E23ED34}"/>
                    </a:ext>
                  </a:extLst>
                </p:cNvPr>
                <p:cNvGrpSpPr/>
                <p:nvPr/>
              </p:nvGrpSpPr>
              <p:grpSpPr>
                <a:xfrm>
                  <a:off x="4756308" y="3216496"/>
                  <a:ext cx="75723" cy="75628"/>
                  <a:chOff x="4756308" y="3216496"/>
                  <a:chExt cx="75723" cy="75628"/>
                </a:xfrm>
              </p:grpSpPr>
              <p:sp>
                <p:nvSpPr>
                  <p:cNvPr id="13720" name="Freeform: Shape 13719">
                    <a:extLst>
                      <a:ext uri="{FF2B5EF4-FFF2-40B4-BE49-F238E27FC236}">
                        <a16:creationId xmlns:a16="http://schemas.microsoft.com/office/drawing/2014/main" id="{4F92AFA0-98FA-7008-57F6-D1EBCD5FD9BF}"/>
                      </a:ext>
                    </a:extLst>
                  </p:cNvPr>
                  <p:cNvSpPr/>
                  <p:nvPr/>
                </p:nvSpPr>
                <p:spPr>
                  <a:xfrm>
                    <a:off x="4794123" y="321649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21" name="Freeform: Shape 13720">
                    <a:extLst>
                      <a:ext uri="{FF2B5EF4-FFF2-40B4-BE49-F238E27FC236}">
                        <a16:creationId xmlns:a16="http://schemas.microsoft.com/office/drawing/2014/main" id="{CFB04C86-351B-25B8-3B36-B6285F6D9BBE}"/>
                      </a:ext>
                    </a:extLst>
                  </p:cNvPr>
                  <p:cNvSpPr/>
                  <p:nvPr/>
                </p:nvSpPr>
                <p:spPr>
                  <a:xfrm>
                    <a:off x="4756308" y="32543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0" name="Graphic 745">
                  <a:extLst>
                    <a:ext uri="{FF2B5EF4-FFF2-40B4-BE49-F238E27FC236}">
                      <a16:creationId xmlns:a16="http://schemas.microsoft.com/office/drawing/2014/main" id="{E67DDC0D-CEE3-13D1-93B1-D7A21F7F283F}"/>
                    </a:ext>
                  </a:extLst>
                </p:cNvPr>
                <p:cNvGrpSpPr/>
                <p:nvPr/>
              </p:nvGrpSpPr>
              <p:grpSpPr>
                <a:xfrm>
                  <a:off x="4758880" y="3238785"/>
                  <a:ext cx="75628" cy="75628"/>
                  <a:chOff x="4758880" y="3238785"/>
                  <a:chExt cx="75628" cy="75628"/>
                </a:xfrm>
              </p:grpSpPr>
              <p:sp>
                <p:nvSpPr>
                  <p:cNvPr id="13718" name="Freeform: Shape 13717">
                    <a:extLst>
                      <a:ext uri="{FF2B5EF4-FFF2-40B4-BE49-F238E27FC236}">
                        <a16:creationId xmlns:a16="http://schemas.microsoft.com/office/drawing/2014/main" id="{47670AEF-C5EF-290F-465B-34E8DC5AFCFA}"/>
                      </a:ext>
                    </a:extLst>
                  </p:cNvPr>
                  <p:cNvSpPr/>
                  <p:nvPr/>
                </p:nvSpPr>
                <p:spPr>
                  <a:xfrm>
                    <a:off x="4796694" y="3238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9" name="Freeform: Shape 13718">
                    <a:extLst>
                      <a:ext uri="{FF2B5EF4-FFF2-40B4-BE49-F238E27FC236}">
                        <a16:creationId xmlns:a16="http://schemas.microsoft.com/office/drawing/2014/main" id="{EF83FB49-AFFF-7AF4-676A-2151FFE81A2A}"/>
                      </a:ext>
                    </a:extLst>
                  </p:cNvPr>
                  <p:cNvSpPr/>
                  <p:nvPr/>
                </p:nvSpPr>
                <p:spPr>
                  <a:xfrm>
                    <a:off x="4758880" y="3276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1" name="Graphic 745">
                  <a:extLst>
                    <a:ext uri="{FF2B5EF4-FFF2-40B4-BE49-F238E27FC236}">
                      <a16:creationId xmlns:a16="http://schemas.microsoft.com/office/drawing/2014/main" id="{A6ED0249-61F9-AEE2-D2F3-6A09EA1D2921}"/>
                    </a:ext>
                  </a:extLst>
                </p:cNvPr>
                <p:cNvGrpSpPr/>
                <p:nvPr/>
              </p:nvGrpSpPr>
              <p:grpSpPr>
                <a:xfrm>
                  <a:off x="4765643" y="3249548"/>
                  <a:ext cx="75723" cy="75723"/>
                  <a:chOff x="4765643" y="3249548"/>
                  <a:chExt cx="75723" cy="75723"/>
                </a:xfrm>
              </p:grpSpPr>
              <p:sp>
                <p:nvSpPr>
                  <p:cNvPr id="13716" name="Freeform: Shape 13715">
                    <a:extLst>
                      <a:ext uri="{FF2B5EF4-FFF2-40B4-BE49-F238E27FC236}">
                        <a16:creationId xmlns:a16="http://schemas.microsoft.com/office/drawing/2014/main" id="{DF94029A-22A0-7D8B-B856-163F49BE2522}"/>
                      </a:ext>
                    </a:extLst>
                  </p:cNvPr>
                  <p:cNvSpPr/>
                  <p:nvPr/>
                </p:nvSpPr>
                <p:spPr>
                  <a:xfrm>
                    <a:off x="4803457" y="32495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7" name="Freeform: Shape 13716">
                    <a:extLst>
                      <a:ext uri="{FF2B5EF4-FFF2-40B4-BE49-F238E27FC236}">
                        <a16:creationId xmlns:a16="http://schemas.microsoft.com/office/drawing/2014/main" id="{1AA7D320-CF9D-AD22-9883-77543BA4E3BA}"/>
                      </a:ext>
                    </a:extLst>
                  </p:cNvPr>
                  <p:cNvSpPr/>
                  <p:nvPr/>
                </p:nvSpPr>
                <p:spPr>
                  <a:xfrm>
                    <a:off x="4765643" y="32874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2" name="Graphic 745">
                  <a:extLst>
                    <a:ext uri="{FF2B5EF4-FFF2-40B4-BE49-F238E27FC236}">
                      <a16:creationId xmlns:a16="http://schemas.microsoft.com/office/drawing/2014/main" id="{1FF4C695-B0D2-0652-7EBE-F470CED350DE}"/>
                    </a:ext>
                  </a:extLst>
                </p:cNvPr>
                <p:cNvGrpSpPr/>
                <p:nvPr/>
              </p:nvGrpSpPr>
              <p:grpSpPr>
                <a:xfrm>
                  <a:off x="4768881" y="3267169"/>
                  <a:ext cx="75723" cy="75628"/>
                  <a:chOff x="4768881" y="3267169"/>
                  <a:chExt cx="75723" cy="75628"/>
                </a:xfrm>
              </p:grpSpPr>
              <p:sp>
                <p:nvSpPr>
                  <p:cNvPr id="13714" name="Freeform: Shape 13713">
                    <a:extLst>
                      <a:ext uri="{FF2B5EF4-FFF2-40B4-BE49-F238E27FC236}">
                        <a16:creationId xmlns:a16="http://schemas.microsoft.com/office/drawing/2014/main" id="{FCDBD872-496A-BFBE-D048-A2B22D808CB3}"/>
                      </a:ext>
                    </a:extLst>
                  </p:cNvPr>
                  <p:cNvSpPr/>
                  <p:nvPr/>
                </p:nvSpPr>
                <p:spPr>
                  <a:xfrm>
                    <a:off x="4806696" y="3267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5" name="Freeform: Shape 13714">
                    <a:extLst>
                      <a:ext uri="{FF2B5EF4-FFF2-40B4-BE49-F238E27FC236}">
                        <a16:creationId xmlns:a16="http://schemas.microsoft.com/office/drawing/2014/main" id="{F8080634-C217-BA40-C172-1673D6DE0CD9}"/>
                      </a:ext>
                    </a:extLst>
                  </p:cNvPr>
                  <p:cNvSpPr/>
                  <p:nvPr/>
                </p:nvSpPr>
                <p:spPr>
                  <a:xfrm>
                    <a:off x="4768881" y="3304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3" name="Graphic 745">
                  <a:extLst>
                    <a:ext uri="{FF2B5EF4-FFF2-40B4-BE49-F238E27FC236}">
                      <a16:creationId xmlns:a16="http://schemas.microsoft.com/office/drawing/2014/main" id="{7616E133-5F4F-5648-CE28-A14AEDD176DD}"/>
                    </a:ext>
                  </a:extLst>
                </p:cNvPr>
                <p:cNvGrpSpPr/>
                <p:nvPr/>
              </p:nvGrpSpPr>
              <p:grpSpPr>
                <a:xfrm>
                  <a:off x="4771739" y="3287458"/>
                  <a:ext cx="75628" cy="75723"/>
                  <a:chOff x="4771739" y="3287458"/>
                  <a:chExt cx="75628" cy="75723"/>
                </a:xfrm>
              </p:grpSpPr>
              <p:sp>
                <p:nvSpPr>
                  <p:cNvPr id="13712" name="Freeform: Shape 13711">
                    <a:extLst>
                      <a:ext uri="{FF2B5EF4-FFF2-40B4-BE49-F238E27FC236}">
                        <a16:creationId xmlns:a16="http://schemas.microsoft.com/office/drawing/2014/main" id="{6223A891-4212-4E00-6386-A172BEC8C5ED}"/>
                      </a:ext>
                    </a:extLst>
                  </p:cNvPr>
                  <p:cNvSpPr/>
                  <p:nvPr/>
                </p:nvSpPr>
                <p:spPr>
                  <a:xfrm>
                    <a:off x="4809553" y="32874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3" name="Freeform: Shape 13712">
                    <a:extLst>
                      <a:ext uri="{FF2B5EF4-FFF2-40B4-BE49-F238E27FC236}">
                        <a16:creationId xmlns:a16="http://schemas.microsoft.com/office/drawing/2014/main" id="{879FF887-8469-E562-B4A4-3A8F32174667}"/>
                      </a:ext>
                    </a:extLst>
                  </p:cNvPr>
                  <p:cNvSpPr/>
                  <p:nvPr/>
                </p:nvSpPr>
                <p:spPr>
                  <a:xfrm>
                    <a:off x="4771739" y="33252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4" name="Graphic 745">
                  <a:extLst>
                    <a:ext uri="{FF2B5EF4-FFF2-40B4-BE49-F238E27FC236}">
                      <a16:creationId xmlns:a16="http://schemas.microsoft.com/office/drawing/2014/main" id="{24909F8F-5A47-D299-FC54-47215CD495C4}"/>
                    </a:ext>
                  </a:extLst>
                </p:cNvPr>
                <p:cNvGrpSpPr/>
                <p:nvPr/>
              </p:nvGrpSpPr>
              <p:grpSpPr>
                <a:xfrm>
                  <a:off x="4771739" y="3299935"/>
                  <a:ext cx="75628" cy="75723"/>
                  <a:chOff x="4771739" y="3299935"/>
                  <a:chExt cx="75628" cy="75723"/>
                </a:xfrm>
              </p:grpSpPr>
              <p:sp>
                <p:nvSpPr>
                  <p:cNvPr id="13710" name="Freeform: Shape 13709">
                    <a:extLst>
                      <a:ext uri="{FF2B5EF4-FFF2-40B4-BE49-F238E27FC236}">
                        <a16:creationId xmlns:a16="http://schemas.microsoft.com/office/drawing/2014/main" id="{07A563B4-D963-BAE1-9411-B5691B78011B}"/>
                      </a:ext>
                    </a:extLst>
                  </p:cNvPr>
                  <p:cNvSpPr/>
                  <p:nvPr/>
                </p:nvSpPr>
                <p:spPr>
                  <a:xfrm>
                    <a:off x="4809553" y="32999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11" name="Freeform: Shape 13710">
                    <a:extLst>
                      <a:ext uri="{FF2B5EF4-FFF2-40B4-BE49-F238E27FC236}">
                        <a16:creationId xmlns:a16="http://schemas.microsoft.com/office/drawing/2014/main" id="{25AA2E45-8222-55C1-514A-9048836187FD}"/>
                      </a:ext>
                    </a:extLst>
                  </p:cNvPr>
                  <p:cNvSpPr/>
                  <p:nvPr/>
                </p:nvSpPr>
                <p:spPr>
                  <a:xfrm>
                    <a:off x="4771739" y="33378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5" name="Graphic 745">
                  <a:extLst>
                    <a:ext uri="{FF2B5EF4-FFF2-40B4-BE49-F238E27FC236}">
                      <a16:creationId xmlns:a16="http://schemas.microsoft.com/office/drawing/2014/main" id="{AEF357D9-1D55-8EF6-ECD4-1A9E86868055}"/>
                    </a:ext>
                  </a:extLst>
                </p:cNvPr>
                <p:cNvGrpSpPr/>
                <p:nvPr/>
              </p:nvGrpSpPr>
              <p:grpSpPr>
                <a:xfrm>
                  <a:off x="4771739" y="3310127"/>
                  <a:ext cx="75628" cy="75628"/>
                  <a:chOff x="4771739" y="3310127"/>
                  <a:chExt cx="75628" cy="75628"/>
                </a:xfrm>
              </p:grpSpPr>
              <p:sp>
                <p:nvSpPr>
                  <p:cNvPr id="13708" name="Freeform: Shape 13707">
                    <a:extLst>
                      <a:ext uri="{FF2B5EF4-FFF2-40B4-BE49-F238E27FC236}">
                        <a16:creationId xmlns:a16="http://schemas.microsoft.com/office/drawing/2014/main" id="{82758463-379B-694F-A213-22A79C74EF6E}"/>
                      </a:ext>
                    </a:extLst>
                  </p:cNvPr>
                  <p:cNvSpPr/>
                  <p:nvPr/>
                </p:nvSpPr>
                <p:spPr>
                  <a:xfrm>
                    <a:off x="4809553" y="331012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9" name="Freeform: Shape 13708">
                    <a:extLst>
                      <a:ext uri="{FF2B5EF4-FFF2-40B4-BE49-F238E27FC236}">
                        <a16:creationId xmlns:a16="http://schemas.microsoft.com/office/drawing/2014/main" id="{2B0A1E12-0455-C240-691F-44B5A3E72EAF}"/>
                      </a:ext>
                    </a:extLst>
                  </p:cNvPr>
                  <p:cNvSpPr/>
                  <p:nvPr/>
                </p:nvSpPr>
                <p:spPr>
                  <a:xfrm>
                    <a:off x="4771739" y="33479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6" name="Graphic 745">
                  <a:extLst>
                    <a:ext uri="{FF2B5EF4-FFF2-40B4-BE49-F238E27FC236}">
                      <a16:creationId xmlns:a16="http://schemas.microsoft.com/office/drawing/2014/main" id="{01D2A1B7-8F74-6795-8AE7-B527C63148A7}"/>
                    </a:ext>
                  </a:extLst>
                </p:cNvPr>
                <p:cNvGrpSpPr/>
                <p:nvPr/>
              </p:nvGrpSpPr>
              <p:grpSpPr>
                <a:xfrm>
                  <a:off x="4778502" y="3316604"/>
                  <a:ext cx="75723" cy="75628"/>
                  <a:chOff x="4778502" y="3316604"/>
                  <a:chExt cx="75723" cy="75628"/>
                </a:xfrm>
              </p:grpSpPr>
              <p:sp>
                <p:nvSpPr>
                  <p:cNvPr id="13706" name="Freeform: Shape 13705">
                    <a:extLst>
                      <a:ext uri="{FF2B5EF4-FFF2-40B4-BE49-F238E27FC236}">
                        <a16:creationId xmlns:a16="http://schemas.microsoft.com/office/drawing/2014/main" id="{4D222CE1-BE86-01B5-9E81-6DFF6B1EF878}"/>
                      </a:ext>
                    </a:extLst>
                  </p:cNvPr>
                  <p:cNvSpPr/>
                  <p:nvPr/>
                </p:nvSpPr>
                <p:spPr>
                  <a:xfrm>
                    <a:off x="4816316" y="33166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7" name="Freeform: Shape 13706">
                    <a:extLst>
                      <a:ext uri="{FF2B5EF4-FFF2-40B4-BE49-F238E27FC236}">
                        <a16:creationId xmlns:a16="http://schemas.microsoft.com/office/drawing/2014/main" id="{197BF541-6A10-008A-740E-CA68ECB0376A}"/>
                      </a:ext>
                    </a:extLst>
                  </p:cNvPr>
                  <p:cNvSpPr/>
                  <p:nvPr/>
                </p:nvSpPr>
                <p:spPr>
                  <a:xfrm>
                    <a:off x="4778502" y="33544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7" name="Graphic 745">
                  <a:extLst>
                    <a:ext uri="{FF2B5EF4-FFF2-40B4-BE49-F238E27FC236}">
                      <a16:creationId xmlns:a16="http://schemas.microsoft.com/office/drawing/2014/main" id="{2055AE8B-96DE-6552-961E-71DB50414A69}"/>
                    </a:ext>
                  </a:extLst>
                </p:cNvPr>
                <p:cNvGrpSpPr/>
                <p:nvPr/>
              </p:nvGrpSpPr>
              <p:grpSpPr>
                <a:xfrm>
                  <a:off x="5163883" y="3466528"/>
                  <a:ext cx="75723" cy="75723"/>
                  <a:chOff x="5163883" y="3466528"/>
                  <a:chExt cx="75723" cy="75723"/>
                </a:xfrm>
              </p:grpSpPr>
              <p:sp>
                <p:nvSpPr>
                  <p:cNvPr id="13704" name="Freeform: Shape 13703">
                    <a:extLst>
                      <a:ext uri="{FF2B5EF4-FFF2-40B4-BE49-F238E27FC236}">
                        <a16:creationId xmlns:a16="http://schemas.microsoft.com/office/drawing/2014/main" id="{10B02A22-78F1-57D5-89F1-6E8E4529918F}"/>
                      </a:ext>
                    </a:extLst>
                  </p:cNvPr>
                  <p:cNvSpPr/>
                  <p:nvPr/>
                </p:nvSpPr>
                <p:spPr>
                  <a:xfrm>
                    <a:off x="5201793" y="34665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5" name="Freeform: Shape 13704">
                    <a:extLst>
                      <a:ext uri="{FF2B5EF4-FFF2-40B4-BE49-F238E27FC236}">
                        <a16:creationId xmlns:a16="http://schemas.microsoft.com/office/drawing/2014/main" id="{3BBDCAE8-2F08-5252-FCAC-2A466D1A1066}"/>
                      </a:ext>
                    </a:extLst>
                  </p:cNvPr>
                  <p:cNvSpPr/>
                  <p:nvPr/>
                </p:nvSpPr>
                <p:spPr>
                  <a:xfrm>
                    <a:off x="5163883" y="35043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8" name="Graphic 745">
                  <a:extLst>
                    <a:ext uri="{FF2B5EF4-FFF2-40B4-BE49-F238E27FC236}">
                      <a16:creationId xmlns:a16="http://schemas.microsoft.com/office/drawing/2014/main" id="{6CA0E090-1EDD-20D0-4686-2F899E0E7E05}"/>
                    </a:ext>
                  </a:extLst>
                </p:cNvPr>
                <p:cNvGrpSpPr/>
                <p:nvPr/>
              </p:nvGrpSpPr>
              <p:grpSpPr>
                <a:xfrm>
                  <a:off x="5180171" y="3471385"/>
                  <a:ext cx="75628" cy="75723"/>
                  <a:chOff x="5180171" y="3471385"/>
                  <a:chExt cx="75628" cy="75723"/>
                </a:xfrm>
              </p:grpSpPr>
              <p:sp>
                <p:nvSpPr>
                  <p:cNvPr id="13702" name="Freeform: Shape 13701">
                    <a:extLst>
                      <a:ext uri="{FF2B5EF4-FFF2-40B4-BE49-F238E27FC236}">
                        <a16:creationId xmlns:a16="http://schemas.microsoft.com/office/drawing/2014/main" id="{6A94F5D0-A522-FD2C-09E7-D1A657034323}"/>
                      </a:ext>
                    </a:extLst>
                  </p:cNvPr>
                  <p:cNvSpPr/>
                  <p:nvPr/>
                </p:nvSpPr>
                <p:spPr>
                  <a:xfrm>
                    <a:off x="5217985" y="3471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3" name="Freeform: Shape 13702">
                    <a:extLst>
                      <a:ext uri="{FF2B5EF4-FFF2-40B4-BE49-F238E27FC236}">
                        <a16:creationId xmlns:a16="http://schemas.microsoft.com/office/drawing/2014/main" id="{9AF0C8F3-C76D-8424-A20B-0C300C2E134F}"/>
                      </a:ext>
                    </a:extLst>
                  </p:cNvPr>
                  <p:cNvSpPr/>
                  <p:nvPr/>
                </p:nvSpPr>
                <p:spPr>
                  <a:xfrm>
                    <a:off x="5180171" y="35092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79" name="Graphic 745">
                  <a:extLst>
                    <a:ext uri="{FF2B5EF4-FFF2-40B4-BE49-F238E27FC236}">
                      <a16:creationId xmlns:a16="http://schemas.microsoft.com/office/drawing/2014/main" id="{5B71EBCA-48E2-F70E-0F57-920FB0CADC42}"/>
                    </a:ext>
                  </a:extLst>
                </p:cNvPr>
                <p:cNvGrpSpPr/>
                <p:nvPr/>
              </p:nvGrpSpPr>
              <p:grpSpPr>
                <a:xfrm>
                  <a:off x="5196554" y="3504342"/>
                  <a:ext cx="75723" cy="75723"/>
                  <a:chOff x="5196554" y="3504342"/>
                  <a:chExt cx="75723" cy="75723"/>
                </a:xfrm>
              </p:grpSpPr>
              <p:sp>
                <p:nvSpPr>
                  <p:cNvPr id="13700" name="Freeform: Shape 13699">
                    <a:extLst>
                      <a:ext uri="{FF2B5EF4-FFF2-40B4-BE49-F238E27FC236}">
                        <a16:creationId xmlns:a16="http://schemas.microsoft.com/office/drawing/2014/main" id="{119DE281-F73A-4FA5-EFE5-3C1C723A0960}"/>
                      </a:ext>
                    </a:extLst>
                  </p:cNvPr>
                  <p:cNvSpPr/>
                  <p:nvPr/>
                </p:nvSpPr>
                <p:spPr>
                  <a:xfrm>
                    <a:off x="5234463" y="35043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701" name="Freeform: Shape 13700">
                    <a:extLst>
                      <a:ext uri="{FF2B5EF4-FFF2-40B4-BE49-F238E27FC236}">
                        <a16:creationId xmlns:a16="http://schemas.microsoft.com/office/drawing/2014/main" id="{DA6D05E2-97B7-E9F9-733B-165319BF5283}"/>
                      </a:ext>
                    </a:extLst>
                  </p:cNvPr>
                  <p:cNvSpPr/>
                  <p:nvPr/>
                </p:nvSpPr>
                <p:spPr>
                  <a:xfrm>
                    <a:off x="5196554" y="35422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0" name="Graphic 745">
                  <a:extLst>
                    <a:ext uri="{FF2B5EF4-FFF2-40B4-BE49-F238E27FC236}">
                      <a16:creationId xmlns:a16="http://schemas.microsoft.com/office/drawing/2014/main" id="{A3A66570-EBC4-6B9B-F953-38D0367F615E}"/>
                    </a:ext>
                  </a:extLst>
                </p:cNvPr>
                <p:cNvGrpSpPr/>
                <p:nvPr/>
              </p:nvGrpSpPr>
              <p:grpSpPr>
                <a:xfrm>
                  <a:off x="5196554" y="3535870"/>
                  <a:ext cx="75723" cy="75628"/>
                  <a:chOff x="5196554" y="3535870"/>
                  <a:chExt cx="75723" cy="75628"/>
                </a:xfrm>
              </p:grpSpPr>
              <p:sp>
                <p:nvSpPr>
                  <p:cNvPr id="13698" name="Freeform: Shape 13697">
                    <a:extLst>
                      <a:ext uri="{FF2B5EF4-FFF2-40B4-BE49-F238E27FC236}">
                        <a16:creationId xmlns:a16="http://schemas.microsoft.com/office/drawing/2014/main" id="{3143A340-3DAA-EFA9-1B92-BEA3A4401F14}"/>
                      </a:ext>
                    </a:extLst>
                  </p:cNvPr>
                  <p:cNvSpPr/>
                  <p:nvPr/>
                </p:nvSpPr>
                <p:spPr>
                  <a:xfrm>
                    <a:off x="5234463" y="35358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9" name="Freeform: Shape 13698">
                    <a:extLst>
                      <a:ext uri="{FF2B5EF4-FFF2-40B4-BE49-F238E27FC236}">
                        <a16:creationId xmlns:a16="http://schemas.microsoft.com/office/drawing/2014/main" id="{8C1C671B-8E3F-B77E-FF86-9913482817A9}"/>
                      </a:ext>
                    </a:extLst>
                  </p:cNvPr>
                  <p:cNvSpPr/>
                  <p:nvPr/>
                </p:nvSpPr>
                <p:spPr>
                  <a:xfrm>
                    <a:off x="5196554" y="35736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1" name="Graphic 745">
                  <a:extLst>
                    <a:ext uri="{FF2B5EF4-FFF2-40B4-BE49-F238E27FC236}">
                      <a16:creationId xmlns:a16="http://schemas.microsoft.com/office/drawing/2014/main" id="{D6FB650D-B4CF-D03C-6F8F-14F76F850F19}"/>
                    </a:ext>
                  </a:extLst>
                </p:cNvPr>
                <p:cNvGrpSpPr/>
                <p:nvPr/>
              </p:nvGrpSpPr>
              <p:grpSpPr>
                <a:xfrm>
                  <a:off x="5201793" y="3560158"/>
                  <a:ext cx="75628" cy="75723"/>
                  <a:chOff x="5201793" y="3560158"/>
                  <a:chExt cx="75628" cy="75723"/>
                </a:xfrm>
              </p:grpSpPr>
              <p:sp>
                <p:nvSpPr>
                  <p:cNvPr id="13696" name="Freeform: Shape 13695">
                    <a:extLst>
                      <a:ext uri="{FF2B5EF4-FFF2-40B4-BE49-F238E27FC236}">
                        <a16:creationId xmlns:a16="http://schemas.microsoft.com/office/drawing/2014/main" id="{2785053B-7079-A123-0E5C-C096C0EF26D3}"/>
                      </a:ext>
                    </a:extLst>
                  </p:cNvPr>
                  <p:cNvSpPr/>
                  <p:nvPr/>
                </p:nvSpPr>
                <p:spPr>
                  <a:xfrm>
                    <a:off x="5239607" y="3560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7" name="Freeform: Shape 13696">
                    <a:extLst>
                      <a:ext uri="{FF2B5EF4-FFF2-40B4-BE49-F238E27FC236}">
                        <a16:creationId xmlns:a16="http://schemas.microsoft.com/office/drawing/2014/main" id="{12B71F98-ADD8-8CD5-9D5D-74D078A15CDF}"/>
                      </a:ext>
                    </a:extLst>
                  </p:cNvPr>
                  <p:cNvSpPr/>
                  <p:nvPr/>
                </p:nvSpPr>
                <p:spPr>
                  <a:xfrm>
                    <a:off x="5201793" y="35979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2" name="Graphic 745">
                  <a:extLst>
                    <a:ext uri="{FF2B5EF4-FFF2-40B4-BE49-F238E27FC236}">
                      <a16:creationId xmlns:a16="http://schemas.microsoft.com/office/drawing/2014/main" id="{5F56A361-C9EF-AB3E-1EE9-ED1555A3B7E1}"/>
                    </a:ext>
                  </a:extLst>
                </p:cNvPr>
                <p:cNvGrpSpPr/>
                <p:nvPr/>
              </p:nvGrpSpPr>
              <p:grpSpPr>
                <a:xfrm>
                  <a:off x="5204174" y="3580066"/>
                  <a:ext cx="75723" cy="75723"/>
                  <a:chOff x="5204174" y="3580066"/>
                  <a:chExt cx="75723" cy="75723"/>
                </a:xfrm>
              </p:grpSpPr>
              <p:sp>
                <p:nvSpPr>
                  <p:cNvPr id="13694" name="Freeform: Shape 13693">
                    <a:extLst>
                      <a:ext uri="{FF2B5EF4-FFF2-40B4-BE49-F238E27FC236}">
                        <a16:creationId xmlns:a16="http://schemas.microsoft.com/office/drawing/2014/main" id="{3334394A-E42A-427E-1ADD-351D007426C5}"/>
                      </a:ext>
                    </a:extLst>
                  </p:cNvPr>
                  <p:cNvSpPr/>
                  <p:nvPr/>
                </p:nvSpPr>
                <p:spPr>
                  <a:xfrm>
                    <a:off x="5242083"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5" name="Freeform: Shape 13694">
                    <a:extLst>
                      <a:ext uri="{FF2B5EF4-FFF2-40B4-BE49-F238E27FC236}">
                        <a16:creationId xmlns:a16="http://schemas.microsoft.com/office/drawing/2014/main" id="{E5BD68EA-B3A9-45FF-669E-F86E9E820CD8}"/>
                      </a:ext>
                    </a:extLst>
                  </p:cNvPr>
                  <p:cNvSpPr/>
                  <p:nvPr/>
                </p:nvSpPr>
                <p:spPr>
                  <a:xfrm>
                    <a:off x="5204174"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3" name="Graphic 745">
                  <a:extLst>
                    <a:ext uri="{FF2B5EF4-FFF2-40B4-BE49-F238E27FC236}">
                      <a16:creationId xmlns:a16="http://schemas.microsoft.com/office/drawing/2014/main" id="{2859E1E3-39B0-A368-1D6F-111A148E6959}"/>
                    </a:ext>
                  </a:extLst>
                </p:cNvPr>
                <p:cNvGrpSpPr/>
                <p:nvPr/>
              </p:nvGrpSpPr>
              <p:grpSpPr>
                <a:xfrm>
                  <a:off x="5217985" y="3580066"/>
                  <a:ext cx="75723" cy="75723"/>
                  <a:chOff x="5217985" y="3580066"/>
                  <a:chExt cx="75723" cy="75723"/>
                </a:xfrm>
              </p:grpSpPr>
              <p:sp>
                <p:nvSpPr>
                  <p:cNvPr id="13692" name="Freeform: Shape 13691">
                    <a:extLst>
                      <a:ext uri="{FF2B5EF4-FFF2-40B4-BE49-F238E27FC236}">
                        <a16:creationId xmlns:a16="http://schemas.microsoft.com/office/drawing/2014/main" id="{09F226E5-1791-C6B5-96E0-FAC97A4207D1}"/>
                      </a:ext>
                    </a:extLst>
                  </p:cNvPr>
                  <p:cNvSpPr/>
                  <p:nvPr/>
                </p:nvSpPr>
                <p:spPr>
                  <a:xfrm>
                    <a:off x="5255799" y="35800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3" name="Freeform: Shape 13692">
                    <a:extLst>
                      <a:ext uri="{FF2B5EF4-FFF2-40B4-BE49-F238E27FC236}">
                        <a16:creationId xmlns:a16="http://schemas.microsoft.com/office/drawing/2014/main" id="{63232ED4-9B6C-4F70-4852-FC919A54D2B0}"/>
                      </a:ext>
                    </a:extLst>
                  </p:cNvPr>
                  <p:cNvSpPr/>
                  <p:nvPr/>
                </p:nvSpPr>
                <p:spPr>
                  <a:xfrm>
                    <a:off x="5217985" y="36179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4" name="Graphic 745">
                  <a:extLst>
                    <a:ext uri="{FF2B5EF4-FFF2-40B4-BE49-F238E27FC236}">
                      <a16:creationId xmlns:a16="http://schemas.microsoft.com/office/drawing/2014/main" id="{9842A070-5CAF-9A67-A336-371F27E24B9A}"/>
                    </a:ext>
                  </a:extLst>
                </p:cNvPr>
                <p:cNvGrpSpPr/>
                <p:nvPr/>
              </p:nvGrpSpPr>
              <p:grpSpPr>
                <a:xfrm>
                  <a:off x="5196554" y="3517772"/>
                  <a:ext cx="75723" cy="75723"/>
                  <a:chOff x="5196554" y="3517772"/>
                  <a:chExt cx="75723" cy="75723"/>
                </a:xfrm>
              </p:grpSpPr>
              <p:sp>
                <p:nvSpPr>
                  <p:cNvPr id="13690" name="Freeform: Shape 13689">
                    <a:extLst>
                      <a:ext uri="{FF2B5EF4-FFF2-40B4-BE49-F238E27FC236}">
                        <a16:creationId xmlns:a16="http://schemas.microsoft.com/office/drawing/2014/main" id="{F7A45DEA-A1D4-9485-07E7-F4209320CC3A}"/>
                      </a:ext>
                    </a:extLst>
                  </p:cNvPr>
                  <p:cNvSpPr/>
                  <p:nvPr/>
                </p:nvSpPr>
                <p:spPr>
                  <a:xfrm>
                    <a:off x="5234463" y="3517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91" name="Freeform: Shape 13690">
                    <a:extLst>
                      <a:ext uri="{FF2B5EF4-FFF2-40B4-BE49-F238E27FC236}">
                        <a16:creationId xmlns:a16="http://schemas.microsoft.com/office/drawing/2014/main" id="{F36D2CCD-3745-AA0B-2E1C-E17FAB984783}"/>
                      </a:ext>
                    </a:extLst>
                  </p:cNvPr>
                  <p:cNvSpPr/>
                  <p:nvPr/>
                </p:nvSpPr>
                <p:spPr>
                  <a:xfrm>
                    <a:off x="5196554" y="3555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5" name="Graphic 745">
                  <a:extLst>
                    <a:ext uri="{FF2B5EF4-FFF2-40B4-BE49-F238E27FC236}">
                      <a16:creationId xmlns:a16="http://schemas.microsoft.com/office/drawing/2014/main" id="{3A74B0C8-92F3-53FA-BE7C-AE4D216AC010}"/>
                    </a:ext>
                  </a:extLst>
                </p:cNvPr>
                <p:cNvGrpSpPr/>
                <p:nvPr/>
              </p:nvGrpSpPr>
              <p:grpSpPr>
                <a:xfrm>
                  <a:off x="5234463" y="3624643"/>
                  <a:ext cx="75628" cy="75628"/>
                  <a:chOff x="5234463" y="3624643"/>
                  <a:chExt cx="75628" cy="75628"/>
                </a:xfrm>
              </p:grpSpPr>
              <p:sp>
                <p:nvSpPr>
                  <p:cNvPr id="13688" name="Freeform: Shape 13687">
                    <a:extLst>
                      <a:ext uri="{FF2B5EF4-FFF2-40B4-BE49-F238E27FC236}">
                        <a16:creationId xmlns:a16="http://schemas.microsoft.com/office/drawing/2014/main" id="{E6CEC93D-4D8C-0E2F-DC61-F1CD69224A9D}"/>
                      </a:ext>
                    </a:extLst>
                  </p:cNvPr>
                  <p:cNvSpPr/>
                  <p:nvPr/>
                </p:nvSpPr>
                <p:spPr>
                  <a:xfrm>
                    <a:off x="5272278" y="362464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9" name="Freeform: Shape 13688">
                    <a:extLst>
                      <a:ext uri="{FF2B5EF4-FFF2-40B4-BE49-F238E27FC236}">
                        <a16:creationId xmlns:a16="http://schemas.microsoft.com/office/drawing/2014/main" id="{D9FA9CDD-2B9D-A6DE-5166-EEE98D7F28F7}"/>
                      </a:ext>
                    </a:extLst>
                  </p:cNvPr>
                  <p:cNvSpPr/>
                  <p:nvPr/>
                </p:nvSpPr>
                <p:spPr>
                  <a:xfrm>
                    <a:off x="5234463" y="36624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6" name="Graphic 745">
                  <a:extLst>
                    <a:ext uri="{FF2B5EF4-FFF2-40B4-BE49-F238E27FC236}">
                      <a16:creationId xmlns:a16="http://schemas.microsoft.com/office/drawing/2014/main" id="{DBAD3541-7348-F4C9-A474-C5F11E19260D}"/>
                    </a:ext>
                  </a:extLst>
                </p:cNvPr>
                <p:cNvGrpSpPr/>
                <p:nvPr/>
              </p:nvGrpSpPr>
              <p:grpSpPr>
                <a:xfrm>
                  <a:off x="5591079" y="3728751"/>
                  <a:ext cx="75723" cy="75723"/>
                  <a:chOff x="5591079" y="3728751"/>
                  <a:chExt cx="75723" cy="75723"/>
                </a:xfrm>
              </p:grpSpPr>
              <p:sp>
                <p:nvSpPr>
                  <p:cNvPr id="13686" name="Freeform: Shape 13685">
                    <a:extLst>
                      <a:ext uri="{FF2B5EF4-FFF2-40B4-BE49-F238E27FC236}">
                        <a16:creationId xmlns:a16="http://schemas.microsoft.com/office/drawing/2014/main" id="{8C338DBA-1C8D-A905-8A38-D0D4CC4B7E88}"/>
                      </a:ext>
                    </a:extLst>
                  </p:cNvPr>
                  <p:cNvSpPr/>
                  <p:nvPr/>
                </p:nvSpPr>
                <p:spPr>
                  <a:xfrm>
                    <a:off x="5628989" y="37287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7" name="Freeform: Shape 13686">
                    <a:extLst>
                      <a:ext uri="{FF2B5EF4-FFF2-40B4-BE49-F238E27FC236}">
                        <a16:creationId xmlns:a16="http://schemas.microsoft.com/office/drawing/2014/main" id="{73812846-5BFD-DB18-7C24-6BC626C0E307}"/>
                      </a:ext>
                    </a:extLst>
                  </p:cNvPr>
                  <p:cNvSpPr/>
                  <p:nvPr/>
                </p:nvSpPr>
                <p:spPr>
                  <a:xfrm>
                    <a:off x="5591079" y="37666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7" name="Graphic 745">
                  <a:extLst>
                    <a:ext uri="{FF2B5EF4-FFF2-40B4-BE49-F238E27FC236}">
                      <a16:creationId xmlns:a16="http://schemas.microsoft.com/office/drawing/2014/main" id="{FB39E7C3-97F9-378B-8052-2C827CAE986D}"/>
                    </a:ext>
                  </a:extLst>
                </p:cNvPr>
                <p:cNvGrpSpPr/>
                <p:nvPr/>
              </p:nvGrpSpPr>
              <p:grpSpPr>
                <a:xfrm>
                  <a:off x="5602509" y="3737323"/>
                  <a:ext cx="75628" cy="75628"/>
                  <a:chOff x="5602509" y="3737323"/>
                  <a:chExt cx="75628" cy="75628"/>
                </a:xfrm>
              </p:grpSpPr>
              <p:sp>
                <p:nvSpPr>
                  <p:cNvPr id="13684" name="Freeform: Shape 13683">
                    <a:extLst>
                      <a:ext uri="{FF2B5EF4-FFF2-40B4-BE49-F238E27FC236}">
                        <a16:creationId xmlns:a16="http://schemas.microsoft.com/office/drawing/2014/main" id="{C18F70FA-F631-08E9-ADC4-B7709A722714}"/>
                      </a:ext>
                    </a:extLst>
                  </p:cNvPr>
                  <p:cNvSpPr/>
                  <p:nvPr/>
                </p:nvSpPr>
                <p:spPr>
                  <a:xfrm>
                    <a:off x="5640324" y="3737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5" name="Freeform: Shape 13684">
                    <a:extLst>
                      <a:ext uri="{FF2B5EF4-FFF2-40B4-BE49-F238E27FC236}">
                        <a16:creationId xmlns:a16="http://schemas.microsoft.com/office/drawing/2014/main" id="{CF281A37-44AF-AE3F-03A3-828BFA385978}"/>
                      </a:ext>
                    </a:extLst>
                  </p:cNvPr>
                  <p:cNvSpPr/>
                  <p:nvPr/>
                </p:nvSpPr>
                <p:spPr>
                  <a:xfrm>
                    <a:off x="5602509" y="37751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8" name="Graphic 745">
                  <a:extLst>
                    <a:ext uri="{FF2B5EF4-FFF2-40B4-BE49-F238E27FC236}">
                      <a16:creationId xmlns:a16="http://schemas.microsoft.com/office/drawing/2014/main" id="{6801576E-6FC2-23E6-F5C6-96F3714D2A3B}"/>
                    </a:ext>
                  </a:extLst>
                </p:cNvPr>
                <p:cNvGrpSpPr/>
                <p:nvPr/>
              </p:nvGrpSpPr>
              <p:grpSpPr>
                <a:xfrm>
                  <a:off x="5615844" y="3747991"/>
                  <a:ext cx="75723" cy="75723"/>
                  <a:chOff x="5615844" y="3747991"/>
                  <a:chExt cx="75723" cy="75723"/>
                </a:xfrm>
              </p:grpSpPr>
              <p:sp>
                <p:nvSpPr>
                  <p:cNvPr id="13682" name="Freeform: Shape 13681">
                    <a:extLst>
                      <a:ext uri="{FF2B5EF4-FFF2-40B4-BE49-F238E27FC236}">
                        <a16:creationId xmlns:a16="http://schemas.microsoft.com/office/drawing/2014/main" id="{1FCB4242-CAB5-473C-C09A-04652C20501D}"/>
                      </a:ext>
                    </a:extLst>
                  </p:cNvPr>
                  <p:cNvSpPr/>
                  <p:nvPr/>
                </p:nvSpPr>
                <p:spPr>
                  <a:xfrm>
                    <a:off x="5653659" y="37479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3" name="Freeform: Shape 13682">
                    <a:extLst>
                      <a:ext uri="{FF2B5EF4-FFF2-40B4-BE49-F238E27FC236}">
                        <a16:creationId xmlns:a16="http://schemas.microsoft.com/office/drawing/2014/main" id="{46CEEE6A-5685-9F4C-37E2-DF87D931FBF7}"/>
                      </a:ext>
                    </a:extLst>
                  </p:cNvPr>
                  <p:cNvSpPr/>
                  <p:nvPr/>
                </p:nvSpPr>
                <p:spPr>
                  <a:xfrm>
                    <a:off x="5615844" y="37858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89" name="Graphic 745">
                  <a:extLst>
                    <a:ext uri="{FF2B5EF4-FFF2-40B4-BE49-F238E27FC236}">
                      <a16:creationId xmlns:a16="http://schemas.microsoft.com/office/drawing/2014/main" id="{93D5A308-8FE3-3C24-E182-2A909A2E4FB0}"/>
                    </a:ext>
                  </a:extLst>
                </p:cNvPr>
                <p:cNvGrpSpPr/>
                <p:nvPr/>
              </p:nvGrpSpPr>
              <p:grpSpPr>
                <a:xfrm>
                  <a:off x="5631275" y="3761803"/>
                  <a:ext cx="75628" cy="75628"/>
                  <a:chOff x="5631275" y="3761803"/>
                  <a:chExt cx="75628" cy="75628"/>
                </a:xfrm>
              </p:grpSpPr>
              <p:sp>
                <p:nvSpPr>
                  <p:cNvPr id="13680" name="Freeform: Shape 13679">
                    <a:extLst>
                      <a:ext uri="{FF2B5EF4-FFF2-40B4-BE49-F238E27FC236}">
                        <a16:creationId xmlns:a16="http://schemas.microsoft.com/office/drawing/2014/main" id="{03A11376-53BD-7469-242C-DFCB103702DB}"/>
                      </a:ext>
                    </a:extLst>
                  </p:cNvPr>
                  <p:cNvSpPr/>
                  <p:nvPr/>
                </p:nvSpPr>
                <p:spPr>
                  <a:xfrm>
                    <a:off x="5669089" y="376180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81" name="Freeform: Shape 13680">
                    <a:extLst>
                      <a:ext uri="{FF2B5EF4-FFF2-40B4-BE49-F238E27FC236}">
                        <a16:creationId xmlns:a16="http://schemas.microsoft.com/office/drawing/2014/main" id="{349B4DE8-88BD-8033-028A-825815BFD10D}"/>
                      </a:ext>
                    </a:extLst>
                  </p:cNvPr>
                  <p:cNvSpPr/>
                  <p:nvPr/>
                </p:nvSpPr>
                <p:spPr>
                  <a:xfrm>
                    <a:off x="5631275" y="37996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0" name="Graphic 745">
                  <a:extLst>
                    <a:ext uri="{FF2B5EF4-FFF2-40B4-BE49-F238E27FC236}">
                      <a16:creationId xmlns:a16="http://schemas.microsoft.com/office/drawing/2014/main" id="{7D09A56A-982B-BAF7-F842-7C13A195193C}"/>
                    </a:ext>
                  </a:extLst>
                </p:cNvPr>
                <p:cNvGrpSpPr/>
                <p:nvPr/>
              </p:nvGrpSpPr>
              <p:grpSpPr>
                <a:xfrm>
                  <a:off x="5642229" y="3780948"/>
                  <a:ext cx="75628" cy="75723"/>
                  <a:chOff x="5642229" y="3780948"/>
                  <a:chExt cx="75628" cy="75723"/>
                </a:xfrm>
              </p:grpSpPr>
              <p:sp>
                <p:nvSpPr>
                  <p:cNvPr id="13678" name="Freeform: Shape 13677">
                    <a:extLst>
                      <a:ext uri="{FF2B5EF4-FFF2-40B4-BE49-F238E27FC236}">
                        <a16:creationId xmlns:a16="http://schemas.microsoft.com/office/drawing/2014/main" id="{F5B00EE0-97B5-21BF-5A78-0E6200DEE49C}"/>
                      </a:ext>
                    </a:extLst>
                  </p:cNvPr>
                  <p:cNvSpPr/>
                  <p:nvPr/>
                </p:nvSpPr>
                <p:spPr>
                  <a:xfrm>
                    <a:off x="5680043" y="3780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9" name="Freeform: Shape 13678">
                    <a:extLst>
                      <a:ext uri="{FF2B5EF4-FFF2-40B4-BE49-F238E27FC236}">
                        <a16:creationId xmlns:a16="http://schemas.microsoft.com/office/drawing/2014/main" id="{39F823FF-1AE5-1AB5-8EA5-DB690B05F1D3}"/>
                      </a:ext>
                    </a:extLst>
                  </p:cNvPr>
                  <p:cNvSpPr/>
                  <p:nvPr/>
                </p:nvSpPr>
                <p:spPr>
                  <a:xfrm>
                    <a:off x="5642229" y="3818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1" name="Graphic 745">
                  <a:extLst>
                    <a:ext uri="{FF2B5EF4-FFF2-40B4-BE49-F238E27FC236}">
                      <a16:creationId xmlns:a16="http://schemas.microsoft.com/office/drawing/2014/main" id="{99AFD254-19EE-CD5C-CC08-6DBE22537B17}"/>
                    </a:ext>
                  </a:extLst>
                </p:cNvPr>
                <p:cNvGrpSpPr/>
                <p:nvPr/>
              </p:nvGrpSpPr>
              <p:grpSpPr>
                <a:xfrm>
                  <a:off x="5649753" y="3792664"/>
                  <a:ext cx="75723" cy="75723"/>
                  <a:chOff x="5649753" y="3792664"/>
                  <a:chExt cx="75723" cy="75723"/>
                </a:xfrm>
              </p:grpSpPr>
              <p:sp>
                <p:nvSpPr>
                  <p:cNvPr id="13676" name="Freeform: Shape 13675">
                    <a:extLst>
                      <a:ext uri="{FF2B5EF4-FFF2-40B4-BE49-F238E27FC236}">
                        <a16:creationId xmlns:a16="http://schemas.microsoft.com/office/drawing/2014/main" id="{320EE7E9-9CDD-EE32-617D-E3896D8EF96F}"/>
                      </a:ext>
                    </a:extLst>
                  </p:cNvPr>
                  <p:cNvSpPr/>
                  <p:nvPr/>
                </p:nvSpPr>
                <p:spPr>
                  <a:xfrm>
                    <a:off x="5687663"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7" name="Freeform: Shape 13676">
                    <a:extLst>
                      <a:ext uri="{FF2B5EF4-FFF2-40B4-BE49-F238E27FC236}">
                        <a16:creationId xmlns:a16="http://schemas.microsoft.com/office/drawing/2014/main" id="{257899AB-8FD6-EED7-BC2E-A0EB614AB3DB}"/>
                      </a:ext>
                    </a:extLst>
                  </p:cNvPr>
                  <p:cNvSpPr/>
                  <p:nvPr/>
                </p:nvSpPr>
                <p:spPr>
                  <a:xfrm>
                    <a:off x="564975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2" name="Graphic 745">
                  <a:extLst>
                    <a:ext uri="{FF2B5EF4-FFF2-40B4-BE49-F238E27FC236}">
                      <a16:creationId xmlns:a16="http://schemas.microsoft.com/office/drawing/2014/main" id="{59006117-7D4E-5AC1-0D45-4A00C013A8F5}"/>
                    </a:ext>
                  </a:extLst>
                </p:cNvPr>
                <p:cNvGrpSpPr/>
                <p:nvPr/>
              </p:nvGrpSpPr>
              <p:grpSpPr>
                <a:xfrm>
                  <a:off x="5666803" y="3792664"/>
                  <a:ext cx="75723" cy="75723"/>
                  <a:chOff x="5666803" y="3792664"/>
                  <a:chExt cx="75723" cy="75723"/>
                </a:xfrm>
              </p:grpSpPr>
              <p:sp>
                <p:nvSpPr>
                  <p:cNvPr id="13674" name="Freeform: Shape 13673">
                    <a:extLst>
                      <a:ext uri="{FF2B5EF4-FFF2-40B4-BE49-F238E27FC236}">
                        <a16:creationId xmlns:a16="http://schemas.microsoft.com/office/drawing/2014/main" id="{C40EF7A1-9FD9-76FD-930B-38FA80193AFD}"/>
                      </a:ext>
                    </a:extLst>
                  </p:cNvPr>
                  <p:cNvSpPr/>
                  <p:nvPr/>
                </p:nvSpPr>
                <p:spPr>
                  <a:xfrm>
                    <a:off x="570461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5" name="Freeform: Shape 13674">
                    <a:extLst>
                      <a:ext uri="{FF2B5EF4-FFF2-40B4-BE49-F238E27FC236}">
                        <a16:creationId xmlns:a16="http://schemas.microsoft.com/office/drawing/2014/main" id="{F0D5C2BF-FB6C-8EB8-AEA1-ACCE5CD36263}"/>
                      </a:ext>
                    </a:extLst>
                  </p:cNvPr>
                  <p:cNvSpPr/>
                  <p:nvPr/>
                </p:nvSpPr>
                <p:spPr>
                  <a:xfrm>
                    <a:off x="566680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3" name="Graphic 745">
                  <a:extLst>
                    <a:ext uri="{FF2B5EF4-FFF2-40B4-BE49-F238E27FC236}">
                      <a16:creationId xmlns:a16="http://schemas.microsoft.com/office/drawing/2014/main" id="{DDFE22F6-7128-0624-4538-AE0AD2BDBF8C}"/>
                    </a:ext>
                  </a:extLst>
                </p:cNvPr>
                <p:cNvGrpSpPr/>
                <p:nvPr/>
              </p:nvGrpSpPr>
              <p:grpSpPr>
                <a:xfrm>
                  <a:off x="5680043" y="3792664"/>
                  <a:ext cx="75723" cy="75723"/>
                  <a:chOff x="5680043" y="3792664"/>
                  <a:chExt cx="75723" cy="75723"/>
                </a:xfrm>
              </p:grpSpPr>
              <p:sp>
                <p:nvSpPr>
                  <p:cNvPr id="13672" name="Freeform: Shape 13671">
                    <a:extLst>
                      <a:ext uri="{FF2B5EF4-FFF2-40B4-BE49-F238E27FC236}">
                        <a16:creationId xmlns:a16="http://schemas.microsoft.com/office/drawing/2014/main" id="{14C1B9F5-72B3-6932-CB14-76A1065E1315}"/>
                      </a:ext>
                    </a:extLst>
                  </p:cNvPr>
                  <p:cNvSpPr/>
                  <p:nvPr/>
                </p:nvSpPr>
                <p:spPr>
                  <a:xfrm>
                    <a:off x="5717857" y="37926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3" name="Freeform: Shape 13672">
                    <a:extLst>
                      <a:ext uri="{FF2B5EF4-FFF2-40B4-BE49-F238E27FC236}">
                        <a16:creationId xmlns:a16="http://schemas.microsoft.com/office/drawing/2014/main" id="{A0CDD1EA-8802-7CC5-649D-70E2E4A8EF22}"/>
                      </a:ext>
                    </a:extLst>
                  </p:cNvPr>
                  <p:cNvSpPr/>
                  <p:nvPr/>
                </p:nvSpPr>
                <p:spPr>
                  <a:xfrm>
                    <a:off x="5680043" y="38304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4" name="Graphic 745">
                  <a:extLst>
                    <a:ext uri="{FF2B5EF4-FFF2-40B4-BE49-F238E27FC236}">
                      <a16:creationId xmlns:a16="http://schemas.microsoft.com/office/drawing/2014/main" id="{DF4712D6-C2BA-4833-869D-F8D5C197C3D7}"/>
                    </a:ext>
                  </a:extLst>
                </p:cNvPr>
                <p:cNvGrpSpPr/>
                <p:nvPr/>
              </p:nvGrpSpPr>
              <p:grpSpPr>
                <a:xfrm>
                  <a:off x="5972937" y="3841051"/>
                  <a:ext cx="75723" cy="75723"/>
                  <a:chOff x="5972937" y="3841051"/>
                  <a:chExt cx="75723" cy="75723"/>
                </a:xfrm>
              </p:grpSpPr>
              <p:sp>
                <p:nvSpPr>
                  <p:cNvPr id="13670" name="Freeform: Shape 13669">
                    <a:extLst>
                      <a:ext uri="{FF2B5EF4-FFF2-40B4-BE49-F238E27FC236}">
                        <a16:creationId xmlns:a16="http://schemas.microsoft.com/office/drawing/2014/main" id="{4B996398-2D73-E510-0BDC-B090B9AEC00A}"/>
                      </a:ext>
                    </a:extLst>
                  </p:cNvPr>
                  <p:cNvSpPr/>
                  <p:nvPr/>
                </p:nvSpPr>
                <p:spPr>
                  <a:xfrm>
                    <a:off x="6010751"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71" name="Freeform: Shape 13670">
                    <a:extLst>
                      <a:ext uri="{FF2B5EF4-FFF2-40B4-BE49-F238E27FC236}">
                        <a16:creationId xmlns:a16="http://schemas.microsoft.com/office/drawing/2014/main" id="{5CD803D4-940E-3B63-F0F6-A6D7EA7C61A4}"/>
                      </a:ext>
                    </a:extLst>
                  </p:cNvPr>
                  <p:cNvSpPr/>
                  <p:nvPr/>
                </p:nvSpPr>
                <p:spPr>
                  <a:xfrm>
                    <a:off x="5972937"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5" name="Graphic 745">
                  <a:extLst>
                    <a:ext uri="{FF2B5EF4-FFF2-40B4-BE49-F238E27FC236}">
                      <a16:creationId xmlns:a16="http://schemas.microsoft.com/office/drawing/2014/main" id="{E24CB844-C479-54C2-B7FA-9FF585A58623}"/>
                    </a:ext>
                  </a:extLst>
                </p:cNvPr>
                <p:cNvGrpSpPr/>
                <p:nvPr/>
              </p:nvGrpSpPr>
              <p:grpSpPr>
                <a:xfrm>
                  <a:off x="6008560" y="3841051"/>
                  <a:ext cx="75723" cy="75723"/>
                  <a:chOff x="6008560" y="3841051"/>
                  <a:chExt cx="75723" cy="75723"/>
                </a:xfrm>
              </p:grpSpPr>
              <p:sp>
                <p:nvSpPr>
                  <p:cNvPr id="13668" name="Freeform: Shape 13667">
                    <a:extLst>
                      <a:ext uri="{FF2B5EF4-FFF2-40B4-BE49-F238E27FC236}">
                        <a16:creationId xmlns:a16="http://schemas.microsoft.com/office/drawing/2014/main" id="{936C5B08-3046-706A-79AF-B69AB5A170C8}"/>
                      </a:ext>
                    </a:extLst>
                  </p:cNvPr>
                  <p:cNvSpPr/>
                  <p:nvPr/>
                </p:nvSpPr>
                <p:spPr>
                  <a:xfrm>
                    <a:off x="6046470"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9" name="Freeform: Shape 13668">
                    <a:extLst>
                      <a:ext uri="{FF2B5EF4-FFF2-40B4-BE49-F238E27FC236}">
                        <a16:creationId xmlns:a16="http://schemas.microsoft.com/office/drawing/2014/main" id="{8FCFF542-7628-10A7-5895-BF20EF206D76}"/>
                      </a:ext>
                    </a:extLst>
                  </p:cNvPr>
                  <p:cNvSpPr/>
                  <p:nvPr/>
                </p:nvSpPr>
                <p:spPr>
                  <a:xfrm>
                    <a:off x="6008560"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6" name="Graphic 745">
                  <a:extLst>
                    <a:ext uri="{FF2B5EF4-FFF2-40B4-BE49-F238E27FC236}">
                      <a16:creationId xmlns:a16="http://schemas.microsoft.com/office/drawing/2014/main" id="{11078618-F5DC-DCAC-E455-50F4B8D1708C}"/>
                    </a:ext>
                  </a:extLst>
                </p:cNvPr>
                <p:cNvGrpSpPr/>
                <p:nvPr/>
              </p:nvGrpSpPr>
              <p:grpSpPr>
                <a:xfrm>
                  <a:off x="6024848" y="3841051"/>
                  <a:ext cx="75628" cy="75723"/>
                  <a:chOff x="6024848" y="3841051"/>
                  <a:chExt cx="75628" cy="75723"/>
                </a:xfrm>
              </p:grpSpPr>
              <p:sp>
                <p:nvSpPr>
                  <p:cNvPr id="13666" name="Freeform: Shape 13665">
                    <a:extLst>
                      <a:ext uri="{FF2B5EF4-FFF2-40B4-BE49-F238E27FC236}">
                        <a16:creationId xmlns:a16="http://schemas.microsoft.com/office/drawing/2014/main" id="{BD8FA966-B134-554A-4C26-D2AC90444895}"/>
                      </a:ext>
                    </a:extLst>
                  </p:cNvPr>
                  <p:cNvSpPr/>
                  <p:nvPr/>
                </p:nvSpPr>
                <p:spPr>
                  <a:xfrm>
                    <a:off x="6062662"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7" name="Freeform: Shape 13666">
                    <a:extLst>
                      <a:ext uri="{FF2B5EF4-FFF2-40B4-BE49-F238E27FC236}">
                        <a16:creationId xmlns:a16="http://schemas.microsoft.com/office/drawing/2014/main" id="{C266E461-57A3-5539-601F-77C319AC0326}"/>
                      </a:ext>
                    </a:extLst>
                  </p:cNvPr>
                  <p:cNvSpPr/>
                  <p:nvPr/>
                </p:nvSpPr>
                <p:spPr>
                  <a:xfrm>
                    <a:off x="6024848" y="387886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7" name="Graphic 745">
                  <a:extLst>
                    <a:ext uri="{FF2B5EF4-FFF2-40B4-BE49-F238E27FC236}">
                      <a16:creationId xmlns:a16="http://schemas.microsoft.com/office/drawing/2014/main" id="{B528E66A-BB9C-956D-3570-1946E3171B0A}"/>
                    </a:ext>
                  </a:extLst>
                </p:cNvPr>
                <p:cNvGrpSpPr/>
                <p:nvPr/>
              </p:nvGrpSpPr>
              <p:grpSpPr>
                <a:xfrm>
                  <a:off x="6036564" y="3841051"/>
                  <a:ext cx="75723" cy="75723"/>
                  <a:chOff x="6036564" y="3841051"/>
                  <a:chExt cx="75723" cy="75723"/>
                </a:xfrm>
              </p:grpSpPr>
              <p:sp>
                <p:nvSpPr>
                  <p:cNvPr id="13664" name="Freeform: Shape 13663">
                    <a:extLst>
                      <a:ext uri="{FF2B5EF4-FFF2-40B4-BE49-F238E27FC236}">
                        <a16:creationId xmlns:a16="http://schemas.microsoft.com/office/drawing/2014/main" id="{BA1C0096-42E2-8908-8612-AA050BE53CF8}"/>
                      </a:ext>
                    </a:extLst>
                  </p:cNvPr>
                  <p:cNvSpPr/>
                  <p:nvPr/>
                </p:nvSpPr>
                <p:spPr>
                  <a:xfrm>
                    <a:off x="6074378" y="38410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5" name="Freeform: Shape 13664">
                    <a:extLst>
                      <a:ext uri="{FF2B5EF4-FFF2-40B4-BE49-F238E27FC236}">
                        <a16:creationId xmlns:a16="http://schemas.microsoft.com/office/drawing/2014/main" id="{F5567DE9-71C7-71ED-42F6-CD99C51EEB03}"/>
                      </a:ext>
                    </a:extLst>
                  </p:cNvPr>
                  <p:cNvSpPr/>
                  <p:nvPr/>
                </p:nvSpPr>
                <p:spPr>
                  <a:xfrm>
                    <a:off x="6036564" y="387886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8" name="Graphic 745">
                  <a:extLst>
                    <a:ext uri="{FF2B5EF4-FFF2-40B4-BE49-F238E27FC236}">
                      <a16:creationId xmlns:a16="http://schemas.microsoft.com/office/drawing/2014/main" id="{4B1EAAD0-74C2-AD79-4AEB-E967A6ED807B}"/>
                    </a:ext>
                  </a:extLst>
                </p:cNvPr>
                <p:cNvGrpSpPr/>
                <p:nvPr/>
              </p:nvGrpSpPr>
              <p:grpSpPr>
                <a:xfrm>
                  <a:off x="6052756" y="3871435"/>
                  <a:ext cx="75723" cy="75723"/>
                  <a:chOff x="6052756" y="3871435"/>
                  <a:chExt cx="75723" cy="75723"/>
                </a:xfrm>
              </p:grpSpPr>
              <p:sp>
                <p:nvSpPr>
                  <p:cNvPr id="13662" name="Freeform: Shape 13661">
                    <a:extLst>
                      <a:ext uri="{FF2B5EF4-FFF2-40B4-BE49-F238E27FC236}">
                        <a16:creationId xmlns:a16="http://schemas.microsoft.com/office/drawing/2014/main" id="{06BADD1D-9B7A-504C-3D35-04EF8CE53094}"/>
                      </a:ext>
                    </a:extLst>
                  </p:cNvPr>
                  <p:cNvSpPr/>
                  <p:nvPr/>
                </p:nvSpPr>
                <p:spPr>
                  <a:xfrm>
                    <a:off x="6090666"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3" name="Freeform: Shape 13662">
                    <a:extLst>
                      <a:ext uri="{FF2B5EF4-FFF2-40B4-BE49-F238E27FC236}">
                        <a16:creationId xmlns:a16="http://schemas.microsoft.com/office/drawing/2014/main" id="{15356681-7487-ED4C-BDB8-6A67260110C9}"/>
                      </a:ext>
                    </a:extLst>
                  </p:cNvPr>
                  <p:cNvSpPr/>
                  <p:nvPr/>
                </p:nvSpPr>
                <p:spPr>
                  <a:xfrm>
                    <a:off x="6052756"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599" name="Graphic 745">
                  <a:extLst>
                    <a:ext uri="{FF2B5EF4-FFF2-40B4-BE49-F238E27FC236}">
                      <a16:creationId xmlns:a16="http://schemas.microsoft.com/office/drawing/2014/main" id="{57507A2B-0418-6A94-6B2C-5953F4DF0FD8}"/>
                    </a:ext>
                  </a:extLst>
                </p:cNvPr>
                <p:cNvGrpSpPr/>
                <p:nvPr/>
              </p:nvGrpSpPr>
              <p:grpSpPr>
                <a:xfrm>
                  <a:off x="6066567" y="3871435"/>
                  <a:ext cx="75723" cy="75723"/>
                  <a:chOff x="6066567" y="3871435"/>
                  <a:chExt cx="75723" cy="75723"/>
                </a:xfrm>
              </p:grpSpPr>
              <p:sp>
                <p:nvSpPr>
                  <p:cNvPr id="13660" name="Freeform: Shape 13659">
                    <a:extLst>
                      <a:ext uri="{FF2B5EF4-FFF2-40B4-BE49-F238E27FC236}">
                        <a16:creationId xmlns:a16="http://schemas.microsoft.com/office/drawing/2014/main" id="{20DD678D-E5AF-9AA0-1DB7-A6F99AA9B8FD}"/>
                      </a:ext>
                    </a:extLst>
                  </p:cNvPr>
                  <p:cNvSpPr/>
                  <p:nvPr/>
                </p:nvSpPr>
                <p:spPr>
                  <a:xfrm>
                    <a:off x="6104382" y="38714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61" name="Freeform: Shape 13660">
                    <a:extLst>
                      <a:ext uri="{FF2B5EF4-FFF2-40B4-BE49-F238E27FC236}">
                        <a16:creationId xmlns:a16="http://schemas.microsoft.com/office/drawing/2014/main" id="{6879BB76-0486-F4A2-8BDA-A682EA0C42B5}"/>
                      </a:ext>
                    </a:extLst>
                  </p:cNvPr>
                  <p:cNvSpPr/>
                  <p:nvPr/>
                </p:nvSpPr>
                <p:spPr>
                  <a:xfrm>
                    <a:off x="6066567" y="39093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0" name="Graphic 745">
                  <a:extLst>
                    <a:ext uri="{FF2B5EF4-FFF2-40B4-BE49-F238E27FC236}">
                      <a16:creationId xmlns:a16="http://schemas.microsoft.com/office/drawing/2014/main" id="{43EBE76F-93E7-B2FE-F2CE-D9D793C6442E}"/>
                    </a:ext>
                  </a:extLst>
                </p:cNvPr>
                <p:cNvGrpSpPr/>
                <p:nvPr/>
              </p:nvGrpSpPr>
              <p:grpSpPr>
                <a:xfrm>
                  <a:off x="6074378" y="3888104"/>
                  <a:ext cx="75723" cy="75628"/>
                  <a:chOff x="6074378" y="3888104"/>
                  <a:chExt cx="75723" cy="75628"/>
                </a:xfrm>
              </p:grpSpPr>
              <p:sp>
                <p:nvSpPr>
                  <p:cNvPr id="13658" name="Freeform: Shape 13657">
                    <a:extLst>
                      <a:ext uri="{FF2B5EF4-FFF2-40B4-BE49-F238E27FC236}">
                        <a16:creationId xmlns:a16="http://schemas.microsoft.com/office/drawing/2014/main" id="{3BD34569-9595-787A-105B-B4904F674AED}"/>
                      </a:ext>
                    </a:extLst>
                  </p:cNvPr>
                  <p:cNvSpPr/>
                  <p:nvPr/>
                </p:nvSpPr>
                <p:spPr>
                  <a:xfrm>
                    <a:off x="6112287" y="388810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9" name="Freeform: Shape 13658">
                    <a:extLst>
                      <a:ext uri="{FF2B5EF4-FFF2-40B4-BE49-F238E27FC236}">
                        <a16:creationId xmlns:a16="http://schemas.microsoft.com/office/drawing/2014/main" id="{1A3E79D5-B1ED-5429-ED62-5D99D63544FC}"/>
                      </a:ext>
                    </a:extLst>
                  </p:cNvPr>
                  <p:cNvSpPr/>
                  <p:nvPr/>
                </p:nvSpPr>
                <p:spPr>
                  <a:xfrm>
                    <a:off x="6074378" y="3925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1" name="Graphic 745">
                  <a:extLst>
                    <a:ext uri="{FF2B5EF4-FFF2-40B4-BE49-F238E27FC236}">
                      <a16:creationId xmlns:a16="http://schemas.microsoft.com/office/drawing/2014/main" id="{90CCC7E5-42BF-2531-35F5-1DB21067B840}"/>
                    </a:ext>
                  </a:extLst>
                </p:cNvPr>
                <p:cNvGrpSpPr/>
                <p:nvPr/>
              </p:nvGrpSpPr>
              <p:grpSpPr>
                <a:xfrm>
                  <a:off x="6088856" y="3909345"/>
                  <a:ext cx="75723" cy="75628"/>
                  <a:chOff x="6088856" y="3909345"/>
                  <a:chExt cx="75723" cy="75628"/>
                </a:xfrm>
              </p:grpSpPr>
              <p:sp>
                <p:nvSpPr>
                  <p:cNvPr id="13656" name="Freeform: Shape 13655">
                    <a:extLst>
                      <a:ext uri="{FF2B5EF4-FFF2-40B4-BE49-F238E27FC236}">
                        <a16:creationId xmlns:a16="http://schemas.microsoft.com/office/drawing/2014/main" id="{24DFB222-1FC4-74B3-7E17-2D217FE20116}"/>
                      </a:ext>
                    </a:extLst>
                  </p:cNvPr>
                  <p:cNvSpPr/>
                  <p:nvPr/>
                </p:nvSpPr>
                <p:spPr>
                  <a:xfrm>
                    <a:off x="6126670"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7" name="Freeform: Shape 13656">
                    <a:extLst>
                      <a:ext uri="{FF2B5EF4-FFF2-40B4-BE49-F238E27FC236}">
                        <a16:creationId xmlns:a16="http://schemas.microsoft.com/office/drawing/2014/main" id="{E415430F-1589-1950-6C14-CD3CC7E3C7AD}"/>
                      </a:ext>
                    </a:extLst>
                  </p:cNvPr>
                  <p:cNvSpPr/>
                  <p:nvPr/>
                </p:nvSpPr>
                <p:spPr>
                  <a:xfrm>
                    <a:off x="608885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2" name="Graphic 745">
                  <a:extLst>
                    <a:ext uri="{FF2B5EF4-FFF2-40B4-BE49-F238E27FC236}">
                      <a16:creationId xmlns:a16="http://schemas.microsoft.com/office/drawing/2014/main" id="{118D2791-AF68-8103-BC86-F9D515567D7B}"/>
                    </a:ext>
                  </a:extLst>
                </p:cNvPr>
                <p:cNvGrpSpPr/>
                <p:nvPr/>
              </p:nvGrpSpPr>
              <p:grpSpPr>
                <a:xfrm>
                  <a:off x="6112287" y="3909345"/>
                  <a:ext cx="75628" cy="75628"/>
                  <a:chOff x="6112287" y="3909345"/>
                  <a:chExt cx="75628" cy="75628"/>
                </a:xfrm>
              </p:grpSpPr>
              <p:sp>
                <p:nvSpPr>
                  <p:cNvPr id="13654" name="Freeform: Shape 13653">
                    <a:extLst>
                      <a:ext uri="{FF2B5EF4-FFF2-40B4-BE49-F238E27FC236}">
                        <a16:creationId xmlns:a16="http://schemas.microsoft.com/office/drawing/2014/main" id="{BF89921B-738B-2463-7BF5-2F24323CD3C9}"/>
                      </a:ext>
                    </a:extLst>
                  </p:cNvPr>
                  <p:cNvSpPr/>
                  <p:nvPr/>
                </p:nvSpPr>
                <p:spPr>
                  <a:xfrm>
                    <a:off x="6150102"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5" name="Freeform: Shape 13654">
                    <a:extLst>
                      <a:ext uri="{FF2B5EF4-FFF2-40B4-BE49-F238E27FC236}">
                        <a16:creationId xmlns:a16="http://schemas.microsoft.com/office/drawing/2014/main" id="{F4C42205-0769-2C0F-12A3-27EE389775DD}"/>
                      </a:ext>
                    </a:extLst>
                  </p:cNvPr>
                  <p:cNvSpPr/>
                  <p:nvPr/>
                </p:nvSpPr>
                <p:spPr>
                  <a:xfrm>
                    <a:off x="6112287" y="394715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3" name="Graphic 745">
                  <a:extLst>
                    <a:ext uri="{FF2B5EF4-FFF2-40B4-BE49-F238E27FC236}">
                      <a16:creationId xmlns:a16="http://schemas.microsoft.com/office/drawing/2014/main" id="{F395CF0C-CBB4-6D31-A3F7-7DB419B730B7}"/>
                    </a:ext>
                  </a:extLst>
                </p:cNvPr>
                <p:cNvGrpSpPr/>
                <p:nvPr/>
              </p:nvGrpSpPr>
              <p:grpSpPr>
                <a:xfrm>
                  <a:off x="6100476" y="3909345"/>
                  <a:ext cx="75723" cy="75628"/>
                  <a:chOff x="6100476" y="3909345"/>
                  <a:chExt cx="75723" cy="75628"/>
                </a:xfrm>
              </p:grpSpPr>
              <p:sp>
                <p:nvSpPr>
                  <p:cNvPr id="13652" name="Freeform: Shape 13651">
                    <a:extLst>
                      <a:ext uri="{FF2B5EF4-FFF2-40B4-BE49-F238E27FC236}">
                        <a16:creationId xmlns:a16="http://schemas.microsoft.com/office/drawing/2014/main" id="{CF28FC7A-4067-5506-8699-0EF4D78182EF}"/>
                      </a:ext>
                    </a:extLst>
                  </p:cNvPr>
                  <p:cNvSpPr/>
                  <p:nvPr/>
                </p:nvSpPr>
                <p:spPr>
                  <a:xfrm>
                    <a:off x="6138386" y="390934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3" name="Freeform: Shape 13652">
                    <a:extLst>
                      <a:ext uri="{FF2B5EF4-FFF2-40B4-BE49-F238E27FC236}">
                        <a16:creationId xmlns:a16="http://schemas.microsoft.com/office/drawing/2014/main" id="{FEF917B1-886C-753B-216D-C14BC600DB23}"/>
                      </a:ext>
                    </a:extLst>
                  </p:cNvPr>
                  <p:cNvSpPr/>
                  <p:nvPr/>
                </p:nvSpPr>
                <p:spPr>
                  <a:xfrm>
                    <a:off x="6100476" y="39471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4" name="Graphic 745">
                  <a:extLst>
                    <a:ext uri="{FF2B5EF4-FFF2-40B4-BE49-F238E27FC236}">
                      <a16:creationId xmlns:a16="http://schemas.microsoft.com/office/drawing/2014/main" id="{43F5365C-BB95-4576-8A28-CAF7CCC7B8F2}"/>
                    </a:ext>
                  </a:extLst>
                </p:cNvPr>
                <p:cNvGrpSpPr/>
                <p:nvPr/>
              </p:nvGrpSpPr>
              <p:grpSpPr>
                <a:xfrm>
                  <a:off x="6900100" y="4071937"/>
                  <a:ext cx="75723" cy="75723"/>
                  <a:chOff x="6900100" y="4071937"/>
                  <a:chExt cx="75723" cy="75723"/>
                </a:xfrm>
              </p:grpSpPr>
              <p:sp>
                <p:nvSpPr>
                  <p:cNvPr id="13650" name="Freeform: Shape 13649">
                    <a:extLst>
                      <a:ext uri="{FF2B5EF4-FFF2-40B4-BE49-F238E27FC236}">
                        <a16:creationId xmlns:a16="http://schemas.microsoft.com/office/drawing/2014/main" id="{6604203B-EC3B-884D-3892-99CA2F380496}"/>
                      </a:ext>
                    </a:extLst>
                  </p:cNvPr>
                  <p:cNvSpPr/>
                  <p:nvPr/>
                </p:nvSpPr>
                <p:spPr>
                  <a:xfrm>
                    <a:off x="6938010" y="40719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51" name="Freeform: Shape 13650">
                    <a:extLst>
                      <a:ext uri="{FF2B5EF4-FFF2-40B4-BE49-F238E27FC236}">
                        <a16:creationId xmlns:a16="http://schemas.microsoft.com/office/drawing/2014/main" id="{88A806A6-6CD5-49B1-5783-37A81B9AF456}"/>
                      </a:ext>
                    </a:extLst>
                  </p:cNvPr>
                  <p:cNvSpPr/>
                  <p:nvPr/>
                </p:nvSpPr>
                <p:spPr>
                  <a:xfrm>
                    <a:off x="6900100" y="41097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5" name="Graphic 745">
                  <a:extLst>
                    <a:ext uri="{FF2B5EF4-FFF2-40B4-BE49-F238E27FC236}">
                      <a16:creationId xmlns:a16="http://schemas.microsoft.com/office/drawing/2014/main" id="{2442A6C6-F67B-1BB0-E7AF-EFFD4CCB6F45}"/>
                    </a:ext>
                  </a:extLst>
                </p:cNvPr>
                <p:cNvGrpSpPr/>
                <p:nvPr/>
              </p:nvGrpSpPr>
              <p:grpSpPr>
                <a:xfrm>
                  <a:off x="6962298" y="4156328"/>
                  <a:ext cx="75723" cy="75628"/>
                  <a:chOff x="6962298" y="4156328"/>
                  <a:chExt cx="75723" cy="75628"/>
                </a:xfrm>
              </p:grpSpPr>
              <p:sp>
                <p:nvSpPr>
                  <p:cNvPr id="13648" name="Freeform: Shape 13647">
                    <a:extLst>
                      <a:ext uri="{FF2B5EF4-FFF2-40B4-BE49-F238E27FC236}">
                        <a16:creationId xmlns:a16="http://schemas.microsoft.com/office/drawing/2014/main" id="{515F7F61-0531-DE24-B099-16212B0DFA1F}"/>
                      </a:ext>
                    </a:extLst>
                  </p:cNvPr>
                  <p:cNvSpPr/>
                  <p:nvPr/>
                </p:nvSpPr>
                <p:spPr>
                  <a:xfrm>
                    <a:off x="7000113" y="415632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9" name="Freeform: Shape 13648">
                    <a:extLst>
                      <a:ext uri="{FF2B5EF4-FFF2-40B4-BE49-F238E27FC236}">
                        <a16:creationId xmlns:a16="http://schemas.microsoft.com/office/drawing/2014/main" id="{1A9E6A91-678B-6A97-0C48-C82A206A8BCA}"/>
                      </a:ext>
                    </a:extLst>
                  </p:cNvPr>
                  <p:cNvSpPr/>
                  <p:nvPr/>
                </p:nvSpPr>
                <p:spPr>
                  <a:xfrm>
                    <a:off x="6962298" y="4194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6" name="Graphic 745">
                  <a:extLst>
                    <a:ext uri="{FF2B5EF4-FFF2-40B4-BE49-F238E27FC236}">
                      <a16:creationId xmlns:a16="http://schemas.microsoft.com/office/drawing/2014/main" id="{33010AB1-628F-5FAD-961C-CECA59706B9D}"/>
                    </a:ext>
                  </a:extLst>
                </p:cNvPr>
                <p:cNvGrpSpPr/>
                <p:nvPr/>
              </p:nvGrpSpPr>
              <p:grpSpPr>
                <a:xfrm>
                  <a:off x="6946773" y="4131087"/>
                  <a:ext cx="75723" cy="75628"/>
                  <a:chOff x="6946773" y="4131087"/>
                  <a:chExt cx="75723" cy="75628"/>
                </a:xfrm>
              </p:grpSpPr>
              <p:sp>
                <p:nvSpPr>
                  <p:cNvPr id="13646" name="Freeform: Shape 13645">
                    <a:extLst>
                      <a:ext uri="{FF2B5EF4-FFF2-40B4-BE49-F238E27FC236}">
                        <a16:creationId xmlns:a16="http://schemas.microsoft.com/office/drawing/2014/main" id="{B2C047A3-B7FE-B07B-2954-B0571449FBC5}"/>
                      </a:ext>
                    </a:extLst>
                  </p:cNvPr>
                  <p:cNvSpPr/>
                  <p:nvPr/>
                </p:nvSpPr>
                <p:spPr>
                  <a:xfrm>
                    <a:off x="6984682" y="413108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7" name="Freeform: Shape 13646">
                    <a:extLst>
                      <a:ext uri="{FF2B5EF4-FFF2-40B4-BE49-F238E27FC236}">
                        <a16:creationId xmlns:a16="http://schemas.microsoft.com/office/drawing/2014/main" id="{CFE6BDBF-8A3D-13FE-009C-EA6F51A75611}"/>
                      </a:ext>
                    </a:extLst>
                  </p:cNvPr>
                  <p:cNvSpPr/>
                  <p:nvPr/>
                </p:nvSpPr>
                <p:spPr>
                  <a:xfrm>
                    <a:off x="6946773" y="41689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7" name="Graphic 745">
                  <a:extLst>
                    <a:ext uri="{FF2B5EF4-FFF2-40B4-BE49-F238E27FC236}">
                      <a16:creationId xmlns:a16="http://schemas.microsoft.com/office/drawing/2014/main" id="{682B0C72-78CB-229B-067E-DE22B3F2403C}"/>
                    </a:ext>
                  </a:extLst>
                </p:cNvPr>
                <p:cNvGrpSpPr/>
                <p:nvPr/>
              </p:nvGrpSpPr>
              <p:grpSpPr>
                <a:xfrm>
                  <a:off x="6926865" y="4104322"/>
                  <a:ext cx="75723" cy="75723"/>
                  <a:chOff x="6926865" y="4104322"/>
                  <a:chExt cx="75723" cy="75723"/>
                </a:xfrm>
              </p:grpSpPr>
              <p:sp>
                <p:nvSpPr>
                  <p:cNvPr id="13644" name="Freeform: Shape 13643">
                    <a:extLst>
                      <a:ext uri="{FF2B5EF4-FFF2-40B4-BE49-F238E27FC236}">
                        <a16:creationId xmlns:a16="http://schemas.microsoft.com/office/drawing/2014/main" id="{5D225F09-7A92-82EB-63FA-6C8E52DA5F08}"/>
                      </a:ext>
                    </a:extLst>
                  </p:cNvPr>
                  <p:cNvSpPr/>
                  <p:nvPr/>
                </p:nvSpPr>
                <p:spPr>
                  <a:xfrm>
                    <a:off x="6964680"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5" name="Freeform: Shape 13644">
                    <a:extLst>
                      <a:ext uri="{FF2B5EF4-FFF2-40B4-BE49-F238E27FC236}">
                        <a16:creationId xmlns:a16="http://schemas.microsoft.com/office/drawing/2014/main" id="{B50523AC-FCB1-5B19-FDCF-ABF807235E15}"/>
                      </a:ext>
                    </a:extLst>
                  </p:cNvPr>
                  <p:cNvSpPr/>
                  <p:nvPr/>
                </p:nvSpPr>
                <p:spPr>
                  <a:xfrm>
                    <a:off x="6926865"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8" name="Graphic 745">
                  <a:extLst>
                    <a:ext uri="{FF2B5EF4-FFF2-40B4-BE49-F238E27FC236}">
                      <a16:creationId xmlns:a16="http://schemas.microsoft.com/office/drawing/2014/main" id="{DC63995D-7210-37BE-F289-286C7EDBDC00}"/>
                    </a:ext>
                  </a:extLst>
                </p:cNvPr>
                <p:cNvGrpSpPr/>
                <p:nvPr/>
              </p:nvGrpSpPr>
              <p:grpSpPr>
                <a:xfrm>
                  <a:off x="6912864" y="4104322"/>
                  <a:ext cx="75723" cy="75723"/>
                  <a:chOff x="6912864" y="4104322"/>
                  <a:chExt cx="75723" cy="75723"/>
                </a:xfrm>
              </p:grpSpPr>
              <p:sp>
                <p:nvSpPr>
                  <p:cNvPr id="13642" name="Freeform: Shape 13641">
                    <a:extLst>
                      <a:ext uri="{FF2B5EF4-FFF2-40B4-BE49-F238E27FC236}">
                        <a16:creationId xmlns:a16="http://schemas.microsoft.com/office/drawing/2014/main" id="{0B441C7E-EF04-2AAF-6206-E2304CE4F21B}"/>
                      </a:ext>
                    </a:extLst>
                  </p:cNvPr>
                  <p:cNvSpPr/>
                  <p:nvPr/>
                </p:nvSpPr>
                <p:spPr>
                  <a:xfrm>
                    <a:off x="6950773" y="41043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3" name="Freeform: Shape 13642">
                    <a:extLst>
                      <a:ext uri="{FF2B5EF4-FFF2-40B4-BE49-F238E27FC236}">
                        <a16:creationId xmlns:a16="http://schemas.microsoft.com/office/drawing/2014/main" id="{AB9A670B-015F-79C8-9274-6CA461677A62}"/>
                      </a:ext>
                    </a:extLst>
                  </p:cNvPr>
                  <p:cNvSpPr/>
                  <p:nvPr/>
                </p:nvSpPr>
                <p:spPr>
                  <a:xfrm>
                    <a:off x="6912864" y="41421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09" name="Graphic 745">
                  <a:extLst>
                    <a:ext uri="{FF2B5EF4-FFF2-40B4-BE49-F238E27FC236}">
                      <a16:creationId xmlns:a16="http://schemas.microsoft.com/office/drawing/2014/main" id="{C7FE76BF-64E7-EA65-E13D-9FEEA29508B1}"/>
                    </a:ext>
                  </a:extLst>
                </p:cNvPr>
                <p:cNvGrpSpPr/>
                <p:nvPr/>
              </p:nvGrpSpPr>
              <p:grpSpPr>
                <a:xfrm>
                  <a:off x="7032117" y="4185284"/>
                  <a:ext cx="75723" cy="75723"/>
                  <a:chOff x="7032117" y="4185284"/>
                  <a:chExt cx="75723" cy="75723"/>
                </a:xfrm>
              </p:grpSpPr>
              <p:sp>
                <p:nvSpPr>
                  <p:cNvPr id="13640" name="Freeform: Shape 13639">
                    <a:extLst>
                      <a:ext uri="{FF2B5EF4-FFF2-40B4-BE49-F238E27FC236}">
                        <a16:creationId xmlns:a16="http://schemas.microsoft.com/office/drawing/2014/main" id="{D872ED36-ED1D-4583-EE46-3E4E37397726}"/>
                      </a:ext>
                    </a:extLst>
                  </p:cNvPr>
                  <p:cNvSpPr/>
                  <p:nvPr/>
                </p:nvSpPr>
                <p:spPr>
                  <a:xfrm>
                    <a:off x="7070026" y="41852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41" name="Freeform: Shape 13640">
                    <a:extLst>
                      <a:ext uri="{FF2B5EF4-FFF2-40B4-BE49-F238E27FC236}">
                        <a16:creationId xmlns:a16="http://schemas.microsoft.com/office/drawing/2014/main" id="{7FB3E2D2-D780-79CF-BB9D-ED6F8ABD64CB}"/>
                      </a:ext>
                    </a:extLst>
                  </p:cNvPr>
                  <p:cNvSpPr/>
                  <p:nvPr/>
                </p:nvSpPr>
                <p:spPr>
                  <a:xfrm>
                    <a:off x="7032117" y="42231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0" name="Graphic 745">
                  <a:extLst>
                    <a:ext uri="{FF2B5EF4-FFF2-40B4-BE49-F238E27FC236}">
                      <a16:creationId xmlns:a16="http://schemas.microsoft.com/office/drawing/2014/main" id="{E2D89C3F-05DC-DEB2-A1C1-E3DDEC128FF5}"/>
                    </a:ext>
                  </a:extLst>
                </p:cNvPr>
                <p:cNvGrpSpPr/>
                <p:nvPr/>
              </p:nvGrpSpPr>
              <p:grpSpPr>
                <a:xfrm>
                  <a:off x="7742872" y="4275772"/>
                  <a:ext cx="75723" cy="75723"/>
                  <a:chOff x="7742872" y="4275772"/>
                  <a:chExt cx="75723" cy="75723"/>
                </a:xfrm>
              </p:grpSpPr>
              <p:sp>
                <p:nvSpPr>
                  <p:cNvPr id="13638" name="Freeform: Shape 13637">
                    <a:extLst>
                      <a:ext uri="{FF2B5EF4-FFF2-40B4-BE49-F238E27FC236}">
                        <a16:creationId xmlns:a16="http://schemas.microsoft.com/office/drawing/2014/main" id="{10E9A46A-5DC8-FE2D-D025-E07D8D3303B5}"/>
                      </a:ext>
                    </a:extLst>
                  </p:cNvPr>
                  <p:cNvSpPr/>
                  <p:nvPr/>
                </p:nvSpPr>
                <p:spPr>
                  <a:xfrm>
                    <a:off x="7780686"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9" name="Freeform: Shape 13638">
                    <a:extLst>
                      <a:ext uri="{FF2B5EF4-FFF2-40B4-BE49-F238E27FC236}">
                        <a16:creationId xmlns:a16="http://schemas.microsoft.com/office/drawing/2014/main" id="{C5976951-0984-FCB7-9871-E3A589E8F350}"/>
                      </a:ext>
                    </a:extLst>
                  </p:cNvPr>
                  <p:cNvSpPr/>
                  <p:nvPr/>
                </p:nvSpPr>
                <p:spPr>
                  <a:xfrm>
                    <a:off x="7742872"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1" name="Graphic 745">
                  <a:extLst>
                    <a:ext uri="{FF2B5EF4-FFF2-40B4-BE49-F238E27FC236}">
                      <a16:creationId xmlns:a16="http://schemas.microsoft.com/office/drawing/2014/main" id="{EFDA3D13-1543-5542-D253-83F1843B2099}"/>
                    </a:ext>
                  </a:extLst>
                </p:cNvPr>
                <p:cNvGrpSpPr/>
                <p:nvPr/>
              </p:nvGrpSpPr>
              <p:grpSpPr>
                <a:xfrm>
                  <a:off x="7766399" y="4275772"/>
                  <a:ext cx="75628" cy="75723"/>
                  <a:chOff x="7766399" y="4275772"/>
                  <a:chExt cx="75628" cy="75723"/>
                </a:xfrm>
              </p:grpSpPr>
              <p:sp>
                <p:nvSpPr>
                  <p:cNvPr id="13636" name="Freeform: Shape 13635">
                    <a:extLst>
                      <a:ext uri="{FF2B5EF4-FFF2-40B4-BE49-F238E27FC236}">
                        <a16:creationId xmlns:a16="http://schemas.microsoft.com/office/drawing/2014/main" id="{0EA2903D-F821-3E8C-06E0-A6749573E452}"/>
                      </a:ext>
                    </a:extLst>
                  </p:cNvPr>
                  <p:cNvSpPr/>
                  <p:nvPr/>
                </p:nvSpPr>
                <p:spPr>
                  <a:xfrm>
                    <a:off x="780421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7" name="Freeform: Shape 13636">
                    <a:extLst>
                      <a:ext uri="{FF2B5EF4-FFF2-40B4-BE49-F238E27FC236}">
                        <a16:creationId xmlns:a16="http://schemas.microsoft.com/office/drawing/2014/main" id="{8C52511F-E398-EE35-F4E3-D4051F0AF648}"/>
                      </a:ext>
                    </a:extLst>
                  </p:cNvPr>
                  <p:cNvSpPr/>
                  <p:nvPr/>
                </p:nvSpPr>
                <p:spPr>
                  <a:xfrm>
                    <a:off x="7766399"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2" name="Graphic 745">
                  <a:extLst>
                    <a:ext uri="{FF2B5EF4-FFF2-40B4-BE49-F238E27FC236}">
                      <a16:creationId xmlns:a16="http://schemas.microsoft.com/office/drawing/2014/main" id="{82A4A0DE-91F9-3C57-F2E7-5B4E6A70CC2B}"/>
                    </a:ext>
                  </a:extLst>
                </p:cNvPr>
                <p:cNvGrpSpPr/>
                <p:nvPr/>
              </p:nvGrpSpPr>
              <p:grpSpPr>
                <a:xfrm>
                  <a:off x="7787449" y="4275772"/>
                  <a:ext cx="75723" cy="75723"/>
                  <a:chOff x="7787449" y="4275772"/>
                  <a:chExt cx="75723" cy="75723"/>
                </a:xfrm>
              </p:grpSpPr>
              <p:sp>
                <p:nvSpPr>
                  <p:cNvPr id="13634" name="Freeform: Shape 13633">
                    <a:extLst>
                      <a:ext uri="{FF2B5EF4-FFF2-40B4-BE49-F238E27FC236}">
                        <a16:creationId xmlns:a16="http://schemas.microsoft.com/office/drawing/2014/main" id="{B19CA0F4-6386-7CA0-89D6-F47561ABD9B3}"/>
                      </a:ext>
                    </a:extLst>
                  </p:cNvPr>
                  <p:cNvSpPr/>
                  <p:nvPr/>
                </p:nvSpPr>
                <p:spPr>
                  <a:xfrm>
                    <a:off x="78252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5" name="Freeform: Shape 13634">
                    <a:extLst>
                      <a:ext uri="{FF2B5EF4-FFF2-40B4-BE49-F238E27FC236}">
                        <a16:creationId xmlns:a16="http://schemas.microsoft.com/office/drawing/2014/main" id="{B905A342-CEF6-498C-509A-6EDC1BF1500A}"/>
                      </a:ext>
                    </a:extLst>
                  </p:cNvPr>
                  <p:cNvSpPr/>
                  <p:nvPr/>
                </p:nvSpPr>
                <p:spPr>
                  <a:xfrm>
                    <a:off x="778744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3" name="Graphic 745">
                  <a:extLst>
                    <a:ext uri="{FF2B5EF4-FFF2-40B4-BE49-F238E27FC236}">
                      <a16:creationId xmlns:a16="http://schemas.microsoft.com/office/drawing/2014/main" id="{8ADD966F-8134-B64A-B0C9-D2D17E6610EC}"/>
                    </a:ext>
                  </a:extLst>
                </p:cNvPr>
                <p:cNvGrpSpPr/>
                <p:nvPr/>
              </p:nvGrpSpPr>
              <p:grpSpPr>
                <a:xfrm>
                  <a:off x="7793545" y="4275772"/>
                  <a:ext cx="75628" cy="75723"/>
                  <a:chOff x="7793545" y="4275772"/>
                  <a:chExt cx="75628" cy="75723"/>
                </a:xfrm>
              </p:grpSpPr>
              <p:sp>
                <p:nvSpPr>
                  <p:cNvPr id="13632" name="Freeform: Shape 13631">
                    <a:extLst>
                      <a:ext uri="{FF2B5EF4-FFF2-40B4-BE49-F238E27FC236}">
                        <a16:creationId xmlns:a16="http://schemas.microsoft.com/office/drawing/2014/main" id="{79E4299B-171A-807D-1765-9B5B935BE26A}"/>
                      </a:ext>
                    </a:extLst>
                  </p:cNvPr>
                  <p:cNvSpPr/>
                  <p:nvPr/>
                </p:nvSpPr>
                <p:spPr>
                  <a:xfrm>
                    <a:off x="7831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3" name="Freeform: Shape 13632">
                    <a:extLst>
                      <a:ext uri="{FF2B5EF4-FFF2-40B4-BE49-F238E27FC236}">
                        <a16:creationId xmlns:a16="http://schemas.microsoft.com/office/drawing/2014/main" id="{A153F158-F54D-9F3C-3E36-359285213581}"/>
                      </a:ext>
                    </a:extLst>
                  </p:cNvPr>
                  <p:cNvSpPr/>
                  <p:nvPr/>
                </p:nvSpPr>
                <p:spPr>
                  <a:xfrm>
                    <a:off x="7793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4" name="Graphic 745">
                  <a:extLst>
                    <a:ext uri="{FF2B5EF4-FFF2-40B4-BE49-F238E27FC236}">
                      <a16:creationId xmlns:a16="http://schemas.microsoft.com/office/drawing/2014/main" id="{A5C622D1-75B8-0A02-0E4E-2938E37256AA}"/>
                    </a:ext>
                  </a:extLst>
                </p:cNvPr>
                <p:cNvGrpSpPr/>
                <p:nvPr/>
              </p:nvGrpSpPr>
              <p:grpSpPr>
                <a:xfrm>
                  <a:off x="7821453" y="4275772"/>
                  <a:ext cx="75723" cy="75723"/>
                  <a:chOff x="7821453" y="4275772"/>
                  <a:chExt cx="75723" cy="75723"/>
                </a:xfrm>
              </p:grpSpPr>
              <p:sp>
                <p:nvSpPr>
                  <p:cNvPr id="13630" name="Freeform: Shape 13629">
                    <a:extLst>
                      <a:ext uri="{FF2B5EF4-FFF2-40B4-BE49-F238E27FC236}">
                        <a16:creationId xmlns:a16="http://schemas.microsoft.com/office/drawing/2014/main" id="{4A88944F-F639-EA1C-E42B-E23B8E000826}"/>
                      </a:ext>
                    </a:extLst>
                  </p:cNvPr>
                  <p:cNvSpPr/>
                  <p:nvPr/>
                </p:nvSpPr>
                <p:spPr>
                  <a:xfrm>
                    <a:off x="785936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31" name="Freeform: Shape 13630">
                    <a:extLst>
                      <a:ext uri="{FF2B5EF4-FFF2-40B4-BE49-F238E27FC236}">
                        <a16:creationId xmlns:a16="http://schemas.microsoft.com/office/drawing/2014/main" id="{63A5B8D5-0F2C-D6C5-D91C-29D5005A49B4}"/>
                      </a:ext>
                    </a:extLst>
                  </p:cNvPr>
                  <p:cNvSpPr/>
                  <p:nvPr/>
                </p:nvSpPr>
                <p:spPr>
                  <a:xfrm>
                    <a:off x="782145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5" name="Graphic 745">
                  <a:extLst>
                    <a:ext uri="{FF2B5EF4-FFF2-40B4-BE49-F238E27FC236}">
                      <a16:creationId xmlns:a16="http://schemas.microsoft.com/office/drawing/2014/main" id="{A5B0AE11-2036-BC31-7BCC-C38254FE78B8}"/>
                    </a:ext>
                  </a:extLst>
                </p:cNvPr>
                <p:cNvGrpSpPr/>
                <p:nvPr/>
              </p:nvGrpSpPr>
              <p:grpSpPr>
                <a:xfrm>
                  <a:off x="7807737" y="4275772"/>
                  <a:ext cx="75628" cy="75723"/>
                  <a:chOff x="7807737" y="4275772"/>
                  <a:chExt cx="75628" cy="75723"/>
                </a:xfrm>
              </p:grpSpPr>
              <p:sp>
                <p:nvSpPr>
                  <p:cNvPr id="13628" name="Freeform: Shape 13627">
                    <a:extLst>
                      <a:ext uri="{FF2B5EF4-FFF2-40B4-BE49-F238E27FC236}">
                        <a16:creationId xmlns:a16="http://schemas.microsoft.com/office/drawing/2014/main" id="{B813F777-85D0-5C76-C3A5-03CB08C30508}"/>
                      </a:ext>
                    </a:extLst>
                  </p:cNvPr>
                  <p:cNvSpPr/>
                  <p:nvPr/>
                </p:nvSpPr>
                <p:spPr>
                  <a:xfrm>
                    <a:off x="784555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9" name="Freeform: Shape 13628">
                    <a:extLst>
                      <a:ext uri="{FF2B5EF4-FFF2-40B4-BE49-F238E27FC236}">
                        <a16:creationId xmlns:a16="http://schemas.microsoft.com/office/drawing/2014/main" id="{7A17F5B2-636F-A131-6AD7-EFB1AF1560D4}"/>
                      </a:ext>
                    </a:extLst>
                  </p:cNvPr>
                  <p:cNvSpPr/>
                  <p:nvPr/>
                </p:nvSpPr>
                <p:spPr>
                  <a:xfrm>
                    <a:off x="7807737" y="431368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6" name="Graphic 745">
                  <a:extLst>
                    <a:ext uri="{FF2B5EF4-FFF2-40B4-BE49-F238E27FC236}">
                      <a16:creationId xmlns:a16="http://schemas.microsoft.com/office/drawing/2014/main" id="{24AF1C47-295A-A500-7709-1342272EC054}"/>
                    </a:ext>
                  </a:extLst>
                </p:cNvPr>
                <p:cNvGrpSpPr/>
                <p:nvPr/>
              </p:nvGrpSpPr>
              <p:grpSpPr>
                <a:xfrm>
                  <a:off x="8174545" y="4275772"/>
                  <a:ext cx="75628" cy="75723"/>
                  <a:chOff x="8174545" y="4275772"/>
                  <a:chExt cx="75628" cy="75723"/>
                </a:xfrm>
              </p:grpSpPr>
              <p:sp>
                <p:nvSpPr>
                  <p:cNvPr id="13626" name="Freeform: Shape 13625">
                    <a:extLst>
                      <a:ext uri="{FF2B5EF4-FFF2-40B4-BE49-F238E27FC236}">
                        <a16:creationId xmlns:a16="http://schemas.microsoft.com/office/drawing/2014/main" id="{C2653EE7-8F45-B89F-2627-9908F69EC7E5}"/>
                      </a:ext>
                    </a:extLst>
                  </p:cNvPr>
                  <p:cNvSpPr/>
                  <p:nvPr/>
                </p:nvSpPr>
                <p:spPr>
                  <a:xfrm>
                    <a:off x="8212359"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7" name="Freeform: Shape 13626">
                    <a:extLst>
                      <a:ext uri="{FF2B5EF4-FFF2-40B4-BE49-F238E27FC236}">
                        <a16:creationId xmlns:a16="http://schemas.microsoft.com/office/drawing/2014/main" id="{2427D9B5-E0E1-A78D-C549-0FB014A27CE5}"/>
                      </a:ext>
                    </a:extLst>
                  </p:cNvPr>
                  <p:cNvSpPr/>
                  <p:nvPr/>
                </p:nvSpPr>
                <p:spPr>
                  <a:xfrm>
                    <a:off x="8174545" y="431368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7" name="Graphic 745">
                  <a:extLst>
                    <a:ext uri="{FF2B5EF4-FFF2-40B4-BE49-F238E27FC236}">
                      <a16:creationId xmlns:a16="http://schemas.microsoft.com/office/drawing/2014/main" id="{0539A95A-99F4-1857-2547-082432CFB3CB}"/>
                    </a:ext>
                  </a:extLst>
                </p:cNvPr>
                <p:cNvGrpSpPr/>
                <p:nvPr/>
              </p:nvGrpSpPr>
              <p:grpSpPr>
                <a:xfrm>
                  <a:off x="8189118" y="4275772"/>
                  <a:ext cx="75723" cy="75723"/>
                  <a:chOff x="8189118" y="4275772"/>
                  <a:chExt cx="75723" cy="75723"/>
                </a:xfrm>
              </p:grpSpPr>
              <p:sp>
                <p:nvSpPr>
                  <p:cNvPr id="13624" name="Freeform: Shape 13623">
                    <a:extLst>
                      <a:ext uri="{FF2B5EF4-FFF2-40B4-BE49-F238E27FC236}">
                        <a16:creationId xmlns:a16="http://schemas.microsoft.com/office/drawing/2014/main" id="{9FBB87F9-BFF1-5C5E-2012-6BDD772C0127}"/>
                      </a:ext>
                    </a:extLst>
                  </p:cNvPr>
                  <p:cNvSpPr/>
                  <p:nvPr/>
                </p:nvSpPr>
                <p:spPr>
                  <a:xfrm>
                    <a:off x="8226933"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5" name="Freeform: Shape 13624">
                    <a:extLst>
                      <a:ext uri="{FF2B5EF4-FFF2-40B4-BE49-F238E27FC236}">
                        <a16:creationId xmlns:a16="http://schemas.microsoft.com/office/drawing/2014/main" id="{6A57C88B-9F84-6AA3-5F3F-799F2F48F51E}"/>
                      </a:ext>
                    </a:extLst>
                  </p:cNvPr>
                  <p:cNvSpPr/>
                  <p:nvPr/>
                </p:nvSpPr>
                <p:spPr>
                  <a:xfrm>
                    <a:off x="8189118"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8" name="Graphic 745">
                  <a:extLst>
                    <a:ext uri="{FF2B5EF4-FFF2-40B4-BE49-F238E27FC236}">
                      <a16:creationId xmlns:a16="http://schemas.microsoft.com/office/drawing/2014/main" id="{9DDD816B-BBCB-05F2-66D0-261C81AC0DE5}"/>
                    </a:ext>
                  </a:extLst>
                </p:cNvPr>
                <p:cNvGrpSpPr/>
                <p:nvPr/>
              </p:nvGrpSpPr>
              <p:grpSpPr>
                <a:xfrm>
                  <a:off x="8212359" y="4275772"/>
                  <a:ext cx="75723" cy="75723"/>
                  <a:chOff x="8212359" y="4275772"/>
                  <a:chExt cx="75723" cy="75723"/>
                </a:xfrm>
              </p:grpSpPr>
              <p:sp>
                <p:nvSpPr>
                  <p:cNvPr id="13622" name="Freeform: Shape 13621">
                    <a:extLst>
                      <a:ext uri="{FF2B5EF4-FFF2-40B4-BE49-F238E27FC236}">
                        <a16:creationId xmlns:a16="http://schemas.microsoft.com/office/drawing/2014/main" id="{7F028AE7-3DCA-C0C5-802E-0E59C268CB78}"/>
                      </a:ext>
                    </a:extLst>
                  </p:cNvPr>
                  <p:cNvSpPr/>
                  <p:nvPr/>
                </p:nvSpPr>
                <p:spPr>
                  <a:xfrm>
                    <a:off x="8250174"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3" name="Freeform: Shape 13622">
                    <a:extLst>
                      <a:ext uri="{FF2B5EF4-FFF2-40B4-BE49-F238E27FC236}">
                        <a16:creationId xmlns:a16="http://schemas.microsoft.com/office/drawing/2014/main" id="{F79E0D98-F7EB-33DD-E62A-0E8EB93F830B}"/>
                      </a:ext>
                    </a:extLst>
                  </p:cNvPr>
                  <p:cNvSpPr/>
                  <p:nvPr/>
                </p:nvSpPr>
                <p:spPr>
                  <a:xfrm>
                    <a:off x="8212359"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619" name="Graphic 745">
                  <a:extLst>
                    <a:ext uri="{FF2B5EF4-FFF2-40B4-BE49-F238E27FC236}">
                      <a16:creationId xmlns:a16="http://schemas.microsoft.com/office/drawing/2014/main" id="{3AD80E48-FB51-3618-0102-35D23823A696}"/>
                    </a:ext>
                  </a:extLst>
                </p:cNvPr>
                <p:cNvGrpSpPr/>
                <p:nvPr/>
              </p:nvGrpSpPr>
              <p:grpSpPr>
                <a:xfrm>
                  <a:off x="8226933" y="4275772"/>
                  <a:ext cx="75723" cy="75723"/>
                  <a:chOff x="8226933" y="4275772"/>
                  <a:chExt cx="75723" cy="75723"/>
                </a:xfrm>
              </p:grpSpPr>
              <p:sp>
                <p:nvSpPr>
                  <p:cNvPr id="13620" name="Freeform: Shape 13619">
                    <a:extLst>
                      <a:ext uri="{FF2B5EF4-FFF2-40B4-BE49-F238E27FC236}">
                        <a16:creationId xmlns:a16="http://schemas.microsoft.com/office/drawing/2014/main" id="{56B35545-1814-4081-9900-D9E51DB516EF}"/>
                      </a:ext>
                    </a:extLst>
                  </p:cNvPr>
                  <p:cNvSpPr/>
                  <p:nvPr/>
                </p:nvSpPr>
                <p:spPr>
                  <a:xfrm>
                    <a:off x="8264842" y="42757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621" name="Freeform: Shape 13620">
                    <a:extLst>
                      <a:ext uri="{FF2B5EF4-FFF2-40B4-BE49-F238E27FC236}">
                        <a16:creationId xmlns:a16="http://schemas.microsoft.com/office/drawing/2014/main" id="{B73894BA-C10E-80E0-259B-E13978D325A2}"/>
                      </a:ext>
                    </a:extLst>
                  </p:cNvPr>
                  <p:cNvSpPr/>
                  <p:nvPr/>
                </p:nvSpPr>
                <p:spPr>
                  <a:xfrm>
                    <a:off x="8226933" y="43136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516" name="Freeform: Shape 13515">
                <a:extLst>
                  <a:ext uri="{FF2B5EF4-FFF2-40B4-BE49-F238E27FC236}">
                    <a16:creationId xmlns:a16="http://schemas.microsoft.com/office/drawing/2014/main" id="{59D22398-40DA-3AD7-E875-BBB902DD4D77}"/>
                  </a:ext>
                </a:extLst>
              </p:cNvPr>
              <p:cNvSpPr/>
              <p:nvPr/>
            </p:nvSpPr>
            <p:spPr>
              <a:xfrm>
                <a:off x="3522344" y="2547651"/>
                <a:ext cx="5150643" cy="1766030"/>
              </a:xfrm>
              <a:custGeom>
                <a:avLst/>
                <a:gdLst>
                  <a:gd name="connsiteX0" fmla="*/ 5150644 w 5150643"/>
                  <a:gd name="connsiteY0" fmla="*/ 1766030 h 1766030"/>
                  <a:gd name="connsiteX1" fmla="*/ 3877913 w 5150643"/>
                  <a:gd name="connsiteY1" fmla="*/ 1766030 h 1766030"/>
                  <a:gd name="connsiteX2" fmla="*/ 3877913 w 5150643"/>
                  <a:gd name="connsiteY2" fmla="*/ 1732598 h 1766030"/>
                  <a:gd name="connsiteX3" fmla="*/ 3853910 w 5150643"/>
                  <a:gd name="connsiteY3" fmla="*/ 1732598 h 1766030"/>
                  <a:gd name="connsiteX4" fmla="*/ 3853910 w 5150643"/>
                  <a:gd name="connsiteY4" fmla="*/ 1675638 h 1766030"/>
                  <a:gd name="connsiteX5" fmla="*/ 3488531 w 5150643"/>
                  <a:gd name="connsiteY5" fmla="*/ 1675638 h 1766030"/>
                  <a:gd name="connsiteX6" fmla="*/ 3488531 w 5150643"/>
                  <a:gd name="connsiteY6" fmla="*/ 1645825 h 1766030"/>
                  <a:gd name="connsiteX7" fmla="*/ 3470910 w 5150643"/>
                  <a:gd name="connsiteY7" fmla="*/ 1645825 h 1766030"/>
                  <a:gd name="connsiteX8" fmla="*/ 3470910 w 5150643"/>
                  <a:gd name="connsiteY8" fmla="*/ 1623917 h 1766030"/>
                  <a:gd name="connsiteX9" fmla="*/ 3456908 w 5150643"/>
                  <a:gd name="connsiteY9" fmla="*/ 1623917 h 1766030"/>
                  <a:gd name="connsiteX10" fmla="*/ 3456908 w 5150643"/>
                  <a:gd name="connsiteY10" fmla="*/ 1602010 h 1766030"/>
                  <a:gd name="connsiteX11" fmla="*/ 3425285 w 5150643"/>
                  <a:gd name="connsiteY11" fmla="*/ 1602010 h 1766030"/>
                  <a:gd name="connsiteX12" fmla="*/ 3425285 w 5150643"/>
                  <a:gd name="connsiteY12" fmla="*/ 1561910 h 1766030"/>
                  <a:gd name="connsiteX13" fmla="*/ 3080004 w 5150643"/>
                  <a:gd name="connsiteY13" fmla="*/ 1561910 h 1766030"/>
                  <a:gd name="connsiteX14" fmla="*/ 3080004 w 5150643"/>
                  <a:gd name="connsiteY14" fmla="*/ 1541240 h 1766030"/>
                  <a:gd name="connsiteX15" fmla="*/ 3047810 w 5150643"/>
                  <a:gd name="connsiteY15" fmla="*/ 1541240 h 1766030"/>
                  <a:gd name="connsiteX16" fmla="*/ 3047810 w 5150643"/>
                  <a:gd name="connsiteY16" fmla="*/ 1523048 h 1766030"/>
                  <a:gd name="connsiteX17" fmla="*/ 2997327 w 5150643"/>
                  <a:gd name="connsiteY17" fmla="*/ 1523048 h 1766030"/>
                  <a:gd name="connsiteX18" fmla="*/ 2997327 w 5150643"/>
                  <a:gd name="connsiteY18" fmla="*/ 1486567 h 1766030"/>
                  <a:gd name="connsiteX19" fmla="*/ 2968752 w 5150643"/>
                  <a:gd name="connsiteY19" fmla="*/ 1486567 h 1766030"/>
                  <a:gd name="connsiteX20" fmla="*/ 2968752 w 5150643"/>
                  <a:gd name="connsiteY20" fmla="*/ 1460373 h 1766030"/>
                  <a:gd name="connsiteX21" fmla="*/ 2945035 w 5150643"/>
                  <a:gd name="connsiteY21" fmla="*/ 1460373 h 1766030"/>
                  <a:gd name="connsiteX22" fmla="*/ 2945035 w 5150643"/>
                  <a:gd name="connsiteY22" fmla="*/ 1443990 h 1766030"/>
                  <a:gd name="connsiteX23" fmla="*/ 2769299 w 5150643"/>
                  <a:gd name="connsiteY23" fmla="*/ 1443990 h 1766030"/>
                  <a:gd name="connsiteX24" fmla="*/ 2769299 w 5150643"/>
                  <a:gd name="connsiteY24" fmla="*/ 1426940 h 1766030"/>
                  <a:gd name="connsiteX25" fmla="*/ 2676906 w 5150643"/>
                  <a:gd name="connsiteY25" fmla="*/ 1426940 h 1766030"/>
                  <a:gd name="connsiteX26" fmla="*/ 2676906 w 5150643"/>
                  <a:gd name="connsiteY26" fmla="*/ 1399032 h 1766030"/>
                  <a:gd name="connsiteX27" fmla="*/ 2596610 w 5150643"/>
                  <a:gd name="connsiteY27" fmla="*/ 1399032 h 1766030"/>
                  <a:gd name="connsiteX28" fmla="*/ 2596610 w 5150643"/>
                  <a:gd name="connsiteY28" fmla="*/ 1381982 h 1766030"/>
                  <a:gd name="connsiteX29" fmla="*/ 2571083 w 5150643"/>
                  <a:gd name="connsiteY29" fmla="*/ 1381982 h 1766030"/>
                  <a:gd name="connsiteX30" fmla="*/ 2571083 w 5150643"/>
                  <a:gd name="connsiteY30" fmla="*/ 1364361 h 1766030"/>
                  <a:gd name="connsiteX31" fmla="*/ 2549271 w 5150643"/>
                  <a:gd name="connsiteY31" fmla="*/ 1364361 h 1766030"/>
                  <a:gd name="connsiteX32" fmla="*/ 2549271 w 5150643"/>
                  <a:gd name="connsiteY32" fmla="*/ 1332071 h 1766030"/>
                  <a:gd name="connsiteX33" fmla="*/ 2434114 w 5150643"/>
                  <a:gd name="connsiteY33" fmla="*/ 1332071 h 1766030"/>
                  <a:gd name="connsiteX34" fmla="*/ 2434114 w 5150643"/>
                  <a:gd name="connsiteY34" fmla="*/ 1321213 h 1766030"/>
                  <a:gd name="connsiteX35" fmla="*/ 2398490 w 5150643"/>
                  <a:gd name="connsiteY35" fmla="*/ 1321213 h 1766030"/>
                  <a:gd name="connsiteX36" fmla="*/ 2398490 w 5150643"/>
                  <a:gd name="connsiteY36" fmla="*/ 1306544 h 1766030"/>
                  <a:gd name="connsiteX37" fmla="*/ 2245233 w 5150643"/>
                  <a:gd name="connsiteY37" fmla="*/ 1306544 h 1766030"/>
                  <a:gd name="connsiteX38" fmla="*/ 2245233 w 5150643"/>
                  <a:gd name="connsiteY38" fmla="*/ 1298067 h 1766030"/>
                  <a:gd name="connsiteX39" fmla="*/ 2201513 w 5150643"/>
                  <a:gd name="connsiteY39" fmla="*/ 1298067 h 1766030"/>
                  <a:gd name="connsiteX40" fmla="*/ 2201513 w 5150643"/>
                  <a:gd name="connsiteY40" fmla="*/ 1284065 h 1766030"/>
                  <a:gd name="connsiteX41" fmla="*/ 2154079 w 5150643"/>
                  <a:gd name="connsiteY41" fmla="*/ 1284065 h 1766030"/>
                  <a:gd name="connsiteX42" fmla="*/ 2154079 w 5150643"/>
                  <a:gd name="connsiteY42" fmla="*/ 1260348 h 1766030"/>
                  <a:gd name="connsiteX43" fmla="*/ 2135219 w 5150643"/>
                  <a:gd name="connsiteY43" fmla="*/ 1260348 h 1766030"/>
                  <a:gd name="connsiteX44" fmla="*/ 2135219 w 5150643"/>
                  <a:gd name="connsiteY44" fmla="*/ 1237298 h 1766030"/>
                  <a:gd name="connsiteX45" fmla="*/ 2123027 w 5150643"/>
                  <a:gd name="connsiteY45" fmla="*/ 1237298 h 1766030"/>
                  <a:gd name="connsiteX46" fmla="*/ 2123027 w 5150643"/>
                  <a:gd name="connsiteY46" fmla="*/ 1216628 h 1766030"/>
                  <a:gd name="connsiteX47" fmla="*/ 2105978 w 5150643"/>
                  <a:gd name="connsiteY47" fmla="*/ 1216628 h 1766030"/>
                  <a:gd name="connsiteX48" fmla="*/ 2105978 w 5150643"/>
                  <a:gd name="connsiteY48" fmla="*/ 1203198 h 1766030"/>
                  <a:gd name="connsiteX49" fmla="*/ 2092643 w 5150643"/>
                  <a:gd name="connsiteY49" fmla="*/ 1203198 h 1766030"/>
                  <a:gd name="connsiteX50" fmla="*/ 2092643 w 5150643"/>
                  <a:gd name="connsiteY50" fmla="*/ 1188625 h 1766030"/>
                  <a:gd name="connsiteX51" fmla="*/ 1999012 w 5150643"/>
                  <a:gd name="connsiteY51" fmla="*/ 1188625 h 1766030"/>
                  <a:gd name="connsiteX52" fmla="*/ 1999012 w 5150643"/>
                  <a:gd name="connsiteY52" fmla="*/ 1178909 h 1766030"/>
                  <a:gd name="connsiteX53" fmla="*/ 1977104 w 5150643"/>
                  <a:gd name="connsiteY53" fmla="*/ 1178909 h 1766030"/>
                  <a:gd name="connsiteX54" fmla="*/ 1977104 w 5150643"/>
                  <a:gd name="connsiteY54" fmla="*/ 1167956 h 1766030"/>
                  <a:gd name="connsiteX55" fmla="*/ 1954625 w 5150643"/>
                  <a:gd name="connsiteY55" fmla="*/ 1167956 h 1766030"/>
                  <a:gd name="connsiteX56" fmla="*/ 1954625 w 5150643"/>
                  <a:gd name="connsiteY56" fmla="*/ 1158812 h 1766030"/>
                  <a:gd name="connsiteX57" fmla="*/ 1897475 w 5150643"/>
                  <a:gd name="connsiteY57" fmla="*/ 1158812 h 1766030"/>
                  <a:gd name="connsiteX58" fmla="*/ 1897475 w 5150643"/>
                  <a:gd name="connsiteY58" fmla="*/ 1146048 h 1766030"/>
                  <a:gd name="connsiteX59" fmla="*/ 1840325 w 5150643"/>
                  <a:gd name="connsiteY59" fmla="*/ 1146048 h 1766030"/>
                  <a:gd name="connsiteX60" fmla="*/ 1840325 w 5150643"/>
                  <a:gd name="connsiteY60" fmla="*/ 1126046 h 1766030"/>
                  <a:gd name="connsiteX61" fmla="*/ 1766792 w 5150643"/>
                  <a:gd name="connsiteY61" fmla="*/ 1126046 h 1766030"/>
                  <a:gd name="connsiteX62" fmla="*/ 1766792 w 5150643"/>
                  <a:gd name="connsiteY62" fmla="*/ 1113282 h 1766030"/>
                  <a:gd name="connsiteX63" fmla="*/ 1744885 w 5150643"/>
                  <a:gd name="connsiteY63" fmla="*/ 1113282 h 1766030"/>
                  <a:gd name="connsiteX64" fmla="*/ 1744885 w 5150643"/>
                  <a:gd name="connsiteY64" fmla="*/ 1091946 h 1766030"/>
                  <a:gd name="connsiteX65" fmla="*/ 1733360 w 5150643"/>
                  <a:gd name="connsiteY65" fmla="*/ 1091946 h 1766030"/>
                  <a:gd name="connsiteX66" fmla="*/ 1733360 w 5150643"/>
                  <a:gd name="connsiteY66" fmla="*/ 1066419 h 1766030"/>
                  <a:gd name="connsiteX67" fmla="*/ 1713833 w 5150643"/>
                  <a:gd name="connsiteY67" fmla="*/ 1066419 h 1766030"/>
                  <a:gd name="connsiteX68" fmla="*/ 1713833 w 5150643"/>
                  <a:gd name="connsiteY68" fmla="*/ 982504 h 1766030"/>
                  <a:gd name="connsiteX69" fmla="*/ 1696212 w 5150643"/>
                  <a:gd name="connsiteY69" fmla="*/ 982504 h 1766030"/>
                  <a:gd name="connsiteX70" fmla="*/ 1696212 w 5150643"/>
                  <a:gd name="connsiteY70" fmla="*/ 965549 h 1766030"/>
                  <a:gd name="connsiteX71" fmla="*/ 1677353 w 5150643"/>
                  <a:gd name="connsiteY71" fmla="*/ 965549 h 1766030"/>
                  <a:gd name="connsiteX72" fmla="*/ 1677353 w 5150643"/>
                  <a:gd name="connsiteY72" fmla="*/ 946023 h 1766030"/>
                  <a:gd name="connsiteX73" fmla="*/ 1664018 w 5150643"/>
                  <a:gd name="connsiteY73" fmla="*/ 946023 h 1766030"/>
                  <a:gd name="connsiteX74" fmla="*/ 1664018 w 5150643"/>
                  <a:gd name="connsiteY74" fmla="*/ 911352 h 1766030"/>
                  <a:gd name="connsiteX75" fmla="*/ 1580102 w 5150643"/>
                  <a:gd name="connsiteY75" fmla="*/ 911352 h 1766030"/>
                  <a:gd name="connsiteX76" fmla="*/ 1580102 w 5150643"/>
                  <a:gd name="connsiteY76" fmla="*/ 904685 h 1766030"/>
                  <a:gd name="connsiteX77" fmla="*/ 1556385 w 5150643"/>
                  <a:gd name="connsiteY77" fmla="*/ 904685 h 1766030"/>
                  <a:gd name="connsiteX78" fmla="*/ 1556385 w 5150643"/>
                  <a:gd name="connsiteY78" fmla="*/ 896207 h 1766030"/>
                  <a:gd name="connsiteX79" fmla="*/ 1521143 w 5150643"/>
                  <a:gd name="connsiteY79" fmla="*/ 896207 h 1766030"/>
                  <a:gd name="connsiteX80" fmla="*/ 1521143 w 5150643"/>
                  <a:gd name="connsiteY80" fmla="*/ 886492 h 1766030"/>
                  <a:gd name="connsiteX81" fmla="*/ 1473137 w 5150643"/>
                  <a:gd name="connsiteY81" fmla="*/ 886492 h 1766030"/>
                  <a:gd name="connsiteX82" fmla="*/ 1473137 w 5150643"/>
                  <a:gd name="connsiteY82" fmla="*/ 871252 h 1766030"/>
                  <a:gd name="connsiteX83" fmla="*/ 1446943 w 5150643"/>
                  <a:gd name="connsiteY83" fmla="*/ 871252 h 1766030"/>
                  <a:gd name="connsiteX84" fmla="*/ 1446943 w 5150643"/>
                  <a:gd name="connsiteY84" fmla="*/ 860298 h 1766030"/>
                  <a:gd name="connsiteX85" fmla="*/ 1424464 w 5150643"/>
                  <a:gd name="connsiteY85" fmla="*/ 860298 h 1766030"/>
                  <a:gd name="connsiteX86" fmla="*/ 1424464 w 5150643"/>
                  <a:gd name="connsiteY86" fmla="*/ 850011 h 1766030"/>
                  <a:gd name="connsiteX87" fmla="*/ 1347216 w 5150643"/>
                  <a:gd name="connsiteY87" fmla="*/ 850011 h 1766030"/>
                  <a:gd name="connsiteX88" fmla="*/ 1347216 w 5150643"/>
                  <a:gd name="connsiteY88" fmla="*/ 842677 h 1766030"/>
                  <a:gd name="connsiteX89" fmla="*/ 1318069 w 5150643"/>
                  <a:gd name="connsiteY89" fmla="*/ 842677 h 1766030"/>
                  <a:gd name="connsiteX90" fmla="*/ 1318069 w 5150643"/>
                  <a:gd name="connsiteY90" fmla="*/ 810482 h 1766030"/>
                  <a:gd name="connsiteX91" fmla="*/ 1299877 w 5150643"/>
                  <a:gd name="connsiteY91" fmla="*/ 810482 h 1766030"/>
                  <a:gd name="connsiteX92" fmla="*/ 1299877 w 5150643"/>
                  <a:gd name="connsiteY92" fmla="*/ 793432 h 1766030"/>
                  <a:gd name="connsiteX93" fmla="*/ 1284065 w 5150643"/>
                  <a:gd name="connsiteY93" fmla="*/ 793432 h 1766030"/>
                  <a:gd name="connsiteX94" fmla="*/ 1284065 w 5150643"/>
                  <a:gd name="connsiteY94" fmla="*/ 762476 h 1766030"/>
                  <a:gd name="connsiteX95" fmla="*/ 1274350 w 5150643"/>
                  <a:gd name="connsiteY95" fmla="*/ 762476 h 1766030"/>
                  <a:gd name="connsiteX96" fmla="*/ 1274350 w 5150643"/>
                  <a:gd name="connsiteY96" fmla="*/ 713232 h 1766030"/>
                  <a:gd name="connsiteX97" fmla="*/ 1261491 w 5150643"/>
                  <a:gd name="connsiteY97" fmla="*/ 713232 h 1766030"/>
                  <a:gd name="connsiteX98" fmla="*/ 1261491 w 5150643"/>
                  <a:gd name="connsiteY98" fmla="*/ 696182 h 1766030"/>
                  <a:gd name="connsiteX99" fmla="*/ 1249966 w 5150643"/>
                  <a:gd name="connsiteY99" fmla="*/ 696182 h 1766030"/>
                  <a:gd name="connsiteX100" fmla="*/ 1249966 w 5150643"/>
                  <a:gd name="connsiteY100" fmla="*/ 676085 h 1766030"/>
                  <a:gd name="connsiteX101" fmla="*/ 1238441 w 5150643"/>
                  <a:gd name="connsiteY101" fmla="*/ 676085 h 1766030"/>
                  <a:gd name="connsiteX102" fmla="*/ 1238441 w 5150643"/>
                  <a:gd name="connsiteY102" fmla="*/ 651796 h 1766030"/>
                  <a:gd name="connsiteX103" fmla="*/ 1200722 w 5150643"/>
                  <a:gd name="connsiteY103" fmla="*/ 651796 h 1766030"/>
                  <a:gd name="connsiteX104" fmla="*/ 1200722 w 5150643"/>
                  <a:gd name="connsiteY104" fmla="*/ 621411 h 1766030"/>
                  <a:gd name="connsiteX105" fmla="*/ 1175766 w 5150643"/>
                  <a:gd name="connsiteY105" fmla="*/ 621411 h 1766030"/>
                  <a:gd name="connsiteX106" fmla="*/ 1175766 w 5150643"/>
                  <a:gd name="connsiteY106" fmla="*/ 594074 h 1766030"/>
                  <a:gd name="connsiteX107" fmla="*/ 1160050 w 5150643"/>
                  <a:gd name="connsiteY107" fmla="*/ 594074 h 1766030"/>
                  <a:gd name="connsiteX108" fmla="*/ 1160050 w 5150643"/>
                  <a:gd name="connsiteY108" fmla="*/ 586169 h 1766030"/>
                  <a:gd name="connsiteX109" fmla="*/ 1104043 w 5150643"/>
                  <a:gd name="connsiteY109" fmla="*/ 586169 h 1766030"/>
                  <a:gd name="connsiteX110" fmla="*/ 1104043 w 5150643"/>
                  <a:gd name="connsiteY110" fmla="*/ 574548 h 1766030"/>
                  <a:gd name="connsiteX111" fmla="*/ 1076135 w 5150643"/>
                  <a:gd name="connsiteY111" fmla="*/ 574548 h 1766030"/>
                  <a:gd name="connsiteX112" fmla="*/ 1076135 w 5150643"/>
                  <a:gd name="connsiteY112" fmla="*/ 562451 h 1766030"/>
                  <a:gd name="connsiteX113" fmla="*/ 999458 w 5150643"/>
                  <a:gd name="connsiteY113" fmla="*/ 562451 h 1766030"/>
                  <a:gd name="connsiteX114" fmla="*/ 999458 w 5150643"/>
                  <a:gd name="connsiteY114" fmla="*/ 542925 h 1766030"/>
                  <a:gd name="connsiteX115" fmla="*/ 972979 w 5150643"/>
                  <a:gd name="connsiteY115" fmla="*/ 542925 h 1766030"/>
                  <a:gd name="connsiteX116" fmla="*/ 972979 w 5150643"/>
                  <a:gd name="connsiteY116" fmla="*/ 529019 h 1766030"/>
                  <a:gd name="connsiteX117" fmla="*/ 907066 w 5150643"/>
                  <a:gd name="connsiteY117" fmla="*/ 529019 h 1766030"/>
                  <a:gd name="connsiteX118" fmla="*/ 907066 w 5150643"/>
                  <a:gd name="connsiteY118" fmla="*/ 517398 h 1766030"/>
                  <a:gd name="connsiteX119" fmla="*/ 879158 w 5150643"/>
                  <a:gd name="connsiteY119" fmla="*/ 517398 h 1766030"/>
                  <a:gd name="connsiteX120" fmla="*/ 879158 w 5150643"/>
                  <a:gd name="connsiteY120" fmla="*/ 497396 h 1766030"/>
                  <a:gd name="connsiteX121" fmla="*/ 859631 w 5150643"/>
                  <a:gd name="connsiteY121" fmla="*/ 497396 h 1766030"/>
                  <a:gd name="connsiteX122" fmla="*/ 859631 w 5150643"/>
                  <a:gd name="connsiteY122" fmla="*/ 435388 h 1766030"/>
                  <a:gd name="connsiteX123" fmla="*/ 842010 w 5150643"/>
                  <a:gd name="connsiteY123" fmla="*/ 435388 h 1766030"/>
                  <a:gd name="connsiteX124" fmla="*/ 842010 w 5150643"/>
                  <a:gd name="connsiteY124" fmla="*/ 398240 h 1766030"/>
                  <a:gd name="connsiteX125" fmla="*/ 824389 w 5150643"/>
                  <a:gd name="connsiteY125" fmla="*/ 398240 h 1766030"/>
                  <a:gd name="connsiteX126" fmla="*/ 824389 w 5150643"/>
                  <a:gd name="connsiteY126" fmla="*/ 364808 h 1766030"/>
                  <a:gd name="connsiteX127" fmla="*/ 808577 w 5150643"/>
                  <a:gd name="connsiteY127" fmla="*/ 364808 h 1766030"/>
                  <a:gd name="connsiteX128" fmla="*/ 808577 w 5150643"/>
                  <a:gd name="connsiteY128" fmla="*/ 322231 h 1766030"/>
                  <a:gd name="connsiteX129" fmla="*/ 746570 w 5150643"/>
                  <a:gd name="connsiteY129" fmla="*/ 322231 h 1766030"/>
                  <a:gd name="connsiteX130" fmla="*/ 746570 w 5150643"/>
                  <a:gd name="connsiteY130" fmla="*/ 293656 h 1766030"/>
                  <a:gd name="connsiteX131" fmla="*/ 702183 w 5150643"/>
                  <a:gd name="connsiteY131" fmla="*/ 293656 h 1766030"/>
                  <a:gd name="connsiteX132" fmla="*/ 702183 w 5150643"/>
                  <a:gd name="connsiteY132" fmla="*/ 279083 h 1766030"/>
                  <a:gd name="connsiteX133" fmla="*/ 687610 w 5150643"/>
                  <a:gd name="connsiteY133" fmla="*/ 279083 h 1766030"/>
                  <a:gd name="connsiteX134" fmla="*/ 687610 w 5150643"/>
                  <a:gd name="connsiteY134" fmla="*/ 266891 h 1766030"/>
                  <a:gd name="connsiteX135" fmla="*/ 632270 w 5150643"/>
                  <a:gd name="connsiteY135" fmla="*/ 266891 h 1766030"/>
                  <a:gd name="connsiteX136" fmla="*/ 632270 w 5150643"/>
                  <a:gd name="connsiteY136" fmla="*/ 260223 h 1766030"/>
                  <a:gd name="connsiteX137" fmla="*/ 620078 w 5150643"/>
                  <a:gd name="connsiteY137" fmla="*/ 260223 h 1766030"/>
                  <a:gd name="connsiteX138" fmla="*/ 620078 w 5150643"/>
                  <a:gd name="connsiteY138" fmla="*/ 254794 h 1766030"/>
                  <a:gd name="connsiteX139" fmla="*/ 562928 w 5150643"/>
                  <a:gd name="connsiteY139" fmla="*/ 254794 h 1766030"/>
                  <a:gd name="connsiteX140" fmla="*/ 562928 w 5150643"/>
                  <a:gd name="connsiteY140" fmla="*/ 244411 h 1766030"/>
                  <a:gd name="connsiteX141" fmla="*/ 480917 w 5150643"/>
                  <a:gd name="connsiteY141" fmla="*/ 244411 h 1766030"/>
                  <a:gd name="connsiteX142" fmla="*/ 480917 w 5150643"/>
                  <a:gd name="connsiteY142" fmla="*/ 231648 h 1766030"/>
                  <a:gd name="connsiteX143" fmla="*/ 439579 w 5150643"/>
                  <a:gd name="connsiteY143" fmla="*/ 231648 h 1766030"/>
                  <a:gd name="connsiteX144" fmla="*/ 439579 w 5150643"/>
                  <a:gd name="connsiteY144" fmla="*/ 204883 h 1766030"/>
                  <a:gd name="connsiteX145" fmla="*/ 426815 w 5150643"/>
                  <a:gd name="connsiteY145" fmla="*/ 204883 h 1766030"/>
                  <a:gd name="connsiteX146" fmla="*/ 426815 w 5150643"/>
                  <a:gd name="connsiteY146" fmla="*/ 163544 h 1766030"/>
                  <a:gd name="connsiteX147" fmla="*/ 414052 w 5150643"/>
                  <a:gd name="connsiteY147" fmla="*/ 163544 h 1766030"/>
                  <a:gd name="connsiteX148" fmla="*/ 414052 w 5150643"/>
                  <a:gd name="connsiteY148" fmla="*/ 122873 h 1766030"/>
                  <a:gd name="connsiteX149" fmla="*/ 400622 w 5150643"/>
                  <a:gd name="connsiteY149" fmla="*/ 122873 h 1766030"/>
                  <a:gd name="connsiteX150" fmla="*/ 400622 w 5150643"/>
                  <a:gd name="connsiteY150" fmla="*/ 93059 h 1766030"/>
                  <a:gd name="connsiteX151" fmla="*/ 364808 w 5150643"/>
                  <a:gd name="connsiteY151" fmla="*/ 93059 h 1766030"/>
                  <a:gd name="connsiteX152" fmla="*/ 364808 w 5150643"/>
                  <a:gd name="connsiteY152" fmla="*/ 75438 h 1766030"/>
                  <a:gd name="connsiteX153" fmla="*/ 314897 w 5150643"/>
                  <a:gd name="connsiteY153" fmla="*/ 75438 h 1766030"/>
                  <a:gd name="connsiteX154" fmla="*/ 314897 w 5150643"/>
                  <a:gd name="connsiteY154" fmla="*/ 57150 h 1766030"/>
                  <a:gd name="connsiteX155" fmla="*/ 274796 w 5150643"/>
                  <a:gd name="connsiteY155" fmla="*/ 57150 h 1766030"/>
                  <a:gd name="connsiteX156" fmla="*/ 274796 w 5150643"/>
                  <a:gd name="connsiteY156" fmla="*/ 44387 h 1766030"/>
                  <a:gd name="connsiteX157" fmla="*/ 251651 w 5150643"/>
                  <a:gd name="connsiteY157" fmla="*/ 44387 h 1766030"/>
                  <a:gd name="connsiteX158" fmla="*/ 251651 w 5150643"/>
                  <a:gd name="connsiteY158" fmla="*/ 31052 h 1766030"/>
                  <a:gd name="connsiteX159" fmla="*/ 180594 w 5150643"/>
                  <a:gd name="connsiteY159" fmla="*/ 31052 h 1766030"/>
                  <a:gd name="connsiteX160" fmla="*/ 180594 w 5150643"/>
                  <a:gd name="connsiteY160" fmla="*/ 15812 h 1766030"/>
                  <a:gd name="connsiteX161" fmla="*/ 81439 w 5150643"/>
                  <a:gd name="connsiteY161" fmla="*/ 15812 h 1766030"/>
                  <a:gd name="connsiteX162" fmla="*/ 81439 w 5150643"/>
                  <a:gd name="connsiteY162" fmla="*/ 0 h 1766030"/>
                  <a:gd name="connsiteX163" fmla="*/ 0 w 5150643"/>
                  <a:gd name="connsiteY163" fmla="*/ 0 h 17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150643" h="1766030">
                    <a:moveTo>
                      <a:pt x="5150644" y="1766030"/>
                    </a:moveTo>
                    <a:lnTo>
                      <a:pt x="3877913" y="1766030"/>
                    </a:lnTo>
                    <a:lnTo>
                      <a:pt x="3877913" y="1732598"/>
                    </a:lnTo>
                    <a:lnTo>
                      <a:pt x="3853910" y="1732598"/>
                    </a:lnTo>
                    <a:lnTo>
                      <a:pt x="3853910" y="1675638"/>
                    </a:lnTo>
                    <a:lnTo>
                      <a:pt x="3488531" y="1675638"/>
                    </a:lnTo>
                    <a:lnTo>
                      <a:pt x="3488531" y="1645825"/>
                    </a:lnTo>
                    <a:lnTo>
                      <a:pt x="3470910" y="1645825"/>
                    </a:lnTo>
                    <a:lnTo>
                      <a:pt x="3470910" y="1623917"/>
                    </a:lnTo>
                    <a:lnTo>
                      <a:pt x="3456908" y="1623917"/>
                    </a:lnTo>
                    <a:lnTo>
                      <a:pt x="3456908" y="1602010"/>
                    </a:lnTo>
                    <a:lnTo>
                      <a:pt x="3425285" y="1602010"/>
                    </a:lnTo>
                    <a:lnTo>
                      <a:pt x="3425285" y="1561910"/>
                    </a:lnTo>
                    <a:lnTo>
                      <a:pt x="3080004" y="1561910"/>
                    </a:lnTo>
                    <a:lnTo>
                      <a:pt x="3080004" y="1541240"/>
                    </a:lnTo>
                    <a:lnTo>
                      <a:pt x="3047810" y="1541240"/>
                    </a:lnTo>
                    <a:lnTo>
                      <a:pt x="3047810" y="1523048"/>
                    </a:lnTo>
                    <a:lnTo>
                      <a:pt x="2997327" y="1523048"/>
                    </a:lnTo>
                    <a:lnTo>
                      <a:pt x="2997327" y="1486567"/>
                    </a:lnTo>
                    <a:lnTo>
                      <a:pt x="2968752" y="1486567"/>
                    </a:lnTo>
                    <a:lnTo>
                      <a:pt x="2968752" y="1460373"/>
                    </a:lnTo>
                    <a:lnTo>
                      <a:pt x="2945035" y="1460373"/>
                    </a:lnTo>
                    <a:lnTo>
                      <a:pt x="2945035" y="1443990"/>
                    </a:lnTo>
                    <a:lnTo>
                      <a:pt x="2769299" y="1443990"/>
                    </a:lnTo>
                    <a:lnTo>
                      <a:pt x="2769299" y="1426940"/>
                    </a:lnTo>
                    <a:lnTo>
                      <a:pt x="2676906" y="1426940"/>
                    </a:lnTo>
                    <a:lnTo>
                      <a:pt x="2676906" y="1399032"/>
                    </a:lnTo>
                    <a:lnTo>
                      <a:pt x="2596610" y="1399032"/>
                    </a:lnTo>
                    <a:lnTo>
                      <a:pt x="2596610" y="1381982"/>
                    </a:lnTo>
                    <a:lnTo>
                      <a:pt x="2571083" y="1381982"/>
                    </a:lnTo>
                    <a:lnTo>
                      <a:pt x="2571083" y="1364361"/>
                    </a:lnTo>
                    <a:lnTo>
                      <a:pt x="2549271" y="1364361"/>
                    </a:lnTo>
                    <a:lnTo>
                      <a:pt x="2549271" y="1332071"/>
                    </a:lnTo>
                    <a:lnTo>
                      <a:pt x="2434114" y="1332071"/>
                    </a:lnTo>
                    <a:lnTo>
                      <a:pt x="2434114" y="1321213"/>
                    </a:lnTo>
                    <a:lnTo>
                      <a:pt x="2398490" y="1321213"/>
                    </a:lnTo>
                    <a:lnTo>
                      <a:pt x="2398490" y="1306544"/>
                    </a:lnTo>
                    <a:lnTo>
                      <a:pt x="2245233" y="1306544"/>
                    </a:lnTo>
                    <a:lnTo>
                      <a:pt x="2245233" y="1298067"/>
                    </a:lnTo>
                    <a:lnTo>
                      <a:pt x="2201513" y="1298067"/>
                    </a:lnTo>
                    <a:lnTo>
                      <a:pt x="2201513" y="1284065"/>
                    </a:lnTo>
                    <a:lnTo>
                      <a:pt x="2154079" y="1284065"/>
                    </a:lnTo>
                    <a:lnTo>
                      <a:pt x="2154079" y="1260348"/>
                    </a:lnTo>
                    <a:lnTo>
                      <a:pt x="2135219" y="1260348"/>
                    </a:lnTo>
                    <a:lnTo>
                      <a:pt x="2135219" y="1237298"/>
                    </a:lnTo>
                    <a:lnTo>
                      <a:pt x="2123027" y="1237298"/>
                    </a:lnTo>
                    <a:lnTo>
                      <a:pt x="2123027" y="1216628"/>
                    </a:lnTo>
                    <a:lnTo>
                      <a:pt x="2105978" y="1216628"/>
                    </a:lnTo>
                    <a:lnTo>
                      <a:pt x="2105978" y="1203198"/>
                    </a:lnTo>
                    <a:lnTo>
                      <a:pt x="2092643" y="1203198"/>
                    </a:lnTo>
                    <a:lnTo>
                      <a:pt x="2092643" y="1188625"/>
                    </a:lnTo>
                    <a:lnTo>
                      <a:pt x="1999012" y="1188625"/>
                    </a:lnTo>
                    <a:lnTo>
                      <a:pt x="1999012" y="1178909"/>
                    </a:lnTo>
                    <a:lnTo>
                      <a:pt x="1977104" y="1178909"/>
                    </a:lnTo>
                    <a:lnTo>
                      <a:pt x="1977104" y="1167956"/>
                    </a:lnTo>
                    <a:lnTo>
                      <a:pt x="1954625" y="1167956"/>
                    </a:lnTo>
                    <a:lnTo>
                      <a:pt x="1954625" y="1158812"/>
                    </a:lnTo>
                    <a:lnTo>
                      <a:pt x="1897475" y="1158812"/>
                    </a:lnTo>
                    <a:lnTo>
                      <a:pt x="1897475" y="1146048"/>
                    </a:lnTo>
                    <a:lnTo>
                      <a:pt x="1840325" y="1146048"/>
                    </a:lnTo>
                    <a:lnTo>
                      <a:pt x="1840325" y="1126046"/>
                    </a:lnTo>
                    <a:lnTo>
                      <a:pt x="1766792" y="1126046"/>
                    </a:lnTo>
                    <a:lnTo>
                      <a:pt x="1766792" y="1113282"/>
                    </a:lnTo>
                    <a:lnTo>
                      <a:pt x="1744885" y="1113282"/>
                    </a:lnTo>
                    <a:lnTo>
                      <a:pt x="1744885" y="1091946"/>
                    </a:lnTo>
                    <a:lnTo>
                      <a:pt x="1733360" y="1091946"/>
                    </a:lnTo>
                    <a:lnTo>
                      <a:pt x="1733360" y="1066419"/>
                    </a:lnTo>
                    <a:lnTo>
                      <a:pt x="1713833" y="1066419"/>
                    </a:lnTo>
                    <a:lnTo>
                      <a:pt x="1713833" y="982504"/>
                    </a:lnTo>
                    <a:lnTo>
                      <a:pt x="1696212" y="982504"/>
                    </a:lnTo>
                    <a:lnTo>
                      <a:pt x="1696212" y="965549"/>
                    </a:lnTo>
                    <a:lnTo>
                      <a:pt x="1677353" y="965549"/>
                    </a:lnTo>
                    <a:lnTo>
                      <a:pt x="1677353" y="946023"/>
                    </a:lnTo>
                    <a:lnTo>
                      <a:pt x="1664018" y="946023"/>
                    </a:lnTo>
                    <a:lnTo>
                      <a:pt x="1664018" y="911352"/>
                    </a:lnTo>
                    <a:lnTo>
                      <a:pt x="1580102" y="911352"/>
                    </a:lnTo>
                    <a:lnTo>
                      <a:pt x="1580102" y="904685"/>
                    </a:lnTo>
                    <a:lnTo>
                      <a:pt x="1556385" y="904685"/>
                    </a:lnTo>
                    <a:lnTo>
                      <a:pt x="1556385" y="896207"/>
                    </a:lnTo>
                    <a:lnTo>
                      <a:pt x="1521143" y="896207"/>
                    </a:lnTo>
                    <a:lnTo>
                      <a:pt x="1521143" y="886492"/>
                    </a:lnTo>
                    <a:lnTo>
                      <a:pt x="1473137" y="886492"/>
                    </a:lnTo>
                    <a:lnTo>
                      <a:pt x="1473137" y="871252"/>
                    </a:lnTo>
                    <a:lnTo>
                      <a:pt x="1446943" y="871252"/>
                    </a:lnTo>
                    <a:lnTo>
                      <a:pt x="1446943" y="860298"/>
                    </a:lnTo>
                    <a:lnTo>
                      <a:pt x="1424464" y="860298"/>
                    </a:lnTo>
                    <a:lnTo>
                      <a:pt x="1424464" y="850011"/>
                    </a:lnTo>
                    <a:lnTo>
                      <a:pt x="1347216" y="850011"/>
                    </a:lnTo>
                    <a:lnTo>
                      <a:pt x="1347216" y="842677"/>
                    </a:lnTo>
                    <a:lnTo>
                      <a:pt x="1318069" y="842677"/>
                    </a:lnTo>
                    <a:lnTo>
                      <a:pt x="1318069" y="810482"/>
                    </a:lnTo>
                    <a:lnTo>
                      <a:pt x="1299877" y="810482"/>
                    </a:lnTo>
                    <a:lnTo>
                      <a:pt x="1299877" y="793432"/>
                    </a:lnTo>
                    <a:lnTo>
                      <a:pt x="1284065" y="793432"/>
                    </a:lnTo>
                    <a:lnTo>
                      <a:pt x="1284065" y="762476"/>
                    </a:lnTo>
                    <a:lnTo>
                      <a:pt x="1274350" y="762476"/>
                    </a:lnTo>
                    <a:lnTo>
                      <a:pt x="1274350" y="713232"/>
                    </a:lnTo>
                    <a:lnTo>
                      <a:pt x="1261491" y="713232"/>
                    </a:lnTo>
                    <a:lnTo>
                      <a:pt x="1261491" y="696182"/>
                    </a:lnTo>
                    <a:lnTo>
                      <a:pt x="1249966" y="696182"/>
                    </a:lnTo>
                    <a:lnTo>
                      <a:pt x="1249966" y="676085"/>
                    </a:lnTo>
                    <a:lnTo>
                      <a:pt x="1238441" y="676085"/>
                    </a:lnTo>
                    <a:lnTo>
                      <a:pt x="1238441" y="651796"/>
                    </a:lnTo>
                    <a:lnTo>
                      <a:pt x="1200722" y="651796"/>
                    </a:lnTo>
                    <a:lnTo>
                      <a:pt x="1200722" y="621411"/>
                    </a:lnTo>
                    <a:lnTo>
                      <a:pt x="1175766" y="621411"/>
                    </a:lnTo>
                    <a:lnTo>
                      <a:pt x="1175766" y="594074"/>
                    </a:lnTo>
                    <a:lnTo>
                      <a:pt x="1160050" y="594074"/>
                    </a:lnTo>
                    <a:lnTo>
                      <a:pt x="1160050" y="586169"/>
                    </a:lnTo>
                    <a:lnTo>
                      <a:pt x="1104043" y="586169"/>
                    </a:lnTo>
                    <a:lnTo>
                      <a:pt x="1104043" y="574548"/>
                    </a:lnTo>
                    <a:lnTo>
                      <a:pt x="1076135" y="574548"/>
                    </a:lnTo>
                    <a:lnTo>
                      <a:pt x="1076135" y="562451"/>
                    </a:lnTo>
                    <a:lnTo>
                      <a:pt x="999458" y="562451"/>
                    </a:lnTo>
                    <a:lnTo>
                      <a:pt x="999458" y="542925"/>
                    </a:lnTo>
                    <a:lnTo>
                      <a:pt x="972979" y="542925"/>
                    </a:lnTo>
                    <a:lnTo>
                      <a:pt x="972979" y="529019"/>
                    </a:lnTo>
                    <a:lnTo>
                      <a:pt x="907066" y="529019"/>
                    </a:lnTo>
                    <a:lnTo>
                      <a:pt x="907066" y="517398"/>
                    </a:lnTo>
                    <a:lnTo>
                      <a:pt x="879158" y="517398"/>
                    </a:lnTo>
                    <a:lnTo>
                      <a:pt x="879158" y="497396"/>
                    </a:lnTo>
                    <a:lnTo>
                      <a:pt x="859631" y="497396"/>
                    </a:lnTo>
                    <a:lnTo>
                      <a:pt x="859631" y="435388"/>
                    </a:lnTo>
                    <a:lnTo>
                      <a:pt x="842010" y="435388"/>
                    </a:lnTo>
                    <a:lnTo>
                      <a:pt x="842010" y="398240"/>
                    </a:lnTo>
                    <a:lnTo>
                      <a:pt x="824389" y="398240"/>
                    </a:lnTo>
                    <a:lnTo>
                      <a:pt x="824389" y="364808"/>
                    </a:lnTo>
                    <a:lnTo>
                      <a:pt x="808577" y="364808"/>
                    </a:lnTo>
                    <a:lnTo>
                      <a:pt x="808577" y="322231"/>
                    </a:lnTo>
                    <a:lnTo>
                      <a:pt x="746570" y="322231"/>
                    </a:lnTo>
                    <a:lnTo>
                      <a:pt x="746570" y="293656"/>
                    </a:lnTo>
                    <a:lnTo>
                      <a:pt x="702183" y="293656"/>
                    </a:lnTo>
                    <a:lnTo>
                      <a:pt x="702183" y="279083"/>
                    </a:lnTo>
                    <a:lnTo>
                      <a:pt x="687610" y="279083"/>
                    </a:lnTo>
                    <a:lnTo>
                      <a:pt x="687610" y="266891"/>
                    </a:lnTo>
                    <a:lnTo>
                      <a:pt x="632270" y="266891"/>
                    </a:lnTo>
                    <a:lnTo>
                      <a:pt x="632270" y="260223"/>
                    </a:lnTo>
                    <a:lnTo>
                      <a:pt x="620078" y="260223"/>
                    </a:lnTo>
                    <a:lnTo>
                      <a:pt x="620078" y="254794"/>
                    </a:lnTo>
                    <a:lnTo>
                      <a:pt x="562928" y="254794"/>
                    </a:lnTo>
                    <a:lnTo>
                      <a:pt x="562928" y="244411"/>
                    </a:lnTo>
                    <a:lnTo>
                      <a:pt x="480917" y="244411"/>
                    </a:lnTo>
                    <a:lnTo>
                      <a:pt x="480917" y="231648"/>
                    </a:lnTo>
                    <a:lnTo>
                      <a:pt x="439579" y="231648"/>
                    </a:lnTo>
                    <a:lnTo>
                      <a:pt x="439579" y="204883"/>
                    </a:lnTo>
                    <a:lnTo>
                      <a:pt x="426815" y="204883"/>
                    </a:lnTo>
                    <a:lnTo>
                      <a:pt x="426815" y="163544"/>
                    </a:lnTo>
                    <a:lnTo>
                      <a:pt x="414052" y="163544"/>
                    </a:lnTo>
                    <a:lnTo>
                      <a:pt x="414052" y="122873"/>
                    </a:lnTo>
                    <a:lnTo>
                      <a:pt x="400622" y="122873"/>
                    </a:lnTo>
                    <a:lnTo>
                      <a:pt x="400622" y="93059"/>
                    </a:lnTo>
                    <a:lnTo>
                      <a:pt x="364808" y="93059"/>
                    </a:lnTo>
                    <a:lnTo>
                      <a:pt x="364808" y="75438"/>
                    </a:lnTo>
                    <a:lnTo>
                      <a:pt x="314897" y="75438"/>
                    </a:lnTo>
                    <a:lnTo>
                      <a:pt x="314897" y="57150"/>
                    </a:lnTo>
                    <a:lnTo>
                      <a:pt x="274796" y="57150"/>
                    </a:lnTo>
                    <a:lnTo>
                      <a:pt x="274796" y="44387"/>
                    </a:lnTo>
                    <a:lnTo>
                      <a:pt x="251651" y="44387"/>
                    </a:lnTo>
                    <a:lnTo>
                      <a:pt x="251651" y="31052"/>
                    </a:lnTo>
                    <a:lnTo>
                      <a:pt x="180594" y="31052"/>
                    </a:lnTo>
                    <a:lnTo>
                      <a:pt x="180594" y="15812"/>
                    </a:lnTo>
                    <a:lnTo>
                      <a:pt x="81439" y="15812"/>
                    </a:lnTo>
                    <a:lnTo>
                      <a:pt x="81439" y="0"/>
                    </a:lnTo>
                    <a:lnTo>
                      <a:pt x="0" y="0"/>
                    </a:lnTo>
                  </a:path>
                </a:pathLst>
              </a:custGeom>
              <a:noFill/>
              <a:ln w="12700" cap="flat">
                <a:solidFill>
                  <a:srgbClr val="6E1E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5" name="Group 13184">
              <a:extLst>
                <a:ext uri="{FF2B5EF4-FFF2-40B4-BE49-F238E27FC236}">
                  <a16:creationId xmlns:a16="http://schemas.microsoft.com/office/drawing/2014/main" id="{CA0EFFB5-E896-20BD-C341-5DD25FA03853}"/>
                </a:ext>
              </a:extLst>
            </p:cNvPr>
            <p:cNvGrpSpPr/>
            <p:nvPr/>
          </p:nvGrpSpPr>
          <p:grpSpPr>
            <a:xfrm>
              <a:off x="1047751" y="1480439"/>
              <a:ext cx="6098380" cy="2364808"/>
              <a:chOff x="3500437" y="2424112"/>
              <a:chExt cx="5189696" cy="2012441"/>
            </a:xfrm>
          </p:grpSpPr>
          <p:grpSp>
            <p:nvGrpSpPr>
              <p:cNvPr id="13186" name="Graphic 1393">
                <a:extLst>
                  <a:ext uri="{FF2B5EF4-FFF2-40B4-BE49-F238E27FC236}">
                    <a16:creationId xmlns:a16="http://schemas.microsoft.com/office/drawing/2014/main" id="{AC2DA4F0-D08A-9D22-3C1D-F91EB4F64EE6}"/>
                  </a:ext>
                </a:extLst>
              </p:cNvPr>
              <p:cNvGrpSpPr/>
              <p:nvPr/>
            </p:nvGrpSpPr>
            <p:grpSpPr>
              <a:xfrm>
                <a:off x="3868102" y="2496216"/>
                <a:ext cx="4822031" cy="1940337"/>
                <a:chOff x="3868102" y="2496216"/>
                <a:chExt cx="4822031" cy="1940337"/>
              </a:xfrm>
            </p:grpSpPr>
            <p:grpSp>
              <p:nvGrpSpPr>
                <p:cNvPr id="13188" name="Graphic 1393">
                  <a:extLst>
                    <a:ext uri="{FF2B5EF4-FFF2-40B4-BE49-F238E27FC236}">
                      <a16:creationId xmlns:a16="http://schemas.microsoft.com/office/drawing/2014/main" id="{9EE08457-CBDE-B3DA-9646-DA2D1FF80197}"/>
                    </a:ext>
                  </a:extLst>
                </p:cNvPr>
                <p:cNvGrpSpPr/>
                <p:nvPr/>
              </p:nvGrpSpPr>
              <p:grpSpPr>
                <a:xfrm>
                  <a:off x="8614409" y="4360830"/>
                  <a:ext cx="75723" cy="75723"/>
                  <a:chOff x="8614409" y="4360830"/>
                  <a:chExt cx="75723" cy="75723"/>
                </a:xfrm>
              </p:grpSpPr>
              <p:sp>
                <p:nvSpPr>
                  <p:cNvPr id="13513" name="Freeform: Shape 13512">
                    <a:extLst>
                      <a:ext uri="{FF2B5EF4-FFF2-40B4-BE49-F238E27FC236}">
                        <a16:creationId xmlns:a16="http://schemas.microsoft.com/office/drawing/2014/main" id="{028B08D4-8A25-EEF8-A65A-2736175C319C}"/>
                      </a:ext>
                    </a:extLst>
                  </p:cNvPr>
                  <p:cNvSpPr/>
                  <p:nvPr/>
                </p:nvSpPr>
                <p:spPr>
                  <a:xfrm>
                    <a:off x="865231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4" name="Freeform: Shape 13513">
                    <a:extLst>
                      <a:ext uri="{FF2B5EF4-FFF2-40B4-BE49-F238E27FC236}">
                        <a16:creationId xmlns:a16="http://schemas.microsoft.com/office/drawing/2014/main" id="{69E5E9B8-E089-8C1A-E095-440ACC2C9D57}"/>
                      </a:ext>
                    </a:extLst>
                  </p:cNvPr>
                  <p:cNvSpPr/>
                  <p:nvPr/>
                </p:nvSpPr>
                <p:spPr>
                  <a:xfrm>
                    <a:off x="8614409"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89" name="Graphic 1393">
                  <a:extLst>
                    <a:ext uri="{FF2B5EF4-FFF2-40B4-BE49-F238E27FC236}">
                      <a16:creationId xmlns:a16="http://schemas.microsoft.com/office/drawing/2014/main" id="{42039975-6D59-74A2-2555-C482CBBEEEA1}"/>
                    </a:ext>
                  </a:extLst>
                </p:cNvPr>
                <p:cNvGrpSpPr/>
                <p:nvPr/>
              </p:nvGrpSpPr>
              <p:grpSpPr>
                <a:xfrm>
                  <a:off x="8599264" y="4360830"/>
                  <a:ext cx="75723" cy="75723"/>
                  <a:chOff x="8599264" y="4360830"/>
                  <a:chExt cx="75723" cy="75723"/>
                </a:xfrm>
              </p:grpSpPr>
              <p:sp>
                <p:nvSpPr>
                  <p:cNvPr id="13511" name="Freeform: Shape 13510">
                    <a:extLst>
                      <a:ext uri="{FF2B5EF4-FFF2-40B4-BE49-F238E27FC236}">
                        <a16:creationId xmlns:a16="http://schemas.microsoft.com/office/drawing/2014/main" id="{60574435-74B2-98B6-F81A-8E844B0C00DE}"/>
                      </a:ext>
                    </a:extLst>
                  </p:cNvPr>
                  <p:cNvSpPr/>
                  <p:nvPr/>
                </p:nvSpPr>
                <p:spPr>
                  <a:xfrm>
                    <a:off x="8637079" y="43608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2" name="Freeform: Shape 13511">
                    <a:extLst>
                      <a:ext uri="{FF2B5EF4-FFF2-40B4-BE49-F238E27FC236}">
                        <a16:creationId xmlns:a16="http://schemas.microsoft.com/office/drawing/2014/main" id="{F018754B-AA89-3098-82A2-42166D545287}"/>
                      </a:ext>
                    </a:extLst>
                  </p:cNvPr>
                  <p:cNvSpPr/>
                  <p:nvPr/>
                </p:nvSpPr>
                <p:spPr>
                  <a:xfrm>
                    <a:off x="8599264" y="43986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0" name="Graphic 1393">
                  <a:extLst>
                    <a:ext uri="{FF2B5EF4-FFF2-40B4-BE49-F238E27FC236}">
                      <a16:creationId xmlns:a16="http://schemas.microsoft.com/office/drawing/2014/main" id="{0AA2C2CE-B8FF-11C3-1FA3-190B24A0C285}"/>
                    </a:ext>
                  </a:extLst>
                </p:cNvPr>
                <p:cNvGrpSpPr/>
                <p:nvPr/>
              </p:nvGrpSpPr>
              <p:grpSpPr>
                <a:xfrm>
                  <a:off x="8461819" y="3949446"/>
                  <a:ext cx="75723" cy="75723"/>
                  <a:chOff x="8461819" y="3949446"/>
                  <a:chExt cx="75723" cy="75723"/>
                </a:xfrm>
              </p:grpSpPr>
              <p:sp>
                <p:nvSpPr>
                  <p:cNvPr id="13509" name="Freeform: Shape 13508">
                    <a:extLst>
                      <a:ext uri="{FF2B5EF4-FFF2-40B4-BE49-F238E27FC236}">
                        <a16:creationId xmlns:a16="http://schemas.microsoft.com/office/drawing/2014/main" id="{5517DF65-8F1E-AD0A-223F-6782F00B1D0E}"/>
                      </a:ext>
                    </a:extLst>
                  </p:cNvPr>
                  <p:cNvSpPr/>
                  <p:nvPr/>
                </p:nvSpPr>
                <p:spPr>
                  <a:xfrm>
                    <a:off x="849972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10" name="Freeform: Shape 13509">
                    <a:extLst>
                      <a:ext uri="{FF2B5EF4-FFF2-40B4-BE49-F238E27FC236}">
                        <a16:creationId xmlns:a16="http://schemas.microsoft.com/office/drawing/2014/main" id="{5F01285D-E4F6-F074-E83D-B007EAF82DEC}"/>
                      </a:ext>
                    </a:extLst>
                  </p:cNvPr>
                  <p:cNvSpPr/>
                  <p:nvPr/>
                </p:nvSpPr>
                <p:spPr>
                  <a:xfrm>
                    <a:off x="846181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1" name="Graphic 1393">
                  <a:extLst>
                    <a:ext uri="{FF2B5EF4-FFF2-40B4-BE49-F238E27FC236}">
                      <a16:creationId xmlns:a16="http://schemas.microsoft.com/office/drawing/2014/main" id="{CD735547-3753-AAB1-887B-AAEBBB22EAE8}"/>
                    </a:ext>
                  </a:extLst>
                </p:cNvPr>
                <p:cNvGrpSpPr/>
                <p:nvPr/>
              </p:nvGrpSpPr>
              <p:grpSpPr>
                <a:xfrm>
                  <a:off x="8232933" y="3949446"/>
                  <a:ext cx="75723" cy="75723"/>
                  <a:chOff x="8232933" y="3949446"/>
                  <a:chExt cx="75723" cy="75723"/>
                </a:xfrm>
              </p:grpSpPr>
              <p:sp>
                <p:nvSpPr>
                  <p:cNvPr id="13507" name="Freeform: Shape 13506">
                    <a:extLst>
                      <a:ext uri="{FF2B5EF4-FFF2-40B4-BE49-F238E27FC236}">
                        <a16:creationId xmlns:a16="http://schemas.microsoft.com/office/drawing/2014/main" id="{E51BD88C-16AC-A275-8738-03F779301CBF}"/>
                      </a:ext>
                    </a:extLst>
                  </p:cNvPr>
                  <p:cNvSpPr/>
                  <p:nvPr/>
                </p:nvSpPr>
                <p:spPr>
                  <a:xfrm>
                    <a:off x="8270747"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8" name="Freeform: Shape 13507">
                    <a:extLst>
                      <a:ext uri="{FF2B5EF4-FFF2-40B4-BE49-F238E27FC236}">
                        <a16:creationId xmlns:a16="http://schemas.microsoft.com/office/drawing/2014/main" id="{C9908FB1-42AE-3427-489B-D13B865E7ABE}"/>
                      </a:ext>
                    </a:extLst>
                  </p:cNvPr>
                  <p:cNvSpPr/>
                  <p:nvPr/>
                </p:nvSpPr>
                <p:spPr>
                  <a:xfrm>
                    <a:off x="823293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2" name="Graphic 1393">
                  <a:extLst>
                    <a:ext uri="{FF2B5EF4-FFF2-40B4-BE49-F238E27FC236}">
                      <a16:creationId xmlns:a16="http://schemas.microsoft.com/office/drawing/2014/main" id="{43FD9603-1A5E-8712-82D2-6D2E4503BA3B}"/>
                    </a:ext>
                  </a:extLst>
                </p:cNvPr>
                <p:cNvGrpSpPr/>
                <p:nvPr/>
              </p:nvGrpSpPr>
              <p:grpSpPr>
                <a:xfrm>
                  <a:off x="8210454" y="3949446"/>
                  <a:ext cx="75723" cy="75723"/>
                  <a:chOff x="8210454" y="3949446"/>
                  <a:chExt cx="75723" cy="75723"/>
                </a:xfrm>
              </p:grpSpPr>
              <p:sp>
                <p:nvSpPr>
                  <p:cNvPr id="13505" name="Freeform: Shape 13504">
                    <a:extLst>
                      <a:ext uri="{FF2B5EF4-FFF2-40B4-BE49-F238E27FC236}">
                        <a16:creationId xmlns:a16="http://schemas.microsoft.com/office/drawing/2014/main" id="{9A51F7AF-D57E-4B6F-3ACB-C34C9EAACFE4}"/>
                      </a:ext>
                    </a:extLst>
                  </p:cNvPr>
                  <p:cNvSpPr/>
                  <p:nvPr/>
                </p:nvSpPr>
                <p:spPr>
                  <a:xfrm>
                    <a:off x="824826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6" name="Freeform: Shape 13505">
                    <a:extLst>
                      <a:ext uri="{FF2B5EF4-FFF2-40B4-BE49-F238E27FC236}">
                        <a16:creationId xmlns:a16="http://schemas.microsoft.com/office/drawing/2014/main" id="{CE302550-8D9C-DDC5-C158-13A4D39109E1}"/>
                      </a:ext>
                    </a:extLst>
                  </p:cNvPr>
                  <p:cNvSpPr/>
                  <p:nvPr/>
                </p:nvSpPr>
                <p:spPr>
                  <a:xfrm>
                    <a:off x="8210454"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3" name="Graphic 1393">
                  <a:extLst>
                    <a:ext uri="{FF2B5EF4-FFF2-40B4-BE49-F238E27FC236}">
                      <a16:creationId xmlns:a16="http://schemas.microsoft.com/office/drawing/2014/main" id="{F2BD1BCE-6196-BDC4-6FC2-640E61CB5A4D}"/>
                    </a:ext>
                  </a:extLst>
                </p:cNvPr>
                <p:cNvGrpSpPr/>
                <p:nvPr/>
              </p:nvGrpSpPr>
              <p:grpSpPr>
                <a:xfrm>
                  <a:off x="8183689" y="3949446"/>
                  <a:ext cx="75723" cy="75723"/>
                  <a:chOff x="8183689" y="3949446"/>
                  <a:chExt cx="75723" cy="75723"/>
                </a:xfrm>
              </p:grpSpPr>
              <p:sp>
                <p:nvSpPr>
                  <p:cNvPr id="13503" name="Freeform: Shape 13502">
                    <a:extLst>
                      <a:ext uri="{FF2B5EF4-FFF2-40B4-BE49-F238E27FC236}">
                        <a16:creationId xmlns:a16="http://schemas.microsoft.com/office/drawing/2014/main" id="{84E6317F-29D8-AAF5-3945-8BA7AB6774D5}"/>
                      </a:ext>
                    </a:extLst>
                  </p:cNvPr>
                  <p:cNvSpPr/>
                  <p:nvPr/>
                </p:nvSpPr>
                <p:spPr>
                  <a:xfrm>
                    <a:off x="822150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4" name="Freeform: Shape 13503">
                    <a:extLst>
                      <a:ext uri="{FF2B5EF4-FFF2-40B4-BE49-F238E27FC236}">
                        <a16:creationId xmlns:a16="http://schemas.microsoft.com/office/drawing/2014/main" id="{F66E4F04-7635-AB3C-0836-1DF86F344503}"/>
                      </a:ext>
                    </a:extLst>
                  </p:cNvPr>
                  <p:cNvSpPr/>
                  <p:nvPr/>
                </p:nvSpPr>
                <p:spPr>
                  <a:xfrm>
                    <a:off x="818368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4" name="Graphic 1393">
                  <a:extLst>
                    <a:ext uri="{FF2B5EF4-FFF2-40B4-BE49-F238E27FC236}">
                      <a16:creationId xmlns:a16="http://schemas.microsoft.com/office/drawing/2014/main" id="{3AEF6FF7-28C7-90AC-5074-04ED40BDF14B}"/>
                    </a:ext>
                  </a:extLst>
                </p:cNvPr>
                <p:cNvGrpSpPr/>
                <p:nvPr/>
              </p:nvGrpSpPr>
              <p:grpSpPr>
                <a:xfrm>
                  <a:off x="8161495" y="3949446"/>
                  <a:ext cx="75723" cy="75723"/>
                  <a:chOff x="8161495" y="3949446"/>
                  <a:chExt cx="75723" cy="75723"/>
                </a:xfrm>
              </p:grpSpPr>
              <p:sp>
                <p:nvSpPr>
                  <p:cNvPr id="13501" name="Freeform: Shape 13500">
                    <a:extLst>
                      <a:ext uri="{FF2B5EF4-FFF2-40B4-BE49-F238E27FC236}">
                        <a16:creationId xmlns:a16="http://schemas.microsoft.com/office/drawing/2014/main" id="{1220D784-12F0-297B-1DB1-0518E11CD3B6}"/>
                      </a:ext>
                    </a:extLst>
                  </p:cNvPr>
                  <p:cNvSpPr/>
                  <p:nvPr/>
                </p:nvSpPr>
                <p:spPr>
                  <a:xfrm>
                    <a:off x="8199310"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2" name="Freeform: Shape 13501">
                    <a:extLst>
                      <a:ext uri="{FF2B5EF4-FFF2-40B4-BE49-F238E27FC236}">
                        <a16:creationId xmlns:a16="http://schemas.microsoft.com/office/drawing/2014/main" id="{9B87DED0-2E00-FE0A-0608-D8997710DEFE}"/>
                      </a:ext>
                    </a:extLst>
                  </p:cNvPr>
                  <p:cNvSpPr/>
                  <p:nvPr/>
                </p:nvSpPr>
                <p:spPr>
                  <a:xfrm>
                    <a:off x="816149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5" name="Graphic 1393">
                  <a:extLst>
                    <a:ext uri="{FF2B5EF4-FFF2-40B4-BE49-F238E27FC236}">
                      <a16:creationId xmlns:a16="http://schemas.microsoft.com/office/drawing/2014/main" id="{8BF58660-A7A6-7DBB-49F7-4BE42CD786DF}"/>
                    </a:ext>
                  </a:extLst>
                </p:cNvPr>
                <p:cNvGrpSpPr/>
                <p:nvPr/>
              </p:nvGrpSpPr>
              <p:grpSpPr>
                <a:xfrm>
                  <a:off x="8065769" y="3949446"/>
                  <a:ext cx="75628" cy="75723"/>
                  <a:chOff x="8065769" y="3949446"/>
                  <a:chExt cx="75628" cy="75723"/>
                </a:xfrm>
              </p:grpSpPr>
              <p:sp>
                <p:nvSpPr>
                  <p:cNvPr id="13499" name="Freeform: Shape 13498">
                    <a:extLst>
                      <a:ext uri="{FF2B5EF4-FFF2-40B4-BE49-F238E27FC236}">
                        <a16:creationId xmlns:a16="http://schemas.microsoft.com/office/drawing/2014/main" id="{D1AB082C-DABA-925F-421C-64B77D1FE6E9}"/>
                      </a:ext>
                    </a:extLst>
                  </p:cNvPr>
                  <p:cNvSpPr/>
                  <p:nvPr/>
                </p:nvSpPr>
                <p:spPr>
                  <a:xfrm>
                    <a:off x="810358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500" name="Freeform: Shape 13499">
                    <a:extLst>
                      <a:ext uri="{FF2B5EF4-FFF2-40B4-BE49-F238E27FC236}">
                        <a16:creationId xmlns:a16="http://schemas.microsoft.com/office/drawing/2014/main" id="{C91F8A5F-361F-DD44-AEE5-AABF6BF6903E}"/>
                      </a:ext>
                    </a:extLst>
                  </p:cNvPr>
                  <p:cNvSpPr/>
                  <p:nvPr/>
                </p:nvSpPr>
                <p:spPr>
                  <a:xfrm>
                    <a:off x="8065769"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6" name="Graphic 1393">
                  <a:extLst>
                    <a:ext uri="{FF2B5EF4-FFF2-40B4-BE49-F238E27FC236}">
                      <a16:creationId xmlns:a16="http://schemas.microsoft.com/office/drawing/2014/main" id="{938B5A5C-744F-B826-F4B9-A34BDDF8EA66}"/>
                    </a:ext>
                  </a:extLst>
                </p:cNvPr>
                <p:cNvGrpSpPr/>
                <p:nvPr/>
              </p:nvGrpSpPr>
              <p:grpSpPr>
                <a:xfrm>
                  <a:off x="7829263" y="3949446"/>
                  <a:ext cx="75628" cy="75723"/>
                  <a:chOff x="7829263" y="3949446"/>
                  <a:chExt cx="75628" cy="75723"/>
                </a:xfrm>
              </p:grpSpPr>
              <p:sp>
                <p:nvSpPr>
                  <p:cNvPr id="13497" name="Freeform: Shape 13496">
                    <a:extLst>
                      <a:ext uri="{FF2B5EF4-FFF2-40B4-BE49-F238E27FC236}">
                        <a16:creationId xmlns:a16="http://schemas.microsoft.com/office/drawing/2014/main" id="{D3C59CD1-D45E-7743-0321-592DED51604A}"/>
                      </a:ext>
                    </a:extLst>
                  </p:cNvPr>
                  <p:cNvSpPr/>
                  <p:nvPr/>
                </p:nvSpPr>
                <p:spPr>
                  <a:xfrm>
                    <a:off x="7867078"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8" name="Freeform: Shape 13497">
                    <a:extLst>
                      <a:ext uri="{FF2B5EF4-FFF2-40B4-BE49-F238E27FC236}">
                        <a16:creationId xmlns:a16="http://schemas.microsoft.com/office/drawing/2014/main" id="{64C0CA98-CA9F-0F1A-4E8F-D31BD5547E32}"/>
                      </a:ext>
                    </a:extLst>
                  </p:cNvPr>
                  <p:cNvSpPr/>
                  <p:nvPr/>
                </p:nvSpPr>
                <p:spPr>
                  <a:xfrm>
                    <a:off x="7829263" y="39872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7" name="Graphic 1393">
                  <a:extLst>
                    <a:ext uri="{FF2B5EF4-FFF2-40B4-BE49-F238E27FC236}">
                      <a16:creationId xmlns:a16="http://schemas.microsoft.com/office/drawing/2014/main" id="{70196F89-6E3D-7CC1-20DE-4B6A23F70573}"/>
                    </a:ext>
                  </a:extLst>
                </p:cNvPr>
                <p:cNvGrpSpPr/>
                <p:nvPr/>
              </p:nvGrpSpPr>
              <p:grpSpPr>
                <a:xfrm>
                  <a:off x="7784115" y="3949446"/>
                  <a:ext cx="75723" cy="75723"/>
                  <a:chOff x="7784115" y="3949446"/>
                  <a:chExt cx="75723" cy="75723"/>
                </a:xfrm>
              </p:grpSpPr>
              <p:sp>
                <p:nvSpPr>
                  <p:cNvPr id="13495" name="Freeform: Shape 13494">
                    <a:extLst>
                      <a:ext uri="{FF2B5EF4-FFF2-40B4-BE49-F238E27FC236}">
                        <a16:creationId xmlns:a16="http://schemas.microsoft.com/office/drawing/2014/main" id="{E10231EB-651E-773E-8523-831F7527AD15}"/>
                      </a:ext>
                    </a:extLst>
                  </p:cNvPr>
                  <p:cNvSpPr/>
                  <p:nvPr/>
                </p:nvSpPr>
                <p:spPr>
                  <a:xfrm>
                    <a:off x="782202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6" name="Freeform: Shape 13495">
                    <a:extLst>
                      <a:ext uri="{FF2B5EF4-FFF2-40B4-BE49-F238E27FC236}">
                        <a16:creationId xmlns:a16="http://schemas.microsoft.com/office/drawing/2014/main" id="{2611445D-066B-8902-C119-735A48869FFF}"/>
                      </a:ext>
                    </a:extLst>
                  </p:cNvPr>
                  <p:cNvSpPr/>
                  <p:nvPr/>
                </p:nvSpPr>
                <p:spPr>
                  <a:xfrm>
                    <a:off x="7784115"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8" name="Graphic 1393">
                  <a:extLst>
                    <a:ext uri="{FF2B5EF4-FFF2-40B4-BE49-F238E27FC236}">
                      <a16:creationId xmlns:a16="http://schemas.microsoft.com/office/drawing/2014/main" id="{F1412A9F-2A09-B56A-016E-3DE02C7F6302}"/>
                    </a:ext>
                  </a:extLst>
                </p:cNvPr>
                <p:cNvGrpSpPr/>
                <p:nvPr/>
              </p:nvGrpSpPr>
              <p:grpSpPr>
                <a:xfrm>
                  <a:off x="7746301" y="3949446"/>
                  <a:ext cx="75723" cy="75723"/>
                  <a:chOff x="7746301" y="3949446"/>
                  <a:chExt cx="75723" cy="75723"/>
                </a:xfrm>
              </p:grpSpPr>
              <p:sp>
                <p:nvSpPr>
                  <p:cNvPr id="13493" name="Freeform: Shape 13492">
                    <a:extLst>
                      <a:ext uri="{FF2B5EF4-FFF2-40B4-BE49-F238E27FC236}">
                        <a16:creationId xmlns:a16="http://schemas.microsoft.com/office/drawing/2014/main" id="{78A0B689-397F-0956-A477-A12B4D1D7D9A}"/>
                      </a:ext>
                    </a:extLst>
                  </p:cNvPr>
                  <p:cNvSpPr/>
                  <p:nvPr/>
                </p:nvSpPr>
                <p:spPr>
                  <a:xfrm>
                    <a:off x="7784115"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4" name="Freeform: Shape 13493">
                    <a:extLst>
                      <a:ext uri="{FF2B5EF4-FFF2-40B4-BE49-F238E27FC236}">
                        <a16:creationId xmlns:a16="http://schemas.microsoft.com/office/drawing/2014/main" id="{EF668219-9A74-601C-BD55-B9CEE9747EFA}"/>
                      </a:ext>
                    </a:extLst>
                  </p:cNvPr>
                  <p:cNvSpPr/>
                  <p:nvPr/>
                </p:nvSpPr>
                <p:spPr>
                  <a:xfrm>
                    <a:off x="7746301"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199" name="Graphic 1393">
                  <a:extLst>
                    <a:ext uri="{FF2B5EF4-FFF2-40B4-BE49-F238E27FC236}">
                      <a16:creationId xmlns:a16="http://schemas.microsoft.com/office/drawing/2014/main" id="{8D589AEE-8D41-9C06-C3BA-1E2FF3180183}"/>
                    </a:ext>
                  </a:extLst>
                </p:cNvPr>
                <p:cNvGrpSpPr/>
                <p:nvPr/>
              </p:nvGrpSpPr>
              <p:grpSpPr>
                <a:xfrm>
                  <a:off x="7757159" y="3949446"/>
                  <a:ext cx="75723" cy="75723"/>
                  <a:chOff x="7757159" y="3949446"/>
                  <a:chExt cx="75723" cy="75723"/>
                </a:xfrm>
              </p:grpSpPr>
              <p:sp>
                <p:nvSpPr>
                  <p:cNvPr id="13491" name="Freeform: Shape 13490">
                    <a:extLst>
                      <a:ext uri="{FF2B5EF4-FFF2-40B4-BE49-F238E27FC236}">
                        <a16:creationId xmlns:a16="http://schemas.microsoft.com/office/drawing/2014/main" id="{774B31B1-299A-359A-DB4C-BF519733D8EE}"/>
                      </a:ext>
                    </a:extLst>
                  </p:cNvPr>
                  <p:cNvSpPr/>
                  <p:nvPr/>
                </p:nvSpPr>
                <p:spPr>
                  <a:xfrm>
                    <a:off x="7794973"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2" name="Freeform: Shape 13491">
                    <a:extLst>
                      <a:ext uri="{FF2B5EF4-FFF2-40B4-BE49-F238E27FC236}">
                        <a16:creationId xmlns:a16="http://schemas.microsoft.com/office/drawing/2014/main" id="{EB971E7D-175E-8622-FCF5-3084D3B9A14E}"/>
                      </a:ext>
                    </a:extLst>
                  </p:cNvPr>
                  <p:cNvSpPr/>
                  <p:nvPr/>
                </p:nvSpPr>
                <p:spPr>
                  <a:xfrm>
                    <a:off x="7757159"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0" name="Graphic 1393">
                  <a:extLst>
                    <a:ext uri="{FF2B5EF4-FFF2-40B4-BE49-F238E27FC236}">
                      <a16:creationId xmlns:a16="http://schemas.microsoft.com/office/drawing/2014/main" id="{DF890A66-17EF-C519-49AB-3AE589CE2384}"/>
                    </a:ext>
                  </a:extLst>
                </p:cNvPr>
                <p:cNvGrpSpPr/>
                <p:nvPr/>
              </p:nvGrpSpPr>
              <p:grpSpPr>
                <a:xfrm>
                  <a:off x="7769923" y="3949446"/>
                  <a:ext cx="75723" cy="75723"/>
                  <a:chOff x="7769923" y="3949446"/>
                  <a:chExt cx="75723" cy="75723"/>
                </a:xfrm>
              </p:grpSpPr>
              <p:sp>
                <p:nvSpPr>
                  <p:cNvPr id="13489" name="Freeform: Shape 13488">
                    <a:extLst>
                      <a:ext uri="{FF2B5EF4-FFF2-40B4-BE49-F238E27FC236}">
                        <a16:creationId xmlns:a16="http://schemas.microsoft.com/office/drawing/2014/main" id="{59A91A15-32A5-505F-3AD2-9AB2002842FA}"/>
                      </a:ext>
                    </a:extLst>
                  </p:cNvPr>
                  <p:cNvSpPr/>
                  <p:nvPr/>
                </p:nvSpPr>
                <p:spPr>
                  <a:xfrm>
                    <a:off x="7807832"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90" name="Freeform: Shape 13489">
                    <a:extLst>
                      <a:ext uri="{FF2B5EF4-FFF2-40B4-BE49-F238E27FC236}">
                        <a16:creationId xmlns:a16="http://schemas.microsoft.com/office/drawing/2014/main" id="{FA0A4461-1B10-2E2F-7E7D-891500C21E9E}"/>
                      </a:ext>
                    </a:extLst>
                  </p:cNvPr>
                  <p:cNvSpPr/>
                  <p:nvPr/>
                </p:nvSpPr>
                <p:spPr>
                  <a:xfrm>
                    <a:off x="7769923" y="3987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1" name="Graphic 1393">
                  <a:extLst>
                    <a:ext uri="{FF2B5EF4-FFF2-40B4-BE49-F238E27FC236}">
                      <a16:creationId xmlns:a16="http://schemas.microsoft.com/office/drawing/2014/main" id="{FF47AE73-4F9A-C5D7-6D2D-E6ACCB496308}"/>
                    </a:ext>
                  </a:extLst>
                </p:cNvPr>
                <p:cNvGrpSpPr/>
                <p:nvPr/>
              </p:nvGrpSpPr>
              <p:grpSpPr>
                <a:xfrm>
                  <a:off x="7732108" y="3897153"/>
                  <a:ext cx="75723" cy="75723"/>
                  <a:chOff x="7732108" y="3897153"/>
                  <a:chExt cx="75723" cy="75723"/>
                </a:xfrm>
              </p:grpSpPr>
              <p:sp>
                <p:nvSpPr>
                  <p:cNvPr id="13487" name="Freeform: Shape 13486">
                    <a:extLst>
                      <a:ext uri="{FF2B5EF4-FFF2-40B4-BE49-F238E27FC236}">
                        <a16:creationId xmlns:a16="http://schemas.microsoft.com/office/drawing/2014/main" id="{985EA1EF-D3CD-A62D-6D65-3276DAC7AA87}"/>
                      </a:ext>
                    </a:extLst>
                  </p:cNvPr>
                  <p:cNvSpPr/>
                  <p:nvPr/>
                </p:nvSpPr>
                <p:spPr>
                  <a:xfrm>
                    <a:off x="7769923"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8" name="Freeform: Shape 13487">
                    <a:extLst>
                      <a:ext uri="{FF2B5EF4-FFF2-40B4-BE49-F238E27FC236}">
                        <a16:creationId xmlns:a16="http://schemas.microsoft.com/office/drawing/2014/main" id="{EDE2F773-FB4E-F887-78F4-FC8E478C32AF}"/>
                      </a:ext>
                    </a:extLst>
                  </p:cNvPr>
                  <p:cNvSpPr/>
                  <p:nvPr/>
                </p:nvSpPr>
                <p:spPr>
                  <a:xfrm>
                    <a:off x="7732108" y="39349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2" name="Graphic 1393">
                  <a:extLst>
                    <a:ext uri="{FF2B5EF4-FFF2-40B4-BE49-F238E27FC236}">
                      <a16:creationId xmlns:a16="http://schemas.microsoft.com/office/drawing/2014/main" id="{D3A78E6F-F79D-65A0-ACBA-D67D55CB88AB}"/>
                    </a:ext>
                  </a:extLst>
                </p:cNvPr>
                <p:cNvGrpSpPr/>
                <p:nvPr/>
              </p:nvGrpSpPr>
              <p:grpSpPr>
                <a:xfrm>
                  <a:off x="7708486" y="3897153"/>
                  <a:ext cx="75628" cy="75723"/>
                  <a:chOff x="7708486" y="3897153"/>
                  <a:chExt cx="75628" cy="75723"/>
                </a:xfrm>
              </p:grpSpPr>
              <p:sp>
                <p:nvSpPr>
                  <p:cNvPr id="13485" name="Freeform: Shape 13484">
                    <a:extLst>
                      <a:ext uri="{FF2B5EF4-FFF2-40B4-BE49-F238E27FC236}">
                        <a16:creationId xmlns:a16="http://schemas.microsoft.com/office/drawing/2014/main" id="{285FB190-81D6-E5D8-5E2D-25990308664B}"/>
                      </a:ext>
                    </a:extLst>
                  </p:cNvPr>
                  <p:cNvSpPr/>
                  <p:nvPr/>
                </p:nvSpPr>
                <p:spPr>
                  <a:xfrm>
                    <a:off x="7746301"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6" name="Freeform: Shape 13485">
                    <a:extLst>
                      <a:ext uri="{FF2B5EF4-FFF2-40B4-BE49-F238E27FC236}">
                        <a16:creationId xmlns:a16="http://schemas.microsoft.com/office/drawing/2014/main" id="{3BA4736F-E8DB-3BAC-4752-F1A9BAD1DF12}"/>
                      </a:ext>
                    </a:extLst>
                  </p:cNvPr>
                  <p:cNvSpPr/>
                  <p:nvPr/>
                </p:nvSpPr>
                <p:spPr>
                  <a:xfrm>
                    <a:off x="7708486" y="393496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3" name="Graphic 1393">
                  <a:extLst>
                    <a:ext uri="{FF2B5EF4-FFF2-40B4-BE49-F238E27FC236}">
                      <a16:creationId xmlns:a16="http://schemas.microsoft.com/office/drawing/2014/main" id="{E1FD788D-712F-4AB9-D7D8-3DD5317A6DF5}"/>
                    </a:ext>
                  </a:extLst>
                </p:cNvPr>
                <p:cNvGrpSpPr/>
                <p:nvPr/>
              </p:nvGrpSpPr>
              <p:grpSpPr>
                <a:xfrm>
                  <a:off x="7427213" y="3851719"/>
                  <a:ext cx="75628" cy="75723"/>
                  <a:chOff x="7427213" y="3851719"/>
                  <a:chExt cx="75628" cy="75723"/>
                </a:xfrm>
              </p:grpSpPr>
              <p:sp>
                <p:nvSpPr>
                  <p:cNvPr id="13483" name="Freeform: Shape 13482">
                    <a:extLst>
                      <a:ext uri="{FF2B5EF4-FFF2-40B4-BE49-F238E27FC236}">
                        <a16:creationId xmlns:a16="http://schemas.microsoft.com/office/drawing/2014/main" id="{F13CACE0-0E19-FB56-EF74-A07D43F0CE22}"/>
                      </a:ext>
                    </a:extLst>
                  </p:cNvPr>
                  <p:cNvSpPr/>
                  <p:nvPr/>
                </p:nvSpPr>
                <p:spPr>
                  <a:xfrm>
                    <a:off x="7465027" y="3851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4" name="Freeform: Shape 13483">
                    <a:extLst>
                      <a:ext uri="{FF2B5EF4-FFF2-40B4-BE49-F238E27FC236}">
                        <a16:creationId xmlns:a16="http://schemas.microsoft.com/office/drawing/2014/main" id="{831A82FE-F4E1-A444-9E3F-026C1EF091AF}"/>
                      </a:ext>
                    </a:extLst>
                  </p:cNvPr>
                  <p:cNvSpPr/>
                  <p:nvPr/>
                </p:nvSpPr>
                <p:spPr>
                  <a:xfrm>
                    <a:off x="7427213" y="38896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4" name="Graphic 1393">
                  <a:extLst>
                    <a:ext uri="{FF2B5EF4-FFF2-40B4-BE49-F238E27FC236}">
                      <a16:creationId xmlns:a16="http://schemas.microsoft.com/office/drawing/2014/main" id="{2A6A5B32-B506-18DB-2794-4364C9260080}"/>
                    </a:ext>
                  </a:extLst>
                </p:cNvPr>
                <p:cNvGrpSpPr/>
                <p:nvPr/>
              </p:nvGrpSpPr>
              <p:grpSpPr>
                <a:xfrm>
                  <a:off x="7367968" y="3813905"/>
                  <a:ext cx="75723" cy="75723"/>
                  <a:chOff x="7367968" y="3813905"/>
                  <a:chExt cx="75723" cy="75723"/>
                </a:xfrm>
              </p:grpSpPr>
              <p:sp>
                <p:nvSpPr>
                  <p:cNvPr id="13481" name="Freeform: Shape 13480">
                    <a:extLst>
                      <a:ext uri="{FF2B5EF4-FFF2-40B4-BE49-F238E27FC236}">
                        <a16:creationId xmlns:a16="http://schemas.microsoft.com/office/drawing/2014/main" id="{BB15FCDB-F10A-304A-5D65-93272907B8C5}"/>
                      </a:ext>
                    </a:extLst>
                  </p:cNvPr>
                  <p:cNvSpPr/>
                  <p:nvPr/>
                </p:nvSpPr>
                <p:spPr>
                  <a:xfrm>
                    <a:off x="7405877"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2" name="Freeform: Shape 13481">
                    <a:extLst>
                      <a:ext uri="{FF2B5EF4-FFF2-40B4-BE49-F238E27FC236}">
                        <a16:creationId xmlns:a16="http://schemas.microsoft.com/office/drawing/2014/main" id="{B901591D-5D5A-4D59-72A3-02BA345D8CA9}"/>
                      </a:ext>
                    </a:extLst>
                  </p:cNvPr>
                  <p:cNvSpPr/>
                  <p:nvPr/>
                </p:nvSpPr>
                <p:spPr>
                  <a:xfrm>
                    <a:off x="736796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5" name="Graphic 1393">
                  <a:extLst>
                    <a:ext uri="{FF2B5EF4-FFF2-40B4-BE49-F238E27FC236}">
                      <a16:creationId xmlns:a16="http://schemas.microsoft.com/office/drawing/2014/main" id="{9C4C0ADA-18AE-00E2-4613-6B7D0D8F9B88}"/>
                    </a:ext>
                  </a:extLst>
                </p:cNvPr>
                <p:cNvGrpSpPr/>
                <p:nvPr/>
              </p:nvGrpSpPr>
              <p:grpSpPr>
                <a:xfrm>
                  <a:off x="7235475" y="3748659"/>
                  <a:ext cx="75628" cy="75723"/>
                  <a:chOff x="7235475" y="3748659"/>
                  <a:chExt cx="75628" cy="75723"/>
                </a:xfrm>
              </p:grpSpPr>
              <p:sp>
                <p:nvSpPr>
                  <p:cNvPr id="13479" name="Freeform: Shape 13478">
                    <a:extLst>
                      <a:ext uri="{FF2B5EF4-FFF2-40B4-BE49-F238E27FC236}">
                        <a16:creationId xmlns:a16="http://schemas.microsoft.com/office/drawing/2014/main" id="{DB5C8C60-13BE-EBB0-15CD-1B74078BA7C0}"/>
                      </a:ext>
                    </a:extLst>
                  </p:cNvPr>
                  <p:cNvSpPr/>
                  <p:nvPr/>
                </p:nvSpPr>
                <p:spPr>
                  <a:xfrm>
                    <a:off x="7273289"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80" name="Freeform: Shape 13479">
                    <a:extLst>
                      <a:ext uri="{FF2B5EF4-FFF2-40B4-BE49-F238E27FC236}">
                        <a16:creationId xmlns:a16="http://schemas.microsoft.com/office/drawing/2014/main" id="{D5571EB2-83FE-B8B6-D70D-73FF8C33A0C5}"/>
                      </a:ext>
                    </a:extLst>
                  </p:cNvPr>
                  <p:cNvSpPr/>
                  <p:nvPr/>
                </p:nvSpPr>
                <p:spPr>
                  <a:xfrm>
                    <a:off x="7235475"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6" name="Graphic 1393">
                  <a:extLst>
                    <a:ext uri="{FF2B5EF4-FFF2-40B4-BE49-F238E27FC236}">
                      <a16:creationId xmlns:a16="http://schemas.microsoft.com/office/drawing/2014/main" id="{DE0B2014-1CDE-2AA5-FDE3-FA5FC1F28980}"/>
                    </a:ext>
                  </a:extLst>
                </p:cNvPr>
                <p:cNvGrpSpPr/>
                <p:nvPr/>
              </p:nvGrpSpPr>
              <p:grpSpPr>
                <a:xfrm>
                  <a:off x="7284624" y="3748659"/>
                  <a:ext cx="75628" cy="75723"/>
                  <a:chOff x="7284624" y="3748659"/>
                  <a:chExt cx="75628" cy="75723"/>
                </a:xfrm>
              </p:grpSpPr>
              <p:sp>
                <p:nvSpPr>
                  <p:cNvPr id="13477" name="Freeform: Shape 13476">
                    <a:extLst>
                      <a:ext uri="{FF2B5EF4-FFF2-40B4-BE49-F238E27FC236}">
                        <a16:creationId xmlns:a16="http://schemas.microsoft.com/office/drawing/2014/main" id="{74076F9C-5EC2-4B4A-15E2-1A4B1494FB11}"/>
                      </a:ext>
                    </a:extLst>
                  </p:cNvPr>
                  <p:cNvSpPr/>
                  <p:nvPr/>
                </p:nvSpPr>
                <p:spPr>
                  <a:xfrm>
                    <a:off x="7322438"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8" name="Freeform: Shape 13477">
                    <a:extLst>
                      <a:ext uri="{FF2B5EF4-FFF2-40B4-BE49-F238E27FC236}">
                        <a16:creationId xmlns:a16="http://schemas.microsoft.com/office/drawing/2014/main" id="{4F32F4F9-1811-D619-1911-4C5114D8B1F5}"/>
                      </a:ext>
                    </a:extLst>
                  </p:cNvPr>
                  <p:cNvSpPr/>
                  <p:nvPr/>
                </p:nvSpPr>
                <p:spPr>
                  <a:xfrm>
                    <a:off x="7284624" y="37864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7" name="Graphic 1393">
                  <a:extLst>
                    <a:ext uri="{FF2B5EF4-FFF2-40B4-BE49-F238E27FC236}">
                      <a16:creationId xmlns:a16="http://schemas.microsoft.com/office/drawing/2014/main" id="{DE909FE8-C040-1CFE-F16E-69742BD446AE}"/>
                    </a:ext>
                  </a:extLst>
                </p:cNvPr>
                <p:cNvGrpSpPr/>
                <p:nvPr/>
              </p:nvGrpSpPr>
              <p:grpSpPr>
                <a:xfrm>
                  <a:off x="7023163" y="3695128"/>
                  <a:ext cx="75723" cy="75723"/>
                  <a:chOff x="7023163" y="3695128"/>
                  <a:chExt cx="75723" cy="75723"/>
                </a:xfrm>
              </p:grpSpPr>
              <p:sp>
                <p:nvSpPr>
                  <p:cNvPr id="13475" name="Freeform: Shape 13474">
                    <a:extLst>
                      <a:ext uri="{FF2B5EF4-FFF2-40B4-BE49-F238E27FC236}">
                        <a16:creationId xmlns:a16="http://schemas.microsoft.com/office/drawing/2014/main" id="{FE2CD2C5-9B4C-FC61-1242-3929758572BE}"/>
                      </a:ext>
                    </a:extLst>
                  </p:cNvPr>
                  <p:cNvSpPr/>
                  <p:nvPr/>
                </p:nvSpPr>
                <p:spPr>
                  <a:xfrm>
                    <a:off x="7060977"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6" name="Freeform: Shape 13475">
                    <a:extLst>
                      <a:ext uri="{FF2B5EF4-FFF2-40B4-BE49-F238E27FC236}">
                        <a16:creationId xmlns:a16="http://schemas.microsoft.com/office/drawing/2014/main" id="{21803804-5796-B979-3B88-76D53C9534A2}"/>
                      </a:ext>
                    </a:extLst>
                  </p:cNvPr>
                  <p:cNvSpPr/>
                  <p:nvPr/>
                </p:nvSpPr>
                <p:spPr>
                  <a:xfrm>
                    <a:off x="7023163"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8" name="Graphic 1393">
                  <a:extLst>
                    <a:ext uri="{FF2B5EF4-FFF2-40B4-BE49-F238E27FC236}">
                      <a16:creationId xmlns:a16="http://schemas.microsoft.com/office/drawing/2014/main" id="{9ED7DBB1-C346-8F53-838C-2DAAB53A17D9}"/>
                    </a:ext>
                  </a:extLst>
                </p:cNvPr>
                <p:cNvGrpSpPr/>
                <p:nvPr/>
              </p:nvGrpSpPr>
              <p:grpSpPr>
                <a:xfrm>
                  <a:off x="6927532" y="3695128"/>
                  <a:ext cx="75628" cy="75723"/>
                  <a:chOff x="6927532" y="3695128"/>
                  <a:chExt cx="75628" cy="75723"/>
                </a:xfrm>
              </p:grpSpPr>
              <p:sp>
                <p:nvSpPr>
                  <p:cNvPr id="13473" name="Freeform: Shape 13472">
                    <a:extLst>
                      <a:ext uri="{FF2B5EF4-FFF2-40B4-BE49-F238E27FC236}">
                        <a16:creationId xmlns:a16="http://schemas.microsoft.com/office/drawing/2014/main" id="{CD30B363-6B7A-6625-DB5F-F1D99316EFFE}"/>
                      </a:ext>
                    </a:extLst>
                  </p:cNvPr>
                  <p:cNvSpPr/>
                  <p:nvPr/>
                </p:nvSpPr>
                <p:spPr>
                  <a:xfrm>
                    <a:off x="6965346"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4" name="Freeform: Shape 13473">
                    <a:extLst>
                      <a:ext uri="{FF2B5EF4-FFF2-40B4-BE49-F238E27FC236}">
                        <a16:creationId xmlns:a16="http://schemas.microsoft.com/office/drawing/2014/main" id="{AD4B160C-CEF5-1828-9685-93688A8AAD6A}"/>
                      </a:ext>
                    </a:extLst>
                  </p:cNvPr>
                  <p:cNvSpPr/>
                  <p:nvPr/>
                </p:nvSpPr>
                <p:spPr>
                  <a:xfrm>
                    <a:off x="6927532" y="3732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09" name="Graphic 1393">
                  <a:extLst>
                    <a:ext uri="{FF2B5EF4-FFF2-40B4-BE49-F238E27FC236}">
                      <a16:creationId xmlns:a16="http://schemas.microsoft.com/office/drawing/2014/main" id="{DD14D1EA-2BCE-7763-9DAD-79BFF08E3BEE}"/>
                    </a:ext>
                  </a:extLst>
                </p:cNvPr>
                <p:cNvGrpSpPr/>
                <p:nvPr/>
              </p:nvGrpSpPr>
              <p:grpSpPr>
                <a:xfrm>
                  <a:off x="6911720" y="3695128"/>
                  <a:ext cx="75723" cy="75723"/>
                  <a:chOff x="6911720" y="3695128"/>
                  <a:chExt cx="75723" cy="75723"/>
                </a:xfrm>
              </p:grpSpPr>
              <p:sp>
                <p:nvSpPr>
                  <p:cNvPr id="13471" name="Freeform: Shape 13470">
                    <a:extLst>
                      <a:ext uri="{FF2B5EF4-FFF2-40B4-BE49-F238E27FC236}">
                        <a16:creationId xmlns:a16="http://schemas.microsoft.com/office/drawing/2014/main" id="{4CF47258-0D48-C37F-55B7-ECAF796C3C25}"/>
                      </a:ext>
                    </a:extLst>
                  </p:cNvPr>
                  <p:cNvSpPr/>
                  <p:nvPr/>
                </p:nvSpPr>
                <p:spPr>
                  <a:xfrm>
                    <a:off x="6949534" y="36951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2" name="Freeform: Shape 13471">
                    <a:extLst>
                      <a:ext uri="{FF2B5EF4-FFF2-40B4-BE49-F238E27FC236}">
                        <a16:creationId xmlns:a16="http://schemas.microsoft.com/office/drawing/2014/main" id="{E4EBE97A-3C5D-B7C7-7F52-042E95C95FDB}"/>
                      </a:ext>
                    </a:extLst>
                  </p:cNvPr>
                  <p:cNvSpPr/>
                  <p:nvPr/>
                </p:nvSpPr>
                <p:spPr>
                  <a:xfrm>
                    <a:off x="6911720" y="37329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0" name="Graphic 1393">
                  <a:extLst>
                    <a:ext uri="{FF2B5EF4-FFF2-40B4-BE49-F238E27FC236}">
                      <a16:creationId xmlns:a16="http://schemas.microsoft.com/office/drawing/2014/main" id="{57BDDACF-F7EE-61C7-864C-893618AF48D2}"/>
                    </a:ext>
                  </a:extLst>
                </p:cNvPr>
                <p:cNvGrpSpPr/>
                <p:nvPr/>
              </p:nvGrpSpPr>
              <p:grpSpPr>
                <a:xfrm>
                  <a:off x="6839330" y="3669220"/>
                  <a:ext cx="75723" cy="75723"/>
                  <a:chOff x="6839330" y="3669220"/>
                  <a:chExt cx="75723" cy="75723"/>
                </a:xfrm>
              </p:grpSpPr>
              <p:sp>
                <p:nvSpPr>
                  <p:cNvPr id="13469" name="Freeform: Shape 13468">
                    <a:extLst>
                      <a:ext uri="{FF2B5EF4-FFF2-40B4-BE49-F238E27FC236}">
                        <a16:creationId xmlns:a16="http://schemas.microsoft.com/office/drawing/2014/main" id="{1C170453-E312-8FCF-8432-7F917AFFACBD}"/>
                      </a:ext>
                    </a:extLst>
                  </p:cNvPr>
                  <p:cNvSpPr/>
                  <p:nvPr/>
                </p:nvSpPr>
                <p:spPr>
                  <a:xfrm>
                    <a:off x="6877240"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70" name="Freeform: Shape 13469">
                    <a:extLst>
                      <a:ext uri="{FF2B5EF4-FFF2-40B4-BE49-F238E27FC236}">
                        <a16:creationId xmlns:a16="http://schemas.microsoft.com/office/drawing/2014/main" id="{5CD279A5-CDE2-9693-954B-561A83564E86}"/>
                      </a:ext>
                    </a:extLst>
                  </p:cNvPr>
                  <p:cNvSpPr/>
                  <p:nvPr/>
                </p:nvSpPr>
                <p:spPr>
                  <a:xfrm>
                    <a:off x="683933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1" name="Graphic 1393">
                  <a:extLst>
                    <a:ext uri="{FF2B5EF4-FFF2-40B4-BE49-F238E27FC236}">
                      <a16:creationId xmlns:a16="http://schemas.microsoft.com/office/drawing/2014/main" id="{27B9DA74-9F41-9657-B7FD-AB575CF90F50}"/>
                    </a:ext>
                  </a:extLst>
                </p:cNvPr>
                <p:cNvGrpSpPr/>
                <p:nvPr/>
              </p:nvGrpSpPr>
              <p:grpSpPr>
                <a:xfrm>
                  <a:off x="6510337" y="3646170"/>
                  <a:ext cx="75723" cy="75628"/>
                  <a:chOff x="6510337" y="3646170"/>
                  <a:chExt cx="75723" cy="75628"/>
                </a:xfrm>
              </p:grpSpPr>
              <p:sp>
                <p:nvSpPr>
                  <p:cNvPr id="13467" name="Freeform: Shape 13466">
                    <a:extLst>
                      <a:ext uri="{FF2B5EF4-FFF2-40B4-BE49-F238E27FC236}">
                        <a16:creationId xmlns:a16="http://schemas.microsoft.com/office/drawing/2014/main" id="{73F051B1-8046-3FE4-025F-8290F52820F3}"/>
                      </a:ext>
                    </a:extLst>
                  </p:cNvPr>
                  <p:cNvSpPr/>
                  <p:nvPr/>
                </p:nvSpPr>
                <p:spPr>
                  <a:xfrm>
                    <a:off x="654815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8" name="Freeform: Shape 13467">
                    <a:extLst>
                      <a:ext uri="{FF2B5EF4-FFF2-40B4-BE49-F238E27FC236}">
                        <a16:creationId xmlns:a16="http://schemas.microsoft.com/office/drawing/2014/main" id="{4AE880A0-13B8-8035-9438-0B577D491A07}"/>
                      </a:ext>
                    </a:extLst>
                  </p:cNvPr>
                  <p:cNvSpPr/>
                  <p:nvPr/>
                </p:nvSpPr>
                <p:spPr>
                  <a:xfrm>
                    <a:off x="6510337"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2" name="Graphic 1393">
                  <a:extLst>
                    <a:ext uri="{FF2B5EF4-FFF2-40B4-BE49-F238E27FC236}">
                      <a16:creationId xmlns:a16="http://schemas.microsoft.com/office/drawing/2014/main" id="{C509F4A6-D79E-756F-9F34-721BCD6EB57E}"/>
                    </a:ext>
                  </a:extLst>
                </p:cNvPr>
                <p:cNvGrpSpPr/>
                <p:nvPr/>
              </p:nvGrpSpPr>
              <p:grpSpPr>
                <a:xfrm>
                  <a:off x="6460902" y="3646170"/>
                  <a:ext cx="75723" cy="75628"/>
                  <a:chOff x="6460902" y="3646170"/>
                  <a:chExt cx="75723" cy="75628"/>
                </a:xfrm>
              </p:grpSpPr>
              <p:sp>
                <p:nvSpPr>
                  <p:cNvPr id="13465" name="Freeform: Shape 13464">
                    <a:extLst>
                      <a:ext uri="{FF2B5EF4-FFF2-40B4-BE49-F238E27FC236}">
                        <a16:creationId xmlns:a16="http://schemas.microsoft.com/office/drawing/2014/main" id="{25B22142-CB22-DF7B-430F-203253933E6B}"/>
                      </a:ext>
                    </a:extLst>
                  </p:cNvPr>
                  <p:cNvSpPr/>
                  <p:nvPr/>
                </p:nvSpPr>
                <p:spPr>
                  <a:xfrm>
                    <a:off x="6498811"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6" name="Freeform: Shape 13465">
                    <a:extLst>
                      <a:ext uri="{FF2B5EF4-FFF2-40B4-BE49-F238E27FC236}">
                        <a16:creationId xmlns:a16="http://schemas.microsoft.com/office/drawing/2014/main" id="{1D2CDABF-B1FC-48AD-7EB9-DBE970108DD9}"/>
                      </a:ext>
                    </a:extLst>
                  </p:cNvPr>
                  <p:cNvSpPr/>
                  <p:nvPr/>
                </p:nvSpPr>
                <p:spPr>
                  <a:xfrm>
                    <a:off x="6460902"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3" name="Graphic 1393">
                  <a:extLst>
                    <a:ext uri="{FF2B5EF4-FFF2-40B4-BE49-F238E27FC236}">
                      <a16:creationId xmlns:a16="http://schemas.microsoft.com/office/drawing/2014/main" id="{01F09321-7B60-4E36-A82A-7C567264B0E4}"/>
                    </a:ext>
                  </a:extLst>
                </p:cNvPr>
                <p:cNvGrpSpPr/>
                <p:nvPr/>
              </p:nvGrpSpPr>
              <p:grpSpPr>
                <a:xfrm>
                  <a:off x="6470808" y="3646170"/>
                  <a:ext cx="75723" cy="75628"/>
                  <a:chOff x="6470808" y="3646170"/>
                  <a:chExt cx="75723" cy="75628"/>
                </a:xfrm>
              </p:grpSpPr>
              <p:sp>
                <p:nvSpPr>
                  <p:cNvPr id="13463" name="Freeform: Shape 13462">
                    <a:extLst>
                      <a:ext uri="{FF2B5EF4-FFF2-40B4-BE49-F238E27FC236}">
                        <a16:creationId xmlns:a16="http://schemas.microsoft.com/office/drawing/2014/main" id="{B0D94F25-C7E8-7251-5DEC-BBF2892C0601}"/>
                      </a:ext>
                    </a:extLst>
                  </p:cNvPr>
                  <p:cNvSpPr/>
                  <p:nvPr/>
                </p:nvSpPr>
                <p:spPr>
                  <a:xfrm>
                    <a:off x="6508622"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4" name="Freeform: Shape 13463">
                    <a:extLst>
                      <a:ext uri="{FF2B5EF4-FFF2-40B4-BE49-F238E27FC236}">
                        <a16:creationId xmlns:a16="http://schemas.microsoft.com/office/drawing/2014/main" id="{E5B69F36-F4ED-650A-C700-D622338D191A}"/>
                      </a:ext>
                    </a:extLst>
                  </p:cNvPr>
                  <p:cNvSpPr/>
                  <p:nvPr/>
                </p:nvSpPr>
                <p:spPr>
                  <a:xfrm>
                    <a:off x="6470808"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4" name="Graphic 1393">
                  <a:extLst>
                    <a:ext uri="{FF2B5EF4-FFF2-40B4-BE49-F238E27FC236}">
                      <a16:creationId xmlns:a16="http://schemas.microsoft.com/office/drawing/2014/main" id="{3BD03826-7189-EEA1-1F51-65F90F862605}"/>
                    </a:ext>
                  </a:extLst>
                </p:cNvPr>
                <p:cNvGrpSpPr/>
                <p:nvPr/>
              </p:nvGrpSpPr>
              <p:grpSpPr>
                <a:xfrm>
                  <a:off x="6480714" y="3646170"/>
                  <a:ext cx="75723" cy="75628"/>
                  <a:chOff x="6480714" y="3646170"/>
                  <a:chExt cx="75723" cy="75628"/>
                </a:xfrm>
              </p:grpSpPr>
              <p:sp>
                <p:nvSpPr>
                  <p:cNvPr id="13461" name="Freeform: Shape 13460">
                    <a:extLst>
                      <a:ext uri="{FF2B5EF4-FFF2-40B4-BE49-F238E27FC236}">
                        <a16:creationId xmlns:a16="http://schemas.microsoft.com/office/drawing/2014/main" id="{E34039F0-09D6-C6B9-8ABB-B0D13EBB5E99}"/>
                      </a:ext>
                    </a:extLst>
                  </p:cNvPr>
                  <p:cNvSpPr/>
                  <p:nvPr/>
                </p:nvSpPr>
                <p:spPr>
                  <a:xfrm>
                    <a:off x="6518528"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2" name="Freeform: Shape 13461">
                    <a:extLst>
                      <a:ext uri="{FF2B5EF4-FFF2-40B4-BE49-F238E27FC236}">
                        <a16:creationId xmlns:a16="http://schemas.microsoft.com/office/drawing/2014/main" id="{3EC10BFB-1168-DE85-F165-7F6F2E7B0E5D}"/>
                      </a:ext>
                    </a:extLst>
                  </p:cNvPr>
                  <p:cNvSpPr/>
                  <p:nvPr/>
                </p:nvSpPr>
                <p:spPr>
                  <a:xfrm>
                    <a:off x="6480714"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5" name="Graphic 1393">
                  <a:extLst>
                    <a:ext uri="{FF2B5EF4-FFF2-40B4-BE49-F238E27FC236}">
                      <a16:creationId xmlns:a16="http://schemas.microsoft.com/office/drawing/2014/main" id="{4C0E36CC-1A4D-EF63-AA39-85E71191B9FF}"/>
                    </a:ext>
                  </a:extLst>
                </p:cNvPr>
                <p:cNvGrpSpPr/>
                <p:nvPr/>
              </p:nvGrpSpPr>
              <p:grpSpPr>
                <a:xfrm>
                  <a:off x="6490620" y="3646170"/>
                  <a:ext cx="75628" cy="75628"/>
                  <a:chOff x="6490620" y="3646170"/>
                  <a:chExt cx="75628" cy="75628"/>
                </a:xfrm>
              </p:grpSpPr>
              <p:sp>
                <p:nvSpPr>
                  <p:cNvPr id="13459" name="Freeform: Shape 13458">
                    <a:extLst>
                      <a:ext uri="{FF2B5EF4-FFF2-40B4-BE49-F238E27FC236}">
                        <a16:creationId xmlns:a16="http://schemas.microsoft.com/office/drawing/2014/main" id="{A77E2CC0-5626-5FAB-808C-B55CE025FF3B}"/>
                      </a:ext>
                    </a:extLst>
                  </p:cNvPr>
                  <p:cNvSpPr/>
                  <p:nvPr/>
                </p:nvSpPr>
                <p:spPr>
                  <a:xfrm>
                    <a:off x="6528434"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60" name="Freeform: Shape 13459">
                    <a:extLst>
                      <a:ext uri="{FF2B5EF4-FFF2-40B4-BE49-F238E27FC236}">
                        <a16:creationId xmlns:a16="http://schemas.microsoft.com/office/drawing/2014/main" id="{6F77DE6F-00BB-581F-05CD-3DC3A55B0013}"/>
                      </a:ext>
                    </a:extLst>
                  </p:cNvPr>
                  <p:cNvSpPr/>
                  <p:nvPr/>
                </p:nvSpPr>
                <p:spPr>
                  <a:xfrm>
                    <a:off x="6490620" y="368398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6" name="Graphic 1393">
                  <a:extLst>
                    <a:ext uri="{FF2B5EF4-FFF2-40B4-BE49-F238E27FC236}">
                      <a16:creationId xmlns:a16="http://schemas.microsoft.com/office/drawing/2014/main" id="{EEB2AF42-BC8B-6CB7-58A0-6CD710C36CBD}"/>
                    </a:ext>
                  </a:extLst>
                </p:cNvPr>
                <p:cNvGrpSpPr/>
                <p:nvPr/>
              </p:nvGrpSpPr>
              <p:grpSpPr>
                <a:xfrm>
                  <a:off x="6500431" y="3646170"/>
                  <a:ext cx="75723" cy="75628"/>
                  <a:chOff x="6500431" y="3646170"/>
                  <a:chExt cx="75723" cy="75628"/>
                </a:xfrm>
              </p:grpSpPr>
              <p:sp>
                <p:nvSpPr>
                  <p:cNvPr id="13457" name="Freeform: Shape 13456">
                    <a:extLst>
                      <a:ext uri="{FF2B5EF4-FFF2-40B4-BE49-F238E27FC236}">
                        <a16:creationId xmlns:a16="http://schemas.microsoft.com/office/drawing/2014/main" id="{A07B183B-A37A-6C57-F771-5AA5AFCBC3A1}"/>
                      </a:ext>
                    </a:extLst>
                  </p:cNvPr>
                  <p:cNvSpPr/>
                  <p:nvPr/>
                </p:nvSpPr>
                <p:spPr>
                  <a:xfrm>
                    <a:off x="6538340" y="36461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8" name="Freeform: Shape 13457">
                    <a:extLst>
                      <a:ext uri="{FF2B5EF4-FFF2-40B4-BE49-F238E27FC236}">
                        <a16:creationId xmlns:a16="http://schemas.microsoft.com/office/drawing/2014/main" id="{505BF1CD-6DB9-84A9-F7A5-C3F78F70204B}"/>
                      </a:ext>
                    </a:extLst>
                  </p:cNvPr>
                  <p:cNvSpPr/>
                  <p:nvPr/>
                </p:nvSpPr>
                <p:spPr>
                  <a:xfrm>
                    <a:off x="6500431" y="36839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7" name="Graphic 1393">
                  <a:extLst>
                    <a:ext uri="{FF2B5EF4-FFF2-40B4-BE49-F238E27FC236}">
                      <a16:creationId xmlns:a16="http://schemas.microsoft.com/office/drawing/2014/main" id="{9564B998-0157-00B8-F811-B3D41C1C7A72}"/>
                    </a:ext>
                  </a:extLst>
                </p:cNvPr>
                <p:cNvGrpSpPr/>
                <p:nvPr/>
              </p:nvGrpSpPr>
              <p:grpSpPr>
                <a:xfrm>
                  <a:off x="6452139" y="3598449"/>
                  <a:ext cx="75723" cy="75628"/>
                  <a:chOff x="6452139" y="3598449"/>
                  <a:chExt cx="75723" cy="75628"/>
                </a:xfrm>
              </p:grpSpPr>
              <p:sp>
                <p:nvSpPr>
                  <p:cNvPr id="13455" name="Freeform: Shape 13454">
                    <a:extLst>
                      <a:ext uri="{FF2B5EF4-FFF2-40B4-BE49-F238E27FC236}">
                        <a16:creationId xmlns:a16="http://schemas.microsoft.com/office/drawing/2014/main" id="{12D31401-5DA8-87AF-8F75-5E2D29A3B13A}"/>
                      </a:ext>
                    </a:extLst>
                  </p:cNvPr>
                  <p:cNvSpPr/>
                  <p:nvPr/>
                </p:nvSpPr>
                <p:spPr>
                  <a:xfrm>
                    <a:off x="648995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6" name="Freeform: Shape 13455">
                    <a:extLst>
                      <a:ext uri="{FF2B5EF4-FFF2-40B4-BE49-F238E27FC236}">
                        <a16:creationId xmlns:a16="http://schemas.microsoft.com/office/drawing/2014/main" id="{15FD5E45-AA17-ED31-3A59-D753B329721D}"/>
                      </a:ext>
                    </a:extLst>
                  </p:cNvPr>
                  <p:cNvSpPr/>
                  <p:nvPr/>
                </p:nvSpPr>
                <p:spPr>
                  <a:xfrm>
                    <a:off x="645213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8" name="Graphic 1393">
                  <a:extLst>
                    <a:ext uri="{FF2B5EF4-FFF2-40B4-BE49-F238E27FC236}">
                      <a16:creationId xmlns:a16="http://schemas.microsoft.com/office/drawing/2014/main" id="{5205A05C-DA03-2A11-6EFB-B51CCC04D87D}"/>
                    </a:ext>
                  </a:extLst>
                </p:cNvPr>
                <p:cNvGrpSpPr/>
                <p:nvPr/>
              </p:nvGrpSpPr>
              <p:grpSpPr>
                <a:xfrm>
                  <a:off x="6402704" y="3598449"/>
                  <a:ext cx="75723" cy="75628"/>
                  <a:chOff x="6402704" y="3598449"/>
                  <a:chExt cx="75723" cy="75628"/>
                </a:xfrm>
              </p:grpSpPr>
              <p:sp>
                <p:nvSpPr>
                  <p:cNvPr id="13453" name="Freeform: Shape 13452">
                    <a:extLst>
                      <a:ext uri="{FF2B5EF4-FFF2-40B4-BE49-F238E27FC236}">
                        <a16:creationId xmlns:a16="http://schemas.microsoft.com/office/drawing/2014/main" id="{4041BDA6-64B2-0A0F-350E-A242BE83E4E1}"/>
                      </a:ext>
                    </a:extLst>
                  </p:cNvPr>
                  <p:cNvSpPr/>
                  <p:nvPr/>
                </p:nvSpPr>
                <p:spPr>
                  <a:xfrm>
                    <a:off x="6440614"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4" name="Freeform: Shape 13453">
                    <a:extLst>
                      <a:ext uri="{FF2B5EF4-FFF2-40B4-BE49-F238E27FC236}">
                        <a16:creationId xmlns:a16="http://schemas.microsoft.com/office/drawing/2014/main" id="{CC351D75-49EF-021C-2F2E-D4F7808C1056}"/>
                      </a:ext>
                    </a:extLst>
                  </p:cNvPr>
                  <p:cNvSpPr/>
                  <p:nvPr/>
                </p:nvSpPr>
                <p:spPr>
                  <a:xfrm>
                    <a:off x="640270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19" name="Graphic 1393">
                  <a:extLst>
                    <a:ext uri="{FF2B5EF4-FFF2-40B4-BE49-F238E27FC236}">
                      <a16:creationId xmlns:a16="http://schemas.microsoft.com/office/drawing/2014/main" id="{68B27ABE-D0A3-DC25-DC01-6CC4F3A9863C}"/>
                    </a:ext>
                  </a:extLst>
                </p:cNvPr>
                <p:cNvGrpSpPr/>
                <p:nvPr/>
              </p:nvGrpSpPr>
              <p:grpSpPr>
                <a:xfrm>
                  <a:off x="6256876" y="3598449"/>
                  <a:ext cx="75723" cy="75628"/>
                  <a:chOff x="6256876" y="3598449"/>
                  <a:chExt cx="75723" cy="75628"/>
                </a:xfrm>
              </p:grpSpPr>
              <p:sp>
                <p:nvSpPr>
                  <p:cNvPr id="13451" name="Freeform: Shape 13450">
                    <a:extLst>
                      <a:ext uri="{FF2B5EF4-FFF2-40B4-BE49-F238E27FC236}">
                        <a16:creationId xmlns:a16="http://schemas.microsoft.com/office/drawing/2014/main" id="{289F0CFB-42AB-B7AB-4D69-63AF5B0FF557}"/>
                      </a:ext>
                    </a:extLst>
                  </p:cNvPr>
                  <p:cNvSpPr/>
                  <p:nvPr/>
                </p:nvSpPr>
                <p:spPr>
                  <a:xfrm>
                    <a:off x="629469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2" name="Freeform: Shape 13451">
                    <a:extLst>
                      <a:ext uri="{FF2B5EF4-FFF2-40B4-BE49-F238E27FC236}">
                        <a16:creationId xmlns:a16="http://schemas.microsoft.com/office/drawing/2014/main" id="{C0DB4C02-A34E-D0D8-0668-EF0721B491E2}"/>
                      </a:ext>
                    </a:extLst>
                  </p:cNvPr>
                  <p:cNvSpPr/>
                  <p:nvPr/>
                </p:nvSpPr>
                <p:spPr>
                  <a:xfrm>
                    <a:off x="625687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0" name="Graphic 1393">
                  <a:extLst>
                    <a:ext uri="{FF2B5EF4-FFF2-40B4-BE49-F238E27FC236}">
                      <a16:creationId xmlns:a16="http://schemas.microsoft.com/office/drawing/2014/main" id="{D16A3809-A613-DF7E-ECFE-BECA33C73680}"/>
                    </a:ext>
                  </a:extLst>
                </p:cNvPr>
                <p:cNvGrpSpPr/>
                <p:nvPr/>
              </p:nvGrpSpPr>
              <p:grpSpPr>
                <a:xfrm>
                  <a:off x="6239827" y="3598449"/>
                  <a:ext cx="75723" cy="75628"/>
                  <a:chOff x="6239827" y="3598449"/>
                  <a:chExt cx="75723" cy="75628"/>
                </a:xfrm>
              </p:grpSpPr>
              <p:sp>
                <p:nvSpPr>
                  <p:cNvPr id="13449" name="Freeform: Shape 13448">
                    <a:extLst>
                      <a:ext uri="{FF2B5EF4-FFF2-40B4-BE49-F238E27FC236}">
                        <a16:creationId xmlns:a16="http://schemas.microsoft.com/office/drawing/2014/main" id="{58154222-F35F-789B-5B03-22FB034A14F0}"/>
                      </a:ext>
                    </a:extLst>
                  </p:cNvPr>
                  <p:cNvSpPr/>
                  <p:nvPr/>
                </p:nvSpPr>
                <p:spPr>
                  <a:xfrm>
                    <a:off x="627764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50" name="Freeform: Shape 13449">
                    <a:extLst>
                      <a:ext uri="{FF2B5EF4-FFF2-40B4-BE49-F238E27FC236}">
                        <a16:creationId xmlns:a16="http://schemas.microsoft.com/office/drawing/2014/main" id="{5919D58A-9DA7-9C4C-8F3A-444FF26592C5}"/>
                      </a:ext>
                    </a:extLst>
                  </p:cNvPr>
                  <p:cNvSpPr/>
                  <p:nvPr/>
                </p:nvSpPr>
                <p:spPr>
                  <a:xfrm>
                    <a:off x="623982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1" name="Graphic 1393">
                  <a:extLst>
                    <a:ext uri="{FF2B5EF4-FFF2-40B4-BE49-F238E27FC236}">
                      <a16:creationId xmlns:a16="http://schemas.microsoft.com/office/drawing/2014/main" id="{0F11A322-2736-01CA-0228-42A2F01913CC}"/>
                    </a:ext>
                  </a:extLst>
                </p:cNvPr>
                <p:cNvGrpSpPr/>
                <p:nvPr/>
              </p:nvGrpSpPr>
              <p:grpSpPr>
                <a:xfrm>
                  <a:off x="6193059" y="3598449"/>
                  <a:ext cx="75628" cy="75628"/>
                  <a:chOff x="6193059" y="3598449"/>
                  <a:chExt cx="75628" cy="75628"/>
                </a:xfrm>
              </p:grpSpPr>
              <p:sp>
                <p:nvSpPr>
                  <p:cNvPr id="13447" name="Freeform: Shape 13446">
                    <a:extLst>
                      <a:ext uri="{FF2B5EF4-FFF2-40B4-BE49-F238E27FC236}">
                        <a16:creationId xmlns:a16="http://schemas.microsoft.com/office/drawing/2014/main" id="{B20E5CB2-3E88-C11D-4B29-9879E73B4509}"/>
                      </a:ext>
                    </a:extLst>
                  </p:cNvPr>
                  <p:cNvSpPr/>
                  <p:nvPr/>
                </p:nvSpPr>
                <p:spPr>
                  <a:xfrm>
                    <a:off x="623087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8" name="Freeform: Shape 13447">
                    <a:extLst>
                      <a:ext uri="{FF2B5EF4-FFF2-40B4-BE49-F238E27FC236}">
                        <a16:creationId xmlns:a16="http://schemas.microsoft.com/office/drawing/2014/main" id="{11B449A0-C13F-6FB8-BDB0-C1BCF1243A8B}"/>
                      </a:ext>
                    </a:extLst>
                  </p:cNvPr>
                  <p:cNvSpPr/>
                  <p:nvPr/>
                </p:nvSpPr>
                <p:spPr>
                  <a:xfrm>
                    <a:off x="6193059" y="363626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2" name="Graphic 1393">
                  <a:extLst>
                    <a:ext uri="{FF2B5EF4-FFF2-40B4-BE49-F238E27FC236}">
                      <a16:creationId xmlns:a16="http://schemas.microsoft.com/office/drawing/2014/main" id="{E55E4FD8-4BF4-CF1C-2B8B-009240369ED2}"/>
                    </a:ext>
                  </a:extLst>
                </p:cNvPr>
                <p:cNvGrpSpPr/>
                <p:nvPr/>
              </p:nvGrpSpPr>
              <p:grpSpPr>
                <a:xfrm>
                  <a:off x="6090284" y="3598449"/>
                  <a:ext cx="75723" cy="75628"/>
                  <a:chOff x="6090284" y="3598449"/>
                  <a:chExt cx="75723" cy="75628"/>
                </a:xfrm>
              </p:grpSpPr>
              <p:sp>
                <p:nvSpPr>
                  <p:cNvPr id="13445" name="Freeform: Shape 13444">
                    <a:extLst>
                      <a:ext uri="{FF2B5EF4-FFF2-40B4-BE49-F238E27FC236}">
                        <a16:creationId xmlns:a16="http://schemas.microsoft.com/office/drawing/2014/main" id="{9D05EF37-84D2-ACFF-A301-96CAFC215C2F}"/>
                      </a:ext>
                    </a:extLst>
                  </p:cNvPr>
                  <p:cNvSpPr/>
                  <p:nvPr/>
                </p:nvSpPr>
                <p:spPr>
                  <a:xfrm>
                    <a:off x="6128098"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6" name="Freeform: Shape 13445">
                    <a:extLst>
                      <a:ext uri="{FF2B5EF4-FFF2-40B4-BE49-F238E27FC236}">
                        <a16:creationId xmlns:a16="http://schemas.microsoft.com/office/drawing/2014/main" id="{339018AF-F04B-BB34-821A-2FAF0AE9F61D}"/>
                      </a:ext>
                    </a:extLst>
                  </p:cNvPr>
                  <p:cNvSpPr/>
                  <p:nvPr/>
                </p:nvSpPr>
                <p:spPr>
                  <a:xfrm>
                    <a:off x="6090284"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3" name="Graphic 1393">
                  <a:extLst>
                    <a:ext uri="{FF2B5EF4-FFF2-40B4-BE49-F238E27FC236}">
                      <a16:creationId xmlns:a16="http://schemas.microsoft.com/office/drawing/2014/main" id="{97E116A2-25B6-B787-6833-81293B3F6D90}"/>
                    </a:ext>
                  </a:extLst>
                </p:cNvPr>
                <p:cNvGrpSpPr/>
                <p:nvPr/>
              </p:nvGrpSpPr>
              <p:grpSpPr>
                <a:xfrm>
                  <a:off x="6076949" y="3598449"/>
                  <a:ext cx="75723" cy="75628"/>
                  <a:chOff x="6076949" y="3598449"/>
                  <a:chExt cx="75723" cy="75628"/>
                </a:xfrm>
              </p:grpSpPr>
              <p:sp>
                <p:nvSpPr>
                  <p:cNvPr id="13443" name="Freeform: Shape 13442">
                    <a:extLst>
                      <a:ext uri="{FF2B5EF4-FFF2-40B4-BE49-F238E27FC236}">
                        <a16:creationId xmlns:a16="http://schemas.microsoft.com/office/drawing/2014/main" id="{45F548C7-C04A-5035-8E0E-907E43965D83}"/>
                      </a:ext>
                    </a:extLst>
                  </p:cNvPr>
                  <p:cNvSpPr/>
                  <p:nvPr/>
                </p:nvSpPr>
                <p:spPr>
                  <a:xfrm>
                    <a:off x="611476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4" name="Freeform: Shape 13443">
                    <a:extLst>
                      <a:ext uri="{FF2B5EF4-FFF2-40B4-BE49-F238E27FC236}">
                        <a16:creationId xmlns:a16="http://schemas.microsoft.com/office/drawing/2014/main" id="{96A91D7D-CC3D-7F83-A8AC-49AC4BE0DBCA}"/>
                      </a:ext>
                    </a:extLst>
                  </p:cNvPr>
                  <p:cNvSpPr/>
                  <p:nvPr/>
                </p:nvSpPr>
                <p:spPr>
                  <a:xfrm>
                    <a:off x="6076949"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4" name="Graphic 1393">
                  <a:extLst>
                    <a:ext uri="{FF2B5EF4-FFF2-40B4-BE49-F238E27FC236}">
                      <a16:creationId xmlns:a16="http://schemas.microsoft.com/office/drawing/2014/main" id="{E4F38E4E-965A-8BE3-40EE-146AC0850367}"/>
                    </a:ext>
                  </a:extLst>
                </p:cNvPr>
                <p:cNvGrpSpPr/>
                <p:nvPr/>
              </p:nvGrpSpPr>
              <p:grpSpPr>
                <a:xfrm>
                  <a:off x="5979032" y="3475291"/>
                  <a:ext cx="75628" cy="75723"/>
                  <a:chOff x="5979032" y="3475291"/>
                  <a:chExt cx="75628" cy="75723"/>
                </a:xfrm>
              </p:grpSpPr>
              <p:sp>
                <p:nvSpPr>
                  <p:cNvPr id="13441" name="Freeform: Shape 13440">
                    <a:extLst>
                      <a:ext uri="{FF2B5EF4-FFF2-40B4-BE49-F238E27FC236}">
                        <a16:creationId xmlns:a16="http://schemas.microsoft.com/office/drawing/2014/main" id="{898FFB19-924F-68C9-D47F-82219E735ADC}"/>
                      </a:ext>
                    </a:extLst>
                  </p:cNvPr>
                  <p:cNvSpPr/>
                  <p:nvPr/>
                </p:nvSpPr>
                <p:spPr>
                  <a:xfrm>
                    <a:off x="6016846" y="34752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2" name="Freeform: Shape 13441">
                    <a:extLst>
                      <a:ext uri="{FF2B5EF4-FFF2-40B4-BE49-F238E27FC236}">
                        <a16:creationId xmlns:a16="http://schemas.microsoft.com/office/drawing/2014/main" id="{806F26BF-8641-74F8-DFC7-885B67884D48}"/>
                      </a:ext>
                    </a:extLst>
                  </p:cNvPr>
                  <p:cNvSpPr/>
                  <p:nvPr/>
                </p:nvSpPr>
                <p:spPr>
                  <a:xfrm>
                    <a:off x="5979032" y="351320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5" name="Graphic 1393">
                  <a:extLst>
                    <a:ext uri="{FF2B5EF4-FFF2-40B4-BE49-F238E27FC236}">
                      <a16:creationId xmlns:a16="http://schemas.microsoft.com/office/drawing/2014/main" id="{124455E4-A17D-140A-F5B9-0A1ADF517A13}"/>
                    </a:ext>
                  </a:extLst>
                </p:cNvPr>
                <p:cNvGrpSpPr/>
                <p:nvPr/>
              </p:nvGrpSpPr>
              <p:grpSpPr>
                <a:xfrm>
                  <a:off x="5727953" y="3446907"/>
                  <a:ext cx="75628" cy="75628"/>
                  <a:chOff x="5727953" y="3446907"/>
                  <a:chExt cx="75628" cy="75628"/>
                </a:xfrm>
              </p:grpSpPr>
              <p:sp>
                <p:nvSpPr>
                  <p:cNvPr id="13439" name="Freeform: Shape 13438">
                    <a:extLst>
                      <a:ext uri="{FF2B5EF4-FFF2-40B4-BE49-F238E27FC236}">
                        <a16:creationId xmlns:a16="http://schemas.microsoft.com/office/drawing/2014/main" id="{CA66BBE1-4EB1-14EC-CA97-35856E0035A3}"/>
                      </a:ext>
                    </a:extLst>
                  </p:cNvPr>
                  <p:cNvSpPr/>
                  <p:nvPr/>
                </p:nvSpPr>
                <p:spPr>
                  <a:xfrm>
                    <a:off x="5765767" y="34469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40" name="Freeform: Shape 13439">
                    <a:extLst>
                      <a:ext uri="{FF2B5EF4-FFF2-40B4-BE49-F238E27FC236}">
                        <a16:creationId xmlns:a16="http://schemas.microsoft.com/office/drawing/2014/main" id="{EF106C5F-AFF0-C3E0-93A0-3771784ECA45}"/>
                      </a:ext>
                    </a:extLst>
                  </p:cNvPr>
                  <p:cNvSpPr/>
                  <p:nvPr/>
                </p:nvSpPr>
                <p:spPr>
                  <a:xfrm>
                    <a:off x="5727953" y="34847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6" name="Graphic 1393">
                  <a:extLst>
                    <a:ext uri="{FF2B5EF4-FFF2-40B4-BE49-F238E27FC236}">
                      <a16:creationId xmlns:a16="http://schemas.microsoft.com/office/drawing/2014/main" id="{698CA569-1D4A-919D-7062-6D8E012849BD}"/>
                    </a:ext>
                  </a:extLst>
                </p:cNvPr>
                <p:cNvGrpSpPr/>
                <p:nvPr/>
              </p:nvGrpSpPr>
              <p:grpSpPr>
                <a:xfrm>
                  <a:off x="5503544" y="3315557"/>
                  <a:ext cx="75723" cy="75723"/>
                  <a:chOff x="5503544" y="3315557"/>
                  <a:chExt cx="75723" cy="75723"/>
                </a:xfrm>
              </p:grpSpPr>
              <p:sp>
                <p:nvSpPr>
                  <p:cNvPr id="13437" name="Freeform: Shape 13436">
                    <a:extLst>
                      <a:ext uri="{FF2B5EF4-FFF2-40B4-BE49-F238E27FC236}">
                        <a16:creationId xmlns:a16="http://schemas.microsoft.com/office/drawing/2014/main" id="{431856C7-36EC-30CD-53B6-DB6FC7101C20}"/>
                      </a:ext>
                    </a:extLst>
                  </p:cNvPr>
                  <p:cNvSpPr/>
                  <p:nvPr/>
                </p:nvSpPr>
                <p:spPr>
                  <a:xfrm>
                    <a:off x="5541454"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8" name="Freeform: Shape 13437">
                    <a:extLst>
                      <a:ext uri="{FF2B5EF4-FFF2-40B4-BE49-F238E27FC236}">
                        <a16:creationId xmlns:a16="http://schemas.microsoft.com/office/drawing/2014/main" id="{6C43455D-C542-A6DA-C830-C2194650FD1D}"/>
                      </a:ext>
                    </a:extLst>
                  </p:cNvPr>
                  <p:cNvSpPr/>
                  <p:nvPr/>
                </p:nvSpPr>
                <p:spPr>
                  <a:xfrm>
                    <a:off x="5503544"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7" name="Graphic 1393">
                  <a:extLst>
                    <a:ext uri="{FF2B5EF4-FFF2-40B4-BE49-F238E27FC236}">
                      <a16:creationId xmlns:a16="http://schemas.microsoft.com/office/drawing/2014/main" id="{6C94023B-4909-CAC0-6358-F52102A4912A}"/>
                    </a:ext>
                  </a:extLst>
                </p:cNvPr>
                <p:cNvGrpSpPr/>
                <p:nvPr/>
              </p:nvGrpSpPr>
              <p:grpSpPr>
                <a:xfrm>
                  <a:off x="5335428" y="3264884"/>
                  <a:ext cx="75723" cy="75628"/>
                  <a:chOff x="5335428" y="3264884"/>
                  <a:chExt cx="75723" cy="75628"/>
                </a:xfrm>
              </p:grpSpPr>
              <p:sp>
                <p:nvSpPr>
                  <p:cNvPr id="13435" name="Freeform: Shape 13434">
                    <a:extLst>
                      <a:ext uri="{FF2B5EF4-FFF2-40B4-BE49-F238E27FC236}">
                        <a16:creationId xmlns:a16="http://schemas.microsoft.com/office/drawing/2014/main" id="{F0A12433-55D8-4FCD-0131-ED4B8E99C740}"/>
                      </a:ext>
                    </a:extLst>
                  </p:cNvPr>
                  <p:cNvSpPr/>
                  <p:nvPr/>
                </p:nvSpPr>
                <p:spPr>
                  <a:xfrm>
                    <a:off x="5373337"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6" name="Freeform: Shape 13435">
                    <a:extLst>
                      <a:ext uri="{FF2B5EF4-FFF2-40B4-BE49-F238E27FC236}">
                        <a16:creationId xmlns:a16="http://schemas.microsoft.com/office/drawing/2014/main" id="{7E10F4F2-7D0D-AD69-9322-27029A7B277F}"/>
                      </a:ext>
                    </a:extLst>
                  </p:cNvPr>
                  <p:cNvSpPr/>
                  <p:nvPr/>
                </p:nvSpPr>
                <p:spPr>
                  <a:xfrm>
                    <a:off x="5335428" y="33026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8" name="Graphic 1393">
                  <a:extLst>
                    <a:ext uri="{FF2B5EF4-FFF2-40B4-BE49-F238E27FC236}">
                      <a16:creationId xmlns:a16="http://schemas.microsoft.com/office/drawing/2014/main" id="{177A8D09-E83D-73D8-81F0-8879586FB832}"/>
                    </a:ext>
                  </a:extLst>
                </p:cNvPr>
                <p:cNvGrpSpPr/>
                <p:nvPr/>
              </p:nvGrpSpPr>
              <p:grpSpPr>
                <a:xfrm>
                  <a:off x="5266181" y="3264884"/>
                  <a:ext cx="75628" cy="75628"/>
                  <a:chOff x="5266181" y="3264884"/>
                  <a:chExt cx="75628" cy="75628"/>
                </a:xfrm>
              </p:grpSpPr>
              <p:sp>
                <p:nvSpPr>
                  <p:cNvPr id="13433" name="Freeform: Shape 13432">
                    <a:extLst>
                      <a:ext uri="{FF2B5EF4-FFF2-40B4-BE49-F238E27FC236}">
                        <a16:creationId xmlns:a16="http://schemas.microsoft.com/office/drawing/2014/main" id="{4920FE23-FAFD-B662-1D10-C642F43AD6E5}"/>
                      </a:ext>
                    </a:extLst>
                  </p:cNvPr>
                  <p:cNvSpPr/>
                  <p:nvPr/>
                </p:nvSpPr>
                <p:spPr>
                  <a:xfrm>
                    <a:off x="5303995" y="32648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4" name="Freeform: Shape 13433">
                    <a:extLst>
                      <a:ext uri="{FF2B5EF4-FFF2-40B4-BE49-F238E27FC236}">
                        <a16:creationId xmlns:a16="http://schemas.microsoft.com/office/drawing/2014/main" id="{CF1CF5B4-C57D-3044-E017-AA875AB2CAF1}"/>
                      </a:ext>
                    </a:extLst>
                  </p:cNvPr>
                  <p:cNvSpPr/>
                  <p:nvPr/>
                </p:nvSpPr>
                <p:spPr>
                  <a:xfrm>
                    <a:off x="5266181" y="33026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29" name="Graphic 1393">
                  <a:extLst>
                    <a:ext uri="{FF2B5EF4-FFF2-40B4-BE49-F238E27FC236}">
                      <a16:creationId xmlns:a16="http://schemas.microsoft.com/office/drawing/2014/main" id="{ABAA9393-B06B-E56D-0BD1-84B60BB0809B}"/>
                    </a:ext>
                  </a:extLst>
                </p:cNvPr>
                <p:cNvGrpSpPr/>
                <p:nvPr/>
              </p:nvGrpSpPr>
              <p:grpSpPr>
                <a:xfrm>
                  <a:off x="5051678" y="3139916"/>
                  <a:ext cx="75723" cy="75723"/>
                  <a:chOff x="5051678" y="3139916"/>
                  <a:chExt cx="75723" cy="75723"/>
                </a:xfrm>
              </p:grpSpPr>
              <p:sp>
                <p:nvSpPr>
                  <p:cNvPr id="13431" name="Freeform: Shape 13430">
                    <a:extLst>
                      <a:ext uri="{FF2B5EF4-FFF2-40B4-BE49-F238E27FC236}">
                        <a16:creationId xmlns:a16="http://schemas.microsoft.com/office/drawing/2014/main" id="{BCC56FFD-8370-BB47-72AE-2BAB18F430C1}"/>
                      </a:ext>
                    </a:extLst>
                  </p:cNvPr>
                  <p:cNvSpPr/>
                  <p:nvPr/>
                </p:nvSpPr>
                <p:spPr>
                  <a:xfrm>
                    <a:off x="5089588" y="31399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2" name="Freeform: Shape 13431">
                    <a:extLst>
                      <a:ext uri="{FF2B5EF4-FFF2-40B4-BE49-F238E27FC236}">
                        <a16:creationId xmlns:a16="http://schemas.microsoft.com/office/drawing/2014/main" id="{ADB282FA-2BF4-AA96-6F66-CF146AEDC1DB}"/>
                      </a:ext>
                    </a:extLst>
                  </p:cNvPr>
                  <p:cNvSpPr/>
                  <p:nvPr/>
                </p:nvSpPr>
                <p:spPr>
                  <a:xfrm>
                    <a:off x="5051678" y="31777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0" name="Graphic 1393">
                  <a:extLst>
                    <a:ext uri="{FF2B5EF4-FFF2-40B4-BE49-F238E27FC236}">
                      <a16:creationId xmlns:a16="http://schemas.microsoft.com/office/drawing/2014/main" id="{2015BD5D-1CC8-4C38-5CCC-068F8C9D8FEF}"/>
                    </a:ext>
                  </a:extLst>
                </p:cNvPr>
                <p:cNvGrpSpPr/>
                <p:nvPr/>
              </p:nvGrpSpPr>
              <p:grpSpPr>
                <a:xfrm>
                  <a:off x="4771834" y="3080289"/>
                  <a:ext cx="75723" cy="75723"/>
                  <a:chOff x="4771834" y="3080289"/>
                  <a:chExt cx="75723" cy="75723"/>
                </a:xfrm>
              </p:grpSpPr>
              <p:sp>
                <p:nvSpPr>
                  <p:cNvPr id="13429" name="Freeform: Shape 13428">
                    <a:extLst>
                      <a:ext uri="{FF2B5EF4-FFF2-40B4-BE49-F238E27FC236}">
                        <a16:creationId xmlns:a16="http://schemas.microsoft.com/office/drawing/2014/main" id="{3C25EDC1-7C9E-563D-A48B-81269342029E}"/>
                      </a:ext>
                    </a:extLst>
                  </p:cNvPr>
                  <p:cNvSpPr/>
                  <p:nvPr/>
                </p:nvSpPr>
                <p:spPr>
                  <a:xfrm>
                    <a:off x="4809743" y="30802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30" name="Freeform: Shape 13429">
                    <a:extLst>
                      <a:ext uri="{FF2B5EF4-FFF2-40B4-BE49-F238E27FC236}">
                        <a16:creationId xmlns:a16="http://schemas.microsoft.com/office/drawing/2014/main" id="{6B62CE16-2B5C-FBDE-6CD5-FBD58B607BC1}"/>
                      </a:ext>
                    </a:extLst>
                  </p:cNvPr>
                  <p:cNvSpPr/>
                  <p:nvPr/>
                </p:nvSpPr>
                <p:spPr>
                  <a:xfrm>
                    <a:off x="4771834" y="3118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1" name="Graphic 1393">
                  <a:extLst>
                    <a:ext uri="{FF2B5EF4-FFF2-40B4-BE49-F238E27FC236}">
                      <a16:creationId xmlns:a16="http://schemas.microsoft.com/office/drawing/2014/main" id="{D0FCD8DF-F40C-AFC0-58F0-BE96661902A1}"/>
                    </a:ext>
                  </a:extLst>
                </p:cNvPr>
                <p:cNvGrpSpPr/>
                <p:nvPr/>
              </p:nvGrpSpPr>
              <p:grpSpPr>
                <a:xfrm>
                  <a:off x="4719256" y="2926461"/>
                  <a:ext cx="75723" cy="75723"/>
                  <a:chOff x="4719256" y="2926461"/>
                  <a:chExt cx="75723" cy="75723"/>
                </a:xfrm>
              </p:grpSpPr>
              <p:sp>
                <p:nvSpPr>
                  <p:cNvPr id="13427" name="Freeform: Shape 13426">
                    <a:extLst>
                      <a:ext uri="{FF2B5EF4-FFF2-40B4-BE49-F238E27FC236}">
                        <a16:creationId xmlns:a16="http://schemas.microsoft.com/office/drawing/2014/main" id="{E736E17A-F8C6-05A7-C8FF-8CCA2102F8F3}"/>
                      </a:ext>
                    </a:extLst>
                  </p:cNvPr>
                  <p:cNvSpPr/>
                  <p:nvPr/>
                </p:nvSpPr>
                <p:spPr>
                  <a:xfrm>
                    <a:off x="4757165" y="29264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8" name="Freeform: Shape 13427">
                    <a:extLst>
                      <a:ext uri="{FF2B5EF4-FFF2-40B4-BE49-F238E27FC236}">
                        <a16:creationId xmlns:a16="http://schemas.microsoft.com/office/drawing/2014/main" id="{1DEE0FDE-CB0E-F500-1E02-2A47C7660318}"/>
                      </a:ext>
                    </a:extLst>
                  </p:cNvPr>
                  <p:cNvSpPr/>
                  <p:nvPr/>
                </p:nvSpPr>
                <p:spPr>
                  <a:xfrm>
                    <a:off x="4719256" y="2964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2" name="Graphic 1393">
                  <a:extLst>
                    <a:ext uri="{FF2B5EF4-FFF2-40B4-BE49-F238E27FC236}">
                      <a16:creationId xmlns:a16="http://schemas.microsoft.com/office/drawing/2014/main" id="{FFDB574C-39C6-9419-4570-3B870334C158}"/>
                    </a:ext>
                  </a:extLst>
                </p:cNvPr>
                <p:cNvGrpSpPr/>
                <p:nvPr/>
              </p:nvGrpSpPr>
              <p:grpSpPr>
                <a:xfrm>
                  <a:off x="4684299" y="2858357"/>
                  <a:ext cx="75723" cy="75628"/>
                  <a:chOff x="4684299" y="2858357"/>
                  <a:chExt cx="75723" cy="75628"/>
                </a:xfrm>
              </p:grpSpPr>
              <p:sp>
                <p:nvSpPr>
                  <p:cNvPr id="13425" name="Freeform: Shape 13424">
                    <a:extLst>
                      <a:ext uri="{FF2B5EF4-FFF2-40B4-BE49-F238E27FC236}">
                        <a16:creationId xmlns:a16="http://schemas.microsoft.com/office/drawing/2014/main" id="{7D65789F-6DB1-9860-AB23-05D8EADAF375}"/>
                      </a:ext>
                    </a:extLst>
                  </p:cNvPr>
                  <p:cNvSpPr/>
                  <p:nvPr/>
                </p:nvSpPr>
                <p:spPr>
                  <a:xfrm>
                    <a:off x="4722208" y="28583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6" name="Freeform: Shape 13425">
                    <a:extLst>
                      <a:ext uri="{FF2B5EF4-FFF2-40B4-BE49-F238E27FC236}">
                        <a16:creationId xmlns:a16="http://schemas.microsoft.com/office/drawing/2014/main" id="{6D30F3C7-7D1F-6277-6A7C-C7142276114B}"/>
                      </a:ext>
                    </a:extLst>
                  </p:cNvPr>
                  <p:cNvSpPr/>
                  <p:nvPr/>
                </p:nvSpPr>
                <p:spPr>
                  <a:xfrm>
                    <a:off x="4684299" y="28961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3" name="Graphic 1393">
                  <a:extLst>
                    <a:ext uri="{FF2B5EF4-FFF2-40B4-BE49-F238E27FC236}">
                      <a16:creationId xmlns:a16="http://schemas.microsoft.com/office/drawing/2014/main" id="{6A54415E-0070-C7D6-6C19-7507E7592095}"/>
                    </a:ext>
                  </a:extLst>
                </p:cNvPr>
                <p:cNvGrpSpPr/>
                <p:nvPr/>
              </p:nvGrpSpPr>
              <p:grpSpPr>
                <a:xfrm>
                  <a:off x="4659439" y="2844641"/>
                  <a:ext cx="75628" cy="75723"/>
                  <a:chOff x="4659439" y="2844641"/>
                  <a:chExt cx="75628" cy="75723"/>
                </a:xfrm>
              </p:grpSpPr>
              <p:sp>
                <p:nvSpPr>
                  <p:cNvPr id="13423" name="Freeform: Shape 13422">
                    <a:extLst>
                      <a:ext uri="{FF2B5EF4-FFF2-40B4-BE49-F238E27FC236}">
                        <a16:creationId xmlns:a16="http://schemas.microsoft.com/office/drawing/2014/main" id="{9953EF97-6A38-A482-9D92-E569B84379FD}"/>
                      </a:ext>
                    </a:extLst>
                  </p:cNvPr>
                  <p:cNvSpPr/>
                  <p:nvPr/>
                </p:nvSpPr>
                <p:spPr>
                  <a:xfrm>
                    <a:off x="4697253" y="28446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4" name="Freeform: Shape 13423">
                    <a:extLst>
                      <a:ext uri="{FF2B5EF4-FFF2-40B4-BE49-F238E27FC236}">
                        <a16:creationId xmlns:a16="http://schemas.microsoft.com/office/drawing/2014/main" id="{613E7884-D31D-C32E-79AF-871CCB65BB39}"/>
                      </a:ext>
                    </a:extLst>
                  </p:cNvPr>
                  <p:cNvSpPr/>
                  <p:nvPr/>
                </p:nvSpPr>
                <p:spPr>
                  <a:xfrm>
                    <a:off x="4659439" y="28824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4" name="Graphic 1393">
                  <a:extLst>
                    <a:ext uri="{FF2B5EF4-FFF2-40B4-BE49-F238E27FC236}">
                      <a16:creationId xmlns:a16="http://schemas.microsoft.com/office/drawing/2014/main" id="{E16D2A5D-4A34-A6F3-1BC9-2364774784A7}"/>
                    </a:ext>
                  </a:extLst>
                </p:cNvPr>
                <p:cNvGrpSpPr/>
                <p:nvPr/>
              </p:nvGrpSpPr>
              <p:grpSpPr>
                <a:xfrm>
                  <a:off x="4633531" y="2834925"/>
                  <a:ext cx="75723" cy="75628"/>
                  <a:chOff x="4633531" y="2834925"/>
                  <a:chExt cx="75723" cy="75628"/>
                </a:xfrm>
              </p:grpSpPr>
              <p:sp>
                <p:nvSpPr>
                  <p:cNvPr id="13421" name="Freeform: Shape 13420">
                    <a:extLst>
                      <a:ext uri="{FF2B5EF4-FFF2-40B4-BE49-F238E27FC236}">
                        <a16:creationId xmlns:a16="http://schemas.microsoft.com/office/drawing/2014/main" id="{CAB5FF3D-AAF5-ABF3-F089-9D5E15ADBE61}"/>
                      </a:ext>
                    </a:extLst>
                  </p:cNvPr>
                  <p:cNvSpPr/>
                  <p:nvPr/>
                </p:nvSpPr>
                <p:spPr>
                  <a:xfrm>
                    <a:off x="4671440" y="283492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2" name="Freeform: Shape 13421">
                    <a:extLst>
                      <a:ext uri="{FF2B5EF4-FFF2-40B4-BE49-F238E27FC236}">
                        <a16:creationId xmlns:a16="http://schemas.microsoft.com/office/drawing/2014/main" id="{4AFC9188-6795-8281-6FE3-7044F9604BDB}"/>
                      </a:ext>
                    </a:extLst>
                  </p:cNvPr>
                  <p:cNvSpPr/>
                  <p:nvPr/>
                </p:nvSpPr>
                <p:spPr>
                  <a:xfrm>
                    <a:off x="4633531" y="2872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5" name="Graphic 1393">
                  <a:extLst>
                    <a:ext uri="{FF2B5EF4-FFF2-40B4-BE49-F238E27FC236}">
                      <a16:creationId xmlns:a16="http://schemas.microsoft.com/office/drawing/2014/main" id="{4D64B8C6-B443-40F2-DD91-395D4B00325D}"/>
                    </a:ext>
                  </a:extLst>
                </p:cNvPr>
                <p:cNvGrpSpPr/>
                <p:nvPr/>
              </p:nvGrpSpPr>
              <p:grpSpPr>
                <a:xfrm>
                  <a:off x="4496180" y="2802350"/>
                  <a:ext cx="75628" cy="75723"/>
                  <a:chOff x="4496180" y="2802350"/>
                  <a:chExt cx="75628" cy="75723"/>
                </a:xfrm>
              </p:grpSpPr>
              <p:sp>
                <p:nvSpPr>
                  <p:cNvPr id="13419" name="Freeform: Shape 13418">
                    <a:extLst>
                      <a:ext uri="{FF2B5EF4-FFF2-40B4-BE49-F238E27FC236}">
                        <a16:creationId xmlns:a16="http://schemas.microsoft.com/office/drawing/2014/main" id="{EE359707-0687-F1FA-5CF8-A89A63268F3C}"/>
                      </a:ext>
                    </a:extLst>
                  </p:cNvPr>
                  <p:cNvSpPr/>
                  <p:nvPr/>
                </p:nvSpPr>
                <p:spPr>
                  <a:xfrm>
                    <a:off x="4533994"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20" name="Freeform: Shape 13419">
                    <a:extLst>
                      <a:ext uri="{FF2B5EF4-FFF2-40B4-BE49-F238E27FC236}">
                        <a16:creationId xmlns:a16="http://schemas.microsoft.com/office/drawing/2014/main" id="{55C50083-5DD0-054A-8A9E-65AEB581CD60}"/>
                      </a:ext>
                    </a:extLst>
                  </p:cNvPr>
                  <p:cNvSpPr/>
                  <p:nvPr/>
                </p:nvSpPr>
                <p:spPr>
                  <a:xfrm>
                    <a:off x="4496180" y="284025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6" name="Graphic 1393">
                  <a:extLst>
                    <a:ext uri="{FF2B5EF4-FFF2-40B4-BE49-F238E27FC236}">
                      <a16:creationId xmlns:a16="http://schemas.microsoft.com/office/drawing/2014/main" id="{788A5F8A-ABA6-C1B3-06D7-652AB4AC3737}"/>
                    </a:ext>
                  </a:extLst>
                </p:cNvPr>
                <p:cNvGrpSpPr/>
                <p:nvPr/>
              </p:nvGrpSpPr>
              <p:grpSpPr>
                <a:xfrm>
                  <a:off x="4423504" y="2802350"/>
                  <a:ext cx="75723" cy="75723"/>
                  <a:chOff x="4423504" y="2802350"/>
                  <a:chExt cx="75723" cy="75723"/>
                </a:xfrm>
              </p:grpSpPr>
              <p:sp>
                <p:nvSpPr>
                  <p:cNvPr id="13417" name="Freeform: Shape 13416">
                    <a:extLst>
                      <a:ext uri="{FF2B5EF4-FFF2-40B4-BE49-F238E27FC236}">
                        <a16:creationId xmlns:a16="http://schemas.microsoft.com/office/drawing/2014/main" id="{5F249DB7-AAD7-3103-9E58-BFAFE89E5F60}"/>
                      </a:ext>
                    </a:extLst>
                  </p:cNvPr>
                  <p:cNvSpPr/>
                  <p:nvPr/>
                </p:nvSpPr>
                <p:spPr>
                  <a:xfrm>
                    <a:off x="4461319" y="28023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8" name="Freeform: Shape 13417">
                    <a:extLst>
                      <a:ext uri="{FF2B5EF4-FFF2-40B4-BE49-F238E27FC236}">
                        <a16:creationId xmlns:a16="http://schemas.microsoft.com/office/drawing/2014/main" id="{8E0AE1E9-5EA6-B98F-F031-81108AD92E1E}"/>
                      </a:ext>
                    </a:extLst>
                  </p:cNvPr>
                  <p:cNvSpPr/>
                  <p:nvPr/>
                </p:nvSpPr>
                <p:spPr>
                  <a:xfrm>
                    <a:off x="4423504" y="284025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7" name="Graphic 1393">
                  <a:extLst>
                    <a:ext uri="{FF2B5EF4-FFF2-40B4-BE49-F238E27FC236}">
                      <a16:creationId xmlns:a16="http://schemas.microsoft.com/office/drawing/2014/main" id="{BE7BC8E4-8CCA-6D42-B6EC-805550EE0081}"/>
                    </a:ext>
                  </a:extLst>
                </p:cNvPr>
                <p:cNvGrpSpPr/>
                <p:nvPr/>
              </p:nvGrpSpPr>
              <p:grpSpPr>
                <a:xfrm>
                  <a:off x="4200048" y="2591085"/>
                  <a:ext cx="75723" cy="75723"/>
                  <a:chOff x="4200048" y="2591085"/>
                  <a:chExt cx="75723" cy="75723"/>
                </a:xfrm>
              </p:grpSpPr>
              <p:sp>
                <p:nvSpPr>
                  <p:cNvPr id="13415" name="Freeform: Shape 13414">
                    <a:extLst>
                      <a:ext uri="{FF2B5EF4-FFF2-40B4-BE49-F238E27FC236}">
                        <a16:creationId xmlns:a16="http://schemas.microsoft.com/office/drawing/2014/main" id="{4D22F5BE-DFB1-E26B-A0F5-7443E8CAB7DB}"/>
                      </a:ext>
                    </a:extLst>
                  </p:cNvPr>
                  <p:cNvSpPr/>
                  <p:nvPr/>
                </p:nvSpPr>
                <p:spPr>
                  <a:xfrm>
                    <a:off x="4237957" y="25910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6" name="Freeform: Shape 13415">
                    <a:extLst>
                      <a:ext uri="{FF2B5EF4-FFF2-40B4-BE49-F238E27FC236}">
                        <a16:creationId xmlns:a16="http://schemas.microsoft.com/office/drawing/2014/main" id="{155D90DB-DE76-9ADC-8593-A7707FFEF6A7}"/>
                      </a:ext>
                    </a:extLst>
                  </p:cNvPr>
                  <p:cNvSpPr/>
                  <p:nvPr/>
                </p:nvSpPr>
                <p:spPr>
                  <a:xfrm>
                    <a:off x="4200048" y="2628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8" name="Graphic 1393">
                  <a:extLst>
                    <a:ext uri="{FF2B5EF4-FFF2-40B4-BE49-F238E27FC236}">
                      <a16:creationId xmlns:a16="http://schemas.microsoft.com/office/drawing/2014/main" id="{6584242B-3AAD-AD27-43CF-2A54E9F3B357}"/>
                    </a:ext>
                  </a:extLst>
                </p:cNvPr>
                <p:cNvGrpSpPr/>
                <p:nvPr/>
              </p:nvGrpSpPr>
              <p:grpSpPr>
                <a:xfrm>
                  <a:off x="4130801" y="2566130"/>
                  <a:ext cx="75628" cy="75723"/>
                  <a:chOff x="4130801" y="2566130"/>
                  <a:chExt cx="75628" cy="75723"/>
                </a:xfrm>
              </p:grpSpPr>
              <p:sp>
                <p:nvSpPr>
                  <p:cNvPr id="13413" name="Freeform: Shape 13412">
                    <a:extLst>
                      <a:ext uri="{FF2B5EF4-FFF2-40B4-BE49-F238E27FC236}">
                        <a16:creationId xmlns:a16="http://schemas.microsoft.com/office/drawing/2014/main" id="{A730976A-1CFB-F1D8-C726-FE527860F66C}"/>
                      </a:ext>
                    </a:extLst>
                  </p:cNvPr>
                  <p:cNvSpPr/>
                  <p:nvPr/>
                </p:nvSpPr>
                <p:spPr>
                  <a:xfrm>
                    <a:off x="4168615" y="2566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4" name="Freeform: Shape 13413">
                    <a:extLst>
                      <a:ext uri="{FF2B5EF4-FFF2-40B4-BE49-F238E27FC236}">
                        <a16:creationId xmlns:a16="http://schemas.microsoft.com/office/drawing/2014/main" id="{374A02DA-8081-073B-2BB2-FBFC8F5C7B59}"/>
                      </a:ext>
                    </a:extLst>
                  </p:cNvPr>
                  <p:cNvSpPr/>
                  <p:nvPr/>
                </p:nvSpPr>
                <p:spPr>
                  <a:xfrm>
                    <a:off x="4130801" y="26040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39" name="Graphic 1393">
                  <a:extLst>
                    <a:ext uri="{FF2B5EF4-FFF2-40B4-BE49-F238E27FC236}">
                      <a16:creationId xmlns:a16="http://schemas.microsoft.com/office/drawing/2014/main" id="{5A7876ED-76AB-192D-D85D-B24E7D0B3BB8}"/>
                    </a:ext>
                  </a:extLst>
                </p:cNvPr>
                <p:cNvGrpSpPr/>
                <p:nvPr/>
              </p:nvGrpSpPr>
              <p:grpSpPr>
                <a:xfrm>
                  <a:off x="3892676" y="2527268"/>
                  <a:ext cx="75628" cy="75723"/>
                  <a:chOff x="3892676" y="2527268"/>
                  <a:chExt cx="75628" cy="75723"/>
                </a:xfrm>
              </p:grpSpPr>
              <p:sp>
                <p:nvSpPr>
                  <p:cNvPr id="13411" name="Freeform: Shape 13410">
                    <a:extLst>
                      <a:ext uri="{FF2B5EF4-FFF2-40B4-BE49-F238E27FC236}">
                        <a16:creationId xmlns:a16="http://schemas.microsoft.com/office/drawing/2014/main" id="{E669E77E-8D9A-16D9-C7F8-CF372672727A}"/>
                      </a:ext>
                    </a:extLst>
                  </p:cNvPr>
                  <p:cNvSpPr/>
                  <p:nvPr/>
                </p:nvSpPr>
                <p:spPr>
                  <a:xfrm>
                    <a:off x="3930490" y="25272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2" name="Freeform: Shape 13411">
                    <a:extLst>
                      <a:ext uri="{FF2B5EF4-FFF2-40B4-BE49-F238E27FC236}">
                        <a16:creationId xmlns:a16="http://schemas.microsoft.com/office/drawing/2014/main" id="{3977D187-4B2A-6AA9-F53D-7E4208230CCE}"/>
                      </a:ext>
                    </a:extLst>
                  </p:cNvPr>
                  <p:cNvSpPr/>
                  <p:nvPr/>
                </p:nvSpPr>
                <p:spPr>
                  <a:xfrm>
                    <a:off x="3892676" y="25650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0" name="Graphic 1393">
                  <a:extLst>
                    <a:ext uri="{FF2B5EF4-FFF2-40B4-BE49-F238E27FC236}">
                      <a16:creationId xmlns:a16="http://schemas.microsoft.com/office/drawing/2014/main" id="{32F9BD84-F601-9AE8-346C-A7FDE68FBB98}"/>
                    </a:ext>
                  </a:extLst>
                </p:cNvPr>
                <p:cNvGrpSpPr/>
                <p:nvPr/>
              </p:nvGrpSpPr>
              <p:grpSpPr>
                <a:xfrm>
                  <a:off x="3868102" y="2496216"/>
                  <a:ext cx="75723" cy="75723"/>
                  <a:chOff x="3868102" y="2496216"/>
                  <a:chExt cx="75723" cy="75723"/>
                </a:xfrm>
              </p:grpSpPr>
              <p:sp>
                <p:nvSpPr>
                  <p:cNvPr id="13409" name="Freeform: Shape 13408">
                    <a:extLst>
                      <a:ext uri="{FF2B5EF4-FFF2-40B4-BE49-F238E27FC236}">
                        <a16:creationId xmlns:a16="http://schemas.microsoft.com/office/drawing/2014/main" id="{AECA19E6-3BE6-B1A1-643B-D55D0404EF0E}"/>
                      </a:ext>
                    </a:extLst>
                  </p:cNvPr>
                  <p:cNvSpPr/>
                  <p:nvPr/>
                </p:nvSpPr>
                <p:spPr>
                  <a:xfrm>
                    <a:off x="3905916" y="24962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10" name="Freeform: Shape 13409">
                    <a:extLst>
                      <a:ext uri="{FF2B5EF4-FFF2-40B4-BE49-F238E27FC236}">
                        <a16:creationId xmlns:a16="http://schemas.microsoft.com/office/drawing/2014/main" id="{B3A8EF8B-C091-D8C5-C73F-27127DA778EB}"/>
                      </a:ext>
                    </a:extLst>
                  </p:cNvPr>
                  <p:cNvSpPr/>
                  <p:nvPr/>
                </p:nvSpPr>
                <p:spPr>
                  <a:xfrm>
                    <a:off x="3868102" y="25341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1" name="Graphic 1393">
                  <a:extLst>
                    <a:ext uri="{FF2B5EF4-FFF2-40B4-BE49-F238E27FC236}">
                      <a16:creationId xmlns:a16="http://schemas.microsoft.com/office/drawing/2014/main" id="{161BAE31-BCCD-CB67-9791-EDDCF5806057}"/>
                    </a:ext>
                  </a:extLst>
                </p:cNvPr>
                <p:cNvGrpSpPr/>
                <p:nvPr/>
              </p:nvGrpSpPr>
              <p:grpSpPr>
                <a:xfrm>
                  <a:off x="4228623" y="2608135"/>
                  <a:ext cx="75723" cy="75723"/>
                  <a:chOff x="4228623" y="2608135"/>
                  <a:chExt cx="75723" cy="75723"/>
                </a:xfrm>
              </p:grpSpPr>
              <p:sp>
                <p:nvSpPr>
                  <p:cNvPr id="13407" name="Freeform: Shape 13406">
                    <a:extLst>
                      <a:ext uri="{FF2B5EF4-FFF2-40B4-BE49-F238E27FC236}">
                        <a16:creationId xmlns:a16="http://schemas.microsoft.com/office/drawing/2014/main" id="{883BB5C1-3D83-6A31-6EC2-B5DB1DDC5E30}"/>
                      </a:ext>
                    </a:extLst>
                  </p:cNvPr>
                  <p:cNvSpPr/>
                  <p:nvPr/>
                </p:nvSpPr>
                <p:spPr>
                  <a:xfrm>
                    <a:off x="4266532" y="26081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8" name="Freeform: Shape 13407">
                    <a:extLst>
                      <a:ext uri="{FF2B5EF4-FFF2-40B4-BE49-F238E27FC236}">
                        <a16:creationId xmlns:a16="http://schemas.microsoft.com/office/drawing/2014/main" id="{D965B85F-386D-24C3-B853-DC4DF5223D25}"/>
                      </a:ext>
                    </a:extLst>
                  </p:cNvPr>
                  <p:cNvSpPr/>
                  <p:nvPr/>
                </p:nvSpPr>
                <p:spPr>
                  <a:xfrm>
                    <a:off x="4228623" y="2645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2" name="Graphic 1393">
                  <a:extLst>
                    <a:ext uri="{FF2B5EF4-FFF2-40B4-BE49-F238E27FC236}">
                      <a16:creationId xmlns:a16="http://schemas.microsoft.com/office/drawing/2014/main" id="{589D1923-15B2-E577-EEDB-E25448671B5F}"/>
                    </a:ext>
                  </a:extLst>
                </p:cNvPr>
                <p:cNvGrpSpPr/>
                <p:nvPr/>
              </p:nvGrpSpPr>
              <p:grpSpPr>
                <a:xfrm>
                  <a:off x="4281868" y="2633948"/>
                  <a:ext cx="75628" cy="75723"/>
                  <a:chOff x="4281868" y="2633948"/>
                  <a:chExt cx="75628" cy="75723"/>
                </a:xfrm>
              </p:grpSpPr>
              <p:sp>
                <p:nvSpPr>
                  <p:cNvPr id="13405" name="Freeform: Shape 13404">
                    <a:extLst>
                      <a:ext uri="{FF2B5EF4-FFF2-40B4-BE49-F238E27FC236}">
                        <a16:creationId xmlns:a16="http://schemas.microsoft.com/office/drawing/2014/main" id="{3678E106-54C4-5F9F-2E55-4BA07DA01CC5}"/>
                      </a:ext>
                    </a:extLst>
                  </p:cNvPr>
                  <p:cNvSpPr/>
                  <p:nvPr/>
                </p:nvSpPr>
                <p:spPr>
                  <a:xfrm>
                    <a:off x="4319682" y="26339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6" name="Freeform: Shape 13405">
                    <a:extLst>
                      <a:ext uri="{FF2B5EF4-FFF2-40B4-BE49-F238E27FC236}">
                        <a16:creationId xmlns:a16="http://schemas.microsoft.com/office/drawing/2014/main" id="{F67D4BB7-E5B4-DA2A-8382-9CBCE5D4AAE1}"/>
                      </a:ext>
                    </a:extLst>
                  </p:cNvPr>
                  <p:cNvSpPr/>
                  <p:nvPr/>
                </p:nvSpPr>
                <p:spPr>
                  <a:xfrm>
                    <a:off x="4281868" y="267185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3" name="Graphic 1393">
                  <a:extLst>
                    <a:ext uri="{FF2B5EF4-FFF2-40B4-BE49-F238E27FC236}">
                      <a16:creationId xmlns:a16="http://schemas.microsoft.com/office/drawing/2014/main" id="{624C6F4F-5B14-7032-E388-0A5C13C0392C}"/>
                    </a:ext>
                  </a:extLst>
                </p:cNvPr>
                <p:cNvGrpSpPr/>
                <p:nvPr/>
              </p:nvGrpSpPr>
              <p:grpSpPr>
                <a:xfrm>
                  <a:off x="4289011" y="2656427"/>
                  <a:ext cx="75723" cy="75723"/>
                  <a:chOff x="4289011" y="2656427"/>
                  <a:chExt cx="75723" cy="75723"/>
                </a:xfrm>
              </p:grpSpPr>
              <p:sp>
                <p:nvSpPr>
                  <p:cNvPr id="13403" name="Freeform: Shape 13402">
                    <a:extLst>
                      <a:ext uri="{FF2B5EF4-FFF2-40B4-BE49-F238E27FC236}">
                        <a16:creationId xmlns:a16="http://schemas.microsoft.com/office/drawing/2014/main" id="{F1AB9C89-8D52-79FB-17AD-381CBD553C33}"/>
                      </a:ext>
                    </a:extLst>
                  </p:cNvPr>
                  <p:cNvSpPr/>
                  <p:nvPr/>
                </p:nvSpPr>
                <p:spPr>
                  <a:xfrm>
                    <a:off x="4326921"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4" name="Freeform: Shape 13403">
                    <a:extLst>
                      <a:ext uri="{FF2B5EF4-FFF2-40B4-BE49-F238E27FC236}">
                        <a16:creationId xmlns:a16="http://schemas.microsoft.com/office/drawing/2014/main" id="{C4FD85F4-5385-A116-808E-3AC6F9F4362F}"/>
                      </a:ext>
                    </a:extLst>
                  </p:cNvPr>
                  <p:cNvSpPr/>
                  <p:nvPr/>
                </p:nvSpPr>
                <p:spPr>
                  <a:xfrm>
                    <a:off x="4289011" y="26943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4" name="Graphic 1393">
                  <a:extLst>
                    <a:ext uri="{FF2B5EF4-FFF2-40B4-BE49-F238E27FC236}">
                      <a16:creationId xmlns:a16="http://schemas.microsoft.com/office/drawing/2014/main" id="{00990FCE-802F-DE6A-AF19-0EED3395F6E7}"/>
                    </a:ext>
                  </a:extLst>
                </p:cNvPr>
                <p:cNvGrpSpPr/>
                <p:nvPr/>
              </p:nvGrpSpPr>
              <p:grpSpPr>
                <a:xfrm>
                  <a:off x="4297584" y="2656427"/>
                  <a:ext cx="75628" cy="75723"/>
                  <a:chOff x="4297584" y="2656427"/>
                  <a:chExt cx="75628" cy="75723"/>
                </a:xfrm>
              </p:grpSpPr>
              <p:sp>
                <p:nvSpPr>
                  <p:cNvPr id="13401" name="Freeform: Shape 13400">
                    <a:extLst>
                      <a:ext uri="{FF2B5EF4-FFF2-40B4-BE49-F238E27FC236}">
                        <a16:creationId xmlns:a16="http://schemas.microsoft.com/office/drawing/2014/main" id="{D574371A-7DE1-05B9-5CB4-6453B425CD1E}"/>
                      </a:ext>
                    </a:extLst>
                  </p:cNvPr>
                  <p:cNvSpPr/>
                  <p:nvPr/>
                </p:nvSpPr>
                <p:spPr>
                  <a:xfrm>
                    <a:off x="4335398" y="26564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2" name="Freeform: Shape 13401">
                    <a:extLst>
                      <a:ext uri="{FF2B5EF4-FFF2-40B4-BE49-F238E27FC236}">
                        <a16:creationId xmlns:a16="http://schemas.microsoft.com/office/drawing/2014/main" id="{23C42C6E-A145-E137-4B1E-04C5A251D1F6}"/>
                      </a:ext>
                    </a:extLst>
                  </p:cNvPr>
                  <p:cNvSpPr/>
                  <p:nvPr/>
                </p:nvSpPr>
                <p:spPr>
                  <a:xfrm>
                    <a:off x="4297584" y="26943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5" name="Graphic 1393">
                  <a:extLst>
                    <a:ext uri="{FF2B5EF4-FFF2-40B4-BE49-F238E27FC236}">
                      <a16:creationId xmlns:a16="http://schemas.microsoft.com/office/drawing/2014/main" id="{AD01D125-FD07-C743-4419-65B1075AD8B9}"/>
                    </a:ext>
                  </a:extLst>
                </p:cNvPr>
                <p:cNvGrpSpPr/>
                <p:nvPr/>
              </p:nvGrpSpPr>
              <p:grpSpPr>
                <a:xfrm>
                  <a:off x="4301584" y="2676810"/>
                  <a:ext cx="75628" cy="75723"/>
                  <a:chOff x="4301584" y="2676810"/>
                  <a:chExt cx="75628" cy="75723"/>
                </a:xfrm>
              </p:grpSpPr>
              <p:sp>
                <p:nvSpPr>
                  <p:cNvPr id="13399" name="Freeform: Shape 13398">
                    <a:extLst>
                      <a:ext uri="{FF2B5EF4-FFF2-40B4-BE49-F238E27FC236}">
                        <a16:creationId xmlns:a16="http://schemas.microsoft.com/office/drawing/2014/main" id="{482515E6-41C2-59E1-2B8C-0BABC566DD0F}"/>
                      </a:ext>
                    </a:extLst>
                  </p:cNvPr>
                  <p:cNvSpPr/>
                  <p:nvPr/>
                </p:nvSpPr>
                <p:spPr>
                  <a:xfrm>
                    <a:off x="4339399" y="2676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400" name="Freeform: Shape 13399">
                    <a:extLst>
                      <a:ext uri="{FF2B5EF4-FFF2-40B4-BE49-F238E27FC236}">
                        <a16:creationId xmlns:a16="http://schemas.microsoft.com/office/drawing/2014/main" id="{89EB0398-701F-5877-037E-1D2ACE8139AB}"/>
                      </a:ext>
                    </a:extLst>
                  </p:cNvPr>
                  <p:cNvSpPr/>
                  <p:nvPr/>
                </p:nvSpPr>
                <p:spPr>
                  <a:xfrm>
                    <a:off x="4301584" y="271472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6" name="Graphic 1393">
                  <a:extLst>
                    <a:ext uri="{FF2B5EF4-FFF2-40B4-BE49-F238E27FC236}">
                      <a16:creationId xmlns:a16="http://schemas.microsoft.com/office/drawing/2014/main" id="{653DDF71-DF11-409B-76E3-F1DA4FD3C4C1}"/>
                    </a:ext>
                  </a:extLst>
                </p:cNvPr>
                <p:cNvGrpSpPr/>
                <p:nvPr/>
              </p:nvGrpSpPr>
              <p:grpSpPr>
                <a:xfrm>
                  <a:off x="4307299" y="2683859"/>
                  <a:ext cx="75723" cy="75628"/>
                  <a:chOff x="4307299" y="2683859"/>
                  <a:chExt cx="75723" cy="75628"/>
                </a:xfrm>
              </p:grpSpPr>
              <p:sp>
                <p:nvSpPr>
                  <p:cNvPr id="13397" name="Freeform: Shape 13396">
                    <a:extLst>
                      <a:ext uri="{FF2B5EF4-FFF2-40B4-BE49-F238E27FC236}">
                        <a16:creationId xmlns:a16="http://schemas.microsoft.com/office/drawing/2014/main" id="{C9AE31CA-78B2-51C2-F0B7-F5357FAC446A}"/>
                      </a:ext>
                    </a:extLst>
                  </p:cNvPr>
                  <p:cNvSpPr/>
                  <p:nvPr/>
                </p:nvSpPr>
                <p:spPr>
                  <a:xfrm>
                    <a:off x="4345209" y="26838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8" name="Freeform: Shape 13397">
                    <a:extLst>
                      <a:ext uri="{FF2B5EF4-FFF2-40B4-BE49-F238E27FC236}">
                        <a16:creationId xmlns:a16="http://schemas.microsoft.com/office/drawing/2014/main" id="{9818EDCF-3FA0-372F-3C7B-595DD781230D}"/>
                      </a:ext>
                    </a:extLst>
                  </p:cNvPr>
                  <p:cNvSpPr/>
                  <p:nvPr/>
                </p:nvSpPr>
                <p:spPr>
                  <a:xfrm>
                    <a:off x="4307299" y="27216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7" name="Graphic 1393">
                  <a:extLst>
                    <a:ext uri="{FF2B5EF4-FFF2-40B4-BE49-F238E27FC236}">
                      <a16:creationId xmlns:a16="http://schemas.microsoft.com/office/drawing/2014/main" id="{BB18E847-7473-20FB-610D-9AF0DEFEA33A}"/>
                    </a:ext>
                  </a:extLst>
                </p:cNvPr>
                <p:cNvGrpSpPr/>
                <p:nvPr/>
              </p:nvGrpSpPr>
              <p:grpSpPr>
                <a:xfrm>
                  <a:off x="4313681" y="2694336"/>
                  <a:ext cx="75723" cy="75628"/>
                  <a:chOff x="4313681" y="2694336"/>
                  <a:chExt cx="75723" cy="75628"/>
                </a:xfrm>
              </p:grpSpPr>
              <p:sp>
                <p:nvSpPr>
                  <p:cNvPr id="13395" name="Freeform: Shape 13394">
                    <a:extLst>
                      <a:ext uri="{FF2B5EF4-FFF2-40B4-BE49-F238E27FC236}">
                        <a16:creationId xmlns:a16="http://schemas.microsoft.com/office/drawing/2014/main" id="{45349E5C-1B2E-6242-7E73-0963E8646FB4}"/>
                      </a:ext>
                    </a:extLst>
                  </p:cNvPr>
                  <p:cNvSpPr/>
                  <p:nvPr/>
                </p:nvSpPr>
                <p:spPr>
                  <a:xfrm>
                    <a:off x="4351591" y="26943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6" name="Freeform: Shape 13395">
                    <a:extLst>
                      <a:ext uri="{FF2B5EF4-FFF2-40B4-BE49-F238E27FC236}">
                        <a16:creationId xmlns:a16="http://schemas.microsoft.com/office/drawing/2014/main" id="{96A1CCEC-A0D8-D9DA-B2F1-C6ECE31C1279}"/>
                      </a:ext>
                    </a:extLst>
                  </p:cNvPr>
                  <p:cNvSpPr/>
                  <p:nvPr/>
                </p:nvSpPr>
                <p:spPr>
                  <a:xfrm>
                    <a:off x="4313681" y="2732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8" name="Graphic 1393">
                  <a:extLst>
                    <a:ext uri="{FF2B5EF4-FFF2-40B4-BE49-F238E27FC236}">
                      <a16:creationId xmlns:a16="http://schemas.microsoft.com/office/drawing/2014/main" id="{C264185F-8B01-2526-57B1-72CD7B31B009}"/>
                    </a:ext>
                  </a:extLst>
                </p:cNvPr>
                <p:cNvGrpSpPr/>
                <p:nvPr/>
              </p:nvGrpSpPr>
              <p:grpSpPr>
                <a:xfrm>
                  <a:off x="4322539" y="2703766"/>
                  <a:ext cx="75723" cy="75628"/>
                  <a:chOff x="4322539" y="2703766"/>
                  <a:chExt cx="75723" cy="75628"/>
                </a:xfrm>
              </p:grpSpPr>
              <p:sp>
                <p:nvSpPr>
                  <p:cNvPr id="13393" name="Freeform: Shape 13392">
                    <a:extLst>
                      <a:ext uri="{FF2B5EF4-FFF2-40B4-BE49-F238E27FC236}">
                        <a16:creationId xmlns:a16="http://schemas.microsoft.com/office/drawing/2014/main" id="{F721E43B-2F19-028D-02ED-7FCBCCE42BB3}"/>
                      </a:ext>
                    </a:extLst>
                  </p:cNvPr>
                  <p:cNvSpPr/>
                  <p:nvPr/>
                </p:nvSpPr>
                <p:spPr>
                  <a:xfrm>
                    <a:off x="4360354" y="27037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4" name="Freeform: Shape 13393">
                    <a:extLst>
                      <a:ext uri="{FF2B5EF4-FFF2-40B4-BE49-F238E27FC236}">
                        <a16:creationId xmlns:a16="http://schemas.microsoft.com/office/drawing/2014/main" id="{C814029C-1804-0CF6-34F1-54B0C9AF547D}"/>
                      </a:ext>
                    </a:extLst>
                  </p:cNvPr>
                  <p:cNvSpPr/>
                  <p:nvPr/>
                </p:nvSpPr>
                <p:spPr>
                  <a:xfrm>
                    <a:off x="4322539" y="27415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49" name="Graphic 1393">
                  <a:extLst>
                    <a:ext uri="{FF2B5EF4-FFF2-40B4-BE49-F238E27FC236}">
                      <a16:creationId xmlns:a16="http://schemas.microsoft.com/office/drawing/2014/main" id="{35B00649-5F84-D4D6-1E72-DC593164DB4E}"/>
                    </a:ext>
                  </a:extLst>
                </p:cNvPr>
                <p:cNvGrpSpPr/>
                <p:nvPr/>
              </p:nvGrpSpPr>
              <p:grpSpPr>
                <a:xfrm>
                  <a:off x="4331302" y="2718054"/>
                  <a:ext cx="75723" cy="75723"/>
                  <a:chOff x="4331302" y="2718054"/>
                  <a:chExt cx="75723" cy="75723"/>
                </a:xfrm>
              </p:grpSpPr>
              <p:sp>
                <p:nvSpPr>
                  <p:cNvPr id="13391" name="Freeform: Shape 13390">
                    <a:extLst>
                      <a:ext uri="{FF2B5EF4-FFF2-40B4-BE49-F238E27FC236}">
                        <a16:creationId xmlns:a16="http://schemas.microsoft.com/office/drawing/2014/main" id="{679DBEA1-FDD4-8150-871C-60D175C0FE9B}"/>
                      </a:ext>
                    </a:extLst>
                  </p:cNvPr>
                  <p:cNvSpPr/>
                  <p:nvPr/>
                </p:nvSpPr>
                <p:spPr>
                  <a:xfrm>
                    <a:off x="4369212" y="27180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2" name="Freeform: Shape 13391">
                    <a:extLst>
                      <a:ext uri="{FF2B5EF4-FFF2-40B4-BE49-F238E27FC236}">
                        <a16:creationId xmlns:a16="http://schemas.microsoft.com/office/drawing/2014/main" id="{BBB3BFBF-7771-FE64-2F77-9E252865B7FF}"/>
                      </a:ext>
                    </a:extLst>
                  </p:cNvPr>
                  <p:cNvSpPr/>
                  <p:nvPr/>
                </p:nvSpPr>
                <p:spPr>
                  <a:xfrm>
                    <a:off x="4331302" y="27559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0" name="Graphic 1393">
                  <a:extLst>
                    <a:ext uri="{FF2B5EF4-FFF2-40B4-BE49-F238E27FC236}">
                      <a16:creationId xmlns:a16="http://schemas.microsoft.com/office/drawing/2014/main" id="{8F931699-C2A3-1FDE-3D2C-24815F0EB5A0}"/>
                    </a:ext>
                  </a:extLst>
                </p:cNvPr>
                <p:cNvGrpSpPr/>
                <p:nvPr/>
              </p:nvGrpSpPr>
              <p:grpSpPr>
                <a:xfrm>
                  <a:off x="4340732" y="2734246"/>
                  <a:ext cx="75723" cy="75723"/>
                  <a:chOff x="4340732" y="2734246"/>
                  <a:chExt cx="75723" cy="75723"/>
                </a:xfrm>
              </p:grpSpPr>
              <p:sp>
                <p:nvSpPr>
                  <p:cNvPr id="13389" name="Freeform: Shape 13388">
                    <a:extLst>
                      <a:ext uri="{FF2B5EF4-FFF2-40B4-BE49-F238E27FC236}">
                        <a16:creationId xmlns:a16="http://schemas.microsoft.com/office/drawing/2014/main" id="{B2BC58B1-F802-83D4-F6D8-0001E933DA90}"/>
                      </a:ext>
                    </a:extLst>
                  </p:cNvPr>
                  <p:cNvSpPr/>
                  <p:nvPr/>
                </p:nvSpPr>
                <p:spPr>
                  <a:xfrm>
                    <a:off x="4378642" y="27342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90" name="Freeform: Shape 13389">
                    <a:extLst>
                      <a:ext uri="{FF2B5EF4-FFF2-40B4-BE49-F238E27FC236}">
                        <a16:creationId xmlns:a16="http://schemas.microsoft.com/office/drawing/2014/main" id="{8EFCF092-6804-5432-891D-69522748A883}"/>
                      </a:ext>
                    </a:extLst>
                  </p:cNvPr>
                  <p:cNvSpPr/>
                  <p:nvPr/>
                </p:nvSpPr>
                <p:spPr>
                  <a:xfrm>
                    <a:off x="4340732" y="27721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1" name="Graphic 1393">
                  <a:extLst>
                    <a:ext uri="{FF2B5EF4-FFF2-40B4-BE49-F238E27FC236}">
                      <a16:creationId xmlns:a16="http://schemas.microsoft.com/office/drawing/2014/main" id="{E0F88978-7142-D79C-A160-1F3F138D55B6}"/>
                    </a:ext>
                  </a:extLst>
                </p:cNvPr>
                <p:cNvGrpSpPr/>
                <p:nvPr/>
              </p:nvGrpSpPr>
              <p:grpSpPr>
                <a:xfrm>
                  <a:off x="4348543" y="2742819"/>
                  <a:ext cx="75628" cy="75628"/>
                  <a:chOff x="4348543" y="2742819"/>
                  <a:chExt cx="75628" cy="75628"/>
                </a:xfrm>
              </p:grpSpPr>
              <p:sp>
                <p:nvSpPr>
                  <p:cNvPr id="13387" name="Freeform: Shape 13386">
                    <a:extLst>
                      <a:ext uri="{FF2B5EF4-FFF2-40B4-BE49-F238E27FC236}">
                        <a16:creationId xmlns:a16="http://schemas.microsoft.com/office/drawing/2014/main" id="{6BF6B755-5B7D-18B9-733B-0967A106A044}"/>
                      </a:ext>
                    </a:extLst>
                  </p:cNvPr>
                  <p:cNvSpPr/>
                  <p:nvPr/>
                </p:nvSpPr>
                <p:spPr>
                  <a:xfrm>
                    <a:off x="4386357" y="27428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8" name="Freeform: Shape 13387">
                    <a:extLst>
                      <a:ext uri="{FF2B5EF4-FFF2-40B4-BE49-F238E27FC236}">
                        <a16:creationId xmlns:a16="http://schemas.microsoft.com/office/drawing/2014/main" id="{6207589C-3F4A-0254-E7EF-462DD83233DF}"/>
                      </a:ext>
                    </a:extLst>
                  </p:cNvPr>
                  <p:cNvSpPr/>
                  <p:nvPr/>
                </p:nvSpPr>
                <p:spPr>
                  <a:xfrm>
                    <a:off x="4348543" y="27806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2" name="Graphic 1393">
                  <a:extLst>
                    <a:ext uri="{FF2B5EF4-FFF2-40B4-BE49-F238E27FC236}">
                      <a16:creationId xmlns:a16="http://schemas.microsoft.com/office/drawing/2014/main" id="{61D71661-D68E-9F95-83B3-F05B9BE8EE11}"/>
                    </a:ext>
                  </a:extLst>
                </p:cNvPr>
                <p:cNvGrpSpPr/>
                <p:nvPr/>
              </p:nvGrpSpPr>
              <p:grpSpPr>
                <a:xfrm>
                  <a:off x="4360354" y="2759487"/>
                  <a:ext cx="75723" cy="75723"/>
                  <a:chOff x="4360354" y="2759487"/>
                  <a:chExt cx="75723" cy="75723"/>
                </a:xfrm>
              </p:grpSpPr>
              <p:sp>
                <p:nvSpPr>
                  <p:cNvPr id="13385" name="Freeform: Shape 13384">
                    <a:extLst>
                      <a:ext uri="{FF2B5EF4-FFF2-40B4-BE49-F238E27FC236}">
                        <a16:creationId xmlns:a16="http://schemas.microsoft.com/office/drawing/2014/main" id="{4657EF2C-9068-2846-EABA-D0B7278D2FF7}"/>
                      </a:ext>
                    </a:extLst>
                  </p:cNvPr>
                  <p:cNvSpPr/>
                  <p:nvPr/>
                </p:nvSpPr>
                <p:spPr>
                  <a:xfrm>
                    <a:off x="4398263" y="27594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6" name="Freeform: Shape 13385">
                    <a:extLst>
                      <a:ext uri="{FF2B5EF4-FFF2-40B4-BE49-F238E27FC236}">
                        <a16:creationId xmlns:a16="http://schemas.microsoft.com/office/drawing/2014/main" id="{26978DF3-3683-7724-6231-F5F3B454F691}"/>
                      </a:ext>
                    </a:extLst>
                  </p:cNvPr>
                  <p:cNvSpPr/>
                  <p:nvPr/>
                </p:nvSpPr>
                <p:spPr>
                  <a:xfrm>
                    <a:off x="4360354" y="27973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3" name="Graphic 1393">
                  <a:extLst>
                    <a:ext uri="{FF2B5EF4-FFF2-40B4-BE49-F238E27FC236}">
                      <a16:creationId xmlns:a16="http://schemas.microsoft.com/office/drawing/2014/main" id="{6A085BE9-6EFB-C27E-83B4-83926DF9C5CE}"/>
                    </a:ext>
                  </a:extLst>
                </p:cNvPr>
                <p:cNvGrpSpPr/>
                <p:nvPr/>
              </p:nvGrpSpPr>
              <p:grpSpPr>
                <a:xfrm>
                  <a:off x="4725542" y="2957988"/>
                  <a:ext cx="75723" cy="75723"/>
                  <a:chOff x="4725542" y="2957988"/>
                  <a:chExt cx="75723" cy="75723"/>
                </a:xfrm>
              </p:grpSpPr>
              <p:sp>
                <p:nvSpPr>
                  <p:cNvPr id="13383" name="Freeform: Shape 13382">
                    <a:extLst>
                      <a:ext uri="{FF2B5EF4-FFF2-40B4-BE49-F238E27FC236}">
                        <a16:creationId xmlns:a16="http://schemas.microsoft.com/office/drawing/2014/main" id="{DB55DD20-C9F1-D467-D4EC-0535E9FF7187}"/>
                      </a:ext>
                    </a:extLst>
                  </p:cNvPr>
                  <p:cNvSpPr/>
                  <p:nvPr/>
                </p:nvSpPr>
                <p:spPr>
                  <a:xfrm>
                    <a:off x="4763452" y="2957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4" name="Freeform: Shape 13383">
                    <a:extLst>
                      <a:ext uri="{FF2B5EF4-FFF2-40B4-BE49-F238E27FC236}">
                        <a16:creationId xmlns:a16="http://schemas.microsoft.com/office/drawing/2014/main" id="{634DF9BC-2509-3308-DB2E-34AAE9328FC0}"/>
                      </a:ext>
                    </a:extLst>
                  </p:cNvPr>
                  <p:cNvSpPr/>
                  <p:nvPr/>
                </p:nvSpPr>
                <p:spPr>
                  <a:xfrm>
                    <a:off x="4725542" y="2995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4" name="Graphic 1393">
                  <a:extLst>
                    <a:ext uri="{FF2B5EF4-FFF2-40B4-BE49-F238E27FC236}">
                      <a16:creationId xmlns:a16="http://schemas.microsoft.com/office/drawing/2014/main" id="{C747588C-A3FC-E437-AAFB-EDFC9E7C3467}"/>
                    </a:ext>
                  </a:extLst>
                </p:cNvPr>
                <p:cNvGrpSpPr/>
                <p:nvPr/>
              </p:nvGrpSpPr>
              <p:grpSpPr>
                <a:xfrm>
                  <a:off x="4737734" y="2997803"/>
                  <a:ext cx="75723" cy="75723"/>
                  <a:chOff x="4737734" y="2997803"/>
                  <a:chExt cx="75723" cy="75723"/>
                </a:xfrm>
              </p:grpSpPr>
              <p:sp>
                <p:nvSpPr>
                  <p:cNvPr id="13381" name="Freeform: Shape 13380">
                    <a:extLst>
                      <a:ext uri="{FF2B5EF4-FFF2-40B4-BE49-F238E27FC236}">
                        <a16:creationId xmlns:a16="http://schemas.microsoft.com/office/drawing/2014/main" id="{ABE9FA1B-81DD-AF5A-2A99-3AEB9175EEFC}"/>
                      </a:ext>
                    </a:extLst>
                  </p:cNvPr>
                  <p:cNvSpPr/>
                  <p:nvPr/>
                </p:nvSpPr>
                <p:spPr>
                  <a:xfrm>
                    <a:off x="4775548" y="29978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2" name="Freeform: Shape 13381">
                    <a:extLst>
                      <a:ext uri="{FF2B5EF4-FFF2-40B4-BE49-F238E27FC236}">
                        <a16:creationId xmlns:a16="http://schemas.microsoft.com/office/drawing/2014/main" id="{CD4F5E6F-4EDA-9ACC-A29A-82538F3C46C8}"/>
                      </a:ext>
                    </a:extLst>
                  </p:cNvPr>
                  <p:cNvSpPr/>
                  <p:nvPr/>
                </p:nvSpPr>
                <p:spPr>
                  <a:xfrm>
                    <a:off x="4737734" y="3035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5" name="Graphic 1393">
                  <a:extLst>
                    <a:ext uri="{FF2B5EF4-FFF2-40B4-BE49-F238E27FC236}">
                      <a16:creationId xmlns:a16="http://schemas.microsoft.com/office/drawing/2014/main" id="{67F4ECF2-882E-A888-A05A-5E3DD7A87F72}"/>
                    </a:ext>
                  </a:extLst>
                </p:cNvPr>
                <p:cNvGrpSpPr/>
                <p:nvPr/>
              </p:nvGrpSpPr>
              <p:grpSpPr>
                <a:xfrm>
                  <a:off x="4748116" y="3035712"/>
                  <a:ext cx="75723" cy="75628"/>
                  <a:chOff x="4748116" y="3035712"/>
                  <a:chExt cx="75723" cy="75628"/>
                </a:xfrm>
              </p:grpSpPr>
              <p:sp>
                <p:nvSpPr>
                  <p:cNvPr id="13379" name="Freeform: Shape 13378">
                    <a:extLst>
                      <a:ext uri="{FF2B5EF4-FFF2-40B4-BE49-F238E27FC236}">
                        <a16:creationId xmlns:a16="http://schemas.microsoft.com/office/drawing/2014/main" id="{FCD194DA-E77F-FD5D-1F96-118E7B2801FC}"/>
                      </a:ext>
                    </a:extLst>
                  </p:cNvPr>
                  <p:cNvSpPr/>
                  <p:nvPr/>
                </p:nvSpPr>
                <p:spPr>
                  <a:xfrm>
                    <a:off x="4786026"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80" name="Freeform: Shape 13379">
                    <a:extLst>
                      <a:ext uri="{FF2B5EF4-FFF2-40B4-BE49-F238E27FC236}">
                        <a16:creationId xmlns:a16="http://schemas.microsoft.com/office/drawing/2014/main" id="{F76F8BBF-8771-777C-24A7-13DE65424202}"/>
                      </a:ext>
                    </a:extLst>
                  </p:cNvPr>
                  <p:cNvSpPr/>
                  <p:nvPr/>
                </p:nvSpPr>
                <p:spPr>
                  <a:xfrm>
                    <a:off x="4748116"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6" name="Graphic 1393">
                  <a:extLst>
                    <a:ext uri="{FF2B5EF4-FFF2-40B4-BE49-F238E27FC236}">
                      <a16:creationId xmlns:a16="http://schemas.microsoft.com/office/drawing/2014/main" id="{D4EE1C33-6CE6-B64C-DE0F-2E5F4F5E1AFA}"/>
                    </a:ext>
                  </a:extLst>
                </p:cNvPr>
                <p:cNvGrpSpPr/>
                <p:nvPr/>
              </p:nvGrpSpPr>
              <p:grpSpPr>
                <a:xfrm>
                  <a:off x="4760023" y="3035712"/>
                  <a:ext cx="75723" cy="75628"/>
                  <a:chOff x="4760023" y="3035712"/>
                  <a:chExt cx="75723" cy="75628"/>
                </a:xfrm>
              </p:grpSpPr>
              <p:sp>
                <p:nvSpPr>
                  <p:cNvPr id="13377" name="Freeform: Shape 13376">
                    <a:extLst>
                      <a:ext uri="{FF2B5EF4-FFF2-40B4-BE49-F238E27FC236}">
                        <a16:creationId xmlns:a16="http://schemas.microsoft.com/office/drawing/2014/main" id="{1D38AA7D-7AFE-B358-A912-7FA527E40C72}"/>
                      </a:ext>
                    </a:extLst>
                  </p:cNvPr>
                  <p:cNvSpPr/>
                  <p:nvPr/>
                </p:nvSpPr>
                <p:spPr>
                  <a:xfrm>
                    <a:off x="4797837" y="303571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8" name="Freeform: Shape 13377">
                    <a:extLst>
                      <a:ext uri="{FF2B5EF4-FFF2-40B4-BE49-F238E27FC236}">
                        <a16:creationId xmlns:a16="http://schemas.microsoft.com/office/drawing/2014/main" id="{A2B25BF1-CB50-DD45-F197-CBB279E1D4EF}"/>
                      </a:ext>
                    </a:extLst>
                  </p:cNvPr>
                  <p:cNvSpPr/>
                  <p:nvPr/>
                </p:nvSpPr>
                <p:spPr>
                  <a:xfrm>
                    <a:off x="4760023" y="307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7" name="Graphic 1393">
                  <a:extLst>
                    <a:ext uri="{FF2B5EF4-FFF2-40B4-BE49-F238E27FC236}">
                      <a16:creationId xmlns:a16="http://schemas.microsoft.com/office/drawing/2014/main" id="{478168DF-8DF0-A969-442C-CD483C62AD26}"/>
                    </a:ext>
                  </a:extLst>
                </p:cNvPr>
                <p:cNvGrpSpPr/>
                <p:nvPr/>
              </p:nvGrpSpPr>
              <p:grpSpPr>
                <a:xfrm>
                  <a:off x="5101113" y="3149536"/>
                  <a:ext cx="75628" cy="75723"/>
                  <a:chOff x="5101113" y="3149536"/>
                  <a:chExt cx="75628" cy="75723"/>
                </a:xfrm>
              </p:grpSpPr>
              <p:sp>
                <p:nvSpPr>
                  <p:cNvPr id="13375" name="Freeform: Shape 13374">
                    <a:extLst>
                      <a:ext uri="{FF2B5EF4-FFF2-40B4-BE49-F238E27FC236}">
                        <a16:creationId xmlns:a16="http://schemas.microsoft.com/office/drawing/2014/main" id="{8208553F-DA98-7E15-7B59-D2AA49FEE486}"/>
                      </a:ext>
                    </a:extLst>
                  </p:cNvPr>
                  <p:cNvSpPr/>
                  <p:nvPr/>
                </p:nvSpPr>
                <p:spPr>
                  <a:xfrm>
                    <a:off x="5138927"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6" name="Freeform: Shape 13375">
                    <a:extLst>
                      <a:ext uri="{FF2B5EF4-FFF2-40B4-BE49-F238E27FC236}">
                        <a16:creationId xmlns:a16="http://schemas.microsoft.com/office/drawing/2014/main" id="{715BAFA6-5ECE-B06E-BA83-25EE1F6F648A}"/>
                      </a:ext>
                    </a:extLst>
                  </p:cNvPr>
                  <p:cNvSpPr/>
                  <p:nvPr/>
                </p:nvSpPr>
                <p:spPr>
                  <a:xfrm>
                    <a:off x="5101113" y="31874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8" name="Graphic 1393">
                  <a:extLst>
                    <a:ext uri="{FF2B5EF4-FFF2-40B4-BE49-F238E27FC236}">
                      <a16:creationId xmlns:a16="http://schemas.microsoft.com/office/drawing/2014/main" id="{2E104DAC-7E8E-6946-D097-1316B923E581}"/>
                    </a:ext>
                  </a:extLst>
                </p:cNvPr>
                <p:cNvGrpSpPr/>
                <p:nvPr/>
              </p:nvGrpSpPr>
              <p:grpSpPr>
                <a:xfrm>
                  <a:off x="5127402" y="3149536"/>
                  <a:ext cx="75723" cy="75723"/>
                  <a:chOff x="5127402" y="3149536"/>
                  <a:chExt cx="75723" cy="75723"/>
                </a:xfrm>
              </p:grpSpPr>
              <p:sp>
                <p:nvSpPr>
                  <p:cNvPr id="13373" name="Freeform: Shape 13372">
                    <a:extLst>
                      <a:ext uri="{FF2B5EF4-FFF2-40B4-BE49-F238E27FC236}">
                        <a16:creationId xmlns:a16="http://schemas.microsoft.com/office/drawing/2014/main" id="{CBFF6DCC-A671-98FD-3A70-EF203D0C4538}"/>
                      </a:ext>
                    </a:extLst>
                  </p:cNvPr>
                  <p:cNvSpPr/>
                  <p:nvPr/>
                </p:nvSpPr>
                <p:spPr>
                  <a:xfrm>
                    <a:off x="5165216" y="31495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4" name="Freeform: Shape 13373">
                    <a:extLst>
                      <a:ext uri="{FF2B5EF4-FFF2-40B4-BE49-F238E27FC236}">
                        <a16:creationId xmlns:a16="http://schemas.microsoft.com/office/drawing/2014/main" id="{95048879-FC0A-93EA-01B6-C2F5D3C89D78}"/>
                      </a:ext>
                    </a:extLst>
                  </p:cNvPr>
                  <p:cNvSpPr/>
                  <p:nvPr/>
                </p:nvSpPr>
                <p:spPr>
                  <a:xfrm>
                    <a:off x="5127402" y="31874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59" name="Graphic 1393">
                  <a:extLst>
                    <a:ext uri="{FF2B5EF4-FFF2-40B4-BE49-F238E27FC236}">
                      <a16:creationId xmlns:a16="http://schemas.microsoft.com/office/drawing/2014/main" id="{0D58C9FC-6B0A-0FB8-3BFB-BB987B0732B9}"/>
                    </a:ext>
                  </a:extLst>
                </p:cNvPr>
                <p:cNvGrpSpPr/>
                <p:nvPr/>
              </p:nvGrpSpPr>
              <p:grpSpPr>
                <a:xfrm>
                  <a:off x="5144833" y="3157061"/>
                  <a:ext cx="75723" cy="75723"/>
                  <a:chOff x="5144833" y="3157061"/>
                  <a:chExt cx="75723" cy="75723"/>
                </a:xfrm>
              </p:grpSpPr>
              <p:sp>
                <p:nvSpPr>
                  <p:cNvPr id="13371" name="Freeform: Shape 13370">
                    <a:extLst>
                      <a:ext uri="{FF2B5EF4-FFF2-40B4-BE49-F238E27FC236}">
                        <a16:creationId xmlns:a16="http://schemas.microsoft.com/office/drawing/2014/main" id="{498D3372-5E24-029D-0DE9-4D700E7A508B}"/>
                      </a:ext>
                    </a:extLst>
                  </p:cNvPr>
                  <p:cNvSpPr/>
                  <p:nvPr/>
                </p:nvSpPr>
                <p:spPr>
                  <a:xfrm>
                    <a:off x="5182742" y="315706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2" name="Freeform: Shape 13371">
                    <a:extLst>
                      <a:ext uri="{FF2B5EF4-FFF2-40B4-BE49-F238E27FC236}">
                        <a16:creationId xmlns:a16="http://schemas.microsoft.com/office/drawing/2014/main" id="{68B3D224-73A4-4D9A-6531-6F3EBC418BB4}"/>
                      </a:ext>
                    </a:extLst>
                  </p:cNvPr>
                  <p:cNvSpPr/>
                  <p:nvPr/>
                </p:nvSpPr>
                <p:spPr>
                  <a:xfrm>
                    <a:off x="5144833" y="31949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0" name="Graphic 1393">
                  <a:extLst>
                    <a:ext uri="{FF2B5EF4-FFF2-40B4-BE49-F238E27FC236}">
                      <a16:creationId xmlns:a16="http://schemas.microsoft.com/office/drawing/2014/main" id="{4B31C8E8-D9E7-BA2D-8CEE-F95288E527CA}"/>
                    </a:ext>
                  </a:extLst>
                </p:cNvPr>
                <p:cNvGrpSpPr/>
                <p:nvPr/>
              </p:nvGrpSpPr>
              <p:grpSpPr>
                <a:xfrm>
                  <a:off x="5158263" y="3164776"/>
                  <a:ext cx="75628" cy="75723"/>
                  <a:chOff x="5158263" y="3164776"/>
                  <a:chExt cx="75628" cy="75723"/>
                </a:xfrm>
              </p:grpSpPr>
              <p:sp>
                <p:nvSpPr>
                  <p:cNvPr id="13369" name="Freeform: Shape 13368">
                    <a:extLst>
                      <a:ext uri="{FF2B5EF4-FFF2-40B4-BE49-F238E27FC236}">
                        <a16:creationId xmlns:a16="http://schemas.microsoft.com/office/drawing/2014/main" id="{A16BCAB9-D596-5AD8-1054-2A3431BD2220}"/>
                      </a:ext>
                    </a:extLst>
                  </p:cNvPr>
                  <p:cNvSpPr/>
                  <p:nvPr/>
                </p:nvSpPr>
                <p:spPr>
                  <a:xfrm>
                    <a:off x="5196077" y="3164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70" name="Freeform: Shape 13369">
                    <a:extLst>
                      <a:ext uri="{FF2B5EF4-FFF2-40B4-BE49-F238E27FC236}">
                        <a16:creationId xmlns:a16="http://schemas.microsoft.com/office/drawing/2014/main" id="{46D942D0-E7D7-F81E-F44E-783DDF1A23DD}"/>
                      </a:ext>
                    </a:extLst>
                  </p:cNvPr>
                  <p:cNvSpPr/>
                  <p:nvPr/>
                </p:nvSpPr>
                <p:spPr>
                  <a:xfrm>
                    <a:off x="5158263" y="3202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1" name="Graphic 1393">
                  <a:extLst>
                    <a:ext uri="{FF2B5EF4-FFF2-40B4-BE49-F238E27FC236}">
                      <a16:creationId xmlns:a16="http://schemas.microsoft.com/office/drawing/2014/main" id="{2525B420-8A00-D3DB-40EA-0366E49A63F2}"/>
                    </a:ext>
                  </a:extLst>
                </p:cNvPr>
                <p:cNvGrpSpPr/>
                <p:nvPr/>
              </p:nvGrpSpPr>
              <p:grpSpPr>
                <a:xfrm>
                  <a:off x="5163216" y="3173158"/>
                  <a:ext cx="75723" cy="75723"/>
                  <a:chOff x="5163216" y="3173158"/>
                  <a:chExt cx="75723" cy="75723"/>
                </a:xfrm>
              </p:grpSpPr>
              <p:sp>
                <p:nvSpPr>
                  <p:cNvPr id="13367" name="Freeform: Shape 13366">
                    <a:extLst>
                      <a:ext uri="{FF2B5EF4-FFF2-40B4-BE49-F238E27FC236}">
                        <a16:creationId xmlns:a16="http://schemas.microsoft.com/office/drawing/2014/main" id="{ED7D10E2-5485-46A7-8FF6-1A80D09D266F}"/>
                      </a:ext>
                    </a:extLst>
                  </p:cNvPr>
                  <p:cNvSpPr/>
                  <p:nvPr/>
                </p:nvSpPr>
                <p:spPr>
                  <a:xfrm>
                    <a:off x="5201125" y="317315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8" name="Freeform: Shape 13367">
                    <a:extLst>
                      <a:ext uri="{FF2B5EF4-FFF2-40B4-BE49-F238E27FC236}">
                        <a16:creationId xmlns:a16="http://schemas.microsoft.com/office/drawing/2014/main" id="{ED76BE16-2AE2-7227-CE40-AE19BA46013D}"/>
                      </a:ext>
                    </a:extLst>
                  </p:cNvPr>
                  <p:cNvSpPr/>
                  <p:nvPr/>
                </p:nvSpPr>
                <p:spPr>
                  <a:xfrm>
                    <a:off x="5163216" y="32110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2" name="Graphic 1393">
                  <a:extLst>
                    <a:ext uri="{FF2B5EF4-FFF2-40B4-BE49-F238E27FC236}">
                      <a16:creationId xmlns:a16="http://schemas.microsoft.com/office/drawing/2014/main" id="{D21D005E-7976-F3F3-EBE2-10566B2681EA}"/>
                    </a:ext>
                  </a:extLst>
                </p:cNvPr>
                <p:cNvGrpSpPr/>
                <p:nvPr/>
              </p:nvGrpSpPr>
              <p:grpSpPr>
                <a:xfrm>
                  <a:off x="5169312" y="3185636"/>
                  <a:ext cx="75723" cy="75723"/>
                  <a:chOff x="5169312" y="3185636"/>
                  <a:chExt cx="75723" cy="75723"/>
                </a:xfrm>
              </p:grpSpPr>
              <p:sp>
                <p:nvSpPr>
                  <p:cNvPr id="13365" name="Freeform: Shape 13364">
                    <a:extLst>
                      <a:ext uri="{FF2B5EF4-FFF2-40B4-BE49-F238E27FC236}">
                        <a16:creationId xmlns:a16="http://schemas.microsoft.com/office/drawing/2014/main" id="{815DA7F0-B321-656E-B2BD-54E939D52A77}"/>
                      </a:ext>
                    </a:extLst>
                  </p:cNvPr>
                  <p:cNvSpPr/>
                  <p:nvPr/>
                </p:nvSpPr>
                <p:spPr>
                  <a:xfrm>
                    <a:off x="5207221" y="31856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6" name="Freeform: Shape 13365">
                    <a:extLst>
                      <a:ext uri="{FF2B5EF4-FFF2-40B4-BE49-F238E27FC236}">
                        <a16:creationId xmlns:a16="http://schemas.microsoft.com/office/drawing/2014/main" id="{3E163250-B42E-1F42-AE64-CE46C2CEDCAE}"/>
                      </a:ext>
                    </a:extLst>
                  </p:cNvPr>
                  <p:cNvSpPr/>
                  <p:nvPr/>
                </p:nvSpPr>
                <p:spPr>
                  <a:xfrm>
                    <a:off x="5169312" y="32235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3" name="Graphic 1393">
                  <a:extLst>
                    <a:ext uri="{FF2B5EF4-FFF2-40B4-BE49-F238E27FC236}">
                      <a16:creationId xmlns:a16="http://schemas.microsoft.com/office/drawing/2014/main" id="{D9DF3D03-114F-B6BA-CFC8-6524F8224DB4}"/>
                    </a:ext>
                  </a:extLst>
                </p:cNvPr>
                <p:cNvGrpSpPr/>
                <p:nvPr/>
              </p:nvGrpSpPr>
              <p:grpSpPr>
                <a:xfrm>
                  <a:off x="5176741" y="3223545"/>
                  <a:ext cx="75723" cy="75628"/>
                  <a:chOff x="5176741" y="3223545"/>
                  <a:chExt cx="75723" cy="75628"/>
                </a:xfrm>
              </p:grpSpPr>
              <p:sp>
                <p:nvSpPr>
                  <p:cNvPr id="13363" name="Freeform: Shape 13362">
                    <a:extLst>
                      <a:ext uri="{FF2B5EF4-FFF2-40B4-BE49-F238E27FC236}">
                        <a16:creationId xmlns:a16="http://schemas.microsoft.com/office/drawing/2014/main" id="{E6F7EAB1-F255-9082-D736-F08AEE7F8E50}"/>
                      </a:ext>
                    </a:extLst>
                  </p:cNvPr>
                  <p:cNvSpPr/>
                  <p:nvPr/>
                </p:nvSpPr>
                <p:spPr>
                  <a:xfrm>
                    <a:off x="5214651" y="32235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4" name="Freeform: Shape 13363">
                    <a:extLst>
                      <a:ext uri="{FF2B5EF4-FFF2-40B4-BE49-F238E27FC236}">
                        <a16:creationId xmlns:a16="http://schemas.microsoft.com/office/drawing/2014/main" id="{D927B3D7-86C8-573A-5E74-81707609899F}"/>
                      </a:ext>
                    </a:extLst>
                  </p:cNvPr>
                  <p:cNvSpPr/>
                  <p:nvPr/>
                </p:nvSpPr>
                <p:spPr>
                  <a:xfrm>
                    <a:off x="5176741" y="3261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4" name="Graphic 1393">
                  <a:extLst>
                    <a:ext uri="{FF2B5EF4-FFF2-40B4-BE49-F238E27FC236}">
                      <a16:creationId xmlns:a16="http://schemas.microsoft.com/office/drawing/2014/main" id="{094ADC1D-B1F3-6CFA-96BE-3656EC9E811B}"/>
                    </a:ext>
                  </a:extLst>
                </p:cNvPr>
                <p:cNvGrpSpPr/>
                <p:nvPr/>
              </p:nvGrpSpPr>
              <p:grpSpPr>
                <a:xfrm>
                  <a:off x="5182742" y="3234785"/>
                  <a:ext cx="75628" cy="75628"/>
                  <a:chOff x="5182742" y="3234785"/>
                  <a:chExt cx="75628" cy="75628"/>
                </a:xfrm>
              </p:grpSpPr>
              <p:sp>
                <p:nvSpPr>
                  <p:cNvPr id="13361" name="Freeform: Shape 13360">
                    <a:extLst>
                      <a:ext uri="{FF2B5EF4-FFF2-40B4-BE49-F238E27FC236}">
                        <a16:creationId xmlns:a16="http://schemas.microsoft.com/office/drawing/2014/main" id="{B20C45EF-B322-89C4-C3A7-3D1EAC8DD95F}"/>
                      </a:ext>
                    </a:extLst>
                  </p:cNvPr>
                  <p:cNvSpPr/>
                  <p:nvPr/>
                </p:nvSpPr>
                <p:spPr>
                  <a:xfrm>
                    <a:off x="5220556" y="323478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2" name="Freeform: Shape 13361">
                    <a:extLst>
                      <a:ext uri="{FF2B5EF4-FFF2-40B4-BE49-F238E27FC236}">
                        <a16:creationId xmlns:a16="http://schemas.microsoft.com/office/drawing/2014/main" id="{85855E71-848F-E18E-9A37-89CC6369EC77}"/>
                      </a:ext>
                    </a:extLst>
                  </p:cNvPr>
                  <p:cNvSpPr/>
                  <p:nvPr/>
                </p:nvSpPr>
                <p:spPr>
                  <a:xfrm>
                    <a:off x="5182742" y="32725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5" name="Graphic 1393">
                  <a:extLst>
                    <a:ext uri="{FF2B5EF4-FFF2-40B4-BE49-F238E27FC236}">
                      <a16:creationId xmlns:a16="http://schemas.microsoft.com/office/drawing/2014/main" id="{CD30D2E4-9A03-10CF-7B07-3D7D850482F2}"/>
                    </a:ext>
                  </a:extLst>
                </p:cNvPr>
                <p:cNvGrpSpPr/>
                <p:nvPr/>
              </p:nvGrpSpPr>
              <p:grpSpPr>
                <a:xfrm>
                  <a:off x="5193220" y="3242595"/>
                  <a:ext cx="75628" cy="75723"/>
                  <a:chOff x="5193220" y="3242595"/>
                  <a:chExt cx="75628" cy="75723"/>
                </a:xfrm>
              </p:grpSpPr>
              <p:sp>
                <p:nvSpPr>
                  <p:cNvPr id="13359" name="Freeform: Shape 13358">
                    <a:extLst>
                      <a:ext uri="{FF2B5EF4-FFF2-40B4-BE49-F238E27FC236}">
                        <a16:creationId xmlns:a16="http://schemas.microsoft.com/office/drawing/2014/main" id="{A51EBFC5-A523-496C-C379-450BA57003BF}"/>
                      </a:ext>
                    </a:extLst>
                  </p:cNvPr>
                  <p:cNvSpPr/>
                  <p:nvPr/>
                </p:nvSpPr>
                <p:spPr>
                  <a:xfrm>
                    <a:off x="5231034" y="32425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60" name="Freeform: Shape 13359">
                    <a:extLst>
                      <a:ext uri="{FF2B5EF4-FFF2-40B4-BE49-F238E27FC236}">
                        <a16:creationId xmlns:a16="http://schemas.microsoft.com/office/drawing/2014/main" id="{BD7F01B9-5237-B5D5-2247-BEBA4B2054B0}"/>
                      </a:ext>
                    </a:extLst>
                  </p:cNvPr>
                  <p:cNvSpPr/>
                  <p:nvPr/>
                </p:nvSpPr>
                <p:spPr>
                  <a:xfrm>
                    <a:off x="5193220" y="32804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6" name="Graphic 1393">
                  <a:extLst>
                    <a:ext uri="{FF2B5EF4-FFF2-40B4-BE49-F238E27FC236}">
                      <a16:creationId xmlns:a16="http://schemas.microsoft.com/office/drawing/2014/main" id="{2E0D4B84-4EEA-EB88-1703-B81D3E01974D}"/>
                    </a:ext>
                  </a:extLst>
                </p:cNvPr>
                <p:cNvGrpSpPr/>
                <p:nvPr/>
              </p:nvGrpSpPr>
              <p:grpSpPr>
                <a:xfrm>
                  <a:off x="5203126" y="3252597"/>
                  <a:ext cx="75628" cy="75723"/>
                  <a:chOff x="5203126" y="3252597"/>
                  <a:chExt cx="75628" cy="75723"/>
                </a:xfrm>
              </p:grpSpPr>
              <p:sp>
                <p:nvSpPr>
                  <p:cNvPr id="13357" name="Freeform: Shape 13356">
                    <a:extLst>
                      <a:ext uri="{FF2B5EF4-FFF2-40B4-BE49-F238E27FC236}">
                        <a16:creationId xmlns:a16="http://schemas.microsoft.com/office/drawing/2014/main" id="{B7023451-4FF6-4392-AC80-B663DBBA57EC}"/>
                      </a:ext>
                    </a:extLst>
                  </p:cNvPr>
                  <p:cNvSpPr/>
                  <p:nvPr/>
                </p:nvSpPr>
                <p:spPr>
                  <a:xfrm>
                    <a:off x="5240940" y="325259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8" name="Freeform: Shape 13357">
                    <a:extLst>
                      <a:ext uri="{FF2B5EF4-FFF2-40B4-BE49-F238E27FC236}">
                        <a16:creationId xmlns:a16="http://schemas.microsoft.com/office/drawing/2014/main" id="{D818904E-5062-B3CE-8B59-F90B1E1BE484}"/>
                      </a:ext>
                    </a:extLst>
                  </p:cNvPr>
                  <p:cNvSpPr/>
                  <p:nvPr/>
                </p:nvSpPr>
                <p:spPr>
                  <a:xfrm>
                    <a:off x="5203126" y="3290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7" name="Graphic 1393">
                  <a:extLst>
                    <a:ext uri="{FF2B5EF4-FFF2-40B4-BE49-F238E27FC236}">
                      <a16:creationId xmlns:a16="http://schemas.microsoft.com/office/drawing/2014/main" id="{6AB94508-7DD0-46AB-8F59-E5B8133BF422}"/>
                    </a:ext>
                  </a:extLst>
                </p:cNvPr>
                <p:cNvGrpSpPr/>
                <p:nvPr/>
              </p:nvGrpSpPr>
              <p:grpSpPr>
                <a:xfrm>
                  <a:off x="5209317" y="3256883"/>
                  <a:ext cx="75723" cy="75723"/>
                  <a:chOff x="5209317" y="3256883"/>
                  <a:chExt cx="75723" cy="75723"/>
                </a:xfrm>
              </p:grpSpPr>
              <p:sp>
                <p:nvSpPr>
                  <p:cNvPr id="13355" name="Freeform: Shape 13354">
                    <a:extLst>
                      <a:ext uri="{FF2B5EF4-FFF2-40B4-BE49-F238E27FC236}">
                        <a16:creationId xmlns:a16="http://schemas.microsoft.com/office/drawing/2014/main" id="{1D9A247A-E5ED-0F28-6AB3-D0955973D8A2}"/>
                      </a:ext>
                    </a:extLst>
                  </p:cNvPr>
                  <p:cNvSpPr/>
                  <p:nvPr/>
                </p:nvSpPr>
                <p:spPr>
                  <a:xfrm>
                    <a:off x="5247131" y="32568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6" name="Freeform: Shape 13355">
                    <a:extLst>
                      <a:ext uri="{FF2B5EF4-FFF2-40B4-BE49-F238E27FC236}">
                        <a16:creationId xmlns:a16="http://schemas.microsoft.com/office/drawing/2014/main" id="{60865E26-EDFC-6322-82A1-23718E1657DF}"/>
                      </a:ext>
                    </a:extLst>
                  </p:cNvPr>
                  <p:cNvSpPr/>
                  <p:nvPr/>
                </p:nvSpPr>
                <p:spPr>
                  <a:xfrm>
                    <a:off x="5209317" y="32946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8" name="Graphic 1393">
                  <a:extLst>
                    <a:ext uri="{FF2B5EF4-FFF2-40B4-BE49-F238E27FC236}">
                      <a16:creationId xmlns:a16="http://schemas.microsoft.com/office/drawing/2014/main" id="{E0F44078-C212-BDF5-1A10-D07CCF770B54}"/>
                    </a:ext>
                  </a:extLst>
                </p:cNvPr>
                <p:cNvGrpSpPr/>
                <p:nvPr/>
              </p:nvGrpSpPr>
              <p:grpSpPr>
                <a:xfrm>
                  <a:off x="5565552" y="3315557"/>
                  <a:ext cx="75723" cy="75723"/>
                  <a:chOff x="5565552" y="3315557"/>
                  <a:chExt cx="75723" cy="75723"/>
                </a:xfrm>
              </p:grpSpPr>
              <p:sp>
                <p:nvSpPr>
                  <p:cNvPr id="13353" name="Freeform: Shape 13352">
                    <a:extLst>
                      <a:ext uri="{FF2B5EF4-FFF2-40B4-BE49-F238E27FC236}">
                        <a16:creationId xmlns:a16="http://schemas.microsoft.com/office/drawing/2014/main" id="{3C116EBB-C58F-5AB2-5081-B4F463955562}"/>
                      </a:ext>
                    </a:extLst>
                  </p:cNvPr>
                  <p:cNvSpPr/>
                  <p:nvPr/>
                </p:nvSpPr>
                <p:spPr>
                  <a:xfrm>
                    <a:off x="5603461" y="33155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4" name="Freeform: Shape 13353">
                    <a:extLst>
                      <a:ext uri="{FF2B5EF4-FFF2-40B4-BE49-F238E27FC236}">
                        <a16:creationId xmlns:a16="http://schemas.microsoft.com/office/drawing/2014/main" id="{52D658EE-E1F6-E311-BE08-DA75761BDD6C}"/>
                      </a:ext>
                    </a:extLst>
                  </p:cNvPr>
                  <p:cNvSpPr/>
                  <p:nvPr/>
                </p:nvSpPr>
                <p:spPr>
                  <a:xfrm>
                    <a:off x="5565552" y="3353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69" name="Graphic 1393">
                  <a:extLst>
                    <a:ext uri="{FF2B5EF4-FFF2-40B4-BE49-F238E27FC236}">
                      <a16:creationId xmlns:a16="http://schemas.microsoft.com/office/drawing/2014/main" id="{53202507-E238-2F47-6A8D-F37E5F9C58F1}"/>
                    </a:ext>
                  </a:extLst>
                </p:cNvPr>
                <p:cNvGrpSpPr/>
                <p:nvPr/>
              </p:nvGrpSpPr>
              <p:grpSpPr>
                <a:xfrm>
                  <a:off x="5579268" y="3321653"/>
                  <a:ext cx="75723" cy="75723"/>
                  <a:chOff x="5579268" y="3321653"/>
                  <a:chExt cx="75723" cy="75723"/>
                </a:xfrm>
              </p:grpSpPr>
              <p:sp>
                <p:nvSpPr>
                  <p:cNvPr id="13351" name="Freeform: Shape 13350">
                    <a:extLst>
                      <a:ext uri="{FF2B5EF4-FFF2-40B4-BE49-F238E27FC236}">
                        <a16:creationId xmlns:a16="http://schemas.microsoft.com/office/drawing/2014/main" id="{F92AF343-307A-8F00-B53F-8AD4F190564B}"/>
                      </a:ext>
                    </a:extLst>
                  </p:cNvPr>
                  <p:cNvSpPr/>
                  <p:nvPr/>
                </p:nvSpPr>
                <p:spPr>
                  <a:xfrm>
                    <a:off x="5617082" y="33216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2" name="Freeform: Shape 13351">
                    <a:extLst>
                      <a:ext uri="{FF2B5EF4-FFF2-40B4-BE49-F238E27FC236}">
                        <a16:creationId xmlns:a16="http://schemas.microsoft.com/office/drawing/2014/main" id="{1B772EFB-DA7D-F8D9-8DBD-6F17E19A28E5}"/>
                      </a:ext>
                    </a:extLst>
                  </p:cNvPr>
                  <p:cNvSpPr/>
                  <p:nvPr/>
                </p:nvSpPr>
                <p:spPr>
                  <a:xfrm>
                    <a:off x="5579268" y="33594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0" name="Graphic 1393">
                  <a:extLst>
                    <a:ext uri="{FF2B5EF4-FFF2-40B4-BE49-F238E27FC236}">
                      <a16:creationId xmlns:a16="http://schemas.microsoft.com/office/drawing/2014/main" id="{DB635805-9B98-EE9E-A993-7CEAED70CE28}"/>
                    </a:ext>
                  </a:extLst>
                </p:cNvPr>
                <p:cNvGrpSpPr/>
                <p:nvPr/>
              </p:nvGrpSpPr>
              <p:grpSpPr>
                <a:xfrm>
                  <a:off x="5583554" y="3338703"/>
                  <a:ext cx="75628" cy="75628"/>
                  <a:chOff x="5583554" y="3338703"/>
                  <a:chExt cx="75628" cy="75628"/>
                </a:xfrm>
              </p:grpSpPr>
              <p:sp>
                <p:nvSpPr>
                  <p:cNvPr id="13349" name="Freeform: Shape 13348">
                    <a:extLst>
                      <a:ext uri="{FF2B5EF4-FFF2-40B4-BE49-F238E27FC236}">
                        <a16:creationId xmlns:a16="http://schemas.microsoft.com/office/drawing/2014/main" id="{5EF2579A-DB1D-E818-AEED-9362F5445576}"/>
                      </a:ext>
                    </a:extLst>
                  </p:cNvPr>
                  <p:cNvSpPr/>
                  <p:nvPr/>
                </p:nvSpPr>
                <p:spPr>
                  <a:xfrm>
                    <a:off x="5621368"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50" name="Freeform: Shape 13349">
                    <a:extLst>
                      <a:ext uri="{FF2B5EF4-FFF2-40B4-BE49-F238E27FC236}">
                        <a16:creationId xmlns:a16="http://schemas.microsoft.com/office/drawing/2014/main" id="{2E0C277B-879B-3A45-6063-B64592ACCC1F}"/>
                      </a:ext>
                    </a:extLst>
                  </p:cNvPr>
                  <p:cNvSpPr/>
                  <p:nvPr/>
                </p:nvSpPr>
                <p:spPr>
                  <a:xfrm>
                    <a:off x="5583554"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1" name="Graphic 1393">
                  <a:extLst>
                    <a:ext uri="{FF2B5EF4-FFF2-40B4-BE49-F238E27FC236}">
                      <a16:creationId xmlns:a16="http://schemas.microsoft.com/office/drawing/2014/main" id="{8FC13B0B-49FB-723F-9C71-21D44B6C0A31}"/>
                    </a:ext>
                  </a:extLst>
                </p:cNvPr>
                <p:cNvGrpSpPr/>
                <p:nvPr/>
              </p:nvGrpSpPr>
              <p:grpSpPr>
                <a:xfrm>
                  <a:off x="5593270" y="3338703"/>
                  <a:ext cx="75628" cy="75628"/>
                  <a:chOff x="5593270" y="3338703"/>
                  <a:chExt cx="75628" cy="75628"/>
                </a:xfrm>
              </p:grpSpPr>
              <p:sp>
                <p:nvSpPr>
                  <p:cNvPr id="13347" name="Freeform: Shape 13346">
                    <a:extLst>
                      <a:ext uri="{FF2B5EF4-FFF2-40B4-BE49-F238E27FC236}">
                        <a16:creationId xmlns:a16="http://schemas.microsoft.com/office/drawing/2014/main" id="{5FD25FB8-B7A0-F5A6-CF56-ED5695B273F4}"/>
                      </a:ext>
                    </a:extLst>
                  </p:cNvPr>
                  <p:cNvSpPr/>
                  <p:nvPr/>
                </p:nvSpPr>
                <p:spPr>
                  <a:xfrm>
                    <a:off x="5631084"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8" name="Freeform: Shape 13347">
                    <a:extLst>
                      <a:ext uri="{FF2B5EF4-FFF2-40B4-BE49-F238E27FC236}">
                        <a16:creationId xmlns:a16="http://schemas.microsoft.com/office/drawing/2014/main" id="{D545F10F-1704-8E20-B430-EAEB3B356D4F}"/>
                      </a:ext>
                    </a:extLst>
                  </p:cNvPr>
                  <p:cNvSpPr/>
                  <p:nvPr/>
                </p:nvSpPr>
                <p:spPr>
                  <a:xfrm>
                    <a:off x="5593270" y="33765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2" name="Graphic 1393">
                  <a:extLst>
                    <a:ext uri="{FF2B5EF4-FFF2-40B4-BE49-F238E27FC236}">
                      <a16:creationId xmlns:a16="http://schemas.microsoft.com/office/drawing/2014/main" id="{894E8C7D-AC94-4B36-4806-87DF7F2DCF23}"/>
                    </a:ext>
                  </a:extLst>
                </p:cNvPr>
                <p:cNvGrpSpPr/>
                <p:nvPr/>
              </p:nvGrpSpPr>
              <p:grpSpPr>
                <a:xfrm>
                  <a:off x="5603461" y="3338703"/>
                  <a:ext cx="75628" cy="75628"/>
                  <a:chOff x="5603461" y="3338703"/>
                  <a:chExt cx="75628" cy="75628"/>
                </a:xfrm>
              </p:grpSpPr>
              <p:sp>
                <p:nvSpPr>
                  <p:cNvPr id="13345" name="Freeform: Shape 13344">
                    <a:extLst>
                      <a:ext uri="{FF2B5EF4-FFF2-40B4-BE49-F238E27FC236}">
                        <a16:creationId xmlns:a16="http://schemas.microsoft.com/office/drawing/2014/main" id="{5923F240-59C8-19B0-3640-7DDCC6E8782A}"/>
                      </a:ext>
                    </a:extLst>
                  </p:cNvPr>
                  <p:cNvSpPr/>
                  <p:nvPr/>
                </p:nvSpPr>
                <p:spPr>
                  <a:xfrm>
                    <a:off x="5641276" y="333870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6" name="Freeform: Shape 13345">
                    <a:extLst>
                      <a:ext uri="{FF2B5EF4-FFF2-40B4-BE49-F238E27FC236}">
                        <a16:creationId xmlns:a16="http://schemas.microsoft.com/office/drawing/2014/main" id="{5914B403-F88C-AFAC-ABF0-4729BDCCEBF7}"/>
                      </a:ext>
                    </a:extLst>
                  </p:cNvPr>
                  <p:cNvSpPr/>
                  <p:nvPr/>
                </p:nvSpPr>
                <p:spPr>
                  <a:xfrm>
                    <a:off x="5603461" y="33765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3" name="Graphic 1393">
                  <a:extLst>
                    <a:ext uri="{FF2B5EF4-FFF2-40B4-BE49-F238E27FC236}">
                      <a16:creationId xmlns:a16="http://schemas.microsoft.com/office/drawing/2014/main" id="{B79F0339-92A8-8E54-4EC6-8390BEB953EB}"/>
                    </a:ext>
                  </a:extLst>
                </p:cNvPr>
                <p:cNvGrpSpPr/>
                <p:nvPr/>
              </p:nvGrpSpPr>
              <p:grpSpPr>
                <a:xfrm>
                  <a:off x="5600985" y="3383946"/>
                  <a:ext cx="75723" cy="75628"/>
                  <a:chOff x="5600985" y="3383946"/>
                  <a:chExt cx="75723" cy="75628"/>
                </a:xfrm>
              </p:grpSpPr>
              <p:sp>
                <p:nvSpPr>
                  <p:cNvPr id="13343" name="Freeform: Shape 13342">
                    <a:extLst>
                      <a:ext uri="{FF2B5EF4-FFF2-40B4-BE49-F238E27FC236}">
                        <a16:creationId xmlns:a16="http://schemas.microsoft.com/office/drawing/2014/main" id="{686BBF79-3F3F-FA0C-343D-231E05B12327}"/>
                      </a:ext>
                    </a:extLst>
                  </p:cNvPr>
                  <p:cNvSpPr/>
                  <p:nvPr/>
                </p:nvSpPr>
                <p:spPr>
                  <a:xfrm>
                    <a:off x="5638894" y="338394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4" name="Freeform: Shape 13343">
                    <a:extLst>
                      <a:ext uri="{FF2B5EF4-FFF2-40B4-BE49-F238E27FC236}">
                        <a16:creationId xmlns:a16="http://schemas.microsoft.com/office/drawing/2014/main" id="{065185D1-0045-54D4-AD76-334A47780A74}"/>
                      </a:ext>
                    </a:extLst>
                  </p:cNvPr>
                  <p:cNvSpPr/>
                  <p:nvPr/>
                </p:nvSpPr>
                <p:spPr>
                  <a:xfrm>
                    <a:off x="5600985" y="34217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4" name="Graphic 1393">
                  <a:extLst>
                    <a:ext uri="{FF2B5EF4-FFF2-40B4-BE49-F238E27FC236}">
                      <a16:creationId xmlns:a16="http://schemas.microsoft.com/office/drawing/2014/main" id="{96B8C1F6-1683-3B5D-4BB0-EEE99E9B0916}"/>
                    </a:ext>
                  </a:extLst>
                </p:cNvPr>
                <p:cNvGrpSpPr/>
                <p:nvPr/>
              </p:nvGrpSpPr>
              <p:grpSpPr>
                <a:xfrm>
                  <a:off x="5611367" y="3391281"/>
                  <a:ext cx="75628" cy="75628"/>
                  <a:chOff x="5611367" y="3391281"/>
                  <a:chExt cx="75628" cy="75628"/>
                </a:xfrm>
              </p:grpSpPr>
              <p:sp>
                <p:nvSpPr>
                  <p:cNvPr id="13341" name="Freeform: Shape 13340">
                    <a:extLst>
                      <a:ext uri="{FF2B5EF4-FFF2-40B4-BE49-F238E27FC236}">
                        <a16:creationId xmlns:a16="http://schemas.microsoft.com/office/drawing/2014/main" id="{150E1C56-B366-7BD5-D1F0-5346F3ED504A}"/>
                      </a:ext>
                    </a:extLst>
                  </p:cNvPr>
                  <p:cNvSpPr/>
                  <p:nvPr/>
                </p:nvSpPr>
                <p:spPr>
                  <a:xfrm>
                    <a:off x="5649181" y="33912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2" name="Freeform: Shape 13341">
                    <a:extLst>
                      <a:ext uri="{FF2B5EF4-FFF2-40B4-BE49-F238E27FC236}">
                        <a16:creationId xmlns:a16="http://schemas.microsoft.com/office/drawing/2014/main" id="{6F807E78-B1EF-78F5-68EA-08B2775798D0}"/>
                      </a:ext>
                    </a:extLst>
                  </p:cNvPr>
                  <p:cNvSpPr/>
                  <p:nvPr/>
                </p:nvSpPr>
                <p:spPr>
                  <a:xfrm>
                    <a:off x="5611367" y="342909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5" name="Graphic 1393">
                  <a:extLst>
                    <a:ext uri="{FF2B5EF4-FFF2-40B4-BE49-F238E27FC236}">
                      <a16:creationId xmlns:a16="http://schemas.microsoft.com/office/drawing/2014/main" id="{2855D71A-77B5-7A1A-E258-897BC6D732A5}"/>
                    </a:ext>
                  </a:extLst>
                </p:cNvPr>
                <p:cNvGrpSpPr/>
                <p:nvPr/>
              </p:nvGrpSpPr>
              <p:grpSpPr>
                <a:xfrm>
                  <a:off x="5621368" y="3398805"/>
                  <a:ext cx="75723" cy="75723"/>
                  <a:chOff x="5621368" y="3398805"/>
                  <a:chExt cx="75723" cy="75723"/>
                </a:xfrm>
              </p:grpSpPr>
              <p:sp>
                <p:nvSpPr>
                  <p:cNvPr id="13339" name="Freeform: Shape 13338">
                    <a:extLst>
                      <a:ext uri="{FF2B5EF4-FFF2-40B4-BE49-F238E27FC236}">
                        <a16:creationId xmlns:a16="http://schemas.microsoft.com/office/drawing/2014/main" id="{E81901ED-DA6C-79F6-38E9-E221E704E677}"/>
                      </a:ext>
                    </a:extLst>
                  </p:cNvPr>
                  <p:cNvSpPr/>
                  <p:nvPr/>
                </p:nvSpPr>
                <p:spPr>
                  <a:xfrm>
                    <a:off x="5659183" y="33988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40" name="Freeform: Shape 13339">
                    <a:extLst>
                      <a:ext uri="{FF2B5EF4-FFF2-40B4-BE49-F238E27FC236}">
                        <a16:creationId xmlns:a16="http://schemas.microsoft.com/office/drawing/2014/main" id="{9C7D2197-0484-FC6B-3CE4-C26A263FCAD3}"/>
                      </a:ext>
                    </a:extLst>
                  </p:cNvPr>
                  <p:cNvSpPr/>
                  <p:nvPr/>
                </p:nvSpPr>
                <p:spPr>
                  <a:xfrm>
                    <a:off x="5621368" y="3436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6" name="Graphic 1393">
                  <a:extLst>
                    <a:ext uri="{FF2B5EF4-FFF2-40B4-BE49-F238E27FC236}">
                      <a16:creationId xmlns:a16="http://schemas.microsoft.com/office/drawing/2014/main" id="{668FD73F-E8FB-9777-79DF-BFCB589AF1E2}"/>
                    </a:ext>
                  </a:extLst>
                </p:cNvPr>
                <p:cNvGrpSpPr/>
                <p:nvPr/>
              </p:nvGrpSpPr>
              <p:grpSpPr>
                <a:xfrm>
                  <a:off x="5633179" y="3404235"/>
                  <a:ext cx="75723" cy="75723"/>
                  <a:chOff x="5633179" y="3404235"/>
                  <a:chExt cx="75723" cy="75723"/>
                </a:xfrm>
              </p:grpSpPr>
              <p:sp>
                <p:nvSpPr>
                  <p:cNvPr id="13337" name="Freeform: Shape 13336">
                    <a:extLst>
                      <a:ext uri="{FF2B5EF4-FFF2-40B4-BE49-F238E27FC236}">
                        <a16:creationId xmlns:a16="http://schemas.microsoft.com/office/drawing/2014/main" id="{C291A674-3740-442B-35EC-B8D5F2571952}"/>
                      </a:ext>
                    </a:extLst>
                  </p:cNvPr>
                  <p:cNvSpPr/>
                  <p:nvPr/>
                </p:nvSpPr>
                <p:spPr>
                  <a:xfrm>
                    <a:off x="5671089" y="340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8" name="Freeform: Shape 13337">
                    <a:extLst>
                      <a:ext uri="{FF2B5EF4-FFF2-40B4-BE49-F238E27FC236}">
                        <a16:creationId xmlns:a16="http://schemas.microsoft.com/office/drawing/2014/main" id="{C23A96AE-D6E2-111B-7FD3-D03DD8D761DB}"/>
                      </a:ext>
                    </a:extLst>
                  </p:cNvPr>
                  <p:cNvSpPr/>
                  <p:nvPr/>
                </p:nvSpPr>
                <p:spPr>
                  <a:xfrm>
                    <a:off x="5633179" y="344214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7" name="Graphic 1393">
                  <a:extLst>
                    <a:ext uri="{FF2B5EF4-FFF2-40B4-BE49-F238E27FC236}">
                      <a16:creationId xmlns:a16="http://schemas.microsoft.com/office/drawing/2014/main" id="{4EC1E441-E5F2-B2D4-19F3-551C5257F52F}"/>
                    </a:ext>
                  </a:extLst>
                </p:cNvPr>
                <p:cNvGrpSpPr/>
                <p:nvPr/>
              </p:nvGrpSpPr>
              <p:grpSpPr>
                <a:xfrm>
                  <a:off x="5642990" y="3418046"/>
                  <a:ext cx="75628" cy="75723"/>
                  <a:chOff x="5642990" y="3418046"/>
                  <a:chExt cx="75628" cy="75723"/>
                </a:xfrm>
              </p:grpSpPr>
              <p:sp>
                <p:nvSpPr>
                  <p:cNvPr id="13335" name="Freeform: Shape 13334">
                    <a:extLst>
                      <a:ext uri="{FF2B5EF4-FFF2-40B4-BE49-F238E27FC236}">
                        <a16:creationId xmlns:a16="http://schemas.microsoft.com/office/drawing/2014/main" id="{636DEA05-F893-2F84-D002-B1C23BF3EE29}"/>
                      </a:ext>
                    </a:extLst>
                  </p:cNvPr>
                  <p:cNvSpPr/>
                  <p:nvPr/>
                </p:nvSpPr>
                <p:spPr>
                  <a:xfrm>
                    <a:off x="5680804" y="34180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6" name="Freeform: Shape 13335">
                    <a:extLst>
                      <a:ext uri="{FF2B5EF4-FFF2-40B4-BE49-F238E27FC236}">
                        <a16:creationId xmlns:a16="http://schemas.microsoft.com/office/drawing/2014/main" id="{B2E77246-B149-F4E0-EB97-97A0584BDD7A}"/>
                      </a:ext>
                    </a:extLst>
                  </p:cNvPr>
                  <p:cNvSpPr/>
                  <p:nvPr/>
                </p:nvSpPr>
                <p:spPr>
                  <a:xfrm>
                    <a:off x="5642990" y="34558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8" name="Graphic 1393">
                  <a:extLst>
                    <a:ext uri="{FF2B5EF4-FFF2-40B4-BE49-F238E27FC236}">
                      <a16:creationId xmlns:a16="http://schemas.microsoft.com/office/drawing/2014/main" id="{B4718F8B-08BC-6DA6-F2E8-70131DD98387}"/>
                    </a:ext>
                  </a:extLst>
                </p:cNvPr>
                <p:cNvGrpSpPr/>
                <p:nvPr/>
              </p:nvGrpSpPr>
              <p:grpSpPr>
                <a:xfrm>
                  <a:off x="6005131" y="3484721"/>
                  <a:ext cx="75723" cy="75723"/>
                  <a:chOff x="6005131" y="3484721"/>
                  <a:chExt cx="75723" cy="75723"/>
                </a:xfrm>
              </p:grpSpPr>
              <p:sp>
                <p:nvSpPr>
                  <p:cNvPr id="13333" name="Freeform: Shape 13332">
                    <a:extLst>
                      <a:ext uri="{FF2B5EF4-FFF2-40B4-BE49-F238E27FC236}">
                        <a16:creationId xmlns:a16="http://schemas.microsoft.com/office/drawing/2014/main" id="{D866DA54-0D0B-1EDC-2A94-8726ADA9B8B0}"/>
                      </a:ext>
                    </a:extLst>
                  </p:cNvPr>
                  <p:cNvSpPr/>
                  <p:nvPr/>
                </p:nvSpPr>
                <p:spPr>
                  <a:xfrm>
                    <a:off x="6043040"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4" name="Freeform: Shape 13333">
                    <a:extLst>
                      <a:ext uri="{FF2B5EF4-FFF2-40B4-BE49-F238E27FC236}">
                        <a16:creationId xmlns:a16="http://schemas.microsoft.com/office/drawing/2014/main" id="{09E7FF2E-86FC-E1C1-DAA5-FD7CD473DE20}"/>
                      </a:ext>
                    </a:extLst>
                  </p:cNvPr>
                  <p:cNvSpPr/>
                  <p:nvPr/>
                </p:nvSpPr>
                <p:spPr>
                  <a:xfrm>
                    <a:off x="6005131" y="35225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79" name="Graphic 1393">
                  <a:extLst>
                    <a:ext uri="{FF2B5EF4-FFF2-40B4-BE49-F238E27FC236}">
                      <a16:creationId xmlns:a16="http://schemas.microsoft.com/office/drawing/2014/main" id="{76E22E5F-D114-993C-964F-A61FA29B66AC}"/>
                    </a:ext>
                  </a:extLst>
                </p:cNvPr>
                <p:cNvGrpSpPr/>
                <p:nvPr/>
              </p:nvGrpSpPr>
              <p:grpSpPr>
                <a:xfrm>
                  <a:off x="6021609" y="3484721"/>
                  <a:ext cx="75628" cy="75723"/>
                  <a:chOff x="6021609" y="3484721"/>
                  <a:chExt cx="75628" cy="75723"/>
                </a:xfrm>
              </p:grpSpPr>
              <p:sp>
                <p:nvSpPr>
                  <p:cNvPr id="13331" name="Freeform: Shape 13330">
                    <a:extLst>
                      <a:ext uri="{FF2B5EF4-FFF2-40B4-BE49-F238E27FC236}">
                        <a16:creationId xmlns:a16="http://schemas.microsoft.com/office/drawing/2014/main" id="{2B8EC33D-0CFE-CCC6-CCB9-E0C68C15B654}"/>
                      </a:ext>
                    </a:extLst>
                  </p:cNvPr>
                  <p:cNvSpPr/>
                  <p:nvPr/>
                </p:nvSpPr>
                <p:spPr>
                  <a:xfrm>
                    <a:off x="6059423" y="34847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2" name="Freeform: Shape 13331">
                    <a:extLst>
                      <a:ext uri="{FF2B5EF4-FFF2-40B4-BE49-F238E27FC236}">
                        <a16:creationId xmlns:a16="http://schemas.microsoft.com/office/drawing/2014/main" id="{A8246F61-D310-9CE8-0FA0-2EF4CE9678C0}"/>
                      </a:ext>
                    </a:extLst>
                  </p:cNvPr>
                  <p:cNvSpPr/>
                  <p:nvPr/>
                </p:nvSpPr>
                <p:spPr>
                  <a:xfrm>
                    <a:off x="6021609" y="35225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0" name="Graphic 1393">
                  <a:extLst>
                    <a:ext uri="{FF2B5EF4-FFF2-40B4-BE49-F238E27FC236}">
                      <a16:creationId xmlns:a16="http://schemas.microsoft.com/office/drawing/2014/main" id="{112A472F-8E79-708C-40E2-31D6FB039E7B}"/>
                    </a:ext>
                  </a:extLst>
                </p:cNvPr>
                <p:cNvGrpSpPr/>
                <p:nvPr/>
              </p:nvGrpSpPr>
              <p:grpSpPr>
                <a:xfrm>
                  <a:off x="6029229" y="3535299"/>
                  <a:ext cx="75723" cy="75723"/>
                  <a:chOff x="6029229" y="3535299"/>
                  <a:chExt cx="75723" cy="75723"/>
                </a:xfrm>
              </p:grpSpPr>
              <p:sp>
                <p:nvSpPr>
                  <p:cNvPr id="13329" name="Freeform: Shape 13328">
                    <a:extLst>
                      <a:ext uri="{FF2B5EF4-FFF2-40B4-BE49-F238E27FC236}">
                        <a16:creationId xmlns:a16="http://schemas.microsoft.com/office/drawing/2014/main" id="{BDD98825-15FD-90D6-E631-A95352345B9C}"/>
                      </a:ext>
                    </a:extLst>
                  </p:cNvPr>
                  <p:cNvSpPr/>
                  <p:nvPr/>
                </p:nvSpPr>
                <p:spPr>
                  <a:xfrm>
                    <a:off x="6067043" y="3535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30" name="Freeform: Shape 13329">
                    <a:extLst>
                      <a:ext uri="{FF2B5EF4-FFF2-40B4-BE49-F238E27FC236}">
                        <a16:creationId xmlns:a16="http://schemas.microsoft.com/office/drawing/2014/main" id="{FDFDA24F-87C3-A1A3-11A0-0C5C842A58C0}"/>
                      </a:ext>
                    </a:extLst>
                  </p:cNvPr>
                  <p:cNvSpPr/>
                  <p:nvPr/>
                </p:nvSpPr>
                <p:spPr>
                  <a:xfrm>
                    <a:off x="6029229" y="35731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1" name="Graphic 1393">
                  <a:extLst>
                    <a:ext uri="{FF2B5EF4-FFF2-40B4-BE49-F238E27FC236}">
                      <a16:creationId xmlns:a16="http://schemas.microsoft.com/office/drawing/2014/main" id="{50B0AF74-87B0-3CCA-211B-A3F7853EA400}"/>
                    </a:ext>
                  </a:extLst>
                </p:cNvPr>
                <p:cNvGrpSpPr/>
                <p:nvPr/>
              </p:nvGrpSpPr>
              <p:grpSpPr>
                <a:xfrm>
                  <a:off x="6034658" y="3551015"/>
                  <a:ext cx="75723" cy="75723"/>
                  <a:chOff x="6034658" y="3551015"/>
                  <a:chExt cx="75723" cy="75723"/>
                </a:xfrm>
              </p:grpSpPr>
              <p:sp>
                <p:nvSpPr>
                  <p:cNvPr id="13327" name="Freeform: Shape 13326">
                    <a:extLst>
                      <a:ext uri="{FF2B5EF4-FFF2-40B4-BE49-F238E27FC236}">
                        <a16:creationId xmlns:a16="http://schemas.microsoft.com/office/drawing/2014/main" id="{A0F4D3FB-0C6E-188B-9F84-3EA29E3A6F7D}"/>
                      </a:ext>
                    </a:extLst>
                  </p:cNvPr>
                  <p:cNvSpPr/>
                  <p:nvPr/>
                </p:nvSpPr>
                <p:spPr>
                  <a:xfrm>
                    <a:off x="6072568"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8" name="Freeform: Shape 13327">
                    <a:extLst>
                      <a:ext uri="{FF2B5EF4-FFF2-40B4-BE49-F238E27FC236}">
                        <a16:creationId xmlns:a16="http://schemas.microsoft.com/office/drawing/2014/main" id="{D42901D7-7193-3026-393D-B1407EF57AD0}"/>
                      </a:ext>
                    </a:extLst>
                  </p:cNvPr>
                  <p:cNvSpPr/>
                  <p:nvPr/>
                </p:nvSpPr>
                <p:spPr>
                  <a:xfrm>
                    <a:off x="6034658"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2" name="Graphic 1393">
                  <a:extLst>
                    <a:ext uri="{FF2B5EF4-FFF2-40B4-BE49-F238E27FC236}">
                      <a16:creationId xmlns:a16="http://schemas.microsoft.com/office/drawing/2014/main" id="{72CE182B-87E6-4335-4BDF-B65F06E73CCA}"/>
                    </a:ext>
                  </a:extLst>
                </p:cNvPr>
                <p:cNvGrpSpPr/>
                <p:nvPr/>
              </p:nvGrpSpPr>
              <p:grpSpPr>
                <a:xfrm>
                  <a:off x="6041040" y="3551015"/>
                  <a:ext cx="75723" cy="75723"/>
                  <a:chOff x="6041040" y="3551015"/>
                  <a:chExt cx="75723" cy="75723"/>
                </a:xfrm>
              </p:grpSpPr>
              <p:sp>
                <p:nvSpPr>
                  <p:cNvPr id="13325" name="Freeform: Shape 13324">
                    <a:extLst>
                      <a:ext uri="{FF2B5EF4-FFF2-40B4-BE49-F238E27FC236}">
                        <a16:creationId xmlns:a16="http://schemas.microsoft.com/office/drawing/2014/main" id="{703715CD-7C6D-5974-03FA-2315C6B12B71}"/>
                      </a:ext>
                    </a:extLst>
                  </p:cNvPr>
                  <p:cNvSpPr/>
                  <p:nvPr/>
                </p:nvSpPr>
                <p:spPr>
                  <a:xfrm>
                    <a:off x="6078949" y="35510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6" name="Freeform: Shape 13325">
                    <a:extLst>
                      <a:ext uri="{FF2B5EF4-FFF2-40B4-BE49-F238E27FC236}">
                        <a16:creationId xmlns:a16="http://schemas.microsoft.com/office/drawing/2014/main" id="{3A927208-1EE6-18E2-97EC-13236F1A3903}"/>
                      </a:ext>
                    </a:extLst>
                  </p:cNvPr>
                  <p:cNvSpPr/>
                  <p:nvPr/>
                </p:nvSpPr>
                <p:spPr>
                  <a:xfrm>
                    <a:off x="6041040" y="35888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3" name="Graphic 1393">
                  <a:extLst>
                    <a:ext uri="{FF2B5EF4-FFF2-40B4-BE49-F238E27FC236}">
                      <a16:creationId xmlns:a16="http://schemas.microsoft.com/office/drawing/2014/main" id="{4D6592C5-0663-A6C1-4D2E-6E67B594AAED}"/>
                    </a:ext>
                  </a:extLst>
                </p:cNvPr>
                <p:cNvGrpSpPr/>
                <p:nvPr/>
              </p:nvGrpSpPr>
              <p:grpSpPr>
                <a:xfrm>
                  <a:off x="6060757" y="3598449"/>
                  <a:ext cx="75628" cy="75628"/>
                  <a:chOff x="6060757" y="3598449"/>
                  <a:chExt cx="75628" cy="75628"/>
                </a:xfrm>
              </p:grpSpPr>
              <p:sp>
                <p:nvSpPr>
                  <p:cNvPr id="13323" name="Freeform: Shape 13322">
                    <a:extLst>
                      <a:ext uri="{FF2B5EF4-FFF2-40B4-BE49-F238E27FC236}">
                        <a16:creationId xmlns:a16="http://schemas.microsoft.com/office/drawing/2014/main" id="{09E982CC-B466-BCF3-74A8-AEE89352DF7B}"/>
                      </a:ext>
                    </a:extLst>
                  </p:cNvPr>
                  <p:cNvSpPr/>
                  <p:nvPr/>
                </p:nvSpPr>
                <p:spPr>
                  <a:xfrm>
                    <a:off x="609857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4" name="Freeform: Shape 13323">
                    <a:extLst>
                      <a:ext uri="{FF2B5EF4-FFF2-40B4-BE49-F238E27FC236}">
                        <a16:creationId xmlns:a16="http://schemas.microsoft.com/office/drawing/2014/main" id="{0935AE8A-08B6-0312-E87F-EFC61C7AFC3C}"/>
                      </a:ext>
                    </a:extLst>
                  </p:cNvPr>
                  <p:cNvSpPr/>
                  <p:nvPr/>
                </p:nvSpPr>
                <p:spPr>
                  <a:xfrm>
                    <a:off x="6060757"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4" name="Graphic 1393">
                  <a:extLst>
                    <a:ext uri="{FF2B5EF4-FFF2-40B4-BE49-F238E27FC236}">
                      <a16:creationId xmlns:a16="http://schemas.microsoft.com/office/drawing/2014/main" id="{2B91C4D4-69CF-8BA6-1581-E7BD490CC34C}"/>
                    </a:ext>
                  </a:extLst>
                </p:cNvPr>
                <p:cNvGrpSpPr/>
                <p:nvPr/>
              </p:nvGrpSpPr>
              <p:grpSpPr>
                <a:xfrm>
                  <a:off x="6415087" y="3598449"/>
                  <a:ext cx="75723" cy="75628"/>
                  <a:chOff x="6415087" y="3598449"/>
                  <a:chExt cx="75723" cy="75628"/>
                </a:xfrm>
              </p:grpSpPr>
              <p:sp>
                <p:nvSpPr>
                  <p:cNvPr id="13321" name="Freeform: Shape 13320">
                    <a:extLst>
                      <a:ext uri="{FF2B5EF4-FFF2-40B4-BE49-F238E27FC236}">
                        <a16:creationId xmlns:a16="http://schemas.microsoft.com/office/drawing/2014/main" id="{C635CAE1-F516-1973-7C13-7103BF9E907B}"/>
                      </a:ext>
                    </a:extLst>
                  </p:cNvPr>
                  <p:cNvSpPr/>
                  <p:nvPr/>
                </p:nvSpPr>
                <p:spPr>
                  <a:xfrm>
                    <a:off x="6452901"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2" name="Freeform: Shape 13321">
                    <a:extLst>
                      <a:ext uri="{FF2B5EF4-FFF2-40B4-BE49-F238E27FC236}">
                        <a16:creationId xmlns:a16="http://schemas.microsoft.com/office/drawing/2014/main" id="{2FD77AB2-5C02-DCCD-4759-790A0B681679}"/>
                      </a:ext>
                    </a:extLst>
                  </p:cNvPr>
                  <p:cNvSpPr/>
                  <p:nvPr/>
                </p:nvSpPr>
                <p:spPr>
                  <a:xfrm>
                    <a:off x="6415087"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5" name="Graphic 1393">
                  <a:extLst>
                    <a:ext uri="{FF2B5EF4-FFF2-40B4-BE49-F238E27FC236}">
                      <a16:creationId xmlns:a16="http://schemas.microsoft.com/office/drawing/2014/main" id="{59354963-D7F6-F4B9-0D07-D2F37C8F6F29}"/>
                    </a:ext>
                  </a:extLst>
                </p:cNvPr>
                <p:cNvGrpSpPr/>
                <p:nvPr/>
              </p:nvGrpSpPr>
              <p:grpSpPr>
                <a:xfrm>
                  <a:off x="6427469" y="3598449"/>
                  <a:ext cx="75628" cy="75628"/>
                  <a:chOff x="6427469" y="3598449"/>
                  <a:chExt cx="75628" cy="75628"/>
                </a:xfrm>
              </p:grpSpPr>
              <p:sp>
                <p:nvSpPr>
                  <p:cNvPr id="13319" name="Freeform: Shape 13318">
                    <a:extLst>
                      <a:ext uri="{FF2B5EF4-FFF2-40B4-BE49-F238E27FC236}">
                        <a16:creationId xmlns:a16="http://schemas.microsoft.com/office/drawing/2014/main" id="{C70C0CD5-C5A7-9DEE-8B34-D6EA2AA088FD}"/>
                      </a:ext>
                    </a:extLst>
                  </p:cNvPr>
                  <p:cNvSpPr/>
                  <p:nvPr/>
                </p:nvSpPr>
                <p:spPr>
                  <a:xfrm>
                    <a:off x="6465283"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20" name="Freeform: Shape 13319">
                    <a:extLst>
                      <a:ext uri="{FF2B5EF4-FFF2-40B4-BE49-F238E27FC236}">
                        <a16:creationId xmlns:a16="http://schemas.microsoft.com/office/drawing/2014/main" id="{C36DB0BC-9582-7839-CDB0-05BDD4AC09BB}"/>
                      </a:ext>
                    </a:extLst>
                  </p:cNvPr>
                  <p:cNvSpPr/>
                  <p:nvPr/>
                </p:nvSpPr>
                <p:spPr>
                  <a:xfrm>
                    <a:off x="6427469" y="36362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6" name="Graphic 1393">
                  <a:extLst>
                    <a:ext uri="{FF2B5EF4-FFF2-40B4-BE49-F238E27FC236}">
                      <a16:creationId xmlns:a16="http://schemas.microsoft.com/office/drawing/2014/main" id="{04126103-F9AC-4835-B4C5-9B4077B13561}"/>
                    </a:ext>
                  </a:extLst>
                </p:cNvPr>
                <p:cNvGrpSpPr/>
                <p:nvPr/>
              </p:nvGrpSpPr>
              <p:grpSpPr>
                <a:xfrm>
                  <a:off x="6439756" y="3598449"/>
                  <a:ext cx="75723" cy="75628"/>
                  <a:chOff x="6439756" y="3598449"/>
                  <a:chExt cx="75723" cy="75628"/>
                </a:xfrm>
              </p:grpSpPr>
              <p:sp>
                <p:nvSpPr>
                  <p:cNvPr id="13317" name="Freeform: Shape 13316">
                    <a:extLst>
                      <a:ext uri="{FF2B5EF4-FFF2-40B4-BE49-F238E27FC236}">
                        <a16:creationId xmlns:a16="http://schemas.microsoft.com/office/drawing/2014/main" id="{C90D42EA-77FD-6D0F-F96B-B7006C84A854}"/>
                      </a:ext>
                    </a:extLst>
                  </p:cNvPr>
                  <p:cNvSpPr/>
                  <p:nvPr/>
                </p:nvSpPr>
                <p:spPr>
                  <a:xfrm>
                    <a:off x="6477666" y="359844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8" name="Freeform: Shape 13317">
                    <a:extLst>
                      <a:ext uri="{FF2B5EF4-FFF2-40B4-BE49-F238E27FC236}">
                        <a16:creationId xmlns:a16="http://schemas.microsoft.com/office/drawing/2014/main" id="{EEAFF6A8-5A2E-F059-FE90-8B78714379D5}"/>
                      </a:ext>
                    </a:extLst>
                  </p:cNvPr>
                  <p:cNvSpPr/>
                  <p:nvPr/>
                </p:nvSpPr>
                <p:spPr>
                  <a:xfrm>
                    <a:off x="6439756" y="36362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7" name="Graphic 1393">
                  <a:extLst>
                    <a:ext uri="{FF2B5EF4-FFF2-40B4-BE49-F238E27FC236}">
                      <a16:creationId xmlns:a16="http://schemas.microsoft.com/office/drawing/2014/main" id="{A143C6FB-7526-9528-CE65-80D0B07B194C}"/>
                    </a:ext>
                  </a:extLst>
                </p:cNvPr>
                <p:cNvGrpSpPr/>
                <p:nvPr/>
              </p:nvGrpSpPr>
              <p:grpSpPr>
                <a:xfrm>
                  <a:off x="6899528" y="3669220"/>
                  <a:ext cx="75723" cy="75723"/>
                  <a:chOff x="6899528" y="3669220"/>
                  <a:chExt cx="75723" cy="75723"/>
                </a:xfrm>
              </p:grpSpPr>
              <p:sp>
                <p:nvSpPr>
                  <p:cNvPr id="13315" name="Freeform: Shape 13314">
                    <a:extLst>
                      <a:ext uri="{FF2B5EF4-FFF2-40B4-BE49-F238E27FC236}">
                        <a16:creationId xmlns:a16="http://schemas.microsoft.com/office/drawing/2014/main" id="{3BCC51DE-BA99-13BE-F449-17E3E8B16229}"/>
                      </a:ext>
                    </a:extLst>
                  </p:cNvPr>
                  <p:cNvSpPr/>
                  <p:nvPr/>
                </p:nvSpPr>
                <p:spPr>
                  <a:xfrm>
                    <a:off x="693743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6" name="Freeform: Shape 13315">
                    <a:extLst>
                      <a:ext uri="{FF2B5EF4-FFF2-40B4-BE49-F238E27FC236}">
                        <a16:creationId xmlns:a16="http://schemas.microsoft.com/office/drawing/2014/main" id="{D9B55D93-5825-F72D-00AB-718834C9F6EC}"/>
                      </a:ext>
                    </a:extLst>
                  </p:cNvPr>
                  <p:cNvSpPr/>
                  <p:nvPr/>
                </p:nvSpPr>
                <p:spPr>
                  <a:xfrm>
                    <a:off x="6899528"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8" name="Graphic 1393">
                  <a:extLst>
                    <a:ext uri="{FF2B5EF4-FFF2-40B4-BE49-F238E27FC236}">
                      <a16:creationId xmlns:a16="http://schemas.microsoft.com/office/drawing/2014/main" id="{97E6ED1D-748C-5A77-2693-3784D7933AEB}"/>
                    </a:ext>
                  </a:extLst>
                </p:cNvPr>
                <p:cNvGrpSpPr/>
                <p:nvPr/>
              </p:nvGrpSpPr>
              <p:grpSpPr>
                <a:xfrm>
                  <a:off x="6884479" y="3669220"/>
                  <a:ext cx="75723" cy="75723"/>
                  <a:chOff x="6884479" y="3669220"/>
                  <a:chExt cx="75723" cy="75723"/>
                </a:xfrm>
              </p:grpSpPr>
              <p:sp>
                <p:nvSpPr>
                  <p:cNvPr id="13313" name="Freeform: Shape 13312">
                    <a:extLst>
                      <a:ext uri="{FF2B5EF4-FFF2-40B4-BE49-F238E27FC236}">
                        <a16:creationId xmlns:a16="http://schemas.microsoft.com/office/drawing/2014/main" id="{6258988F-F9B2-8DDB-D7A9-6C7A1CEFCE56}"/>
                      </a:ext>
                    </a:extLst>
                  </p:cNvPr>
                  <p:cNvSpPr/>
                  <p:nvPr/>
                </p:nvSpPr>
                <p:spPr>
                  <a:xfrm>
                    <a:off x="6922388"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4" name="Freeform: Shape 13313">
                    <a:extLst>
                      <a:ext uri="{FF2B5EF4-FFF2-40B4-BE49-F238E27FC236}">
                        <a16:creationId xmlns:a16="http://schemas.microsoft.com/office/drawing/2014/main" id="{D4228C09-C90E-1328-65B1-BC1D3F2B47C3}"/>
                      </a:ext>
                    </a:extLst>
                  </p:cNvPr>
                  <p:cNvSpPr/>
                  <p:nvPr/>
                </p:nvSpPr>
                <p:spPr>
                  <a:xfrm>
                    <a:off x="688447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89" name="Graphic 1393">
                  <a:extLst>
                    <a:ext uri="{FF2B5EF4-FFF2-40B4-BE49-F238E27FC236}">
                      <a16:creationId xmlns:a16="http://schemas.microsoft.com/office/drawing/2014/main" id="{76153D13-C15F-1AC6-A3E7-8E6171F92ED8}"/>
                    </a:ext>
                  </a:extLst>
                </p:cNvPr>
                <p:cNvGrpSpPr/>
                <p:nvPr/>
              </p:nvGrpSpPr>
              <p:grpSpPr>
                <a:xfrm>
                  <a:off x="6869429" y="3669220"/>
                  <a:ext cx="75723" cy="75723"/>
                  <a:chOff x="6869429" y="3669220"/>
                  <a:chExt cx="75723" cy="75723"/>
                </a:xfrm>
              </p:grpSpPr>
              <p:sp>
                <p:nvSpPr>
                  <p:cNvPr id="13311" name="Freeform: Shape 13310">
                    <a:extLst>
                      <a:ext uri="{FF2B5EF4-FFF2-40B4-BE49-F238E27FC236}">
                        <a16:creationId xmlns:a16="http://schemas.microsoft.com/office/drawing/2014/main" id="{D22D3E55-7956-EC8F-D1C7-4E050D5FBB8C}"/>
                      </a:ext>
                    </a:extLst>
                  </p:cNvPr>
                  <p:cNvSpPr/>
                  <p:nvPr/>
                </p:nvSpPr>
                <p:spPr>
                  <a:xfrm>
                    <a:off x="690733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2" name="Freeform: Shape 13311">
                    <a:extLst>
                      <a:ext uri="{FF2B5EF4-FFF2-40B4-BE49-F238E27FC236}">
                        <a16:creationId xmlns:a16="http://schemas.microsoft.com/office/drawing/2014/main" id="{CA482989-2869-6F44-5FF0-FA5DE9C0FB02}"/>
                      </a:ext>
                    </a:extLst>
                  </p:cNvPr>
                  <p:cNvSpPr/>
                  <p:nvPr/>
                </p:nvSpPr>
                <p:spPr>
                  <a:xfrm>
                    <a:off x="6869429"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0" name="Graphic 1393">
                  <a:extLst>
                    <a:ext uri="{FF2B5EF4-FFF2-40B4-BE49-F238E27FC236}">
                      <a16:creationId xmlns:a16="http://schemas.microsoft.com/office/drawing/2014/main" id="{4FABF9B8-68BD-004E-AE3E-B16A174C4EA8}"/>
                    </a:ext>
                  </a:extLst>
                </p:cNvPr>
                <p:cNvGrpSpPr/>
                <p:nvPr/>
              </p:nvGrpSpPr>
              <p:grpSpPr>
                <a:xfrm>
                  <a:off x="6854380" y="3669220"/>
                  <a:ext cx="75723" cy="75723"/>
                  <a:chOff x="6854380" y="3669220"/>
                  <a:chExt cx="75723" cy="75723"/>
                </a:xfrm>
              </p:grpSpPr>
              <p:sp>
                <p:nvSpPr>
                  <p:cNvPr id="13309" name="Freeform: Shape 13308">
                    <a:extLst>
                      <a:ext uri="{FF2B5EF4-FFF2-40B4-BE49-F238E27FC236}">
                        <a16:creationId xmlns:a16="http://schemas.microsoft.com/office/drawing/2014/main" id="{7FC712C8-4874-67DE-3426-51D6CE72D78D}"/>
                      </a:ext>
                    </a:extLst>
                  </p:cNvPr>
                  <p:cNvSpPr/>
                  <p:nvPr/>
                </p:nvSpPr>
                <p:spPr>
                  <a:xfrm>
                    <a:off x="6892289" y="36692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10" name="Freeform: Shape 13309">
                    <a:extLst>
                      <a:ext uri="{FF2B5EF4-FFF2-40B4-BE49-F238E27FC236}">
                        <a16:creationId xmlns:a16="http://schemas.microsoft.com/office/drawing/2014/main" id="{552E2E22-AFB4-7772-93D4-2FC770B58F82}"/>
                      </a:ext>
                    </a:extLst>
                  </p:cNvPr>
                  <p:cNvSpPr/>
                  <p:nvPr/>
                </p:nvSpPr>
                <p:spPr>
                  <a:xfrm>
                    <a:off x="6854380" y="370713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1" name="Graphic 1393">
                  <a:extLst>
                    <a:ext uri="{FF2B5EF4-FFF2-40B4-BE49-F238E27FC236}">
                      <a16:creationId xmlns:a16="http://schemas.microsoft.com/office/drawing/2014/main" id="{8ACB6E45-8827-5DE3-7E77-76472926C62F}"/>
                    </a:ext>
                  </a:extLst>
                </p:cNvPr>
                <p:cNvGrpSpPr/>
                <p:nvPr/>
              </p:nvGrpSpPr>
              <p:grpSpPr>
                <a:xfrm>
                  <a:off x="7311103" y="3748659"/>
                  <a:ext cx="75723" cy="75723"/>
                  <a:chOff x="7311103" y="3748659"/>
                  <a:chExt cx="75723" cy="75723"/>
                </a:xfrm>
              </p:grpSpPr>
              <p:sp>
                <p:nvSpPr>
                  <p:cNvPr id="13307" name="Freeform: Shape 13306">
                    <a:extLst>
                      <a:ext uri="{FF2B5EF4-FFF2-40B4-BE49-F238E27FC236}">
                        <a16:creationId xmlns:a16="http://schemas.microsoft.com/office/drawing/2014/main" id="{AA274EA2-E748-61C6-2B6C-1448B838EC02}"/>
                      </a:ext>
                    </a:extLst>
                  </p:cNvPr>
                  <p:cNvSpPr/>
                  <p:nvPr/>
                </p:nvSpPr>
                <p:spPr>
                  <a:xfrm>
                    <a:off x="7349013" y="37486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8" name="Freeform: Shape 13307">
                    <a:extLst>
                      <a:ext uri="{FF2B5EF4-FFF2-40B4-BE49-F238E27FC236}">
                        <a16:creationId xmlns:a16="http://schemas.microsoft.com/office/drawing/2014/main" id="{DF5E182C-2F85-63B6-55B5-D3C33F219CF7}"/>
                      </a:ext>
                    </a:extLst>
                  </p:cNvPr>
                  <p:cNvSpPr/>
                  <p:nvPr/>
                </p:nvSpPr>
                <p:spPr>
                  <a:xfrm>
                    <a:off x="7311103" y="37864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2" name="Graphic 1393">
                  <a:extLst>
                    <a:ext uri="{FF2B5EF4-FFF2-40B4-BE49-F238E27FC236}">
                      <a16:creationId xmlns:a16="http://schemas.microsoft.com/office/drawing/2014/main" id="{35C23366-2561-13B1-733C-7E22122F84C7}"/>
                    </a:ext>
                  </a:extLst>
                </p:cNvPr>
                <p:cNvGrpSpPr/>
                <p:nvPr/>
              </p:nvGrpSpPr>
              <p:grpSpPr>
                <a:xfrm>
                  <a:off x="7318057" y="3782568"/>
                  <a:ext cx="75723" cy="75628"/>
                  <a:chOff x="7318057" y="3782568"/>
                  <a:chExt cx="75723" cy="75628"/>
                </a:xfrm>
              </p:grpSpPr>
              <p:sp>
                <p:nvSpPr>
                  <p:cNvPr id="13305" name="Freeform: Shape 13304">
                    <a:extLst>
                      <a:ext uri="{FF2B5EF4-FFF2-40B4-BE49-F238E27FC236}">
                        <a16:creationId xmlns:a16="http://schemas.microsoft.com/office/drawing/2014/main" id="{302296CF-37A9-6EEE-FE5B-7EB49B47E8BE}"/>
                      </a:ext>
                    </a:extLst>
                  </p:cNvPr>
                  <p:cNvSpPr/>
                  <p:nvPr/>
                </p:nvSpPr>
                <p:spPr>
                  <a:xfrm>
                    <a:off x="7355966" y="378256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6" name="Freeform: Shape 13305">
                    <a:extLst>
                      <a:ext uri="{FF2B5EF4-FFF2-40B4-BE49-F238E27FC236}">
                        <a16:creationId xmlns:a16="http://schemas.microsoft.com/office/drawing/2014/main" id="{80DA601B-7AF2-2DCD-2B18-91AA2EE78A89}"/>
                      </a:ext>
                    </a:extLst>
                  </p:cNvPr>
                  <p:cNvSpPr/>
                  <p:nvPr/>
                </p:nvSpPr>
                <p:spPr>
                  <a:xfrm>
                    <a:off x="7318057" y="3820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3" name="Graphic 1393">
                  <a:extLst>
                    <a:ext uri="{FF2B5EF4-FFF2-40B4-BE49-F238E27FC236}">
                      <a16:creationId xmlns:a16="http://schemas.microsoft.com/office/drawing/2014/main" id="{F487E464-2113-E526-D420-3138AB4F91AD}"/>
                    </a:ext>
                  </a:extLst>
                </p:cNvPr>
                <p:cNvGrpSpPr/>
                <p:nvPr/>
              </p:nvGrpSpPr>
              <p:grpSpPr>
                <a:xfrm>
                  <a:off x="7338821" y="3813905"/>
                  <a:ext cx="75723" cy="75723"/>
                  <a:chOff x="7338821" y="3813905"/>
                  <a:chExt cx="75723" cy="75723"/>
                </a:xfrm>
              </p:grpSpPr>
              <p:sp>
                <p:nvSpPr>
                  <p:cNvPr id="13303" name="Freeform: Shape 13302">
                    <a:extLst>
                      <a:ext uri="{FF2B5EF4-FFF2-40B4-BE49-F238E27FC236}">
                        <a16:creationId xmlns:a16="http://schemas.microsoft.com/office/drawing/2014/main" id="{44687F54-1B30-77A7-DAB7-03D0CE339595}"/>
                      </a:ext>
                    </a:extLst>
                  </p:cNvPr>
                  <p:cNvSpPr/>
                  <p:nvPr/>
                </p:nvSpPr>
                <p:spPr>
                  <a:xfrm>
                    <a:off x="7376635"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4" name="Freeform: Shape 13303">
                    <a:extLst>
                      <a:ext uri="{FF2B5EF4-FFF2-40B4-BE49-F238E27FC236}">
                        <a16:creationId xmlns:a16="http://schemas.microsoft.com/office/drawing/2014/main" id="{BEFD1942-BD83-ED9C-F02C-ACAEDE24C07A}"/>
                      </a:ext>
                    </a:extLst>
                  </p:cNvPr>
                  <p:cNvSpPr/>
                  <p:nvPr/>
                </p:nvSpPr>
                <p:spPr>
                  <a:xfrm>
                    <a:off x="7338821"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4" name="Graphic 1393">
                  <a:extLst>
                    <a:ext uri="{FF2B5EF4-FFF2-40B4-BE49-F238E27FC236}">
                      <a16:creationId xmlns:a16="http://schemas.microsoft.com/office/drawing/2014/main" id="{E6A5B0CB-8FF8-56F1-DBF6-12A18606031E}"/>
                    </a:ext>
                  </a:extLst>
                </p:cNvPr>
                <p:cNvGrpSpPr/>
                <p:nvPr/>
              </p:nvGrpSpPr>
              <p:grpSpPr>
                <a:xfrm>
                  <a:off x="7322438" y="3813905"/>
                  <a:ext cx="75723" cy="75723"/>
                  <a:chOff x="7322438" y="3813905"/>
                  <a:chExt cx="75723" cy="75723"/>
                </a:xfrm>
              </p:grpSpPr>
              <p:sp>
                <p:nvSpPr>
                  <p:cNvPr id="13301" name="Freeform: Shape 13300">
                    <a:extLst>
                      <a:ext uri="{FF2B5EF4-FFF2-40B4-BE49-F238E27FC236}">
                        <a16:creationId xmlns:a16="http://schemas.microsoft.com/office/drawing/2014/main" id="{2F4D1A3C-3010-FF4C-D08A-8D46E9EA5A46}"/>
                      </a:ext>
                    </a:extLst>
                  </p:cNvPr>
                  <p:cNvSpPr/>
                  <p:nvPr/>
                </p:nvSpPr>
                <p:spPr>
                  <a:xfrm>
                    <a:off x="7360252" y="38139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2" name="Freeform: Shape 13301">
                    <a:extLst>
                      <a:ext uri="{FF2B5EF4-FFF2-40B4-BE49-F238E27FC236}">
                        <a16:creationId xmlns:a16="http://schemas.microsoft.com/office/drawing/2014/main" id="{99064E1B-909B-1072-FC2D-A234D1EA826C}"/>
                      </a:ext>
                    </a:extLst>
                  </p:cNvPr>
                  <p:cNvSpPr/>
                  <p:nvPr/>
                </p:nvSpPr>
                <p:spPr>
                  <a:xfrm>
                    <a:off x="7322438" y="38517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5" name="Graphic 1393">
                  <a:extLst>
                    <a:ext uri="{FF2B5EF4-FFF2-40B4-BE49-F238E27FC236}">
                      <a16:creationId xmlns:a16="http://schemas.microsoft.com/office/drawing/2014/main" id="{34BCB34A-BC9B-3692-AF9A-AFD5F5A041E7}"/>
                    </a:ext>
                  </a:extLst>
                </p:cNvPr>
                <p:cNvGrpSpPr/>
                <p:nvPr/>
              </p:nvGrpSpPr>
              <p:grpSpPr>
                <a:xfrm>
                  <a:off x="7719345" y="3897153"/>
                  <a:ext cx="75628" cy="75723"/>
                  <a:chOff x="7719345" y="3897153"/>
                  <a:chExt cx="75628" cy="75723"/>
                </a:xfrm>
              </p:grpSpPr>
              <p:sp>
                <p:nvSpPr>
                  <p:cNvPr id="13299" name="Freeform: Shape 13298">
                    <a:extLst>
                      <a:ext uri="{FF2B5EF4-FFF2-40B4-BE49-F238E27FC236}">
                        <a16:creationId xmlns:a16="http://schemas.microsoft.com/office/drawing/2014/main" id="{E04A1AB8-DC48-5646-C12B-C9111D78F6B2}"/>
                      </a:ext>
                    </a:extLst>
                  </p:cNvPr>
                  <p:cNvSpPr/>
                  <p:nvPr/>
                </p:nvSpPr>
                <p:spPr>
                  <a:xfrm>
                    <a:off x="7757159" y="3897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00" name="Freeform: Shape 13299">
                    <a:extLst>
                      <a:ext uri="{FF2B5EF4-FFF2-40B4-BE49-F238E27FC236}">
                        <a16:creationId xmlns:a16="http://schemas.microsoft.com/office/drawing/2014/main" id="{CEB01FC8-3EC3-8AED-1D78-51A149B00FB0}"/>
                      </a:ext>
                    </a:extLst>
                  </p:cNvPr>
                  <p:cNvSpPr/>
                  <p:nvPr/>
                </p:nvSpPr>
                <p:spPr>
                  <a:xfrm>
                    <a:off x="7719345" y="393496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296" name="Graphic 1393">
                  <a:extLst>
                    <a:ext uri="{FF2B5EF4-FFF2-40B4-BE49-F238E27FC236}">
                      <a16:creationId xmlns:a16="http://schemas.microsoft.com/office/drawing/2014/main" id="{0BF15DCA-068F-AE64-678D-1A582CE5A1E5}"/>
                    </a:ext>
                  </a:extLst>
                </p:cNvPr>
                <p:cNvGrpSpPr/>
                <p:nvPr/>
              </p:nvGrpSpPr>
              <p:grpSpPr>
                <a:xfrm>
                  <a:off x="8172640" y="3949446"/>
                  <a:ext cx="75628" cy="75723"/>
                  <a:chOff x="8172640" y="3949446"/>
                  <a:chExt cx="75628" cy="75723"/>
                </a:xfrm>
              </p:grpSpPr>
              <p:sp>
                <p:nvSpPr>
                  <p:cNvPr id="13297" name="Freeform: Shape 13296">
                    <a:extLst>
                      <a:ext uri="{FF2B5EF4-FFF2-40B4-BE49-F238E27FC236}">
                        <a16:creationId xmlns:a16="http://schemas.microsoft.com/office/drawing/2014/main" id="{A0D397FB-6CEC-8A58-C14E-9937212409CC}"/>
                      </a:ext>
                    </a:extLst>
                  </p:cNvPr>
                  <p:cNvSpPr/>
                  <p:nvPr/>
                </p:nvSpPr>
                <p:spPr>
                  <a:xfrm>
                    <a:off x="8210454" y="39494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98" name="Freeform: Shape 13297">
                    <a:extLst>
                      <a:ext uri="{FF2B5EF4-FFF2-40B4-BE49-F238E27FC236}">
                        <a16:creationId xmlns:a16="http://schemas.microsoft.com/office/drawing/2014/main" id="{E2E9A762-430C-54D4-9337-81CA87A3C6E5}"/>
                      </a:ext>
                    </a:extLst>
                  </p:cNvPr>
                  <p:cNvSpPr/>
                  <p:nvPr/>
                </p:nvSpPr>
                <p:spPr>
                  <a:xfrm>
                    <a:off x="8172640" y="39872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3187" name="Freeform: Shape 13186">
                <a:extLst>
                  <a:ext uri="{FF2B5EF4-FFF2-40B4-BE49-F238E27FC236}">
                    <a16:creationId xmlns:a16="http://schemas.microsoft.com/office/drawing/2014/main" id="{36E5DB62-0CCE-2A63-87A4-2AA66300ECBA}"/>
                  </a:ext>
                </a:extLst>
              </p:cNvPr>
              <p:cNvSpPr/>
              <p:nvPr/>
            </p:nvSpPr>
            <p:spPr>
              <a:xfrm>
                <a:off x="3500437" y="2424112"/>
                <a:ext cx="5146738" cy="1977008"/>
              </a:xfrm>
              <a:custGeom>
                <a:avLst/>
                <a:gdLst>
                  <a:gd name="connsiteX0" fmla="*/ 5146739 w 5146738"/>
                  <a:gd name="connsiteY0" fmla="*/ 1977009 h 1977008"/>
                  <a:gd name="connsiteX1" fmla="*/ 5134737 w 5146738"/>
                  <a:gd name="connsiteY1" fmla="*/ 1977009 h 1977008"/>
                  <a:gd name="connsiteX2" fmla="*/ 5134737 w 5146738"/>
                  <a:gd name="connsiteY2" fmla="*/ 1563053 h 1977008"/>
                  <a:gd name="connsiteX3" fmla="*/ 4275201 w 5146738"/>
                  <a:gd name="connsiteY3" fmla="*/ 1563053 h 1977008"/>
                  <a:gd name="connsiteX4" fmla="*/ 4275201 w 5146738"/>
                  <a:gd name="connsiteY4" fmla="*/ 1512665 h 1977008"/>
                  <a:gd name="connsiteX5" fmla="*/ 4227767 w 5146738"/>
                  <a:gd name="connsiteY5" fmla="*/ 1512665 h 1977008"/>
                  <a:gd name="connsiteX6" fmla="*/ 4227767 w 5146738"/>
                  <a:gd name="connsiteY6" fmla="*/ 1467898 h 1977008"/>
                  <a:gd name="connsiteX7" fmla="*/ 3961733 w 5146738"/>
                  <a:gd name="connsiteY7" fmla="*/ 1467898 h 1977008"/>
                  <a:gd name="connsiteX8" fmla="*/ 3961733 w 5146738"/>
                  <a:gd name="connsiteY8" fmla="*/ 1430084 h 1977008"/>
                  <a:gd name="connsiteX9" fmla="*/ 3859625 w 5146738"/>
                  <a:gd name="connsiteY9" fmla="*/ 1430084 h 1977008"/>
                  <a:gd name="connsiteX10" fmla="*/ 3859625 w 5146738"/>
                  <a:gd name="connsiteY10" fmla="*/ 1397222 h 1977008"/>
                  <a:gd name="connsiteX11" fmla="*/ 3848576 w 5146738"/>
                  <a:gd name="connsiteY11" fmla="*/ 1397222 h 1977008"/>
                  <a:gd name="connsiteX12" fmla="*/ 3848576 w 5146738"/>
                  <a:gd name="connsiteY12" fmla="*/ 1364361 h 1977008"/>
                  <a:gd name="connsiteX13" fmla="*/ 3748945 w 5146738"/>
                  <a:gd name="connsiteY13" fmla="*/ 1364361 h 1977008"/>
                  <a:gd name="connsiteX14" fmla="*/ 3748945 w 5146738"/>
                  <a:gd name="connsiteY14" fmla="*/ 1340644 h 1977008"/>
                  <a:gd name="connsiteX15" fmla="*/ 3648361 w 5146738"/>
                  <a:gd name="connsiteY15" fmla="*/ 1340644 h 1977008"/>
                  <a:gd name="connsiteX16" fmla="*/ 3648361 w 5146738"/>
                  <a:gd name="connsiteY16" fmla="*/ 1311307 h 1977008"/>
                  <a:gd name="connsiteX17" fmla="*/ 3438906 w 5146738"/>
                  <a:gd name="connsiteY17" fmla="*/ 1311307 h 1977008"/>
                  <a:gd name="connsiteX18" fmla="*/ 3438906 w 5146738"/>
                  <a:gd name="connsiteY18" fmla="*/ 1285399 h 1977008"/>
                  <a:gd name="connsiteX19" fmla="*/ 3334893 w 5146738"/>
                  <a:gd name="connsiteY19" fmla="*/ 1285399 h 1977008"/>
                  <a:gd name="connsiteX20" fmla="*/ 3334893 w 5146738"/>
                  <a:gd name="connsiteY20" fmla="*/ 1262348 h 1977008"/>
                  <a:gd name="connsiteX21" fmla="*/ 2989516 w 5146738"/>
                  <a:gd name="connsiteY21" fmla="*/ 1262348 h 1977008"/>
                  <a:gd name="connsiteX22" fmla="*/ 2989516 w 5146738"/>
                  <a:gd name="connsiteY22" fmla="*/ 1214628 h 1977008"/>
                  <a:gd name="connsiteX23" fmla="*/ 2601373 w 5146738"/>
                  <a:gd name="connsiteY23" fmla="*/ 1214628 h 1977008"/>
                  <a:gd name="connsiteX24" fmla="*/ 2601373 w 5146738"/>
                  <a:gd name="connsiteY24" fmla="*/ 1192340 h 1977008"/>
                  <a:gd name="connsiteX25" fmla="*/ 2586228 w 5146738"/>
                  <a:gd name="connsiteY25" fmla="*/ 1192340 h 1977008"/>
                  <a:gd name="connsiteX26" fmla="*/ 2586228 w 5146738"/>
                  <a:gd name="connsiteY26" fmla="*/ 1170146 h 1977008"/>
                  <a:gd name="connsiteX27" fmla="*/ 2570416 w 5146738"/>
                  <a:gd name="connsiteY27" fmla="*/ 1170146 h 1977008"/>
                  <a:gd name="connsiteX28" fmla="*/ 2570416 w 5146738"/>
                  <a:gd name="connsiteY28" fmla="*/ 1100519 h 1977008"/>
                  <a:gd name="connsiteX29" fmla="*/ 2530888 w 5146738"/>
                  <a:gd name="connsiteY29" fmla="*/ 1100519 h 1977008"/>
                  <a:gd name="connsiteX30" fmla="*/ 2530888 w 5146738"/>
                  <a:gd name="connsiteY30" fmla="*/ 1092327 h 1977008"/>
                  <a:gd name="connsiteX31" fmla="*/ 2480120 w 5146738"/>
                  <a:gd name="connsiteY31" fmla="*/ 1092327 h 1977008"/>
                  <a:gd name="connsiteX32" fmla="*/ 2480120 w 5146738"/>
                  <a:gd name="connsiteY32" fmla="*/ 1077373 h 1977008"/>
                  <a:gd name="connsiteX33" fmla="*/ 2390108 w 5146738"/>
                  <a:gd name="connsiteY33" fmla="*/ 1077373 h 1977008"/>
                  <a:gd name="connsiteX34" fmla="*/ 2390108 w 5146738"/>
                  <a:gd name="connsiteY34" fmla="*/ 1063085 h 1977008"/>
                  <a:gd name="connsiteX35" fmla="*/ 2256949 w 5146738"/>
                  <a:gd name="connsiteY35" fmla="*/ 1063085 h 1977008"/>
                  <a:gd name="connsiteX36" fmla="*/ 2256949 w 5146738"/>
                  <a:gd name="connsiteY36" fmla="*/ 1049084 h 1977008"/>
                  <a:gd name="connsiteX37" fmla="*/ 2232946 w 5146738"/>
                  <a:gd name="connsiteY37" fmla="*/ 1049084 h 1977008"/>
                  <a:gd name="connsiteX38" fmla="*/ 2232946 w 5146738"/>
                  <a:gd name="connsiteY38" fmla="*/ 1034225 h 1977008"/>
                  <a:gd name="connsiteX39" fmla="*/ 2171224 w 5146738"/>
                  <a:gd name="connsiteY39" fmla="*/ 1034225 h 1977008"/>
                  <a:gd name="connsiteX40" fmla="*/ 2171224 w 5146738"/>
                  <a:gd name="connsiteY40" fmla="*/ 1013841 h 1977008"/>
                  <a:gd name="connsiteX41" fmla="*/ 2139315 w 5146738"/>
                  <a:gd name="connsiteY41" fmla="*/ 1013841 h 1977008"/>
                  <a:gd name="connsiteX42" fmla="*/ 2139315 w 5146738"/>
                  <a:gd name="connsiteY42" fmla="*/ 970121 h 1977008"/>
                  <a:gd name="connsiteX43" fmla="*/ 2133219 w 5146738"/>
                  <a:gd name="connsiteY43" fmla="*/ 970121 h 1977008"/>
                  <a:gd name="connsiteX44" fmla="*/ 2133219 w 5146738"/>
                  <a:gd name="connsiteY44" fmla="*/ 957644 h 1977008"/>
                  <a:gd name="connsiteX45" fmla="*/ 2116360 w 5146738"/>
                  <a:gd name="connsiteY45" fmla="*/ 957644 h 1977008"/>
                  <a:gd name="connsiteX46" fmla="*/ 2116360 w 5146738"/>
                  <a:gd name="connsiteY46" fmla="*/ 933926 h 1977008"/>
                  <a:gd name="connsiteX47" fmla="*/ 2031683 w 5146738"/>
                  <a:gd name="connsiteY47" fmla="*/ 933926 h 1977008"/>
                  <a:gd name="connsiteX48" fmla="*/ 2031683 w 5146738"/>
                  <a:gd name="connsiteY48" fmla="*/ 924782 h 1977008"/>
                  <a:gd name="connsiteX49" fmla="*/ 1991297 w 5146738"/>
                  <a:gd name="connsiteY49" fmla="*/ 924782 h 1977008"/>
                  <a:gd name="connsiteX50" fmla="*/ 1991297 w 5146738"/>
                  <a:gd name="connsiteY50" fmla="*/ 915638 h 1977008"/>
                  <a:gd name="connsiteX51" fmla="*/ 1952720 w 5146738"/>
                  <a:gd name="connsiteY51" fmla="*/ 915638 h 1977008"/>
                  <a:gd name="connsiteX52" fmla="*/ 1952720 w 5146738"/>
                  <a:gd name="connsiteY52" fmla="*/ 900208 h 1977008"/>
                  <a:gd name="connsiteX53" fmla="*/ 1934147 w 5146738"/>
                  <a:gd name="connsiteY53" fmla="*/ 900208 h 1977008"/>
                  <a:gd name="connsiteX54" fmla="*/ 1934147 w 5146738"/>
                  <a:gd name="connsiteY54" fmla="*/ 890778 h 1977008"/>
                  <a:gd name="connsiteX55" fmla="*/ 1877282 w 5146738"/>
                  <a:gd name="connsiteY55" fmla="*/ 890778 h 1977008"/>
                  <a:gd name="connsiteX56" fmla="*/ 1877282 w 5146738"/>
                  <a:gd name="connsiteY56" fmla="*/ 881634 h 1977008"/>
                  <a:gd name="connsiteX57" fmla="*/ 1762030 w 5146738"/>
                  <a:gd name="connsiteY57" fmla="*/ 881634 h 1977008"/>
                  <a:gd name="connsiteX58" fmla="*/ 1762030 w 5146738"/>
                  <a:gd name="connsiteY58" fmla="*/ 869728 h 1977008"/>
                  <a:gd name="connsiteX59" fmla="*/ 1735360 w 5146738"/>
                  <a:gd name="connsiteY59" fmla="*/ 869728 h 1977008"/>
                  <a:gd name="connsiteX60" fmla="*/ 1735360 w 5146738"/>
                  <a:gd name="connsiteY60" fmla="*/ 850963 h 1977008"/>
                  <a:gd name="connsiteX61" fmla="*/ 1710404 w 5146738"/>
                  <a:gd name="connsiteY61" fmla="*/ 850963 h 1977008"/>
                  <a:gd name="connsiteX62" fmla="*/ 1710404 w 5146738"/>
                  <a:gd name="connsiteY62" fmla="*/ 823246 h 1977008"/>
                  <a:gd name="connsiteX63" fmla="*/ 1700689 w 5146738"/>
                  <a:gd name="connsiteY63" fmla="*/ 823246 h 1977008"/>
                  <a:gd name="connsiteX64" fmla="*/ 1700689 w 5146738"/>
                  <a:gd name="connsiteY64" fmla="*/ 785527 h 1977008"/>
                  <a:gd name="connsiteX65" fmla="*/ 1683925 w 5146738"/>
                  <a:gd name="connsiteY65" fmla="*/ 785527 h 1977008"/>
                  <a:gd name="connsiteX66" fmla="*/ 1683925 w 5146738"/>
                  <a:gd name="connsiteY66" fmla="*/ 767048 h 1977008"/>
                  <a:gd name="connsiteX67" fmla="*/ 1616488 w 5146738"/>
                  <a:gd name="connsiteY67" fmla="*/ 767048 h 1977008"/>
                  <a:gd name="connsiteX68" fmla="*/ 1616488 w 5146738"/>
                  <a:gd name="connsiteY68" fmla="*/ 756380 h 1977008"/>
                  <a:gd name="connsiteX69" fmla="*/ 1501521 w 5146738"/>
                  <a:gd name="connsiteY69" fmla="*/ 756380 h 1977008"/>
                  <a:gd name="connsiteX70" fmla="*/ 1501521 w 5146738"/>
                  <a:gd name="connsiteY70" fmla="*/ 747236 h 1977008"/>
                  <a:gd name="connsiteX71" fmla="*/ 1450181 w 5146738"/>
                  <a:gd name="connsiteY71" fmla="*/ 747236 h 1977008"/>
                  <a:gd name="connsiteX72" fmla="*/ 1450181 w 5146738"/>
                  <a:gd name="connsiteY72" fmla="*/ 738092 h 1977008"/>
                  <a:gd name="connsiteX73" fmla="*/ 1425893 w 5146738"/>
                  <a:gd name="connsiteY73" fmla="*/ 738092 h 1977008"/>
                  <a:gd name="connsiteX74" fmla="*/ 1425893 w 5146738"/>
                  <a:gd name="connsiteY74" fmla="*/ 728948 h 1977008"/>
                  <a:gd name="connsiteX75" fmla="*/ 1416463 w 5146738"/>
                  <a:gd name="connsiteY75" fmla="*/ 728948 h 1977008"/>
                  <a:gd name="connsiteX76" fmla="*/ 1416463 w 5146738"/>
                  <a:gd name="connsiteY76" fmla="*/ 719423 h 1977008"/>
                  <a:gd name="connsiteX77" fmla="*/ 1402175 w 5146738"/>
                  <a:gd name="connsiteY77" fmla="*/ 719423 h 1977008"/>
                  <a:gd name="connsiteX78" fmla="*/ 1402175 w 5146738"/>
                  <a:gd name="connsiteY78" fmla="*/ 708660 h 1977008"/>
                  <a:gd name="connsiteX79" fmla="*/ 1378744 w 5146738"/>
                  <a:gd name="connsiteY79" fmla="*/ 708660 h 1977008"/>
                  <a:gd name="connsiteX80" fmla="*/ 1378744 w 5146738"/>
                  <a:gd name="connsiteY80" fmla="*/ 700183 h 1977008"/>
                  <a:gd name="connsiteX81" fmla="*/ 1307973 w 5146738"/>
                  <a:gd name="connsiteY81" fmla="*/ 700183 h 1977008"/>
                  <a:gd name="connsiteX82" fmla="*/ 1307973 w 5146738"/>
                  <a:gd name="connsiteY82" fmla="*/ 676085 h 1977008"/>
                  <a:gd name="connsiteX83" fmla="*/ 1294829 w 5146738"/>
                  <a:gd name="connsiteY83" fmla="*/ 676085 h 1977008"/>
                  <a:gd name="connsiteX84" fmla="*/ 1294829 w 5146738"/>
                  <a:gd name="connsiteY84" fmla="*/ 653034 h 1977008"/>
                  <a:gd name="connsiteX85" fmla="*/ 1282732 w 5146738"/>
                  <a:gd name="connsiteY85" fmla="*/ 653034 h 1977008"/>
                  <a:gd name="connsiteX86" fmla="*/ 1282732 w 5146738"/>
                  <a:gd name="connsiteY86" fmla="*/ 613791 h 1977008"/>
                  <a:gd name="connsiteX87" fmla="*/ 1270159 w 5146738"/>
                  <a:gd name="connsiteY87" fmla="*/ 613791 h 1977008"/>
                  <a:gd name="connsiteX88" fmla="*/ 1270159 w 5146738"/>
                  <a:gd name="connsiteY88" fmla="*/ 591598 h 1977008"/>
                  <a:gd name="connsiteX89" fmla="*/ 1263015 w 5146738"/>
                  <a:gd name="connsiteY89" fmla="*/ 591598 h 1977008"/>
                  <a:gd name="connsiteX90" fmla="*/ 1263015 w 5146738"/>
                  <a:gd name="connsiteY90" fmla="*/ 574929 h 1977008"/>
                  <a:gd name="connsiteX91" fmla="*/ 1259014 w 5146738"/>
                  <a:gd name="connsiteY91" fmla="*/ 574929 h 1977008"/>
                  <a:gd name="connsiteX92" fmla="*/ 1259014 w 5146738"/>
                  <a:gd name="connsiteY92" fmla="*/ 542068 h 1977008"/>
                  <a:gd name="connsiteX93" fmla="*/ 1254538 w 5146738"/>
                  <a:gd name="connsiteY93" fmla="*/ 542068 h 1977008"/>
                  <a:gd name="connsiteX94" fmla="*/ 1254538 w 5146738"/>
                  <a:gd name="connsiteY94" fmla="*/ 517779 h 1977008"/>
                  <a:gd name="connsiteX95" fmla="*/ 1241679 w 5146738"/>
                  <a:gd name="connsiteY95" fmla="*/ 517779 h 1977008"/>
                  <a:gd name="connsiteX96" fmla="*/ 1241679 w 5146738"/>
                  <a:gd name="connsiteY96" fmla="*/ 493109 h 1977008"/>
                  <a:gd name="connsiteX97" fmla="*/ 1232345 w 5146738"/>
                  <a:gd name="connsiteY97" fmla="*/ 493109 h 1977008"/>
                  <a:gd name="connsiteX98" fmla="*/ 1232345 w 5146738"/>
                  <a:gd name="connsiteY98" fmla="*/ 473964 h 1977008"/>
                  <a:gd name="connsiteX99" fmla="*/ 1201198 w 5146738"/>
                  <a:gd name="connsiteY99" fmla="*/ 473964 h 1977008"/>
                  <a:gd name="connsiteX100" fmla="*/ 1201198 w 5146738"/>
                  <a:gd name="connsiteY100" fmla="*/ 461200 h 1977008"/>
                  <a:gd name="connsiteX101" fmla="*/ 1189958 w 5146738"/>
                  <a:gd name="connsiteY101" fmla="*/ 461200 h 1977008"/>
                  <a:gd name="connsiteX102" fmla="*/ 1189958 w 5146738"/>
                  <a:gd name="connsiteY102" fmla="*/ 451771 h 1977008"/>
                  <a:gd name="connsiteX103" fmla="*/ 1168718 w 5146738"/>
                  <a:gd name="connsiteY103" fmla="*/ 451771 h 1977008"/>
                  <a:gd name="connsiteX104" fmla="*/ 1168718 w 5146738"/>
                  <a:gd name="connsiteY104" fmla="*/ 442627 h 1977008"/>
                  <a:gd name="connsiteX105" fmla="*/ 1164717 w 5146738"/>
                  <a:gd name="connsiteY105" fmla="*/ 442627 h 1977008"/>
                  <a:gd name="connsiteX106" fmla="*/ 1164717 w 5146738"/>
                  <a:gd name="connsiteY106" fmla="*/ 432054 h 1977008"/>
                  <a:gd name="connsiteX107" fmla="*/ 1124617 w 5146738"/>
                  <a:gd name="connsiteY107" fmla="*/ 432054 h 1977008"/>
                  <a:gd name="connsiteX108" fmla="*/ 1124617 w 5146738"/>
                  <a:gd name="connsiteY108" fmla="*/ 421958 h 1977008"/>
                  <a:gd name="connsiteX109" fmla="*/ 1098804 w 5146738"/>
                  <a:gd name="connsiteY109" fmla="*/ 421958 h 1977008"/>
                  <a:gd name="connsiteX110" fmla="*/ 1098804 w 5146738"/>
                  <a:gd name="connsiteY110" fmla="*/ 418052 h 1977008"/>
                  <a:gd name="connsiteX111" fmla="*/ 952214 w 5146738"/>
                  <a:gd name="connsiteY111" fmla="*/ 418052 h 1977008"/>
                  <a:gd name="connsiteX112" fmla="*/ 952214 w 5146738"/>
                  <a:gd name="connsiteY112" fmla="*/ 413195 h 1977008"/>
                  <a:gd name="connsiteX113" fmla="*/ 940689 w 5146738"/>
                  <a:gd name="connsiteY113" fmla="*/ 413195 h 1977008"/>
                  <a:gd name="connsiteX114" fmla="*/ 940689 w 5146738"/>
                  <a:gd name="connsiteY114" fmla="*/ 401288 h 1977008"/>
                  <a:gd name="connsiteX115" fmla="*/ 931259 w 5146738"/>
                  <a:gd name="connsiteY115" fmla="*/ 401288 h 1977008"/>
                  <a:gd name="connsiteX116" fmla="*/ 931259 w 5146738"/>
                  <a:gd name="connsiteY116" fmla="*/ 383667 h 1977008"/>
                  <a:gd name="connsiteX117" fmla="*/ 902113 w 5146738"/>
                  <a:gd name="connsiteY117" fmla="*/ 383667 h 1977008"/>
                  <a:gd name="connsiteX118" fmla="*/ 902113 w 5146738"/>
                  <a:gd name="connsiteY118" fmla="*/ 372999 h 1977008"/>
                  <a:gd name="connsiteX119" fmla="*/ 892969 w 5146738"/>
                  <a:gd name="connsiteY119" fmla="*/ 372999 h 1977008"/>
                  <a:gd name="connsiteX120" fmla="*/ 892969 w 5146738"/>
                  <a:gd name="connsiteY120" fmla="*/ 367856 h 1977008"/>
                  <a:gd name="connsiteX121" fmla="*/ 875633 w 5146738"/>
                  <a:gd name="connsiteY121" fmla="*/ 367856 h 1977008"/>
                  <a:gd name="connsiteX122" fmla="*/ 875633 w 5146738"/>
                  <a:gd name="connsiteY122" fmla="*/ 347186 h 1977008"/>
                  <a:gd name="connsiteX123" fmla="*/ 867156 w 5146738"/>
                  <a:gd name="connsiteY123" fmla="*/ 347186 h 1977008"/>
                  <a:gd name="connsiteX124" fmla="*/ 867156 w 5146738"/>
                  <a:gd name="connsiteY124" fmla="*/ 326803 h 1977008"/>
                  <a:gd name="connsiteX125" fmla="*/ 855250 w 5146738"/>
                  <a:gd name="connsiteY125" fmla="*/ 326803 h 1977008"/>
                  <a:gd name="connsiteX126" fmla="*/ 855250 w 5146738"/>
                  <a:gd name="connsiteY126" fmla="*/ 308324 h 1977008"/>
                  <a:gd name="connsiteX127" fmla="*/ 841915 w 5146738"/>
                  <a:gd name="connsiteY127" fmla="*/ 308324 h 1977008"/>
                  <a:gd name="connsiteX128" fmla="*/ 841915 w 5146738"/>
                  <a:gd name="connsiteY128" fmla="*/ 286417 h 1977008"/>
                  <a:gd name="connsiteX129" fmla="*/ 829723 w 5146738"/>
                  <a:gd name="connsiteY129" fmla="*/ 286417 h 1977008"/>
                  <a:gd name="connsiteX130" fmla="*/ 829723 w 5146738"/>
                  <a:gd name="connsiteY130" fmla="*/ 256604 h 1977008"/>
                  <a:gd name="connsiteX131" fmla="*/ 813054 w 5146738"/>
                  <a:gd name="connsiteY131" fmla="*/ 256604 h 1977008"/>
                  <a:gd name="connsiteX132" fmla="*/ 813054 w 5146738"/>
                  <a:gd name="connsiteY132" fmla="*/ 239268 h 1977008"/>
                  <a:gd name="connsiteX133" fmla="*/ 789623 w 5146738"/>
                  <a:gd name="connsiteY133" fmla="*/ 239268 h 1977008"/>
                  <a:gd name="connsiteX134" fmla="*/ 789623 w 5146738"/>
                  <a:gd name="connsiteY134" fmla="*/ 224695 h 1977008"/>
                  <a:gd name="connsiteX135" fmla="*/ 761048 w 5146738"/>
                  <a:gd name="connsiteY135" fmla="*/ 224695 h 1977008"/>
                  <a:gd name="connsiteX136" fmla="*/ 761048 w 5146738"/>
                  <a:gd name="connsiteY136" fmla="*/ 203073 h 1977008"/>
                  <a:gd name="connsiteX137" fmla="*/ 723043 w 5146738"/>
                  <a:gd name="connsiteY137" fmla="*/ 203073 h 1977008"/>
                  <a:gd name="connsiteX138" fmla="*/ 723043 w 5146738"/>
                  <a:gd name="connsiteY138" fmla="*/ 192215 h 1977008"/>
                  <a:gd name="connsiteX139" fmla="*/ 680180 w 5146738"/>
                  <a:gd name="connsiteY139" fmla="*/ 192215 h 1977008"/>
                  <a:gd name="connsiteX140" fmla="*/ 680180 w 5146738"/>
                  <a:gd name="connsiteY140" fmla="*/ 181261 h 1977008"/>
                  <a:gd name="connsiteX141" fmla="*/ 648557 w 5146738"/>
                  <a:gd name="connsiteY141" fmla="*/ 181261 h 1977008"/>
                  <a:gd name="connsiteX142" fmla="*/ 648557 w 5146738"/>
                  <a:gd name="connsiteY142" fmla="*/ 167259 h 1977008"/>
                  <a:gd name="connsiteX143" fmla="*/ 609981 w 5146738"/>
                  <a:gd name="connsiteY143" fmla="*/ 167259 h 1977008"/>
                  <a:gd name="connsiteX144" fmla="*/ 609981 w 5146738"/>
                  <a:gd name="connsiteY144" fmla="*/ 159068 h 1977008"/>
                  <a:gd name="connsiteX145" fmla="*/ 576167 w 5146738"/>
                  <a:gd name="connsiteY145" fmla="*/ 159068 h 1977008"/>
                  <a:gd name="connsiteX146" fmla="*/ 576167 w 5146738"/>
                  <a:gd name="connsiteY146" fmla="*/ 149352 h 1977008"/>
                  <a:gd name="connsiteX147" fmla="*/ 490823 w 5146738"/>
                  <a:gd name="connsiteY147" fmla="*/ 149352 h 1977008"/>
                  <a:gd name="connsiteX148" fmla="*/ 490823 w 5146738"/>
                  <a:gd name="connsiteY148" fmla="*/ 144780 h 1977008"/>
                  <a:gd name="connsiteX149" fmla="*/ 434531 w 5146738"/>
                  <a:gd name="connsiteY149" fmla="*/ 144780 h 1977008"/>
                  <a:gd name="connsiteX150" fmla="*/ 434531 w 5146738"/>
                  <a:gd name="connsiteY150" fmla="*/ 134398 h 1977008"/>
                  <a:gd name="connsiteX151" fmla="*/ 423577 w 5146738"/>
                  <a:gd name="connsiteY151" fmla="*/ 134398 h 1977008"/>
                  <a:gd name="connsiteX152" fmla="*/ 423577 w 5146738"/>
                  <a:gd name="connsiteY152" fmla="*/ 121634 h 1977008"/>
                  <a:gd name="connsiteX153" fmla="*/ 405098 w 5146738"/>
                  <a:gd name="connsiteY153" fmla="*/ 121634 h 1977008"/>
                  <a:gd name="connsiteX154" fmla="*/ 405098 w 5146738"/>
                  <a:gd name="connsiteY154" fmla="*/ 111633 h 1977008"/>
                  <a:gd name="connsiteX155" fmla="*/ 380714 w 5146738"/>
                  <a:gd name="connsiteY155" fmla="*/ 111633 h 1977008"/>
                  <a:gd name="connsiteX156" fmla="*/ 380714 w 5146738"/>
                  <a:gd name="connsiteY156" fmla="*/ 91535 h 1977008"/>
                  <a:gd name="connsiteX157" fmla="*/ 363093 w 5146738"/>
                  <a:gd name="connsiteY157" fmla="*/ 91535 h 1977008"/>
                  <a:gd name="connsiteX158" fmla="*/ 363093 w 5146738"/>
                  <a:gd name="connsiteY158" fmla="*/ 86678 h 1977008"/>
                  <a:gd name="connsiteX159" fmla="*/ 310515 w 5146738"/>
                  <a:gd name="connsiteY159" fmla="*/ 86678 h 1977008"/>
                  <a:gd name="connsiteX160" fmla="*/ 310515 w 5146738"/>
                  <a:gd name="connsiteY160" fmla="*/ 83058 h 1977008"/>
                  <a:gd name="connsiteX161" fmla="*/ 207455 w 5146738"/>
                  <a:gd name="connsiteY161" fmla="*/ 83058 h 1977008"/>
                  <a:gd name="connsiteX162" fmla="*/ 207455 w 5146738"/>
                  <a:gd name="connsiteY162" fmla="*/ 75438 h 1977008"/>
                  <a:gd name="connsiteX163" fmla="*/ 187071 w 5146738"/>
                  <a:gd name="connsiteY163" fmla="*/ 75438 h 1977008"/>
                  <a:gd name="connsiteX164" fmla="*/ 187071 w 5146738"/>
                  <a:gd name="connsiteY164" fmla="*/ 71819 h 1977008"/>
                  <a:gd name="connsiteX165" fmla="*/ 143923 w 5146738"/>
                  <a:gd name="connsiteY165" fmla="*/ 71819 h 1977008"/>
                  <a:gd name="connsiteX166" fmla="*/ 143923 w 5146738"/>
                  <a:gd name="connsiteY166" fmla="*/ 62389 h 1977008"/>
                  <a:gd name="connsiteX167" fmla="*/ 102013 w 5146738"/>
                  <a:gd name="connsiteY167" fmla="*/ 62389 h 1977008"/>
                  <a:gd name="connsiteX168" fmla="*/ 102013 w 5146738"/>
                  <a:gd name="connsiteY168" fmla="*/ 55055 h 1977008"/>
                  <a:gd name="connsiteX169" fmla="*/ 95917 w 5146738"/>
                  <a:gd name="connsiteY169" fmla="*/ 55055 h 1977008"/>
                  <a:gd name="connsiteX170" fmla="*/ 95917 w 5146738"/>
                  <a:gd name="connsiteY170" fmla="*/ 49340 h 1977008"/>
                  <a:gd name="connsiteX171" fmla="*/ 84011 w 5146738"/>
                  <a:gd name="connsiteY171" fmla="*/ 49340 h 1977008"/>
                  <a:gd name="connsiteX172" fmla="*/ 84011 w 5146738"/>
                  <a:gd name="connsiteY172" fmla="*/ 39243 h 1977008"/>
                  <a:gd name="connsiteX173" fmla="*/ 78010 w 5146738"/>
                  <a:gd name="connsiteY173" fmla="*/ 39243 h 1977008"/>
                  <a:gd name="connsiteX174" fmla="*/ 78010 w 5146738"/>
                  <a:gd name="connsiteY174" fmla="*/ 30099 h 1977008"/>
                  <a:gd name="connsiteX175" fmla="*/ 48482 w 5146738"/>
                  <a:gd name="connsiteY175" fmla="*/ 30099 h 1977008"/>
                  <a:gd name="connsiteX176" fmla="*/ 48482 w 5146738"/>
                  <a:gd name="connsiteY176" fmla="*/ 23717 h 1977008"/>
                  <a:gd name="connsiteX177" fmla="*/ 35719 w 5146738"/>
                  <a:gd name="connsiteY177" fmla="*/ 23717 h 1977008"/>
                  <a:gd name="connsiteX178" fmla="*/ 35719 w 5146738"/>
                  <a:gd name="connsiteY178" fmla="*/ 10668 h 1977008"/>
                  <a:gd name="connsiteX179" fmla="*/ 30290 w 5146738"/>
                  <a:gd name="connsiteY179" fmla="*/ 10668 h 1977008"/>
                  <a:gd name="connsiteX180" fmla="*/ 30290 w 5146738"/>
                  <a:gd name="connsiteY180" fmla="*/ 0 h 1977008"/>
                  <a:gd name="connsiteX181" fmla="*/ 0 w 5146738"/>
                  <a:gd name="connsiteY181" fmla="*/ 0 h 197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146738" h="1977008">
                    <a:moveTo>
                      <a:pt x="5146739" y="1977009"/>
                    </a:moveTo>
                    <a:lnTo>
                      <a:pt x="5134737" y="1977009"/>
                    </a:lnTo>
                    <a:lnTo>
                      <a:pt x="5134737" y="1563053"/>
                    </a:lnTo>
                    <a:lnTo>
                      <a:pt x="4275201" y="1563053"/>
                    </a:lnTo>
                    <a:lnTo>
                      <a:pt x="4275201" y="1512665"/>
                    </a:lnTo>
                    <a:lnTo>
                      <a:pt x="4227767" y="1512665"/>
                    </a:lnTo>
                    <a:lnTo>
                      <a:pt x="4227767" y="1467898"/>
                    </a:lnTo>
                    <a:lnTo>
                      <a:pt x="3961733" y="1467898"/>
                    </a:lnTo>
                    <a:lnTo>
                      <a:pt x="3961733" y="1430084"/>
                    </a:lnTo>
                    <a:lnTo>
                      <a:pt x="3859625" y="1430084"/>
                    </a:lnTo>
                    <a:lnTo>
                      <a:pt x="3859625" y="1397222"/>
                    </a:lnTo>
                    <a:lnTo>
                      <a:pt x="3848576" y="1397222"/>
                    </a:lnTo>
                    <a:lnTo>
                      <a:pt x="3848576" y="1364361"/>
                    </a:lnTo>
                    <a:lnTo>
                      <a:pt x="3748945" y="1364361"/>
                    </a:lnTo>
                    <a:lnTo>
                      <a:pt x="3748945" y="1340644"/>
                    </a:lnTo>
                    <a:lnTo>
                      <a:pt x="3648361" y="1340644"/>
                    </a:lnTo>
                    <a:lnTo>
                      <a:pt x="3648361" y="1311307"/>
                    </a:lnTo>
                    <a:lnTo>
                      <a:pt x="3438906" y="1311307"/>
                    </a:lnTo>
                    <a:lnTo>
                      <a:pt x="3438906" y="1285399"/>
                    </a:lnTo>
                    <a:lnTo>
                      <a:pt x="3334893" y="1285399"/>
                    </a:lnTo>
                    <a:lnTo>
                      <a:pt x="3334893" y="1262348"/>
                    </a:lnTo>
                    <a:lnTo>
                      <a:pt x="2989516" y="1262348"/>
                    </a:lnTo>
                    <a:lnTo>
                      <a:pt x="2989516" y="1214628"/>
                    </a:lnTo>
                    <a:lnTo>
                      <a:pt x="2601373" y="1214628"/>
                    </a:lnTo>
                    <a:lnTo>
                      <a:pt x="2601373" y="1192340"/>
                    </a:lnTo>
                    <a:lnTo>
                      <a:pt x="2586228" y="1192340"/>
                    </a:lnTo>
                    <a:lnTo>
                      <a:pt x="2586228" y="1170146"/>
                    </a:lnTo>
                    <a:lnTo>
                      <a:pt x="2570416" y="1170146"/>
                    </a:lnTo>
                    <a:lnTo>
                      <a:pt x="2570416" y="1100519"/>
                    </a:lnTo>
                    <a:lnTo>
                      <a:pt x="2530888" y="1100519"/>
                    </a:lnTo>
                    <a:lnTo>
                      <a:pt x="2530888" y="1092327"/>
                    </a:lnTo>
                    <a:lnTo>
                      <a:pt x="2480120" y="1092327"/>
                    </a:lnTo>
                    <a:lnTo>
                      <a:pt x="2480120" y="1077373"/>
                    </a:lnTo>
                    <a:lnTo>
                      <a:pt x="2390108" y="1077373"/>
                    </a:lnTo>
                    <a:lnTo>
                      <a:pt x="2390108" y="1063085"/>
                    </a:lnTo>
                    <a:lnTo>
                      <a:pt x="2256949" y="1063085"/>
                    </a:lnTo>
                    <a:lnTo>
                      <a:pt x="2256949" y="1049084"/>
                    </a:lnTo>
                    <a:lnTo>
                      <a:pt x="2232946" y="1049084"/>
                    </a:lnTo>
                    <a:lnTo>
                      <a:pt x="2232946" y="1034225"/>
                    </a:lnTo>
                    <a:lnTo>
                      <a:pt x="2171224" y="1034225"/>
                    </a:lnTo>
                    <a:lnTo>
                      <a:pt x="2171224" y="1013841"/>
                    </a:lnTo>
                    <a:lnTo>
                      <a:pt x="2139315" y="1013841"/>
                    </a:lnTo>
                    <a:lnTo>
                      <a:pt x="2139315" y="970121"/>
                    </a:lnTo>
                    <a:lnTo>
                      <a:pt x="2133219" y="970121"/>
                    </a:lnTo>
                    <a:lnTo>
                      <a:pt x="2133219" y="957644"/>
                    </a:lnTo>
                    <a:lnTo>
                      <a:pt x="2116360" y="957644"/>
                    </a:lnTo>
                    <a:lnTo>
                      <a:pt x="2116360" y="933926"/>
                    </a:lnTo>
                    <a:lnTo>
                      <a:pt x="2031683" y="933926"/>
                    </a:lnTo>
                    <a:lnTo>
                      <a:pt x="2031683" y="924782"/>
                    </a:lnTo>
                    <a:lnTo>
                      <a:pt x="1991297" y="924782"/>
                    </a:lnTo>
                    <a:lnTo>
                      <a:pt x="1991297" y="915638"/>
                    </a:lnTo>
                    <a:lnTo>
                      <a:pt x="1952720" y="915638"/>
                    </a:lnTo>
                    <a:lnTo>
                      <a:pt x="1952720" y="900208"/>
                    </a:lnTo>
                    <a:lnTo>
                      <a:pt x="1934147" y="900208"/>
                    </a:lnTo>
                    <a:lnTo>
                      <a:pt x="1934147" y="890778"/>
                    </a:lnTo>
                    <a:lnTo>
                      <a:pt x="1877282" y="890778"/>
                    </a:lnTo>
                    <a:lnTo>
                      <a:pt x="1877282" y="881634"/>
                    </a:lnTo>
                    <a:lnTo>
                      <a:pt x="1762030" y="881634"/>
                    </a:lnTo>
                    <a:lnTo>
                      <a:pt x="1762030" y="869728"/>
                    </a:lnTo>
                    <a:lnTo>
                      <a:pt x="1735360" y="869728"/>
                    </a:lnTo>
                    <a:lnTo>
                      <a:pt x="1735360" y="850963"/>
                    </a:lnTo>
                    <a:lnTo>
                      <a:pt x="1710404" y="850963"/>
                    </a:lnTo>
                    <a:lnTo>
                      <a:pt x="1710404" y="823246"/>
                    </a:lnTo>
                    <a:lnTo>
                      <a:pt x="1700689" y="823246"/>
                    </a:lnTo>
                    <a:lnTo>
                      <a:pt x="1700689" y="785527"/>
                    </a:lnTo>
                    <a:lnTo>
                      <a:pt x="1683925" y="785527"/>
                    </a:lnTo>
                    <a:lnTo>
                      <a:pt x="1683925" y="767048"/>
                    </a:lnTo>
                    <a:lnTo>
                      <a:pt x="1616488" y="767048"/>
                    </a:lnTo>
                    <a:lnTo>
                      <a:pt x="1616488" y="756380"/>
                    </a:lnTo>
                    <a:lnTo>
                      <a:pt x="1501521" y="756380"/>
                    </a:lnTo>
                    <a:lnTo>
                      <a:pt x="1501521" y="747236"/>
                    </a:lnTo>
                    <a:lnTo>
                      <a:pt x="1450181" y="747236"/>
                    </a:lnTo>
                    <a:lnTo>
                      <a:pt x="1450181" y="738092"/>
                    </a:lnTo>
                    <a:lnTo>
                      <a:pt x="1425893" y="738092"/>
                    </a:lnTo>
                    <a:lnTo>
                      <a:pt x="1425893" y="728948"/>
                    </a:lnTo>
                    <a:lnTo>
                      <a:pt x="1416463" y="728948"/>
                    </a:lnTo>
                    <a:lnTo>
                      <a:pt x="1416463" y="719423"/>
                    </a:lnTo>
                    <a:lnTo>
                      <a:pt x="1402175" y="719423"/>
                    </a:lnTo>
                    <a:lnTo>
                      <a:pt x="1402175" y="708660"/>
                    </a:lnTo>
                    <a:lnTo>
                      <a:pt x="1378744" y="708660"/>
                    </a:lnTo>
                    <a:lnTo>
                      <a:pt x="1378744" y="700183"/>
                    </a:lnTo>
                    <a:lnTo>
                      <a:pt x="1307973" y="700183"/>
                    </a:lnTo>
                    <a:lnTo>
                      <a:pt x="1307973" y="676085"/>
                    </a:lnTo>
                    <a:lnTo>
                      <a:pt x="1294829" y="676085"/>
                    </a:lnTo>
                    <a:lnTo>
                      <a:pt x="1294829" y="653034"/>
                    </a:lnTo>
                    <a:lnTo>
                      <a:pt x="1282732" y="653034"/>
                    </a:lnTo>
                    <a:lnTo>
                      <a:pt x="1282732" y="613791"/>
                    </a:lnTo>
                    <a:lnTo>
                      <a:pt x="1270159" y="613791"/>
                    </a:lnTo>
                    <a:lnTo>
                      <a:pt x="1270159" y="591598"/>
                    </a:lnTo>
                    <a:lnTo>
                      <a:pt x="1263015" y="591598"/>
                    </a:lnTo>
                    <a:lnTo>
                      <a:pt x="1263015" y="574929"/>
                    </a:lnTo>
                    <a:lnTo>
                      <a:pt x="1259014" y="574929"/>
                    </a:lnTo>
                    <a:lnTo>
                      <a:pt x="1259014" y="542068"/>
                    </a:lnTo>
                    <a:lnTo>
                      <a:pt x="1254538" y="542068"/>
                    </a:lnTo>
                    <a:lnTo>
                      <a:pt x="1254538" y="517779"/>
                    </a:lnTo>
                    <a:lnTo>
                      <a:pt x="1241679" y="517779"/>
                    </a:lnTo>
                    <a:lnTo>
                      <a:pt x="1241679" y="493109"/>
                    </a:lnTo>
                    <a:lnTo>
                      <a:pt x="1232345" y="493109"/>
                    </a:lnTo>
                    <a:lnTo>
                      <a:pt x="1232345" y="473964"/>
                    </a:lnTo>
                    <a:lnTo>
                      <a:pt x="1201198" y="473964"/>
                    </a:lnTo>
                    <a:lnTo>
                      <a:pt x="1201198" y="461200"/>
                    </a:lnTo>
                    <a:lnTo>
                      <a:pt x="1189958" y="461200"/>
                    </a:lnTo>
                    <a:lnTo>
                      <a:pt x="1189958" y="451771"/>
                    </a:lnTo>
                    <a:lnTo>
                      <a:pt x="1168718" y="451771"/>
                    </a:lnTo>
                    <a:lnTo>
                      <a:pt x="1168718" y="442627"/>
                    </a:lnTo>
                    <a:lnTo>
                      <a:pt x="1164717" y="442627"/>
                    </a:lnTo>
                    <a:lnTo>
                      <a:pt x="1164717" y="432054"/>
                    </a:lnTo>
                    <a:lnTo>
                      <a:pt x="1124617" y="432054"/>
                    </a:lnTo>
                    <a:lnTo>
                      <a:pt x="1124617" y="421958"/>
                    </a:lnTo>
                    <a:lnTo>
                      <a:pt x="1098804" y="421958"/>
                    </a:lnTo>
                    <a:lnTo>
                      <a:pt x="1098804" y="418052"/>
                    </a:lnTo>
                    <a:lnTo>
                      <a:pt x="952214" y="418052"/>
                    </a:lnTo>
                    <a:lnTo>
                      <a:pt x="952214" y="413195"/>
                    </a:lnTo>
                    <a:lnTo>
                      <a:pt x="940689" y="413195"/>
                    </a:lnTo>
                    <a:lnTo>
                      <a:pt x="940689" y="401288"/>
                    </a:lnTo>
                    <a:lnTo>
                      <a:pt x="931259" y="401288"/>
                    </a:lnTo>
                    <a:lnTo>
                      <a:pt x="931259" y="383667"/>
                    </a:lnTo>
                    <a:lnTo>
                      <a:pt x="902113" y="383667"/>
                    </a:lnTo>
                    <a:lnTo>
                      <a:pt x="902113" y="372999"/>
                    </a:lnTo>
                    <a:lnTo>
                      <a:pt x="892969" y="372999"/>
                    </a:lnTo>
                    <a:lnTo>
                      <a:pt x="892969" y="367856"/>
                    </a:lnTo>
                    <a:lnTo>
                      <a:pt x="875633" y="367856"/>
                    </a:lnTo>
                    <a:lnTo>
                      <a:pt x="875633" y="347186"/>
                    </a:lnTo>
                    <a:lnTo>
                      <a:pt x="867156" y="347186"/>
                    </a:lnTo>
                    <a:lnTo>
                      <a:pt x="867156" y="326803"/>
                    </a:lnTo>
                    <a:lnTo>
                      <a:pt x="855250" y="326803"/>
                    </a:lnTo>
                    <a:lnTo>
                      <a:pt x="855250" y="308324"/>
                    </a:lnTo>
                    <a:lnTo>
                      <a:pt x="841915" y="308324"/>
                    </a:lnTo>
                    <a:lnTo>
                      <a:pt x="841915" y="286417"/>
                    </a:lnTo>
                    <a:lnTo>
                      <a:pt x="829723" y="286417"/>
                    </a:lnTo>
                    <a:lnTo>
                      <a:pt x="829723" y="256604"/>
                    </a:lnTo>
                    <a:lnTo>
                      <a:pt x="813054" y="256604"/>
                    </a:lnTo>
                    <a:lnTo>
                      <a:pt x="813054" y="239268"/>
                    </a:lnTo>
                    <a:lnTo>
                      <a:pt x="789623" y="239268"/>
                    </a:lnTo>
                    <a:lnTo>
                      <a:pt x="789623" y="224695"/>
                    </a:lnTo>
                    <a:lnTo>
                      <a:pt x="761048" y="224695"/>
                    </a:lnTo>
                    <a:lnTo>
                      <a:pt x="761048" y="203073"/>
                    </a:lnTo>
                    <a:lnTo>
                      <a:pt x="723043" y="203073"/>
                    </a:lnTo>
                    <a:lnTo>
                      <a:pt x="723043" y="192215"/>
                    </a:lnTo>
                    <a:lnTo>
                      <a:pt x="680180" y="192215"/>
                    </a:lnTo>
                    <a:lnTo>
                      <a:pt x="680180" y="181261"/>
                    </a:lnTo>
                    <a:lnTo>
                      <a:pt x="648557" y="181261"/>
                    </a:lnTo>
                    <a:lnTo>
                      <a:pt x="648557" y="167259"/>
                    </a:lnTo>
                    <a:lnTo>
                      <a:pt x="609981" y="167259"/>
                    </a:lnTo>
                    <a:lnTo>
                      <a:pt x="609981" y="159068"/>
                    </a:lnTo>
                    <a:lnTo>
                      <a:pt x="576167" y="159068"/>
                    </a:lnTo>
                    <a:lnTo>
                      <a:pt x="576167" y="149352"/>
                    </a:lnTo>
                    <a:lnTo>
                      <a:pt x="490823" y="149352"/>
                    </a:lnTo>
                    <a:lnTo>
                      <a:pt x="490823" y="144780"/>
                    </a:lnTo>
                    <a:lnTo>
                      <a:pt x="434531" y="144780"/>
                    </a:lnTo>
                    <a:lnTo>
                      <a:pt x="434531" y="134398"/>
                    </a:lnTo>
                    <a:lnTo>
                      <a:pt x="423577" y="134398"/>
                    </a:lnTo>
                    <a:lnTo>
                      <a:pt x="423577" y="121634"/>
                    </a:lnTo>
                    <a:lnTo>
                      <a:pt x="405098" y="121634"/>
                    </a:lnTo>
                    <a:lnTo>
                      <a:pt x="405098" y="111633"/>
                    </a:lnTo>
                    <a:lnTo>
                      <a:pt x="380714" y="111633"/>
                    </a:lnTo>
                    <a:lnTo>
                      <a:pt x="380714" y="91535"/>
                    </a:lnTo>
                    <a:lnTo>
                      <a:pt x="363093" y="91535"/>
                    </a:lnTo>
                    <a:lnTo>
                      <a:pt x="363093" y="86678"/>
                    </a:lnTo>
                    <a:lnTo>
                      <a:pt x="310515" y="86678"/>
                    </a:lnTo>
                    <a:lnTo>
                      <a:pt x="310515" y="83058"/>
                    </a:lnTo>
                    <a:lnTo>
                      <a:pt x="207455" y="83058"/>
                    </a:lnTo>
                    <a:lnTo>
                      <a:pt x="207455" y="75438"/>
                    </a:lnTo>
                    <a:lnTo>
                      <a:pt x="187071" y="75438"/>
                    </a:lnTo>
                    <a:lnTo>
                      <a:pt x="187071" y="71819"/>
                    </a:lnTo>
                    <a:lnTo>
                      <a:pt x="143923" y="71819"/>
                    </a:lnTo>
                    <a:lnTo>
                      <a:pt x="143923" y="62389"/>
                    </a:lnTo>
                    <a:lnTo>
                      <a:pt x="102013" y="62389"/>
                    </a:lnTo>
                    <a:lnTo>
                      <a:pt x="102013" y="55055"/>
                    </a:lnTo>
                    <a:lnTo>
                      <a:pt x="95917" y="55055"/>
                    </a:lnTo>
                    <a:lnTo>
                      <a:pt x="95917" y="49340"/>
                    </a:lnTo>
                    <a:lnTo>
                      <a:pt x="84011" y="49340"/>
                    </a:lnTo>
                    <a:lnTo>
                      <a:pt x="84011" y="39243"/>
                    </a:lnTo>
                    <a:lnTo>
                      <a:pt x="78010" y="39243"/>
                    </a:lnTo>
                    <a:lnTo>
                      <a:pt x="78010" y="30099"/>
                    </a:lnTo>
                    <a:lnTo>
                      <a:pt x="48482" y="30099"/>
                    </a:lnTo>
                    <a:lnTo>
                      <a:pt x="48482" y="23717"/>
                    </a:lnTo>
                    <a:lnTo>
                      <a:pt x="35719" y="23717"/>
                    </a:lnTo>
                    <a:lnTo>
                      <a:pt x="35719" y="10668"/>
                    </a:lnTo>
                    <a:lnTo>
                      <a:pt x="30290" y="10668"/>
                    </a:lnTo>
                    <a:lnTo>
                      <a:pt x="30290" y="0"/>
                    </a:lnTo>
                    <a:lnTo>
                      <a:pt x="0" y="0"/>
                    </a:lnTo>
                  </a:path>
                </a:pathLst>
              </a:custGeom>
              <a:noFill/>
              <a:ln w="12700" cap="flat">
                <a:solidFill>
                  <a:srgbClr val="1E325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4219" name="Rectangle 14218" hidden="1">
            <a:extLst>
              <a:ext uri="{FF2B5EF4-FFF2-40B4-BE49-F238E27FC236}">
                <a16:creationId xmlns:a16="http://schemas.microsoft.com/office/drawing/2014/main" id="{937C2049-DE9E-B5F6-734D-847C8F30BA67}"/>
              </a:ext>
            </a:extLst>
          </p:cNvPr>
          <p:cNvSpPr/>
          <p:nvPr/>
        </p:nvSpPr>
        <p:spPr>
          <a:xfrm>
            <a:off x="1058627" y="486240"/>
            <a:ext cx="10941572"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637" name="TextBox 14636">
            <a:extLst>
              <a:ext uri="{FF2B5EF4-FFF2-40B4-BE49-F238E27FC236}">
                <a16:creationId xmlns:a16="http://schemas.microsoft.com/office/drawing/2014/main" id="{B4990355-9B2E-B196-55B2-4C203E6F2BF9}"/>
              </a:ext>
            </a:extLst>
          </p:cNvPr>
          <p:cNvSpPr txBox="1"/>
          <p:nvPr/>
        </p:nvSpPr>
        <p:spPr>
          <a:xfrm>
            <a:off x="640080" y="5523316"/>
            <a:ext cx="6032182" cy="307777"/>
          </a:xfrm>
          <a:prstGeom prst="rect">
            <a:avLst/>
          </a:prstGeom>
          <a:solidFill>
            <a:srgbClr val="FFFFFF">
              <a:lumMod val="9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PFS</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aturity in PTEN subgroups was consistent with the overall population</a:t>
            </a:r>
          </a:p>
        </p:txBody>
      </p:sp>
      <p:sp>
        <p:nvSpPr>
          <p:cNvPr id="15322" name="TextBox 15321">
            <a:extLst>
              <a:ext uri="{FF2B5EF4-FFF2-40B4-BE49-F238E27FC236}">
                <a16:creationId xmlns:a16="http://schemas.microsoft.com/office/drawing/2014/main" id="{56E2C9A1-2F39-9258-CFC2-D5663863D62C}"/>
              </a:ext>
            </a:extLst>
          </p:cNvPr>
          <p:cNvSpPr txBox="1"/>
          <p:nvPr/>
        </p:nvSpPr>
        <p:spPr>
          <a:xfrm>
            <a:off x="434311" y="6067004"/>
            <a:ext cx="11420863"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radiographic progression-free survival</a:t>
            </a:r>
          </a:p>
        </p:txBody>
      </p:sp>
      <p:sp>
        <p:nvSpPr>
          <p:cNvPr id="3" name="Title 1">
            <a:extLst>
              <a:ext uri="{FF2B5EF4-FFF2-40B4-BE49-F238E27FC236}">
                <a16:creationId xmlns:a16="http://schemas.microsoft.com/office/drawing/2014/main" id="{E5682715-5C5D-AB83-9669-3F79B18A2E6A}"/>
              </a:ext>
            </a:extLst>
          </p:cNvPr>
          <p:cNvSpPr txBox="1">
            <a:spLocks/>
          </p:cNvSpPr>
          <p:nvPr/>
        </p:nvSpPr>
        <p:spPr>
          <a:xfrm>
            <a:off x="489634" y="357717"/>
            <a:ext cx="11047942"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investigator-assessed </a:t>
            </a:r>
            <a:r>
              <a:rPr kumimoji="0" lang="en-US" sz="3200" b="1" i="0" u="none" strike="noStrike" kern="0" cap="none" spc="0" normalizeH="0" baseline="0" noProof="0" dirty="0" err="1">
                <a:ln>
                  <a:noFill/>
                </a:ln>
                <a:solidFill>
                  <a:srgbClr val="002060"/>
                </a:solidFill>
                <a:effectLst/>
                <a:uLnTx/>
                <a:uFillTx/>
                <a:latin typeface="Arial Narrow"/>
                <a:cs typeface="Arial Narrow"/>
                <a:sym typeface="Arial Narrow"/>
              </a:rPr>
              <a:t>rPFS</a:t>
            </a:r>
            <a:endParaRPr kumimoji="0" lang="en-US" sz="3200" b="1" i="0" u="none" strike="noStrike" kern="0" cap="none" spc="0" normalizeH="0" baseline="0" noProof="0" dirty="0">
              <a:ln>
                <a:noFill/>
              </a:ln>
              <a:solidFill>
                <a:srgbClr val="002060"/>
              </a:solidFill>
              <a:effectLst/>
              <a:uLnTx/>
              <a:uFillTx/>
              <a:latin typeface="Arial Narrow"/>
              <a:cs typeface="Arial Narrow"/>
              <a:sym typeface="Arial Narrow"/>
            </a:endParaRPr>
          </a:p>
        </p:txBody>
      </p:sp>
      <p:sp>
        <p:nvSpPr>
          <p:cNvPr id="50" name="TextBox 49">
            <a:extLst>
              <a:ext uri="{FF2B5EF4-FFF2-40B4-BE49-F238E27FC236}">
                <a16:creationId xmlns:a16="http://schemas.microsoft.com/office/drawing/2014/main" id="{138BECAC-A4A5-8A1B-86B1-ABABC80D1283}"/>
              </a:ext>
            </a:extLst>
          </p:cNvPr>
          <p:cNvSpPr txBox="1"/>
          <p:nvPr/>
        </p:nvSpPr>
        <p:spPr>
          <a:xfrm>
            <a:off x="8617590" y="1053095"/>
            <a:ext cx="11038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625FFEC4-78A7-3ABB-6CC4-2BDFC04975E6}"/>
              </a:ext>
            </a:extLst>
          </p:cNvPr>
          <p:cNvSpPr txBox="1"/>
          <p:nvPr/>
        </p:nvSpPr>
        <p:spPr>
          <a:xfrm>
            <a:off x="9993080" y="1026456"/>
            <a:ext cx="1533146" cy="276999"/>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a:t>
            </a:r>
            <a:r>
              <a:rPr kumimoji="0" lang="en-US" sz="1200" b="1"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rPFS</a:t>
            </a: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months</a:t>
            </a:r>
          </a:p>
        </p:txBody>
      </p:sp>
      <p:cxnSp>
        <p:nvCxnSpPr>
          <p:cNvPr id="12510" name="Straight Connector 12509">
            <a:extLst>
              <a:ext uri="{FF2B5EF4-FFF2-40B4-BE49-F238E27FC236}">
                <a16:creationId xmlns:a16="http://schemas.microsoft.com/office/drawing/2014/main" id="{FD447F99-1F36-C0D7-451B-4AEA1AC42F76}"/>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4633" name="Group 14632">
            <a:extLst>
              <a:ext uri="{FF2B5EF4-FFF2-40B4-BE49-F238E27FC236}">
                <a16:creationId xmlns:a16="http://schemas.microsoft.com/office/drawing/2014/main" id="{6C8BB2B2-1DB6-3EF9-73F1-222197199E24}"/>
              </a:ext>
            </a:extLst>
          </p:cNvPr>
          <p:cNvGrpSpPr/>
          <p:nvPr/>
        </p:nvGrpSpPr>
        <p:grpSpPr>
          <a:xfrm>
            <a:off x="63673" y="1342517"/>
            <a:ext cx="7761666" cy="4013893"/>
            <a:chOff x="63673" y="1342517"/>
            <a:chExt cx="7761666" cy="4013893"/>
          </a:xfrm>
        </p:grpSpPr>
        <p:sp>
          <p:nvSpPr>
            <p:cNvPr id="14218" name="TextBox 14217">
              <a:extLst>
                <a:ext uri="{FF2B5EF4-FFF2-40B4-BE49-F238E27FC236}">
                  <a16:creationId xmlns:a16="http://schemas.microsoft.com/office/drawing/2014/main" id="{7CF13956-4750-7E5F-19BE-1F5C6E6B6AA6}"/>
                </a:ext>
              </a:extLst>
            </p:cNvPr>
            <p:cNvSpPr txBox="1"/>
            <p:nvPr/>
          </p:nvSpPr>
          <p:spPr>
            <a:xfrm rot="16200000">
              <a:off x="-488722" y="2969234"/>
              <a:ext cx="141256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PFS</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4577" name="Group 14576">
              <a:extLst>
                <a:ext uri="{FF2B5EF4-FFF2-40B4-BE49-F238E27FC236}">
                  <a16:creationId xmlns:a16="http://schemas.microsoft.com/office/drawing/2014/main" id="{03D0DE05-F76A-FFA2-B8A8-3AB0CA0671F9}"/>
                </a:ext>
              </a:extLst>
            </p:cNvPr>
            <p:cNvGrpSpPr/>
            <p:nvPr/>
          </p:nvGrpSpPr>
          <p:grpSpPr>
            <a:xfrm>
              <a:off x="215742" y="1342517"/>
              <a:ext cx="7609597" cy="4013893"/>
              <a:chOff x="613926" y="1342517"/>
              <a:chExt cx="7249143" cy="4013893"/>
            </a:xfrm>
          </p:grpSpPr>
          <p:sp>
            <p:nvSpPr>
              <p:cNvPr id="14578" name="TextBox 14577">
                <a:extLst>
                  <a:ext uri="{FF2B5EF4-FFF2-40B4-BE49-F238E27FC236}">
                    <a16:creationId xmlns:a16="http://schemas.microsoft.com/office/drawing/2014/main" id="{CB54FEA6-C39E-E79C-80EA-7FF58D411820}"/>
                  </a:ext>
                </a:extLst>
              </p:cNvPr>
              <p:cNvSpPr txBox="1"/>
              <p:nvPr/>
            </p:nvSpPr>
            <p:spPr>
              <a:xfrm>
                <a:off x="613926" y="397123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4579" name="TextBox 14578">
                <a:extLst>
                  <a:ext uri="{FF2B5EF4-FFF2-40B4-BE49-F238E27FC236}">
                    <a16:creationId xmlns:a16="http://schemas.microsoft.com/office/drawing/2014/main" id="{DB968D58-6CF7-C5C0-DFA9-35EF3F688960}"/>
                  </a:ext>
                </a:extLst>
              </p:cNvPr>
              <p:cNvSpPr txBox="1"/>
              <p:nvPr/>
            </p:nvSpPr>
            <p:spPr>
              <a:xfrm>
                <a:off x="624080" y="134251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4580" name="TextBox 14579">
                <a:extLst>
                  <a:ext uri="{FF2B5EF4-FFF2-40B4-BE49-F238E27FC236}">
                    <a16:creationId xmlns:a16="http://schemas.microsoft.com/office/drawing/2014/main" id="{54A44D08-F28E-29FF-3875-3C94ABF5048E}"/>
                  </a:ext>
                </a:extLst>
              </p:cNvPr>
              <p:cNvSpPr txBox="1"/>
              <p:nvPr/>
            </p:nvSpPr>
            <p:spPr>
              <a:xfrm>
                <a:off x="613926" y="199969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4581" name="TextBox 14580">
                <a:extLst>
                  <a:ext uri="{FF2B5EF4-FFF2-40B4-BE49-F238E27FC236}">
                    <a16:creationId xmlns:a16="http://schemas.microsoft.com/office/drawing/2014/main" id="{61B20431-7614-9BB2-CD92-7F49F46B75A1}"/>
                  </a:ext>
                </a:extLst>
              </p:cNvPr>
              <p:cNvSpPr txBox="1"/>
              <p:nvPr/>
            </p:nvSpPr>
            <p:spPr>
              <a:xfrm>
                <a:off x="613926" y="265687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4582" name="TextBox 14581">
                <a:extLst>
                  <a:ext uri="{FF2B5EF4-FFF2-40B4-BE49-F238E27FC236}">
                    <a16:creationId xmlns:a16="http://schemas.microsoft.com/office/drawing/2014/main" id="{DBDC09FE-A609-61C0-788A-3B08FAAB26FF}"/>
                  </a:ext>
                </a:extLst>
              </p:cNvPr>
              <p:cNvSpPr txBox="1"/>
              <p:nvPr/>
            </p:nvSpPr>
            <p:spPr>
              <a:xfrm>
                <a:off x="613926" y="3314057"/>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4583" name="TextBox 14582">
                <a:extLst>
                  <a:ext uri="{FF2B5EF4-FFF2-40B4-BE49-F238E27FC236}">
                    <a16:creationId xmlns:a16="http://schemas.microsoft.com/office/drawing/2014/main" id="{1518BFF4-C4DC-8FA7-45AC-187301A46C2B}"/>
                  </a:ext>
                </a:extLst>
              </p:cNvPr>
              <p:cNvSpPr txBox="1"/>
              <p:nvPr/>
            </p:nvSpPr>
            <p:spPr>
              <a:xfrm>
                <a:off x="613926" y="4628415"/>
                <a:ext cx="4777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cxnSp>
            <p:nvCxnSpPr>
              <p:cNvPr id="14584" name="Straight Connector 14583">
                <a:extLst>
                  <a:ext uri="{FF2B5EF4-FFF2-40B4-BE49-F238E27FC236}">
                    <a16:creationId xmlns:a16="http://schemas.microsoft.com/office/drawing/2014/main" id="{BDA483B0-9B3F-1E16-8548-626A33081D78}"/>
                  </a:ext>
                </a:extLst>
              </p:cNvPr>
              <p:cNvCxnSpPr>
                <a:cxnSpLocks/>
              </p:cNvCxnSpPr>
              <p:nvPr/>
            </p:nvCxnSpPr>
            <p:spPr>
              <a:xfrm>
                <a:off x="1014413" y="3451510"/>
                <a:ext cx="67480" cy="0"/>
              </a:xfrm>
              <a:prstGeom prst="line">
                <a:avLst/>
              </a:prstGeom>
              <a:noFill/>
              <a:ln w="9525" cap="flat" cmpd="sng" algn="ctr">
                <a:solidFill>
                  <a:srgbClr val="000000"/>
                </a:solidFill>
                <a:prstDash val="solid"/>
              </a:ln>
              <a:effectLst/>
            </p:spPr>
          </p:cxnSp>
          <p:cxnSp>
            <p:nvCxnSpPr>
              <p:cNvPr id="14585" name="Straight Connector 14584">
                <a:extLst>
                  <a:ext uri="{FF2B5EF4-FFF2-40B4-BE49-F238E27FC236}">
                    <a16:creationId xmlns:a16="http://schemas.microsoft.com/office/drawing/2014/main" id="{EE92D606-B5D9-693F-BEB9-A52344902ADF}"/>
                  </a:ext>
                </a:extLst>
              </p:cNvPr>
              <p:cNvCxnSpPr>
                <a:cxnSpLocks/>
              </p:cNvCxnSpPr>
              <p:nvPr/>
            </p:nvCxnSpPr>
            <p:spPr>
              <a:xfrm>
                <a:off x="1011147" y="1479550"/>
                <a:ext cx="72000" cy="0"/>
              </a:xfrm>
              <a:prstGeom prst="line">
                <a:avLst/>
              </a:prstGeom>
              <a:noFill/>
              <a:ln w="9525" cap="flat" cmpd="sng" algn="ctr">
                <a:solidFill>
                  <a:srgbClr val="000000"/>
                </a:solidFill>
                <a:prstDash val="solid"/>
              </a:ln>
              <a:effectLst/>
            </p:spPr>
          </p:cxnSp>
          <p:cxnSp>
            <p:nvCxnSpPr>
              <p:cNvPr id="14586" name="Straight Connector 14585">
                <a:extLst>
                  <a:ext uri="{FF2B5EF4-FFF2-40B4-BE49-F238E27FC236}">
                    <a16:creationId xmlns:a16="http://schemas.microsoft.com/office/drawing/2014/main" id="{BFB4F388-4355-6AD3-3DA6-DED2A47E333E}"/>
                  </a:ext>
                </a:extLst>
              </p:cNvPr>
              <p:cNvCxnSpPr>
                <a:cxnSpLocks/>
              </p:cNvCxnSpPr>
              <p:nvPr/>
            </p:nvCxnSpPr>
            <p:spPr>
              <a:xfrm>
                <a:off x="1011147" y="2136870"/>
                <a:ext cx="72000" cy="0"/>
              </a:xfrm>
              <a:prstGeom prst="line">
                <a:avLst/>
              </a:prstGeom>
              <a:noFill/>
              <a:ln w="9525" cap="flat" cmpd="sng" algn="ctr">
                <a:solidFill>
                  <a:srgbClr val="000000"/>
                </a:solidFill>
                <a:prstDash val="solid"/>
              </a:ln>
              <a:effectLst/>
            </p:spPr>
          </p:cxnSp>
          <p:cxnSp>
            <p:nvCxnSpPr>
              <p:cNvPr id="14587" name="Straight Connector 14586">
                <a:extLst>
                  <a:ext uri="{FF2B5EF4-FFF2-40B4-BE49-F238E27FC236}">
                    <a16:creationId xmlns:a16="http://schemas.microsoft.com/office/drawing/2014/main" id="{57F13C0C-8137-D53D-65BB-FF4BE1A7EE6F}"/>
                  </a:ext>
                </a:extLst>
              </p:cNvPr>
              <p:cNvCxnSpPr>
                <a:cxnSpLocks/>
              </p:cNvCxnSpPr>
              <p:nvPr/>
            </p:nvCxnSpPr>
            <p:spPr>
              <a:xfrm>
                <a:off x="1011147" y="2794190"/>
                <a:ext cx="72000" cy="0"/>
              </a:xfrm>
              <a:prstGeom prst="line">
                <a:avLst/>
              </a:prstGeom>
              <a:noFill/>
              <a:ln w="9525" cap="flat" cmpd="sng" algn="ctr">
                <a:solidFill>
                  <a:srgbClr val="000000"/>
                </a:solidFill>
                <a:prstDash val="solid"/>
              </a:ln>
              <a:effectLst/>
            </p:spPr>
          </p:cxnSp>
          <p:cxnSp>
            <p:nvCxnSpPr>
              <p:cNvPr id="14588" name="Straight Connector 14587">
                <a:extLst>
                  <a:ext uri="{FF2B5EF4-FFF2-40B4-BE49-F238E27FC236}">
                    <a16:creationId xmlns:a16="http://schemas.microsoft.com/office/drawing/2014/main" id="{602BF6A7-6A49-91FD-CA83-AE4E671EC059}"/>
                  </a:ext>
                </a:extLst>
              </p:cNvPr>
              <p:cNvCxnSpPr>
                <a:cxnSpLocks/>
              </p:cNvCxnSpPr>
              <p:nvPr/>
            </p:nvCxnSpPr>
            <p:spPr>
              <a:xfrm>
                <a:off x="1011147" y="3451510"/>
                <a:ext cx="72000" cy="0"/>
              </a:xfrm>
              <a:prstGeom prst="line">
                <a:avLst/>
              </a:prstGeom>
              <a:noFill/>
              <a:ln w="9525" cap="flat" cmpd="sng" algn="ctr">
                <a:solidFill>
                  <a:srgbClr val="000000"/>
                </a:solidFill>
                <a:prstDash val="solid"/>
              </a:ln>
              <a:effectLst/>
            </p:spPr>
          </p:cxnSp>
          <p:sp>
            <p:nvSpPr>
              <p:cNvPr id="14589" name="TextBox 14588">
                <a:extLst>
                  <a:ext uri="{FF2B5EF4-FFF2-40B4-BE49-F238E27FC236}">
                    <a16:creationId xmlns:a16="http://schemas.microsoft.com/office/drawing/2014/main" id="{66CDA35D-13C7-69DA-B420-D1648E24318F}"/>
                  </a:ext>
                </a:extLst>
              </p:cNvPr>
              <p:cNvSpPr txBox="1"/>
              <p:nvPr/>
            </p:nvSpPr>
            <p:spPr>
              <a:xfrm>
                <a:off x="925456"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4590" name="TextBox 14589">
                <a:extLst>
                  <a:ext uri="{FF2B5EF4-FFF2-40B4-BE49-F238E27FC236}">
                    <a16:creationId xmlns:a16="http://schemas.microsoft.com/office/drawing/2014/main" id="{612340DE-D0DB-A44D-BF12-ED57FEBEBAD2}"/>
                  </a:ext>
                </a:extLst>
              </p:cNvPr>
              <p:cNvSpPr txBox="1"/>
              <p:nvPr/>
            </p:nvSpPr>
            <p:spPr>
              <a:xfrm>
                <a:off x="1093712" y="5048633"/>
                <a:ext cx="65517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cxnSp>
            <p:nvCxnSpPr>
              <p:cNvPr id="14591" name="Straight Connector 14590">
                <a:extLst>
                  <a:ext uri="{FF2B5EF4-FFF2-40B4-BE49-F238E27FC236}">
                    <a16:creationId xmlns:a16="http://schemas.microsoft.com/office/drawing/2014/main" id="{D6975598-3CD8-FD9E-7E4C-1EA5130186D8}"/>
                  </a:ext>
                </a:extLst>
              </p:cNvPr>
              <p:cNvCxnSpPr>
                <a:cxnSpLocks/>
              </p:cNvCxnSpPr>
              <p:nvPr/>
            </p:nvCxnSpPr>
            <p:spPr>
              <a:xfrm rot="16200000" flipH="1">
                <a:off x="1048805" y="4802531"/>
                <a:ext cx="72000" cy="0"/>
              </a:xfrm>
              <a:prstGeom prst="line">
                <a:avLst/>
              </a:prstGeom>
              <a:noFill/>
              <a:ln w="9525" cap="flat" cmpd="sng" algn="ctr">
                <a:solidFill>
                  <a:srgbClr val="000000"/>
                </a:solidFill>
                <a:prstDash val="solid"/>
              </a:ln>
              <a:effectLst/>
            </p:spPr>
          </p:cxnSp>
          <p:sp>
            <p:nvSpPr>
              <p:cNvPr id="14592" name="TextBox 14591">
                <a:extLst>
                  <a:ext uri="{FF2B5EF4-FFF2-40B4-BE49-F238E27FC236}">
                    <a16:creationId xmlns:a16="http://schemas.microsoft.com/office/drawing/2014/main" id="{1A9E0D21-FABA-9E05-C8FA-D4E2C11F54FD}"/>
                  </a:ext>
                </a:extLst>
              </p:cNvPr>
              <p:cNvSpPr txBox="1"/>
              <p:nvPr/>
            </p:nvSpPr>
            <p:spPr>
              <a:xfrm>
                <a:off x="7437269"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14593" name="Straight Connector 14592">
                <a:extLst>
                  <a:ext uri="{FF2B5EF4-FFF2-40B4-BE49-F238E27FC236}">
                    <a16:creationId xmlns:a16="http://schemas.microsoft.com/office/drawing/2014/main" id="{7BBF6C8C-DDF4-324F-8C2A-C3B1DC075E87}"/>
                  </a:ext>
                </a:extLst>
              </p:cNvPr>
              <p:cNvCxnSpPr>
                <a:cxnSpLocks/>
              </p:cNvCxnSpPr>
              <p:nvPr/>
            </p:nvCxnSpPr>
            <p:spPr>
              <a:xfrm rot="16200000" flipH="1">
                <a:off x="7611630" y="4802531"/>
                <a:ext cx="72000" cy="0"/>
              </a:xfrm>
              <a:prstGeom prst="line">
                <a:avLst/>
              </a:prstGeom>
              <a:noFill/>
              <a:ln w="9525" cap="flat" cmpd="sng" algn="ctr">
                <a:solidFill>
                  <a:srgbClr val="000000"/>
                </a:solidFill>
                <a:prstDash val="solid"/>
              </a:ln>
              <a:effectLst/>
            </p:spPr>
          </p:cxnSp>
          <p:sp>
            <p:nvSpPr>
              <p:cNvPr id="14594" name="TextBox 14593">
                <a:extLst>
                  <a:ext uri="{FF2B5EF4-FFF2-40B4-BE49-F238E27FC236}">
                    <a16:creationId xmlns:a16="http://schemas.microsoft.com/office/drawing/2014/main" id="{1CB4C32F-3EFE-7302-EB09-1A69731910D8}"/>
                  </a:ext>
                </a:extLst>
              </p:cNvPr>
              <p:cNvSpPr txBox="1"/>
              <p:nvPr/>
            </p:nvSpPr>
            <p:spPr>
              <a:xfrm>
                <a:off x="1362977"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14595" name="Straight Connector 14594">
                <a:extLst>
                  <a:ext uri="{FF2B5EF4-FFF2-40B4-BE49-F238E27FC236}">
                    <a16:creationId xmlns:a16="http://schemas.microsoft.com/office/drawing/2014/main" id="{DC815C35-8B0C-302C-EC77-5CF7567D3D98}"/>
                  </a:ext>
                </a:extLst>
              </p:cNvPr>
              <p:cNvCxnSpPr>
                <a:cxnSpLocks/>
              </p:cNvCxnSpPr>
              <p:nvPr/>
            </p:nvCxnSpPr>
            <p:spPr>
              <a:xfrm rot="16200000" flipH="1">
                <a:off x="1486328" y="4802531"/>
                <a:ext cx="72000" cy="0"/>
              </a:xfrm>
              <a:prstGeom prst="line">
                <a:avLst/>
              </a:prstGeom>
              <a:noFill/>
              <a:ln w="9525" cap="flat" cmpd="sng" algn="ctr">
                <a:solidFill>
                  <a:srgbClr val="000000"/>
                </a:solidFill>
                <a:prstDash val="solid"/>
              </a:ln>
              <a:effectLst/>
            </p:spPr>
          </p:cxnSp>
          <p:sp>
            <p:nvSpPr>
              <p:cNvPr id="14596" name="TextBox 14595">
                <a:extLst>
                  <a:ext uri="{FF2B5EF4-FFF2-40B4-BE49-F238E27FC236}">
                    <a16:creationId xmlns:a16="http://schemas.microsoft.com/office/drawing/2014/main" id="{1EB5B8CD-A47B-8318-B3FA-AE320E34BCC1}"/>
                  </a:ext>
                </a:extLst>
              </p:cNvPr>
              <p:cNvSpPr txBox="1"/>
              <p:nvPr/>
            </p:nvSpPr>
            <p:spPr>
              <a:xfrm>
                <a:off x="1800500"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14597" name="Straight Connector 14596">
                <a:extLst>
                  <a:ext uri="{FF2B5EF4-FFF2-40B4-BE49-F238E27FC236}">
                    <a16:creationId xmlns:a16="http://schemas.microsoft.com/office/drawing/2014/main" id="{FBB75FC5-39F0-6EFB-03F1-1BF368C0E3A7}"/>
                  </a:ext>
                </a:extLst>
              </p:cNvPr>
              <p:cNvCxnSpPr>
                <a:cxnSpLocks/>
              </p:cNvCxnSpPr>
              <p:nvPr/>
            </p:nvCxnSpPr>
            <p:spPr>
              <a:xfrm rot="16200000" flipH="1">
                <a:off x="1923851" y="4802531"/>
                <a:ext cx="72000" cy="0"/>
              </a:xfrm>
              <a:prstGeom prst="line">
                <a:avLst/>
              </a:prstGeom>
              <a:noFill/>
              <a:ln w="9525" cap="flat" cmpd="sng" algn="ctr">
                <a:solidFill>
                  <a:srgbClr val="000000"/>
                </a:solidFill>
                <a:prstDash val="solid"/>
              </a:ln>
              <a:effectLst/>
            </p:spPr>
          </p:cxnSp>
          <p:sp>
            <p:nvSpPr>
              <p:cNvPr id="14598" name="TextBox 14597">
                <a:extLst>
                  <a:ext uri="{FF2B5EF4-FFF2-40B4-BE49-F238E27FC236}">
                    <a16:creationId xmlns:a16="http://schemas.microsoft.com/office/drawing/2014/main" id="{C13DC5C3-B20F-FCC5-842B-E471C5D33E1E}"/>
                  </a:ext>
                </a:extLst>
              </p:cNvPr>
              <p:cNvSpPr txBox="1"/>
              <p:nvPr/>
            </p:nvSpPr>
            <p:spPr>
              <a:xfrm>
                <a:off x="2238023" y="4802344"/>
                <a:ext cx="3237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14599" name="Straight Connector 14598">
                <a:extLst>
                  <a:ext uri="{FF2B5EF4-FFF2-40B4-BE49-F238E27FC236}">
                    <a16:creationId xmlns:a16="http://schemas.microsoft.com/office/drawing/2014/main" id="{95374779-0810-B8F1-7142-B71F938373EC}"/>
                  </a:ext>
                </a:extLst>
              </p:cNvPr>
              <p:cNvCxnSpPr>
                <a:cxnSpLocks/>
              </p:cNvCxnSpPr>
              <p:nvPr/>
            </p:nvCxnSpPr>
            <p:spPr>
              <a:xfrm rot="16200000" flipH="1">
                <a:off x="2361373" y="4802531"/>
                <a:ext cx="72000" cy="0"/>
              </a:xfrm>
              <a:prstGeom prst="line">
                <a:avLst/>
              </a:prstGeom>
              <a:noFill/>
              <a:ln w="9525" cap="flat" cmpd="sng" algn="ctr">
                <a:solidFill>
                  <a:srgbClr val="000000"/>
                </a:solidFill>
                <a:prstDash val="solid"/>
              </a:ln>
              <a:effectLst/>
            </p:spPr>
          </p:cxnSp>
          <p:sp>
            <p:nvSpPr>
              <p:cNvPr id="14600" name="TextBox 14599">
                <a:extLst>
                  <a:ext uri="{FF2B5EF4-FFF2-40B4-BE49-F238E27FC236}">
                    <a16:creationId xmlns:a16="http://schemas.microsoft.com/office/drawing/2014/main" id="{D2918F3E-40D8-1660-74BD-D535BC5A2309}"/>
                  </a:ext>
                </a:extLst>
              </p:cNvPr>
              <p:cNvSpPr txBox="1"/>
              <p:nvPr/>
            </p:nvSpPr>
            <p:spPr>
              <a:xfrm>
                <a:off x="262453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14601" name="Straight Connector 14600">
                <a:extLst>
                  <a:ext uri="{FF2B5EF4-FFF2-40B4-BE49-F238E27FC236}">
                    <a16:creationId xmlns:a16="http://schemas.microsoft.com/office/drawing/2014/main" id="{65ECB2F6-0B04-2161-0F9E-A346D0429DD0}"/>
                  </a:ext>
                </a:extLst>
              </p:cNvPr>
              <p:cNvCxnSpPr>
                <a:cxnSpLocks/>
              </p:cNvCxnSpPr>
              <p:nvPr/>
            </p:nvCxnSpPr>
            <p:spPr>
              <a:xfrm rot="16200000" flipH="1">
                <a:off x="2798896" y="4802531"/>
                <a:ext cx="72000" cy="0"/>
              </a:xfrm>
              <a:prstGeom prst="line">
                <a:avLst/>
              </a:prstGeom>
              <a:noFill/>
              <a:ln w="9525" cap="flat" cmpd="sng" algn="ctr">
                <a:solidFill>
                  <a:srgbClr val="000000"/>
                </a:solidFill>
                <a:prstDash val="solid"/>
              </a:ln>
              <a:effectLst/>
            </p:spPr>
          </p:cxnSp>
          <p:sp>
            <p:nvSpPr>
              <p:cNvPr id="14602" name="TextBox 14601">
                <a:extLst>
                  <a:ext uri="{FF2B5EF4-FFF2-40B4-BE49-F238E27FC236}">
                    <a16:creationId xmlns:a16="http://schemas.microsoft.com/office/drawing/2014/main" id="{C0AF4E3F-3BE5-78FC-8D39-729D22C9847B}"/>
                  </a:ext>
                </a:extLst>
              </p:cNvPr>
              <p:cNvSpPr txBox="1"/>
              <p:nvPr/>
            </p:nvSpPr>
            <p:spPr>
              <a:xfrm>
                <a:off x="3062054"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14603" name="Straight Connector 14602">
                <a:extLst>
                  <a:ext uri="{FF2B5EF4-FFF2-40B4-BE49-F238E27FC236}">
                    <a16:creationId xmlns:a16="http://schemas.microsoft.com/office/drawing/2014/main" id="{87C6D9AD-CAE7-4A25-8FB2-6C112BD2815A}"/>
                  </a:ext>
                </a:extLst>
              </p:cNvPr>
              <p:cNvCxnSpPr>
                <a:cxnSpLocks/>
              </p:cNvCxnSpPr>
              <p:nvPr/>
            </p:nvCxnSpPr>
            <p:spPr>
              <a:xfrm rot="16200000" flipH="1">
                <a:off x="3236417" y="4802531"/>
                <a:ext cx="72000" cy="0"/>
              </a:xfrm>
              <a:prstGeom prst="line">
                <a:avLst/>
              </a:prstGeom>
              <a:noFill/>
              <a:ln w="9525" cap="flat" cmpd="sng" algn="ctr">
                <a:solidFill>
                  <a:srgbClr val="000000"/>
                </a:solidFill>
                <a:prstDash val="solid"/>
              </a:ln>
              <a:effectLst/>
            </p:spPr>
          </p:cxnSp>
          <p:sp>
            <p:nvSpPr>
              <p:cNvPr id="14604" name="TextBox 14603">
                <a:extLst>
                  <a:ext uri="{FF2B5EF4-FFF2-40B4-BE49-F238E27FC236}">
                    <a16:creationId xmlns:a16="http://schemas.microsoft.com/office/drawing/2014/main" id="{AB8BFC07-C3D1-E579-F904-8E8166CCE802}"/>
                  </a:ext>
                </a:extLst>
              </p:cNvPr>
              <p:cNvSpPr txBox="1"/>
              <p:nvPr/>
            </p:nvSpPr>
            <p:spPr>
              <a:xfrm>
                <a:off x="3499578"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14605" name="Straight Connector 14604">
                <a:extLst>
                  <a:ext uri="{FF2B5EF4-FFF2-40B4-BE49-F238E27FC236}">
                    <a16:creationId xmlns:a16="http://schemas.microsoft.com/office/drawing/2014/main" id="{7BE6428F-0463-25A1-E31D-862AE9DC54AD}"/>
                  </a:ext>
                </a:extLst>
              </p:cNvPr>
              <p:cNvCxnSpPr>
                <a:cxnSpLocks/>
              </p:cNvCxnSpPr>
              <p:nvPr/>
            </p:nvCxnSpPr>
            <p:spPr>
              <a:xfrm rot="16200000" flipH="1">
                <a:off x="3673939" y="4802531"/>
                <a:ext cx="72000" cy="0"/>
              </a:xfrm>
              <a:prstGeom prst="line">
                <a:avLst/>
              </a:prstGeom>
              <a:noFill/>
              <a:ln w="9525" cap="flat" cmpd="sng" algn="ctr">
                <a:solidFill>
                  <a:srgbClr val="000000"/>
                </a:solidFill>
                <a:prstDash val="solid"/>
              </a:ln>
              <a:effectLst/>
            </p:spPr>
          </p:cxnSp>
          <p:sp>
            <p:nvSpPr>
              <p:cNvPr id="14606" name="TextBox 14605">
                <a:extLst>
                  <a:ext uri="{FF2B5EF4-FFF2-40B4-BE49-F238E27FC236}">
                    <a16:creationId xmlns:a16="http://schemas.microsoft.com/office/drawing/2014/main" id="{0E94F54F-CD07-19A1-6EDE-4D4E170EED5B}"/>
                  </a:ext>
                </a:extLst>
              </p:cNvPr>
              <p:cNvSpPr txBox="1"/>
              <p:nvPr/>
            </p:nvSpPr>
            <p:spPr>
              <a:xfrm>
                <a:off x="393709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14607" name="Straight Connector 14606">
                <a:extLst>
                  <a:ext uri="{FF2B5EF4-FFF2-40B4-BE49-F238E27FC236}">
                    <a16:creationId xmlns:a16="http://schemas.microsoft.com/office/drawing/2014/main" id="{706CED51-3269-ED3C-8099-1F4C29AED598}"/>
                  </a:ext>
                </a:extLst>
              </p:cNvPr>
              <p:cNvCxnSpPr>
                <a:cxnSpLocks/>
              </p:cNvCxnSpPr>
              <p:nvPr/>
            </p:nvCxnSpPr>
            <p:spPr>
              <a:xfrm rot="16200000" flipH="1">
                <a:off x="4111460" y="4802531"/>
                <a:ext cx="72000" cy="0"/>
              </a:xfrm>
              <a:prstGeom prst="line">
                <a:avLst/>
              </a:prstGeom>
              <a:noFill/>
              <a:ln w="9525" cap="flat" cmpd="sng" algn="ctr">
                <a:solidFill>
                  <a:srgbClr val="000000"/>
                </a:solidFill>
                <a:prstDash val="solid"/>
              </a:ln>
              <a:effectLst/>
            </p:spPr>
          </p:cxnSp>
          <p:sp>
            <p:nvSpPr>
              <p:cNvPr id="14608" name="TextBox 14607">
                <a:extLst>
                  <a:ext uri="{FF2B5EF4-FFF2-40B4-BE49-F238E27FC236}">
                    <a16:creationId xmlns:a16="http://schemas.microsoft.com/office/drawing/2014/main" id="{CC6E4D69-A20A-C746-A79A-22184669C8A1}"/>
                  </a:ext>
                </a:extLst>
              </p:cNvPr>
              <p:cNvSpPr txBox="1"/>
              <p:nvPr/>
            </p:nvSpPr>
            <p:spPr>
              <a:xfrm>
                <a:off x="4374621"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14609" name="Straight Connector 14608">
                <a:extLst>
                  <a:ext uri="{FF2B5EF4-FFF2-40B4-BE49-F238E27FC236}">
                    <a16:creationId xmlns:a16="http://schemas.microsoft.com/office/drawing/2014/main" id="{72E42D62-840F-AE6C-A8E1-AA099C31030A}"/>
                  </a:ext>
                </a:extLst>
              </p:cNvPr>
              <p:cNvCxnSpPr>
                <a:cxnSpLocks/>
              </p:cNvCxnSpPr>
              <p:nvPr/>
            </p:nvCxnSpPr>
            <p:spPr>
              <a:xfrm rot="16200000" flipH="1">
                <a:off x="4548982" y="4802531"/>
                <a:ext cx="72000" cy="0"/>
              </a:xfrm>
              <a:prstGeom prst="line">
                <a:avLst/>
              </a:prstGeom>
              <a:noFill/>
              <a:ln w="9525" cap="flat" cmpd="sng" algn="ctr">
                <a:solidFill>
                  <a:srgbClr val="000000"/>
                </a:solidFill>
                <a:prstDash val="solid"/>
              </a:ln>
              <a:effectLst/>
            </p:spPr>
          </p:cxnSp>
          <p:sp>
            <p:nvSpPr>
              <p:cNvPr id="14610" name="TextBox 14609">
                <a:extLst>
                  <a:ext uri="{FF2B5EF4-FFF2-40B4-BE49-F238E27FC236}">
                    <a16:creationId xmlns:a16="http://schemas.microsoft.com/office/drawing/2014/main" id="{9BA69CD4-2EF1-0A97-2A49-97E93E660610}"/>
                  </a:ext>
                </a:extLst>
              </p:cNvPr>
              <p:cNvSpPr txBox="1"/>
              <p:nvPr/>
            </p:nvSpPr>
            <p:spPr>
              <a:xfrm>
                <a:off x="4812142"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14611" name="Straight Connector 14610">
                <a:extLst>
                  <a:ext uri="{FF2B5EF4-FFF2-40B4-BE49-F238E27FC236}">
                    <a16:creationId xmlns:a16="http://schemas.microsoft.com/office/drawing/2014/main" id="{935EECB9-181D-9CE3-4E91-AA1966B66D72}"/>
                  </a:ext>
                </a:extLst>
              </p:cNvPr>
              <p:cNvCxnSpPr>
                <a:cxnSpLocks/>
              </p:cNvCxnSpPr>
              <p:nvPr/>
            </p:nvCxnSpPr>
            <p:spPr>
              <a:xfrm rot="16200000" flipH="1">
                <a:off x="4986503" y="4802531"/>
                <a:ext cx="72000" cy="0"/>
              </a:xfrm>
              <a:prstGeom prst="line">
                <a:avLst/>
              </a:prstGeom>
              <a:noFill/>
              <a:ln w="9525" cap="flat" cmpd="sng" algn="ctr">
                <a:solidFill>
                  <a:srgbClr val="000000"/>
                </a:solidFill>
                <a:prstDash val="solid"/>
              </a:ln>
              <a:effectLst/>
            </p:spPr>
          </p:cxnSp>
          <p:sp>
            <p:nvSpPr>
              <p:cNvPr id="14612" name="TextBox 14611">
                <a:extLst>
                  <a:ext uri="{FF2B5EF4-FFF2-40B4-BE49-F238E27FC236}">
                    <a16:creationId xmlns:a16="http://schemas.microsoft.com/office/drawing/2014/main" id="{9B9F0F64-C734-911F-7A02-F13B55AF7108}"/>
                  </a:ext>
                </a:extLst>
              </p:cNvPr>
              <p:cNvSpPr txBox="1"/>
              <p:nvPr/>
            </p:nvSpPr>
            <p:spPr>
              <a:xfrm>
                <a:off x="5249663"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14613" name="Straight Connector 14612">
                <a:extLst>
                  <a:ext uri="{FF2B5EF4-FFF2-40B4-BE49-F238E27FC236}">
                    <a16:creationId xmlns:a16="http://schemas.microsoft.com/office/drawing/2014/main" id="{992AC41D-C223-C13A-0EE6-45226E9A7BCC}"/>
                  </a:ext>
                </a:extLst>
              </p:cNvPr>
              <p:cNvCxnSpPr>
                <a:cxnSpLocks/>
              </p:cNvCxnSpPr>
              <p:nvPr/>
            </p:nvCxnSpPr>
            <p:spPr>
              <a:xfrm rot="16200000" flipH="1">
                <a:off x="5424025" y="4802531"/>
                <a:ext cx="72000" cy="0"/>
              </a:xfrm>
              <a:prstGeom prst="line">
                <a:avLst/>
              </a:prstGeom>
              <a:noFill/>
              <a:ln w="9525" cap="flat" cmpd="sng" algn="ctr">
                <a:solidFill>
                  <a:srgbClr val="000000"/>
                </a:solidFill>
                <a:prstDash val="solid"/>
              </a:ln>
              <a:effectLst/>
            </p:spPr>
          </p:cxnSp>
          <p:sp>
            <p:nvSpPr>
              <p:cNvPr id="14614" name="TextBox 14613">
                <a:extLst>
                  <a:ext uri="{FF2B5EF4-FFF2-40B4-BE49-F238E27FC236}">
                    <a16:creationId xmlns:a16="http://schemas.microsoft.com/office/drawing/2014/main" id="{24426CB3-FCF7-A669-9E23-52EA69E53F6C}"/>
                  </a:ext>
                </a:extLst>
              </p:cNvPr>
              <p:cNvSpPr txBox="1"/>
              <p:nvPr/>
            </p:nvSpPr>
            <p:spPr>
              <a:xfrm>
                <a:off x="5687185"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14615" name="Straight Connector 14614">
                <a:extLst>
                  <a:ext uri="{FF2B5EF4-FFF2-40B4-BE49-F238E27FC236}">
                    <a16:creationId xmlns:a16="http://schemas.microsoft.com/office/drawing/2014/main" id="{38B58B3F-C443-E7D6-E93E-74C262339B6B}"/>
                  </a:ext>
                </a:extLst>
              </p:cNvPr>
              <p:cNvCxnSpPr>
                <a:cxnSpLocks/>
              </p:cNvCxnSpPr>
              <p:nvPr/>
            </p:nvCxnSpPr>
            <p:spPr>
              <a:xfrm rot="16200000" flipH="1">
                <a:off x="5861546" y="4802531"/>
                <a:ext cx="72000" cy="0"/>
              </a:xfrm>
              <a:prstGeom prst="line">
                <a:avLst/>
              </a:prstGeom>
              <a:noFill/>
              <a:ln w="9525" cap="flat" cmpd="sng" algn="ctr">
                <a:solidFill>
                  <a:srgbClr val="000000"/>
                </a:solidFill>
                <a:prstDash val="solid"/>
              </a:ln>
              <a:effectLst/>
            </p:spPr>
          </p:cxnSp>
          <p:sp>
            <p:nvSpPr>
              <p:cNvPr id="14616" name="TextBox 14615">
                <a:extLst>
                  <a:ext uri="{FF2B5EF4-FFF2-40B4-BE49-F238E27FC236}">
                    <a16:creationId xmlns:a16="http://schemas.microsoft.com/office/drawing/2014/main" id="{4C358BC9-040E-0884-6E76-25ABB8EC31B9}"/>
                  </a:ext>
                </a:extLst>
              </p:cNvPr>
              <p:cNvSpPr txBox="1"/>
              <p:nvPr/>
            </p:nvSpPr>
            <p:spPr>
              <a:xfrm>
                <a:off x="6124706"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14617" name="Straight Connector 14616">
                <a:extLst>
                  <a:ext uri="{FF2B5EF4-FFF2-40B4-BE49-F238E27FC236}">
                    <a16:creationId xmlns:a16="http://schemas.microsoft.com/office/drawing/2014/main" id="{2E39F95B-0CE2-5289-66E7-E98CAFDD1CC5}"/>
                  </a:ext>
                </a:extLst>
              </p:cNvPr>
              <p:cNvCxnSpPr>
                <a:cxnSpLocks/>
              </p:cNvCxnSpPr>
              <p:nvPr/>
            </p:nvCxnSpPr>
            <p:spPr>
              <a:xfrm rot="16200000" flipH="1">
                <a:off x="6299068" y="4802531"/>
                <a:ext cx="72000" cy="0"/>
              </a:xfrm>
              <a:prstGeom prst="line">
                <a:avLst/>
              </a:prstGeom>
              <a:noFill/>
              <a:ln w="9525" cap="flat" cmpd="sng" algn="ctr">
                <a:solidFill>
                  <a:srgbClr val="000000"/>
                </a:solidFill>
                <a:prstDash val="solid"/>
              </a:ln>
              <a:effectLst/>
            </p:spPr>
          </p:cxnSp>
          <p:sp>
            <p:nvSpPr>
              <p:cNvPr id="14618" name="TextBox 14617">
                <a:extLst>
                  <a:ext uri="{FF2B5EF4-FFF2-40B4-BE49-F238E27FC236}">
                    <a16:creationId xmlns:a16="http://schemas.microsoft.com/office/drawing/2014/main" id="{B0BB8470-C299-6E71-E7B1-65C277FD9E52}"/>
                  </a:ext>
                </a:extLst>
              </p:cNvPr>
              <p:cNvSpPr txBox="1"/>
              <p:nvPr/>
            </p:nvSpPr>
            <p:spPr>
              <a:xfrm>
                <a:off x="6562227"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14619" name="Straight Connector 14618">
                <a:extLst>
                  <a:ext uri="{FF2B5EF4-FFF2-40B4-BE49-F238E27FC236}">
                    <a16:creationId xmlns:a16="http://schemas.microsoft.com/office/drawing/2014/main" id="{6AF769A7-FDBA-45ED-8E0F-38272CB4DA7B}"/>
                  </a:ext>
                </a:extLst>
              </p:cNvPr>
              <p:cNvCxnSpPr>
                <a:cxnSpLocks/>
              </p:cNvCxnSpPr>
              <p:nvPr/>
            </p:nvCxnSpPr>
            <p:spPr>
              <a:xfrm rot="16200000" flipH="1">
                <a:off x="6736589" y="4802531"/>
                <a:ext cx="72000" cy="0"/>
              </a:xfrm>
              <a:prstGeom prst="line">
                <a:avLst/>
              </a:prstGeom>
              <a:noFill/>
              <a:ln w="9525" cap="flat" cmpd="sng" algn="ctr">
                <a:solidFill>
                  <a:srgbClr val="000000"/>
                </a:solidFill>
                <a:prstDash val="solid"/>
              </a:ln>
              <a:effectLst/>
            </p:spPr>
          </p:cxnSp>
          <p:sp>
            <p:nvSpPr>
              <p:cNvPr id="14620" name="TextBox 14619">
                <a:extLst>
                  <a:ext uri="{FF2B5EF4-FFF2-40B4-BE49-F238E27FC236}">
                    <a16:creationId xmlns:a16="http://schemas.microsoft.com/office/drawing/2014/main" id="{098AB2A3-82C3-8202-6465-C47E50C7E761}"/>
                  </a:ext>
                </a:extLst>
              </p:cNvPr>
              <p:cNvSpPr txBox="1"/>
              <p:nvPr/>
            </p:nvSpPr>
            <p:spPr>
              <a:xfrm>
                <a:off x="6999750" y="4802344"/>
                <a:ext cx="425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14621" name="Straight Connector 14620">
                <a:extLst>
                  <a:ext uri="{FF2B5EF4-FFF2-40B4-BE49-F238E27FC236}">
                    <a16:creationId xmlns:a16="http://schemas.microsoft.com/office/drawing/2014/main" id="{C330485D-0CCC-5B1A-5BC1-96C3FEAF37BC}"/>
                  </a:ext>
                </a:extLst>
              </p:cNvPr>
              <p:cNvCxnSpPr>
                <a:cxnSpLocks/>
              </p:cNvCxnSpPr>
              <p:nvPr/>
            </p:nvCxnSpPr>
            <p:spPr>
              <a:xfrm rot="16200000" flipH="1">
                <a:off x="7174111" y="4802531"/>
                <a:ext cx="72000" cy="0"/>
              </a:xfrm>
              <a:prstGeom prst="line">
                <a:avLst/>
              </a:prstGeom>
              <a:noFill/>
              <a:ln w="9525" cap="flat" cmpd="sng" algn="ctr">
                <a:solidFill>
                  <a:srgbClr val="000000"/>
                </a:solidFill>
                <a:prstDash val="solid"/>
              </a:ln>
              <a:effectLst/>
            </p:spPr>
          </p:cxnSp>
          <p:cxnSp>
            <p:nvCxnSpPr>
              <p:cNvPr id="14622" name="Straight Connector 14621">
                <a:extLst>
                  <a:ext uri="{FF2B5EF4-FFF2-40B4-BE49-F238E27FC236}">
                    <a16:creationId xmlns:a16="http://schemas.microsoft.com/office/drawing/2014/main" id="{9BBCA429-57C1-B5EC-DBF6-3F4C37752479}"/>
                  </a:ext>
                </a:extLst>
              </p:cNvPr>
              <p:cNvCxnSpPr>
                <a:cxnSpLocks/>
              </p:cNvCxnSpPr>
              <p:nvPr/>
            </p:nvCxnSpPr>
            <p:spPr>
              <a:xfrm>
                <a:off x="1011147" y="4108830"/>
                <a:ext cx="72000" cy="0"/>
              </a:xfrm>
              <a:prstGeom prst="line">
                <a:avLst/>
              </a:prstGeom>
              <a:noFill/>
              <a:ln w="9525" cap="flat" cmpd="sng" algn="ctr">
                <a:solidFill>
                  <a:srgbClr val="000000"/>
                </a:solidFill>
                <a:prstDash val="solid"/>
              </a:ln>
              <a:effectLst/>
            </p:spPr>
          </p:cxnSp>
          <p:sp>
            <p:nvSpPr>
              <p:cNvPr id="14623" name="Freeform: Shape 14622">
                <a:extLst>
                  <a:ext uri="{FF2B5EF4-FFF2-40B4-BE49-F238E27FC236}">
                    <a16:creationId xmlns:a16="http://schemas.microsoft.com/office/drawing/2014/main" id="{33EA6885-0B35-BE0F-CEF1-CFE225613D58}"/>
                  </a:ext>
                </a:extLst>
              </p:cNvPr>
              <p:cNvSpPr/>
              <p:nvPr/>
            </p:nvSpPr>
            <p:spPr>
              <a:xfrm>
                <a:off x="1084807" y="1479549"/>
                <a:ext cx="6562824"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14624" name="Straight Connector 14623">
                <a:extLst>
                  <a:ext uri="{FF2B5EF4-FFF2-40B4-BE49-F238E27FC236}">
                    <a16:creationId xmlns:a16="http://schemas.microsoft.com/office/drawing/2014/main" id="{C527106B-D5BA-C8E8-B989-99BF1C87721F}"/>
                  </a:ext>
                </a:extLst>
              </p:cNvPr>
              <p:cNvCxnSpPr>
                <a:cxnSpLocks/>
              </p:cNvCxnSpPr>
              <p:nvPr/>
            </p:nvCxnSpPr>
            <p:spPr>
              <a:xfrm>
                <a:off x="1011146" y="4766150"/>
                <a:ext cx="72000" cy="0"/>
              </a:xfrm>
              <a:prstGeom prst="line">
                <a:avLst/>
              </a:prstGeom>
              <a:noFill/>
              <a:ln w="9525" cap="flat" cmpd="sng" algn="ctr">
                <a:solidFill>
                  <a:srgbClr val="000000"/>
                </a:solidFill>
                <a:prstDash val="solid"/>
              </a:ln>
              <a:effectLst/>
            </p:spPr>
          </p:cxnSp>
        </p:grpSp>
      </p:grpSp>
      <p:grpSp>
        <p:nvGrpSpPr>
          <p:cNvPr id="6" name="Group 5">
            <a:extLst>
              <a:ext uri="{FF2B5EF4-FFF2-40B4-BE49-F238E27FC236}">
                <a16:creationId xmlns:a16="http://schemas.microsoft.com/office/drawing/2014/main" id="{A99EF632-D36C-C789-ECDE-FCE3817AB13F}"/>
              </a:ext>
            </a:extLst>
          </p:cNvPr>
          <p:cNvGrpSpPr/>
          <p:nvPr/>
        </p:nvGrpSpPr>
        <p:grpSpPr>
          <a:xfrm>
            <a:off x="648942" y="1435894"/>
            <a:ext cx="6848169" cy="2243137"/>
            <a:chOff x="3490912" y="2476500"/>
            <a:chExt cx="5207698" cy="1909000"/>
          </a:xfrm>
        </p:grpSpPr>
        <p:grpSp>
          <p:nvGrpSpPr>
            <p:cNvPr id="15" name="Graphic 1794">
              <a:extLst>
                <a:ext uri="{FF2B5EF4-FFF2-40B4-BE49-F238E27FC236}">
                  <a16:creationId xmlns:a16="http://schemas.microsoft.com/office/drawing/2014/main" id="{05565A14-88F4-D192-FE7A-0D9C427E5011}"/>
                </a:ext>
              </a:extLst>
            </p:cNvPr>
            <p:cNvGrpSpPr/>
            <p:nvPr/>
          </p:nvGrpSpPr>
          <p:grpSpPr>
            <a:xfrm>
              <a:off x="3490912" y="2476500"/>
              <a:ext cx="5207698" cy="1909000"/>
              <a:chOff x="3490912" y="2476500"/>
              <a:chExt cx="5207698" cy="1909000"/>
            </a:xfrm>
          </p:grpSpPr>
          <p:grpSp>
            <p:nvGrpSpPr>
              <p:cNvPr id="17" name="Graphic 1794">
                <a:extLst>
                  <a:ext uri="{FF2B5EF4-FFF2-40B4-BE49-F238E27FC236}">
                    <a16:creationId xmlns:a16="http://schemas.microsoft.com/office/drawing/2014/main" id="{8B44EAFF-8866-4973-EEFA-DB96EDB5FDD4}"/>
                  </a:ext>
                </a:extLst>
              </p:cNvPr>
              <p:cNvGrpSpPr/>
              <p:nvPr/>
            </p:nvGrpSpPr>
            <p:grpSpPr>
              <a:xfrm>
                <a:off x="8622886" y="4309776"/>
                <a:ext cx="75723" cy="75723"/>
                <a:chOff x="8622886" y="4309776"/>
                <a:chExt cx="75723" cy="75723"/>
              </a:xfrm>
            </p:grpSpPr>
            <p:sp>
              <p:nvSpPr>
                <p:cNvPr id="15232" name="Freeform: Shape 15231">
                  <a:extLst>
                    <a:ext uri="{FF2B5EF4-FFF2-40B4-BE49-F238E27FC236}">
                      <a16:creationId xmlns:a16="http://schemas.microsoft.com/office/drawing/2014/main" id="{CEF0EA2A-A374-2BAF-BEB5-8B11C9755119}"/>
                    </a:ext>
                  </a:extLst>
                </p:cNvPr>
                <p:cNvSpPr/>
                <p:nvPr/>
              </p:nvSpPr>
              <p:spPr>
                <a:xfrm>
                  <a:off x="866079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5236" name="Freeform: Shape 15235">
                  <a:extLst>
                    <a:ext uri="{FF2B5EF4-FFF2-40B4-BE49-F238E27FC236}">
                      <a16:creationId xmlns:a16="http://schemas.microsoft.com/office/drawing/2014/main" id="{C6075C3E-CA46-1BB9-7281-412375FCDFFE}"/>
                    </a:ext>
                  </a:extLst>
                </p:cNvPr>
                <p:cNvSpPr/>
                <p:nvPr/>
              </p:nvSpPr>
              <p:spPr>
                <a:xfrm>
                  <a:off x="8622886"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 name="Graphic 1794">
                <a:extLst>
                  <a:ext uri="{FF2B5EF4-FFF2-40B4-BE49-F238E27FC236}">
                    <a16:creationId xmlns:a16="http://schemas.microsoft.com/office/drawing/2014/main" id="{912582A5-57EE-BDE9-7176-530EF372A485}"/>
                  </a:ext>
                </a:extLst>
              </p:cNvPr>
              <p:cNvGrpSpPr/>
              <p:nvPr/>
            </p:nvGrpSpPr>
            <p:grpSpPr>
              <a:xfrm>
                <a:off x="8241220" y="4309776"/>
                <a:ext cx="75723" cy="75723"/>
                <a:chOff x="8241220" y="4309776"/>
                <a:chExt cx="75723" cy="75723"/>
              </a:xfrm>
            </p:grpSpPr>
            <p:sp>
              <p:nvSpPr>
                <p:cNvPr id="14717" name="Freeform: Shape 14716">
                  <a:extLst>
                    <a:ext uri="{FF2B5EF4-FFF2-40B4-BE49-F238E27FC236}">
                      <a16:creationId xmlns:a16="http://schemas.microsoft.com/office/drawing/2014/main" id="{FBCC637E-5E18-3406-D2A4-B3E299D06EF3}"/>
                    </a:ext>
                  </a:extLst>
                </p:cNvPr>
                <p:cNvSpPr/>
                <p:nvPr/>
              </p:nvSpPr>
              <p:spPr>
                <a:xfrm>
                  <a:off x="8279129"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19" name="Freeform: Shape 14718">
                  <a:extLst>
                    <a:ext uri="{FF2B5EF4-FFF2-40B4-BE49-F238E27FC236}">
                      <a16:creationId xmlns:a16="http://schemas.microsoft.com/office/drawing/2014/main" id="{A77F392C-3156-96AE-A8CD-6D48327F519B}"/>
                    </a:ext>
                  </a:extLst>
                </p:cNvPr>
                <p:cNvSpPr/>
                <p:nvPr/>
              </p:nvSpPr>
              <p:spPr>
                <a:xfrm>
                  <a:off x="824122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 name="Graphic 1794">
                <a:extLst>
                  <a:ext uri="{FF2B5EF4-FFF2-40B4-BE49-F238E27FC236}">
                    <a16:creationId xmlns:a16="http://schemas.microsoft.com/office/drawing/2014/main" id="{7BA85F65-7A58-A251-40F5-0D951119C921}"/>
                  </a:ext>
                </a:extLst>
              </p:cNvPr>
              <p:cNvGrpSpPr/>
              <p:nvPr/>
            </p:nvGrpSpPr>
            <p:grpSpPr>
              <a:xfrm>
                <a:off x="8225884" y="4309776"/>
                <a:ext cx="75628" cy="75723"/>
                <a:chOff x="8225884" y="4309776"/>
                <a:chExt cx="75628" cy="75723"/>
              </a:xfrm>
            </p:grpSpPr>
            <p:sp>
              <p:nvSpPr>
                <p:cNvPr id="14714" name="Freeform: Shape 14713">
                  <a:extLst>
                    <a:ext uri="{FF2B5EF4-FFF2-40B4-BE49-F238E27FC236}">
                      <a16:creationId xmlns:a16="http://schemas.microsoft.com/office/drawing/2014/main" id="{85518FD2-44E6-373C-8A72-97E721DC11A6}"/>
                    </a:ext>
                  </a:extLst>
                </p:cNvPr>
                <p:cNvSpPr/>
                <p:nvPr/>
              </p:nvSpPr>
              <p:spPr>
                <a:xfrm>
                  <a:off x="8263699"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16" name="Freeform: Shape 14715">
                  <a:extLst>
                    <a:ext uri="{FF2B5EF4-FFF2-40B4-BE49-F238E27FC236}">
                      <a16:creationId xmlns:a16="http://schemas.microsoft.com/office/drawing/2014/main" id="{554204F9-0146-8004-746B-0AD9E9A5948D}"/>
                    </a:ext>
                  </a:extLst>
                </p:cNvPr>
                <p:cNvSpPr/>
                <p:nvPr/>
              </p:nvSpPr>
              <p:spPr>
                <a:xfrm>
                  <a:off x="8225884" y="43475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0" name="Graphic 1794">
                <a:extLst>
                  <a:ext uri="{FF2B5EF4-FFF2-40B4-BE49-F238E27FC236}">
                    <a16:creationId xmlns:a16="http://schemas.microsoft.com/office/drawing/2014/main" id="{AC8B42B2-5CB0-9335-FB4B-BF1CF367C491}"/>
                  </a:ext>
                </a:extLst>
              </p:cNvPr>
              <p:cNvGrpSpPr/>
              <p:nvPr/>
            </p:nvGrpSpPr>
            <p:grpSpPr>
              <a:xfrm>
                <a:off x="7820310" y="4309776"/>
                <a:ext cx="75723" cy="75723"/>
                <a:chOff x="7820310" y="4309776"/>
                <a:chExt cx="75723" cy="75723"/>
              </a:xfrm>
            </p:grpSpPr>
            <p:sp>
              <p:nvSpPr>
                <p:cNvPr id="14712" name="Freeform: Shape 14711">
                  <a:extLst>
                    <a:ext uri="{FF2B5EF4-FFF2-40B4-BE49-F238E27FC236}">
                      <a16:creationId xmlns:a16="http://schemas.microsoft.com/office/drawing/2014/main" id="{E9CFE490-313A-39BB-FF77-9F053DC02517}"/>
                    </a:ext>
                  </a:extLst>
                </p:cNvPr>
                <p:cNvSpPr/>
                <p:nvPr/>
              </p:nvSpPr>
              <p:spPr>
                <a:xfrm>
                  <a:off x="7858124"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13" name="Freeform: Shape 14712">
                  <a:extLst>
                    <a:ext uri="{FF2B5EF4-FFF2-40B4-BE49-F238E27FC236}">
                      <a16:creationId xmlns:a16="http://schemas.microsoft.com/office/drawing/2014/main" id="{D97E473F-DF2B-8001-F676-AC23B0339659}"/>
                    </a:ext>
                  </a:extLst>
                </p:cNvPr>
                <p:cNvSpPr/>
                <p:nvPr/>
              </p:nvSpPr>
              <p:spPr>
                <a:xfrm>
                  <a:off x="782031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1" name="Graphic 1794">
                <a:extLst>
                  <a:ext uri="{FF2B5EF4-FFF2-40B4-BE49-F238E27FC236}">
                    <a16:creationId xmlns:a16="http://schemas.microsoft.com/office/drawing/2014/main" id="{CBB5CBAA-7092-52AF-F06F-ABF66341898D}"/>
                  </a:ext>
                </a:extLst>
              </p:cNvPr>
              <p:cNvGrpSpPr/>
              <p:nvPr/>
            </p:nvGrpSpPr>
            <p:grpSpPr>
              <a:xfrm>
                <a:off x="7771447" y="4309776"/>
                <a:ext cx="75723" cy="75723"/>
                <a:chOff x="7771447" y="4309776"/>
                <a:chExt cx="75723" cy="75723"/>
              </a:xfrm>
            </p:grpSpPr>
            <p:sp>
              <p:nvSpPr>
                <p:cNvPr id="14710" name="Freeform: Shape 14709">
                  <a:extLst>
                    <a:ext uri="{FF2B5EF4-FFF2-40B4-BE49-F238E27FC236}">
                      <a16:creationId xmlns:a16="http://schemas.microsoft.com/office/drawing/2014/main" id="{FFFA2F79-524D-DD45-C10E-F959213A3E71}"/>
                    </a:ext>
                  </a:extLst>
                </p:cNvPr>
                <p:cNvSpPr/>
                <p:nvPr/>
              </p:nvSpPr>
              <p:spPr>
                <a:xfrm>
                  <a:off x="780935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11" name="Freeform: Shape 14710">
                  <a:extLst>
                    <a:ext uri="{FF2B5EF4-FFF2-40B4-BE49-F238E27FC236}">
                      <a16:creationId xmlns:a16="http://schemas.microsoft.com/office/drawing/2014/main" id="{CF47D74A-F9A6-AFFE-209D-DEDE952F9B36}"/>
                    </a:ext>
                  </a:extLst>
                </p:cNvPr>
                <p:cNvSpPr/>
                <p:nvPr/>
              </p:nvSpPr>
              <p:spPr>
                <a:xfrm>
                  <a:off x="7771447"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2" name="Graphic 1794">
                <a:extLst>
                  <a:ext uri="{FF2B5EF4-FFF2-40B4-BE49-F238E27FC236}">
                    <a16:creationId xmlns:a16="http://schemas.microsoft.com/office/drawing/2014/main" id="{4073EF5C-ACD9-EF26-B595-44A5AB070861}"/>
                  </a:ext>
                </a:extLst>
              </p:cNvPr>
              <p:cNvGrpSpPr/>
              <p:nvPr/>
            </p:nvGrpSpPr>
            <p:grpSpPr>
              <a:xfrm>
                <a:off x="7345108" y="4309776"/>
                <a:ext cx="75723" cy="75723"/>
                <a:chOff x="7345108" y="4309776"/>
                <a:chExt cx="75723" cy="75723"/>
              </a:xfrm>
            </p:grpSpPr>
            <p:sp>
              <p:nvSpPr>
                <p:cNvPr id="14708" name="Freeform: Shape 14707">
                  <a:extLst>
                    <a:ext uri="{FF2B5EF4-FFF2-40B4-BE49-F238E27FC236}">
                      <a16:creationId xmlns:a16="http://schemas.microsoft.com/office/drawing/2014/main" id="{472E7AEC-4EA7-EBCC-358E-CF423AB1D505}"/>
                    </a:ext>
                  </a:extLst>
                </p:cNvPr>
                <p:cNvSpPr/>
                <p:nvPr/>
              </p:nvSpPr>
              <p:spPr>
                <a:xfrm>
                  <a:off x="7382922"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09" name="Freeform: Shape 14708">
                  <a:extLst>
                    <a:ext uri="{FF2B5EF4-FFF2-40B4-BE49-F238E27FC236}">
                      <a16:creationId xmlns:a16="http://schemas.microsoft.com/office/drawing/2014/main" id="{343A2022-8989-7677-0C90-0019AC22C456}"/>
                    </a:ext>
                  </a:extLst>
                </p:cNvPr>
                <p:cNvSpPr/>
                <p:nvPr/>
              </p:nvSpPr>
              <p:spPr>
                <a:xfrm>
                  <a:off x="7345108"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3" name="Graphic 1794">
                <a:extLst>
                  <a:ext uri="{FF2B5EF4-FFF2-40B4-BE49-F238E27FC236}">
                    <a16:creationId xmlns:a16="http://schemas.microsoft.com/office/drawing/2014/main" id="{C18559CF-6641-6E33-9609-7DA06A14EFB4}"/>
                  </a:ext>
                </a:extLst>
              </p:cNvPr>
              <p:cNvGrpSpPr/>
              <p:nvPr/>
            </p:nvGrpSpPr>
            <p:grpSpPr>
              <a:xfrm>
                <a:off x="7356061" y="4309776"/>
                <a:ext cx="75628" cy="75723"/>
                <a:chOff x="7356061" y="4309776"/>
                <a:chExt cx="75628" cy="75723"/>
              </a:xfrm>
            </p:grpSpPr>
            <p:sp>
              <p:nvSpPr>
                <p:cNvPr id="14705" name="Freeform: Shape 14704">
                  <a:extLst>
                    <a:ext uri="{FF2B5EF4-FFF2-40B4-BE49-F238E27FC236}">
                      <a16:creationId xmlns:a16="http://schemas.microsoft.com/office/drawing/2014/main" id="{7DF7E74F-59EE-6083-3E61-83B0A851DB35}"/>
                    </a:ext>
                  </a:extLst>
                </p:cNvPr>
                <p:cNvSpPr/>
                <p:nvPr/>
              </p:nvSpPr>
              <p:spPr>
                <a:xfrm>
                  <a:off x="7393876"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06" name="Freeform: Shape 14705">
                  <a:extLst>
                    <a:ext uri="{FF2B5EF4-FFF2-40B4-BE49-F238E27FC236}">
                      <a16:creationId xmlns:a16="http://schemas.microsoft.com/office/drawing/2014/main" id="{8968E7E8-A379-9EC0-EAF1-532492DCE107}"/>
                    </a:ext>
                  </a:extLst>
                </p:cNvPr>
                <p:cNvSpPr/>
                <p:nvPr/>
              </p:nvSpPr>
              <p:spPr>
                <a:xfrm>
                  <a:off x="7356061" y="43475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4" name="Graphic 1794">
                <a:extLst>
                  <a:ext uri="{FF2B5EF4-FFF2-40B4-BE49-F238E27FC236}">
                    <a16:creationId xmlns:a16="http://schemas.microsoft.com/office/drawing/2014/main" id="{01DBFAC4-8056-894B-789C-9D372200BCC5}"/>
                  </a:ext>
                </a:extLst>
              </p:cNvPr>
              <p:cNvGrpSpPr/>
              <p:nvPr/>
            </p:nvGrpSpPr>
            <p:grpSpPr>
              <a:xfrm>
                <a:off x="7334154" y="4309776"/>
                <a:ext cx="75723" cy="75723"/>
                <a:chOff x="7334154" y="4309776"/>
                <a:chExt cx="75723" cy="75723"/>
              </a:xfrm>
            </p:grpSpPr>
            <p:sp>
              <p:nvSpPr>
                <p:cNvPr id="14703" name="Freeform: Shape 14702">
                  <a:extLst>
                    <a:ext uri="{FF2B5EF4-FFF2-40B4-BE49-F238E27FC236}">
                      <a16:creationId xmlns:a16="http://schemas.microsoft.com/office/drawing/2014/main" id="{ED70E19D-70CD-F3B3-7363-903A80D257E8}"/>
                    </a:ext>
                  </a:extLst>
                </p:cNvPr>
                <p:cNvSpPr/>
                <p:nvPr/>
              </p:nvSpPr>
              <p:spPr>
                <a:xfrm>
                  <a:off x="7371968"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04" name="Freeform: Shape 14703">
                  <a:extLst>
                    <a:ext uri="{FF2B5EF4-FFF2-40B4-BE49-F238E27FC236}">
                      <a16:creationId xmlns:a16="http://schemas.microsoft.com/office/drawing/2014/main" id="{FEAD5DFF-F800-BC51-7946-FE6846F4C1BA}"/>
                    </a:ext>
                  </a:extLst>
                </p:cNvPr>
                <p:cNvSpPr/>
                <p:nvPr/>
              </p:nvSpPr>
              <p:spPr>
                <a:xfrm>
                  <a:off x="7334154"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5" name="Graphic 1794">
                <a:extLst>
                  <a:ext uri="{FF2B5EF4-FFF2-40B4-BE49-F238E27FC236}">
                    <a16:creationId xmlns:a16="http://schemas.microsoft.com/office/drawing/2014/main" id="{70D267D1-CDD0-73C7-5333-E277BD91A5D1}"/>
                  </a:ext>
                </a:extLst>
              </p:cNvPr>
              <p:cNvGrpSpPr/>
              <p:nvPr/>
            </p:nvGrpSpPr>
            <p:grpSpPr>
              <a:xfrm>
                <a:off x="7323200" y="4309776"/>
                <a:ext cx="75723" cy="75723"/>
                <a:chOff x="7323200" y="4309776"/>
                <a:chExt cx="75723" cy="75723"/>
              </a:xfrm>
            </p:grpSpPr>
            <p:sp>
              <p:nvSpPr>
                <p:cNvPr id="14701" name="Freeform: Shape 14700">
                  <a:extLst>
                    <a:ext uri="{FF2B5EF4-FFF2-40B4-BE49-F238E27FC236}">
                      <a16:creationId xmlns:a16="http://schemas.microsoft.com/office/drawing/2014/main" id="{940BEFEA-6363-D672-8972-33D4A548D930}"/>
                    </a:ext>
                  </a:extLst>
                </p:cNvPr>
                <p:cNvSpPr/>
                <p:nvPr/>
              </p:nvSpPr>
              <p:spPr>
                <a:xfrm>
                  <a:off x="7361014"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02" name="Freeform: Shape 14701">
                  <a:extLst>
                    <a:ext uri="{FF2B5EF4-FFF2-40B4-BE49-F238E27FC236}">
                      <a16:creationId xmlns:a16="http://schemas.microsoft.com/office/drawing/2014/main" id="{72A29DFE-EAC5-A30A-95B4-DD8BAA639126}"/>
                    </a:ext>
                  </a:extLst>
                </p:cNvPr>
                <p:cNvSpPr/>
                <p:nvPr/>
              </p:nvSpPr>
              <p:spPr>
                <a:xfrm>
                  <a:off x="7323200"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6" name="Graphic 1794">
                <a:extLst>
                  <a:ext uri="{FF2B5EF4-FFF2-40B4-BE49-F238E27FC236}">
                    <a16:creationId xmlns:a16="http://schemas.microsoft.com/office/drawing/2014/main" id="{515D3C49-AE53-A973-7A1E-D6203D44D040}"/>
                  </a:ext>
                </a:extLst>
              </p:cNvPr>
              <p:cNvGrpSpPr/>
              <p:nvPr/>
            </p:nvGrpSpPr>
            <p:grpSpPr>
              <a:xfrm>
                <a:off x="7021829" y="4309776"/>
                <a:ext cx="75628" cy="75723"/>
                <a:chOff x="7021829" y="4309776"/>
                <a:chExt cx="75628" cy="75723"/>
              </a:xfrm>
            </p:grpSpPr>
            <p:sp>
              <p:nvSpPr>
                <p:cNvPr id="14699" name="Freeform: Shape 14698">
                  <a:extLst>
                    <a:ext uri="{FF2B5EF4-FFF2-40B4-BE49-F238E27FC236}">
                      <a16:creationId xmlns:a16="http://schemas.microsoft.com/office/drawing/2014/main" id="{B1DAF4BF-A9B6-591B-FA05-59E4D01D985A}"/>
                    </a:ext>
                  </a:extLst>
                </p:cNvPr>
                <p:cNvSpPr/>
                <p:nvPr/>
              </p:nvSpPr>
              <p:spPr>
                <a:xfrm>
                  <a:off x="7059643"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700" name="Freeform: Shape 14699">
                  <a:extLst>
                    <a:ext uri="{FF2B5EF4-FFF2-40B4-BE49-F238E27FC236}">
                      <a16:creationId xmlns:a16="http://schemas.microsoft.com/office/drawing/2014/main" id="{BBA8625B-08D9-2F54-BFE0-CDA0ED3919CB}"/>
                    </a:ext>
                  </a:extLst>
                </p:cNvPr>
                <p:cNvSpPr/>
                <p:nvPr/>
              </p:nvSpPr>
              <p:spPr>
                <a:xfrm>
                  <a:off x="7021829" y="43475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7" name="Graphic 1794">
                <a:extLst>
                  <a:ext uri="{FF2B5EF4-FFF2-40B4-BE49-F238E27FC236}">
                    <a16:creationId xmlns:a16="http://schemas.microsoft.com/office/drawing/2014/main" id="{72983493-1A32-80CF-809C-7F0754B0735B}"/>
                  </a:ext>
                </a:extLst>
              </p:cNvPr>
              <p:cNvGrpSpPr/>
              <p:nvPr/>
            </p:nvGrpSpPr>
            <p:grpSpPr>
              <a:xfrm>
                <a:off x="6972966" y="4309776"/>
                <a:ext cx="75723" cy="75723"/>
                <a:chOff x="6972966" y="4309776"/>
                <a:chExt cx="75723" cy="75723"/>
              </a:xfrm>
            </p:grpSpPr>
            <p:sp>
              <p:nvSpPr>
                <p:cNvPr id="14697" name="Freeform: Shape 14696">
                  <a:extLst>
                    <a:ext uri="{FF2B5EF4-FFF2-40B4-BE49-F238E27FC236}">
                      <a16:creationId xmlns:a16="http://schemas.microsoft.com/office/drawing/2014/main" id="{596467EB-47C9-3769-3C10-CD11532FD7B1}"/>
                    </a:ext>
                  </a:extLst>
                </p:cNvPr>
                <p:cNvSpPr/>
                <p:nvPr/>
              </p:nvSpPr>
              <p:spPr>
                <a:xfrm>
                  <a:off x="7010875" y="4309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98" name="Freeform: Shape 14697">
                  <a:extLst>
                    <a:ext uri="{FF2B5EF4-FFF2-40B4-BE49-F238E27FC236}">
                      <a16:creationId xmlns:a16="http://schemas.microsoft.com/office/drawing/2014/main" id="{271415D8-C7EF-D804-7D54-4E573217CBCE}"/>
                    </a:ext>
                  </a:extLst>
                </p:cNvPr>
                <p:cNvSpPr/>
                <p:nvPr/>
              </p:nvSpPr>
              <p:spPr>
                <a:xfrm>
                  <a:off x="6972966" y="43475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8" name="Graphic 1794">
                <a:extLst>
                  <a:ext uri="{FF2B5EF4-FFF2-40B4-BE49-F238E27FC236}">
                    <a16:creationId xmlns:a16="http://schemas.microsoft.com/office/drawing/2014/main" id="{B9C5E76F-FD48-58E6-9E45-CB964AE20876}"/>
                  </a:ext>
                </a:extLst>
              </p:cNvPr>
              <p:cNvGrpSpPr/>
              <p:nvPr/>
            </p:nvGrpSpPr>
            <p:grpSpPr>
              <a:xfrm>
                <a:off x="6959631" y="4237672"/>
                <a:ext cx="75723" cy="75628"/>
                <a:chOff x="6959631" y="4237672"/>
                <a:chExt cx="75723" cy="75628"/>
              </a:xfrm>
            </p:grpSpPr>
            <p:sp>
              <p:nvSpPr>
                <p:cNvPr id="14695" name="Freeform: Shape 14694">
                  <a:extLst>
                    <a:ext uri="{FF2B5EF4-FFF2-40B4-BE49-F238E27FC236}">
                      <a16:creationId xmlns:a16="http://schemas.microsoft.com/office/drawing/2014/main" id="{16E256C0-ED47-6A52-08AF-72B895FE8CFB}"/>
                    </a:ext>
                  </a:extLst>
                </p:cNvPr>
                <p:cNvSpPr/>
                <p:nvPr/>
              </p:nvSpPr>
              <p:spPr>
                <a:xfrm>
                  <a:off x="6997445" y="42376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96" name="Freeform: Shape 14695">
                  <a:extLst>
                    <a:ext uri="{FF2B5EF4-FFF2-40B4-BE49-F238E27FC236}">
                      <a16:creationId xmlns:a16="http://schemas.microsoft.com/office/drawing/2014/main" id="{10D1D042-B8AE-2B18-D8E5-05DCB524BFA6}"/>
                    </a:ext>
                  </a:extLst>
                </p:cNvPr>
                <p:cNvSpPr/>
                <p:nvPr/>
              </p:nvSpPr>
              <p:spPr>
                <a:xfrm>
                  <a:off x="6959631" y="4275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29" name="Graphic 1794">
                <a:extLst>
                  <a:ext uri="{FF2B5EF4-FFF2-40B4-BE49-F238E27FC236}">
                    <a16:creationId xmlns:a16="http://schemas.microsoft.com/office/drawing/2014/main" id="{C0753105-0D1F-A71A-28EA-7069BF6C24CC}"/>
                  </a:ext>
                </a:extLst>
              </p:cNvPr>
              <p:cNvGrpSpPr/>
              <p:nvPr/>
            </p:nvGrpSpPr>
            <p:grpSpPr>
              <a:xfrm>
                <a:off x="6923531" y="4167092"/>
                <a:ext cx="75723" cy="75723"/>
                <a:chOff x="6923531" y="4167092"/>
                <a:chExt cx="75723" cy="75723"/>
              </a:xfrm>
            </p:grpSpPr>
            <p:sp>
              <p:nvSpPr>
                <p:cNvPr id="14693" name="Freeform: Shape 14692">
                  <a:extLst>
                    <a:ext uri="{FF2B5EF4-FFF2-40B4-BE49-F238E27FC236}">
                      <a16:creationId xmlns:a16="http://schemas.microsoft.com/office/drawing/2014/main" id="{3481FBE8-AF92-0653-18DA-A85FF41EB30A}"/>
                    </a:ext>
                  </a:extLst>
                </p:cNvPr>
                <p:cNvSpPr/>
                <p:nvPr/>
              </p:nvSpPr>
              <p:spPr>
                <a:xfrm>
                  <a:off x="6961441"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94" name="Freeform: Shape 14693">
                  <a:extLst>
                    <a:ext uri="{FF2B5EF4-FFF2-40B4-BE49-F238E27FC236}">
                      <a16:creationId xmlns:a16="http://schemas.microsoft.com/office/drawing/2014/main" id="{C16A8BD7-D695-AC5A-3490-C8489EF91D30}"/>
                    </a:ext>
                  </a:extLst>
                </p:cNvPr>
                <p:cNvSpPr/>
                <p:nvPr/>
              </p:nvSpPr>
              <p:spPr>
                <a:xfrm>
                  <a:off x="6923531"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0" name="Graphic 1794">
                <a:extLst>
                  <a:ext uri="{FF2B5EF4-FFF2-40B4-BE49-F238E27FC236}">
                    <a16:creationId xmlns:a16="http://schemas.microsoft.com/office/drawing/2014/main" id="{D25BBC0E-E76D-1CBC-B1F9-56A14EA98C7F}"/>
                  </a:ext>
                </a:extLst>
              </p:cNvPr>
              <p:cNvGrpSpPr/>
              <p:nvPr/>
            </p:nvGrpSpPr>
            <p:grpSpPr>
              <a:xfrm>
                <a:off x="6911815" y="4167092"/>
                <a:ext cx="75723" cy="75723"/>
                <a:chOff x="6911815" y="4167092"/>
                <a:chExt cx="75723" cy="75723"/>
              </a:xfrm>
            </p:grpSpPr>
            <p:sp>
              <p:nvSpPr>
                <p:cNvPr id="14691" name="Freeform: Shape 14690">
                  <a:extLst>
                    <a:ext uri="{FF2B5EF4-FFF2-40B4-BE49-F238E27FC236}">
                      <a16:creationId xmlns:a16="http://schemas.microsoft.com/office/drawing/2014/main" id="{6D5DA91A-A409-35CA-2783-3ED8B02ADDAB}"/>
                    </a:ext>
                  </a:extLst>
                </p:cNvPr>
                <p:cNvSpPr/>
                <p:nvPr/>
              </p:nvSpPr>
              <p:spPr>
                <a:xfrm>
                  <a:off x="6949630"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92" name="Freeform: Shape 14691">
                  <a:extLst>
                    <a:ext uri="{FF2B5EF4-FFF2-40B4-BE49-F238E27FC236}">
                      <a16:creationId xmlns:a16="http://schemas.microsoft.com/office/drawing/2014/main" id="{1E1EA770-F408-1D5B-11C7-715033A1DB54}"/>
                    </a:ext>
                  </a:extLst>
                </p:cNvPr>
                <p:cNvSpPr/>
                <p:nvPr/>
              </p:nvSpPr>
              <p:spPr>
                <a:xfrm>
                  <a:off x="6911815"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1" name="Graphic 1794">
                <a:extLst>
                  <a:ext uri="{FF2B5EF4-FFF2-40B4-BE49-F238E27FC236}">
                    <a16:creationId xmlns:a16="http://schemas.microsoft.com/office/drawing/2014/main" id="{C4E128C0-D095-39D1-3FB0-0364D02F9054}"/>
                  </a:ext>
                </a:extLst>
              </p:cNvPr>
              <p:cNvGrpSpPr/>
              <p:nvPr/>
            </p:nvGrpSpPr>
            <p:grpSpPr>
              <a:xfrm>
                <a:off x="6794658" y="4167092"/>
                <a:ext cx="75723" cy="75723"/>
                <a:chOff x="6794658" y="4167092"/>
                <a:chExt cx="75723" cy="75723"/>
              </a:xfrm>
            </p:grpSpPr>
            <p:sp>
              <p:nvSpPr>
                <p:cNvPr id="14689" name="Freeform: Shape 14688">
                  <a:extLst>
                    <a:ext uri="{FF2B5EF4-FFF2-40B4-BE49-F238E27FC236}">
                      <a16:creationId xmlns:a16="http://schemas.microsoft.com/office/drawing/2014/main" id="{E8256D4F-2FCE-3830-2516-035F04EF9FE3}"/>
                    </a:ext>
                  </a:extLst>
                </p:cNvPr>
                <p:cNvSpPr/>
                <p:nvPr/>
              </p:nvSpPr>
              <p:spPr>
                <a:xfrm>
                  <a:off x="6832472" y="41670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90" name="Freeform: Shape 14689">
                  <a:extLst>
                    <a:ext uri="{FF2B5EF4-FFF2-40B4-BE49-F238E27FC236}">
                      <a16:creationId xmlns:a16="http://schemas.microsoft.com/office/drawing/2014/main" id="{827BB95E-454D-BC46-58BB-DC1B887EE625}"/>
                    </a:ext>
                  </a:extLst>
                </p:cNvPr>
                <p:cNvSpPr/>
                <p:nvPr/>
              </p:nvSpPr>
              <p:spPr>
                <a:xfrm>
                  <a:off x="6794658" y="42050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2" name="Graphic 1794">
                <a:extLst>
                  <a:ext uri="{FF2B5EF4-FFF2-40B4-BE49-F238E27FC236}">
                    <a16:creationId xmlns:a16="http://schemas.microsoft.com/office/drawing/2014/main" id="{A7557F9F-F256-F87F-BC40-618C33FD198B}"/>
                  </a:ext>
                </a:extLst>
              </p:cNvPr>
              <p:cNvGrpSpPr/>
              <p:nvPr/>
            </p:nvGrpSpPr>
            <p:grpSpPr>
              <a:xfrm>
                <a:off x="6355270" y="4063365"/>
                <a:ext cx="75723" cy="75723"/>
                <a:chOff x="6355270" y="4063365"/>
                <a:chExt cx="75723" cy="75723"/>
              </a:xfrm>
            </p:grpSpPr>
            <p:sp>
              <p:nvSpPr>
                <p:cNvPr id="14687" name="Freeform: Shape 14686">
                  <a:extLst>
                    <a:ext uri="{FF2B5EF4-FFF2-40B4-BE49-F238E27FC236}">
                      <a16:creationId xmlns:a16="http://schemas.microsoft.com/office/drawing/2014/main" id="{EE280623-D979-9DD2-817F-9A26B1A41176}"/>
                    </a:ext>
                  </a:extLst>
                </p:cNvPr>
                <p:cNvSpPr/>
                <p:nvPr/>
              </p:nvSpPr>
              <p:spPr>
                <a:xfrm>
                  <a:off x="6393179"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88" name="Freeform: Shape 14687">
                  <a:extLst>
                    <a:ext uri="{FF2B5EF4-FFF2-40B4-BE49-F238E27FC236}">
                      <a16:creationId xmlns:a16="http://schemas.microsoft.com/office/drawing/2014/main" id="{BC76020B-0C3D-3825-930E-0A39C3AB2DF1}"/>
                    </a:ext>
                  </a:extLst>
                </p:cNvPr>
                <p:cNvSpPr/>
                <p:nvPr/>
              </p:nvSpPr>
              <p:spPr>
                <a:xfrm>
                  <a:off x="6355270"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3" name="Graphic 1794">
                <a:extLst>
                  <a:ext uri="{FF2B5EF4-FFF2-40B4-BE49-F238E27FC236}">
                    <a16:creationId xmlns:a16="http://schemas.microsoft.com/office/drawing/2014/main" id="{CA5447A6-570B-6A58-E020-4D601BED617A}"/>
                  </a:ext>
                </a:extLst>
              </p:cNvPr>
              <p:cNvGrpSpPr/>
              <p:nvPr/>
            </p:nvGrpSpPr>
            <p:grpSpPr>
              <a:xfrm>
                <a:off x="6109239" y="3985545"/>
                <a:ext cx="75723" cy="75723"/>
                <a:chOff x="6109239" y="3985545"/>
                <a:chExt cx="75723" cy="75723"/>
              </a:xfrm>
            </p:grpSpPr>
            <p:sp>
              <p:nvSpPr>
                <p:cNvPr id="14685" name="Freeform: Shape 14684">
                  <a:extLst>
                    <a:ext uri="{FF2B5EF4-FFF2-40B4-BE49-F238E27FC236}">
                      <a16:creationId xmlns:a16="http://schemas.microsoft.com/office/drawing/2014/main" id="{C8DADE6F-81CC-CB94-00E4-AC1DCCF42044}"/>
                    </a:ext>
                  </a:extLst>
                </p:cNvPr>
                <p:cNvSpPr/>
                <p:nvPr/>
              </p:nvSpPr>
              <p:spPr>
                <a:xfrm>
                  <a:off x="6147148" y="398554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86" name="Freeform: Shape 14685">
                  <a:extLst>
                    <a:ext uri="{FF2B5EF4-FFF2-40B4-BE49-F238E27FC236}">
                      <a16:creationId xmlns:a16="http://schemas.microsoft.com/office/drawing/2014/main" id="{825DD51A-A5D3-CFB8-D3EC-0AAFDE9C0DA0}"/>
                    </a:ext>
                  </a:extLst>
                </p:cNvPr>
                <p:cNvSpPr/>
                <p:nvPr/>
              </p:nvSpPr>
              <p:spPr>
                <a:xfrm>
                  <a:off x="6109239" y="40233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4" name="Graphic 1794">
                <a:extLst>
                  <a:ext uri="{FF2B5EF4-FFF2-40B4-BE49-F238E27FC236}">
                    <a16:creationId xmlns:a16="http://schemas.microsoft.com/office/drawing/2014/main" id="{FF020365-0856-C840-2595-9D89420C1350}"/>
                  </a:ext>
                </a:extLst>
              </p:cNvPr>
              <p:cNvGrpSpPr/>
              <p:nvPr/>
            </p:nvGrpSpPr>
            <p:grpSpPr>
              <a:xfrm>
                <a:off x="6089046" y="3941730"/>
                <a:ext cx="75628" cy="75723"/>
                <a:chOff x="6089046" y="3941730"/>
                <a:chExt cx="75628" cy="75723"/>
              </a:xfrm>
            </p:grpSpPr>
            <p:sp>
              <p:nvSpPr>
                <p:cNvPr id="14683" name="Freeform: Shape 14682">
                  <a:extLst>
                    <a:ext uri="{FF2B5EF4-FFF2-40B4-BE49-F238E27FC236}">
                      <a16:creationId xmlns:a16="http://schemas.microsoft.com/office/drawing/2014/main" id="{6DE7E103-70DD-BF7E-0EEB-778933A09158}"/>
                    </a:ext>
                  </a:extLst>
                </p:cNvPr>
                <p:cNvSpPr/>
                <p:nvPr/>
              </p:nvSpPr>
              <p:spPr>
                <a:xfrm>
                  <a:off x="6126860" y="394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84" name="Freeform: Shape 14683">
                  <a:extLst>
                    <a:ext uri="{FF2B5EF4-FFF2-40B4-BE49-F238E27FC236}">
                      <a16:creationId xmlns:a16="http://schemas.microsoft.com/office/drawing/2014/main" id="{4C996A62-81BA-0572-03CA-8E872E052F5D}"/>
                    </a:ext>
                  </a:extLst>
                </p:cNvPr>
                <p:cNvSpPr/>
                <p:nvPr/>
              </p:nvSpPr>
              <p:spPr>
                <a:xfrm>
                  <a:off x="6089046" y="39796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5" name="Graphic 1794">
                <a:extLst>
                  <a:ext uri="{FF2B5EF4-FFF2-40B4-BE49-F238E27FC236}">
                    <a16:creationId xmlns:a16="http://schemas.microsoft.com/office/drawing/2014/main" id="{A56A2045-7BF9-F5FC-5656-A3A750614A0B}"/>
                  </a:ext>
                </a:extLst>
              </p:cNvPr>
              <p:cNvGrpSpPr/>
              <p:nvPr/>
            </p:nvGrpSpPr>
            <p:grpSpPr>
              <a:xfrm>
                <a:off x="6071425" y="3915441"/>
                <a:ext cx="75723" cy="75628"/>
                <a:chOff x="6071425" y="3915441"/>
                <a:chExt cx="75723" cy="75628"/>
              </a:xfrm>
            </p:grpSpPr>
            <p:sp>
              <p:nvSpPr>
                <p:cNvPr id="14681" name="Freeform: Shape 14680">
                  <a:extLst>
                    <a:ext uri="{FF2B5EF4-FFF2-40B4-BE49-F238E27FC236}">
                      <a16:creationId xmlns:a16="http://schemas.microsoft.com/office/drawing/2014/main" id="{4652C34B-D58F-AF05-0A04-D364B6737EBA}"/>
                    </a:ext>
                  </a:extLst>
                </p:cNvPr>
                <p:cNvSpPr/>
                <p:nvPr/>
              </p:nvSpPr>
              <p:spPr>
                <a:xfrm>
                  <a:off x="6109239" y="391544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82" name="Freeform: Shape 14681">
                  <a:extLst>
                    <a:ext uri="{FF2B5EF4-FFF2-40B4-BE49-F238E27FC236}">
                      <a16:creationId xmlns:a16="http://schemas.microsoft.com/office/drawing/2014/main" id="{CB8824F9-0894-BD2C-2E27-38F19445BD26}"/>
                    </a:ext>
                  </a:extLst>
                </p:cNvPr>
                <p:cNvSpPr/>
                <p:nvPr/>
              </p:nvSpPr>
              <p:spPr>
                <a:xfrm>
                  <a:off x="6071425" y="395325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6" name="Graphic 1794">
                <a:extLst>
                  <a:ext uri="{FF2B5EF4-FFF2-40B4-BE49-F238E27FC236}">
                    <a16:creationId xmlns:a16="http://schemas.microsoft.com/office/drawing/2014/main" id="{E92A6A7B-3096-E6E3-38F0-8D2DBCBE4CA9}"/>
                  </a:ext>
                </a:extLst>
              </p:cNvPr>
              <p:cNvGrpSpPr/>
              <p:nvPr/>
            </p:nvGrpSpPr>
            <p:grpSpPr>
              <a:xfrm>
                <a:off x="6063900" y="3915441"/>
                <a:ext cx="75628" cy="75628"/>
                <a:chOff x="6063900" y="3915441"/>
                <a:chExt cx="75628" cy="75628"/>
              </a:xfrm>
            </p:grpSpPr>
            <p:sp>
              <p:nvSpPr>
                <p:cNvPr id="14679" name="Freeform: Shape 14678">
                  <a:extLst>
                    <a:ext uri="{FF2B5EF4-FFF2-40B4-BE49-F238E27FC236}">
                      <a16:creationId xmlns:a16="http://schemas.microsoft.com/office/drawing/2014/main" id="{744CE310-70DF-5E4E-457D-D6B1C7E5DA49}"/>
                    </a:ext>
                  </a:extLst>
                </p:cNvPr>
                <p:cNvSpPr/>
                <p:nvPr/>
              </p:nvSpPr>
              <p:spPr>
                <a:xfrm>
                  <a:off x="6101714" y="391544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80" name="Freeform: Shape 14679">
                  <a:extLst>
                    <a:ext uri="{FF2B5EF4-FFF2-40B4-BE49-F238E27FC236}">
                      <a16:creationId xmlns:a16="http://schemas.microsoft.com/office/drawing/2014/main" id="{EF2B6AF8-D1A4-9028-B8FB-C4601F6A3945}"/>
                    </a:ext>
                  </a:extLst>
                </p:cNvPr>
                <p:cNvSpPr/>
                <p:nvPr/>
              </p:nvSpPr>
              <p:spPr>
                <a:xfrm>
                  <a:off x="6063900" y="395325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7" name="Graphic 1794">
                <a:extLst>
                  <a:ext uri="{FF2B5EF4-FFF2-40B4-BE49-F238E27FC236}">
                    <a16:creationId xmlns:a16="http://schemas.microsoft.com/office/drawing/2014/main" id="{208446B7-5E3A-FBB4-B1E7-CC1D3C7CAA32}"/>
                  </a:ext>
                </a:extLst>
              </p:cNvPr>
              <p:cNvGrpSpPr/>
              <p:nvPr/>
            </p:nvGrpSpPr>
            <p:grpSpPr>
              <a:xfrm>
                <a:off x="6061804" y="3909822"/>
                <a:ext cx="75723" cy="75723"/>
                <a:chOff x="6061804" y="3909822"/>
                <a:chExt cx="75723" cy="75723"/>
              </a:xfrm>
            </p:grpSpPr>
            <p:sp>
              <p:nvSpPr>
                <p:cNvPr id="14677" name="Freeform: Shape 14676">
                  <a:extLst>
                    <a:ext uri="{FF2B5EF4-FFF2-40B4-BE49-F238E27FC236}">
                      <a16:creationId xmlns:a16="http://schemas.microsoft.com/office/drawing/2014/main" id="{79C3A16D-79BD-2C42-5BFD-83118A4E8534}"/>
                    </a:ext>
                  </a:extLst>
                </p:cNvPr>
                <p:cNvSpPr/>
                <p:nvPr/>
              </p:nvSpPr>
              <p:spPr>
                <a:xfrm>
                  <a:off x="6099714" y="39098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78" name="Freeform: Shape 14677">
                  <a:extLst>
                    <a:ext uri="{FF2B5EF4-FFF2-40B4-BE49-F238E27FC236}">
                      <a16:creationId xmlns:a16="http://schemas.microsoft.com/office/drawing/2014/main" id="{35E2515F-1800-F64B-748E-C4144074FD7F}"/>
                    </a:ext>
                  </a:extLst>
                </p:cNvPr>
                <p:cNvSpPr/>
                <p:nvPr/>
              </p:nvSpPr>
              <p:spPr>
                <a:xfrm>
                  <a:off x="6061804" y="39476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8" name="Graphic 1794">
                <a:extLst>
                  <a:ext uri="{FF2B5EF4-FFF2-40B4-BE49-F238E27FC236}">
                    <a16:creationId xmlns:a16="http://schemas.microsoft.com/office/drawing/2014/main" id="{AEB9843F-156F-A5A5-FB22-A4B5435519C8}"/>
                  </a:ext>
                </a:extLst>
              </p:cNvPr>
              <p:cNvGrpSpPr/>
              <p:nvPr/>
            </p:nvGrpSpPr>
            <p:grpSpPr>
              <a:xfrm>
                <a:off x="6056185" y="3874770"/>
                <a:ext cx="75723" cy="75628"/>
                <a:chOff x="6056185" y="3874770"/>
                <a:chExt cx="75723" cy="75628"/>
              </a:xfrm>
            </p:grpSpPr>
            <p:sp>
              <p:nvSpPr>
                <p:cNvPr id="14675" name="Freeform: Shape 14674">
                  <a:extLst>
                    <a:ext uri="{FF2B5EF4-FFF2-40B4-BE49-F238E27FC236}">
                      <a16:creationId xmlns:a16="http://schemas.microsoft.com/office/drawing/2014/main" id="{339D1ABE-AA70-76D9-37FF-19B7317AA7C4}"/>
                    </a:ext>
                  </a:extLst>
                </p:cNvPr>
                <p:cNvSpPr/>
                <p:nvPr/>
              </p:nvSpPr>
              <p:spPr>
                <a:xfrm>
                  <a:off x="6093999" y="38747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76" name="Freeform: Shape 14675">
                  <a:extLst>
                    <a:ext uri="{FF2B5EF4-FFF2-40B4-BE49-F238E27FC236}">
                      <a16:creationId xmlns:a16="http://schemas.microsoft.com/office/drawing/2014/main" id="{C52306B0-DC52-3D25-AE26-2BACB27075E5}"/>
                    </a:ext>
                  </a:extLst>
                </p:cNvPr>
                <p:cNvSpPr/>
                <p:nvPr/>
              </p:nvSpPr>
              <p:spPr>
                <a:xfrm>
                  <a:off x="6056185" y="39125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39" name="Graphic 1794">
                <a:extLst>
                  <a:ext uri="{FF2B5EF4-FFF2-40B4-BE49-F238E27FC236}">
                    <a16:creationId xmlns:a16="http://schemas.microsoft.com/office/drawing/2014/main" id="{626498A3-8DEF-58F3-C07B-ACDA526AE3AE}"/>
                  </a:ext>
                </a:extLst>
              </p:cNvPr>
              <p:cNvGrpSpPr/>
              <p:nvPr/>
            </p:nvGrpSpPr>
            <p:grpSpPr>
              <a:xfrm>
                <a:off x="6033610" y="3874770"/>
                <a:ext cx="75628" cy="75628"/>
                <a:chOff x="6033610" y="3874770"/>
                <a:chExt cx="75628" cy="75628"/>
              </a:xfrm>
            </p:grpSpPr>
            <p:sp>
              <p:nvSpPr>
                <p:cNvPr id="14673" name="Freeform: Shape 14672">
                  <a:extLst>
                    <a:ext uri="{FF2B5EF4-FFF2-40B4-BE49-F238E27FC236}">
                      <a16:creationId xmlns:a16="http://schemas.microsoft.com/office/drawing/2014/main" id="{271CEDFD-4002-33FA-CAB3-63DD5D67F7F0}"/>
                    </a:ext>
                  </a:extLst>
                </p:cNvPr>
                <p:cNvSpPr/>
                <p:nvPr/>
              </p:nvSpPr>
              <p:spPr>
                <a:xfrm>
                  <a:off x="6071425" y="387477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74" name="Freeform: Shape 14673">
                  <a:extLst>
                    <a:ext uri="{FF2B5EF4-FFF2-40B4-BE49-F238E27FC236}">
                      <a16:creationId xmlns:a16="http://schemas.microsoft.com/office/drawing/2014/main" id="{C13E61CE-B8DD-BD38-1AC4-E623AF6E61C8}"/>
                    </a:ext>
                  </a:extLst>
                </p:cNvPr>
                <p:cNvSpPr/>
                <p:nvPr/>
              </p:nvSpPr>
              <p:spPr>
                <a:xfrm>
                  <a:off x="6033610" y="39125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0" name="Graphic 1794">
                <a:extLst>
                  <a:ext uri="{FF2B5EF4-FFF2-40B4-BE49-F238E27FC236}">
                    <a16:creationId xmlns:a16="http://schemas.microsoft.com/office/drawing/2014/main" id="{318C9092-0350-51B3-9663-95528105B796}"/>
                  </a:ext>
                </a:extLst>
              </p:cNvPr>
              <p:cNvGrpSpPr/>
              <p:nvPr/>
            </p:nvGrpSpPr>
            <p:grpSpPr>
              <a:xfrm>
                <a:off x="5677185" y="3872007"/>
                <a:ext cx="75723" cy="75628"/>
                <a:chOff x="5677185" y="3872007"/>
                <a:chExt cx="75723" cy="75628"/>
              </a:xfrm>
            </p:grpSpPr>
            <p:sp>
              <p:nvSpPr>
                <p:cNvPr id="14671" name="Freeform: Shape 14670">
                  <a:extLst>
                    <a:ext uri="{FF2B5EF4-FFF2-40B4-BE49-F238E27FC236}">
                      <a16:creationId xmlns:a16="http://schemas.microsoft.com/office/drawing/2014/main" id="{9777E242-C4AF-79AE-FD36-831AFF7F66AB}"/>
                    </a:ext>
                  </a:extLst>
                </p:cNvPr>
                <p:cNvSpPr/>
                <p:nvPr/>
              </p:nvSpPr>
              <p:spPr>
                <a:xfrm>
                  <a:off x="5715094" y="38720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72" name="Freeform: Shape 14671">
                  <a:extLst>
                    <a:ext uri="{FF2B5EF4-FFF2-40B4-BE49-F238E27FC236}">
                      <a16:creationId xmlns:a16="http://schemas.microsoft.com/office/drawing/2014/main" id="{7B5C9E18-F323-472E-3430-B951FDE5BA57}"/>
                    </a:ext>
                  </a:extLst>
                </p:cNvPr>
                <p:cNvSpPr/>
                <p:nvPr/>
              </p:nvSpPr>
              <p:spPr>
                <a:xfrm>
                  <a:off x="5677185" y="39098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1" name="Graphic 1794">
                <a:extLst>
                  <a:ext uri="{FF2B5EF4-FFF2-40B4-BE49-F238E27FC236}">
                    <a16:creationId xmlns:a16="http://schemas.microsoft.com/office/drawing/2014/main" id="{1BF24372-18BE-AB96-485B-74DE21484EB0}"/>
                  </a:ext>
                </a:extLst>
              </p:cNvPr>
              <p:cNvGrpSpPr/>
              <p:nvPr/>
            </p:nvGrpSpPr>
            <p:grpSpPr>
              <a:xfrm>
                <a:off x="5656897" y="3872007"/>
                <a:ext cx="75723" cy="75628"/>
                <a:chOff x="5656897" y="3872007"/>
                <a:chExt cx="75723" cy="75628"/>
              </a:xfrm>
            </p:grpSpPr>
            <p:sp>
              <p:nvSpPr>
                <p:cNvPr id="14669" name="Freeform: Shape 14668">
                  <a:extLst>
                    <a:ext uri="{FF2B5EF4-FFF2-40B4-BE49-F238E27FC236}">
                      <a16:creationId xmlns:a16="http://schemas.microsoft.com/office/drawing/2014/main" id="{D594731F-D4E4-466D-1D9D-17ACBA8ECDD5}"/>
                    </a:ext>
                  </a:extLst>
                </p:cNvPr>
                <p:cNvSpPr/>
                <p:nvPr/>
              </p:nvSpPr>
              <p:spPr>
                <a:xfrm>
                  <a:off x="5694806" y="38720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70" name="Freeform: Shape 14669">
                  <a:extLst>
                    <a:ext uri="{FF2B5EF4-FFF2-40B4-BE49-F238E27FC236}">
                      <a16:creationId xmlns:a16="http://schemas.microsoft.com/office/drawing/2014/main" id="{83038491-A82E-4333-20AC-7836835A04F7}"/>
                    </a:ext>
                  </a:extLst>
                </p:cNvPr>
                <p:cNvSpPr/>
                <p:nvPr/>
              </p:nvSpPr>
              <p:spPr>
                <a:xfrm>
                  <a:off x="5656897" y="39098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2" name="Graphic 1794">
                <a:extLst>
                  <a:ext uri="{FF2B5EF4-FFF2-40B4-BE49-F238E27FC236}">
                    <a16:creationId xmlns:a16="http://schemas.microsoft.com/office/drawing/2014/main" id="{55BBFF5B-0530-311D-65BF-74874E615846}"/>
                  </a:ext>
                </a:extLst>
              </p:cNvPr>
              <p:cNvGrpSpPr/>
              <p:nvPr/>
            </p:nvGrpSpPr>
            <p:grpSpPr>
              <a:xfrm>
                <a:off x="5641942" y="3842385"/>
                <a:ext cx="75723" cy="75723"/>
                <a:chOff x="5641942" y="3842385"/>
                <a:chExt cx="75723" cy="75723"/>
              </a:xfrm>
            </p:grpSpPr>
            <p:sp>
              <p:nvSpPr>
                <p:cNvPr id="14667" name="Freeform: Shape 14666">
                  <a:extLst>
                    <a:ext uri="{FF2B5EF4-FFF2-40B4-BE49-F238E27FC236}">
                      <a16:creationId xmlns:a16="http://schemas.microsoft.com/office/drawing/2014/main" id="{A80F68D3-5713-447B-1026-8BA205C4E3F8}"/>
                    </a:ext>
                  </a:extLst>
                </p:cNvPr>
                <p:cNvSpPr/>
                <p:nvPr/>
              </p:nvSpPr>
              <p:spPr>
                <a:xfrm>
                  <a:off x="5679757" y="3842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68" name="Freeform: Shape 14667">
                  <a:extLst>
                    <a:ext uri="{FF2B5EF4-FFF2-40B4-BE49-F238E27FC236}">
                      <a16:creationId xmlns:a16="http://schemas.microsoft.com/office/drawing/2014/main" id="{70FF2971-67C1-6BE6-C5C7-02E4608DB5E5}"/>
                    </a:ext>
                  </a:extLst>
                </p:cNvPr>
                <p:cNvSpPr/>
                <p:nvPr/>
              </p:nvSpPr>
              <p:spPr>
                <a:xfrm>
                  <a:off x="5641942" y="3880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3" name="Graphic 1794">
                <a:extLst>
                  <a:ext uri="{FF2B5EF4-FFF2-40B4-BE49-F238E27FC236}">
                    <a16:creationId xmlns:a16="http://schemas.microsoft.com/office/drawing/2014/main" id="{841DB799-E6F3-846A-99BA-270C10C4096A}"/>
                  </a:ext>
                </a:extLst>
              </p:cNvPr>
              <p:cNvGrpSpPr/>
              <p:nvPr/>
            </p:nvGrpSpPr>
            <p:grpSpPr>
              <a:xfrm>
                <a:off x="5632227" y="3842385"/>
                <a:ext cx="75723" cy="75723"/>
                <a:chOff x="5632227" y="3842385"/>
                <a:chExt cx="75723" cy="75723"/>
              </a:xfrm>
            </p:grpSpPr>
            <p:sp>
              <p:nvSpPr>
                <p:cNvPr id="14665" name="Freeform: Shape 14664">
                  <a:extLst>
                    <a:ext uri="{FF2B5EF4-FFF2-40B4-BE49-F238E27FC236}">
                      <a16:creationId xmlns:a16="http://schemas.microsoft.com/office/drawing/2014/main" id="{3D87A6E8-2BD7-FEA5-347A-A00863C3002B}"/>
                    </a:ext>
                  </a:extLst>
                </p:cNvPr>
                <p:cNvSpPr/>
                <p:nvPr/>
              </p:nvSpPr>
              <p:spPr>
                <a:xfrm>
                  <a:off x="5670041" y="38423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66" name="Freeform: Shape 14665">
                  <a:extLst>
                    <a:ext uri="{FF2B5EF4-FFF2-40B4-BE49-F238E27FC236}">
                      <a16:creationId xmlns:a16="http://schemas.microsoft.com/office/drawing/2014/main" id="{14598210-BB7C-858D-37CD-DA7DEF9B7254}"/>
                    </a:ext>
                  </a:extLst>
                </p:cNvPr>
                <p:cNvSpPr/>
                <p:nvPr/>
              </p:nvSpPr>
              <p:spPr>
                <a:xfrm>
                  <a:off x="5632227" y="38802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4" name="Graphic 1794">
                <a:extLst>
                  <a:ext uri="{FF2B5EF4-FFF2-40B4-BE49-F238E27FC236}">
                    <a16:creationId xmlns:a16="http://schemas.microsoft.com/office/drawing/2014/main" id="{3DE4BC66-C05C-7861-2E4C-50D864C13ADA}"/>
                  </a:ext>
                </a:extLst>
              </p:cNvPr>
              <p:cNvGrpSpPr/>
              <p:nvPr/>
            </p:nvGrpSpPr>
            <p:grpSpPr>
              <a:xfrm>
                <a:off x="5613177" y="3818477"/>
                <a:ext cx="75723" cy="75723"/>
                <a:chOff x="5613177" y="3818477"/>
                <a:chExt cx="75723" cy="75723"/>
              </a:xfrm>
            </p:grpSpPr>
            <p:sp>
              <p:nvSpPr>
                <p:cNvPr id="14663" name="Freeform: Shape 14662">
                  <a:extLst>
                    <a:ext uri="{FF2B5EF4-FFF2-40B4-BE49-F238E27FC236}">
                      <a16:creationId xmlns:a16="http://schemas.microsoft.com/office/drawing/2014/main" id="{A340C453-44D8-FFA7-6C6A-DF73C813F46F}"/>
                    </a:ext>
                  </a:extLst>
                </p:cNvPr>
                <p:cNvSpPr/>
                <p:nvPr/>
              </p:nvSpPr>
              <p:spPr>
                <a:xfrm>
                  <a:off x="5650991" y="38184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64" name="Freeform: Shape 14663">
                  <a:extLst>
                    <a:ext uri="{FF2B5EF4-FFF2-40B4-BE49-F238E27FC236}">
                      <a16:creationId xmlns:a16="http://schemas.microsoft.com/office/drawing/2014/main" id="{0C5DAC47-D1F4-A24F-6672-4AB5A3DCC301}"/>
                    </a:ext>
                  </a:extLst>
                </p:cNvPr>
                <p:cNvSpPr/>
                <p:nvPr/>
              </p:nvSpPr>
              <p:spPr>
                <a:xfrm>
                  <a:off x="5613177" y="38562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5" name="Graphic 1794">
                <a:extLst>
                  <a:ext uri="{FF2B5EF4-FFF2-40B4-BE49-F238E27FC236}">
                    <a16:creationId xmlns:a16="http://schemas.microsoft.com/office/drawing/2014/main" id="{42D8FACA-8575-1A59-8324-7EB9897EE5DD}"/>
                  </a:ext>
                </a:extLst>
              </p:cNvPr>
              <p:cNvGrpSpPr/>
              <p:nvPr/>
            </p:nvGrpSpPr>
            <p:grpSpPr>
              <a:xfrm>
                <a:off x="5609938" y="3794188"/>
                <a:ext cx="75628" cy="75628"/>
                <a:chOff x="5609938" y="3794188"/>
                <a:chExt cx="75628" cy="75628"/>
              </a:xfrm>
            </p:grpSpPr>
            <p:sp>
              <p:nvSpPr>
                <p:cNvPr id="14661" name="Freeform: Shape 14660">
                  <a:extLst>
                    <a:ext uri="{FF2B5EF4-FFF2-40B4-BE49-F238E27FC236}">
                      <a16:creationId xmlns:a16="http://schemas.microsoft.com/office/drawing/2014/main" id="{08C8A7A5-D361-7D17-3565-721D878643E3}"/>
                    </a:ext>
                  </a:extLst>
                </p:cNvPr>
                <p:cNvSpPr/>
                <p:nvPr/>
              </p:nvSpPr>
              <p:spPr>
                <a:xfrm>
                  <a:off x="5647753" y="37941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62" name="Freeform: Shape 14661">
                  <a:extLst>
                    <a:ext uri="{FF2B5EF4-FFF2-40B4-BE49-F238E27FC236}">
                      <a16:creationId xmlns:a16="http://schemas.microsoft.com/office/drawing/2014/main" id="{5FC5094E-EA7D-1B77-416D-C1B1EF1BCA8D}"/>
                    </a:ext>
                  </a:extLst>
                </p:cNvPr>
                <p:cNvSpPr/>
                <p:nvPr/>
              </p:nvSpPr>
              <p:spPr>
                <a:xfrm>
                  <a:off x="5609938" y="38320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6" name="Graphic 1794">
                <a:extLst>
                  <a:ext uri="{FF2B5EF4-FFF2-40B4-BE49-F238E27FC236}">
                    <a16:creationId xmlns:a16="http://schemas.microsoft.com/office/drawing/2014/main" id="{60EA2ABB-A7BE-D4C9-51D9-AC2D21068B71}"/>
                  </a:ext>
                </a:extLst>
              </p:cNvPr>
              <p:cNvGrpSpPr/>
              <p:nvPr/>
            </p:nvGrpSpPr>
            <p:grpSpPr>
              <a:xfrm>
                <a:off x="5235034" y="3662076"/>
                <a:ext cx="75628" cy="75628"/>
                <a:chOff x="5235034" y="3662076"/>
                <a:chExt cx="75628" cy="75628"/>
              </a:xfrm>
            </p:grpSpPr>
            <p:sp>
              <p:nvSpPr>
                <p:cNvPr id="14659" name="Freeform: Shape 14658">
                  <a:extLst>
                    <a:ext uri="{FF2B5EF4-FFF2-40B4-BE49-F238E27FC236}">
                      <a16:creationId xmlns:a16="http://schemas.microsoft.com/office/drawing/2014/main" id="{A8355B2A-9893-8AD1-DFD4-08E06B00DA06}"/>
                    </a:ext>
                  </a:extLst>
                </p:cNvPr>
                <p:cNvSpPr/>
                <p:nvPr/>
              </p:nvSpPr>
              <p:spPr>
                <a:xfrm>
                  <a:off x="5272849" y="36620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60" name="Freeform: Shape 14659">
                  <a:extLst>
                    <a:ext uri="{FF2B5EF4-FFF2-40B4-BE49-F238E27FC236}">
                      <a16:creationId xmlns:a16="http://schemas.microsoft.com/office/drawing/2014/main" id="{929DD1CB-0008-7AF8-1AD4-37F69C7B47C2}"/>
                    </a:ext>
                  </a:extLst>
                </p:cNvPr>
                <p:cNvSpPr/>
                <p:nvPr/>
              </p:nvSpPr>
              <p:spPr>
                <a:xfrm>
                  <a:off x="5235034" y="36998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7" name="Graphic 1794">
                <a:extLst>
                  <a:ext uri="{FF2B5EF4-FFF2-40B4-BE49-F238E27FC236}">
                    <a16:creationId xmlns:a16="http://schemas.microsoft.com/office/drawing/2014/main" id="{634CE53C-3BB5-7405-1D13-B98BC953E8B3}"/>
                  </a:ext>
                </a:extLst>
              </p:cNvPr>
              <p:cNvGrpSpPr/>
              <p:nvPr/>
            </p:nvGrpSpPr>
            <p:grpSpPr>
              <a:xfrm>
                <a:off x="5219223" y="3662076"/>
                <a:ext cx="75628" cy="75628"/>
                <a:chOff x="5219223" y="3662076"/>
                <a:chExt cx="75628" cy="75628"/>
              </a:xfrm>
            </p:grpSpPr>
            <p:sp>
              <p:nvSpPr>
                <p:cNvPr id="14657" name="Freeform: Shape 14656">
                  <a:extLst>
                    <a:ext uri="{FF2B5EF4-FFF2-40B4-BE49-F238E27FC236}">
                      <a16:creationId xmlns:a16="http://schemas.microsoft.com/office/drawing/2014/main" id="{1AF9C7CA-FA2D-CF34-A44F-ACA58D6602DA}"/>
                    </a:ext>
                  </a:extLst>
                </p:cNvPr>
                <p:cNvSpPr/>
                <p:nvPr/>
              </p:nvSpPr>
              <p:spPr>
                <a:xfrm>
                  <a:off x="5257037" y="36620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58" name="Freeform: Shape 14657">
                  <a:extLst>
                    <a:ext uri="{FF2B5EF4-FFF2-40B4-BE49-F238E27FC236}">
                      <a16:creationId xmlns:a16="http://schemas.microsoft.com/office/drawing/2014/main" id="{8E212F43-A078-EA2D-4C0E-6C4AF2A1AD05}"/>
                    </a:ext>
                  </a:extLst>
                </p:cNvPr>
                <p:cNvSpPr/>
                <p:nvPr/>
              </p:nvSpPr>
              <p:spPr>
                <a:xfrm>
                  <a:off x="5219223" y="369989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8" name="Graphic 1794">
                <a:extLst>
                  <a:ext uri="{FF2B5EF4-FFF2-40B4-BE49-F238E27FC236}">
                    <a16:creationId xmlns:a16="http://schemas.microsoft.com/office/drawing/2014/main" id="{2A182B50-CC6A-34B5-15BB-913EF35218F8}"/>
                  </a:ext>
                </a:extLst>
              </p:cNvPr>
              <p:cNvGrpSpPr/>
              <p:nvPr/>
            </p:nvGrpSpPr>
            <p:grpSpPr>
              <a:xfrm>
                <a:off x="5202935" y="3636454"/>
                <a:ext cx="75723" cy="75723"/>
                <a:chOff x="5202935" y="3636454"/>
                <a:chExt cx="75723" cy="75723"/>
              </a:xfrm>
            </p:grpSpPr>
            <p:sp>
              <p:nvSpPr>
                <p:cNvPr id="14655" name="Freeform: Shape 14654">
                  <a:extLst>
                    <a:ext uri="{FF2B5EF4-FFF2-40B4-BE49-F238E27FC236}">
                      <a16:creationId xmlns:a16="http://schemas.microsoft.com/office/drawing/2014/main" id="{32523EFA-40AC-2DBF-C0D6-EDB012F67B10}"/>
                    </a:ext>
                  </a:extLst>
                </p:cNvPr>
                <p:cNvSpPr/>
                <p:nvPr/>
              </p:nvSpPr>
              <p:spPr>
                <a:xfrm>
                  <a:off x="5240845" y="3636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56" name="Freeform: Shape 14655">
                  <a:extLst>
                    <a:ext uri="{FF2B5EF4-FFF2-40B4-BE49-F238E27FC236}">
                      <a16:creationId xmlns:a16="http://schemas.microsoft.com/office/drawing/2014/main" id="{F1E379C5-C2D9-D109-FFF0-B26C44BBB2BF}"/>
                    </a:ext>
                  </a:extLst>
                </p:cNvPr>
                <p:cNvSpPr/>
                <p:nvPr/>
              </p:nvSpPr>
              <p:spPr>
                <a:xfrm>
                  <a:off x="5202935" y="36743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49" name="Graphic 1794">
                <a:extLst>
                  <a:ext uri="{FF2B5EF4-FFF2-40B4-BE49-F238E27FC236}">
                    <a16:creationId xmlns:a16="http://schemas.microsoft.com/office/drawing/2014/main" id="{D5C97609-B64F-DB7D-C6C7-6C3251F9BD4D}"/>
                  </a:ext>
                </a:extLst>
              </p:cNvPr>
              <p:cNvGrpSpPr/>
              <p:nvPr/>
            </p:nvGrpSpPr>
            <p:grpSpPr>
              <a:xfrm>
                <a:off x="5189219" y="3589496"/>
                <a:ext cx="75628" cy="75723"/>
                <a:chOff x="5189219" y="3589496"/>
                <a:chExt cx="75628" cy="75723"/>
              </a:xfrm>
            </p:grpSpPr>
            <p:sp>
              <p:nvSpPr>
                <p:cNvPr id="14653" name="Freeform: Shape 14652">
                  <a:extLst>
                    <a:ext uri="{FF2B5EF4-FFF2-40B4-BE49-F238E27FC236}">
                      <a16:creationId xmlns:a16="http://schemas.microsoft.com/office/drawing/2014/main" id="{B2E88AD6-1EC2-9F6C-F98F-3B70F1FE8A3E}"/>
                    </a:ext>
                  </a:extLst>
                </p:cNvPr>
                <p:cNvSpPr/>
                <p:nvPr/>
              </p:nvSpPr>
              <p:spPr>
                <a:xfrm>
                  <a:off x="5227033" y="35894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54" name="Freeform: Shape 14653">
                  <a:extLst>
                    <a:ext uri="{FF2B5EF4-FFF2-40B4-BE49-F238E27FC236}">
                      <a16:creationId xmlns:a16="http://schemas.microsoft.com/office/drawing/2014/main" id="{2051BAB1-2118-A6DD-0D30-CE53DAF3D18A}"/>
                    </a:ext>
                  </a:extLst>
                </p:cNvPr>
                <p:cNvSpPr/>
                <p:nvPr/>
              </p:nvSpPr>
              <p:spPr>
                <a:xfrm>
                  <a:off x="5189219" y="36274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2" name="Graphic 1794">
                <a:extLst>
                  <a:ext uri="{FF2B5EF4-FFF2-40B4-BE49-F238E27FC236}">
                    <a16:creationId xmlns:a16="http://schemas.microsoft.com/office/drawing/2014/main" id="{4C445F3A-2AC6-34FF-0EE9-A7D16095D4DC}"/>
                  </a:ext>
                </a:extLst>
              </p:cNvPr>
              <p:cNvGrpSpPr/>
              <p:nvPr/>
            </p:nvGrpSpPr>
            <p:grpSpPr>
              <a:xfrm>
                <a:off x="5156263" y="3544157"/>
                <a:ext cx="75628" cy="75628"/>
                <a:chOff x="5156263" y="3544157"/>
                <a:chExt cx="75628" cy="75628"/>
              </a:xfrm>
            </p:grpSpPr>
            <p:sp>
              <p:nvSpPr>
                <p:cNvPr id="14651" name="Freeform: Shape 14650">
                  <a:extLst>
                    <a:ext uri="{FF2B5EF4-FFF2-40B4-BE49-F238E27FC236}">
                      <a16:creationId xmlns:a16="http://schemas.microsoft.com/office/drawing/2014/main" id="{6B9EFBB0-5343-6756-C785-A45129FB0CE1}"/>
                    </a:ext>
                  </a:extLst>
                </p:cNvPr>
                <p:cNvSpPr/>
                <p:nvPr/>
              </p:nvSpPr>
              <p:spPr>
                <a:xfrm>
                  <a:off x="5194077" y="35441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52" name="Freeform: Shape 14651">
                  <a:extLst>
                    <a:ext uri="{FF2B5EF4-FFF2-40B4-BE49-F238E27FC236}">
                      <a16:creationId xmlns:a16="http://schemas.microsoft.com/office/drawing/2014/main" id="{67E6BB27-DDEC-D93D-6F68-FAA5F5EFD5E7}"/>
                    </a:ext>
                  </a:extLst>
                </p:cNvPr>
                <p:cNvSpPr/>
                <p:nvPr/>
              </p:nvSpPr>
              <p:spPr>
                <a:xfrm>
                  <a:off x="5156263" y="358197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3" name="Graphic 1794">
                <a:extLst>
                  <a:ext uri="{FF2B5EF4-FFF2-40B4-BE49-F238E27FC236}">
                    <a16:creationId xmlns:a16="http://schemas.microsoft.com/office/drawing/2014/main" id="{84DCDFC9-3F4A-9FED-F713-FF664ACE1188}"/>
                  </a:ext>
                </a:extLst>
              </p:cNvPr>
              <p:cNvGrpSpPr/>
              <p:nvPr/>
            </p:nvGrpSpPr>
            <p:grpSpPr>
              <a:xfrm>
                <a:off x="4790979" y="3376707"/>
                <a:ext cx="75723" cy="75723"/>
                <a:chOff x="4790979" y="3376707"/>
                <a:chExt cx="75723" cy="75723"/>
              </a:xfrm>
            </p:grpSpPr>
            <p:sp>
              <p:nvSpPr>
                <p:cNvPr id="14649" name="Freeform: Shape 14648">
                  <a:extLst>
                    <a:ext uri="{FF2B5EF4-FFF2-40B4-BE49-F238E27FC236}">
                      <a16:creationId xmlns:a16="http://schemas.microsoft.com/office/drawing/2014/main" id="{966EE161-CAA5-D53C-2A0A-9D93C61B4EB9}"/>
                    </a:ext>
                  </a:extLst>
                </p:cNvPr>
                <p:cNvSpPr/>
                <p:nvPr/>
              </p:nvSpPr>
              <p:spPr>
                <a:xfrm>
                  <a:off x="4828888" y="33767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50" name="Freeform: Shape 14649">
                  <a:extLst>
                    <a:ext uri="{FF2B5EF4-FFF2-40B4-BE49-F238E27FC236}">
                      <a16:creationId xmlns:a16="http://schemas.microsoft.com/office/drawing/2014/main" id="{1B0AF147-C520-2F2A-9ECE-9DFFAB10E927}"/>
                    </a:ext>
                  </a:extLst>
                </p:cNvPr>
                <p:cNvSpPr/>
                <p:nvPr/>
              </p:nvSpPr>
              <p:spPr>
                <a:xfrm>
                  <a:off x="4790979" y="34146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4" name="Graphic 1794">
                <a:extLst>
                  <a:ext uri="{FF2B5EF4-FFF2-40B4-BE49-F238E27FC236}">
                    <a16:creationId xmlns:a16="http://schemas.microsoft.com/office/drawing/2014/main" id="{D1F0CBE0-09EF-135D-AE2A-E4AB938F8A1F}"/>
                  </a:ext>
                </a:extLst>
              </p:cNvPr>
              <p:cNvGrpSpPr/>
              <p:nvPr/>
            </p:nvGrpSpPr>
            <p:grpSpPr>
              <a:xfrm>
                <a:off x="4779835" y="3376707"/>
                <a:ext cx="75723" cy="75723"/>
                <a:chOff x="4779835" y="3376707"/>
                <a:chExt cx="75723" cy="75723"/>
              </a:xfrm>
            </p:grpSpPr>
            <p:sp>
              <p:nvSpPr>
                <p:cNvPr id="14647" name="Freeform: Shape 14646">
                  <a:extLst>
                    <a:ext uri="{FF2B5EF4-FFF2-40B4-BE49-F238E27FC236}">
                      <a16:creationId xmlns:a16="http://schemas.microsoft.com/office/drawing/2014/main" id="{A6B2FC16-C30C-9B73-CC53-CBA4B1FFDDA4}"/>
                    </a:ext>
                  </a:extLst>
                </p:cNvPr>
                <p:cNvSpPr/>
                <p:nvPr/>
              </p:nvSpPr>
              <p:spPr>
                <a:xfrm>
                  <a:off x="4817744" y="33767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48" name="Freeform: Shape 14647">
                  <a:extLst>
                    <a:ext uri="{FF2B5EF4-FFF2-40B4-BE49-F238E27FC236}">
                      <a16:creationId xmlns:a16="http://schemas.microsoft.com/office/drawing/2014/main" id="{9F537729-7960-868C-5916-A22031312C37}"/>
                    </a:ext>
                  </a:extLst>
                </p:cNvPr>
                <p:cNvSpPr/>
                <p:nvPr/>
              </p:nvSpPr>
              <p:spPr>
                <a:xfrm>
                  <a:off x="4779835" y="34146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5" name="Graphic 1794">
                <a:extLst>
                  <a:ext uri="{FF2B5EF4-FFF2-40B4-BE49-F238E27FC236}">
                    <a16:creationId xmlns:a16="http://schemas.microsoft.com/office/drawing/2014/main" id="{BC74FFC2-5999-DBEC-AF41-96224AA72A75}"/>
                  </a:ext>
                </a:extLst>
              </p:cNvPr>
              <p:cNvGrpSpPr/>
              <p:nvPr/>
            </p:nvGrpSpPr>
            <p:grpSpPr>
              <a:xfrm>
                <a:off x="4779835" y="3334702"/>
                <a:ext cx="75723" cy="75723"/>
                <a:chOff x="4779835" y="3334702"/>
                <a:chExt cx="75723" cy="75723"/>
              </a:xfrm>
            </p:grpSpPr>
            <p:sp>
              <p:nvSpPr>
                <p:cNvPr id="14645" name="Freeform: Shape 14644">
                  <a:extLst>
                    <a:ext uri="{FF2B5EF4-FFF2-40B4-BE49-F238E27FC236}">
                      <a16:creationId xmlns:a16="http://schemas.microsoft.com/office/drawing/2014/main" id="{8ABDF84E-15B1-F4A4-4054-6A2291F5A841}"/>
                    </a:ext>
                  </a:extLst>
                </p:cNvPr>
                <p:cNvSpPr/>
                <p:nvPr/>
              </p:nvSpPr>
              <p:spPr>
                <a:xfrm>
                  <a:off x="4817744" y="33347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46" name="Freeform: Shape 14645">
                  <a:extLst>
                    <a:ext uri="{FF2B5EF4-FFF2-40B4-BE49-F238E27FC236}">
                      <a16:creationId xmlns:a16="http://schemas.microsoft.com/office/drawing/2014/main" id="{57700AD2-3073-10A9-84D1-4F0F8E219246}"/>
                    </a:ext>
                  </a:extLst>
                </p:cNvPr>
                <p:cNvSpPr/>
                <p:nvPr/>
              </p:nvSpPr>
              <p:spPr>
                <a:xfrm>
                  <a:off x="4779835" y="33726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6" name="Graphic 1794">
                <a:extLst>
                  <a:ext uri="{FF2B5EF4-FFF2-40B4-BE49-F238E27FC236}">
                    <a16:creationId xmlns:a16="http://schemas.microsoft.com/office/drawing/2014/main" id="{065B3B6D-572C-6E87-C6A1-BE18FCB31AAA}"/>
                  </a:ext>
                </a:extLst>
              </p:cNvPr>
              <p:cNvGrpSpPr/>
              <p:nvPr/>
            </p:nvGrpSpPr>
            <p:grpSpPr>
              <a:xfrm>
                <a:off x="4761642" y="3264027"/>
                <a:ext cx="75723" cy="75723"/>
                <a:chOff x="4761642" y="3264027"/>
                <a:chExt cx="75723" cy="75723"/>
              </a:xfrm>
            </p:grpSpPr>
            <p:sp>
              <p:nvSpPr>
                <p:cNvPr id="14643" name="Freeform: Shape 14642">
                  <a:extLst>
                    <a:ext uri="{FF2B5EF4-FFF2-40B4-BE49-F238E27FC236}">
                      <a16:creationId xmlns:a16="http://schemas.microsoft.com/office/drawing/2014/main" id="{9C1C52A4-FD8A-268B-59C9-B9BAFDF1B6C8}"/>
                    </a:ext>
                  </a:extLst>
                </p:cNvPr>
                <p:cNvSpPr/>
                <p:nvPr/>
              </p:nvSpPr>
              <p:spPr>
                <a:xfrm>
                  <a:off x="4799456"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44" name="Freeform: Shape 14643">
                  <a:extLst>
                    <a:ext uri="{FF2B5EF4-FFF2-40B4-BE49-F238E27FC236}">
                      <a16:creationId xmlns:a16="http://schemas.microsoft.com/office/drawing/2014/main" id="{5121FEC3-0480-FBCA-EC26-5FDCC634B981}"/>
                    </a:ext>
                  </a:extLst>
                </p:cNvPr>
                <p:cNvSpPr/>
                <p:nvPr/>
              </p:nvSpPr>
              <p:spPr>
                <a:xfrm>
                  <a:off x="4761642"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7" name="Graphic 1794">
                <a:extLst>
                  <a:ext uri="{FF2B5EF4-FFF2-40B4-BE49-F238E27FC236}">
                    <a16:creationId xmlns:a16="http://schemas.microsoft.com/office/drawing/2014/main" id="{DCF86F33-B1C9-F0E6-E1A3-46273EF410B9}"/>
                  </a:ext>
                </a:extLst>
              </p:cNvPr>
              <p:cNvGrpSpPr/>
              <p:nvPr/>
            </p:nvGrpSpPr>
            <p:grpSpPr>
              <a:xfrm>
                <a:off x="4749926" y="3264027"/>
                <a:ext cx="75628" cy="75723"/>
                <a:chOff x="4749926" y="3264027"/>
                <a:chExt cx="75628" cy="75723"/>
              </a:xfrm>
            </p:grpSpPr>
            <p:sp>
              <p:nvSpPr>
                <p:cNvPr id="14641" name="Freeform: Shape 14640">
                  <a:extLst>
                    <a:ext uri="{FF2B5EF4-FFF2-40B4-BE49-F238E27FC236}">
                      <a16:creationId xmlns:a16="http://schemas.microsoft.com/office/drawing/2014/main" id="{366C73ED-8D7D-C453-25F3-B4BEC6CD26BE}"/>
                    </a:ext>
                  </a:extLst>
                </p:cNvPr>
                <p:cNvSpPr/>
                <p:nvPr/>
              </p:nvSpPr>
              <p:spPr>
                <a:xfrm>
                  <a:off x="4787740"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42" name="Freeform: Shape 14641">
                  <a:extLst>
                    <a:ext uri="{FF2B5EF4-FFF2-40B4-BE49-F238E27FC236}">
                      <a16:creationId xmlns:a16="http://schemas.microsoft.com/office/drawing/2014/main" id="{113BDC95-BC27-5842-87C5-990706B94AEE}"/>
                    </a:ext>
                  </a:extLst>
                </p:cNvPr>
                <p:cNvSpPr/>
                <p:nvPr/>
              </p:nvSpPr>
              <p:spPr>
                <a:xfrm>
                  <a:off x="4749926" y="330193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8" name="Graphic 1794">
                <a:extLst>
                  <a:ext uri="{FF2B5EF4-FFF2-40B4-BE49-F238E27FC236}">
                    <a16:creationId xmlns:a16="http://schemas.microsoft.com/office/drawing/2014/main" id="{430E01B7-65D9-3A56-FC01-DF7E45237C88}"/>
                  </a:ext>
                </a:extLst>
              </p:cNvPr>
              <p:cNvGrpSpPr/>
              <p:nvPr/>
            </p:nvGrpSpPr>
            <p:grpSpPr>
              <a:xfrm>
                <a:off x="4739353" y="3264027"/>
                <a:ext cx="75723" cy="75723"/>
                <a:chOff x="4739353" y="3264027"/>
                <a:chExt cx="75723" cy="75723"/>
              </a:xfrm>
            </p:grpSpPr>
            <p:sp>
              <p:nvSpPr>
                <p:cNvPr id="14639" name="Freeform: Shape 14638">
                  <a:extLst>
                    <a:ext uri="{FF2B5EF4-FFF2-40B4-BE49-F238E27FC236}">
                      <a16:creationId xmlns:a16="http://schemas.microsoft.com/office/drawing/2014/main" id="{B7D56AC6-AD2B-6CD0-A9EA-C72C95DBB97B}"/>
                    </a:ext>
                  </a:extLst>
                </p:cNvPr>
                <p:cNvSpPr/>
                <p:nvPr/>
              </p:nvSpPr>
              <p:spPr>
                <a:xfrm>
                  <a:off x="4777168"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40" name="Freeform: Shape 14639">
                  <a:extLst>
                    <a:ext uri="{FF2B5EF4-FFF2-40B4-BE49-F238E27FC236}">
                      <a16:creationId xmlns:a16="http://schemas.microsoft.com/office/drawing/2014/main" id="{17FF6426-50E9-18D4-24F1-7D8299058BB2}"/>
                    </a:ext>
                  </a:extLst>
                </p:cNvPr>
                <p:cNvSpPr/>
                <p:nvPr/>
              </p:nvSpPr>
              <p:spPr>
                <a:xfrm>
                  <a:off x="473935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59" name="Graphic 1794">
                <a:extLst>
                  <a:ext uri="{FF2B5EF4-FFF2-40B4-BE49-F238E27FC236}">
                    <a16:creationId xmlns:a16="http://schemas.microsoft.com/office/drawing/2014/main" id="{B5069D8C-367A-1971-AD8C-3CFBF03F4B07}"/>
                  </a:ext>
                </a:extLst>
              </p:cNvPr>
              <p:cNvGrpSpPr/>
              <p:nvPr/>
            </p:nvGrpSpPr>
            <p:grpSpPr>
              <a:xfrm>
                <a:off x="4726780" y="3242024"/>
                <a:ext cx="75723" cy="75723"/>
                <a:chOff x="4726780" y="3242024"/>
                <a:chExt cx="75723" cy="75723"/>
              </a:xfrm>
            </p:grpSpPr>
            <p:sp>
              <p:nvSpPr>
                <p:cNvPr id="14636" name="Freeform: Shape 14635">
                  <a:extLst>
                    <a:ext uri="{FF2B5EF4-FFF2-40B4-BE49-F238E27FC236}">
                      <a16:creationId xmlns:a16="http://schemas.microsoft.com/office/drawing/2014/main" id="{2F9E66DA-F64D-B732-5FFE-D354717AAF05}"/>
                    </a:ext>
                  </a:extLst>
                </p:cNvPr>
                <p:cNvSpPr/>
                <p:nvPr/>
              </p:nvSpPr>
              <p:spPr>
                <a:xfrm>
                  <a:off x="4764595" y="324202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38" name="Freeform: Shape 14637">
                  <a:extLst>
                    <a:ext uri="{FF2B5EF4-FFF2-40B4-BE49-F238E27FC236}">
                      <a16:creationId xmlns:a16="http://schemas.microsoft.com/office/drawing/2014/main" id="{4FE1FFB8-DF9E-A015-1ED2-5FCC4CD9F2FF}"/>
                    </a:ext>
                  </a:extLst>
                </p:cNvPr>
                <p:cNvSpPr/>
                <p:nvPr/>
              </p:nvSpPr>
              <p:spPr>
                <a:xfrm>
                  <a:off x="4726780" y="3279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0" name="Graphic 1794">
                <a:extLst>
                  <a:ext uri="{FF2B5EF4-FFF2-40B4-BE49-F238E27FC236}">
                    <a16:creationId xmlns:a16="http://schemas.microsoft.com/office/drawing/2014/main" id="{DF7B57AD-D8A7-5B91-41D9-16617C6611DA}"/>
                  </a:ext>
                </a:extLst>
              </p:cNvPr>
              <p:cNvGrpSpPr/>
              <p:nvPr/>
            </p:nvGrpSpPr>
            <p:grpSpPr>
              <a:xfrm>
                <a:off x="4463700" y="3122390"/>
                <a:ext cx="75723" cy="75723"/>
                <a:chOff x="4463700" y="3122390"/>
                <a:chExt cx="75723" cy="75723"/>
              </a:xfrm>
            </p:grpSpPr>
            <p:sp>
              <p:nvSpPr>
                <p:cNvPr id="14634" name="Freeform: Shape 14633">
                  <a:extLst>
                    <a:ext uri="{FF2B5EF4-FFF2-40B4-BE49-F238E27FC236}">
                      <a16:creationId xmlns:a16="http://schemas.microsoft.com/office/drawing/2014/main" id="{78AFCA62-9204-8F23-411D-188177A10E7C}"/>
                    </a:ext>
                  </a:extLst>
                </p:cNvPr>
                <p:cNvSpPr/>
                <p:nvPr/>
              </p:nvSpPr>
              <p:spPr>
                <a:xfrm>
                  <a:off x="4501609" y="31223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35" name="Freeform: Shape 14634">
                  <a:extLst>
                    <a:ext uri="{FF2B5EF4-FFF2-40B4-BE49-F238E27FC236}">
                      <a16:creationId xmlns:a16="http://schemas.microsoft.com/office/drawing/2014/main" id="{4149C583-E976-9F03-4C78-F108663044DD}"/>
                    </a:ext>
                  </a:extLst>
                </p:cNvPr>
                <p:cNvSpPr/>
                <p:nvPr/>
              </p:nvSpPr>
              <p:spPr>
                <a:xfrm>
                  <a:off x="4463700" y="31602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1" name="Graphic 1794">
                <a:extLst>
                  <a:ext uri="{FF2B5EF4-FFF2-40B4-BE49-F238E27FC236}">
                    <a16:creationId xmlns:a16="http://schemas.microsoft.com/office/drawing/2014/main" id="{27776925-2002-EDA0-A07A-9739C29BC9A1}"/>
                  </a:ext>
                </a:extLst>
              </p:cNvPr>
              <p:cNvGrpSpPr/>
              <p:nvPr/>
            </p:nvGrpSpPr>
            <p:grpSpPr>
              <a:xfrm>
                <a:off x="4360354" y="3080194"/>
                <a:ext cx="75628" cy="75723"/>
                <a:chOff x="4360354" y="3080194"/>
                <a:chExt cx="75628" cy="75723"/>
              </a:xfrm>
            </p:grpSpPr>
            <p:sp>
              <p:nvSpPr>
                <p:cNvPr id="14630" name="Freeform: Shape 14629">
                  <a:extLst>
                    <a:ext uri="{FF2B5EF4-FFF2-40B4-BE49-F238E27FC236}">
                      <a16:creationId xmlns:a16="http://schemas.microsoft.com/office/drawing/2014/main" id="{80DC3983-9733-726C-1C0B-636E42D8CBE4}"/>
                    </a:ext>
                  </a:extLst>
                </p:cNvPr>
                <p:cNvSpPr/>
                <p:nvPr/>
              </p:nvSpPr>
              <p:spPr>
                <a:xfrm>
                  <a:off x="4398168" y="3080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32" name="Freeform: Shape 14631">
                  <a:extLst>
                    <a:ext uri="{FF2B5EF4-FFF2-40B4-BE49-F238E27FC236}">
                      <a16:creationId xmlns:a16="http://schemas.microsoft.com/office/drawing/2014/main" id="{DBA90509-1E87-1501-818B-AAC178BF44AA}"/>
                    </a:ext>
                  </a:extLst>
                </p:cNvPr>
                <p:cNvSpPr/>
                <p:nvPr/>
              </p:nvSpPr>
              <p:spPr>
                <a:xfrm>
                  <a:off x="4360354" y="311810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2" name="Graphic 1794">
                <a:extLst>
                  <a:ext uri="{FF2B5EF4-FFF2-40B4-BE49-F238E27FC236}">
                    <a16:creationId xmlns:a16="http://schemas.microsoft.com/office/drawing/2014/main" id="{7A29DA39-8C6E-0B23-8844-51B97DC44CD6}"/>
                  </a:ext>
                </a:extLst>
              </p:cNvPr>
              <p:cNvGrpSpPr/>
              <p:nvPr/>
            </p:nvGrpSpPr>
            <p:grpSpPr>
              <a:xfrm>
                <a:off x="4351495" y="3039903"/>
                <a:ext cx="75628" cy="75723"/>
                <a:chOff x="4351495" y="3039903"/>
                <a:chExt cx="75628" cy="75723"/>
              </a:xfrm>
            </p:grpSpPr>
            <p:sp>
              <p:nvSpPr>
                <p:cNvPr id="14628" name="Freeform: Shape 14627">
                  <a:extLst>
                    <a:ext uri="{FF2B5EF4-FFF2-40B4-BE49-F238E27FC236}">
                      <a16:creationId xmlns:a16="http://schemas.microsoft.com/office/drawing/2014/main" id="{049DD588-27D3-E693-5CAD-B88541043DD4}"/>
                    </a:ext>
                  </a:extLst>
                </p:cNvPr>
                <p:cNvSpPr/>
                <p:nvPr/>
              </p:nvSpPr>
              <p:spPr>
                <a:xfrm>
                  <a:off x="4389310" y="30399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29" name="Freeform: Shape 14628">
                  <a:extLst>
                    <a:ext uri="{FF2B5EF4-FFF2-40B4-BE49-F238E27FC236}">
                      <a16:creationId xmlns:a16="http://schemas.microsoft.com/office/drawing/2014/main" id="{EF89B9BD-2F93-8824-667B-707D0553DCBC}"/>
                    </a:ext>
                  </a:extLst>
                </p:cNvPr>
                <p:cNvSpPr/>
                <p:nvPr/>
              </p:nvSpPr>
              <p:spPr>
                <a:xfrm>
                  <a:off x="4351495" y="30778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63" name="Graphic 1794">
                <a:extLst>
                  <a:ext uri="{FF2B5EF4-FFF2-40B4-BE49-F238E27FC236}">
                    <a16:creationId xmlns:a16="http://schemas.microsoft.com/office/drawing/2014/main" id="{C3515C48-C6D4-C838-8F5B-65CDF393F4BE}"/>
                  </a:ext>
                </a:extLst>
              </p:cNvPr>
              <p:cNvGrpSpPr/>
              <p:nvPr/>
            </p:nvGrpSpPr>
            <p:grpSpPr>
              <a:xfrm>
                <a:off x="4310633" y="2920365"/>
                <a:ext cx="75723" cy="75723"/>
                <a:chOff x="4310633" y="2920365"/>
                <a:chExt cx="75723" cy="75723"/>
              </a:xfrm>
            </p:grpSpPr>
            <p:sp>
              <p:nvSpPr>
                <p:cNvPr id="14626" name="Freeform: Shape 14625">
                  <a:extLst>
                    <a:ext uri="{FF2B5EF4-FFF2-40B4-BE49-F238E27FC236}">
                      <a16:creationId xmlns:a16="http://schemas.microsoft.com/office/drawing/2014/main" id="{4977F5A2-EF02-3D08-B518-DA779C663D02}"/>
                    </a:ext>
                  </a:extLst>
                </p:cNvPr>
                <p:cNvSpPr/>
                <p:nvPr/>
              </p:nvSpPr>
              <p:spPr>
                <a:xfrm>
                  <a:off x="4348543" y="2920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27" name="Freeform: Shape 14626">
                  <a:extLst>
                    <a:ext uri="{FF2B5EF4-FFF2-40B4-BE49-F238E27FC236}">
                      <a16:creationId xmlns:a16="http://schemas.microsoft.com/office/drawing/2014/main" id="{BD4AE403-EE6D-3103-9553-AF1AF16B746F}"/>
                    </a:ext>
                  </a:extLst>
                </p:cNvPr>
                <p:cNvSpPr/>
                <p:nvPr/>
              </p:nvSpPr>
              <p:spPr>
                <a:xfrm>
                  <a:off x="4310633" y="2958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69" name="Graphic 1794">
                <a:extLst>
                  <a:ext uri="{FF2B5EF4-FFF2-40B4-BE49-F238E27FC236}">
                    <a16:creationId xmlns:a16="http://schemas.microsoft.com/office/drawing/2014/main" id="{EAD11C4E-9DE1-55E2-81CC-4C757EA8AEC1}"/>
                  </a:ext>
                </a:extLst>
              </p:cNvPr>
              <p:cNvGrpSpPr/>
              <p:nvPr/>
            </p:nvGrpSpPr>
            <p:grpSpPr>
              <a:xfrm>
                <a:off x="3938968" y="2765298"/>
                <a:ext cx="75723" cy="75723"/>
                <a:chOff x="3938968" y="2765298"/>
                <a:chExt cx="75723" cy="75723"/>
              </a:xfrm>
            </p:grpSpPr>
            <p:sp>
              <p:nvSpPr>
                <p:cNvPr id="14576" name="Freeform: Shape 14575">
                  <a:extLst>
                    <a:ext uri="{FF2B5EF4-FFF2-40B4-BE49-F238E27FC236}">
                      <a16:creationId xmlns:a16="http://schemas.microsoft.com/office/drawing/2014/main" id="{B014C101-C6ED-2FC3-A122-60C877DFA815}"/>
                    </a:ext>
                  </a:extLst>
                </p:cNvPr>
                <p:cNvSpPr/>
                <p:nvPr/>
              </p:nvSpPr>
              <p:spPr>
                <a:xfrm>
                  <a:off x="3976877" y="27652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625" name="Freeform: Shape 14624">
                  <a:extLst>
                    <a:ext uri="{FF2B5EF4-FFF2-40B4-BE49-F238E27FC236}">
                      <a16:creationId xmlns:a16="http://schemas.microsoft.com/office/drawing/2014/main" id="{C9FB9017-950B-DD02-EB66-557F63E5615D}"/>
                    </a:ext>
                  </a:extLst>
                </p:cNvPr>
                <p:cNvSpPr/>
                <p:nvPr/>
              </p:nvSpPr>
              <p:spPr>
                <a:xfrm>
                  <a:off x="3938968" y="2803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0" name="Graphic 1794">
                <a:extLst>
                  <a:ext uri="{FF2B5EF4-FFF2-40B4-BE49-F238E27FC236}">
                    <a16:creationId xmlns:a16="http://schemas.microsoft.com/office/drawing/2014/main" id="{D9585254-85BA-89BA-0192-723D4F075A59}"/>
                  </a:ext>
                </a:extLst>
              </p:cNvPr>
              <p:cNvGrpSpPr/>
              <p:nvPr/>
            </p:nvGrpSpPr>
            <p:grpSpPr>
              <a:xfrm>
                <a:off x="3490912" y="2476500"/>
                <a:ext cx="75723" cy="75723"/>
                <a:chOff x="3490912" y="2476500"/>
                <a:chExt cx="75723" cy="75723"/>
              </a:xfrm>
            </p:grpSpPr>
            <p:sp>
              <p:nvSpPr>
                <p:cNvPr id="14220" name="Freeform: Shape 14219">
                  <a:extLst>
                    <a:ext uri="{FF2B5EF4-FFF2-40B4-BE49-F238E27FC236}">
                      <a16:creationId xmlns:a16="http://schemas.microsoft.com/office/drawing/2014/main" id="{3216BFFC-4AE2-1721-78DE-072E16F9AE3F}"/>
                    </a:ext>
                  </a:extLst>
                </p:cNvPr>
                <p:cNvSpPr/>
                <p:nvPr/>
              </p:nvSpPr>
              <p:spPr>
                <a:xfrm>
                  <a:off x="3528726" y="24765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4575" name="Freeform: Shape 14574">
                  <a:extLst>
                    <a:ext uri="{FF2B5EF4-FFF2-40B4-BE49-F238E27FC236}">
                      <a16:creationId xmlns:a16="http://schemas.microsoft.com/office/drawing/2014/main" id="{F752FEAC-64D1-0695-A177-E8A362B8AD35}"/>
                    </a:ext>
                  </a:extLst>
                </p:cNvPr>
                <p:cNvSpPr/>
                <p:nvPr/>
              </p:nvSpPr>
              <p:spPr>
                <a:xfrm>
                  <a:off x="3490912" y="25143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1" name="Graphic 1794">
                <a:extLst>
                  <a:ext uri="{FF2B5EF4-FFF2-40B4-BE49-F238E27FC236}">
                    <a16:creationId xmlns:a16="http://schemas.microsoft.com/office/drawing/2014/main" id="{723B4FC9-C012-712E-2024-14EB2F2857AE}"/>
                  </a:ext>
                </a:extLst>
              </p:cNvPr>
              <p:cNvGrpSpPr/>
              <p:nvPr/>
            </p:nvGrpSpPr>
            <p:grpSpPr>
              <a:xfrm>
                <a:off x="4315491" y="2940367"/>
                <a:ext cx="75723" cy="75723"/>
                <a:chOff x="4315491" y="2940367"/>
                <a:chExt cx="75723" cy="75723"/>
              </a:xfrm>
            </p:grpSpPr>
            <p:sp>
              <p:nvSpPr>
                <p:cNvPr id="16702" name="Freeform: Shape 16701">
                  <a:extLst>
                    <a:ext uri="{FF2B5EF4-FFF2-40B4-BE49-F238E27FC236}">
                      <a16:creationId xmlns:a16="http://schemas.microsoft.com/office/drawing/2014/main" id="{C5021641-2C29-C59A-D9E9-18E3AA105F6D}"/>
                    </a:ext>
                  </a:extLst>
                </p:cNvPr>
                <p:cNvSpPr/>
                <p:nvPr/>
              </p:nvSpPr>
              <p:spPr>
                <a:xfrm>
                  <a:off x="4353400" y="294036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703" name="Freeform: Shape 16702">
                  <a:extLst>
                    <a:ext uri="{FF2B5EF4-FFF2-40B4-BE49-F238E27FC236}">
                      <a16:creationId xmlns:a16="http://schemas.microsoft.com/office/drawing/2014/main" id="{7799E4FE-35D0-1435-9096-EA7416CA0886}"/>
                    </a:ext>
                  </a:extLst>
                </p:cNvPr>
                <p:cNvSpPr/>
                <p:nvPr/>
              </p:nvSpPr>
              <p:spPr>
                <a:xfrm>
                  <a:off x="4315491" y="29781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2" name="Graphic 1794">
                <a:extLst>
                  <a:ext uri="{FF2B5EF4-FFF2-40B4-BE49-F238E27FC236}">
                    <a16:creationId xmlns:a16="http://schemas.microsoft.com/office/drawing/2014/main" id="{F39133F3-799F-9BAE-B4B8-3E8FF10888EB}"/>
                  </a:ext>
                </a:extLst>
              </p:cNvPr>
              <p:cNvGrpSpPr/>
              <p:nvPr/>
            </p:nvGrpSpPr>
            <p:grpSpPr>
              <a:xfrm>
                <a:off x="4322444" y="2964180"/>
                <a:ext cx="75723" cy="75723"/>
                <a:chOff x="4322444" y="2964180"/>
                <a:chExt cx="75723" cy="75723"/>
              </a:xfrm>
            </p:grpSpPr>
            <p:sp>
              <p:nvSpPr>
                <p:cNvPr id="16700" name="Freeform: Shape 16699">
                  <a:extLst>
                    <a:ext uri="{FF2B5EF4-FFF2-40B4-BE49-F238E27FC236}">
                      <a16:creationId xmlns:a16="http://schemas.microsoft.com/office/drawing/2014/main" id="{4CDEBD31-D2D9-D1EA-8B99-B40A9F258CED}"/>
                    </a:ext>
                  </a:extLst>
                </p:cNvPr>
                <p:cNvSpPr/>
                <p:nvPr/>
              </p:nvSpPr>
              <p:spPr>
                <a:xfrm>
                  <a:off x="4360354" y="296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701" name="Freeform: Shape 16700">
                  <a:extLst>
                    <a:ext uri="{FF2B5EF4-FFF2-40B4-BE49-F238E27FC236}">
                      <a16:creationId xmlns:a16="http://schemas.microsoft.com/office/drawing/2014/main" id="{8CE7BB90-3CAD-7004-55D6-BA92672B9B0D}"/>
                    </a:ext>
                  </a:extLst>
                </p:cNvPr>
                <p:cNvSpPr/>
                <p:nvPr/>
              </p:nvSpPr>
              <p:spPr>
                <a:xfrm>
                  <a:off x="4322444" y="30020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3" name="Graphic 1794">
                <a:extLst>
                  <a:ext uri="{FF2B5EF4-FFF2-40B4-BE49-F238E27FC236}">
                    <a16:creationId xmlns:a16="http://schemas.microsoft.com/office/drawing/2014/main" id="{270F4DBE-EE47-14F5-27EE-541284C3100F}"/>
                  </a:ext>
                </a:extLst>
              </p:cNvPr>
              <p:cNvGrpSpPr/>
              <p:nvPr/>
            </p:nvGrpSpPr>
            <p:grpSpPr>
              <a:xfrm>
                <a:off x="4327778" y="2978181"/>
                <a:ext cx="75628" cy="75723"/>
                <a:chOff x="4327778" y="2978181"/>
                <a:chExt cx="75628" cy="75723"/>
              </a:xfrm>
            </p:grpSpPr>
            <p:sp>
              <p:nvSpPr>
                <p:cNvPr id="16698" name="Freeform: Shape 16697">
                  <a:extLst>
                    <a:ext uri="{FF2B5EF4-FFF2-40B4-BE49-F238E27FC236}">
                      <a16:creationId xmlns:a16="http://schemas.microsoft.com/office/drawing/2014/main" id="{35CC3692-8D9A-BA73-7767-CCB6B2CF2E36}"/>
                    </a:ext>
                  </a:extLst>
                </p:cNvPr>
                <p:cNvSpPr/>
                <p:nvPr/>
              </p:nvSpPr>
              <p:spPr>
                <a:xfrm>
                  <a:off x="4365592" y="29781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99" name="Freeform: Shape 16698">
                  <a:extLst>
                    <a:ext uri="{FF2B5EF4-FFF2-40B4-BE49-F238E27FC236}">
                      <a16:creationId xmlns:a16="http://schemas.microsoft.com/office/drawing/2014/main" id="{83B959AA-1F19-AABE-0B9B-B2C1653778FA}"/>
                    </a:ext>
                  </a:extLst>
                </p:cNvPr>
                <p:cNvSpPr/>
                <p:nvPr/>
              </p:nvSpPr>
              <p:spPr>
                <a:xfrm>
                  <a:off x="4327778" y="301609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4" name="Graphic 1794">
                <a:extLst>
                  <a:ext uri="{FF2B5EF4-FFF2-40B4-BE49-F238E27FC236}">
                    <a16:creationId xmlns:a16="http://schemas.microsoft.com/office/drawing/2014/main" id="{E4769FCA-F8CE-D0CF-9A5A-E4EAF64129C4}"/>
                  </a:ext>
                </a:extLst>
              </p:cNvPr>
              <p:cNvGrpSpPr/>
              <p:nvPr/>
            </p:nvGrpSpPr>
            <p:grpSpPr>
              <a:xfrm>
                <a:off x="4348543" y="3014757"/>
                <a:ext cx="75628" cy="75723"/>
                <a:chOff x="4348543" y="3014757"/>
                <a:chExt cx="75628" cy="75723"/>
              </a:xfrm>
            </p:grpSpPr>
            <p:sp>
              <p:nvSpPr>
                <p:cNvPr id="16696" name="Freeform: Shape 16695">
                  <a:extLst>
                    <a:ext uri="{FF2B5EF4-FFF2-40B4-BE49-F238E27FC236}">
                      <a16:creationId xmlns:a16="http://schemas.microsoft.com/office/drawing/2014/main" id="{F4FFA92E-74D1-D789-5B8D-26DD31DDFD6B}"/>
                    </a:ext>
                  </a:extLst>
                </p:cNvPr>
                <p:cNvSpPr/>
                <p:nvPr/>
              </p:nvSpPr>
              <p:spPr>
                <a:xfrm>
                  <a:off x="4386357" y="301475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97" name="Freeform: Shape 16696">
                  <a:extLst>
                    <a:ext uri="{FF2B5EF4-FFF2-40B4-BE49-F238E27FC236}">
                      <a16:creationId xmlns:a16="http://schemas.microsoft.com/office/drawing/2014/main" id="{DCAB4E86-EC16-5721-BA81-42DA09D16A01}"/>
                    </a:ext>
                  </a:extLst>
                </p:cNvPr>
                <p:cNvSpPr/>
                <p:nvPr/>
              </p:nvSpPr>
              <p:spPr>
                <a:xfrm>
                  <a:off x="4348543" y="30525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5" name="Graphic 1794">
                <a:extLst>
                  <a:ext uri="{FF2B5EF4-FFF2-40B4-BE49-F238E27FC236}">
                    <a16:creationId xmlns:a16="http://schemas.microsoft.com/office/drawing/2014/main" id="{D67AA689-A213-8022-41E1-A6EE1DE47BD4}"/>
                  </a:ext>
                </a:extLst>
              </p:cNvPr>
              <p:cNvGrpSpPr/>
              <p:nvPr/>
            </p:nvGrpSpPr>
            <p:grpSpPr>
              <a:xfrm>
                <a:off x="4348543" y="3029426"/>
                <a:ext cx="75628" cy="75628"/>
                <a:chOff x="4348543" y="3029426"/>
                <a:chExt cx="75628" cy="75628"/>
              </a:xfrm>
            </p:grpSpPr>
            <p:sp>
              <p:nvSpPr>
                <p:cNvPr id="16694" name="Freeform: Shape 16693">
                  <a:extLst>
                    <a:ext uri="{FF2B5EF4-FFF2-40B4-BE49-F238E27FC236}">
                      <a16:creationId xmlns:a16="http://schemas.microsoft.com/office/drawing/2014/main" id="{2E5AA0E4-D331-518E-C317-77F8166DD53F}"/>
                    </a:ext>
                  </a:extLst>
                </p:cNvPr>
                <p:cNvSpPr/>
                <p:nvPr/>
              </p:nvSpPr>
              <p:spPr>
                <a:xfrm>
                  <a:off x="4386357" y="302942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95" name="Freeform: Shape 16694">
                  <a:extLst>
                    <a:ext uri="{FF2B5EF4-FFF2-40B4-BE49-F238E27FC236}">
                      <a16:creationId xmlns:a16="http://schemas.microsoft.com/office/drawing/2014/main" id="{D6F738A1-0C2B-229F-C964-426A08CA1794}"/>
                    </a:ext>
                  </a:extLst>
                </p:cNvPr>
                <p:cNvSpPr/>
                <p:nvPr/>
              </p:nvSpPr>
              <p:spPr>
                <a:xfrm>
                  <a:off x="4348543" y="306724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6" name="Graphic 1794">
                <a:extLst>
                  <a:ext uri="{FF2B5EF4-FFF2-40B4-BE49-F238E27FC236}">
                    <a16:creationId xmlns:a16="http://schemas.microsoft.com/office/drawing/2014/main" id="{51365576-E204-B4EE-8450-17C3ACC67E9A}"/>
                  </a:ext>
                </a:extLst>
              </p:cNvPr>
              <p:cNvGrpSpPr/>
              <p:nvPr/>
            </p:nvGrpSpPr>
            <p:grpSpPr>
              <a:xfrm>
                <a:off x="6434327" y="4063365"/>
                <a:ext cx="75723" cy="75723"/>
                <a:chOff x="6434327" y="4063365"/>
                <a:chExt cx="75723" cy="75723"/>
              </a:xfrm>
            </p:grpSpPr>
            <p:sp>
              <p:nvSpPr>
                <p:cNvPr id="16692" name="Freeform: Shape 16691">
                  <a:extLst>
                    <a:ext uri="{FF2B5EF4-FFF2-40B4-BE49-F238E27FC236}">
                      <a16:creationId xmlns:a16="http://schemas.microsoft.com/office/drawing/2014/main" id="{8DD27CEC-CCA2-1789-9F58-976C38C3E3A4}"/>
                    </a:ext>
                  </a:extLst>
                </p:cNvPr>
                <p:cNvSpPr/>
                <p:nvPr/>
              </p:nvSpPr>
              <p:spPr>
                <a:xfrm>
                  <a:off x="6472141"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93" name="Freeform: Shape 16692">
                  <a:extLst>
                    <a:ext uri="{FF2B5EF4-FFF2-40B4-BE49-F238E27FC236}">
                      <a16:creationId xmlns:a16="http://schemas.microsoft.com/office/drawing/2014/main" id="{22A32332-CDDF-67E2-E605-432DEAE18CB0}"/>
                    </a:ext>
                  </a:extLst>
                </p:cNvPr>
                <p:cNvSpPr/>
                <p:nvPr/>
              </p:nvSpPr>
              <p:spPr>
                <a:xfrm>
                  <a:off x="6434327"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7" name="Graphic 1794">
                <a:extLst>
                  <a:ext uri="{FF2B5EF4-FFF2-40B4-BE49-F238E27FC236}">
                    <a16:creationId xmlns:a16="http://schemas.microsoft.com/office/drawing/2014/main" id="{BBFC158A-9712-8267-DB07-2A3F8B2058E2}"/>
                  </a:ext>
                </a:extLst>
              </p:cNvPr>
              <p:cNvGrpSpPr/>
              <p:nvPr/>
            </p:nvGrpSpPr>
            <p:grpSpPr>
              <a:xfrm>
                <a:off x="6463950" y="4063365"/>
                <a:ext cx="75628" cy="75723"/>
                <a:chOff x="6463950" y="4063365"/>
                <a:chExt cx="75628" cy="75723"/>
              </a:xfrm>
            </p:grpSpPr>
            <p:sp>
              <p:nvSpPr>
                <p:cNvPr id="16690" name="Freeform: Shape 16689">
                  <a:extLst>
                    <a:ext uri="{FF2B5EF4-FFF2-40B4-BE49-F238E27FC236}">
                      <a16:creationId xmlns:a16="http://schemas.microsoft.com/office/drawing/2014/main" id="{66688322-8118-C597-58FE-EAAE8EF8F339}"/>
                    </a:ext>
                  </a:extLst>
                </p:cNvPr>
                <p:cNvSpPr/>
                <p:nvPr/>
              </p:nvSpPr>
              <p:spPr>
                <a:xfrm>
                  <a:off x="6501764"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91" name="Freeform: Shape 16690">
                  <a:extLst>
                    <a:ext uri="{FF2B5EF4-FFF2-40B4-BE49-F238E27FC236}">
                      <a16:creationId xmlns:a16="http://schemas.microsoft.com/office/drawing/2014/main" id="{56613C74-DEAC-FFDC-99A2-2A5DC1BB7B86}"/>
                    </a:ext>
                  </a:extLst>
                </p:cNvPr>
                <p:cNvSpPr/>
                <p:nvPr/>
              </p:nvSpPr>
              <p:spPr>
                <a:xfrm>
                  <a:off x="6463950" y="41011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8" name="Graphic 1794">
                <a:extLst>
                  <a:ext uri="{FF2B5EF4-FFF2-40B4-BE49-F238E27FC236}">
                    <a16:creationId xmlns:a16="http://schemas.microsoft.com/office/drawing/2014/main" id="{6F9AD3D5-8377-7789-02C9-486372C8E84D}"/>
                  </a:ext>
                </a:extLst>
              </p:cNvPr>
              <p:cNvGrpSpPr/>
              <p:nvPr/>
            </p:nvGrpSpPr>
            <p:grpSpPr>
              <a:xfrm>
                <a:off x="6485381" y="4063365"/>
                <a:ext cx="75723" cy="75723"/>
                <a:chOff x="6485381" y="4063365"/>
                <a:chExt cx="75723" cy="75723"/>
              </a:xfrm>
            </p:grpSpPr>
            <p:sp>
              <p:nvSpPr>
                <p:cNvPr id="16688" name="Freeform: Shape 16687">
                  <a:extLst>
                    <a:ext uri="{FF2B5EF4-FFF2-40B4-BE49-F238E27FC236}">
                      <a16:creationId xmlns:a16="http://schemas.microsoft.com/office/drawing/2014/main" id="{8E36AE0D-326A-141F-D3E7-8EB8B911FCAF}"/>
                    </a:ext>
                  </a:extLst>
                </p:cNvPr>
                <p:cNvSpPr/>
                <p:nvPr/>
              </p:nvSpPr>
              <p:spPr>
                <a:xfrm>
                  <a:off x="6523291"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89" name="Freeform: Shape 16688">
                  <a:extLst>
                    <a:ext uri="{FF2B5EF4-FFF2-40B4-BE49-F238E27FC236}">
                      <a16:creationId xmlns:a16="http://schemas.microsoft.com/office/drawing/2014/main" id="{51958DDA-485D-ED96-2D23-C0DED36336D8}"/>
                    </a:ext>
                  </a:extLst>
                </p:cNvPr>
                <p:cNvSpPr/>
                <p:nvPr/>
              </p:nvSpPr>
              <p:spPr>
                <a:xfrm>
                  <a:off x="6485381"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79" name="Graphic 1794">
                <a:extLst>
                  <a:ext uri="{FF2B5EF4-FFF2-40B4-BE49-F238E27FC236}">
                    <a16:creationId xmlns:a16="http://schemas.microsoft.com/office/drawing/2014/main" id="{5C423EAD-2C79-0A9F-4EF8-2D9503C81D26}"/>
                  </a:ext>
                </a:extLst>
              </p:cNvPr>
              <p:cNvGrpSpPr/>
              <p:nvPr/>
            </p:nvGrpSpPr>
            <p:grpSpPr>
              <a:xfrm>
                <a:off x="6495954" y="4063365"/>
                <a:ext cx="75723" cy="75723"/>
                <a:chOff x="6495954" y="4063365"/>
                <a:chExt cx="75723" cy="75723"/>
              </a:xfrm>
            </p:grpSpPr>
            <p:sp>
              <p:nvSpPr>
                <p:cNvPr id="16686" name="Freeform: Shape 16685">
                  <a:extLst>
                    <a:ext uri="{FF2B5EF4-FFF2-40B4-BE49-F238E27FC236}">
                      <a16:creationId xmlns:a16="http://schemas.microsoft.com/office/drawing/2014/main" id="{5A34C134-F7C1-55BE-C852-F0FB88541C9C}"/>
                    </a:ext>
                  </a:extLst>
                </p:cNvPr>
                <p:cNvSpPr/>
                <p:nvPr/>
              </p:nvSpPr>
              <p:spPr>
                <a:xfrm>
                  <a:off x="6533768"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87" name="Freeform: Shape 16686">
                  <a:extLst>
                    <a:ext uri="{FF2B5EF4-FFF2-40B4-BE49-F238E27FC236}">
                      <a16:creationId xmlns:a16="http://schemas.microsoft.com/office/drawing/2014/main" id="{73F0C984-E8FC-44C8-A004-E7AA7BE21E64}"/>
                    </a:ext>
                  </a:extLst>
                </p:cNvPr>
                <p:cNvSpPr/>
                <p:nvPr/>
              </p:nvSpPr>
              <p:spPr>
                <a:xfrm>
                  <a:off x="6495954"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0" name="Graphic 1794">
                <a:extLst>
                  <a:ext uri="{FF2B5EF4-FFF2-40B4-BE49-F238E27FC236}">
                    <a16:creationId xmlns:a16="http://schemas.microsoft.com/office/drawing/2014/main" id="{E8ECA28C-693F-BB5F-9587-58D7D0E2FF5E}"/>
                  </a:ext>
                </a:extLst>
              </p:cNvPr>
              <p:cNvGrpSpPr/>
              <p:nvPr/>
            </p:nvGrpSpPr>
            <p:grpSpPr>
              <a:xfrm>
                <a:off x="6508146" y="4063365"/>
                <a:ext cx="75628" cy="75723"/>
                <a:chOff x="6508146" y="4063365"/>
                <a:chExt cx="75628" cy="75723"/>
              </a:xfrm>
            </p:grpSpPr>
            <p:sp>
              <p:nvSpPr>
                <p:cNvPr id="16684" name="Freeform: Shape 16683">
                  <a:extLst>
                    <a:ext uri="{FF2B5EF4-FFF2-40B4-BE49-F238E27FC236}">
                      <a16:creationId xmlns:a16="http://schemas.microsoft.com/office/drawing/2014/main" id="{8EA88ECF-ADCB-A65D-D9A4-56356C8E6C97}"/>
                    </a:ext>
                  </a:extLst>
                </p:cNvPr>
                <p:cNvSpPr/>
                <p:nvPr/>
              </p:nvSpPr>
              <p:spPr>
                <a:xfrm>
                  <a:off x="6545960"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85" name="Freeform: Shape 16684">
                  <a:extLst>
                    <a:ext uri="{FF2B5EF4-FFF2-40B4-BE49-F238E27FC236}">
                      <a16:creationId xmlns:a16="http://schemas.microsoft.com/office/drawing/2014/main" id="{B2C1BC00-5411-B996-D490-B421B53860DF}"/>
                    </a:ext>
                  </a:extLst>
                </p:cNvPr>
                <p:cNvSpPr/>
                <p:nvPr/>
              </p:nvSpPr>
              <p:spPr>
                <a:xfrm>
                  <a:off x="6508146" y="410117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6681" name="Graphic 1794">
                <a:extLst>
                  <a:ext uri="{FF2B5EF4-FFF2-40B4-BE49-F238E27FC236}">
                    <a16:creationId xmlns:a16="http://schemas.microsoft.com/office/drawing/2014/main" id="{A24E309C-8ED2-16A9-C78B-61E79C3DC447}"/>
                  </a:ext>
                </a:extLst>
              </p:cNvPr>
              <p:cNvGrpSpPr/>
              <p:nvPr/>
            </p:nvGrpSpPr>
            <p:grpSpPr>
              <a:xfrm>
                <a:off x="6520243" y="4063365"/>
                <a:ext cx="75723" cy="75723"/>
                <a:chOff x="6520243" y="4063365"/>
                <a:chExt cx="75723" cy="75723"/>
              </a:xfrm>
            </p:grpSpPr>
            <p:sp>
              <p:nvSpPr>
                <p:cNvPr id="16682" name="Freeform: Shape 16681">
                  <a:extLst>
                    <a:ext uri="{FF2B5EF4-FFF2-40B4-BE49-F238E27FC236}">
                      <a16:creationId xmlns:a16="http://schemas.microsoft.com/office/drawing/2014/main" id="{502EFDFE-A3A6-31ED-85B7-C3E55493CB01}"/>
                    </a:ext>
                  </a:extLst>
                </p:cNvPr>
                <p:cNvSpPr/>
                <p:nvPr/>
              </p:nvSpPr>
              <p:spPr>
                <a:xfrm>
                  <a:off x="6558152" y="4063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683" name="Freeform: Shape 16682">
                  <a:extLst>
                    <a:ext uri="{FF2B5EF4-FFF2-40B4-BE49-F238E27FC236}">
                      <a16:creationId xmlns:a16="http://schemas.microsoft.com/office/drawing/2014/main" id="{A3D982C2-CEA0-6A86-4914-8DC7CB288783}"/>
                    </a:ext>
                  </a:extLst>
                </p:cNvPr>
                <p:cNvSpPr/>
                <p:nvPr/>
              </p:nvSpPr>
              <p:spPr>
                <a:xfrm>
                  <a:off x="6520243" y="4101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6" name="Freeform: Shape 15">
              <a:extLst>
                <a:ext uri="{FF2B5EF4-FFF2-40B4-BE49-F238E27FC236}">
                  <a16:creationId xmlns:a16="http://schemas.microsoft.com/office/drawing/2014/main" id="{1B27104D-FB41-0145-A6F3-D5D163E166A4}"/>
                </a:ext>
              </a:extLst>
            </p:cNvPr>
            <p:cNvSpPr/>
            <p:nvPr/>
          </p:nvSpPr>
          <p:spPr>
            <a:xfrm>
              <a:off x="3531870" y="2514314"/>
              <a:ext cx="5134356" cy="1833276"/>
            </a:xfrm>
            <a:custGeom>
              <a:avLst/>
              <a:gdLst>
                <a:gd name="connsiteX0" fmla="*/ 5134357 w 5134356"/>
                <a:gd name="connsiteY0" fmla="*/ 1833277 h 1833276"/>
                <a:gd name="connsiteX1" fmla="*/ 3473291 w 5134356"/>
                <a:gd name="connsiteY1" fmla="*/ 1833277 h 1833276"/>
                <a:gd name="connsiteX2" fmla="*/ 3473291 w 5134356"/>
                <a:gd name="connsiteY2" fmla="*/ 1754696 h 1833276"/>
                <a:gd name="connsiteX3" fmla="*/ 3459575 w 5134356"/>
                <a:gd name="connsiteY3" fmla="*/ 1754696 h 1833276"/>
                <a:gd name="connsiteX4" fmla="*/ 3459575 w 5134356"/>
                <a:gd name="connsiteY4" fmla="*/ 1690211 h 1833276"/>
                <a:gd name="connsiteX5" fmla="*/ 3079337 w 5134356"/>
                <a:gd name="connsiteY5" fmla="*/ 1690211 h 1833276"/>
                <a:gd name="connsiteX6" fmla="*/ 3079337 w 5134356"/>
                <a:gd name="connsiteY6" fmla="*/ 1641634 h 1833276"/>
                <a:gd name="connsiteX7" fmla="*/ 3035522 w 5134356"/>
                <a:gd name="connsiteY7" fmla="*/ 1641634 h 1833276"/>
                <a:gd name="connsiteX8" fmla="*/ 3035522 w 5134356"/>
                <a:gd name="connsiteY8" fmla="*/ 1586865 h 1833276"/>
                <a:gd name="connsiteX9" fmla="*/ 2780252 w 5134356"/>
                <a:gd name="connsiteY9" fmla="*/ 1586865 h 1833276"/>
                <a:gd name="connsiteX10" fmla="*/ 2780252 w 5134356"/>
                <a:gd name="connsiteY10" fmla="*/ 1550765 h 1833276"/>
                <a:gd name="connsiteX11" fmla="*/ 2675192 w 5134356"/>
                <a:gd name="connsiteY11" fmla="*/ 1550765 h 1833276"/>
                <a:gd name="connsiteX12" fmla="*/ 2675192 w 5134356"/>
                <a:gd name="connsiteY12" fmla="*/ 1508665 h 1833276"/>
                <a:gd name="connsiteX13" fmla="*/ 2602706 w 5134356"/>
                <a:gd name="connsiteY13" fmla="*/ 1508665 h 1833276"/>
                <a:gd name="connsiteX14" fmla="*/ 2602706 w 5134356"/>
                <a:gd name="connsiteY14" fmla="*/ 1464850 h 1833276"/>
                <a:gd name="connsiteX15" fmla="*/ 2583656 w 5134356"/>
                <a:gd name="connsiteY15" fmla="*/ 1464850 h 1833276"/>
                <a:gd name="connsiteX16" fmla="*/ 2583656 w 5134356"/>
                <a:gd name="connsiteY16" fmla="*/ 1430465 h 1833276"/>
                <a:gd name="connsiteX17" fmla="*/ 2566988 w 5134356"/>
                <a:gd name="connsiteY17" fmla="*/ 1430465 h 1833276"/>
                <a:gd name="connsiteX18" fmla="*/ 2566988 w 5134356"/>
                <a:gd name="connsiteY18" fmla="*/ 1397603 h 1833276"/>
                <a:gd name="connsiteX19" fmla="*/ 2151602 w 5134356"/>
                <a:gd name="connsiteY19" fmla="*/ 1397603 h 1833276"/>
                <a:gd name="connsiteX20" fmla="*/ 2151602 w 5134356"/>
                <a:gd name="connsiteY20" fmla="*/ 1364742 h 1833276"/>
                <a:gd name="connsiteX21" fmla="*/ 2132076 w 5134356"/>
                <a:gd name="connsiteY21" fmla="*/ 1364742 h 1833276"/>
                <a:gd name="connsiteX22" fmla="*/ 2132076 w 5134356"/>
                <a:gd name="connsiteY22" fmla="*/ 1335977 h 1833276"/>
                <a:gd name="connsiteX23" fmla="*/ 2119122 w 5134356"/>
                <a:gd name="connsiteY23" fmla="*/ 1335977 h 1833276"/>
                <a:gd name="connsiteX24" fmla="*/ 2119122 w 5134356"/>
                <a:gd name="connsiteY24" fmla="*/ 1316927 h 1833276"/>
                <a:gd name="connsiteX25" fmla="*/ 2090738 w 5134356"/>
                <a:gd name="connsiteY25" fmla="*/ 1316927 h 1833276"/>
                <a:gd name="connsiteX26" fmla="*/ 2090738 w 5134356"/>
                <a:gd name="connsiteY26" fmla="*/ 1286542 h 1833276"/>
                <a:gd name="connsiteX27" fmla="*/ 1996345 w 5134356"/>
                <a:gd name="connsiteY27" fmla="*/ 1286542 h 1833276"/>
                <a:gd name="connsiteX28" fmla="*/ 1996345 w 5134356"/>
                <a:gd name="connsiteY28" fmla="*/ 1264253 h 1833276"/>
                <a:gd name="connsiteX29" fmla="*/ 1953768 w 5134356"/>
                <a:gd name="connsiteY29" fmla="*/ 1264253 h 1833276"/>
                <a:gd name="connsiteX30" fmla="*/ 1953768 w 5134356"/>
                <a:gd name="connsiteY30" fmla="*/ 1235107 h 1833276"/>
                <a:gd name="connsiteX31" fmla="*/ 1838706 w 5134356"/>
                <a:gd name="connsiteY31" fmla="*/ 1235107 h 1833276"/>
                <a:gd name="connsiteX32" fmla="*/ 1838706 w 5134356"/>
                <a:gd name="connsiteY32" fmla="*/ 1211199 h 1833276"/>
                <a:gd name="connsiteX33" fmla="*/ 1744218 w 5134356"/>
                <a:gd name="connsiteY33" fmla="*/ 1211199 h 1833276"/>
                <a:gd name="connsiteX34" fmla="*/ 1744218 w 5134356"/>
                <a:gd name="connsiteY34" fmla="*/ 1184815 h 1833276"/>
                <a:gd name="connsiteX35" fmla="*/ 1708976 w 5134356"/>
                <a:gd name="connsiteY35" fmla="*/ 1184815 h 1833276"/>
                <a:gd name="connsiteX36" fmla="*/ 1708976 w 5134356"/>
                <a:gd name="connsiteY36" fmla="*/ 1130903 h 1833276"/>
                <a:gd name="connsiteX37" fmla="*/ 1696403 w 5134356"/>
                <a:gd name="connsiteY37" fmla="*/ 1130903 h 1833276"/>
                <a:gd name="connsiteX38" fmla="*/ 1696403 w 5134356"/>
                <a:gd name="connsiteY38" fmla="*/ 1113092 h 1833276"/>
                <a:gd name="connsiteX39" fmla="*/ 1663541 w 5134356"/>
                <a:gd name="connsiteY39" fmla="*/ 1113092 h 1833276"/>
                <a:gd name="connsiteX40" fmla="*/ 1663541 w 5134356"/>
                <a:gd name="connsiteY40" fmla="*/ 1014984 h 1833276"/>
                <a:gd name="connsiteX41" fmla="*/ 1578007 w 5134356"/>
                <a:gd name="connsiteY41" fmla="*/ 1014984 h 1833276"/>
                <a:gd name="connsiteX42" fmla="*/ 1578007 w 5134356"/>
                <a:gd name="connsiteY42" fmla="*/ 992315 h 1833276"/>
                <a:gd name="connsiteX43" fmla="*/ 1526953 w 5134356"/>
                <a:gd name="connsiteY43" fmla="*/ 992315 h 1833276"/>
                <a:gd name="connsiteX44" fmla="*/ 1526953 w 5134356"/>
                <a:gd name="connsiteY44" fmla="*/ 970407 h 1833276"/>
                <a:gd name="connsiteX45" fmla="*/ 1411891 w 5134356"/>
                <a:gd name="connsiteY45" fmla="*/ 970407 h 1833276"/>
                <a:gd name="connsiteX46" fmla="*/ 1411891 w 5134356"/>
                <a:gd name="connsiteY46" fmla="*/ 947738 h 1833276"/>
                <a:gd name="connsiteX47" fmla="*/ 1343406 w 5134356"/>
                <a:gd name="connsiteY47" fmla="*/ 947738 h 1833276"/>
                <a:gd name="connsiteX48" fmla="*/ 1343406 w 5134356"/>
                <a:gd name="connsiteY48" fmla="*/ 922115 h 1833276"/>
                <a:gd name="connsiteX49" fmla="*/ 1304068 w 5134356"/>
                <a:gd name="connsiteY49" fmla="*/ 922115 h 1833276"/>
                <a:gd name="connsiteX50" fmla="*/ 1304068 w 5134356"/>
                <a:gd name="connsiteY50" fmla="*/ 900684 h 1833276"/>
                <a:gd name="connsiteX51" fmla="*/ 1287399 w 5134356"/>
                <a:gd name="connsiteY51" fmla="*/ 900684 h 1833276"/>
                <a:gd name="connsiteX52" fmla="*/ 1287399 w 5134356"/>
                <a:gd name="connsiteY52" fmla="*/ 857345 h 1833276"/>
                <a:gd name="connsiteX53" fmla="*/ 1267968 w 5134356"/>
                <a:gd name="connsiteY53" fmla="*/ 857345 h 1833276"/>
                <a:gd name="connsiteX54" fmla="*/ 1267968 w 5134356"/>
                <a:gd name="connsiteY54" fmla="*/ 775716 h 1833276"/>
                <a:gd name="connsiteX55" fmla="*/ 1233488 w 5134356"/>
                <a:gd name="connsiteY55" fmla="*/ 775716 h 1833276"/>
                <a:gd name="connsiteX56" fmla="*/ 1233488 w 5134356"/>
                <a:gd name="connsiteY56" fmla="*/ 727710 h 1833276"/>
                <a:gd name="connsiteX57" fmla="*/ 1210437 w 5134356"/>
                <a:gd name="connsiteY57" fmla="*/ 727710 h 1833276"/>
                <a:gd name="connsiteX58" fmla="*/ 1210437 w 5134356"/>
                <a:gd name="connsiteY58" fmla="*/ 703421 h 1833276"/>
                <a:gd name="connsiteX59" fmla="*/ 1188148 w 5134356"/>
                <a:gd name="connsiteY59" fmla="*/ 703421 h 1833276"/>
                <a:gd name="connsiteX60" fmla="*/ 1188148 w 5134356"/>
                <a:gd name="connsiteY60" fmla="*/ 686657 h 1833276"/>
                <a:gd name="connsiteX61" fmla="*/ 1174337 w 5134356"/>
                <a:gd name="connsiteY61" fmla="*/ 686657 h 1833276"/>
                <a:gd name="connsiteX62" fmla="*/ 1174337 w 5134356"/>
                <a:gd name="connsiteY62" fmla="*/ 660749 h 1833276"/>
                <a:gd name="connsiteX63" fmla="*/ 1065752 w 5134356"/>
                <a:gd name="connsiteY63" fmla="*/ 660749 h 1833276"/>
                <a:gd name="connsiteX64" fmla="*/ 1065752 w 5134356"/>
                <a:gd name="connsiteY64" fmla="*/ 645890 h 1833276"/>
                <a:gd name="connsiteX65" fmla="*/ 866299 w 5134356"/>
                <a:gd name="connsiteY65" fmla="*/ 645890 h 1833276"/>
                <a:gd name="connsiteX66" fmla="*/ 866299 w 5134356"/>
                <a:gd name="connsiteY66" fmla="*/ 580835 h 1833276"/>
                <a:gd name="connsiteX67" fmla="*/ 861155 w 5134356"/>
                <a:gd name="connsiteY67" fmla="*/ 580835 h 1833276"/>
                <a:gd name="connsiteX68" fmla="*/ 861155 w 5134356"/>
                <a:gd name="connsiteY68" fmla="*/ 563023 h 1833276"/>
                <a:gd name="connsiteX69" fmla="*/ 854488 w 5134356"/>
                <a:gd name="connsiteY69" fmla="*/ 563023 h 1833276"/>
                <a:gd name="connsiteX70" fmla="*/ 854488 w 5134356"/>
                <a:gd name="connsiteY70" fmla="*/ 504254 h 1833276"/>
                <a:gd name="connsiteX71" fmla="*/ 833914 w 5134356"/>
                <a:gd name="connsiteY71" fmla="*/ 504254 h 1833276"/>
                <a:gd name="connsiteX72" fmla="*/ 833914 w 5134356"/>
                <a:gd name="connsiteY72" fmla="*/ 475107 h 1833276"/>
                <a:gd name="connsiteX73" fmla="*/ 816674 w 5134356"/>
                <a:gd name="connsiteY73" fmla="*/ 475107 h 1833276"/>
                <a:gd name="connsiteX74" fmla="*/ 816674 w 5134356"/>
                <a:gd name="connsiteY74" fmla="*/ 444246 h 1833276"/>
                <a:gd name="connsiteX75" fmla="*/ 803910 w 5134356"/>
                <a:gd name="connsiteY75" fmla="*/ 444246 h 1833276"/>
                <a:gd name="connsiteX76" fmla="*/ 803910 w 5134356"/>
                <a:gd name="connsiteY76" fmla="*/ 398050 h 1833276"/>
                <a:gd name="connsiteX77" fmla="*/ 790956 w 5134356"/>
                <a:gd name="connsiteY77" fmla="*/ 398050 h 1833276"/>
                <a:gd name="connsiteX78" fmla="*/ 790956 w 5134356"/>
                <a:gd name="connsiteY78" fmla="*/ 378238 h 1833276"/>
                <a:gd name="connsiteX79" fmla="*/ 749999 w 5134356"/>
                <a:gd name="connsiteY79" fmla="*/ 378238 h 1833276"/>
                <a:gd name="connsiteX80" fmla="*/ 749999 w 5134356"/>
                <a:gd name="connsiteY80" fmla="*/ 359569 h 1833276"/>
                <a:gd name="connsiteX81" fmla="*/ 689610 w 5134356"/>
                <a:gd name="connsiteY81" fmla="*/ 359569 h 1833276"/>
                <a:gd name="connsiteX82" fmla="*/ 689610 w 5134356"/>
                <a:gd name="connsiteY82" fmla="*/ 321088 h 1833276"/>
                <a:gd name="connsiteX83" fmla="*/ 638080 w 5134356"/>
                <a:gd name="connsiteY83" fmla="*/ 321088 h 1833276"/>
                <a:gd name="connsiteX84" fmla="*/ 638080 w 5134356"/>
                <a:gd name="connsiteY84" fmla="*/ 302038 h 1833276"/>
                <a:gd name="connsiteX85" fmla="*/ 484442 w 5134356"/>
                <a:gd name="connsiteY85" fmla="*/ 302038 h 1833276"/>
                <a:gd name="connsiteX86" fmla="*/ 484442 w 5134356"/>
                <a:gd name="connsiteY86" fmla="*/ 287465 h 1833276"/>
                <a:gd name="connsiteX87" fmla="*/ 428625 w 5134356"/>
                <a:gd name="connsiteY87" fmla="*/ 287465 h 1833276"/>
                <a:gd name="connsiteX88" fmla="*/ 428625 w 5134356"/>
                <a:gd name="connsiteY88" fmla="*/ 240792 h 1833276"/>
                <a:gd name="connsiteX89" fmla="*/ 418814 w 5134356"/>
                <a:gd name="connsiteY89" fmla="*/ 240792 h 1833276"/>
                <a:gd name="connsiteX90" fmla="*/ 418814 w 5134356"/>
                <a:gd name="connsiteY90" fmla="*/ 198215 h 1833276"/>
                <a:gd name="connsiteX91" fmla="*/ 409099 w 5134356"/>
                <a:gd name="connsiteY91" fmla="*/ 198215 h 1833276"/>
                <a:gd name="connsiteX92" fmla="*/ 409099 w 5134356"/>
                <a:gd name="connsiteY92" fmla="*/ 143542 h 1833276"/>
                <a:gd name="connsiteX93" fmla="*/ 381572 w 5134356"/>
                <a:gd name="connsiteY93" fmla="*/ 143542 h 1833276"/>
                <a:gd name="connsiteX94" fmla="*/ 381572 w 5134356"/>
                <a:gd name="connsiteY94" fmla="*/ 122015 h 1833276"/>
                <a:gd name="connsiteX95" fmla="*/ 362522 w 5134356"/>
                <a:gd name="connsiteY95" fmla="*/ 122015 h 1833276"/>
                <a:gd name="connsiteX96" fmla="*/ 362522 w 5134356"/>
                <a:gd name="connsiteY96" fmla="*/ 106680 h 1833276"/>
                <a:gd name="connsiteX97" fmla="*/ 314706 w 5134356"/>
                <a:gd name="connsiteY97" fmla="*/ 106680 h 1833276"/>
                <a:gd name="connsiteX98" fmla="*/ 314706 w 5134356"/>
                <a:gd name="connsiteY98" fmla="*/ 85535 h 1833276"/>
                <a:gd name="connsiteX99" fmla="*/ 272510 w 5134356"/>
                <a:gd name="connsiteY99" fmla="*/ 85535 h 1833276"/>
                <a:gd name="connsiteX100" fmla="*/ 272510 w 5134356"/>
                <a:gd name="connsiteY100" fmla="*/ 75438 h 1833276"/>
                <a:gd name="connsiteX101" fmla="*/ 266033 w 5134356"/>
                <a:gd name="connsiteY101" fmla="*/ 75438 h 1833276"/>
                <a:gd name="connsiteX102" fmla="*/ 266033 w 5134356"/>
                <a:gd name="connsiteY102" fmla="*/ 56769 h 1833276"/>
                <a:gd name="connsiteX103" fmla="*/ 202025 w 5134356"/>
                <a:gd name="connsiteY103" fmla="*/ 56769 h 1833276"/>
                <a:gd name="connsiteX104" fmla="*/ 202025 w 5134356"/>
                <a:gd name="connsiteY104" fmla="*/ 38195 h 1833276"/>
                <a:gd name="connsiteX105" fmla="*/ 176022 w 5134356"/>
                <a:gd name="connsiteY105" fmla="*/ 38195 h 1833276"/>
                <a:gd name="connsiteX106" fmla="*/ 176022 w 5134356"/>
                <a:gd name="connsiteY106" fmla="*/ 20288 h 1833276"/>
                <a:gd name="connsiteX107" fmla="*/ 108395 w 5134356"/>
                <a:gd name="connsiteY107" fmla="*/ 20288 h 1833276"/>
                <a:gd name="connsiteX108" fmla="*/ 108395 w 5134356"/>
                <a:gd name="connsiteY108" fmla="*/ 0 h 1833276"/>
                <a:gd name="connsiteX109" fmla="*/ 0 w 5134356"/>
                <a:gd name="connsiteY109" fmla="*/ 0 h 183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134356" h="1833276">
                  <a:moveTo>
                    <a:pt x="5134357" y="1833277"/>
                  </a:moveTo>
                  <a:lnTo>
                    <a:pt x="3473291" y="1833277"/>
                  </a:lnTo>
                  <a:lnTo>
                    <a:pt x="3473291" y="1754696"/>
                  </a:lnTo>
                  <a:lnTo>
                    <a:pt x="3459575" y="1754696"/>
                  </a:lnTo>
                  <a:lnTo>
                    <a:pt x="3459575" y="1690211"/>
                  </a:lnTo>
                  <a:lnTo>
                    <a:pt x="3079337" y="1690211"/>
                  </a:lnTo>
                  <a:lnTo>
                    <a:pt x="3079337" y="1641634"/>
                  </a:lnTo>
                  <a:lnTo>
                    <a:pt x="3035522" y="1641634"/>
                  </a:lnTo>
                  <a:lnTo>
                    <a:pt x="3035522" y="1586865"/>
                  </a:lnTo>
                  <a:lnTo>
                    <a:pt x="2780252" y="1586865"/>
                  </a:lnTo>
                  <a:lnTo>
                    <a:pt x="2780252" y="1550765"/>
                  </a:lnTo>
                  <a:lnTo>
                    <a:pt x="2675192" y="1550765"/>
                  </a:lnTo>
                  <a:lnTo>
                    <a:pt x="2675192" y="1508665"/>
                  </a:lnTo>
                  <a:lnTo>
                    <a:pt x="2602706" y="1508665"/>
                  </a:lnTo>
                  <a:lnTo>
                    <a:pt x="2602706" y="1464850"/>
                  </a:lnTo>
                  <a:lnTo>
                    <a:pt x="2583656" y="1464850"/>
                  </a:lnTo>
                  <a:lnTo>
                    <a:pt x="2583656" y="1430465"/>
                  </a:lnTo>
                  <a:lnTo>
                    <a:pt x="2566988" y="1430465"/>
                  </a:lnTo>
                  <a:lnTo>
                    <a:pt x="2566988" y="1397603"/>
                  </a:lnTo>
                  <a:lnTo>
                    <a:pt x="2151602" y="1397603"/>
                  </a:lnTo>
                  <a:lnTo>
                    <a:pt x="2151602" y="1364742"/>
                  </a:lnTo>
                  <a:lnTo>
                    <a:pt x="2132076" y="1364742"/>
                  </a:lnTo>
                  <a:lnTo>
                    <a:pt x="2132076" y="1335977"/>
                  </a:lnTo>
                  <a:lnTo>
                    <a:pt x="2119122" y="1335977"/>
                  </a:lnTo>
                  <a:lnTo>
                    <a:pt x="2119122" y="1316927"/>
                  </a:lnTo>
                  <a:lnTo>
                    <a:pt x="2090738" y="1316927"/>
                  </a:lnTo>
                  <a:lnTo>
                    <a:pt x="2090738" y="1286542"/>
                  </a:lnTo>
                  <a:lnTo>
                    <a:pt x="1996345" y="1286542"/>
                  </a:lnTo>
                  <a:lnTo>
                    <a:pt x="1996345" y="1264253"/>
                  </a:lnTo>
                  <a:lnTo>
                    <a:pt x="1953768" y="1264253"/>
                  </a:lnTo>
                  <a:lnTo>
                    <a:pt x="1953768" y="1235107"/>
                  </a:lnTo>
                  <a:lnTo>
                    <a:pt x="1838706" y="1235107"/>
                  </a:lnTo>
                  <a:lnTo>
                    <a:pt x="1838706" y="1211199"/>
                  </a:lnTo>
                  <a:lnTo>
                    <a:pt x="1744218" y="1211199"/>
                  </a:lnTo>
                  <a:lnTo>
                    <a:pt x="1744218" y="1184815"/>
                  </a:lnTo>
                  <a:lnTo>
                    <a:pt x="1708976" y="1184815"/>
                  </a:lnTo>
                  <a:lnTo>
                    <a:pt x="1708976" y="1130903"/>
                  </a:lnTo>
                  <a:lnTo>
                    <a:pt x="1696403" y="1130903"/>
                  </a:lnTo>
                  <a:lnTo>
                    <a:pt x="1696403" y="1113092"/>
                  </a:lnTo>
                  <a:lnTo>
                    <a:pt x="1663541" y="1113092"/>
                  </a:lnTo>
                  <a:lnTo>
                    <a:pt x="1663541" y="1014984"/>
                  </a:lnTo>
                  <a:lnTo>
                    <a:pt x="1578007" y="1014984"/>
                  </a:lnTo>
                  <a:lnTo>
                    <a:pt x="1578007" y="992315"/>
                  </a:lnTo>
                  <a:lnTo>
                    <a:pt x="1526953" y="992315"/>
                  </a:lnTo>
                  <a:lnTo>
                    <a:pt x="1526953" y="970407"/>
                  </a:lnTo>
                  <a:lnTo>
                    <a:pt x="1411891" y="970407"/>
                  </a:lnTo>
                  <a:lnTo>
                    <a:pt x="1411891" y="947738"/>
                  </a:lnTo>
                  <a:lnTo>
                    <a:pt x="1343406" y="947738"/>
                  </a:lnTo>
                  <a:lnTo>
                    <a:pt x="1343406" y="922115"/>
                  </a:lnTo>
                  <a:lnTo>
                    <a:pt x="1304068" y="922115"/>
                  </a:lnTo>
                  <a:lnTo>
                    <a:pt x="1304068" y="900684"/>
                  </a:lnTo>
                  <a:lnTo>
                    <a:pt x="1287399" y="900684"/>
                  </a:lnTo>
                  <a:lnTo>
                    <a:pt x="1287399" y="857345"/>
                  </a:lnTo>
                  <a:lnTo>
                    <a:pt x="1267968" y="857345"/>
                  </a:lnTo>
                  <a:lnTo>
                    <a:pt x="1267968" y="775716"/>
                  </a:lnTo>
                  <a:lnTo>
                    <a:pt x="1233488" y="775716"/>
                  </a:lnTo>
                  <a:lnTo>
                    <a:pt x="1233488" y="727710"/>
                  </a:lnTo>
                  <a:lnTo>
                    <a:pt x="1210437" y="727710"/>
                  </a:lnTo>
                  <a:lnTo>
                    <a:pt x="1210437" y="703421"/>
                  </a:lnTo>
                  <a:lnTo>
                    <a:pt x="1188148" y="703421"/>
                  </a:lnTo>
                  <a:lnTo>
                    <a:pt x="1188148" y="686657"/>
                  </a:lnTo>
                  <a:lnTo>
                    <a:pt x="1174337" y="686657"/>
                  </a:lnTo>
                  <a:lnTo>
                    <a:pt x="1174337" y="660749"/>
                  </a:lnTo>
                  <a:lnTo>
                    <a:pt x="1065752" y="660749"/>
                  </a:lnTo>
                  <a:lnTo>
                    <a:pt x="1065752" y="645890"/>
                  </a:lnTo>
                  <a:lnTo>
                    <a:pt x="866299" y="645890"/>
                  </a:lnTo>
                  <a:lnTo>
                    <a:pt x="866299" y="580835"/>
                  </a:lnTo>
                  <a:lnTo>
                    <a:pt x="861155" y="580835"/>
                  </a:lnTo>
                  <a:lnTo>
                    <a:pt x="861155" y="563023"/>
                  </a:lnTo>
                  <a:lnTo>
                    <a:pt x="854488" y="563023"/>
                  </a:lnTo>
                  <a:lnTo>
                    <a:pt x="854488" y="504254"/>
                  </a:lnTo>
                  <a:lnTo>
                    <a:pt x="833914" y="504254"/>
                  </a:lnTo>
                  <a:lnTo>
                    <a:pt x="833914" y="475107"/>
                  </a:lnTo>
                  <a:lnTo>
                    <a:pt x="816674" y="475107"/>
                  </a:lnTo>
                  <a:lnTo>
                    <a:pt x="816674" y="444246"/>
                  </a:lnTo>
                  <a:lnTo>
                    <a:pt x="803910" y="444246"/>
                  </a:lnTo>
                  <a:lnTo>
                    <a:pt x="803910" y="398050"/>
                  </a:lnTo>
                  <a:lnTo>
                    <a:pt x="790956" y="398050"/>
                  </a:lnTo>
                  <a:lnTo>
                    <a:pt x="790956" y="378238"/>
                  </a:lnTo>
                  <a:lnTo>
                    <a:pt x="749999" y="378238"/>
                  </a:lnTo>
                  <a:lnTo>
                    <a:pt x="749999" y="359569"/>
                  </a:lnTo>
                  <a:lnTo>
                    <a:pt x="689610" y="359569"/>
                  </a:lnTo>
                  <a:lnTo>
                    <a:pt x="689610" y="321088"/>
                  </a:lnTo>
                  <a:lnTo>
                    <a:pt x="638080" y="321088"/>
                  </a:lnTo>
                  <a:lnTo>
                    <a:pt x="638080" y="302038"/>
                  </a:lnTo>
                  <a:lnTo>
                    <a:pt x="484442" y="302038"/>
                  </a:lnTo>
                  <a:lnTo>
                    <a:pt x="484442" y="287465"/>
                  </a:lnTo>
                  <a:lnTo>
                    <a:pt x="428625" y="287465"/>
                  </a:lnTo>
                  <a:lnTo>
                    <a:pt x="428625" y="240792"/>
                  </a:lnTo>
                  <a:lnTo>
                    <a:pt x="418814" y="240792"/>
                  </a:lnTo>
                  <a:lnTo>
                    <a:pt x="418814" y="198215"/>
                  </a:lnTo>
                  <a:lnTo>
                    <a:pt x="409099" y="198215"/>
                  </a:lnTo>
                  <a:lnTo>
                    <a:pt x="409099" y="143542"/>
                  </a:lnTo>
                  <a:lnTo>
                    <a:pt x="381572" y="143542"/>
                  </a:lnTo>
                  <a:lnTo>
                    <a:pt x="381572" y="122015"/>
                  </a:lnTo>
                  <a:lnTo>
                    <a:pt x="362522" y="122015"/>
                  </a:lnTo>
                  <a:lnTo>
                    <a:pt x="362522" y="106680"/>
                  </a:lnTo>
                  <a:lnTo>
                    <a:pt x="314706" y="106680"/>
                  </a:lnTo>
                  <a:lnTo>
                    <a:pt x="314706" y="85535"/>
                  </a:lnTo>
                  <a:lnTo>
                    <a:pt x="272510" y="85535"/>
                  </a:lnTo>
                  <a:lnTo>
                    <a:pt x="272510" y="75438"/>
                  </a:lnTo>
                  <a:lnTo>
                    <a:pt x="266033" y="75438"/>
                  </a:lnTo>
                  <a:lnTo>
                    <a:pt x="266033" y="56769"/>
                  </a:lnTo>
                  <a:lnTo>
                    <a:pt x="202025" y="56769"/>
                  </a:lnTo>
                  <a:lnTo>
                    <a:pt x="202025" y="38195"/>
                  </a:lnTo>
                  <a:lnTo>
                    <a:pt x="176022" y="38195"/>
                  </a:lnTo>
                  <a:lnTo>
                    <a:pt x="176022" y="20288"/>
                  </a:lnTo>
                  <a:lnTo>
                    <a:pt x="108395" y="20288"/>
                  </a:lnTo>
                  <a:lnTo>
                    <a:pt x="108395" y="0"/>
                  </a:lnTo>
                  <a:lnTo>
                    <a:pt x="0" y="0"/>
                  </a:lnTo>
                </a:path>
              </a:pathLst>
            </a:custGeom>
            <a:noFill/>
            <a:ln w="19050"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cxnSp>
        <p:nvCxnSpPr>
          <p:cNvPr id="18028" name="Straight Connector 18027">
            <a:extLst>
              <a:ext uri="{FF2B5EF4-FFF2-40B4-BE49-F238E27FC236}">
                <a16:creationId xmlns:a16="http://schemas.microsoft.com/office/drawing/2014/main" id="{5F07FD01-4B5F-6F3E-5946-96D368B00E43}"/>
              </a:ext>
            </a:extLst>
          </p:cNvPr>
          <p:cNvCxnSpPr>
            <a:cxnSpLocks/>
          </p:cNvCxnSpPr>
          <p:nvPr/>
        </p:nvCxnSpPr>
        <p:spPr>
          <a:xfrm>
            <a:off x="686103" y="3134710"/>
            <a:ext cx="6888730" cy="0"/>
          </a:xfrm>
          <a:prstGeom prst="line">
            <a:avLst/>
          </a:prstGeom>
          <a:noFill/>
          <a:ln w="9525" cap="flat" cmpd="sng" algn="ctr">
            <a:solidFill>
              <a:srgbClr val="000000"/>
            </a:solidFill>
            <a:prstDash val="dash"/>
          </a:ln>
          <a:effectLst/>
        </p:spPr>
      </p:cxnSp>
      <p:grpSp>
        <p:nvGrpSpPr>
          <p:cNvPr id="18639" name="Group 18638">
            <a:extLst>
              <a:ext uri="{FF2B5EF4-FFF2-40B4-BE49-F238E27FC236}">
                <a16:creationId xmlns:a16="http://schemas.microsoft.com/office/drawing/2014/main" id="{DC84DC16-6A24-90E3-3172-7064A3CE6410}"/>
              </a:ext>
            </a:extLst>
          </p:cNvPr>
          <p:cNvGrpSpPr/>
          <p:nvPr/>
        </p:nvGrpSpPr>
        <p:grpSpPr>
          <a:xfrm>
            <a:off x="696239" y="1479868"/>
            <a:ext cx="6806199" cy="2148615"/>
            <a:chOff x="3509962" y="2519361"/>
            <a:chExt cx="5175122" cy="1828324"/>
          </a:xfrm>
        </p:grpSpPr>
        <p:grpSp>
          <p:nvGrpSpPr>
            <p:cNvPr id="18640" name="Graphic 2151">
              <a:extLst>
                <a:ext uri="{FF2B5EF4-FFF2-40B4-BE49-F238E27FC236}">
                  <a16:creationId xmlns:a16="http://schemas.microsoft.com/office/drawing/2014/main" id="{E0323912-8A75-153E-CA80-46DA5ACA5A27}"/>
                </a:ext>
              </a:extLst>
            </p:cNvPr>
            <p:cNvGrpSpPr/>
            <p:nvPr/>
          </p:nvGrpSpPr>
          <p:grpSpPr>
            <a:xfrm>
              <a:off x="3876674" y="2674810"/>
              <a:ext cx="4808410" cy="1672875"/>
              <a:chOff x="3876674" y="2674810"/>
              <a:chExt cx="4808410" cy="1672875"/>
            </a:xfrm>
          </p:grpSpPr>
          <p:grpSp>
            <p:nvGrpSpPr>
              <p:cNvPr id="18642" name="Graphic 2151">
                <a:extLst>
                  <a:ext uri="{FF2B5EF4-FFF2-40B4-BE49-F238E27FC236}">
                    <a16:creationId xmlns:a16="http://schemas.microsoft.com/office/drawing/2014/main" id="{2A2A623E-96F2-C656-AF86-1C5B8B76101F}"/>
                  </a:ext>
                </a:extLst>
              </p:cNvPr>
              <p:cNvGrpSpPr/>
              <p:nvPr/>
            </p:nvGrpSpPr>
            <p:grpSpPr>
              <a:xfrm>
                <a:off x="8609361" y="4272057"/>
                <a:ext cx="75723" cy="75628"/>
                <a:chOff x="8609361" y="4272057"/>
                <a:chExt cx="75723" cy="75628"/>
              </a:xfrm>
            </p:grpSpPr>
            <p:sp>
              <p:nvSpPr>
                <p:cNvPr id="18814" name="Freeform: Shape 18813">
                  <a:extLst>
                    <a:ext uri="{FF2B5EF4-FFF2-40B4-BE49-F238E27FC236}">
                      <a16:creationId xmlns:a16="http://schemas.microsoft.com/office/drawing/2014/main" id="{0F928C4C-A76B-BDE8-35B5-96E3F7128E84}"/>
                    </a:ext>
                  </a:extLst>
                </p:cNvPr>
                <p:cNvSpPr/>
                <p:nvPr/>
              </p:nvSpPr>
              <p:spPr>
                <a:xfrm>
                  <a:off x="8647270"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5" name="Freeform: Shape 18814">
                  <a:extLst>
                    <a:ext uri="{FF2B5EF4-FFF2-40B4-BE49-F238E27FC236}">
                      <a16:creationId xmlns:a16="http://schemas.microsoft.com/office/drawing/2014/main" id="{51E7D895-92D0-F08F-6403-8BB8FBEC9956}"/>
                    </a:ext>
                  </a:extLst>
                </p:cNvPr>
                <p:cNvSpPr/>
                <p:nvPr/>
              </p:nvSpPr>
              <p:spPr>
                <a:xfrm>
                  <a:off x="8609361"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3" name="Graphic 2151">
                <a:extLst>
                  <a:ext uri="{FF2B5EF4-FFF2-40B4-BE49-F238E27FC236}">
                    <a16:creationId xmlns:a16="http://schemas.microsoft.com/office/drawing/2014/main" id="{864EEDBF-4FC1-A5B1-222A-077BE18789F0}"/>
                  </a:ext>
                </a:extLst>
              </p:cNvPr>
              <p:cNvGrpSpPr/>
              <p:nvPr/>
            </p:nvGrpSpPr>
            <p:grpSpPr>
              <a:xfrm>
                <a:off x="8189975" y="4272057"/>
                <a:ext cx="75628" cy="75628"/>
                <a:chOff x="8189975" y="4272057"/>
                <a:chExt cx="75628" cy="75628"/>
              </a:xfrm>
            </p:grpSpPr>
            <p:sp>
              <p:nvSpPr>
                <p:cNvPr id="18812" name="Freeform: Shape 18811">
                  <a:extLst>
                    <a:ext uri="{FF2B5EF4-FFF2-40B4-BE49-F238E27FC236}">
                      <a16:creationId xmlns:a16="http://schemas.microsoft.com/office/drawing/2014/main" id="{302C1C52-D643-BA9B-5EC3-47802541F449}"/>
                    </a:ext>
                  </a:extLst>
                </p:cNvPr>
                <p:cNvSpPr/>
                <p:nvPr/>
              </p:nvSpPr>
              <p:spPr>
                <a:xfrm>
                  <a:off x="8227789"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3" name="Freeform: Shape 18812">
                  <a:extLst>
                    <a:ext uri="{FF2B5EF4-FFF2-40B4-BE49-F238E27FC236}">
                      <a16:creationId xmlns:a16="http://schemas.microsoft.com/office/drawing/2014/main" id="{1339B904-2A18-E04B-133E-3744B5CE3511}"/>
                    </a:ext>
                  </a:extLst>
                </p:cNvPr>
                <p:cNvSpPr/>
                <p:nvPr/>
              </p:nvSpPr>
              <p:spPr>
                <a:xfrm>
                  <a:off x="8189975" y="430987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4" name="Graphic 2151">
                <a:extLst>
                  <a:ext uri="{FF2B5EF4-FFF2-40B4-BE49-F238E27FC236}">
                    <a16:creationId xmlns:a16="http://schemas.microsoft.com/office/drawing/2014/main" id="{A99316AF-66BB-1EA5-402C-4700E3BA936D}"/>
                  </a:ext>
                </a:extLst>
              </p:cNvPr>
              <p:cNvGrpSpPr/>
              <p:nvPr/>
            </p:nvGrpSpPr>
            <p:grpSpPr>
              <a:xfrm>
                <a:off x="7798402" y="4272057"/>
                <a:ext cx="75723" cy="75628"/>
                <a:chOff x="7798402" y="4272057"/>
                <a:chExt cx="75723" cy="75628"/>
              </a:xfrm>
            </p:grpSpPr>
            <p:sp>
              <p:nvSpPr>
                <p:cNvPr id="18810" name="Freeform: Shape 18809">
                  <a:extLst>
                    <a:ext uri="{FF2B5EF4-FFF2-40B4-BE49-F238E27FC236}">
                      <a16:creationId xmlns:a16="http://schemas.microsoft.com/office/drawing/2014/main" id="{7984A22E-2486-BF17-1B15-2712575A75EF}"/>
                    </a:ext>
                  </a:extLst>
                </p:cNvPr>
                <p:cNvSpPr/>
                <p:nvPr/>
              </p:nvSpPr>
              <p:spPr>
                <a:xfrm>
                  <a:off x="7836217" y="427205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11" name="Freeform: Shape 18810">
                  <a:extLst>
                    <a:ext uri="{FF2B5EF4-FFF2-40B4-BE49-F238E27FC236}">
                      <a16:creationId xmlns:a16="http://schemas.microsoft.com/office/drawing/2014/main" id="{55DF9EB5-B644-7E9F-F25D-5E0A328F53E5}"/>
                    </a:ext>
                  </a:extLst>
                </p:cNvPr>
                <p:cNvSpPr/>
                <p:nvPr/>
              </p:nvSpPr>
              <p:spPr>
                <a:xfrm>
                  <a:off x="7798402" y="43098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5" name="Graphic 2151">
                <a:extLst>
                  <a:ext uri="{FF2B5EF4-FFF2-40B4-BE49-F238E27FC236}">
                    <a16:creationId xmlns:a16="http://schemas.microsoft.com/office/drawing/2014/main" id="{63D3AC2D-449E-E75F-CF37-6C8E5CFB208B}"/>
                  </a:ext>
                </a:extLst>
              </p:cNvPr>
              <p:cNvGrpSpPr/>
              <p:nvPr/>
            </p:nvGrpSpPr>
            <p:grpSpPr>
              <a:xfrm>
                <a:off x="7744491" y="4023169"/>
                <a:ext cx="75723" cy="75628"/>
                <a:chOff x="7744491" y="4023169"/>
                <a:chExt cx="75723" cy="75628"/>
              </a:xfrm>
            </p:grpSpPr>
            <p:sp>
              <p:nvSpPr>
                <p:cNvPr id="18808" name="Freeform: Shape 18807">
                  <a:extLst>
                    <a:ext uri="{FF2B5EF4-FFF2-40B4-BE49-F238E27FC236}">
                      <a16:creationId xmlns:a16="http://schemas.microsoft.com/office/drawing/2014/main" id="{252410CC-6596-B72F-B21E-1218B219A13E}"/>
                    </a:ext>
                  </a:extLst>
                </p:cNvPr>
                <p:cNvSpPr/>
                <p:nvPr/>
              </p:nvSpPr>
              <p:spPr>
                <a:xfrm>
                  <a:off x="7782305" y="402316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9" name="Freeform: Shape 18808">
                  <a:extLst>
                    <a:ext uri="{FF2B5EF4-FFF2-40B4-BE49-F238E27FC236}">
                      <a16:creationId xmlns:a16="http://schemas.microsoft.com/office/drawing/2014/main" id="{16BCA065-6331-3955-F069-7BC94A3CE5F8}"/>
                    </a:ext>
                  </a:extLst>
                </p:cNvPr>
                <p:cNvSpPr/>
                <p:nvPr/>
              </p:nvSpPr>
              <p:spPr>
                <a:xfrm>
                  <a:off x="7744491" y="40609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6" name="Graphic 2151">
                <a:extLst>
                  <a:ext uri="{FF2B5EF4-FFF2-40B4-BE49-F238E27FC236}">
                    <a16:creationId xmlns:a16="http://schemas.microsoft.com/office/drawing/2014/main" id="{FFC2E33F-7D72-BDA5-EB96-23679A012C56}"/>
                  </a:ext>
                </a:extLst>
              </p:cNvPr>
              <p:cNvGrpSpPr/>
              <p:nvPr/>
            </p:nvGrpSpPr>
            <p:grpSpPr>
              <a:xfrm>
                <a:off x="7378445" y="3841337"/>
                <a:ext cx="75723" cy="75723"/>
                <a:chOff x="7378445" y="3841337"/>
                <a:chExt cx="75723" cy="75723"/>
              </a:xfrm>
            </p:grpSpPr>
            <p:sp>
              <p:nvSpPr>
                <p:cNvPr id="18806" name="Freeform: Shape 18805">
                  <a:extLst>
                    <a:ext uri="{FF2B5EF4-FFF2-40B4-BE49-F238E27FC236}">
                      <a16:creationId xmlns:a16="http://schemas.microsoft.com/office/drawing/2014/main" id="{EDBBA30A-624B-2BEC-2FDA-42D48DF05C42}"/>
                    </a:ext>
                  </a:extLst>
                </p:cNvPr>
                <p:cNvSpPr/>
                <p:nvPr/>
              </p:nvSpPr>
              <p:spPr>
                <a:xfrm>
                  <a:off x="7416355"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7" name="Freeform: Shape 18806">
                  <a:extLst>
                    <a:ext uri="{FF2B5EF4-FFF2-40B4-BE49-F238E27FC236}">
                      <a16:creationId xmlns:a16="http://schemas.microsoft.com/office/drawing/2014/main" id="{0DC89153-7F5E-370E-B6D7-FBED65356BD2}"/>
                    </a:ext>
                  </a:extLst>
                </p:cNvPr>
                <p:cNvSpPr/>
                <p:nvPr/>
              </p:nvSpPr>
              <p:spPr>
                <a:xfrm>
                  <a:off x="7378445"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7" name="Graphic 2151">
                <a:extLst>
                  <a:ext uri="{FF2B5EF4-FFF2-40B4-BE49-F238E27FC236}">
                    <a16:creationId xmlns:a16="http://schemas.microsoft.com/office/drawing/2014/main" id="{B26C238A-F9AC-46D5-DABF-A039AE2E1986}"/>
                  </a:ext>
                </a:extLst>
              </p:cNvPr>
              <p:cNvGrpSpPr/>
              <p:nvPr/>
            </p:nvGrpSpPr>
            <p:grpSpPr>
              <a:xfrm>
                <a:off x="7326724" y="3841337"/>
                <a:ext cx="75628" cy="75723"/>
                <a:chOff x="7326724" y="3841337"/>
                <a:chExt cx="75628" cy="75723"/>
              </a:xfrm>
            </p:grpSpPr>
            <p:sp>
              <p:nvSpPr>
                <p:cNvPr id="18804" name="Freeform: Shape 18803">
                  <a:extLst>
                    <a:ext uri="{FF2B5EF4-FFF2-40B4-BE49-F238E27FC236}">
                      <a16:creationId xmlns:a16="http://schemas.microsoft.com/office/drawing/2014/main" id="{2473D960-4413-BE34-31DF-E303B3C27A19}"/>
                    </a:ext>
                  </a:extLst>
                </p:cNvPr>
                <p:cNvSpPr/>
                <p:nvPr/>
              </p:nvSpPr>
              <p:spPr>
                <a:xfrm>
                  <a:off x="736453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5" name="Freeform: Shape 18804">
                  <a:extLst>
                    <a:ext uri="{FF2B5EF4-FFF2-40B4-BE49-F238E27FC236}">
                      <a16:creationId xmlns:a16="http://schemas.microsoft.com/office/drawing/2014/main" id="{376E5AAE-DE63-478C-5753-0121A53D0C74}"/>
                    </a:ext>
                  </a:extLst>
                </p:cNvPr>
                <p:cNvSpPr/>
                <p:nvPr/>
              </p:nvSpPr>
              <p:spPr>
                <a:xfrm>
                  <a:off x="7326724"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8" name="Graphic 2151">
                <a:extLst>
                  <a:ext uri="{FF2B5EF4-FFF2-40B4-BE49-F238E27FC236}">
                    <a16:creationId xmlns:a16="http://schemas.microsoft.com/office/drawing/2014/main" id="{84DBA4E6-6F1F-67F7-E47E-A0AC9DA47537}"/>
                  </a:ext>
                </a:extLst>
              </p:cNvPr>
              <p:cNvGrpSpPr/>
              <p:nvPr/>
            </p:nvGrpSpPr>
            <p:grpSpPr>
              <a:xfrm>
                <a:off x="6939438" y="3743515"/>
                <a:ext cx="75628" cy="75628"/>
                <a:chOff x="6939438" y="3743515"/>
                <a:chExt cx="75628" cy="75628"/>
              </a:xfrm>
            </p:grpSpPr>
            <p:sp>
              <p:nvSpPr>
                <p:cNvPr id="18802" name="Freeform: Shape 18801">
                  <a:extLst>
                    <a:ext uri="{FF2B5EF4-FFF2-40B4-BE49-F238E27FC236}">
                      <a16:creationId xmlns:a16="http://schemas.microsoft.com/office/drawing/2014/main" id="{0A83A42F-9374-AC96-B297-142FFDE3B631}"/>
                    </a:ext>
                  </a:extLst>
                </p:cNvPr>
                <p:cNvSpPr/>
                <p:nvPr/>
              </p:nvSpPr>
              <p:spPr>
                <a:xfrm>
                  <a:off x="697725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3" name="Freeform: Shape 18802">
                  <a:extLst>
                    <a:ext uri="{FF2B5EF4-FFF2-40B4-BE49-F238E27FC236}">
                      <a16:creationId xmlns:a16="http://schemas.microsoft.com/office/drawing/2014/main" id="{A343A418-775C-EA96-5D29-187DB08E9CF0}"/>
                    </a:ext>
                  </a:extLst>
                </p:cNvPr>
                <p:cNvSpPr/>
                <p:nvPr/>
              </p:nvSpPr>
              <p:spPr>
                <a:xfrm>
                  <a:off x="693943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49" name="Graphic 2151">
                <a:extLst>
                  <a:ext uri="{FF2B5EF4-FFF2-40B4-BE49-F238E27FC236}">
                    <a16:creationId xmlns:a16="http://schemas.microsoft.com/office/drawing/2014/main" id="{CBAD3DE3-2BC4-5F42-9098-31F0229E2CD1}"/>
                  </a:ext>
                </a:extLst>
              </p:cNvPr>
              <p:cNvGrpSpPr/>
              <p:nvPr/>
            </p:nvGrpSpPr>
            <p:grpSpPr>
              <a:xfrm>
                <a:off x="6926008" y="3743515"/>
                <a:ext cx="75723" cy="75628"/>
                <a:chOff x="6926008" y="3743515"/>
                <a:chExt cx="75723" cy="75628"/>
              </a:xfrm>
            </p:grpSpPr>
            <p:sp>
              <p:nvSpPr>
                <p:cNvPr id="18800" name="Freeform: Shape 18799">
                  <a:extLst>
                    <a:ext uri="{FF2B5EF4-FFF2-40B4-BE49-F238E27FC236}">
                      <a16:creationId xmlns:a16="http://schemas.microsoft.com/office/drawing/2014/main" id="{0D126AF8-94AA-69AE-3B90-6D543D3F8196}"/>
                    </a:ext>
                  </a:extLst>
                </p:cNvPr>
                <p:cNvSpPr/>
                <p:nvPr/>
              </p:nvSpPr>
              <p:spPr>
                <a:xfrm>
                  <a:off x="6963917"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801" name="Freeform: Shape 18800">
                  <a:extLst>
                    <a:ext uri="{FF2B5EF4-FFF2-40B4-BE49-F238E27FC236}">
                      <a16:creationId xmlns:a16="http://schemas.microsoft.com/office/drawing/2014/main" id="{2CA6F73D-F846-FEF7-4D6A-E66CB3ACE9A1}"/>
                    </a:ext>
                  </a:extLst>
                </p:cNvPr>
                <p:cNvSpPr/>
                <p:nvPr/>
              </p:nvSpPr>
              <p:spPr>
                <a:xfrm>
                  <a:off x="692600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0" name="Graphic 2151">
                <a:extLst>
                  <a:ext uri="{FF2B5EF4-FFF2-40B4-BE49-F238E27FC236}">
                    <a16:creationId xmlns:a16="http://schemas.microsoft.com/office/drawing/2014/main" id="{AF497848-7F49-0929-B020-74FB973469D7}"/>
                  </a:ext>
                </a:extLst>
              </p:cNvPr>
              <p:cNvGrpSpPr/>
              <p:nvPr/>
            </p:nvGrpSpPr>
            <p:grpSpPr>
              <a:xfrm>
                <a:off x="6898671" y="3743515"/>
                <a:ext cx="75723" cy="75628"/>
                <a:chOff x="6898671" y="3743515"/>
                <a:chExt cx="75723" cy="75628"/>
              </a:xfrm>
            </p:grpSpPr>
            <p:sp>
              <p:nvSpPr>
                <p:cNvPr id="18798" name="Freeform: Shape 18797">
                  <a:extLst>
                    <a:ext uri="{FF2B5EF4-FFF2-40B4-BE49-F238E27FC236}">
                      <a16:creationId xmlns:a16="http://schemas.microsoft.com/office/drawing/2014/main" id="{68A34F79-2BF4-F29A-1412-D99F74B3FDBE}"/>
                    </a:ext>
                  </a:extLst>
                </p:cNvPr>
                <p:cNvSpPr/>
                <p:nvPr/>
              </p:nvSpPr>
              <p:spPr>
                <a:xfrm>
                  <a:off x="6936485"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9" name="Freeform: Shape 18798">
                  <a:extLst>
                    <a:ext uri="{FF2B5EF4-FFF2-40B4-BE49-F238E27FC236}">
                      <a16:creationId xmlns:a16="http://schemas.microsoft.com/office/drawing/2014/main" id="{43A53048-72E2-F903-8206-B635A9AAFF9C}"/>
                    </a:ext>
                  </a:extLst>
                </p:cNvPr>
                <p:cNvSpPr/>
                <p:nvPr/>
              </p:nvSpPr>
              <p:spPr>
                <a:xfrm>
                  <a:off x="689867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1" name="Graphic 2151">
                <a:extLst>
                  <a:ext uri="{FF2B5EF4-FFF2-40B4-BE49-F238E27FC236}">
                    <a16:creationId xmlns:a16="http://schemas.microsoft.com/office/drawing/2014/main" id="{23562AE8-869D-A561-D89A-418ECCED0FE0}"/>
                  </a:ext>
                </a:extLst>
              </p:cNvPr>
              <p:cNvGrpSpPr/>
              <p:nvPr/>
            </p:nvGrpSpPr>
            <p:grpSpPr>
              <a:xfrm>
                <a:off x="6882288" y="3743515"/>
                <a:ext cx="75628" cy="75628"/>
                <a:chOff x="6882288" y="3743515"/>
                <a:chExt cx="75628" cy="75628"/>
              </a:xfrm>
            </p:grpSpPr>
            <p:sp>
              <p:nvSpPr>
                <p:cNvPr id="18796" name="Freeform: Shape 18795">
                  <a:extLst>
                    <a:ext uri="{FF2B5EF4-FFF2-40B4-BE49-F238E27FC236}">
                      <a16:creationId xmlns:a16="http://schemas.microsoft.com/office/drawing/2014/main" id="{4E79B313-4464-8589-2526-9F39A29D32AB}"/>
                    </a:ext>
                  </a:extLst>
                </p:cNvPr>
                <p:cNvSpPr/>
                <p:nvPr/>
              </p:nvSpPr>
              <p:spPr>
                <a:xfrm>
                  <a:off x="69201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7" name="Freeform: Shape 18796">
                  <a:extLst>
                    <a:ext uri="{FF2B5EF4-FFF2-40B4-BE49-F238E27FC236}">
                      <a16:creationId xmlns:a16="http://schemas.microsoft.com/office/drawing/2014/main" id="{FA2E8C33-E12F-871B-84B6-8041613B73B3}"/>
                    </a:ext>
                  </a:extLst>
                </p:cNvPr>
                <p:cNvSpPr/>
                <p:nvPr/>
              </p:nvSpPr>
              <p:spPr>
                <a:xfrm>
                  <a:off x="6882288"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2" name="Graphic 2151">
                <a:extLst>
                  <a:ext uri="{FF2B5EF4-FFF2-40B4-BE49-F238E27FC236}">
                    <a16:creationId xmlns:a16="http://schemas.microsoft.com/office/drawing/2014/main" id="{B1BBD022-7EAA-E452-9A19-DA3FEB0F1572}"/>
                  </a:ext>
                </a:extLst>
              </p:cNvPr>
              <p:cNvGrpSpPr/>
              <p:nvPr/>
            </p:nvGrpSpPr>
            <p:grpSpPr>
              <a:xfrm>
                <a:off x="6867715" y="3743515"/>
                <a:ext cx="75628" cy="75628"/>
                <a:chOff x="6867715" y="3743515"/>
                <a:chExt cx="75628" cy="75628"/>
              </a:xfrm>
            </p:grpSpPr>
            <p:sp>
              <p:nvSpPr>
                <p:cNvPr id="18794" name="Freeform: Shape 18793">
                  <a:extLst>
                    <a:ext uri="{FF2B5EF4-FFF2-40B4-BE49-F238E27FC236}">
                      <a16:creationId xmlns:a16="http://schemas.microsoft.com/office/drawing/2014/main" id="{D61F53FD-EA4D-54AD-DE24-47E77FE95310}"/>
                    </a:ext>
                  </a:extLst>
                </p:cNvPr>
                <p:cNvSpPr/>
                <p:nvPr/>
              </p:nvSpPr>
              <p:spPr>
                <a:xfrm>
                  <a:off x="6905529"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5" name="Freeform: Shape 18794">
                  <a:extLst>
                    <a:ext uri="{FF2B5EF4-FFF2-40B4-BE49-F238E27FC236}">
                      <a16:creationId xmlns:a16="http://schemas.microsoft.com/office/drawing/2014/main" id="{F34C7868-576E-9F03-935C-D926F6D85FD1}"/>
                    </a:ext>
                  </a:extLst>
                </p:cNvPr>
                <p:cNvSpPr/>
                <p:nvPr/>
              </p:nvSpPr>
              <p:spPr>
                <a:xfrm>
                  <a:off x="6867715"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3" name="Graphic 2151">
                <a:extLst>
                  <a:ext uri="{FF2B5EF4-FFF2-40B4-BE49-F238E27FC236}">
                    <a16:creationId xmlns:a16="http://schemas.microsoft.com/office/drawing/2014/main" id="{E3001615-3E04-5B35-EC64-7B286C45ABA5}"/>
                  </a:ext>
                </a:extLst>
              </p:cNvPr>
              <p:cNvGrpSpPr/>
              <p:nvPr/>
            </p:nvGrpSpPr>
            <p:grpSpPr>
              <a:xfrm>
                <a:off x="6496240" y="3743515"/>
                <a:ext cx="75628" cy="75628"/>
                <a:chOff x="6496240" y="3743515"/>
                <a:chExt cx="75628" cy="75628"/>
              </a:xfrm>
            </p:grpSpPr>
            <p:sp>
              <p:nvSpPr>
                <p:cNvPr id="18792" name="Freeform: Shape 18791">
                  <a:extLst>
                    <a:ext uri="{FF2B5EF4-FFF2-40B4-BE49-F238E27FC236}">
                      <a16:creationId xmlns:a16="http://schemas.microsoft.com/office/drawing/2014/main" id="{37FC7F65-D1B9-B197-63FA-0F86DBD0D43D}"/>
                    </a:ext>
                  </a:extLst>
                </p:cNvPr>
                <p:cNvSpPr/>
                <p:nvPr/>
              </p:nvSpPr>
              <p:spPr>
                <a:xfrm>
                  <a:off x="6534054"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3" name="Freeform: Shape 18792">
                  <a:extLst>
                    <a:ext uri="{FF2B5EF4-FFF2-40B4-BE49-F238E27FC236}">
                      <a16:creationId xmlns:a16="http://schemas.microsoft.com/office/drawing/2014/main" id="{52F6E581-6D8A-A346-1E1A-4C62AFC8A698}"/>
                    </a:ext>
                  </a:extLst>
                </p:cNvPr>
                <p:cNvSpPr/>
                <p:nvPr/>
              </p:nvSpPr>
              <p:spPr>
                <a:xfrm>
                  <a:off x="6496240" y="37813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4" name="Graphic 2151">
                <a:extLst>
                  <a:ext uri="{FF2B5EF4-FFF2-40B4-BE49-F238E27FC236}">
                    <a16:creationId xmlns:a16="http://schemas.microsoft.com/office/drawing/2014/main" id="{7F770203-E613-92E4-7975-3757E123CDC7}"/>
                  </a:ext>
                </a:extLst>
              </p:cNvPr>
              <p:cNvGrpSpPr/>
              <p:nvPr/>
            </p:nvGrpSpPr>
            <p:grpSpPr>
              <a:xfrm>
                <a:off x="6447853" y="3692747"/>
                <a:ext cx="75628" cy="75628"/>
                <a:chOff x="6447853" y="3692747"/>
                <a:chExt cx="75628" cy="75628"/>
              </a:xfrm>
            </p:grpSpPr>
            <p:sp>
              <p:nvSpPr>
                <p:cNvPr id="18790" name="Freeform: Shape 18789">
                  <a:extLst>
                    <a:ext uri="{FF2B5EF4-FFF2-40B4-BE49-F238E27FC236}">
                      <a16:creationId xmlns:a16="http://schemas.microsoft.com/office/drawing/2014/main" id="{CFEFCAB6-D93C-79B0-4F21-5C1396386FED}"/>
                    </a:ext>
                  </a:extLst>
                </p:cNvPr>
                <p:cNvSpPr/>
                <p:nvPr/>
              </p:nvSpPr>
              <p:spPr>
                <a:xfrm>
                  <a:off x="6485667"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91" name="Freeform: Shape 18790">
                  <a:extLst>
                    <a:ext uri="{FF2B5EF4-FFF2-40B4-BE49-F238E27FC236}">
                      <a16:creationId xmlns:a16="http://schemas.microsoft.com/office/drawing/2014/main" id="{758811F8-5CAB-52DD-E1ED-10254F44250A}"/>
                    </a:ext>
                  </a:extLst>
                </p:cNvPr>
                <p:cNvSpPr/>
                <p:nvPr/>
              </p:nvSpPr>
              <p:spPr>
                <a:xfrm>
                  <a:off x="6447853"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5" name="Graphic 2151">
                <a:extLst>
                  <a:ext uri="{FF2B5EF4-FFF2-40B4-BE49-F238E27FC236}">
                    <a16:creationId xmlns:a16="http://schemas.microsoft.com/office/drawing/2014/main" id="{A10F8BF9-59FF-B2AF-8783-9BC5F7F3BD77}"/>
                  </a:ext>
                </a:extLst>
              </p:cNvPr>
              <p:cNvGrpSpPr/>
              <p:nvPr/>
            </p:nvGrpSpPr>
            <p:grpSpPr>
              <a:xfrm>
                <a:off x="6418039" y="3692747"/>
                <a:ext cx="75723" cy="75628"/>
                <a:chOff x="6418039" y="3692747"/>
                <a:chExt cx="75723" cy="75628"/>
              </a:xfrm>
            </p:grpSpPr>
            <p:sp>
              <p:nvSpPr>
                <p:cNvPr id="18788" name="Freeform: Shape 18787">
                  <a:extLst>
                    <a:ext uri="{FF2B5EF4-FFF2-40B4-BE49-F238E27FC236}">
                      <a16:creationId xmlns:a16="http://schemas.microsoft.com/office/drawing/2014/main" id="{1F695E1A-7E8A-44BF-062E-F69FF7ABB06E}"/>
                    </a:ext>
                  </a:extLst>
                </p:cNvPr>
                <p:cNvSpPr/>
                <p:nvPr/>
              </p:nvSpPr>
              <p:spPr>
                <a:xfrm>
                  <a:off x="645594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9" name="Freeform: Shape 18788">
                  <a:extLst>
                    <a:ext uri="{FF2B5EF4-FFF2-40B4-BE49-F238E27FC236}">
                      <a16:creationId xmlns:a16="http://schemas.microsoft.com/office/drawing/2014/main" id="{8CBA66D0-B52F-6378-EAA4-9F323BA5B7CD}"/>
                    </a:ext>
                  </a:extLst>
                </p:cNvPr>
                <p:cNvSpPr/>
                <p:nvPr/>
              </p:nvSpPr>
              <p:spPr>
                <a:xfrm>
                  <a:off x="6418039"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6" name="Graphic 2151">
                <a:extLst>
                  <a:ext uri="{FF2B5EF4-FFF2-40B4-BE49-F238E27FC236}">
                    <a16:creationId xmlns:a16="http://schemas.microsoft.com/office/drawing/2014/main" id="{5AFD7A7F-5858-814B-B61C-BF48A86FBEA5}"/>
                  </a:ext>
                </a:extLst>
              </p:cNvPr>
              <p:cNvGrpSpPr/>
              <p:nvPr/>
            </p:nvGrpSpPr>
            <p:grpSpPr>
              <a:xfrm>
                <a:off x="6092475" y="3692747"/>
                <a:ext cx="75723" cy="75628"/>
                <a:chOff x="6092475" y="3692747"/>
                <a:chExt cx="75723" cy="75628"/>
              </a:xfrm>
            </p:grpSpPr>
            <p:sp>
              <p:nvSpPr>
                <p:cNvPr id="18786" name="Freeform: Shape 18785">
                  <a:extLst>
                    <a:ext uri="{FF2B5EF4-FFF2-40B4-BE49-F238E27FC236}">
                      <a16:creationId xmlns:a16="http://schemas.microsoft.com/office/drawing/2014/main" id="{65633D1E-DB0E-FA36-5C5B-596B70A51AF8}"/>
                    </a:ext>
                  </a:extLst>
                </p:cNvPr>
                <p:cNvSpPr/>
                <p:nvPr/>
              </p:nvSpPr>
              <p:spPr>
                <a:xfrm>
                  <a:off x="6130289"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7" name="Freeform: Shape 18786">
                  <a:extLst>
                    <a:ext uri="{FF2B5EF4-FFF2-40B4-BE49-F238E27FC236}">
                      <a16:creationId xmlns:a16="http://schemas.microsoft.com/office/drawing/2014/main" id="{E93749DE-BA35-D14D-32A7-07D69029A345}"/>
                    </a:ext>
                  </a:extLst>
                </p:cNvPr>
                <p:cNvSpPr/>
                <p:nvPr/>
              </p:nvSpPr>
              <p:spPr>
                <a:xfrm>
                  <a:off x="6092475"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7" name="Graphic 2151">
                <a:extLst>
                  <a:ext uri="{FF2B5EF4-FFF2-40B4-BE49-F238E27FC236}">
                    <a16:creationId xmlns:a16="http://schemas.microsoft.com/office/drawing/2014/main" id="{C6E9223B-A147-B8AE-50E7-5BAF6AB83D1E}"/>
                  </a:ext>
                </a:extLst>
              </p:cNvPr>
              <p:cNvGrpSpPr/>
              <p:nvPr/>
            </p:nvGrpSpPr>
            <p:grpSpPr>
              <a:xfrm>
                <a:off x="6103714" y="3692747"/>
                <a:ext cx="75723" cy="75628"/>
                <a:chOff x="6103714" y="3692747"/>
                <a:chExt cx="75723" cy="75628"/>
              </a:xfrm>
            </p:grpSpPr>
            <p:sp>
              <p:nvSpPr>
                <p:cNvPr id="18784" name="Freeform: Shape 18783">
                  <a:extLst>
                    <a:ext uri="{FF2B5EF4-FFF2-40B4-BE49-F238E27FC236}">
                      <a16:creationId xmlns:a16="http://schemas.microsoft.com/office/drawing/2014/main" id="{BC84F001-251A-0FB3-ED2F-F4E57C12F955}"/>
                    </a:ext>
                  </a:extLst>
                </p:cNvPr>
                <p:cNvSpPr/>
                <p:nvPr/>
              </p:nvSpPr>
              <p:spPr>
                <a:xfrm>
                  <a:off x="614162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5" name="Freeform: Shape 18784">
                  <a:extLst>
                    <a:ext uri="{FF2B5EF4-FFF2-40B4-BE49-F238E27FC236}">
                      <a16:creationId xmlns:a16="http://schemas.microsoft.com/office/drawing/2014/main" id="{E764435B-7908-0240-69D7-B13757112A21}"/>
                    </a:ext>
                  </a:extLst>
                </p:cNvPr>
                <p:cNvSpPr/>
                <p:nvPr/>
              </p:nvSpPr>
              <p:spPr>
                <a:xfrm>
                  <a:off x="6103714"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8" name="Graphic 2151">
                <a:extLst>
                  <a:ext uri="{FF2B5EF4-FFF2-40B4-BE49-F238E27FC236}">
                    <a16:creationId xmlns:a16="http://schemas.microsoft.com/office/drawing/2014/main" id="{7F013D9F-33D0-A326-2A4D-A8967C7F66D2}"/>
                  </a:ext>
                </a:extLst>
              </p:cNvPr>
              <p:cNvGrpSpPr/>
              <p:nvPr/>
            </p:nvGrpSpPr>
            <p:grpSpPr>
              <a:xfrm>
                <a:off x="6202870" y="3692747"/>
                <a:ext cx="75628" cy="75628"/>
                <a:chOff x="6202870" y="3692747"/>
                <a:chExt cx="75628" cy="75628"/>
              </a:xfrm>
            </p:grpSpPr>
            <p:sp>
              <p:nvSpPr>
                <p:cNvPr id="18782" name="Freeform: Shape 18781">
                  <a:extLst>
                    <a:ext uri="{FF2B5EF4-FFF2-40B4-BE49-F238E27FC236}">
                      <a16:creationId xmlns:a16="http://schemas.microsoft.com/office/drawing/2014/main" id="{0E3E5721-BE56-9C10-D6D6-52C88345F1CC}"/>
                    </a:ext>
                  </a:extLst>
                </p:cNvPr>
                <p:cNvSpPr/>
                <p:nvPr/>
              </p:nvSpPr>
              <p:spPr>
                <a:xfrm>
                  <a:off x="6240684"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3" name="Freeform: Shape 18782">
                  <a:extLst>
                    <a:ext uri="{FF2B5EF4-FFF2-40B4-BE49-F238E27FC236}">
                      <a16:creationId xmlns:a16="http://schemas.microsoft.com/office/drawing/2014/main" id="{0458EFC5-E907-4237-FA42-84ACAC285598}"/>
                    </a:ext>
                  </a:extLst>
                </p:cNvPr>
                <p:cNvSpPr/>
                <p:nvPr/>
              </p:nvSpPr>
              <p:spPr>
                <a:xfrm>
                  <a:off x="6202870" y="37305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59" name="Graphic 2151">
                <a:extLst>
                  <a:ext uri="{FF2B5EF4-FFF2-40B4-BE49-F238E27FC236}">
                    <a16:creationId xmlns:a16="http://schemas.microsoft.com/office/drawing/2014/main" id="{47FBE973-EBB5-EB4A-9567-634D9B1FB40B}"/>
                  </a:ext>
                </a:extLst>
              </p:cNvPr>
              <p:cNvGrpSpPr/>
              <p:nvPr/>
            </p:nvGrpSpPr>
            <p:grpSpPr>
              <a:xfrm>
                <a:off x="6046279" y="3606736"/>
                <a:ext cx="75723" cy="75628"/>
                <a:chOff x="6046279" y="3606736"/>
                <a:chExt cx="75723" cy="75628"/>
              </a:xfrm>
            </p:grpSpPr>
            <p:sp>
              <p:nvSpPr>
                <p:cNvPr id="18780" name="Freeform: Shape 18779">
                  <a:extLst>
                    <a:ext uri="{FF2B5EF4-FFF2-40B4-BE49-F238E27FC236}">
                      <a16:creationId xmlns:a16="http://schemas.microsoft.com/office/drawing/2014/main" id="{1FDD45BE-E813-B7BB-078D-A52BC463E79A}"/>
                    </a:ext>
                  </a:extLst>
                </p:cNvPr>
                <p:cNvSpPr/>
                <p:nvPr/>
              </p:nvSpPr>
              <p:spPr>
                <a:xfrm>
                  <a:off x="6084093" y="360673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81" name="Freeform: Shape 18780">
                  <a:extLst>
                    <a:ext uri="{FF2B5EF4-FFF2-40B4-BE49-F238E27FC236}">
                      <a16:creationId xmlns:a16="http://schemas.microsoft.com/office/drawing/2014/main" id="{72A54084-2439-0948-CEFF-282E50E9862E}"/>
                    </a:ext>
                  </a:extLst>
                </p:cNvPr>
                <p:cNvSpPr/>
                <p:nvPr/>
              </p:nvSpPr>
              <p:spPr>
                <a:xfrm>
                  <a:off x="6046279" y="364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0" name="Graphic 2151">
                <a:extLst>
                  <a:ext uri="{FF2B5EF4-FFF2-40B4-BE49-F238E27FC236}">
                    <a16:creationId xmlns:a16="http://schemas.microsoft.com/office/drawing/2014/main" id="{6526DF08-CEAF-E258-6DA8-FD22EA5078C9}"/>
                  </a:ext>
                </a:extLst>
              </p:cNvPr>
              <p:cNvGrpSpPr/>
              <p:nvPr/>
            </p:nvGrpSpPr>
            <p:grpSpPr>
              <a:xfrm>
                <a:off x="6038659" y="3570541"/>
                <a:ext cx="75723" cy="75723"/>
                <a:chOff x="6038659" y="3570541"/>
                <a:chExt cx="75723" cy="75723"/>
              </a:xfrm>
            </p:grpSpPr>
            <p:sp>
              <p:nvSpPr>
                <p:cNvPr id="18778" name="Freeform: Shape 18777">
                  <a:extLst>
                    <a:ext uri="{FF2B5EF4-FFF2-40B4-BE49-F238E27FC236}">
                      <a16:creationId xmlns:a16="http://schemas.microsoft.com/office/drawing/2014/main" id="{EEDEB63E-428C-D2A0-7FAC-1D6594D9BFD1}"/>
                    </a:ext>
                  </a:extLst>
                </p:cNvPr>
                <p:cNvSpPr/>
                <p:nvPr/>
              </p:nvSpPr>
              <p:spPr>
                <a:xfrm>
                  <a:off x="6076568" y="35705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9" name="Freeform: Shape 18778">
                  <a:extLst>
                    <a:ext uri="{FF2B5EF4-FFF2-40B4-BE49-F238E27FC236}">
                      <a16:creationId xmlns:a16="http://schemas.microsoft.com/office/drawing/2014/main" id="{C61466AA-5936-6EB5-BB72-F03B2738FA44}"/>
                    </a:ext>
                  </a:extLst>
                </p:cNvPr>
                <p:cNvSpPr/>
                <p:nvPr/>
              </p:nvSpPr>
              <p:spPr>
                <a:xfrm>
                  <a:off x="6038659" y="36083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1" name="Graphic 2151">
                <a:extLst>
                  <a:ext uri="{FF2B5EF4-FFF2-40B4-BE49-F238E27FC236}">
                    <a16:creationId xmlns:a16="http://schemas.microsoft.com/office/drawing/2014/main" id="{BF48A3DB-1370-9EA4-39A7-84E69A639A7C}"/>
                  </a:ext>
                </a:extLst>
              </p:cNvPr>
              <p:cNvGrpSpPr/>
              <p:nvPr/>
            </p:nvGrpSpPr>
            <p:grpSpPr>
              <a:xfrm>
                <a:off x="6038659" y="3527012"/>
                <a:ext cx="75723" cy="75723"/>
                <a:chOff x="6038659" y="3527012"/>
                <a:chExt cx="75723" cy="75723"/>
              </a:xfrm>
            </p:grpSpPr>
            <p:sp>
              <p:nvSpPr>
                <p:cNvPr id="18776" name="Freeform: Shape 18775">
                  <a:extLst>
                    <a:ext uri="{FF2B5EF4-FFF2-40B4-BE49-F238E27FC236}">
                      <a16:creationId xmlns:a16="http://schemas.microsoft.com/office/drawing/2014/main" id="{0175A260-D7D5-3BAC-F069-0099E23052CD}"/>
                    </a:ext>
                  </a:extLst>
                </p:cNvPr>
                <p:cNvSpPr/>
                <p:nvPr/>
              </p:nvSpPr>
              <p:spPr>
                <a:xfrm>
                  <a:off x="6076568" y="3527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7" name="Freeform: Shape 18776">
                  <a:extLst>
                    <a:ext uri="{FF2B5EF4-FFF2-40B4-BE49-F238E27FC236}">
                      <a16:creationId xmlns:a16="http://schemas.microsoft.com/office/drawing/2014/main" id="{E3E74694-76BD-DDDD-D4E7-06C6FC262C3A}"/>
                    </a:ext>
                  </a:extLst>
                </p:cNvPr>
                <p:cNvSpPr/>
                <p:nvPr/>
              </p:nvSpPr>
              <p:spPr>
                <a:xfrm>
                  <a:off x="6038659" y="35649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2" name="Graphic 2151">
                <a:extLst>
                  <a:ext uri="{FF2B5EF4-FFF2-40B4-BE49-F238E27FC236}">
                    <a16:creationId xmlns:a16="http://schemas.microsoft.com/office/drawing/2014/main" id="{73014366-0DBE-8308-7D1B-4AFDFC5673CC}"/>
                  </a:ext>
                </a:extLst>
              </p:cNvPr>
              <p:cNvGrpSpPr/>
              <p:nvPr/>
            </p:nvGrpSpPr>
            <p:grpSpPr>
              <a:xfrm>
                <a:off x="6031991" y="3491769"/>
                <a:ext cx="75723" cy="75723"/>
                <a:chOff x="6031991" y="3491769"/>
                <a:chExt cx="75723" cy="75723"/>
              </a:xfrm>
            </p:grpSpPr>
            <p:sp>
              <p:nvSpPr>
                <p:cNvPr id="18774" name="Freeform: Shape 18773">
                  <a:extLst>
                    <a:ext uri="{FF2B5EF4-FFF2-40B4-BE49-F238E27FC236}">
                      <a16:creationId xmlns:a16="http://schemas.microsoft.com/office/drawing/2014/main" id="{993AAB88-0BAB-05D6-2293-FC3AA88B98B6}"/>
                    </a:ext>
                  </a:extLst>
                </p:cNvPr>
                <p:cNvSpPr/>
                <p:nvPr/>
              </p:nvSpPr>
              <p:spPr>
                <a:xfrm>
                  <a:off x="6069805"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5" name="Freeform: Shape 18774">
                  <a:extLst>
                    <a:ext uri="{FF2B5EF4-FFF2-40B4-BE49-F238E27FC236}">
                      <a16:creationId xmlns:a16="http://schemas.microsoft.com/office/drawing/2014/main" id="{EBF54165-51A2-26B9-D70D-7D6C42D5FF53}"/>
                    </a:ext>
                  </a:extLst>
                </p:cNvPr>
                <p:cNvSpPr/>
                <p:nvPr/>
              </p:nvSpPr>
              <p:spPr>
                <a:xfrm>
                  <a:off x="6031991" y="3529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3" name="Graphic 2151">
                <a:extLst>
                  <a:ext uri="{FF2B5EF4-FFF2-40B4-BE49-F238E27FC236}">
                    <a16:creationId xmlns:a16="http://schemas.microsoft.com/office/drawing/2014/main" id="{403E55C2-D8EC-8C90-05EC-7B14E99B32BA}"/>
                  </a:ext>
                </a:extLst>
              </p:cNvPr>
              <p:cNvGrpSpPr/>
              <p:nvPr/>
            </p:nvGrpSpPr>
            <p:grpSpPr>
              <a:xfrm>
                <a:off x="6018942" y="3491769"/>
                <a:ext cx="75628" cy="75723"/>
                <a:chOff x="6018942" y="3491769"/>
                <a:chExt cx="75628" cy="75723"/>
              </a:xfrm>
            </p:grpSpPr>
            <p:sp>
              <p:nvSpPr>
                <p:cNvPr id="18772" name="Freeform: Shape 18771">
                  <a:extLst>
                    <a:ext uri="{FF2B5EF4-FFF2-40B4-BE49-F238E27FC236}">
                      <a16:creationId xmlns:a16="http://schemas.microsoft.com/office/drawing/2014/main" id="{7039604B-450F-DA7B-638F-D4FBBF858725}"/>
                    </a:ext>
                  </a:extLst>
                </p:cNvPr>
                <p:cNvSpPr/>
                <p:nvPr/>
              </p:nvSpPr>
              <p:spPr>
                <a:xfrm>
                  <a:off x="6056756" y="34917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3" name="Freeform: Shape 18772">
                  <a:extLst>
                    <a:ext uri="{FF2B5EF4-FFF2-40B4-BE49-F238E27FC236}">
                      <a16:creationId xmlns:a16="http://schemas.microsoft.com/office/drawing/2014/main" id="{8BFB1330-0473-47CC-7394-493C4979A179}"/>
                    </a:ext>
                  </a:extLst>
                </p:cNvPr>
                <p:cNvSpPr/>
                <p:nvPr/>
              </p:nvSpPr>
              <p:spPr>
                <a:xfrm>
                  <a:off x="6018942" y="352967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4" name="Graphic 2151">
                <a:extLst>
                  <a:ext uri="{FF2B5EF4-FFF2-40B4-BE49-F238E27FC236}">
                    <a16:creationId xmlns:a16="http://schemas.microsoft.com/office/drawing/2014/main" id="{36244DD1-BEE6-02EA-C983-396AB0161AB5}"/>
                  </a:ext>
                </a:extLst>
              </p:cNvPr>
              <p:cNvGrpSpPr/>
              <p:nvPr/>
            </p:nvGrpSpPr>
            <p:grpSpPr>
              <a:xfrm>
                <a:off x="5642895" y="3463194"/>
                <a:ext cx="75723" cy="75723"/>
                <a:chOff x="5642895" y="3463194"/>
                <a:chExt cx="75723" cy="75723"/>
              </a:xfrm>
            </p:grpSpPr>
            <p:sp>
              <p:nvSpPr>
                <p:cNvPr id="18770" name="Freeform: Shape 18769">
                  <a:extLst>
                    <a:ext uri="{FF2B5EF4-FFF2-40B4-BE49-F238E27FC236}">
                      <a16:creationId xmlns:a16="http://schemas.microsoft.com/office/drawing/2014/main" id="{15113EE1-99CF-CEF6-3639-B199D2C627C6}"/>
                    </a:ext>
                  </a:extLst>
                </p:cNvPr>
                <p:cNvSpPr/>
                <p:nvPr/>
              </p:nvSpPr>
              <p:spPr>
                <a:xfrm>
                  <a:off x="5680709"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71" name="Freeform: Shape 18770">
                  <a:extLst>
                    <a:ext uri="{FF2B5EF4-FFF2-40B4-BE49-F238E27FC236}">
                      <a16:creationId xmlns:a16="http://schemas.microsoft.com/office/drawing/2014/main" id="{BB634EE4-2D4F-6EC7-7AA8-DEB10DAA81DC}"/>
                    </a:ext>
                  </a:extLst>
                </p:cNvPr>
                <p:cNvSpPr/>
                <p:nvPr/>
              </p:nvSpPr>
              <p:spPr>
                <a:xfrm>
                  <a:off x="5642895"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5" name="Graphic 2151">
                <a:extLst>
                  <a:ext uri="{FF2B5EF4-FFF2-40B4-BE49-F238E27FC236}">
                    <a16:creationId xmlns:a16="http://schemas.microsoft.com/office/drawing/2014/main" id="{6522DBB0-4BE6-C532-EAB3-F39DC9A32001}"/>
                  </a:ext>
                </a:extLst>
              </p:cNvPr>
              <p:cNvGrpSpPr/>
              <p:nvPr/>
            </p:nvGrpSpPr>
            <p:grpSpPr>
              <a:xfrm>
                <a:off x="5591174" y="3463194"/>
                <a:ext cx="75723" cy="75723"/>
                <a:chOff x="5591174" y="3463194"/>
                <a:chExt cx="75723" cy="75723"/>
              </a:xfrm>
            </p:grpSpPr>
            <p:sp>
              <p:nvSpPr>
                <p:cNvPr id="18768" name="Freeform: Shape 18767">
                  <a:extLst>
                    <a:ext uri="{FF2B5EF4-FFF2-40B4-BE49-F238E27FC236}">
                      <a16:creationId xmlns:a16="http://schemas.microsoft.com/office/drawing/2014/main" id="{860873AB-F805-15AB-7A68-4C9CE5A2E858}"/>
                    </a:ext>
                  </a:extLst>
                </p:cNvPr>
                <p:cNvSpPr/>
                <p:nvPr/>
              </p:nvSpPr>
              <p:spPr>
                <a:xfrm>
                  <a:off x="5629084"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9" name="Freeform: Shape 18768">
                  <a:extLst>
                    <a:ext uri="{FF2B5EF4-FFF2-40B4-BE49-F238E27FC236}">
                      <a16:creationId xmlns:a16="http://schemas.microsoft.com/office/drawing/2014/main" id="{0457005D-7B56-31A7-F109-219DB707BD5D}"/>
                    </a:ext>
                  </a:extLst>
                </p:cNvPr>
                <p:cNvSpPr/>
                <p:nvPr/>
              </p:nvSpPr>
              <p:spPr>
                <a:xfrm>
                  <a:off x="5591174"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6" name="Graphic 2151">
                <a:extLst>
                  <a:ext uri="{FF2B5EF4-FFF2-40B4-BE49-F238E27FC236}">
                    <a16:creationId xmlns:a16="http://schemas.microsoft.com/office/drawing/2014/main" id="{8FAC0BBF-A692-E787-29B2-9C78BA2202A6}"/>
                  </a:ext>
                </a:extLst>
              </p:cNvPr>
              <p:cNvGrpSpPr/>
              <p:nvPr/>
            </p:nvGrpSpPr>
            <p:grpSpPr>
              <a:xfrm>
                <a:off x="5601556" y="3463194"/>
                <a:ext cx="75723" cy="75723"/>
                <a:chOff x="5601556" y="3463194"/>
                <a:chExt cx="75723" cy="75723"/>
              </a:xfrm>
            </p:grpSpPr>
            <p:sp>
              <p:nvSpPr>
                <p:cNvPr id="18766" name="Freeform: Shape 18765">
                  <a:extLst>
                    <a:ext uri="{FF2B5EF4-FFF2-40B4-BE49-F238E27FC236}">
                      <a16:creationId xmlns:a16="http://schemas.microsoft.com/office/drawing/2014/main" id="{1A773630-8A41-2084-F90A-B94D0A8AB2EB}"/>
                    </a:ext>
                  </a:extLst>
                </p:cNvPr>
                <p:cNvSpPr/>
                <p:nvPr/>
              </p:nvSpPr>
              <p:spPr>
                <a:xfrm>
                  <a:off x="5639371"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7" name="Freeform: Shape 18766">
                  <a:extLst>
                    <a:ext uri="{FF2B5EF4-FFF2-40B4-BE49-F238E27FC236}">
                      <a16:creationId xmlns:a16="http://schemas.microsoft.com/office/drawing/2014/main" id="{515F6421-7572-8780-C984-93DE103F78DF}"/>
                    </a:ext>
                  </a:extLst>
                </p:cNvPr>
                <p:cNvSpPr/>
                <p:nvPr/>
              </p:nvSpPr>
              <p:spPr>
                <a:xfrm>
                  <a:off x="560155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7" name="Graphic 2151">
                <a:extLst>
                  <a:ext uri="{FF2B5EF4-FFF2-40B4-BE49-F238E27FC236}">
                    <a16:creationId xmlns:a16="http://schemas.microsoft.com/office/drawing/2014/main" id="{C4D94371-0110-928F-06B6-B2D382A800F3}"/>
                  </a:ext>
                </a:extLst>
              </p:cNvPr>
              <p:cNvGrpSpPr/>
              <p:nvPr/>
            </p:nvGrpSpPr>
            <p:grpSpPr>
              <a:xfrm>
                <a:off x="5346191" y="3324129"/>
                <a:ext cx="75723" cy="75723"/>
                <a:chOff x="5346191" y="3324129"/>
                <a:chExt cx="75723" cy="75723"/>
              </a:xfrm>
            </p:grpSpPr>
            <p:sp>
              <p:nvSpPr>
                <p:cNvPr id="18764" name="Freeform: Shape 18763">
                  <a:extLst>
                    <a:ext uri="{FF2B5EF4-FFF2-40B4-BE49-F238E27FC236}">
                      <a16:creationId xmlns:a16="http://schemas.microsoft.com/office/drawing/2014/main" id="{6402D7B4-F9A0-A134-E735-E4F1A6E30BA2}"/>
                    </a:ext>
                  </a:extLst>
                </p:cNvPr>
                <p:cNvSpPr/>
                <p:nvPr/>
              </p:nvSpPr>
              <p:spPr>
                <a:xfrm>
                  <a:off x="5384005" y="33241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5" name="Freeform: Shape 18764">
                  <a:extLst>
                    <a:ext uri="{FF2B5EF4-FFF2-40B4-BE49-F238E27FC236}">
                      <a16:creationId xmlns:a16="http://schemas.microsoft.com/office/drawing/2014/main" id="{6014FE38-FFFF-8175-EDAB-6EBBAEB935F7}"/>
                    </a:ext>
                  </a:extLst>
                </p:cNvPr>
                <p:cNvSpPr/>
                <p:nvPr/>
              </p:nvSpPr>
              <p:spPr>
                <a:xfrm>
                  <a:off x="5346191" y="33620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8" name="Graphic 2151">
                <a:extLst>
                  <a:ext uri="{FF2B5EF4-FFF2-40B4-BE49-F238E27FC236}">
                    <a16:creationId xmlns:a16="http://schemas.microsoft.com/office/drawing/2014/main" id="{14071076-49A2-D524-10D6-1CC8F91790E2}"/>
                  </a:ext>
                </a:extLst>
              </p:cNvPr>
              <p:cNvGrpSpPr/>
              <p:nvPr/>
            </p:nvGrpSpPr>
            <p:grpSpPr>
              <a:xfrm>
                <a:off x="5213889" y="3295078"/>
                <a:ext cx="75628" cy="75723"/>
                <a:chOff x="5213889" y="3295078"/>
                <a:chExt cx="75628" cy="75723"/>
              </a:xfrm>
            </p:grpSpPr>
            <p:sp>
              <p:nvSpPr>
                <p:cNvPr id="18762" name="Freeform: Shape 18761">
                  <a:extLst>
                    <a:ext uri="{FF2B5EF4-FFF2-40B4-BE49-F238E27FC236}">
                      <a16:creationId xmlns:a16="http://schemas.microsoft.com/office/drawing/2014/main" id="{CC74AFF0-4E9F-4934-E4A1-557F91E8CD30}"/>
                    </a:ext>
                  </a:extLst>
                </p:cNvPr>
                <p:cNvSpPr/>
                <p:nvPr/>
              </p:nvSpPr>
              <p:spPr>
                <a:xfrm>
                  <a:off x="5251703"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3" name="Freeform: Shape 18762">
                  <a:extLst>
                    <a:ext uri="{FF2B5EF4-FFF2-40B4-BE49-F238E27FC236}">
                      <a16:creationId xmlns:a16="http://schemas.microsoft.com/office/drawing/2014/main" id="{CB7F990F-56BE-388D-F28A-EB9CF1AC5698}"/>
                    </a:ext>
                  </a:extLst>
                </p:cNvPr>
                <p:cNvSpPr/>
                <p:nvPr/>
              </p:nvSpPr>
              <p:spPr>
                <a:xfrm>
                  <a:off x="5213889" y="33328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69" name="Graphic 2151">
                <a:extLst>
                  <a:ext uri="{FF2B5EF4-FFF2-40B4-BE49-F238E27FC236}">
                    <a16:creationId xmlns:a16="http://schemas.microsoft.com/office/drawing/2014/main" id="{A8CB35E3-6FF3-028E-1AF9-D538F72381E3}"/>
                  </a:ext>
                </a:extLst>
              </p:cNvPr>
              <p:cNvGrpSpPr/>
              <p:nvPr/>
            </p:nvGrpSpPr>
            <p:grpSpPr>
              <a:xfrm>
                <a:off x="5184361" y="3295078"/>
                <a:ext cx="75723" cy="75723"/>
                <a:chOff x="5184361" y="3295078"/>
                <a:chExt cx="75723" cy="75723"/>
              </a:xfrm>
            </p:grpSpPr>
            <p:sp>
              <p:nvSpPr>
                <p:cNvPr id="18760" name="Freeform: Shape 18759">
                  <a:extLst>
                    <a:ext uri="{FF2B5EF4-FFF2-40B4-BE49-F238E27FC236}">
                      <a16:creationId xmlns:a16="http://schemas.microsoft.com/office/drawing/2014/main" id="{246A529C-9E54-74D0-F912-63D2234266D0}"/>
                    </a:ext>
                  </a:extLst>
                </p:cNvPr>
                <p:cNvSpPr/>
                <p:nvPr/>
              </p:nvSpPr>
              <p:spPr>
                <a:xfrm>
                  <a:off x="5222176" y="32950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61" name="Freeform: Shape 18760">
                  <a:extLst>
                    <a:ext uri="{FF2B5EF4-FFF2-40B4-BE49-F238E27FC236}">
                      <a16:creationId xmlns:a16="http://schemas.microsoft.com/office/drawing/2014/main" id="{883BC092-DCC8-3155-42FA-061ADA595153}"/>
                    </a:ext>
                  </a:extLst>
                </p:cNvPr>
                <p:cNvSpPr/>
                <p:nvPr/>
              </p:nvSpPr>
              <p:spPr>
                <a:xfrm>
                  <a:off x="5184361" y="3332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0" name="Graphic 2151">
                <a:extLst>
                  <a:ext uri="{FF2B5EF4-FFF2-40B4-BE49-F238E27FC236}">
                    <a16:creationId xmlns:a16="http://schemas.microsoft.com/office/drawing/2014/main" id="{61C52308-F143-7FB1-0A3E-7AF6BFEE4B62}"/>
                  </a:ext>
                </a:extLst>
              </p:cNvPr>
              <p:cNvGrpSpPr/>
              <p:nvPr/>
            </p:nvGrpSpPr>
            <p:grpSpPr>
              <a:xfrm>
                <a:off x="5136736" y="3247072"/>
                <a:ext cx="75723" cy="75628"/>
                <a:chOff x="5136736" y="3247072"/>
                <a:chExt cx="75723" cy="75628"/>
              </a:xfrm>
            </p:grpSpPr>
            <p:sp>
              <p:nvSpPr>
                <p:cNvPr id="18758" name="Freeform: Shape 18757">
                  <a:extLst>
                    <a:ext uri="{FF2B5EF4-FFF2-40B4-BE49-F238E27FC236}">
                      <a16:creationId xmlns:a16="http://schemas.microsoft.com/office/drawing/2014/main" id="{18D22B48-067A-2AEE-5561-69EF7701399E}"/>
                    </a:ext>
                  </a:extLst>
                </p:cNvPr>
                <p:cNvSpPr/>
                <p:nvPr/>
              </p:nvSpPr>
              <p:spPr>
                <a:xfrm>
                  <a:off x="517455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9" name="Freeform: Shape 18758">
                  <a:extLst>
                    <a:ext uri="{FF2B5EF4-FFF2-40B4-BE49-F238E27FC236}">
                      <a16:creationId xmlns:a16="http://schemas.microsoft.com/office/drawing/2014/main" id="{CF03337C-78F4-3099-A43A-2B9EC287AC08}"/>
                    </a:ext>
                  </a:extLst>
                </p:cNvPr>
                <p:cNvSpPr/>
                <p:nvPr/>
              </p:nvSpPr>
              <p:spPr>
                <a:xfrm>
                  <a:off x="5136736"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1" name="Graphic 2151">
                <a:extLst>
                  <a:ext uri="{FF2B5EF4-FFF2-40B4-BE49-F238E27FC236}">
                    <a16:creationId xmlns:a16="http://schemas.microsoft.com/office/drawing/2014/main" id="{E098FDB0-8113-D437-49A8-03605BC9E5DE}"/>
                  </a:ext>
                </a:extLst>
              </p:cNvPr>
              <p:cNvGrpSpPr/>
              <p:nvPr/>
            </p:nvGrpSpPr>
            <p:grpSpPr>
              <a:xfrm>
                <a:off x="5062537" y="3222688"/>
                <a:ext cx="75723" cy="75723"/>
                <a:chOff x="5062537" y="3222688"/>
                <a:chExt cx="75723" cy="75723"/>
              </a:xfrm>
            </p:grpSpPr>
            <p:sp>
              <p:nvSpPr>
                <p:cNvPr id="18756" name="Freeform: Shape 18755">
                  <a:extLst>
                    <a:ext uri="{FF2B5EF4-FFF2-40B4-BE49-F238E27FC236}">
                      <a16:creationId xmlns:a16="http://schemas.microsoft.com/office/drawing/2014/main" id="{BB1411F5-D1D0-DB23-8DB8-635B7891B36A}"/>
                    </a:ext>
                  </a:extLst>
                </p:cNvPr>
                <p:cNvSpPr/>
                <p:nvPr/>
              </p:nvSpPr>
              <p:spPr>
                <a:xfrm>
                  <a:off x="5100446" y="32226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7" name="Freeform: Shape 18756">
                  <a:extLst>
                    <a:ext uri="{FF2B5EF4-FFF2-40B4-BE49-F238E27FC236}">
                      <a16:creationId xmlns:a16="http://schemas.microsoft.com/office/drawing/2014/main" id="{66C282CD-ED59-97F1-A722-F76B688431C8}"/>
                    </a:ext>
                  </a:extLst>
                </p:cNvPr>
                <p:cNvSpPr/>
                <p:nvPr/>
              </p:nvSpPr>
              <p:spPr>
                <a:xfrm>
                  <a:off x="5062537" y="32605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2" name="Graphic 2151">
                <a:extLst>
                  <a:ext uri="{FF2B5EF4-FFF2-40B4-BE49-F238E27FC236}">
                    <a16:creationId xmlns:a16="http://schemas.microsoft.com/office/drawing/2014/main" id="{0E6C052D-392E-0BAA-789A-01DC08D6CA7E}"/>
                  </a:ext>
                </a:extLst>
              </p:cNvPr>
              <p:cNvGrpSpPr/>
              <p:nvPr/>
            </p:nvGrpSpPr>
            <p:grpSpPr>
              <a:xfrm>
                <a:off x="4760975" y="3149346"/>
                <a:ext cx="75723" cy="75723"/>
                <a:chOff x="4760975" y="3149346"/>
                <a:chExt cx="75723" cy="75723"/>
              </a:xfrm>
            </p:grpSpPr>
            <p:sp>
              <p:nvSpPr>
                <p:cNvPr id="18754" name="Freeform: Shape 18753">
                  <a:extLst>
                    <a:ext uri="{FF2B5EF4-FFF2-40B4-BE49-F238E27FC236}">
                      <a16:creationId xmlns:a16="http://schemas.microsoft.com/office/drawing/2014/main" id="{1250AEC9-1C15-DC96-6E59-623C1EECDC2B}"/>
                    </a:ext>
                  </a:extLst>
                </p:cNvPr>
                <p:cNvSpPr/>
                <p:nvPr/>
              </p:nvSpPr>
              <p:spPr>
                <a:xfrm>
                  <a:off x="4798885" y="314934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5" name="Freeform: Shape 18754">
                  <a:extLst>
                    <a:ext uri="{FF2B5EF4-FFF2-40B4-BE49-F238E27FC236}">
                      <a16:creationId xmlns:a16="http://schemas.microsoft.com/office/drawing/2014/main" id="{13E6CF3D-C872-BA06-C246-43C4A578AABB}"/>
                    </a:ext>
                  </a:extLst>
                </p:cNvPr>
                <p:cNvSpPr/>
                <p:nvPr/>
              </p:nvSpPr>
              <p:spPr>
                <a:xfrm>
                  <a:off x="4760975" y="31871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3" name="Graphic 2151">
                <a:extLst>
                  <a:ext uri="{FF2B5EF4-FFF2-40B4-BE49-F238E27FC236}">
                    <a16:creationId xmlns:a16="http://schemas.microsoft.com/office/drawing/2014/main" id="{2F33D03C-7166-F9D8-FC8E-1D5F5AB73CC1}"/>
                  </a:ext>
                </a:extLst>
              </p:cNvPr>
              <p:cNvGrpSpPr/>
              <p:nvPr/>
            </p:nvGrpSpPr>
            <p:grpSpPr>
              <a:xfrm>
                <a:off x="4757927" y="3127438"/>
                <a:ext cx="75723" cy="75628"/>
                <a:chOff x="4757927" y="3127438"/>
                <a:chExt cx="75723" cy="75628"/>
              </a:xfrm>
            </p:grpSpPr>
            <p:sp>
              <p:nvSpPr>
                <p:cNvPr id="18752" name="Freeform: Shape 18751">
                  <a:extLst>
                    <a:ext uri="{FF2B5EF4-FFF2-40B4-BE49-F238E27FC236}">
                      <a16:creationId xmlns:a16="http://schemas.microsoft.com/office/drawing/2014/main" id="{4CD90754-EDD6-D9D7-7D8C-52914CEABF69}"/>
                    </a:ext>
                  </a:extLst>
                </p:cNvPr>
                <p:cNvSpPr/>
                <p:nvPr/>
              </p:nvSpPr>
              <p:spPr>
                <a:xfrm>
                  <a:off x="4795837"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3" name="Freeform: Shape 18752">
                  <a:extLst>
                    <a:ext uri="{FF2B5EF4-FFF2-40B4-BE49-F238E27FC236}">
                      <a16:creationId xmlns:a16="http://schemas.microsoft.com/office/drawing/2014/main" id="{E708C288-D7D6-5B58-8F87-F81D472911ED}"/>
                    </a:ext>
                  </a:extLst>
                </p:cNvPr>
                <p:cNvSpPr/>
                <p:nvPr/>
              </p:nvSpPr>
              <p:spPr>
                <a:xfrm>
                  <a:off x="4757927"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4" name="Graphic 2151">
                <a:extLst>
                  <a:ext uri="{FF2B5EF4-FFF2-40B4-BE49-F238E27FC236}">
                    <a16:creationId xmlns:a16="http://schemas.microsoft.com/office/drawing/2014/main" id="{05AF2319-FE81-7C50-DD20-C4A5DF7EA4EA}"/>
                  </a:ext>
                </a:extLst>
              </p:cNvPr>
              <p:cNvGrpSpPr/>
              <p:nvPr/>
            </p:nvGrpSpPr>
            <p:grpSpPr>
              <a:xfrm>
                <a:off x="4746116" y="3127438"/>
                <a:ext cx="75723" cy="75628"/>
                <a:chOff x="4746116" y="3127438"/>
                <a:chExt cx="75723" cy="75628"/>
              </a:xfrm>
            </p:grpSpPr>
            <p:sp>
              <p:nvSpPr>
                <p:cNvPr id="18750" name="Freeform: Shape 18749">
                  <a:extLst>
                    <a:ext uri="{FF2B5EF4-FFF2-40B4-BE49-F238E27FC236}">
                      <a16:creationId xmlns:a16="http://schemas.microsoft.com/office/drawing/2014/main" id="{B4F55DB2-3584-3792-F3D1-E907FC742185}"/>
                    </a:ext>
                  </a:extLst>
                </p:cNvPr>
                <p:cNvSpPr/>
                <p:nvPr/>
              </p:nvSpPr>
              <p:spPr>
                <a:xfrm>
                  <a:off x="4783930" y="31274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51" name="Freeform: Shape 18750">
                  <a:extLst>
                    <a:ext uri="{FF2B5EF4-FFF2-40B4-BE49-F238E27FC236}">
                      <a16:creationId xmlns:a16="http://schemas.microsoft.com/office/drawing/2014/main" id="{4B80E633-25CA-25AB-EB08-F0C744D6B735}"/>
                    </a:ext>
                  </a:extLst>
                </p:cNvPr>
                <p:cNvSpPr/>
                <p:nvPr/>
              </p:nvSpPr>
              <p:spPr>
                <a:xfrm>
                  <a:off x="4746116" y="31652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5" name="Graphic 2151">
                <a:extLst>
                  <a:ext uri="{FF2B5EF4-FFF2-40B4-BE49-F238E27FC236}">
                    <a16:creationId xmlns:a16="http://schemas.microsoft.com/office/drawing/2014/main" id="{0D25DA1E-A611-A742-C653-6E8EF1C6E29C}"/>
                  </a:ext>
                </a:extLst>
              </p:cNvPr>
              <p:cNvGrpSpPr/>
              <p:nvPr/>
            </p:nvGrpSpPr>
            <p:grpSpPr>
              <a:xfrm>
                <a:off x="4693538" y="3060192"/>
                <a:ext cx="75723" cy="75723"/>
                <a:chOff x="4693538" y="3060192"/>
                <a:chExt cx="75723" cy="75723"/>
              </a:xfrm>
            </p:grpSpPr>
            <p:sp>
              <p:nvSpPr>
                <p:cNvPr id="18748" name="Freeform: Shape 18747">
                  <a:extLst>
                    <a:ext uri="{FF2B5EF4-FFF2-40B4-BE49-F238E27FC236}">
                      <a16:creationId xmlns:a16="http://schemas.microsoft.com/office/drawing/2014/main" id="{E13ED920-48BA-8906-5995-7874963BF9E8}"/>
                    </a:ext>
                  </a:extLst>
                </p:cNvPr>
                <p:cNvSpPr/>
                <p:nvPr/>
              </p:nvSpPr>
              <p:spPr>
                <a:xfrm>
                  <a:off x="4731352" y="30601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9" name="Freeform: Shape 18748">
                  <a:extLst>
                    <a:ext uri="{FF2B5EF4-FFF2-40B4-BE49-F238E27FC236}">
                      <a16:creationId xmlns:a16="http://schemas.microsoft.com/office/drawing/2014/main" id="{43C23379-DC20-351E-3CA1-DC79D996E528}"/>
                    </a:ext>
                  </a:extLst>
                </p:cNvPr>
                <p:cNvSpPr/>
                <p:nvPr/>
              </p:nvSpPr>
              <p:spPr>
                <a:xfrm>
                  <a:off x="4693538" y="3098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6" name="Graphic 2151">
                <a:extLst>
                  <a:ext uri="{FF2B5EF4-FFF2-40B4-BE49-F238E27FC236}">
                    <a16:creationId xmlns:a16="http://schemas.microsoft.com/office/drawing/2014/main" id="{98AED043-5357-3F8C-5E64-A76B09C2F4DF}"/>
                  </a:ext>
                </a:extLst>
              </p:cNvPr>
              <p:cNvGrpSpPr/>
              <p:nvPr/>
            </p:nvGrpSpPr>
            <p:grpSpPr>
              <a:xfrm>
                <a:off x="4670392" y="3019806"/>
                <a:ext cx="75723" cy="75628"/>
                <a:chOff x="4670392" y="3019806"/>
                <a:chExt cx="75723" cy="75628"/>
              </a:xfrm>
            </p:grpSpPr>
            <p:sp>
              <p:nvSpPr>
                <p:cNvPr id="18746" name="Freeform: Shape 18745">
                  <a:extLst>
                    <a:ext uri="{FF2B5EF4-FFF2-40B4-BE49-F238E27FC236}">
                      <a16:creationId xmlns:a16="http://schemas.microsoft.com/office/drawing/2014/main" id="{128B2986-FE61-8FF2-7F58-B861FDE7DAA9}"/>
                    </a:ext>
                  </a:extLst>
                </p:cNvPr>
                <p:cNvSpPr/>
                <p:nvPr/>
              </p:nvSpPr>
              <p:spPr>
                <a:xfrm>
                  <a:off x="4708302"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7" name="Freeform: Shape 18746">
                  <a:extLst>
                    <a:ext uri="{FF2B5EF4-FFF2-40B4-BE49-F238E27FC236}">
                      <a16:creationId xmlns:a16="http://schemas.microsoft.com/office/drawing/2014/main" id="{1BF219CF-EDCA-02D1-DD10-1D1814D1DDB7}"/>
                    </a:ext>
                  </a:extLst>
                </p:cNvPr>
                <p:cNvSpPr/>
                <p:nvPr/>
              </p:nvSpPr>
              <p:spPr>
                <a:xfrm>
                  <a:off x="4670392" y="30576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7" name="Graphic 2151">
                <a:extLst>
                  <a:ext uri="{FF2B5EF4-FFF2-40B4-BE49-F238E27FC236}">
                    <a16:creationId xmlns:a16="http://schemas.microsoft.com/office/drawing/2014/main" id="{4F71B74B-4991-892B-89CD-D699E78FB639}"/>
                  </a:ext>
                </a:extLst>
              </p:cNvPr>
              <p:cNvGrpSpPr/>
              <p:nvPr/>
            </p:nvGrpSpPr>
            <p:grpSpPr>
              <a:xfrm>
                <a:off x="4433029" y="3019806"/>
                <a:ext cx="75628" cy="75628"/>
                <a:chOff x="4433029" y="3019806"/>
                <a:chExt cx="75628" cy="75628"/>
              </a:xfrm>
            </p:grpSpPr>
            <p:sp>
              <p:nvSpPr>
                <p:cNvPr id="18744" name="Freeform: Shape 18743">
                  <a:extLst>
                    <a:ext uri="{FF2B5EF4-FFF2-40B4-BE49-F238E27FC236}">
                      <a16:creationId xmlns:a16="http://schemas.microsoft.com/office/drawing/2014/main" id="{82022A0C-18F3-7F16-D404-82B62F7F53CB}"/>
                    </a:ext>
                  </a:extLst>
                </p:cNvPr>
                <p:cNvSpPr/>
                <p:nvPr/>
              </p:nvSpPr>
              <p:spPr>
                <a:xfrm>
                  <a:off x="4470844" y="301980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5" name="Freeform: Shape 18744">
                  <a:extLst>
                    <a:ext uri="{FF2B5EF4-FFF2-40B4-BE49-F238E27FC236}">
                      <a16:creationId xmlns:a16="http://schemas.microsoft.com/office/drawing/2014/main" id="{3CD14C1B-47C1-1807-AAB3-395F3305EE33}"/>
                    </a:ext>
                  </a:extLst>
                </p:cNvPr>
                <p:cNvSpPr/>
                <p:nvPr/>
              </p:nvSpPr>
              <p:spPr>
                <a:xfrm>
                  <a:off x="4433029" y="305762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8" name="Graphic 2151">
                <a:extLst>
                  <a:ext uri="{FF2B5EF4-FFF2-40B4-BE49-F238E27FC236}">
                    <a16:creationId xmlns:a16="http://schemas.microsoft.com/office/drawing/2014/main" id="{0113E435-26AD-A675-932C-90168C46B0D8}"/>
                  </a:ext>
                </a:extLst>
              </p:cNvPr>
              <p:cNvGrpSpPr/>
              <p:nvPr/>
            </p:nvGrpSpPr>
            <p:grpSpPr>
              <a:xfrm>
                <a:off x="4353019" y="2954083"/>
                <a:ext cx="75723" cy="75723"/>
                <a:chOff x="4353019" y="2954083"/>
                <a:chExt cx="75723" cy="75723"/>
              </a:xfrm>
            </p:grpSpPr>
            <p:sp>
              <p:nvSpPr>
                <p:cNvPr id="18742" name="Freeform: Shape 18741">
                  <a:extLst>
                    <a:ext uri="{FF2B5EF4-FFF2-40B4-BE49-F238E27FC236}">
                      <a16:creationId xmlns:a16="http://schemas.microsoft.com/office/drawing/2014/main" id="{655CFDE7-CC68-CA9B-F894-215F7FE5C508}"/>
                    </a:ext>
                  </a:extLst>
                </p:cNvPr>
                <p:cNvSpPr/>
                <p:nvPr/>
              </p:nvSpPr>
              <p:spPr>
                <a:xfrm>
                  <a:off x="4390929" y="2954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3" name="Freeform: Shape 18742">
                  <a:extLst>
                    <a:ext uri="{FF2B5EF4-FFF2-40B4-BE49-F238E27FC236}">
                      <a16:creationId xmlns:a16="http://schemas.microsoft.com/office/drawing/2014/main" id="{5350EA98-EE53-350E-5E2A-55AFF03B5481}"/>
                    </a:ext>
                  </a:extLst>
                </p:cNvPr>
                <p:cNvSpPr/>
                <p:nvPr/>
              </p:nvSpPr>
              <p:spPr>
                <a:xfrm>
                  <a:off x="4353019" y="29919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79" name="Graphic 2151">
                <a:extLst>
                  <a:ext uri="{FF2B5EF4-FFF2-40B4-BE49-F238E27FC236}">
                    <a16:creationId xmlns:a16="http://schemas.microsoft.com/office/drawing/2014/main" id="{AEFA61DE-4E5E-1EBE-18FD-884333E381CB}"/>
                  </a:ext>
                </a:extLst>
              </p:cNvPr>
              <p:cNvGrpSpPr/>
              <p:nvPr/>
            </p:nvGrpSpPr>
            <p:grpSpPr>
              <a:xfrm>
                <a:off x="4349686" y="2911983"/>
                <a:ext cx="75723" cy="75628"/>
                <a:chOff x="4349686" y="2911983"/>
                <a:chExt cx="75723" cy="75628"/>
              </a:xfrm>
            </p:grpSpPr>
            <p:sp>
              <p:nvSpPr>
                <p:cNvPr id="18740" name="Freeform: Shape 18739">
                  <a:extLst>
                    <a:ext uri="{FF2B5EF4-FFF2-40B4-BE49-F238E27FC236}">
                      <a16:creationId xmlns:a16="http://schemas.microsoft.com/office/drawing/2014/main" id="{44518620-95BE-D6F2-5096-5399BA62F623}"/>
                    </a:ext>
                  </a:extLst>
                </p:cNvPr>
                <p:cNvSpPr/>
                <p:nvPr/>
              </p:nvSpPr>
              <p:spPr>
                <a:xfrm>
                  <a:off x="4387595" y="29119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41" name="Freeform: Shape 18740">
                  <a:extLst>
                    <a:ext uri="{FF2B5EF4-FFF2-40B4-BE49-F238E27FC236}">
                      <a16:creationId xmlns:a16="http://schemas.microsoft.com/office/drawing/2014/main" id="{C50F41B2-839E-7D00-3F17-4C9FB7EC77CE}"/>
                    </a:ext>
                  </a:extLst>
                </p:cNvPr>
                <p:cNvSpPr/>
                <p:nvPr/>
              </p:nvSpPr>
              <p:spPr>
                <a:xfrm>
                  <a:off x="4349686" y="29497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0" name="Graphic 2151">
                <a:extLst>
                  <a:ext uri="{FF2B5EF4-FFF2-40B4-BE49-F238E27FC236}">
                    <a16:creationId xmlns:a16="http://schemas.microsoft.com/office/drawing/2014/main" id="{D1DFFEF3-E088-5BC8-44D7-7EA2329204B9}"/>
                  </a:ext>
                </a:extLst>
              </p:cNvPr>
              <p:cNvGrpSpPr/>
              <p:nvPr/>
            </p:nvGrpSpPr>
            <p:grpSpPr>
              <a:xfrm>
                <a:off x="4341208" y="2892742"/>
                <a:ext cx="75723" cy="75723"/>
                <a:chOff x="4341208" y="2892742"/>
                <a:chExt cx="75723" cy="75723"/>
              </a:xfrm>
            </p:grpSpPr>
            <p:sp>
              <p:nvSpPr>
                <p:cNvPr id="18738" name="Freeform: Shape 18737">
                  <a:extLst>
                    <a:ext uri="{FF2B5EF4-FFF2-40B4-BE49-F238E27FC236}">
                      <a16:creationId xmlns:a16="http://schemas.microsoft.com/office/drawing/2014/main" id="{9D05CAE0-E77D-0F89-AE91-D426AF2FC0A9}"/>
                    </a:ext>
                  </a:extLst>
                </p:cNvPr>
                <p:cNvSpPr/>
                <p:nvPr/>
              </p:nvSpPr>
              <p:spPr>
                <a:xfrm>
                  <a:off x="4379023" y="28927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9" name="Freeform: Shape 18738">
                  <a:extLst>
                    <a:ext uri="{FF2B5EF4-FFF2-40B4-BE49-F238E27FC236}">
                      <a16:creationId xmlns:a16="http://schemas.microsoft.com/office/drawing/2014/main" id="{27E27FF5-BE92-FBB7-90F9-34DAD25DBA32}"/>
                    </a:ext>
                  </a:extLst>
                </p:cNvPr>
                <p:cNvSpPr/>
                <p:nvPr/>
              </p:nvSpPr>
              <p:spPr>
                <a:xfrm>
                  <a:off x="4341208" y="29306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1" name="Graphic 2151">
                <a:extLst>
                  <a:ext uri="{FF2B5EF4-FFF2-40B4-BE49-F238E27FC236}">
                    <a16:creationId xmlns:a16="http://schemas.microsoft.com/office/drawing/2014/main" id="{0BFA58FF-D8D6-1640-B185-1A48B5449805}"/>
                  </a:ext>
                </a:extLst>
              </p:cNvPr>
              <p:cNvGrpSpPr/>
              <p:nvPr/>
            </p:nvGrpSpPr>
            <p:grpSpPr>
              <a:xfrm>
                <a:off x="4326635" y="2882169"/>
                <a:ext cx="75628" cy="75628"/>
                <a:chOff x="4326635" y="2882169"/>
                <a:chExt cx="75628" cy="75628"/>
              </a:xfrm>
            </p:grpSpPr>
            <p:sp>
              <p:nvSpPr>
                <p:cNvPr id="18736" name="Freeform: Shape 18735">
                  <a:extLst>
                    <a:ext uri="{FF2B5EF4-FFF2-40B4-BE49-F238E27FC236}">
                      <a16:creationId xmlns:a16="http://schemas.microsoft.com/office/drawing/2014/main" id="{7353F9BA-E668-63F3-E9D5-F2BDA026103B}"/>
                    </a:ext>
                  </a:extLst>
                </p:cNvPr>
                <p:cNvSpPr/>
                <p:nvPr/>
              </p:nvSpPr>
              <p:spPr>
                <a:xfrm>
                  <a:off x="4364449" y="288216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7" name="Freeform: Shape 18736">
                  <a:extLst>
                    <a:ext uri="{FF2B5EF4-FFF2-40B4-BE49-F238E27FC236}">
                      <a16:creationId xmlns:a16="http://schemas.microsoft.com/office/drawing/2014/main" id="{9307A696-9537-2276-5E86-3627316B3523}"/>
                    </a:ext>
                  </a:extLst>
                </p:cNvPr>
                <p:cNvSpPr/>
                <p:nvPr/>
              </p:nvSpPr>
              <p:spPr>
                <a:xfrm>
                  <a:off x="4326635" y="29199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2" name="Graphic 2151">
                <a:extLst>
                  <a:ext uri="{FF2B5EF4-FFF2-40B4-BE49-F238E27FC236}">
                    <a16:creationId xmlns:a16="http://schemas.microsoft.com/office/drawing/2014/main" id="{CAC044F8-6846-DE34-E5A5-4E0B8B3C3C98}"/>
                  </a:ext>
                </a:extLst>
              </p:cNvPr>
              <p:cNvGrpSpPr/>
              <p:nvPr/>
            </p:nvGrpSpPr>
            <p:grpSpPr>
              <a:xfrm>
                <a:off x="4317682" y="2869692"/>
                <a:ext cx="75628" cy="75723"/>
                <a:chOff x="4317682" y="2869692"/>
                <a:chExt cx="75628" cy="75723"/>
              </a:xfrm>
            </p:grpSpPr>
            <p:sp>
              <p:nvSpPr>
                <p:cNvPr id="18734" name="Freeform: Shape 18733">
                  <a:extLst>
                    <a:ext uri="{FF2B5EF4-FFF2-40B4-BE49-F238E27FC236}">
                      <a16:creationId xmlns:a16="http://schemas.microsoft.com/office/drawing/2014/main" id="{1B6F778D-B578-C2DB-F590-F15A3AC8758C}"/>
                    </a:ext>
                  </a:extLst>
                </p:cNvPr>
                <p:cNvSpPr/>
                <p:nvPr/>
              </p:nvSpPr>
              <p:spPr>
                <a:xfrm>
                  <a:off x="4355496" y="28696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5" name="Freeform: Shape 18734">
                  <a:extLst>
                    <a:ext uri="{FF2B5EF4-FFF2-40B4-BE49-F238E27FC236}">
                      <a16:creationId xmlns:a16="http://schemas.microsoft.com/office/drawing/2014/main" id="{952932C7-3BC1-6E3A-4C45-0DDBC1305550}"/>
                    </a:ext>
                  </a:extLst>
                </p:cNvPr>
                <p:cNvSpPr/>
                <p:nvPr/>
              </p:nvSpPr>
              <p:spPr>
                <a:xfrm>
                  <a:off x="4317682" y="29075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3" name="Graphic 2151">
                <a:extLst>
                  <a:ext uri="{FF2B5EF4-FFF2-40B4-BE49-F238E27FC236}">
                    <a16:creationId xmlns:a16="http://schemas.microsoft.com/office/drawing/2014/main" id="{0AEB9EFF-15E4-0710-90B5-E1E172182DF3}"/>
                  </a:ext>
                </a:extLst>
              </p:cNvPr>
              <p:cNvGrpSpPr/>
              <p:nvPr/>
            </p:nvGrpSpPr>
            <p:grpSpPr>
              <a:xfrm>
                <a:off x="4310633" y="2854928"/>
                <a:ext cx="75723" cy="75723"/>
                <a:chOff x="4310633" y="2854928"/>
                <a:chExt cx="75723" cy="75723"/>
              </a:xfrm>
            </p:grpSpPr>
            <p:sp>
              <p:nvSpPr>
                <p:cNvPr id="18732" name="Freeform: Shape 18731">
                  <a:extLst>
                    <a:ext uri="{FF2B5EF4-FFF2-40B4-BE49-F238E27FC236}">
                      <a16:creationId xmlns:a16="http://schemas.microsoft.com/office/drawing/2014/main" id="{F6FFC3B2-5AD7-BE22-6F72-3C220BD19895}"/>
                    </a:ext>
                  </a:extLst>
                </p:cNvPr>
                <p:cNvSpPr/>
                <p:nvPr/>
              </p:nvSpPr>
              <p:spPr>
                <a:xfrm>
                  <a:off x="4348543" y="285492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3" name="Freeform: Shape 18732">
                  <a:extLst>
                    <a:ext uri="{FF2B5EF4-FFF2-40B4-BE49-F238E27FC236}">
                      <a16:creationId xmlns:a16="http://schemas.microsoft.com/office/drawing/2014/main" id="{A4D7A3EB-E3F5-8D6F-673E-4AC0341EF293}"/>
                    </a:ext>
                  </a:extLst>
                </p:cNvPr>
                <p:cNvSpPr/>
                <p:nvPr/>
              </p:nvSpPr>
              <p:spPr>
                <a:xfrm>
                  <a:off x="4310633" y="28927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4" name="Graphic 2151">
                <a:extLst>
                  <a:ext uri="{FF2B5EF4-FFF2-40B4-BE49-F238E27FC236}">
                    <a16:creationId xmlns:a16="http://schemas.microsoft.com/office/drawing/2014/main" id="{A0F16F24-5E01-61AC-D826-4A4D4F2BD894}"/>
                  </a:ext>
                </a:extLst>
              </p:cNvPr>
              <p:cNvGrpSpPr/>
              <p:nvPr/>
            </p:nvGrpSpPr>
            <p:grpSpPr>
              <a:xfrm>
                <a:off x="4295488" y="2838069"/>
                <a:ext cx="75628" cy="75723"/>
                <a:chOff x="4295488" y="2838069"/>
                <a:chExt cx="75628" cy="75723"/>
              </a:xfrm>
            </p:grpSpPr>
            <p:sp>
              <p:nvSpPr>
                <p:cNvPr id="18730" name="Freeform: Shape 18729">
                  <a:extLst>
                    <a:ext uri="{FF2B5EF4-FFF2-40B4-BE49-F238E27FC236}">
                      <a16:creationId xmlns:a16="http://schemas.microsoft.com/office/drawing/2014/main" id="{919070D5-C7E6-C5BA-D37B-29E6D4EB59D1}"/>
                    </a:ext>
                  </a:extLst>
                </p:cNvPr>
                <p:cNvSpPr/>
                <p:nvPr/>
              </p:nvSpPr>
              <p:spPr>
                <a:xfrm>
                  <a:off x="4333303" y="28380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31" name="Freeform: Shape 18730">
                  <a:extLst>
                    <a:ext uri="{FF2B5EF4-FFF2-40B4-BE49-F238E27FC236}">
                      <a16:creationId xmlns:a16="http://schemas.microsoft.com/office/drawing/2014/main" id="{890FDED1-15E4-3D27-9199-7E6E7F1F7B35}"/>
                    </a:ext>
                  </a:extLst>
                </p:cNvPr>
                <p:cNvSpPr/>
                <p:nvPr/>
              </p:nvSpPr>
              <p:spPr>
                <a:xfrm>
                  <a:off x="4295488" y="287588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5" name="Graphic 2151">
                <a:extLst>
                  <a:ext uri="{FF2B5EF4-FFF2-40B4-BE49-F238E27FC236}">
                    <a16:creationId xmlns:a16="http://schemas.microsoft.com/office/drawing/2014/main" id="{43522A37-DCB2-839E-8FDC-673803CC7DC0}"/>
                  </a:ext>
                </a:extLst>
              </p:cNvPr>
              <p:cNvGrpSpPr/>
              <p:nvPr/>
            </p:nvGrpSpPr>
            <p:grpSpPr>
              <a:xfrm>
                <a:off x="4141374" y="2725959"/>
                <a:ext cx="75628" cy="75628"/>
                <a:chOff x="4141374" y="2725959"/>
                <a:chExt cx="75628" cy="75628"/>
              </a:xfrm>
            </p:grpSpPr>
            <p:sp>
              <p:nvSpPr>
                <p:cNvPr id="18728" name="Freeform: Shape 18727">
                  <a:extLst>
                    <a:ext uri="{FF2B5EF4-FFF2-40B4-BE49-F238E27FC236}">
                      <a16:creationId xmlns:a16="http://schemas.microsoft.com/office/drawing/2014/main" id="{FE7D83B9-8F83-3709-3CE7-901FBF74175A}"/>
                    </a:ext>
                  </a:extLst>
                </p:cNvPr>
                <p:cNvSpPr/>
                <p:nvPr/>
              </p:nvSpPr>
              <p:spPr>
                <a:xfrm>
                  <a:off x="4179188" y="272595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9" name="Freeform: Shape 18728">
                  <a:extLst>
                    <a:ext uri="{FF2B5EF4-FFF2-40B4-BE49-F238E27FC236}">
                      <a16:creationId xmlns:a16="http://schemas.microsoft.com/office/drawing/2014/main" id="{5CC24BF8-802C-9498-33B1-C20D82345EA2}"/>
                    </a:ext>
                  </a:extLst>
                </p:cNvPr>
                <p:cNvSpPr/>
                <p:nvPr/>
              </p:nvSpPr>
              <p:spPr>
                <a:xfrm>
                  <a:off x="4141374" y="276377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6" name="Graphic 2151">
                <a:extLst>
                  <a:ext uri="{FF2B5EF4-FFF2-40B4-BE49-F238E27FC236}">
                    <a16:creationId xmlns:a16="http://schemas.microsoft.com/office/drawing/2014/main" id="{5FE1BCB7-CDA2-7654-C38A-E05345858FD8}"/>
                  </a:ext>
                </a:extLst>
              </p:cNvPr>
              <p:cNvGrpSpPr/>
              <p:nvPr/>
            </p:nvGrpSpPr>
            <p:grpSpPr>
              <a:xfrm>
                <a:off x="3900677" y="2674810"/>
                <a:ext cx="75723" cy="75723"/>
                <a:chOff x="3900677" y="2674810"/>
                <a:chExt cx="75723" cy="75723"/>
              </a:xfrm>
            </p:grpSpPr>
            <p:sp>
              <p:nvSpPr>
                <p:cNvPr id="18726" name="Freeform: Shape 18725">
                  <a:extLst>
                    <a:ext uri="{FF2B5EF4-FFF2-40B4-BE49-F238E27FC236}">
                      <a16:creationId xmlns:a16="http://schemas.microsoft.com/office/drawing/2014/main" id="{06F295AF-7F92-BFC4-0C0F-37F99D032181}"/>
                    </a:ext>
                  </a:extLst>
                </p:cNvPr>
                <p:cNvSpPr/>
                <p:nvPr/>
              </p:nvSpPr>
              <p:spPr>
                <a:xfrm>
                  <a:off x="3938587"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7" name="Freeform: Shape 18726">
                  <a:extLst>
                    <a:ext uri="{FF2B5EF4-FFF2-40B4-BE49-F238E27FC236}">
                      <a16:creationId xmlns:a16="http://schemas.microsoft.com/office/drawing/2014/main" id="{80D20DF6-ED28-C418-3742-2A6729EA6F9B}"/>
                    </a:ext>
                  </a:extLst>
                </p:cNvPr>
                <p:cNvSpPr/>
                <p:nvPr/>
              </p:nvSpPr>
              <p:spPr>
                <a:xfrm>
                  <a:off x="3900677"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7" name="Graphic 2151">
                <a:extLst>
                  <a:ext uri="{FF2B5EF4-FFF2-40B4-BE49-F238E27FC236}">
                    <a16:creationId xmlns:a16="http://schemas.microsoft.com/office/drawing/2014/main" id="{C174528A-6F48-E9D8-4C26-2D19BFB9000F}"/>
                  </a:ext>
                </a:extLst>
              </p:cNvPr>
              <p:cNvGrpSpPr/>
              <p:nvPr/>
            </p:nvGrpSpPr>
            <p:grpSpPr>
              <a:xfrm>
                <a:off x="3876674" y="2674810"/>
                <a:ext cx="75723" cy="75723"/>
                <a:chOff x="3876674" y="2674810"/>
                <a:chExt cx="75723" cy="75723"/>
              </a:xfrm>
            </p:grpSpPr>
            <p:sp>
              <p:nvSpPr>
                <p:cNvPr id="18724" name="Freeform: Shape 18723">
                  <a:extLst>
                    <a:ext uri="{FF2B5EF4-FFF2-40B4-BE49-F238E27FC236}">
                      <a16:creationId xmlns:a16="http://schemas.microsoft.com/office/drawing/2014/main" id="{79646EBB-37EA-76D5-169B-68DD7ADED1AF}"/>
                    </a:ext>
                  </a:extLst>
                </p:cNvPr>
                <p:cNvSpPr/>
                <p:nvPr/>
              </p:nvSpPr>
              <p:spPr>
                <a:xfrm>
                  <a:off x="3914584" y="2674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5" name="Freeform: Shape 18724">
                  <a:extLst>
                    <a:ext uri="{FF2B5EF4-FFF2-40B4-BE49-F238E27FC236}">
                      <a16:creationId xmlns:a16="http://schemas.microsoft.com/office/drawing/2014/main" id="{17F94B79-3A8D-4602-DF26-A4645BD25714}"/>
                    </a:ext>
                  </a:extLst>
                </p:cNvPr>
                <p:cNvSpPr/>
                <p:nvPr/>
              </p:nvSpPr>
              <p:spPr>
                <a:xfrm>
                  <a:off x="3876674" y="2712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8" name="Graphic 2151">
                <a:extLst>
                  <a:ext uri="{FF2B5EF4-FFF2-40B4-BE49-F238E27FC236}">
                    <a16:creationId xmlns:a16="http://schemas.microsoft.com/office/drawing/2014/main" id="{3E6BD93F-3D42-0107-71DF-D0351EC2B851}"/>
                  </a:ext>
                </a:extLst>
              </p:cNvPr>
              <p:cNvGrpSpPr/>
              <p:nvPr/>
            </p:nvGrpSpPr>
            <p:grpSpPr>
              <a:xfrm>
                <a:off x="4353019" y="2937129"/>
                <a:ext cx="75723" cy="75628"/>
                <a:chOff x="4353019" y="2937129"/>
                <a:chExt cx="75723" cy="75628"/>
              </a:xfrm>
            </p:grpSpPr>
            <p:sp>
              <p:nvSpPr>
                <p:cNvPr id="18722" name="Freeform: Shape 18721">
                  <a:extLst>
                    <a:ext uri="{FF2B5EF4-FFF2-40B4-BE49-F238E27FC236}">
                      <a16:creationId xmlns:a16="http://schemas.microsoft.com/office/drawing/2014/main" id="{FE5B8562-8A8A-EEBB-A87D-DA1FC9885DD5}"/>
                    </a:ext>
                  </a:extLst>
                </p:cNvPr>
                <p:cNvSpPr/>
                <p:nvPr/>
              </p:nvSpPr>
              <p:spPr>
                <a:xfrm>
                  <a:off x="4390929" y="2937129"/>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3" name="Freeform: Shape 18722">
                  <a:extLst>
                    <a:ext uri="{FF2B5EF4-FFF2-40B4-BE49-F238E27FC236}">
                      <a16:creationId xmlns:a16="http://schemas.microsoft.com/office/drawing/2014/main" id="{1735D476-D89C-E51C-129C-861DFF115556}"/>
                    </a:ext>
                  </a:extLst>
                </p:cNvPr>
                <p:cNvSpPr/>
                <p:nvPr/>
              </p:nvSpPr>
              <p:spPr>
                <a:xfrm>
                  <a:off x="4353019" y="29749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89" name="Graphic 2151">
                <a:extLst>
                  <a:ext uri="{FF2B5EF4-FFF2-40B4-BE49-F238E27FC236}">
                    <a16:creationId xmlns:a16="http://schemas.microsoft.com/office/drawing/2014/main" id="{E094C103-1380-33D6-1342-45343F888EA2}"/>
                  </a:ext>
                </a:extLst>
              </p:cNvPr>
              <p:cNvGrpSpPr/>
              <p:nvPr/>
            </p:nvGrpSpPr>
            <p:grpSpPr>
              <a:xfrm>
                <a:off x="5159501" y="3247072"/>
                <a:ext cx="75723" cy="75628"/>
                <a:chOff x="5159501" y="3247072"/>
                <a:chExt cx="75723" cy="75628"/>
              </a:xfrm>
            </p:grpSpPr>
            <p:sp>
              <p:nvSpPr>
                <p:cNvPr id="18720" name="Freeform: Shape 18719">
                  <a:extLst>
                    <a:ext uri="{FF2B5EF4-FFF2-40B4-BE49-F238E27FC236}">
                      <a16:creationId xmlns:a16="http://schemas.microsoft.com/office/drawing/2014/main" id="{4F2EFF27-16C7-3281-C587-CE30758CC062}"/>
                    </a:ext>
                  </a:extLst>
                </p:cNvPr>
                <p:cNvSpPr/>
                <p:nvPr/>
              </p:nvSpPr>
              <p:spPr>
                <a:xfrm>
                  <a:off x="5197411" y="324707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21" name="Freeform: Shape 18720">
                  <a:extLst>
                    <a:ext uri="{FF2B5EF4-FFF2-40B4-BE49-F238E27FC236}">
                      <a16:creationId xmlns:a16="http://schemas.microsoft.com/office/drawing/2014/main" id="{599868BE-9C91-A697-E713-330228B88401}"/>
                    </a:ext>
                  </a:extLst>
                </p:cNvPr>
                <p:cNvSpPr/>
                <p:nvPr/>
              </p:nvSpPr>
              <p:spPr>
                <a:xfrm>
                  <a:off x="5159501" y="3284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0" name="Graphic 2151">
                <a:extLst>
                  <a:ext uri="{FF2B5EF4-FFF2-40B4-BE49-F238E27FC236}">
                    <a16:creationId xmlns:a16="http://schemas.microsoft.com/office/drawing/2014/main" id="{5DAA8DBC-E2B4-F076-F386-ABA6DE84A6B8}"/>
                  </a:ext>
                </a:extLst>
              </p:cNvPr>
              <p:cNvGrpSpPr/>
              <p:nvPr/>
            </p:nvGrpSpPr>
            <p:grpSpPr>
              <a:xfrm>
                <a:off x="5179123" y="3264027"/>
                <a:ext cx="75723" cy="75723"/>
                <a:chOff x="5179123" y="3264027"/>
                <a:chExt cx="75723" cy="75723"/>
              </a:xfrm>
            </p:grpSpPr>
            <p:sp>
              <p:nvSpPr>
                <p:cNvPr id="18718" name="Freeform: Shape 18717">
                  <a:extLst>
                    <a:ext uri="{FF2B5EF4-FFF2-40B4-BE49-F238E27FC236}">
                      <a16:creationId xmlns:a16="http://schemas.microsoft.com/office/drawing/2014/main" id="{8AB448DE-5809-BAEA-32EA-719C7CC1B121}"/>
                    </a:ext>
                  </a:extLst>
                </p:cNvPr>
                <p:cNvSpPr/>
                <p:nvPr/>
              </p:nvSpPr>
              <p:spPr>
                <a:xfrm>
                  <a:off x="5216937" y="32640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9" name="Freeform: Shape 18718">
                  <a:extLst>
                    <a:ext uri="{FF2B5EF4-FFF2-40B4-BE49-F238E27FC236}">
                      <a16:creationId xmlns:a16="http://schemas.microsoft.com/office/drawing/2014/main" id="{DE607A7E-C5AC-8E7F-215F-CDFD8C96EEB4}"/>
                    </a:ext>
                  </a:extLst>
                </p:cNvPr>
                <p:cNvSpPr/>
                <p:nvPr/>
              </p:nvSpPr>
              <p:spPr>
                <a:xfrm>
                  <a:off x="5179123" y="3301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1" name="Graphic 2151">
                <a:extLst>
                  <a:ext uri="{FF2B5EF4-FFF2-40B4-BE49-F238E27FC236}">
                    <a16:creationId xmlns:a16="http://schemas.microsoft.com/office/drawing/2014/main" id="{FB3E256A-97E3-6794-7717-9B037E1B1687}"/>
                  </a:ext>
                </a:extLst>
              </p:cNvPr>
              <p:cNvGrpSpPr/>
              <p:nvPr/>
            </p:nvGrpSpPr>
            <p:grpSpPr>
              <a:xfrm>
                <a:off x="5611843" y="3463194"/>
                <a:ext cx="75723" cy="75723"/>
                <a:chOff x="5611843" y="3463194"/>
                <a:chExt cx="75723" cy="75723"/>
              </a:xfrm>
            </p:grpSpPr>
            <p:sp>
              <p:nvSpPr>
                <p:cNvPr id="18716" name="Freeform: Shape 18715">
                  <a:extLst>
                    <a:ext uri="{FF2B5EF4-FFF2-40B4-BE49-F238E27FC236}">
                      <a16:creationId xmlns:a16="http://schemas.microsoft.com/office/drawing/2014/main" id="{3D15CB80-5153-46F5-E62F-ED7E616D1855}"/>
                    </a:ext>
                  </a:extLst>
                </p:cNvPr>
                <p:cNvSpPr/>
                <p:nvPr/>
              </p:nvSpPr>
              <p:spPr>
                <a:xfrm>
                  <a:off x="5649753"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7" name="Freeform: Shape 18716">
                  <a:extLst>
                    <a:ext uri="{FF2B5EF4-FFF2-40B4-BE49-F238E27FC236}">
                      <a16:creationId xmlns:a16="http://schemas.microsoft.com/office/drawing/2014/main" id="{7697E740-0114-9513-7489-D054C3F12EE7}"/>
                    </a:ext>
                  </a:extLst>
                </p:cNvPr>
                <p:cNvSpPr/>
                <p:nvPr/>
              </p:nvSpPr>
              <p:spPr>
                <a:xfrm>
                  <a:off x="561184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2" name="Graphic 2151">
                <a:extLst>
                  <a:ext uri="{FF2B5EF4-FFF2-40B4-BE49-F238E27FC236}">
                    <a16:creationId xmlns:a16="http://schemas.microsoft.com/office/drawing/2014/main" id="{C19CA38A-3AD9-E570-4C43-124FEA18C11D}"/>
                  </a:ext>
                </a:extLst>
              </p:cNvPr>
              <p:cNvGrpSpPr/>
              <p:nvPr/>
            </p:nvGrpSpPr>
            <p:grpSpPr>
              <a:xfrm>
                <a:off x="5622226" y="3463194"/>
                <a:ext cx="75723" cy="75723"/>
                <a:chOff x="5622226" y="3463194"/>
                <a:chExt cx="75723" cy="75723"/>
              </a:xfrm>
            </p:grpSpPr>
            <p:sp>
              <p:nvSpPr>
                <p:cNvPr id="18714" name="Freeform: Shape 18713">
                  <a:extLst>
                    <a:ext uri="{FF2B5EF4-FFF2-40B4-BE49-F238E27FC236}">
                      <a16:creationId xmlns:a16="http://schemas.microsoft.com/office/drawing/2014/main" id="{975EC425-5025-6BFC-2018-98A715DD896F}"/>
                    </a:ext>
                  </a:extLst>
                </p:cNvPr>
                <p:cNvSpPr/>
                <p:nvPr/>
              </p:nvSpPr>
              <p:spPr>
                <a:xfrm>
                  <a:off x="5660040"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5" name="Freeform: Shape 18714">
                  <a:extLst>
                    <a:ext uri="{FF2B5EF4-FFF2-40B4-BE49-F238E27FC236}">
                      <a16:creationId xmlns:a16="http://schemas.microsoft.com/office/drawing/2014/main" id="{9F829DE8-A6F8-E5A8-0068-C38E960D6F38}"/>
                    </a:ext>
                  </a:extLst>
                </p:cNvPr>
                <p:cNvSpPr/>
                <p:nvPr/>
              </p:nvSpPr>
              <p:spPr>
                <a:xfrm>
                  <a:off x="5622226"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3" name="Graphic 2151">
                <a:extLst>
                  <a:ext uri="{FF2B5EF4-FFF2-40B4-BE49-F238E27FC236}">
                    <a16:creationId xmlns:a16="http://schemas.microsoft.com/office/drawing/2014/main" id="{28D8B598-DBBC-3333-FAE3-993EF1E90B72}"/>
                  </a:ext>
                </a:extLst>
              </p:cNvPr>
              <p:cNvGrpSpPr/>
              <p:nvPr/>
            </p:nvGrpSpPr>
            <p:grpSpPr>
              <a:xfrm>
                <a:off x="5632513" y="3463194"/>
                <a:ext cx="75723" cy="75723"/>
                <a:chOff x="5632513" y="3463194"/>
                <a:chExt cx="75723" cy="75723"/>
              </a:xfrm>
            </p:grpSpPr>
            <p:sp>
              <p:nvSpPr>
                <p:cNvPr id="18712" name="Freeform: Shape 18711">
                  <a:extLst>
                    <a:ext uri="{FF2B5EF4-FFF2-40B4-BE49-F238E27FC236}">
                      <a16:creationId xmlns:a16="http://schemas.microsoft.com/office/drawing/2014/main" id="{B03A8452-74DF-DA68-9A6D-3D134528B137}"/>
                    </a:ext>
                  </a:extLst>
                </p:cNvPr>
                <p:cNvSpPr/>
                <p:nvPr/>
              </p:nvSpPr>
              <p:spPr>
                <a:xfrm>
                  <a:off x="5670422" y="34631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3" name="Freeform: Shape 18712">
                  <a:extLst>
                    <a:ext uri="{FF2B5EF4-FFF2-40B4-BE49-F238E27FC236}">
                      <a16:creationId xmlns:a16="http://schemas.microsoft.com/office/drawing/2014/main" id="{14A6FE1B-9E10-C4DA-B724-E5BFA9BC423C}"/>
                    </a:ext>
                  </a:extLst>
                </p:cNvPr>
                <p:cNvSpPr/>
                <p:nvPr/>
              </p:nvSpPr>
              <p:spPr>
                <a:xfrm>
                  <a:off x="5632513" y="350110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4" name="Graphic 2151">
                <a:extLst>
                  <a:ext uri="{FF2B5EF4-FFF2-40B4-BE49-F238E27FC236}">
                    <a16:creationId xmlns:a16="http://schemas.microsoft.com/office/drawing/2014/main" id="{3A87963F-FD29-04FF-9313-0D6ADD35CD34}"/>
                  </a:ext>
                </a:extLst>
              </p:cNvPr>
              <p:cNvGrpSpPr/>
              <p:nvPr/>
            </p:nvGrpSpPr>
            <p:grpSpPr>
              <a:xfrm>
                <a:off x="6254781" y="3692747"/>
                <a:ext cx="75723" cy="75628"/>
                <a:chOff x="6254781" y="3692747"/>
                <a:chExt cx="75723" cy="75628"/>
              </a:xfrm>
            </p:grpSpPr>
            <p:sp>
              <p:nvSpPr>
                <p:cNvPr id="18710" name="Freeform: Shape 18709">
                  <a:extLst>
                    <a:ext uri="{FF2B5EF4-FFF2-40B4-BE49-F238E27FC236}">
                      <a16:creationId xmlns:a16="http://schemas.microsoft.com/office/drawing/2014/main" id="{0E21A3D8-DE81-CAE6-E2B1-658563686F21}"/>
                    </a:ext>
                  </a:extLst>
                </p:cNvPr>
                <p:cNvSpPr/>
                <p:nvPr/>
              </p:nvSpPr>
              <p:spPr>
                <a:xfrm>
                  <a:off x="6292690"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11" name="Freeform: Shape 18710">
                  <a:extLst>
                    <a:ext uri="{FF2B5EF4-FFF2-40B4-BE49-F238E27FC236}">
                      <a16:creationId xmlns:a16="http://schemas.microsoft.com/office/drawing/2014/main" id="{01474551-4562-EC0E-0074-6F6E696F48DD}"/>
                    </a:ext>
                  </a:extLst>
                </p:cNvPr>
                <p:cNvSpPr/>
                <p:nvPr/>
              </p:nvSpPr>
              <p:spPr>
                <a:xfrm>
                  <a:off x="6254781"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5" name="Graphic 2151">
                <a:extLst>
                  <a:ext uri="{FF2B5EF4-FFF2-40B4-BE49-F238E27FC236}">
                    <a16:creationId xmlns:a16="http://schemas.microsoft.com/office/drawing/2014/main" id="{BAF212E5-BA60-52F1-75F0-4BBED8A3F320}"/>
                  </a:ext>
                </a:extLst>
              </p:cNvPr>
              <p:cNvGrpSpPr/>
              <p:nvPr/>
            </p:nvGrpSpPr>
            <p:grpSpPr>
              <a:xfrm>
                <a:off x="6272116" y="3692747"/>
                <a:ext cx="75723" cy="75628"/>
                <a:chOff x="6272116" y="3692747"/>
                <a:chExt cx="75723" cy="75628"/>
              </a:xfrm>
            </p:grpSpPr>
            <p:sp>
              <p:nvSpPr>
                <p:cNvPr id="18708" name="Freeform: Shape 18707">
                  <a:extLst>
                    <a:ext uri="{FF2B5EF4-FFF2-40B4-BE49-F238E27FC236}">
                      <a16:creationId xmlns:a16="http://schemas.microsoft.com/office/drawing/2014/main" id="{C896C442-21A6-751C-7583-7EE44F706281}"/>
                    </a:ext>
                  </a:extLst>
                </p:cNvPr>
                <p:cNvSpPr/>
                <p:nvPr/>
              </p:nvSpPr>
              <p:spPr>
                <a:xfrm>
                  <a:off x="6310026" y="369274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9" name="Freeform: Shape 18708">
                  <a:extLst>
                    <a:ext uri="{FF2B5EF4-FFF2-40B4-BE49-F238E27FC236}">
                      <a16:creationId xmlns:a16="http://schemas.microsoft.com/office/drawing/2014/main" id="{80AFC8C5-FF67-06A9-A4A9-6F83FEC7C73C}"/>
                    </a:ext>
                  </a:extLst>
                </p:cNvPr>
                <p:cNvSpPr/>
                <p:nvPr/>
              </p:nvSpPr>
              <p:spPr>
                <a:xfrm>
                  <a:off x="6272116" y="3730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6" name="Graphic 2151">
                <a:extLst>
                  <a:ext uri="{FF2B5EF4-FFF2-40B4-BE49-F238E27FC236}">
                    <a16:creationId xmlns:a16="http://schemas.microsoft.com/office/drawing/2014/main" id="{4D3BF774-7642-B731-77C3-EF6374BAB8F6}"/>
                  </a:ext>
                </a:extLst>
              </p:cNvPr>
              <p:cNvGrpSpPr/>
              <p:nvPr/>
            </p:nvGrpSpPr>
            <p:grpSpPr>
              <a:xfrm>
                <a:off x="6479761" y="3743515"/>
                <a:ext cx="75723" cy="75628"/>
                <a:chOff x="6479761" y="3743515"/>
                <a:chExt cx="75723" cy="75628"/>
              </a:xfrm>
            </p:grpSpPr>
            <p:sp>
              <p:nvSpPr>
                <p:cNvPr id="18706" name="Freeform: Shape 18705">
                  <a:extLst>
                    <a:ext uri="{FF2B5EF4-FFF2-40B4-BE49-F238E27FC236}">
                      <a16:creationId xmlns:a16="http://schemas.microsoft.com/office/drawing/2014/main" id="{71A2D908-A38D-9C33-353D-A8C4AB25F62C}"/>
                    </a:ext>
                  </a:extLst>
                </p:cNvPr>
                <p:cNvSpPr/>
                <p:nvPr/>
              </p:nvSpPr>
              <p:spPr>
                <a:xfrm>
                  <a:off x="6517671"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7" name="Freeform: Shape 18706">
                  <a:extLst>
                    <a:ext uri="{FF2B5EF4-FFF2-40B4-BE49-F238E27FC236}">
                      <a16:creationId xmlns:a16="http://schemas.microsoft.com/office/drawing/2014/main" id="{C6047C2E-3C3F-6BAB-24A2-34D407C03E9C}"/>
                    </a:ext>
                  </a:extLst>
                </p:cNvPr>
                <p:cNvSpPr/>
                <p:nvPr/>
              </p:nvSpPr>
              <p:spPr>
                <a:xfrm>
                  <a:off x="6479761"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7" name="Graphic 2151">
                <a:extLst>
                  <a:ext uri="{FF2B5EF4-FFF2-40B4-BE49-F238E27FC236}">
                    <a16:creationId xmlns:a16="http://schemas.microsoft.com/office/drawing/2014/main" id="{1CE0CD79-734D-39BC-FD05-018681C5B043}"/>
                  </a:ext>
                </a:extLst>
              </p:cNvPr>
              <p:cNvGrpSpPr/>
              <p:nvPr/>
            </p:nvGrpSpPr>
            <p:grpSpPr>
              <a:xfrm>
                <a:off x="6465188" y="3743515"/>
                <a:ext cx="75723" cy="75628"/>
                <a:chOff x="6465188" y="3743515"/>
                <a:chExt cx="75723" cy="75628"/>
              </a:xfrm>
            </p:grpSpPr>
            <p:sp>
              <p:nvSpPr>
                <p:cNvPr id="18704" name="Freeform: Shape 18703">
                  <a:extLst>
                    <a:ext uri="{FF2B5EF4-FFF2-40B4-BE49-F238E27FC236}">
                      <a16:creationId xmlns:a16="http://schemas.microsoft.com/office/drawing/2014/main" id="{66D96874-BAD4-E0FE-FCCF-216511DA3CC4}"/>
                    </a:ext>
                  </a:extLst>
                </p:cNvPr>
                <p:cNvSpPr/>
                <p:nvPr/>
              </p:nvSpPr>
              <p:spPr>
                <a:xfrm>
                  <a:off x="6503002" y="374351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5" name="Freeform: Shape 18704">
                  <a:extLst>
                    <a:ext uri="{FF2B5EF4-FFF2-40B4-BE49-F238E27FC236}">
                      <a16:creationId xmlns:a16="http://schemas.microsoft.com/office/drawing/2014/main" id="{DE854D86-7E58-4E8A-381F-CE716552A99E}"/>
                    </a:ext>
                  </a:extLst>
                </p:cNvPr>
                <p:cNvSpPr/>
                <p:nvPr/>
              </p:nvSpPr>
              <p:spPr>
                <a:xfrm>
                  <a:off x="6465188" y="37813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8" name="Graphic 2151">
                <a:extLst>
                  <a:ext uri="{FF2B5EF4-FFF2-40B4-BE49-F238E27FC236}">
                    <a16:creationId xmlns:a16="http://schemas.microsoft.com/office/drawing/2014/main" id="{256D82A1-AD29-0090-4F08-9B4E3B05E893}"/>
                  </a:ext>
                </a:extLst>
              </p:cNvPr>
              <p:cNvGrpSpPr/>
              <p:nvPr/>
            </p:nvGrpSpPr>
            <p:grpSpPr>
              <a:xfrm>
                <a:off x="7340059" y="3841337"/>
                <a:ext cx="75723" cy="75723"/>
                <a:chOff x="7340059" y="3841337"/>
                <a:chExt cx="75723" cy="75723"/>
              </a:xfrm>
            </p:grpSpPr>
            <p:sp>
              <p:nvSpPr>
                <p:cNvPr id="18702" name="Freeform: Shape 18701">
                  <a:extLst>
                    <a:ext uri="{FF2B5EF4-FFF2-40B4-BE49-F238E27FC236}">
                      <a16:creationId xmlns:a16="http://schemas.microsoft.com/office/drawing/2014/main" id="{ACB9C17F-4683-221D-DE46-0820933D7798}"/>
                    </a:ext>
                  </a:extLst>
                </p:cNvPr>
                <p:cNvSpPr/>
                <p:nvPr/>
              </p:nvSpPr>
              <p:spPr>
                <a:xfrm>
                  <a:off x="7377969"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3" name="Freeform: Shape 18702">
                  <a:extLst>
                    <a:ext uri="{FF2B5EF4-FFF2-40B4-BE49-F238E27FC236}">
                      <a16:creationId xmlns:a16="http://schemas.microsoft.com/office/drawing/2014/main" id="{CD810F89-FD4C-BA9D-D69C-BF7E355643A7}"/>
                    </a:ext>
                  </a:extLst>
                </p:cNvPr>
                <p:cNvSpPr/>
                <p:nvPr/>
              </p:nvSpPr>
              <p:spPr>
                <a:xfrm>
                  <a:off x="7340059" y="38792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699" name="Graphic 2151">
                <a:extLst>
                  <a:ext uri="{FF2B5EF4-FFF2-40B4-BE49-F238E27FC236}">
                    <a16:creationId xmlns:a16="http://schemas.microsoft.com/office/drawing/2014/main" id="{B2D88179-4306-4654-ABD8-8DFAA134209E}"/>
                  </a:ext>
                </a:extLst>
              </p:cNvPr>
              <p:cNvGrpSpPr/>
              <p:nvPr/>
            </p:nvGrpSpPr>
            <p:grpSpPr>
              <a:xfrm>
                <a:off x="7353490" y="3841337"/>
                <a:ext cx="75628" cy="75723"/>
                <a:chOff x="7353490" y="3841337"/>
                <a:chExt cx="75628" cy="75723"/>
              </a:xfrm>
            </p:grpSpPr>
            <p:sp>
              <p:nvSpPr>
                <p:cNvPr id="18700" name="Freeform: Shape 18699">
                  <a:extLst>
                    <a:ext uri="{FF2B5EF4-FFF2-40B4-BE49-F238E27FC236}">
                      <a16:creationId xmlns:a16="http://schemas.microsoft.com/office/drawing/2014/main" id="{0F97A4EA-0AA3-8770-B553-93E26F419845}"/>
                    </a:ext>
                  </a:extLst>
                </p:cNvPr>
                <p:cNvSpPr/>
                <p:nvPr/>
              </p:nvSpPr>
              <p:spPr>
                <a:xfrm>
                  <a:off x="7391304" y="384133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701" name="Freeform: Shape 18700">
                  <a:extLst>
                    <a:ext uri="{FF2B5EF4-FFF2-40B4-BE49-F238E27FC236}">
                      <a16:creationId xmlns:a16="http://schemas.microsoft.com/office/drawing/2014/main" id="{ADBB84C0-178D-C8B6-1BE9-F111BF80388D}"/>
                    </a:ext>
                  </a:extLst>
                </p:cNvPr>
                <p:cNvSpPr/>
                <p:nvPr/>
              </p:nvSpPr>
              <p:spPr>
                <a:xfrm>
                  <a:off x="7353490" y="387924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sp>
          <p:nvSpPr>
            <p:cNvPr id="18641" name="Freeform: Shape 18640">
              <a:extLst>
                <a:ext uri="{FF2B5EF4-FFF2-40B4-BE49-F238E27FC236}">
                  <a16:creationId xmlns:a16="http://schemas.microsoft.com/office/drawing/2014/main" id="{7ABE5E23-324E-0210-ACE0-2F65A255BF88}"/>
                </a:ext>
              </a:extLst>
            </p:cNvPr>
            <p:cNvSpPr/>
            <p:nvPr/>
          </p:nvSpPr>
          <p:spPr>
            <a:xfrm>
              <a:off x="3509962" y="2519361"/>
              <a:ext cx="5138832" cy="1790509"/>
            </a:xfrm>
            <a:custGeom>
              <a:avLst/>
              <a:gdLst>
                <a:gd name="connsiteX0" fmla="*/ 5138833 w 5138832"/>
                <a:gd name="connsiteY0" fmla="*/ 1790510 h 1790509"/>
                <a:gd name="connsiteX1" fmla="*/ 4276916 w 5138832"/>
                <a:gd name="connsiteY1" fmla="*/ 1790510 h 1790509"/>
                <a:gd name="connsiteX2" fmla="*/ 4276916 w 5138832"/>
                <a:gd name="connsiteY2" fmla="*/ 1541621 h 1790509"/>
                <a:gd name="connsiteX3" fmla="*/ 3963638 w 5138832"/>
                <a:gd name="connsiteY3" fmla="*/ 1541621 h 1790509"/>
                <a:gd name="connsiteX4" fmla="*/ 3963638 w 5138832"/>
                <a:gd name="connsiteY4" fmla="*/ 1359884 h 1790509"/>
                <a:gd name="connsiteX5" fmla="*/ 3649885 w 5138832"/>
                <a:gd name="connsiteY5" fmla="*/ 1359884 h 1790509"/>
                <a:gd name="connsiteX6" fmla="*/ 3649885 w 5138832"/>
                <a:gd name="connsiteY6" fmla="*/ 1263777 h 1790509"/>
                <a:gd name="connsiteX7" fmla="*/ 2994089 w 5138832"/>
                <a:gd name="connsiteY7" fmla="*/ 1263777 h 1790509"/>
                <a:gd name="connsiteX8" fmla="*/ 2994089 w 5138832"/>
                <a:gd name="connsiteY8" fmla="*/ 1211294 h 1790509"/>
                <a:gd name="connsiteX9" fmla="*/ 2590419 w 5138832"/>
                <a:gd name="connsiteY9" fmla="*/ 1211294 h 1790509"/>
                <a:gd name="connsiteX10" fmla="*/ 2590419 w 5138832"/>
                <a:gd name="connsiteY10" fmla="*/ 1168527 h 1790509"/>
                <a:gd name="connsiteX11" fmla="*/ 2585371 w 5138832"/>
                <a:gd name="connsiteY11" fmla="*/ 1168527 h 1790509"/>
                <a:gd name="connsiteX12" fmla="*/ 2585371 w 5138832"/>
                <a:gd name="connsiteY12" fmla="*/ 1125760 h 1790509"/>
                <a:gd name="connsiteX13" fmla="*/ 2571560 w 5138832"/>
                <a:gd name="connsiteY13" fmla="*/ 1125760 h 1790509"/>
                <a:gd name="connsiteX14" fmla="*/ 2571560 w 5138832"/>
                <a:gd name="connsiteY14" fmla="*/ 1091565 h 1790509"/>
                <a:gd name="connsiteX15" fmla="*/ 2567083 w 5138832"/>
                <a:gd name="connsiteY15" fmla="*/ 1091565 h 1790509"/>
                <a:gd name="connsiteX16" fmla="*/ 2567083 w 5138832"/>
                <a:gd name="connsiteY16" fmla="*/ 1010222 h 1790509"/>
                <a:gd name="connsiteX17" fmla="*/ 2234089 w 5138832"/>
                <a:gd name="connsiteY17" fmla="*/ 1010222 h 1790509"/>
                <a:gd name="connsiteX18" fmla="*/ 2234089 w 5138832"/>
                <a:gd name="connsiteY18" fmla="*/ 981456 h 1790509"/>
                <a:gd name="connsiteX19" fmla="*/ 2115979 w 5138832"/>
                <a:gd name="connsiteY19" fmla="*/ 981456 h 1790509"/>
                <a:gd name="connsiteX20" fmla="*/ 2115979 w 5138832"/>
                <a:gd name="connsiteY20" fmla="*/ 953738 h 1790509"/>
                <a:gd name="connsiteX21" fmla="*/ 2110740 w 5138832"/>
                <a:gd name="connsiteY21" fmla="*/ 953738 h 1790509"/>
                <a:gd name="connsiteX22" fmla="*/ 2110740 w 5138832"/>
                <a:gd name="connsiteY22" fmla="*/ 924306 h 1790509"/>
                <a:gd name="connsiteX23" fmla="*/ 2034064 w 5138832"/>
                <a:gd name="connsiteY23" fmla="*/ 924306 h 1790509"/>
                <a:gd name="connsiteX24" fmla="*/ 2034064 w 5138832"/>
                <a:gd name="connsiteY24" fmla="*/ 895350 h 1790509"/>
                <a:gd name="connsiteX25" fmla="*/ 1991773 w 5138832"/>
                <a:gd name="connsiteY25" fmla="*/ 895350 h 1790509"/>
                <a:gd name="connsiteX26" fmla="*/ 1991773 w 5138832"/>
                <a:gd name="connsiteY26" fmla="*/ 871633 h 1790509"/>
                <a:gd name="connsiteX27" fmla="*/ 1877663 w 5138832"/>
                <a:gd name="connsiteY27" fmla="*/ 871633 h 1790509"/>
                <a:gd name="connsiteX28" fmla="*/ 1877663 w 5138832"/>
                <a:gd name="connsiteY28" fmla="*/ 842677 h 1790509"/>
                <a:gd name="connsiteX29" fmla="*/ 1759268 w 5138832"/>
                <a:gd name="connsiteY29" fmla="*/ 842677 h 1790509"/>
                <a:gd name="connsiteX30" fmla="*/ 1759268 w 5138832"/>
                <a:gd name="connsiteY30" fmla="*/ 813721 h 1790509"/>
                <a:gd name="connsiteX31" fmla="*/ 1706975 w 5138832"/>
                <a:gd name="connsiteY31" fmla="*/ 813721 h 1790509"/>
                <a:gd name="connsiteX32" fmla="*/ 1706975 w 5138832"/>
                <a:gd name="connsiteY32" fmla="*/ 765810 h 1790509"/>
                <a:gd name="connsiteX33" fmla="*/ 1616774 w 5138832"/>
                <a:gd name="connsiteY33" fmla="*/ 765810 h 1790509"/>
                <a:gd name="connsiteX34" fmla="*/ 1616774 w 5138832"/>
                <a:gd name="connsiteY34" fmla="*/ 741902 h 1790509"/>
                <a:gd name="connsiteX35" fmla="*/ 1450277 w 5138832"/>
                <a:gd name="connsiteY35" fmla="*/ 741902 h 1790509"/>
                <a:gd name="connsiteX36" fmla="*/ 1450277 w 5138832"/>
                <a:gd name="connsiteY36" fmla="*/ 718185 h 1790509"/>
                <a:gd name="connsiteX37" fmla="*/ 1402366 w 5138832"/>
                <a:gd name="connsiteY37" fmla="*/ 718185 h 1790509"/>
                <a:gd name="connsiteX38" fmla="*/ 1402366 w 5138832"/>
                <a:gd name="connsiteY38" fmla="*/ 694087 h 1790509"/>
                <a:gd name="connsiteX39" fmla="*/ 1302925 w 5138832"/>
                <a:gd name="connsiteY39" fmla="*/ 694087 h 1790509"/>
                <a:gd name="connsiteX40" fmla="*/ 1302925 w 5138832"/>
                <a:gd name="connsiteY40" fmla="*/ 665512 h 1790509"/>
                <a:gd name="connsiteX41" fmla="*/ 1288923 w 5138832"/>
                <a:gd name="connsiteY41" fmla="*/ 665512 h 1790509"/>
                <a:gd name="connsiteX42" fmla="*/ 1288923 w 5138832"/>
                <a:gd name="connsiteY42" fmla="*/ 645890 h 1790509"/>
                <a:gd name="connsiteX43" fmla="*/ 1260729 w 5138832"/>
                <a:gd name="connsiteY43" fmla="*/ 645890 h 1790509"/>
                <a:gd name="connsiteX44" fmla="*/ 1260729 w 5138832"/>
                <a:gd name="connsiteY44" fmla="*/ 603314 h 1790509"/>
                <a:gd name="connsiteX45" fmla="*/ 1240917 w 5138832"/>
                <a:gd name="connsiteY45" fmla="*/ 603314 h 1790509"/>
                <a:gd name="connsiteX46" fmla="*/ 1240917 w 5138832"/>
                <a:gd name="connsiteY46" fmla="*/ 579215 h 1790509"/>
                <a:gd name="connsiteX47" fmla="*/ 1203008 w 5138832"/>
                <a:gd name="connsiteY47" fmla="*/ 579215 h 1790509"/>
                <a:gd name="connsiteX48" fmla="*/ 1203008 w 5138832"/>
                <a:gd name="connsiteY48" fmla="*/ 538925 h 1790509"/>
                <a:gd name="connsiteX49" fmla="*/ 951643 w 5138832"/>
                <a:gd name="connsiteY49" fmla="*/ 538925 h 1790509"/>
                <a:gd name="connsiteX50" fmla="*/ 951643 w 5138832"/>
                <a:gd name="connsiteY50" fmla="*/ 517208 h 1790509"/>
                <a:gd name="connsiteX51" fmla="*/ 932021 w 5138832"/>
                <a:gd name="connsiteY51" fmla="*/ 517208 h 1790509"/>
                <a:gd name="connsiteX52" fmla="*/ 932021 w 5138832"/>
                <a:gd name="connsiteY52" fmla="*/ 493490 h 1790509"/>
                <a:gd name="connsiteX53" fmla="*/ 894112 w 5138832"/>
                <a:gd name="connsiteY53" fmla="*/ 493490 h 1790509"/>
                <a:gd name="connsiteX54" fmla="*/ 894112 w 5138832"/>
                <a:gd name="connsiteY54" fmla="*/ 473202 h 1790509"/>
                <a:gd name="connsiteX55" fmla="*/ 880396 w 5138832"/>
                <a:gd name="connsiteY55" fmla="*/ 473202 h 1790509"/>
                <a:gd name="connsiteX56" fmla="*/ 880396 w 5138832"/>
                <a:gd name="connsiteY56" fmla="*/ 447294 h 1790509"/>
                <a:gd name="connsiteX57" fmla="*/ 870013 w 5138832"/>
                <a:gd name="connsiteY57" fmla="*/ 447294 h 1790509"/>
                <a:gd name="connsiteX58" fmla="*/ 870013 w 5138832"/>
                <a:gd name="connsiteY58" fmla="*/ 416243 h 1790509"/>
                <a:gd name="connsiteX59" fmla="*/ 855250 w 5138832"/>
                <a:gd name="connsiteY59" fmla="*/ 416243 h 1790509"/>
                <a:gd name="connsiteX60" fmla="*/ 855250 w 5138832"/>
                <a:gd name="connsiteY60" fmla="*/ 392335 h 1790509"/>
                <a:gd name="connsiteX61" fmla="*/ 838200 w 5138832"/>
                <a:gd name="connsiteY61" fmla="*/ 392335 h 1790509"/>
                <a:gd name="connsiteX62" fmla="*/ 838200 w 5138832"/>
                <a:gd name="connsiteY62" fmla="*/ 370904 h 1790509"/>
                <a:gd name="connsiteX63" fmla="*/ 832771 w 5138832"/>
                <a:gd name="connsiteY63" fmla="*/ 370904 h 1790509"/>
                <a:gd name="connsiteX64" fmla="*/ 832771 w 5138832"/>
                <a:gd name="connsiteY64" fmla="*/ 354616 h 1790509"/>
                <a:gd name="connsiteX65" fmla="*/ 799719 w 5138832"/>
                <a:gd name="connsiteY65" fmla="*/ 354616 h 1790509"/>
                <a:gd name="connsiteX66" fmla="*/ 799719 w 5138832"/>
                <a:gd name="connsiteY66" fmla="*/ 335185 h 1790509"/>
                <a:gd name="connsiteX67" fmla="*/ 789718 w 5138832"/>
                <a:gd name="connsiteY67" fmla="*/ 335185 h 1790509"/>
                <a:gd name="connsiteX68" fmla="*/ 789718 w 5138832"/>
                <a:gd name="connsiteY68" fmla="*/ 316516 h 1790509"/>
                <a:gd name="connsiteX69" fmla="*/ 761143 w 5138832"/>
                <a:gd name="connsiteY69" fmla="*/ 316516 h 1790509"/>
                <a:gd name="connsiteX70" fmla="*/ 761143 w 5138832"/>
                <a:gd name="connsiteY70" fmla="*/ 301562 h 1790509"/>
                <a:gd name="connsiteX71" fmla="*/ 756761 w 5138832"/>
                <a:gd name="connsiteY71" fmla="*/ 301562 h 1790509"/>
                <a:gd name="connsiteX72" fmla="*/ 756761 w 5138832"/>
                <a:gd name="connsiteY72" fmla="*/ 283083 h 1790509"/>
                <a:gd name="connsiteX73" fmla="*/ 699421 w 5138832"/>
                <a:gd name="connsiteY73" fmla="*/ 283083 h 1790509"/>
                <a:gd name="connsiteX74" fmla="*/ 699421 w 5138832"/>
                <a:gd name="connsiteY74" fmla="*/ 262604 h 1790509"/>
                <a:gd name="connsiteX75" fmla="*/ 680085 w 5138832"/>
                <a:gd name="connsiteY75" fmla="*/ 262604 h 1790509"/>
                <a:gd name="connsiteX76" fmla="*/ 680085 w 5138832"/>
                <a:gd name="connsiteY76" fmla="*/ 244412 h 1790509"/>
                <a:gd name="connsiteX77" fmla="*/ 609029 w 5138832"/>
                <a:gd name="connsiteY77" fmla="*/ 244412 h 1790509"/>
                <a:gd name="connsiteX78" fmla="*/ 609029 w 5138832"/>
                <a:gd name="connsiteY78" fmla="*/ 230600 h 1790509"/>
                <a:gd name="connsiteX79" fmla="*/ 575977 w 5138832"/>
                <a:gd name="connsiteY79" fmla="*/ 230600 h 1790509"/>
                <a:gd name="connsiteX80" fmla="*/ 575977 w 5138832"/>
                <a:gd name="connsiteY80" fmla="*/ 210788 h 1790509"/>
                <a:gd name="connsiteX81" fmla="*/ 490252 w 5138832"/>
                <a:gd name="connsiteY81" fmla="*/ 210788 h 1790509"/>
                <a:gd name="connsiteX82" fmla="*/ 490252 w 5138832"/>
                <a:gd name="connsiteY82" fmla="*/ 191929 h 1790509"/>
                <a:gd name="connsiteX83" fmla="*/ 377190 w 5138832"/>
                <a:gd name="connsiteY83" fmla="*/ 191929 h 1790509"/>
                <a:gd name="connsiteX84" fmla="*/ 377190 w 5138832"/>
                <a:gd name="connsiteY84" fmla="*/ 171450 h 1790509"/>
                <a:gd name="connsiteX85" fmla="*/ 371856 w 5138832"/>
                <a:gd name="connsiteY85" fmla="*/ 171450 h 1790509"/>
                <a:gd name="connsiteX86" fmla="*/ 371856 w 5138832"/>
                <a:gd name="connsiteY86" fmla="*/ 158115 h 1790509"/>
                <a:gd name="connsiteX87" fmla="*/ 362141 w 5138832"/>
                <a:gd name="connsiteY87" fmla="*/ 158115 h 1790509"/>
                <a:gd name="connsiteX88" fmla="*/ 362141 w 5138832"/>
                <a:gd name="connsiteY88" fmla="*/ 139446 h 1790509"/>
                <a:gd name="connsiteX89" fmla="*/ 314897 w 5138832"/>
                <a:gd name="connsiteY89" fmla="*/ 139446 h 1790509"/>
                <a:gd name="connsiteX90" fmla="*/ 314897 w 5138832"/>
                <a:gd name="connsiteY90" fmla="*/ 124397 h 1790509"/>
                <a:gd name="connsiteX91" fmla="*/ 143923 w 5138832"/>
                <a:gd name="connsiteY91" fmla="*/ 124397 h 1790509"/>
                <a:gd name="connsiteX92" fmla="*/ 143923 w 5138832"/>
                <a:gd name="connsiteY92" fmla="*/ 104966 h 1790509"/>
                <a:gd name="connsiteX93" fmla="*/ 95822 w 5138832"/>
                <a:gd name="connsiteY93" fmla="*/ 104966 h 1790509"/>
                <a:gd name="connsiteX94" fmla="*/ 95822 w 5138832"/>
                <a:gd name="connsiteY94" fmla="*/ 71152 h 1790509"/>
                <a:gd name="connsiteX95" fmla="*/ 49054 w 5138832"/>
                <a:gd name="connsiteY95" fmla="*/ 71152 h 1790509"/>
                <a:gd name="connsiteX96" fmla="*/ 49054 w 5138832"/>
                <a:gd name="connsiteY96" fmla="*/ 52673 h 1790509"/>
                <a:gd name="connsiteX97" fmla="*/ 34481 w 5138832"/>
                <a:gd name="connsiteY97" fmla="*/ 52673 h 1790509"/>
                <a:gd name="connsiteX98" fmla="*/ 34481 w 5138832"/>
                <a:gd name="connsiteY98" fmla="*/ 19050 h 1790509"/>
                <a:gd name="connsiteX99" fmla="*/ 30194 w 5138832"/>
                <a:gd name="connsiteY99" fmla="*/ 19050 h 1790509"/>
                <a:gd name="connsiteX100" fmla="*/ 30194 w 5138832"/>
                <a:gd name="connsiteY100" fmla="*/ 0 h 1790509"/>
                <a:gd name="connsiteX101" fmla="*/ 0 w 5138832"/>
                <a:gd name="connsiteY101" fmla="*/ 0 h 17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138832" h="1790509">
                  <a:moveTo>
                    <a:pt x="5138833" y="1790510"/>
                  </a:moveTo>
                  <a:lnTo>
                    <a:pt x="4276916" y="1790510"/>
                  </a:lnTo>
                  <a:lnTo>
                    <a:pt x="4276916" y="1541621"/>
                  </a:lnTo>
                  <a:lnTo>
                    <a:pt x="3963638" y="1541621"/>
                  </a:lnTo>
                  <a:lnTo>
                    <a:pt x="3963638" y="1359884"/>
                  </a:lnTo>
                  <a:lnTo>
                    <a:pt x="3649885" y="1359884"/>
                  </a:lnTo>
                  <a:lnTo>
                    <a:pt x="3649885" y="1263777"/>
                  </a:lnTo>
                  <a:lnTo>
                    <a:pt x="2994089" y="1263777"/>
                  </a:lnTo>
                  <a:lnTo>
                    <a:pt x="2994089" y="1211294"/>
                  </a:lnTo>
                  <a:lnTo>
                    <a:pt x="2590419" y="1211294"/>
                  </a:lnTo>
                  <a:lnTo>
                    <a:pt x="2590419" y="1168527"/>
                  </a:lnTo>
                  <a:lnTo>
                    <a:pt x="2585371" y="1168527"/>
                  </a:lnTo>
                  <a:lnTo>
                    <a:pt x="2585371" y="1125760"/>
                  </a:lnTo>
                  <a:lnTo>
                    <a:pt x="2571560" y="1125760"/>
                  </a:lnTo>
                  <a:lnTo>
                    <a:pt x="2571560" y="1091565"/>
                  </a:lnTo>
                  <a:lnTo>
                    <a:pt x="2567083" y="1091565"/>
                  </a:lnTo>
                  <a:lnTo>
                    <a:pt x="2567083" y="1010222"/>
                  </a:lnTo>
                  <a:lnTo>
                    <a:pt x="2234089" y="1010222"/>
                  </a:lnTo>
                  <a:lnTo>
                    <a:pt x="2234089" y="981456"/>
                  </a:lnTo>
                  <a:lnTo>
                    <a:pt x="2115979" y="981456"/>
                  </a:lnTo>
                  <a:lnTo>
                    <a:pt x="2115979" y="953738"/>
                  </a:lnTo>
                  <a:lnTo>
                    <a:pt x="2110740" y="953738"/>
                  </a:lnTo>
                  <a:lnTo>
                    <a:pt x="2110740" y="924306"/>
                  </a:lnTo>
                  <a:lnTo>
                    <a:pt x="2034064" y="924306"/>
                  </a:lnTo>
                  <a:lnTo>
                    <a:pt x="2034064" y="895350"/>
                  </a:lnTo>
                  <a:lnTo>
                    <a:pt x="1991773" y="895350"/>
                  </a:lnTo>
                  <a:lnTo>
                    <a:pt x="1991773" y="871633"/>
                  </a:lnTo>
                  <a:lnTo>
                    <a:pt x="1877663" y="871633"/>
                  </a:lnTo>
                  <a:lnTo>
                    <a:pt x="1877663" y="842677"/>
                  </a:lnTo>
                  <a:lnTo>
                    <a:pt x="1759268" y="842677"/>
                  </a:lnTo>
                  <a:lnTo>
                    <a:pt x="1759268" y="813721"/>
                  </a:lnTo>
                  <a:lnTo>
                    <a:pt x="1706975" y="813721"/>
                  </a:lnTo>
                  <a:lnTo>
                    <a:pt x="1706975" y="765810"/>
                  </a:lnTo>
                  <a:lnTo>
                    <a:pt x="1616774" y="765810"/>
                  </a:lnTo>
                  <a:lnTo>
                    <a:pt x="1616774" y="741902"/>
                  </a:lnTo>
                  <a:lnTo>
                    <a:pt x="1450277" y="741902"/>
                  </a:lnTo>
                  <a:lnTo>
                    <a:pt x="1450277" y="718185"/>
                  </a:lnTo>
                  <a:lnTo>
                    <a:pt x="1402366" y="718185"/>
                  </a:lnTo>
                  <a:lnTo>
                    <a:pt x="1402366" y="694087"/>
                  </a:lnTo>
                  <a:lnTo>
                    <a:pt x="1302925" y="694087"/>
                  </a:lnTo>
                  <a:lnTo>
                    <a:pt x="1302925" y="665512"/>
                  </a:lnTo>
                  <a:lnTo>
                    <a:pt x="1288923" y="665512"/>
                  </a:lnTo>
                  <a:lnTo>
                    <a:pt x="1288923" y="645890"/>
                  </a:lnTo>
                  <a:lnTo>
                    <a:pt x="1260729" y="645890"/>
                  </a:lnTo>
                  <a:lnTo>
                    <a:pt x="1260729" y="603314"/>
                  </a:lnTo>
                  <a:lnTo>
                    <a:pt x="1240917" y="603314"/>
                  </a:lnTo>
                  <a:lnTo>
                    <a:pt x="1240917" y="579215"/>
                  </a:lnTo>
                  <a:lnTo>
                    <a:pt x="1203008" y="579215"/>
                  </a:lnTo>
                  <a:lnTo>
                    <a:pt x="1203008" y="538925"/>
                  </a:lnTo>
                  <a:lnTo>
                    <a:pt x="951643" y="538925"/>
                  </a:lnTo>
                  <a:lnTo>
                    <a:pt x="951643" y="517208"/>
                  </a:lnTo>
                  <a:lnTo>
                    <a:pt x="932021" y="517208"/>
                  </a:lnTo>
                  <a:lnTo>
                    <a:pt x="932021" y="493490"/>
                  </a:lnTo>
                  <a:lnTo>
                    <a:pt x="894112" y="493490"/>
                  </a:lnTo>
                  <a:lnTo>
                    <a:pt x="894112" y="473202"/>
                  </a:lnTo>
                  <a:lnTo>
                    <a:pt x="880396" y="473202"/>
                  </a:lnTo>
                  <a:lnTo>
                    <a:pt x="880396" y="447294"/>
                  </a:lnTo>
                  <a:lnTo>
                    <a:pt x="870013" y="447294"/>
                  </a:lnTo>
                  <a:lnTo>
                    <a:pt x="870013" y="416243"/>
                  </a:lnTo>
                  <a:lnTo>
                    <a:pt x="855250" y="416243"/>
                  </a:lnTo>
                  <a:lnTo>
                    <a:pt x="855250" y="392335"/>
                  </a:lnTo>
                  <a:lnTo>
                    <a:pt x="838200" y="392335"/>
                  </a:lnTo>
                  <a:lnTo>
                    <a:pt x="838200" y="370904"/>
                  </a:lnTo>
                  <a:lnTo>
                    <a:pt x="832771" y="370904"/>
                  </a:lnTo>
                  <a:lnTo>
                    <a:pt x="832771" y="354616"/>
                  </a:lnTo>
                  <a:lnTo>
                    <a:pt x="799719" y="354616"/>
                  </a:lnTo>
                  <a:lnTo>
                    <a:pt x="799719" y="335185"/>
                  </a:lnTo>
                  <a:lnTo>
                    <a:pt x="789718" y="335185"/>
                  </a:lnTo>
                  <a:lnTo>
                    <a:pt x="789718" y="316516"/>
                  </a:lnTo>
                  <a:lnTo>
                    <a:pt x="761143" y="316516"/>
                  </a:lnTo>
                  <a:lnTo>
                    <a:pt x="761143" y="301562"/>
                  </a:lnTo>
                  <a:lnTo>
                    <a:pt x="756761" y="301562"/>
                  </a:lnTo>
                  <a:lnTo>
                    <a:pt x="756761" y="283083"/>
                  </a:lnTo>
                  <a:lnTo>
                    <a:pt x="699421" y="283083"/>
                  </a:lnTo>
                  <a:lnTo>
                    <a:pt x="699421" y="262604"/>
                  </a:lnTo>
                  <a:lnTo>
                    <a:pt x="680085" y="262604"/>
                  </a:lnTo>
                  <a:lnTo>
                    <a:pt x="680085" y="244412"/>
                  </a:lnTo>
                  <a:lnTo>
                    <a:pt x="609029" y="244412"/>
                  </a:lnTo>
                  <a:lnTo>
                    <a:pt x="609029" y="230600"/>
                  </a:lnTo>
                  <a:lnTo>
                    <a:pt x="575977" y="230600"/>
                  </a:lnTo>
                  <a:lnTo>
                    <a:pt x="575977" y="210788"/>
                  </a:lnTo>
                  <a:lnTo>
                    <a:pt x="490252" y="210788"/>
                  </a:lnTo>
                  <a:lnTo>
                    <a:pt x="490252" y="191929"/>
                  </a:lnTo>
                  <a:lnTo>
                    <a:pt x="377190" y="191929"/>
                  </a:lnTo>
                  <a:lnTo>
                    <a:pt x="377190" y="171450"/>
                  </a:lnTo>
                  <a:lnTo>
                    <a:pt x="371856" y="171450"/>
                  </a:lnTo>
                  <a:lnTo>
                    <a:pt x="371856" y="158115"/>
                  </a:lnTo>
                  <a:lnTo>
                    <a:pt x="362141" y="158115"/>
                  </a:lnTo>
                  <a:lnTo>
                    <a:pt x="362141" y="139446"/>
                  </a:lnTo>
                  <a:lnTo>
                    <a:pt x="314897" y="139446"/>
                  </a:lnTo>
                  <a:lnTo>
                    <a:pt x="314897" y="124397"/>
                  </a:lnTo>
                  <a:lnTo>
                    <a:pt x="143923" y="124397"/>
                  </a:lnTo>
                  <a:lnTo>
                    <a:pt x="143923" y="104966"/>
                  </a:lnTo>
                  <a:lnTo>
                    <a:pt x="95822" y="104966"/>
                  </a:lnTo>
                  <a:lnTo>
                    <a:pt x="95822" y="71152"/>
                  </a:lnTo>
                  <a:lnTo>
                    <a:pt x="49054" y="71152"/>
                  </a:lnTo>
                  <a:lnTo>
                    <a:pt x="49054" y="52673"/>
                  </a:lnTo>
                  <a:lnTo>
                    <a:pt x="34481" y="52673"/>
                  </a:lnTo>
                  <a:lnTo>
                    <a:pt x="34481" y="19050"/>
                  </a:lnTo>
                  <a:lnTo>
                    <a:pt x="30194" y="19050"/>
                  </a:lnTo>
                  <a:lnTo>
                    <a:pt x="30194"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9160" name="Group 19159">
            <a:extLst>
              <a:ext uri="{FF2B5EF4-FFF2-40B4-BE49-F238E27FC236}">
                <a16:creationId xmlns:a16="http://schemas.microsoft.com/office/drawing/2014/main" id="{37EE1016-D97B-620B-0FFC-860D129CD76F}"/>
              </a:ext>
            </a:extLst>
          </p:cNvPr>
          <p:cNvGrpSpPr/>
          <p:nvPr/>
        </p:nvGrpSpPr>
        <p:grpSpPr>
          <a:xfrm>
            <a:off x="834913" y="4133989"/>
            <a:ext cx="2385787" cy="523220"/>
            <a:chOff x="1283828" y="4129371"/>
            <a:chExt cx="2090677" cy="523220"/>
          </a:xfrm>
        </p:grpSpPr>
        <p:sp>
          <p:nvSpPr>
            <p:cNvPr id="19161" name="TextBox 19160">
              <a:extLst>
                <a:ext uri="{FF2B5EF4-FFF2-40B4-BE49-F238E27FC236}">
                  <a16:creationId xmlns:a16="http://schemas.microsoft.com/office/drawing/2014/main" id="{53AC4B50-9149-B46F-F493-D805E5C89938}"/>
                </a:ext>
              </a:extLst>
            </p:cNvPr>
            <p:cNvSpPr txBox="1"/>
            <p:nvPr/>
          </p:nvSpPr>
          <p:spPr>
            <a:xfrm>
              <a:off x="1680132" y="4129371"/>
              <a:ext cx="169437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19162" name="Group 19161">
              <a:extLst>
                <a:ext uri="{FF2B5EF4-FFF2-40B4-BE49-F238E27FC236}">
                  <a16:creationId xmlns:a16="http://schemas.microsoft.com/office/drawing/2014/main" id="{384DEFC7-8EB9-BA53-FBDA-CE7005A59B2F}"/>
                </a:ext>
              </a:extLst>
            </p:cNvPr>
            <p:cNvGrpSpPr/>
            <p:nvPr/>
          </p:nvGrpSpPr>
          <p:grpSpPr>
            <a:xfrm>
              <a:off x="1289304" y="4278446"/>
              <a:ext cx="334470" cy="72000"/>
              <a:chOff x="2459420" y="3626363"/>
              <a:chExt cx="313728" cy="72000"/>
            </a:xfrm>
          </p:grpSpPr>
          <p:cxnSp>
            <p:nvCxnSpPr>
              <p:cNvPr id="19166" name="Straight Connector 19165">
                <a:extLst>
                  <a:ext uri="{FF2B5EF4-FFF2-40B4-BE49-F238E27FC236}">
                    <a16:creationId xmlns:a16="http://schemas.microsoft.com/office/drawing/2014/main" id="{AE5FA75C-8A0B-E753-E94D-B812C1EFFFBF}"/>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9167" name="Straight Connector 19166">
                <a:extLst>
                  <a:ext uri="{FF2B5EF4-FFF2-40B4-BE49-F238E27FC236}">
                    <a16:creationId xmlns:a16="http://schemas.microsoft.com/office/drawing/2014/main" id="{04BAD0F0-3F1B-4EC2-DBC5-A59AC8481871}"/>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9163" name="Group 19162">
              <a:extLst>
                <a:ext uri="{FF2B5EF4-FFF2-40B4-BE49-F238E27FC236}">
                  <a16:creationId xmlns:a16="http://schemas.microsoft.com/office/drawing/2014/main" id="{CD46AD08-7F80-A680-A7BF-2A49CCC8453A}"/>
                </a:ext>
              </a:extLst>
            </p:cNvPr>
            <p:cNvGrpSpPr/>
            <p:nvPr/>
          </p:nvGrpSpPr>
          <p:grpSpPr>
            <a:xfrm>
              <a:off x="1283828" y="4464183"/>
              <a:ext cx="345421" cy="72000"/>
              <a:chOff x="2454284" y="3812100"/>
              <a:chExt cx="324000" cy="72000"/>
            </a:xfrm>
          </p:grpSpPr>
          <p:cxnSp>
            <p:nvCxnSpPr>
              <p:cNvPr id="19164" name="Straight Connector 19163">
                <a:extLst>
                  <a:ext uri="{FF2B5EF4-FFF2-40B4-BE49-F238E27FC236}">
                    <a16:creationId xmlns:a16="http://schemas.microsoft.com/office/drawing/2014/main" id="{0FB4CBEC-34C0-7025-F60C-46001E224E37}"/>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9165" name="Straight Connector 19164">
                <a:extLst>
                  <a:ext uri="{FF2B5EF4-FFF2-40B4-BE49-F238E27FC236}">
                    <a16:creationId xmlns:a16="http://schemas.microsoft.com/office/drawing/2014/main" id="{83C85515-A2F5-1396-DC72-865B0FD76799}"/>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
        <p:nvSpPr>
          <p:cNvPr id="4" name="TextBox 3">
            <a:extLst>
              <a:ext uri="{FF2B5EF4-FFF2-40B4-BE49-F238E27FC236}">
                <a16:creationId xmlns:a16="http://schemas.microsoft.com/office/drawing/2014/main" id="{6C162224-AC46-2E74-D85D-07D80E5B74E3}"/>
              </a:ext>
            </a:extLst>
          </p:cNvPr>
          <p:cNvSpPr txBox="1"/>
          <p:nvPr/>
        </p:nvSpPr>
        <p:spPr>
          <a:xfrm>
            <a:off x="4826643" y="3641066"/>
            <a:ext cx="21422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PTEN cut-off: 100%</a:t>
            </a:r>
          </a:p>
        </p:txBody>
      </p:sp>
    </p:spTree>
    <p:extLst>
      <p:ext uri="{BB962C8B-B14F-4D97-AF65-F5344CB8AC3E}">
        <p14:creationId xmlns:p14="http://schemas.microsoft.com/office/powerpoint/2010/main" val="31987339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35820-4E69-774A-75FF-4F6046B641B9}"/>
            </a:ext>
          </a:extLst>
        </p:cNvPr>
        <p:cNvGrpSpPr/>
        <p:nvPr/>
      </p:nvGrpSpPr>
      <p:grpSpPr>
        <a:xfrm>
          <a:off x="0" y="0"/>
          <a:ext cx="0" cy="0"/>
          <a:chOff x="0" y="0"/>
          <a:chExt cx="0" cy="0"/>
        </a:xfrm>
      </p:grpSpPr>
      <p:grpSp>
        <p:nvGrpSpPr>
          <p:cNvPr id="1516" name="Group 1515">
            <a:extLst>
              <a:ext uri="{FF2B5EF4-FFF2-40B4-BE49-F238E27FC236}">
                <a16:creationId xmlns:a16="http://schemas.microsoft.com/office/drawing/2014/main" id="{538DF61C-2199-0D82-2E6D-6A7EB9E7550A}"/>
              </a:ext>
            </a:extLst>
          </p:cNvPr>
          <p:cNvGrpSpPr/>
          <p:nvPr/>
        </p:nvGrpSpPr>
        <p:grpSpPr>
          <a:xfrm>
            <a:off x="1574499" y="1337844"/>
            <a:ext cx="8839313" cy="1425760"/>
            <a:chOff x="3462337" y="2824162"/>
            <a:chExt cx="5266658" cy="1211675"/>
          </a:xfrm>
        </p:grpSpPr>
        <p:grpSp>
          <p:nvGrpSpPr>
            <p:cNvPr id="1517" name="Graphic 16">
              <a:extLst>
                <a:ext uri="{FF2B5EF4-FFF2-40B4-BE49-F238E27FC236}">
                  <a16:creationId xmlns:a16="http://schemas.microsoft.com/office/drawing/2014/main" id="{8B920C62-9ACA-7C26-089C-02941C5D927E}"/>
                </a:ext>
              </a:extLst>
            </p:cNvPr>
            <p:cNvGrpSpPr/>
            <p:nvPr/>
          </p:nvGrpSpPr>
          <p:grpSpPr>
            <a:xfrm>
              <a:off x="6780275" y="3820096"/>
              <a:ext cx="75628" cy="75723"/>
              <a:chOff x="6780275" y="3820096"/>
              <a:chExt cx="75628" cy="75723"/>
            </a:xfrm>
          </p:grpSpPr>
          <p:sp>
            <p:nvSpPr>
              <p:cNvPr id="2259" name="Freeform: Shape 2258">
                <a:extLst>
                  <a:ext uri="{FF2B5EF4-FFF2-40B4-BE49-F238E27FC236}">
                    <a16:creationId xmlns:a16="http://schemas.microsoft.com/office/drawing/2014/main" id="{A4830EF4-218D-409C-644D-912D54232E8D}"/>
                  </a:ext>
                </a:extLst>
              </p:cNvPr>
              <p:cNvSpPr/>
              <p:nvPr/>
            </p:nvSpPr>
            <p:spPr>
              <a:xfrm>
                <a:off x="6818089"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60" name="Freeform: Shape 2259">
                <a:extLst>
                  <a:ext uri="{FF2B5EF4-FFF2-40B4-BE49-F238E27FC236}">
                    <a16:creationId xmlns:a16="http://schemas.microsoft.com/office/drawing/2014/main" id="{EE899179-5ECB-B909-3B66-E25013DDB1BE}"/>
                  </a:ext>
                </a:extLst>
              </p:cNvPr>
              <p:cNvSpPr/>
              <p:nvPr/>
            </p:nvSpPr>
            <p:spPr>
              <a:xfrm>
                <a:off x="6780275"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8" name="Graphic 16">
              <a:extLst>
                <a:ext uri="{FF2B5EF4-FFF2-40B4-BE49-F238E27FC236}">
                  <a16:creationId xmlns:a16="http://schemas.microsoft.com/office/drawing/2014/main" id="{2717AED2-F590-0613-D024-6075A25F9E5A}"/>
                </a:ext>
              </a:extLst>
            </p:cNvPr>
            <p:cNvGrpSpPr/>
            <p:nvPr/>
          </p:nvGrpSpPr>
          <p:grpSpPr>
            <a:xfrm>
              <a:off x="6794277" y="3820096"/>
              <a:ext cx="75628" cy="75723"/>
              <a:chOff x="6794277" y="3820096"/>
              <a:chExt cx="75628" cy="75723"/>
            </a:xfrm>
          </p:grpSpPr>
          <p:sp>
            <p:nvSpPr>
              <p:cNvPr id="2257" name="Freeform: Shape 2256">
                <a:extLst>
                  <a:ext uri="{FF2B5EF4-FFF2-40B4-BE49-F238E27FC236}">
                    <a16:creationId xmlns:a16="http://schemas.microsoft.com/office/drawing/2014/main" id="{809D2A18-472C-8C0A-648B-635E0ACCA12D}"/>
                  </a:ext>
                </a:extLst>
              </p:cNvPr>
              <p:cNvSpPr/>
              <p:nvPr/>
            </p:nvSpPr>
            <p:spPr>
              <a:xfrm>
                <a:off x="683209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58" name="Freeform: Shape 2257">
                <a:extLst>
                  <a:ext uri="{FF2B5EF4-FFF2-40B4-BE49-F238E27FC236}">
                    <a16:creationId xmlns:a16="http://schemas.microsoft.com/office/drawing/2014/main" id="{2ABAFB46-DE47-FEFB-4022-E877BC8B9F31}"/>
                  </a:ext>
                </a:extLst>
              </p:cNvPr>
              <p:cNvSpPr/>
              <p:nvPr/>
            </p:nvSpPr>
            <p:spPr>
              <a:xfrm>
                <a:off x="6794277" y="38580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19" name="Graphic 16">
              <a:extLst>
                <a:ext uri="{FF2B5EF4-FFF2-40B4-BE49-F238E27FC236}">
                  <a16:creationId xmlns:a16="http://schemas.microsoft.com/office/drawing/2014/main" id="{1CAC6358-89CC-A06E-ABC9-FD6E709C6FBD}"/>
                </a:ext>
              </a:extLst>
            </p:cNvPr>
            <p:cNvGrpSpPr/>
            <p:nvPr/>
          </p:nvGrpSpPr>
          <p:grpSpPr>
            <a:xfrm>
              <a:off x="3462337" y="2824162"/>
              <a:ext cx="5266658" cy="1211675"/>
              <a:chOff x="3462337" y="2824162"/>
              <a:chExt cx="5266658" cy="1211675"/>
            </a:xfrm>
            <a:noFill/>
          </p:grpSpPr>
          <p:grpSp>
            <p:nvGrpSpPr>
              <p:cNvPr id="1520" name="Graphic 16">
                <a:extLst>
                  <a:ext uri="{FF2B5EF4-FFF2-40B4-BE49-F238E27FC236}">
                    <a16:creationId xmlns:a16="http://schemas.microsoft.com/office/drawing/2014/main" id="{61FCCE11-7984-F1D5-6395-021333CC7CB5}"/>
                  </a:ext>
                </a:extLst>
              </p:cNvPr>
              <p:cNvGrpSpPr/>
              <p:nvPr/>
            </p:nvGrpSpPr>
            <p:grpSpPr>
              <a:xfrm>
                <a:off x="3462337" y="2824162"/>
                <a:ext cx="5266658" cy="1211675"/>
                <a:chOff x="3462337" y="2824162"/>
                <a:chExt cx="5266658" cy="1211675"/>
              </a:xfrm>
            </p:grpSpPr>
            <p:grpSp>
              <p:nvGrpSpPr>
                <p:cNvPr id="1522" name="Graphic 16">
                  <a:extLst>
                    <a:ext uri="{FF2B5EF4-FFF2-40B4-BE49-F238E27FC236}">
                      <a16:creationId xmlns:a16="http://schemas.microsoft.com/office/drawing/2014/main" id="{2D0B5325-9280-1B56-A0CA-F5B1ECF4F4A6}"/>
                    </a:ext>
                  </a:extLst>
                </p:cNvPr>
                <p:cNvGrpSpPr/>
                <p:nvPr/>
              </p:nvGrpSpPr>
              <p:grpSpPr>
                <a:xfrm>
                  <a:off x="8480583" y="3960113"/>
                  <a:ext cx="75723" cy="75723"/>
                  <a:chOff x="8480583" y="3960113"/>
                  <a:chExt cx="75723" cy="75723"/>
                </a:xfrm>
              </p:grpSpPr>
              <p:sp>
                <p:nvSpPr>
                  <p:cNvPr id="2255" name="Freeform: Shape 2254">
                    <a:extLst>
                      <a:ext uri="{FF2B5EF4-FFF2-40B4-BE49-F238E27FC236}">
                        <a16:creationId xmlns:a16="http://schemas.microsoft.com/office/drawing/2014/main" id="{ECCCD14F-8033-2683-C393-19717E745206}"/>
                      </a:ext>
                    </a:extLst>
                  </p:cNvPr>
                  <p:cNvSpPr/>
                  <p:nvPr/>
                </p:nvSpPr>
                <p:spPr>
                  <a:xfrm>
                    <a:off x="851849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56" name="Freeform: Shape 2255">
                    <a:extLst>
                      <a:ext uri="{FF2B5EF4-FFF2-40B4-BE49-F238E27FC236}">
                        <a16:creationId xmlns:a16="http://schemas.microsoft.com/office/drawing/2014/main" id="{A0E97CF9-059C-7078-612B-232FD9ED25BC}"/>
                      </a:ext>
                    </a:extLst>
                  </p:cNvPr>
                  <p:cNvSpPr/>
                  <p:nvPr/>
                </p:nvSpPr>
                <p:spPr>
                  <a:xfrm>
                    <a:off x="8480583"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3" name="Graphic 16">
                  <a:extLst>
                    <a:ext uri="{FF2B5EF4-FFF2-40B4-BE49-F238E27FC236}">
                      <a16:creationId xmlns:a16="http://schemas.microsoft.com/office/drawing/2014/main" id="{F5406BE0-DF1B-D197-B219-6EA75F9C5FDC}"/>
                    </a:ext>
                  </a:extLst>
                </p:cNvPr>
                <p:cNvGrpSpPr/>
                <p:nvPr/>
              </p:nvGrpSpPr>
              <p:grpSpPr>
                <a:xfrm>
                  <a:off x="8610409" y="3960113"/>
                  <a:ext cx="75628" cy="75723"/>
                  <a:chOff x="8610409" y="3960113"/>
                  <a:chExt cx="75628" cy="75723"/>
                </a:xfrm>
              </p:grpSpPr>
              <p:sp>
                <p:nvSpPr>
                  <p:cNvPr id="2253" name="Freeform: Shape 2252">
                    <a:extLst>
                      <a:ext uri="{FF2B5EF4-FFF2-40B4-BE49-F238E27FC236}">
                        <a16:creationId xmlns:a16="http://schemas.microsoft.com/office/drawing/2014/main" id="{39E6BF22-19A7-60BB-1605-9FCED85CFD1B}"/>
                      </a:ext>
                    </a:extLst>
                  </p:cNvPr>
                  <p:cNvSpPr/>
                  <p:nvPr/>
                </p:nvSpPr>
                <p:spPr>
                  <a:xfrm>
                    <a:off x="864822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54" name="Freeform: Shape 2253">
                    <a:extLst>
                      <a:ext uri="{FF2B5EF4-FFF2-40B4-BE49-F238E27FC236}">
                        <a16:creationId xmlns:a16="http://schemas.microsoft.com/office/drawing/2014/main" id="{31E6948B-187E-5C6B-8D67-3120C94B5F5E}"/>
                      </a:ext>
                    </a:extLst>
                  </p:cNvPr>
                  <p:cNvSpPr/>
                  <p:nvPr/>
                </p:nvSpPr>
                <p:spPr>
                  <a:xfrm>
                    <a:off x="8610409"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4" name="Graphic 16">
                  <a:extLst>
                    <a:ext uri="{FF2B5EF4-FFF2-40B4-BE49-F238E27FC236}">
                      <a16:creationId xmlns:a16="http://schemas.microsoft.com/office/drawing/2014/main" id="{BD60D742-3E80-CF51-65E6-729AA0F495BF}"/>
                    </a:ext>
                  </a:extLst>
                </p:cNvPr>
                <p:cNvGrpSpPr/>
                <p:nvPr/>
              </p:nvGrpSpPr>
              <p:grpSpPr>
                <a:xfrm>
                  <a:off x="8644127" y="3960113"/>
                  <a:ext cx="75628" cy="75723"/>
                  <a:chOff x="8644127" y="3960113"/>
                  <a:chExt cx="75628" cy="75723"/>
                </a:xfrm>
              </p:grpSpPr>
              <p:sp>
                <p:nvSpPr>
                  <p:cNvPr id="2251" name="Freeform: Shape 2250">
                    <a:extLst>
                      <a:ext uri="{FF2B5EF4-FFF2-40B4-BE49-F238E27FC236}">
                        <a16:creationId xmlns:a16="http://schemas.microsoft.com/office/drawing/2014/main" id="{1F3D9787-7B0E-0D8F-A344-6500EA98E355}"/>
                      </a:ext>
                    </a:extLst>
                  </p:cNvPr>
                  <p:cNvSpPr/>
                  <p:nvPr/>
                </p:nvSpPr>
                <p:spPr>
                  <a:xfrm>
                    <a:off x="86819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52" name="Freeform: Shape 2251">
                    <a:extLst>
                      <a:ext uri="{FF2B5EF4-FFF2-40B4-BE49-F238E27FC236}">
                        <a16:creationId xmlns:a16="http://schemas.microsoft.com/office/drawing/2014/main" id="{E6AA2601-ECC3-5302-CE2A-350500F286A1}"/>
                      </a:ext>
                    </a:extLst>
                  </p:cNvPr>
                  <p:cNvSpPr/>
                  <p:nvPr/>
                </p:nvSpPr>
                <p:spPr>
                  <a:xfrm>
                    <a:off x="8644127"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5" name="Graphic 16">
                  <a:extLst>
                    <a:ext uri="{FF2B5EF4-FFF2-40B4-BE49-F238E27FC236}">
                      <a16:creationId xmlns:a16="http://schemas.microsoft.com/office/drawing/2014/main" id="{16130CAE-4404-98C5-7F42-42E1C206A57B}"/>
                    </a:ext>
                  </a:extLst>
                </p:cNvPr>
                <p:cNvGrpSpPr/>
                <p:nvPr/>
              </p:nvGrpSpPr>
              <p:grpSpPr>
                <a:xfrm>
                  <a:off x="8634888" y="3960113"/>
                  <a:ext cx="75628" cy="75723"/>
                  <a:chOff x="8634888" y="3960113"/>
                  <a:chExt cx="75628" cy="75723"/>
                </a:xfrm>
              </p:grpSpPr>
              <p:sp>
                <p:nvSpPr>
                  <p:cNvPr id="2249" name="Freeform: Shape 2248">
                    <a:extLst>
                      <a:ext uri="{FF2B5EF4-FFF2-40B4-BE49-F238E27FC236}">
                        <a16:creationId xmlns:a16="http://schemas.microsoft.com/office/drawing/2014/main" id="{F63408E9-7532-99F5-35C5-795859342E23}"/>
                      </a:ext>
                    </a:extLst>
                  </p:cNvPr>
                  <p:cNvSpPr/>
                  <p:nvPr/>
                </p:nvSpPr>
                <p:spPr>
                  <a:xfrm>
                    <a:off x="867270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50" name="Freeform: Shape 2249">
                    <a:extLst>
                      <a:ext uri="{FF2B5EF4-FFF2-40B4-BE49-F238E27FC236}">
                        <a16:creationId xmlns:a16="http://schemas.microsoft.com/office/drawing/2014/main" id="{EFBC286C-E3EC-4A2C-DF11-F2BB33836BC1}"/>
                      </a:ext>
                    </a:extLst>
                  </p:cNvPr>
                  <p:cNvSpPr/>
                  <p:nvPr/>
                </p:nvSpPr>
                <p:spPr>
                  <a:xfrm>
                    <a:off x="8634888"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6" name="Graphic 16">
                  <a:extLst>
                    <a:ext uri="{FF2B5EF4-FFF2-40B4-BE49-F238E27FC236}">
                      <a16:creationId xmlns:a16="http://schemas.microsoft.com/office/drawing/2014/main" id="{90CE6818-7A05-6BAB-36A3-F3D85939F1C2}"/>
                    </a:ext>
                  </a:extLst>
                </p:cNvPr>
                <p:cNvGrpSpPr/>
                <p:nvPr/>
              </p:nvGrpSpPr>
              <p:grpSpPr>
                <a:xfrm>
                  <a:off x="8653271" y="3960113"/>
                  <a:ext cx="75723" cy="75723"/>
                  <a:chOff x="8653271" y="3960113"/>
                  <a:chExt cx="75723" cy="75723"/>
                </a:xfrm>
              </p:grpSpPr>
              <p:sp>
                <p:nvSpPr>
                  <p:cNvPr id="2247" name="Freeform: Shape 2246">
                    <a:extLst>
                      <a:ext uri="{FF2B5EF4-FFF2-40B4-BE49-F238E27FC236}">
                        <a16:creationId xmlns:a16="http://schemas.microsoft.com/office/drawing/2014/main" id="{53B5B5FB-915C-1669-CDCC-A438468EED22}"/>
                      </a:ext>
                    </a:extLst>
                  </p:cNvPr>
                  <p:cNvSpPr/>
                  <p:nvPr/>
                </p:nvSpPr>
                <p:spPr>
                  <a:xfrm>
                    <a:off x="869118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48" name="Freeform: Shape 2247">
                    <a:extLst>
                      <a:ext uri="{FF2B5EF4-FFF2-40B4-BE49-F238E27FC236}">
                        <a16:creationId xmlns:a16="http://schemas.microsoft.com/office/drawing/2014/main" id="{ECFFC567-E2E2-F3FC-C49F-3E811A1BA93B}"/>
                      </a:ext>
                    </a:extLst>
                  </p:cNvPr>
                  <p:cNvSpPr/>
                  <p:nvPr/>
                </p:nvSpPr>
                <p:spPr>
                  <a:xfrm>
                    <a:off x="8653271"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7" name="Graphic 16">
                  <a:extLst>
                    <a:ext uri="{FF2B5EF4-FFF2-40B4-BE49-F238E27FC236}">
                      <a16:creationId xmlns:a16="http://schemas.microsoft.com/office/drawing/2014/main" id="{EB879DAF-8146-CBD6-CEBB-6E7AF032D91B}"/>
                    </a:ext>
                  </a:extLst>
                </p:cNvPr>
                <p:cNvGrpSpPr/>
                <p:nvPr/>
              </p:nvGrpSpPr>
              <p:grpSpPr>
                <a:xfrm>
                  <a:off x="7647241" y="3960113"/>
                  <a:ext cx="75723" cy="75723"/>
                  <a:chOff x="7647241" y="3960113"/>
                  <a:chExt cx="75723" cy="75723"/>
                </a:xfrm>
              </p:grpSpPr>
              <p:sp>
                <p:nvSpPr>
                  <p:cNvPr id="2245" name="Freeform: Shape 2244">
                    <a:extLst>
                      <a:ext uri="{FF2B5EF4-FFF2-40B4-BE49-F238E27FC236}">
                        <a16:creationId xmlns:a16="http://schemas.microsoft.com/office/drawing/2014/main" id="{0486E8E1-81E3-11A4-F1B0-5C43E6708A69}"/>
                      </a:ext>
                    </a:extLst>
                  </p:cNvPr>
                  <p:cNvSpPr/>
                  <p:nvPr/>
                </p:nvSpPr>
                <p:spPr>
                  <a:xfrm>
                    <a:off x="76851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46" name="Freeform: Shape 2245">
                    <a:extLst>
                      <a:ext uri="{FF2B5EF4-FFF2-40B4-BE49-F238E27FC236}">
                        <a16:creationId xmlns:a16="http://schemas.microsoft.com/office/drawing/2014/main" id="{21A2A3AC-FFB3-F1C1-31A6-640EFD529E99}"/>
                      </a:ext>
                    </a:extLst>
                  </p:cNvPr>
                  <p:cNvSpPr/>
                  <p:nvPr/>
                </p:nvSpPr>
                <p:spPr>
                  <a:xfrm>
                    <a:off x="76472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8" name="Graphic 16">
                  <a:extLst>
                    <a:ext uri="{FF2B5EF4-FFF2-40B4-BE49-F238E27FC236}">
                      <a16:creationId xmlns:a16="http://schemas.microsoft.com/office/drawing/2014/main" id="{33AAAFF6-44B4-1F03-FAC3-F2F4EF037F62}"/>
                    </a:ext>
                  </a:extLst>
                </p:cNvPr>
                <p:cNvGrpSpPr/>
                <p:nvPr/>
              </p:nvGrpSpPr>
              <p:grpSpPr>
                <a:xfrm>
                  <a:off x="7638001" y="3960113"/>
                  <a:ext cx="75723" cy="75723"/>
                  <a:chOff x="7638001" y="3960113"/>
                  <a:chExt cx="75723" cy="75723"/>
                </a:xfrm>
              </p:grpSpPr>
              <p:sp>
                <p:nvSpPr>
                  <p:cNvPr id="2243" name="Freeform: Shape 2242">
                    <a:extLst>
                      <a:ext uri="{FF2B5EF4-FFF2-40B4-BE49-F238E27FC236}">
                        <a16:creationId xmlns:a16="http://schemas.microsoft.com/office/drawing/2014/main" id="{8AE523B4-16C1-1773-0140-0D61C712833D}"/>
                      </a:ext>
                    </a:extLst>
                  </p:cNvPr>
                  <p:cNvSpPr/>
                  <p:nvPr/>
                </p:nvSpPr>
                <p:spPr>
                  <a:xfrm>
                    <a:off x="767591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44" name="Freeform: Shape 2243">
                    <a:extLst>
                      <a:ext uri="{FF2B5EF4-FFF2-40B4-BE49-F238E27FC236}">
                        <a16:creationId xmlns:a16="http://schemas.microsoft.com/office/drawing/2014/main" id="{79FF4C57-C372-0224-A339-A2246A0405A5}"/>
                      </a:ext>
                    </a:extLst>
                  </p:cNvPr>
                  <p:cNvSpPr/>
                  <p:nvPr/>
                </p:nvSpPr>
                <p:spPr>
                  <a:xfrm>
                    <a:off x="76380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29" name="Graphic 16">
                  <a:extLst>
                    <a:ext uri="{FF2B5EF4-FFF2-40B4-BE49-F238E27FC236}">
                      <a16:creationId xmlns:a16="http://schemas.microsoft.com/office/drawing/2014/main" id="{A5F5DCDC-B791-1E8B-6EB1-28B58B3AAED2}"/>
                    </a:ext>
                  </a:extLst>
                </p:cNvPr>
                <p:cNvGrpSpPr/>
                <p:nvPr/>
              </p:nvGrpSpPr>
              <p:grpSpPr>
                <a:xfrm>
                  <a:off x="7656480" y="3960113"/>
                  <a:ext cx="75723" cy="75723"/>
                  <a:chOff x="7656480" y="3960113"/>
                  <a:chExt cx="75723" cy="75723"/>
                </a:xfrm>
              </p:grpSpPr>
              <p:sp>
                <p:nvSpPr>
                  <p:cNvPr id="2241" name="Freeform: Shape 2240">
                    <a:extLst>
                      <a:ext uri="{FF2B5EF4-FFF2-40B4-BE49-F238E27FC236}">
                        <a16:creationId xmlns:a16="http://schemas.microsoft.com/office/drawing/2014/main" id="{0AE813B3-DE75-6B2C-E47B-0CC20E089E83}"/>
                      </a:ext>
                    </a:extLst>
                  </p:cNvPr>
                  <p:cNvSpPr/>
                  <p:nvPr/>
                </p:nvSpPr>
                <p:spPr>
                  <a:xfrm>
                    <a:off x="76942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42" name="Freeform: Shape 2241">
                    <a:extLst>
                      <a:ext uri="{FF2B5EF4-FFF2-40B4-BE49-F238E27FC236}">
                        <a16:creationId xmlns:a16="http://schemas.microsoft.com/office/drawing/2014/main" id="{1FAED289-D587-620D-5F62-7BA5212BA9CB}"/>
                      </a:ext>
                    </a:extLst>
                  </p:cNvPr>
                  <p:cNvSpPr/>
                  <p:nvPr/>
                </p:nvSpPr>
                <p:spPr>
                  <a:xfrm>
                    <a:off x="765648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0" name="Graphic 16">
                  <a:extLst>
                    <a:ext uri="{FF2B5EF4-FFF2-40B4-BE49-F238E27FC236}">
                      <a16:creationId xmlns:a16="http://schemas.microsoft.com/office/drawing/2014/main" id="{75502BA8-CA0E-B908-3076-19056391FE41}"/>
                    </a:ext>
                  </a:extLst>
                </p:cNvPr>
                <p:cNvGrpSpPr/>
                <p:nvPr/>
              </p:nvGrpSpPr>
              <p:grpSpPr>
                <a:xfrm>
                  <a:off x="7723726" y="3960113"/>
                  <a:ext cx="75628" cy="75723"/>
                  <a:chOff x="7723726" y="3960113"/>
                  <a:chExt cx="75628" cy="75723"/>
                </a:xfrm>
              </p:grpSpPr>
              <p:sp>
                <p:nvSpPr>
                  <p:cNvPr id="2239" name="Freeform: Shape 2238">
                    <a:extLst>
                      <a:ext uri="{FF2B5EF4-FFF2-40B4-BE49-F238E27FC236}">
                        <a16:creationId xmlns:a16="http://schemas.microsoft.com/office/drawing/2014/main" id="{C8C4D915-77B9-8A12-20E3-82BF22A5C524}"/>
                      </a:ext>
                    </a:extLst>
                  </p:cNvPr>
                  <p:cNvSpPr/>
                  <p:nvPr/>
                </p:nvSpPr>
                <p:spPr>
                  <a:xfrm>
                    <a:off x="77615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40" name="Freeform: Shape 2239">
                    <a:extLst>
                      <a:ext uri="{FF2B5EF4-FFF2-40B4-BE49-F238E27FC236}">
                        <a16:creationId xmlns:a16="http://schemas.microsoft.com/office/drawing/2014/main" id="{5CBC645C-AD71-6E17-63AC-0FE17268519B}"/>
                      </a:ext>
                    </a:extLst>
                  </p:cNvPr>
                  <p:cNvSpPr/>
                  <p:nvPr/>
                </p:nvSpPr>
                <p:spPr>
                  <a:xfrm>
                    <a:off x="7723726"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1" name="Graphic 16">
                  <a:extLst>
                    <a:ext uri="{FF2B5EF4-FFF2-40B4-BE49-F238E27FC236}">
                      <a16:creationId xmlns:a16="http://schemas.microsoft.com/office/drawing/2014/main" id="{18160BE2-2232-884D-8766-3476ED087695}"/>
                    </a:ext>
                  </a:extLst>
                </p:cNvPr>
                <p:cNvGrpSpPr/>
                <p:nvPr/>
              </p:nvGrpSpPr>
              <p:grpSpPr>
                <a:xfrm>
                  <a:off x="7714487" y="3960113"/>
                  <a:ext cx="75628" cy="75723"/>
                  <a:chOff x="7714487" y="3960113"/>
                  <a:chExt cx="75628" cy="75723"/>
                </a:xfrm>
              </p:grpSpPr>
              <p:sp>
                <p:nvSpPr>
                  <p:cNvPr id="2237" name="Freeform: Shape 2236">
                    <a:extLst>
                      <a:ext uri="{FF2B5EF4-FFF2-40B4-BE49-F238E27FC236}">
                        <a16:creationId xmlns:a16="http://schemas.microsoft.com/office/drawing/2014/main" id="{443DBE9D-2F50-6063-1445-A72BE08B0B95}"/>
                      </a:ext>
                    </a:extLst>
                  </p:cNvPr>
                  <p:cNvSpPr/>
                  <p:nvPr/>
                </p:nvSpPr>
                <p:spPr>
                  <a:xfrm>
                    <a:off x="775230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38" name="Freeform: Shape 2237">
                    <a:extLst>
                      <a:ext uri="{FF2B5EF4-FFF2-40B4-BE49-F238E27FC236}">
                        <a16:creationId xmlns:a16="http://schemas.microsoft.com/office/drawing/2014/main" id="{CA8AB56D-1C56-3243-D406-F6A8B9418CD5}"/>
                      </a:ext>
                    </a:extLst>
                  </p:cNvPr>
                  <p:cNvSpPr/>
                  <p:nvPr/>
                </p:nvSpPr>
                <p:spPr>
                  <a:xfrm>
                    <a:off x="7714487"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2" name="Graphic 16">
                  <a:extLst>
                    <a:ext uri="{FF2B5EF4-FFF2-40B4-BE49-F238E27FC236}">
                      <a16:creationId xmlns:a16="http://schemas.microsoft.com/office/drawing/2014/main" id="{C724CAB1-7F0D-0E9C-3309-5221A80438DF}"/>
                    </a:ext>
                  </a:extLst>
                </p:cNvPr>
                <p:cNvGrpSpPr/>
                <p:nvPr/>
              </p:nvGrpSpPr>
              <p:grpSpPr>
                <a:xfrm>
                  <a:off x="7732870" y="3960113"/>
                  <a:ext cx="75723" cy="75723"/>
                  <a:chOff x="7732870" y="3960113"/>
                  <a:chExt cx="75723" cy="75723"/>
                </a:xfrm>
              </p:grpSpPr>
              <p:sp>
                <p:nvSpPr>
                  <p:cNvPr id="2235" name="Freeform: Shape 2234">
                    <a:extLst>
                      <a:ext uri="{FF2B5EF4-FFF2-40B4-BE49-F238E27FC236}">
                        <a16:creationId xmlns:a16="http://schemas.microsoft.com/office/drawing/2014/main" id="{A89C9741-C15B-6943-C3A0-124E66654C6F}"/>
                      </a:ext>
                    </a:extLst>
                  </p:cNvPr>
                  <p:cNvSpPr/>
                  <p:nvPr/>
                </p:nvSpPr>
                <p:spPr>
                  <a:xfrm>
                    <a:off x="777078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36" name="Freeform: Shape 2235">
                    <a:extLst>
                      <a:ext uri="{FF2B5EF4-FFF2-40B4-BE49-F238E27FC236}">
                        <a16:creationId xmlns:a16="http://schemas.microsoft.com/office/drawing/2014/main" id="{47E02A27-43F6-D346-E089-0A7070FE8CE3}"/>
                      </a:ext>
                    </a:extLst>
                  </p:cNvPr>
                  <p:cNvSpPr/>
                  <p:nvPr/>
                </p:nvSpPr>
                <p:spPr>
                  <a:xfrm>
                    <a:off x="773287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3" name="Graphic 16">
                  <a:extLst>
                    <a:ext uri="{FF2B5EF4-FFF2-40B4-BE49-F238E27FC236}">
                      <a16:creationId xmlns:a16="http://schemas.microsoft.com/office/drawing/2014/main" id="{A99474D5-E9DF-0D1C-7538-1DF8437B42DF}"/>
                    </a:ext>
                  </a:extLst>
                </p:cNvPr>
                <p:cNvGrpSpPr/>
                <p:nvPr/>
              </p:nvGrpSpPr>
              <p:grpSpPr>
                <a:xfrm>
                  <a:off x="7761541" y="3960113"/>
                  <a:ext cx="75723" cy="75723"/>
                  <a:chOff x="7761541" y="3960113"/>
                  <a:chExt cx="75723" cy="75723"/>
                </a:xfrm>
              </p:grpSpPr>
              <p:sp>
                <p:nvSpPr>
                  <p:cNvPr id="2233" name="Freeform: Shape 2232">
                    <a:extLst>
                      <a:ext uri="{FF2B5EF4-FFF2-40B4-BE49-F238E27FC236}">
                        <a16:creationId xmlns:a16="http://schemas.microsoft.com/office/drawing/2014/main" id="{A4F2313D-47DF-208C-EBD5-EF7C13E9BB71}"/>
                      </a:ext>
                    </a:extLst>
                  </p:cNvPr>
                  <p:cNvSpPr/>
                  <p:nvPr/>
                </p:nvSpPr>
                <p:spPr>
                  <a:xfrm>
                    <a:off x="7799355"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34" name="Freeform: Shape 2233">
                    <a:extLst>
                      <a:ext uri="{FF2B5EF4-FFF2-40B4-BE49-F238E27FC236}">
                        <a16:creationId xmlns:a16="http://schemas.microsoft.com/office/drawing/2014/main" id="{989D1AC2-B066-8A41-6C38-39BE2F30F2D5}"/>
                      </a:ext>
                    </a:extLst>
                  </p:cNvPr>
                  <p:cNvSpPr/>
                  <p:nvPr/>
                </p:nvSpPr>
                <p:spPr>
                  <a:xfrm>
                    <a:off x="77615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4" name="Graphic 16">
                  <a:extLst>
                    <a:ext uri="{FF2B5EF4-FFF2-40B4-BE49-F238E27FC236}">
                      <a16:creationId xmlns:a16="http://schemas.microsoft.com/office/drawing/2014/main" id="{60B5C0EB-D4C6-A288-DE4B-D41B3F6700D8}"/>
                    </a:ext>
                  </a:extLst>
                </p:cNvPr>
                <p:cNvGrpSpPr/>
                <p:nvPr/>
              </p:nvGrpSpPr>
              <p:grpSpPr>
                <a:xfrm>
                  <a:off x="7752301" y="3960113"/>
                  <a:ext cx="75723" cy="75723"/>
                  <a:chOff x="7752301" y="3960113"/>
                  <a:chExt cx="75723" cy="75723"/>
                </a:xfrm>
              </p:grpSpPr>
              <p:sp>
                <p:nvSpPr>
                  <p:cNvPr id="2231" name="Freeform: Shape 2230">
                    <a:extLst>
                      <a:ext uri="{FF2B5EF4-FFF2-40B4-BE49-F238E27FC236}">
                        <a16:creationId xmlns:a16="http://schemas.microsoft.com/office/drawing/2014/main" id="{25637153-C523-BFD9-CDB9-03A3D891DDB6}"/>
                      </a:ext>
                    </a:extLst>
                  </p:cNvPr>
                  <p:cNvSpPr/>
                  <p:nvPr/>
                </p:nvSpPr>
                <p:spPr>
                  <a:xfrm>
                    <a:off x="77901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32" name="Freeform: Shape 2231">
                    <a:extLst>
                      <a:ext uri="{FF2B5EF4-FFF2-40B4-BE49-F238E27FC236}">
                        <a16:creationId xmlns:a16="http://schemas.microsoft.com/office/drawing/2014/main" id="{DBC3D528-F6D6-798C-1F4F-C68BF8FC22BE}"/>
                      </a:ext>
                    </a:extLst>
                  </p:cNvPr>
                  <p:cNvSpPr/>
                  <p:nvPr/>
                </p:nvSpPr>
                <p:spPr>
                  <a:xfrm>
                    <a:off x="77523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5" name="Graphic 16">
                  <a:extLst>
                    <a:ext uri="{FF2B5EF4-FFF2-40B4-BE49-F238E27FC236}">
                      <a16:creationId xmlns:a16="http://schemas.microsoft.com/office/drawing/2014/main" id="{A0BB71A7-3252-3BA4-A3D4-159B9B61E215}"/>
                    </a:ext>
                  </a:extLst>
                </p:cNvPr>
                <p:cNvGrpSpPr/>
                <p:nvPr/>
              </p:nvGrpSpPr>
              <p:grpSpPr>
                <a:xfrm>
                  <a:off x="7770780" y="3960113"/>
                  <a:ext cx="75628" cy="75723"/>
                  <a:chOff x="7770780" y="3960113"/>
                  <a:chExt cx="75628" cy="75723"/>
                </a:xfrm>
              </p:grpSpPr>
              <p:sp>
                <p:nvSpPr>
                  <p:cNvPr id="2229" name="Freeform: Shape 2228">
                    <a:extLst>
                      <a:ext uri="{FF2B5EF4-FFF2-40B4-BE49-F238E27FC236}">
                        <a16:creationId xmlns:a16="http://schemas.microsoft.com/office/drawing/2014/main" id="{2D8E3371-8453-E49C-73C9-EF0213F2DB07}"/>
                      </a:ext>
                    </a:extLst>
                  </p:cNvPr>
                  <p:cNvSpPr/>
                  <p:nvPr/>
                </p:nvSpPr>
                <p:spPr>
                  <a:xfrm>
                    <a:off x="78085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30" name="Freeform: Shape 2229">
                    <a:extLst>
                      <a:ext uri="{FF2B5EF4-FFF2-40B4-BE49-F238E27FC236}">
                        <a16:creationId xmlns:a16="http://schemas.microsoft.com/office/drawing/2014/main" id="{DCB3DEF4-F6FD-AF76-7A13-36108531C254}"/>
                      </a:ext>
                    </a:extLst>
                  </p:cNvPr>
                  <p:cNvSpPr/>
                  <p:nvPr/>
                </p:nvSpPr>
                <p:spPr>
                  <a:xfrm>
                    <a:off x="777078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6" name="Graphic 16">
                  <a:extLst>
                    <a:ext uri="{FF2B5EF4-FFF2-40B4-BE49-F238E27FC236}">
                      <a16:creationId xmlns:a16="http://schemas.microsoft.com/office/drawing/2014/main" id="{1E4139F1-D7BE-E524-2B13-DE67F56E0567}"/>
                    </a:ext>
                  </a:extLst>
                </p:cNvPr>
                <p:cNvGrpSpPr/>
                <p:nvPr/>
              </p:nvGrpSpPr>
              <p:grpSpPr>
                <a:xfrm>
                  <a:off x="7891747" y="3960113"/>
                  <a:ext cx="75723" cy="75723"/>
                  <a:chOff x="7891747" y="3960113"/>
                  <a:chExt cx="75723" cy="75723"/>
                </a:xfrm>
              </p:grpSpPr>
              <p:sp>
                <p:nvSpPr>
                  <p:cNvPr id="2227" name="Freeform: Shape 2226">
                    <a:extLst>
                      <a:ext uri="{FF2B5EF4-FFF2-40B4-BE49-F238E27FC236}">
                        <a16:creationId xmlns:a16="http://schemas.microsoft.com/office/drawing/2014/main" id="{CCA94330-06D9-8E61-C264-BCEFE2560EEF}"/>
                      </a:ext>
                    </a:extLst>
                  </p:cNvPr>
                  <p:cNvSpPr/>
                  <p:nvPr/>
                </p:nvSpPr>
                <p:spPr>
                  <a:xfrm>
                    <a:off x="792956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28" name="Freeform: Shape 2227">
                    <a:extLst>
                      <a:ext uri="{FF2B5EF4-FFF2-40B4-BE49-F238E27FC236}">
                        <a16:creationId xmlns:a16="http://schemas.microsoft.com/office/drawing/2014/main" id="{DDEF4162-29AF-F8DA-B3AC-9A09BBA311E1}"/>
                      </a:ext>
                    </a:extLst>
                  </p:cNvPr>
                  <p:cNvSpPr/>
                  <p:nvPr/>
                </p:nvSpPr>
                <p:spPr>
                  <a:xfrm>
                    <a:off x="789174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7" name="Graphic 16">
                  <a:extLst>
                    <a:ext uri="{FF2B5EF4-FFF2-40B4-BE49-F238E27FC236}">
                      <a16:creationId xmlns:a16="http://schemas.microsoft.com/office/drawing/2014/main" id="{904EDCA6-3F26-1333-2CF8-00FDC71FBB52}"/>
                    </a:ext>
                  </a:extLst>
                </p:cNvPr>
                <p:cNvGrpSpPr/>
                <p:nvPr/>
              </p:nvGrpSpPr>
              <p:grpSpPr>
                <a:xfrm>
                  <a:off x="7853933" y="3960113"/>
                  <a:ext cx="75628" cy="75723"/>
                  <a:chOff x="7853933" y="3960113"/>
                  <a:chExt cx="75628" cy="75723"/>
                </a:xfrm>
              </p:grpSpPr>
              <p:sp>
                <p:nvSpPr>
                  <p:cNvPr id="2225" name="Freeform: Shape 2224">
                    <a:extLst>
                      <a:ext uri="{FF2B5EF4-FFF2-40B4-BE49-F238E27FC236}">
                        <a16:creationId xmlns:a16="http://schemas.microsoft.com/office/drawing/2014/main" id="{91ED8353-5727-C135-F1F1-AB61E372C5C2}"/>
                      </a:ext>
                    </a:extLst>
                  </p:cNvPr>
                  <p:cNvSpPr/>
                  <p:nvPr/>
                </p:nvSpPr>
                <p:spPr>
                  <a:xfrm>
                    <a:off x="789174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26" name="Freeform: Shape 2225">
                    <a:extLst>
                      <a:ext uri="{FF2B5EF4-FFF2-40B4-BE49-F238E27FC236}">
                        <a16:creationId xmlns:a16="http://schemas.microsoft.com/office/drawing/2014/main" id="{E0E437AF-426C-5716-6DCB-36A69B1A8EB7}"/>
                      </a:ext>
                    </a:extLst>
                  </p:cNvPr>
                  <p:cNvSpPr/>
                  <p:nvPr/>
                </p:nvSpPr>
                <p:spPr>
                  <a:xfrm>
                    <a:off x="7853933"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8" name="Graphic 16">
                  <a:extLst>
                    <a:ext uri="{FF2B5EF4-FFF2-40B4-BE49-F238E27FC236}">
                      <a16:creationId xmlns:a16="http://schemas.microsoft.com/office/drawing/2014/main" id="{59914564-CA40-B51C-82C4-ED30CD896AF6}"/>
                    </a:ext>
                  </a:extLst>
                </p:cNvPr>
                <p:cNvGrpSpPr/>
                <p:nvPr/>
              </p:nvGrpSpPr>
              <p:grpSpPr>
                <a:xfrm>
                  <a:off x="7873459" y="3960113"/>
                  <a:ext cx="75628" cy="75723"/>
                  <a:chOff x="7873459" y="3960113"/>
                  <a:chExt cx="75628" cy="75723"/>
                </a:xfrm>
              </p:grpSpPr>
              <p:sp>
                <p:nvSpPr>
                  <p:cNvPr id="2223" name="Freeform: Shape 2222">
                    <a:extLst>
                      <a:ext uri="{FF2B5EF4-FFF2-40B4-BE49-F238E27FC236}">
                        <a16:creationId xmlns:a16="http://schemas.microsoft.com/office/drawing/2014/main" id="{F02DC870-0F76-4B75-AC27-DB70FAAE93A3}"/>
                      </a:ext>
                    </a:extLst>
                  </p:cNvPr>
                  <p:cNvSpPr/>
                  <p:nvPr/>
                </p:nvSpPr>
                <p:spPr>
                  <a:xfrm>
                    <a:off x="791127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24" name="Freeform: Shape 2223">
                    <a:extLst>
                      <a:ext uri="{FF2B5EF4-FFF2-40B4-BE49-F238E27FC236}">
                        <a16:creationId xmlns:a16="http://schemas.microsoft.com/office/drawing/2014/main" id="{DE53F77E-EA58-05D7-FE1A-8A7DFCF3B7EC}"/>
                      </a:ext>
                    </a:extLst>
                  </p:cNvPr>
                  <p:cNvSpPr/>
                  <p:nvPr/>
                </p:nvSpPr>
                <p:spPr>
                  <a:xfrm>
                    <a:off x="7873459"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39" name="Graphic 16">
                  <a:extLst>
                    <a:ext uri="{FF2B5EF4-FFF2-40B4-BE49-F238E27FC236}">
                      <a16:creationId xmlns:a16="http://schemas.microsoft.com/office/drawing/2014/main" id="{B7B4B54B-BBE6-5C93-ECB0-6B7767C0476E}"/>
                    </a:ext>
                  </a:extLst>
                </p:cNvPr>
                <p:cNvGrpSpPr/>
                <p:nvPr/>
              </p:nvGrpSpPr>
              <p:grpSpPr>
                <a:xfrm>
                  <a:off x="8087772" y="3960113"/>
                  <a:ext cx="75628" cy="75723"/>
                  <a:chOff x="8087772" y="3960113"/>
                  <a:chExt cx="75628" cy="75723"/>
                </a:xfrm>
              </p:grpSpPr>
              <p:sp>
                <p:nvSpPr>
                  <p:cNvPr id="2221" name="Freeform: Shape 2220">
                    <a:extLst>
                      <a:ext uri="{FF2B5EF4-FFF2-40B4-BE49-F238E27FC236}">
                        <a16:creationId xmlns:a16="http://schemas.microsoft.com/office/drawing/2014/main" id="{66592A53-9C39-EDC1-4F6C-5D3C536EA114}"/>
                      </a:ext>
                    </a:extLst>
                  </p:cNvPr>
                  <p:cNvSpPr/>
                  <p:nvPr/>
                </p:nvSpPr>
                <p:spPr>
                  <a:xfrm>
                    <a:off x="812558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22" name="Freeform: Shape 2221">
                    <a:extLst>
                      <a:ext uri="{FF2B5EF4-FFF2-40B4-BE49-F238E27FC236}">
                        <a16:creationId xmlns:a16="http://schemas.microsoft.com/office/drawing/2014/main" id="{E1F59D29-1651-64E6-E0D8-ECE73FE9F2E3}"/>
                      </a:ext>
                    </a:extLst>
                  </p:cNvPr>
                  <p:cNvSpPr/>
                  <p:nvPr/>
                </p:nvSpPr>
                <p:spPr>
                  <a:xfrm>
                    <a:off x="8087772"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0" name="Graphic 16">
                  <a:extLst>
                    <a:ext uri="{FF2B5EF4-FFF2-40B4-BE49-F238E27FC236}">
                      <a16:creationId xmlns:a16="http://schemas.microsoft.com/office/drawing/2014/main" id="{CD501590-7A9F-F9B6-D233-25B4E498363D}"/>
                    </a:ext>
                  </a:extLst>
                </p:cNvPr>
                <p:cNvGrpSpPr/>
                <p:nvPr/>
              </p:nvGrpSpPr>
              <p:grpSpPr>
                <a:xfrm>
                  <a:off x="8049862" y="3960113"/>
                  <a:ext cx="75723" cy="75723"/>
                  <a:chOff x="8049862" y="3960113"/>
                  <a:chExt cx="75723" cy="75723"/>
                </a:xfrm>
              </p:grpSpPr>
              <p:sp>
                <p:nvSpPr>
                  <p:cNvPr id="2219" name="Freeform: Shape 2218">
                    <a:extLst>
                      <a:ext uri="{FF2B5EF4-FFF2-40B4-BE49-F238E27FC236}">
                        <a16:creationId xmlns:a16="http://schemas.microsoft.com/office/drawing/2014/main" id="{ED2C9EDC-750A-A9E1-8F10-8C75995C4717}"/>
                      </a:ext>
                    </a:extLst>
                  </p:cNvPr>
                  <p:cNvSpPr/>
                  <p:nvPr/>
                </p:nvSpPr>
                <p:spPr>
                  <a:xfrm>
                    <a:off x="808777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20" name="Freeform: Shape 2219">
                    <a:extLst>
                      <a:ext uri="{FF2B5EF4-FFF2-40B4-BE49-F238E27FC236}">
                        <a16:creationId xmlns:a16="http://schemas.microsoft.com/office/drawing/2014/main" id="{BFE82A70-0EE2-32BB-C5AE-A8418DB10C0E}"/>
                      </a:ext>
                    </a:extLst>
                  </p:cNvPr>
                  <p:cNvSpPr/>
                  <p:nvPr/>
                </p:nvSpPr>
                <p:spPr>
                  <a:xfrm>
                    <a:off x="804986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1" name="Graphic 16">
                  <a:extLst>
                    <a:ext uri="{FF2B5EF4-FFF2-40B4-BE49-F238E27FC236}">
                      <a16:creationId xmlns:a16="http://schemas.microsoft.com/office/drawing/2014/main" id="{952738DF-18C8-1837-EB53-1371E24204A1}"/>
                    </a:ext>
                  </a:extLst>
                </p:cNvPr>
                <p:cNvGrpSpPr/>
                <p:nvPr/>
              </p:nvGrpSpPr>
              <p:grpSpPr>
                <a:xfrm>
                  <a:off x="7996046" y="3960113"/>
                  <a:ext cx="75628" cy="75723"/>
                  <a:chOff x="7996046" y="3960113"/>
                  <a:chExt cx="75628" cy="75723"/>
                </a:xfrm>
              </p:grpSpPr>
              <p:sp>
                <p:nvSpPr>
                  <p:cNvPr id="2217" name="Freeform: Shape 2216">
                    <a:extLst>
                      <a:ext uri="{FF2B5EF4-FFF2-40B4-BE49-F238E27FC236}">
                        <a16:creationId xmlns:a16="http://schemas.microsoft.com/office/drawing/2014/main" id="{EE462A58-B422-7191-44A2-75771E6A665F}"/>
                      </a:ext>
                    </a:extLst>
                  </p:cNvPr>
                  <p:cNvSpPr/>
                  <p:nvPr/>
                </p:nvSpPr>
                <p:spPr>
                  <a:xfrm>
                    <a:off x="803386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18" name="Freeform: Shape 2217">
                    <a:extLst>
                      <a:ext uri="{FF2B5EF4-FFF2-40B4-BE49-F238E27FC236}">
                        <a16:creationId xmlns:a16="http://schemas.microsoft.com/office/drawing/2014/main" id="{0B9E22F8-2EBC-ABC8-5C1E-C9ED5C8363D1}"/>
                      </a:ext>
                    </a:extLst>
                  </p:cNvPr>
                  <p:cNvSpPr/>
                  <p:nvPr/>
                </p:nvSpPr>
                <p:spPr>
                  <a:xfrm>
                    <a:off x="7996046"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2" name="Graphic 16">
                  <a:extLst>
                    <a:ext uri="{FF2B5EF4-FFF2-40B4-BE49-F238E27FC236}">
                      <a16:creationId xmlns:a16="http://schemas.microsoft.com/office/drawing/2014/main" id="{6527FCD2-E8FC-356C-0401-B0FB09B2FF44}"/>
                    </a:ext>
                  </a:extLst>
                </p:cNvPr>
                <p:cNvGrpSpPr/>
                <p:nvPr/>
              </p:nvGrpSpPr>
              <p:grpSpPr>
                <a:xfrm>
                  <a:off x="7942230" y="3960113"/>
                  <a:ext cx="75628" cy="75723"/>
                  <a:chOff x="7942230" y="3960113"/>
                  <a:chExt cx="75628" cy="75723"/>
                </a:xfrm>
              </p:grpSpPr>
              <p:sp>
                <p:nvSpPr>
                  <p:cNvPr id="2215" name="Freeform: Shape 2214">
                    <a:extLst>
                      <a:ext uri="{FF2B5EF4-FFF2-40B4-BE49-F238E27FC236}">
                        <a16:creationId xmlns:a16="http://schemas.microsoft.com/office/drawing/2014/main" id="{D15B178E-48CA-E825-E63F-ADEC041FD0C8}"/>
                      </a:ext>
                    </a:extLst>
                  </p:cNvPr>
                  <p:cNvSpPr/>
                  <p:nvPr/>
                </p:nvSpPr>
                <p:spPr>
                  <a:xfrm>
                    <a:off x="798004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16" name="Freeform: Shape 2215">
                    <a:extLst>
                      <a:ext uri="{FF2B5EF4-FFF2-40B4-BE49-F238E27FC236}">
                        <a16:creationId xmlns:a16="http://schemas.microsoft.com/office/drawing/2014/main" id="{186BA78C-368A-475E-6162-38C8CEA563FE}"/>
                      </a:ext>
                    </a:extLst>
                  </p:cNvPr>
                  <p:cNvSpPr/>
                  <p:nvPr/>
                </p:nvSpPr>
                <p:spPr>
                  <a:xfrm>
                    <a:off x="794223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3" name="Graphic 16">
                  <a:extLst>
                    <a:ext uri="{FF2B5EF4-FFF2-40B4-BE49-F238E27FC236}">
                      <a16:creationId xmlns:a16="http://schemas.microsoft.com/office/drawing/2014/main" id="{9B3AC275-C38F-DE3E-F79F-941751E43C7C}"/>
                    </a:ext>
                  </a:extLst>
                </p:cNvPr>
                <p:cNvGrpSpPr/>
                <p:nvPr/>
              </p:nvGrpSpPr>
              <p:grpSpPr>
                <a:xfrm>
                  <a:off x="8240934" y="3960113"/>
                  <a:ext cx="75723" cy="75723"/>
                  <a:chOff x="8240934" y="3960113"/>
                  <a:chExt cx="75723" cy="75723"/>
                </a:xfrm>
              </p:grpSpPr>
              <p:sp>
                <p:nvSpPr>
                  <p:cNvPr id="2213" name="Freeform: Shape 2212">
                    <a:extLst>
                      <a:ext uri="{FF2B5EF4-FFF2-40B4-BE49-F238E27FC236}">
                        <a16:creationId xmlns:a16="http://schemas.microsoft.com/office/drawing/2014/main" id="{B30F8368-238B-CEEF-EF3B-95F8BAAAF264}"/>
                      </a:ext>
                    </a:extLst>
                  </p:cNvPr>
                  <p:cNvSpPr/>
                  <p:nvPr/>
                </p:nvSpPr>
                <p:spPr>
                  <a:xfrm>
                    <a:off x="827884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14" name="Freeform: Shape 2213">
                    <a:extLst>
                      <a:ext uri="{FF2B5EF4-FFF2-40B4-BE49-F238E27FC236}">
                        <a16:creationId xmlns:a16="http://schemas.microsoft.com/office/drawing/2014/main" id="{5843DEF0-1541-D690-0255-C141C19A1F02}"/>
                      </a:ext>
                    </a:extLst>
                  </p:cNvPr>
                  <p:cNvSpPr/>
                  <p:nvPr/>
                </p:nvSpPr>
                <p:spPr>
                  <a:xfrm>
                    <a:off x="8240934"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4" name="Graphic 16">
                  <a:extLst>
                    <a:ext uri="{FF2B5EF4-FFF2-40B4-BE49-F238E27FC236}">
                      <a16:creationId xmlns:a16="http://schemas.microsoft.com/office/drawing/2014/main" id="{BEC82654-F0BD-24EC-AFD4-43FC1776CBB9}"/>
                    </a:ext>
                  </a:extLst>
                </p:cNvPr>
                <p:cNvGrpSpPr/>
                <p:nvPr/>
              </p:nvGrpSpPr>
              <p:grpSpPr>
                <a:xfrm>
                  <a:off x="8253316" y="3960113"/>
                  <a:ext cx="75723" cy="75723"/>
                  <a:chOff x="8253316" y="3960113"/>
                  <a:chExt cx="75723" cy="75723"/>
                </a:xfrm>
              </p:grpSpPr>
              <p:sp>
                <p:nvSpPr>
                  <p:cNvPr id="2211" name="Freeform: Shape 2210">
                    <a:extLst>
                      <a:ext uri="{FF2B5EF4-FFF2-40B4-BE49-F238E27FC236}">
                        <a16:creationId xmlns:a16="http://schemas.microsoft.com/office/drawing/2014/main" id="{7C40D67A-4C2B-4778-902C-12A1BC7C44C3}"/>
                      </a:ext>
                    </a:extLst>
                  </p:cNvPr>
                  <p:cNvSpPr/>
                  <p:nvPr/>
                </p:nvSpPr>
                <p:spPr>
                  <a:xfrm>
                    <a:off x="82912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12" name="Freeform: Shape 2211">
                    <a:extLst>
                      <a:ext uri="{FF2B5EF4-FFF2-40B4-BE49-F238E27FC236}">
                        <a16:creationId xmlns:a16="http://schemas.microsoft.com/office/drawing/2014/main" id="{615EE824-F283-994B-C9AB-CFFA06052339}"/>
                      </a:ext>
                    </a:extLst>
                  </p:cNvPr>
                  <p:cNvSpPr/>
                  <p:nvPr/>
                </p:nvSpPr>
                <p:spPr>
                  <a:xfrm>
                    <a:off x="8253316"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5" name="Graphic 16">
                  <a:extLst>
                    <a:ext uri="{FF2B5EF4-FFF2-40B4-BE49-F238E27FC236}">
                      <a16:creationId xmlns:a16="http://schemas.microsoft.com/office/drawing/2014/main" id="{E8CD59EC-7A83-EE25-C097-A94AF87FB5D4}"/>
                    </a:ext>
                  </a:extLst>
                </p:cNvPr>
                <p:cNvGrpSpPr/>
                <p:nvPr/>
              </p:nvGrpSpPr>
              <p:grpSpPr>
                <a:xfrm>
                  <a:off x="8215502" y="3960113"/>
                  <a:ext cx="75723" cy="75723"/>
                  <a:chOff x="8215502" y="3960113"/>
                  <a:chExt cx="75723" cy="75723"/>
                </a:xfrm>
              </p:grpSpPr>
              <p:sp>
                <p:nvSpPr>
                  <p:cNvPr id="2209" name="Freeform: Shape 2208">
                    <a:extLst>
                      <a:ext uri="{FF2B5EF4-FFF2-40B4-BE49-F238E27FC236}">
                        <a16:creationId xmlns:a16="http://schemas.microsoft.com/office/drawing/2014/main" id="{3BCAAB53-6C93-80F6-909E-D95CA79A343C}"/>
                      </a:ext>
                    </a:extLst>
                  </p:cNvPr>
                  <p:cNvSpPr/>
                  <p:nvPr/>
                </p:nvSpPr>
                <p:spPr>
                  <a:xfrm>
                    <a:off x="82533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10" name="Freeform: Shape 2209">
                    <a:extLst>
                      <a:ext uri="{FF2B5EF4-FFF2-40B4-BE49-F238E27FC236}">
                        <a16:creationId xmlns:a16="http://schemas.microsoft.com/office/drawing/2014/main" id="{1A809514-030B-69EA-2361-7DB67EF54C50}"/>
                      </a:ext>
                    </a:extLst>
                  </p:cNvPr>
                  <p:cNvSpPr/>
                  <p:nvPr/>
                </p:nvSpPr>
                <p:spPr>
                  <a:xfrm>
                    <a:off x="821550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6" name="Graphic 16">
                  <a:extLst>
                    <a:ext uri="{FF2B5EF4-FFF2-40B4-BE49-F238E27FC236}">
                      <a16:creationId xmlns:a16="http://schemas.microsoft.com/office/drawing/2014/main" id="{ADB12602-4D5C-86B7-CC5B-765089B1E3A6}"/>
                    </a:ext>
                  </a:extLst>
                </p:cNvPr>
                <p:cNvGrpSpPr/>
                <p:nvPr/>
              </p:nvGrpSpPr>
              <p:grpSpPr>
                <a:xfrm>
                  <a:off x="8146827" y="3960113"/>
                  <a:ext cx="75723" cy="75723"/>
                  <a:chOff x="8146827" y="3960113"/>
                  <a:chExt cx="75723" cy="75723"/>
                </a:xfrm>
              </p:grpSpPr>
              <p:sp>
                <p:nvSpPr>
                  <p:cNvPr id="2207" name="Freeform: Shape 2206">
                    <a:extLst>
                      <a:ext uri="{FF2B5EF4-FFF2-40B4-BE49-F238E27FC236}">
                        <a16:creationId xmlns:a16="http://schemas.microsoft.com/office/drawing/2014/main" id="{84371950-F172-FBDA-A886-37810611F1C7}"/>
                      </a:ext>
                    </a:extLst>
                  </p:cNvPr>
                  <p:cNvSpPr/>
                  <p:nvPr/>
                </p:nvSpPr>
                <p:spPr>
                  <a:xfrm>
                    <a:off x="818473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08" name="Freeform: Shape 2207">
                    <a:extLst>
                      <a:ext uri="{FF2B5EF4-FFF2-40B4-BE49-F238E27FC236}">
                        <a16:creationId xmlns:a16="http://schemas.microsoft.com/office/drawing/2014/main" id="{685ACCE5-D6AA-A9DE-3575-F7D34F5029F8}"/>
                      </a:ext>
                    </a:extLst>
                  </p:cNvPr>
                  <p:cNvSpPr/>
                  <p:nvPr/>
                </p:nvSpPr>
                <p:spPr>
                  <a:xfrm>
                    <a:off x="814682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7" name="Graphic 16">
                  <a:extLst>
                    <a:ext uri="{FF2B5EF4-FFF2-40B4-BE49-F238E27FC236}">
                      <a16:creationId xmlns:a16="http://schemas.microsoft.com/office/drawing/2014/main" id="{603DEF2B-EB84-9AC2-C1B5-55476AD7158B}"/>
                    </a:ext>
                  </a:extLst>
                </p:cNvPr>
                <p:cNvGrpSpPr/>
                <p:nvPr/>
              </p:nvGrpSpPr>
              <p:grpSpPr>
                <a:xfrm>
                  <a:off x="7920322" y="3960113"/>
                  <a:ext cx="75723" cy="75723"/>
                  <a:chOff x="7920322" y="3960113"/>
                  <a:chExt cx="75723" cy="75723"/>
                </a:xfrm>
              </p:grpSpPr>
              <p:sp>
                <p:nvSpPr>
                  <p:cNvPr id="2205" name="Freeform: Shape 2204">
                    <a:extLst>
                      <a:ext uri="{FF2B5EF4-FFF2-40B4-BE49-F238E27FC236}">
                        <a16:creationId xmlns:a16="http://schemas.microsoft.com/office/drawing/2014/main" id="{60A3BF12-E11A-D608-A9A3-97007A76F297}"/>
                      </a:ext>
                    </a:extLst>
                  </p:cNvPr>
                  <p:cNvSpPr/>
                  <p:nvPr/>
                </p:nvSpPr>
                <p:spPr>
                  <a:xfrm>
                    <a:off x="795813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06" name="Freeform: Shape 2205">
                    <a:extLst>
                      <a:ext uri="{FF2B5EF4-FFF2-40B4-BE49-F238E27FC236}">
                        <a16:creationId xmlns:a16="http://schemas.microsoft.com/office/drawing/2014/main" id="{268B08AD-CA39-131E-93D4-F9EC260AA01C}"/>
                      </a:ext>
                    </a:extLst>
                  </p:cNvPr>
                  <p:cNvSpPr/>
                  <p:nvPr/>
                </p:nvSpPr>
                <p:spPr>
                  <a:xfrm>
                    <a:off x="792032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8" name="Graphic 16">
                  <a:extLst>
                    <a:ext uri="{FF2B5EF4-FFF2-40B4-BE49-F238E27FC236}">
                      <a16:creationId xmlns:a16="http://schemas.microsoft.com/office/drawing/2014/main" id="{C0445338-B1E7-2F65-BA32-6A5CCBD1ECD7}"/>
                    </a:ext>
                  </a:extLst>
                </p:cNvPr>
                <p:cNvGrpSpPr/>
                <p:nvPr/>
              </p:nvGrpSpPr>
              <p:grpSpPr>
                <a:xfrm>
                  <a:off x="7685817" y="3960113"/>
                  <a:ext cx="75723" cy="75723"/>
                  <a:chOff x="7685817" y="3960113"/>
                  <a:chExt cx="75723" cy="75723"/>
                </a:xfrm>
              </p:grpSpPr>
              <p:sp>
                <p:nvSpPr>
                  <p:cNvPr id="2203" name="Freeform: Shape 2202">
                    <a:extLst>
                      <a:ext uri="{FF2B5EF4-FFF2-40B4-BE49-F238E27FC236}">
                        <a16:creationId xmlns:a16="http://schemas.microsoft.com/office/drawing/2014/main" id="{F56D13F0-7D7E-55F7-19EC-DFBD1D58D8AA}"/>
                      </a:ext>
                    </a:extLst>
                  </p:cNvPr>
                  <p:cNvSpPr/>
                  <p:nvPr/>
                </p:nvSpPr>
                <p:spPr>
                  <a:xfrm>
                    <a:off x="77237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04" name="Freeform: Shape 2203">
                    <a:extLst>
                      <a:ext uri="{FF2B5EF4-FFF2-40B4-BE49-F238E27FC236}">
                        <a16:creationId xmlns:a16="http://schemas.microsoft.com/office/drawing/2014/main" id="{5CC425D8-8C9B-CADD-2181-CD14B4D35216}"/>
                      </a:ext>
                    </a:extLst>
                  </p:cNvPr>
                  <p:cNvSpPr/>
                  <p:nvPr/>
                </p:nvSpPr>
                <p:spPr>
                  <a:xfrm>
                    <a:off x="7685817"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9" name="Graphic 16">
                  <a:extLst>
                    <a:ext uri="{FF2B5EF4-FFF2-40B4-BE49-F238E27FC236}">
                      <a16:creationId xmlns:a16="http://schemas.microsoft.com/office/drawing/2014/main" id="{3CBCD407-4A50-BAE3-9265-ED72CF1449B4}"/>
                    </a:ext>
                  </a:extLst>
                </p:cNvPr>
                <p:cNvGrpSpPr/>
                <p:nvPr/>
              </p:nvGrpSpPr>
              <p:grpSpPr>
                <a:xfrm>
                  <a:off x="7676578" y="3960113"/>
                  <a:ext cx="75723" cy="75723"/>
                  <a:chOff x="7676578" y="3960113"/>
                  <a:chExt cx="75723" cy="75723"/>
                </a:xfrm>
              </p:grpSpPr>
              <p:sp>
                <p:nvSpPr>
                  <p:cNvPr id="2201" name="Freeform: Shape 2200">
                    <a:extLst>
                      <a:ext uri="{FF2B5EF4-FFF2-40B4-BE49-F238E27FC236}">
                        <a16:creationId xmlns:a16="http://schemas.microsoft.com/office/drawing/2014/main" id="{8E026F18-34CF-885C-2CB9-14F8FAAB95A0}"/>
                      </a:ext>
                    </a:extLst>
                  </p:cNvPr>
                  <p:cNvSpPr/>
                  <p:nvPr/>
                </p:nvSpPr>
                <p:spPr>
                  <a:xfrm>
                    <a:off x="771448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02" name="Freeform: Shape 2201">
                    <a:extLst>
                      <a:ext uri="{FF2B5EF4-FFF2-40B4-BE49-F238E27FC236}">
                        <a16:creationId xmlns:a16="http://schemas.microsoft.com/office/drawing/2014/main" id="{9A76F094-95F3-F2EC-A5C2-BCE6C4C6B347}"/>
                      </a:ext>
                    </a:extLst>
                  </p:cNvPr>
                  <p:cNvSpPr/>
                  <p:nvPr/>
                </p:nvSpPr>
                <p:spPr>
                  <a:xfrm>
                    <a:off x="7676578"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0" name="Graphic 16">
                  <a:extLst>
                    <a:ext uri="{FF2B5EF4-FFF2-40B4-BE49-F238E27FC236}">
                      <a16:creationId xmlns:a16="http://schemas.microsoft.com/office/drawing/2014/main" id="{AA30B90C-1C00-162E-A8B1-A2923667142A}"/>
                    </a:ext>
                  </a:extLst>
                </p:cNvPr>
                <p:cNvGrpSpPr/>
                <p:nvPr/>
              </p:nvGrpSpPr>
              <p:grpSpPr>
                <a:xfrm>
                  <a:off x="7695056" y="3960113"/>
                  <a:ext cx="75723" cy="75723"/>
                  <a:chOff x="7695056" y="3960113"/>
                  <a:chExt cx="75723" cy="75723"/>
                </a:xfrm>
              </p:grpSpPr>
              <p:sp>
                <p:nvSpPr>
                  <p:cNvPr id="2199" name="Freeform: Shape 2198">
                    <a:extLst>
                      <a:ext uri="{FF2B5EF4-FFF2-40B4-BE49-F238E27FC236}">
                        <a16:creationId xmlns:a16="http://schemas.microsoft.com/office/drawing/2014/main" id="{D9239214-FB2C-8AA3-793A-D0458C4591BA}"/>
                      </a:ext>
                    </a:extLst>
                  </p:cNvPr>
                  <p:cNvSpPr/>
                  <p:nvPr/>
                </p:nvSpPr>
                <p:spPr>
                  <a:xfrm>
                    <a:off x="773287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00" name="Freeform: Shape 2199">
                    <a:extLst>
                      <a:ext uri="{FF2B5EF4-FFF2-40B4-BE49-F238E27FC236}">
                        <a16:creationId xmlns:a16="http://schemas.microsoft.com/office/drawing/2014/main" id="{DDCB895D-E67C-18B1-9C62-FC1CC6260405}"/>
                      </a:ext>
                    </a:extLst>
                  </p:cNvPr>
                  <p:cNvSpPr/>
                  <p:nvPr/>
                </p:nvSpPr>
                <p:spPr>
                  <a:xfrm>
                    <a:off x="7695056"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1" name="Graphic 16">
                  <a:extLst>
                    <a:ext uri="{FF2B5EF4-FFF2-40B4-BE49-F238E27FC236}">
                      <a16:creationId xmlns:a16="http://schemas.microsoft.com/office/drawing/2014/main" id="{C477B13A-AD1A-1B9F-1ED6-AD7F70320492}"/>
                    </a:ext>
                  </a:extLst>
                </p:cNvPr>
                <p:cNvGrpSpPr/>
                <p:nvPr/>
              </p:nvGrpSpPr>
              <p:grpSpPr>
                <a:xfrm>
                  <a:off x="8409526" y="3960113"/>
                  <a:ext cx="75628" cy="75723"/>
                  <a:chOff x="8409526" y="3960113"/>
                  <a:chExt cx="75628" cy="75723"/>
                </a:xfrm>
              </p:grpSpPr>
              <p:sp>
                <p:nvSpPr>
                  <p:cNvPr id="2197" name="Freeform: Shape 2196">
                    <a:extLst>
                      <a:ext uri="{FF2B5EF4-FFF2-40B4-BE49-F238E27FC236}">
                        <a16:creationId xmlns:a16="http://schemas.microsoft.com/office/drawing/2014/main" id="{35546293-6BA6-D1F7-BDE3-CF7F9BBB91A5}"/>
                      </a:ext>
                    </a:extLst>
                  </p:cNvPr>
                  <p:cNvSpPr/>
                  <p:nvPr/>
                </p:nvSpPr>
                <p:spPr>
                  <a:xfrm>
                    <a:off x="84473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98" name="Freeform: Shape 2197">
                    <a:extLst>
                      <a:ext uri="{FF2B5EF4-FFF2-40B4-BE49-F238E27FC236}">
                        <a16:creationId xmlns:a16="http://schemas.microsoft.com/office/drawing/2014/main" id="{7922C677-0355-EE12-15E9-A1264266FDBE}"/>
                      </a:ext>
                    </a:extLst>
                  </p:cNvPr>
                  <p:cNvSpPr/>
                  <p:nvPr/>
                </p:nvSpPr>
                <p:spPr>
                  <a:xfrm>
                    <a:off x="8409526"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2" name="Graphic 16">
                  <a:extLst>
                    <a:ext uri="{FF2B5EF4-FFF2-40B4-BE49-F238E27FC236}">
                      <a16:creationId xmlns:a16="http://schemas.microsoft.com/office/drawing/2014/main" id="{9A1EC282-D6FE-E0EE-56D0-03A03C2C9C44}"/>
                    </a:ext>
                  </a:extLst>
                </p:cNvPr>
                <p:cNvGrpSpPr/>
                <p:nvPr/>
              </p:nvGrpSpPr>
              <p:grpSpPr>
                <a:xfrm>
                  <a:off x="8381142" y="3960113"/>
                  <a:ext cx="75723" cy="75723"/>
                  <a:chOff x="8381142" y="3960113"/>
                  <a:chExt cx="75723" cy="75723"/>
                </a:xfrm>
              </p:grpSpPr>
              <p:sp>
                <p:nvSpPr>
                  <p:cNvPr id="2195" name="Freeform: Shape 2194">
                    <a:extLst>
                      <a:ext uri="{FF2B5EF4-FFF2-40B4-BE49-F238E27FC236}">
                        <a16:creationId xmlns:a16="http://schemas.microsoft.com/office/drawing/2014/main" id="{B2FDD2E1-C7F0-52F7-8F12-FD2166BADA3B}"/>
                      </a:ext>
                    </a:extLst>
                  </p:cNvPr>
                  <p:cNvSpPr/>
                  <p:nvPr/>
                </p:nvSpPr>
                <p:spPr>
                  <a:xfrm>
                    <a:off x="841895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96" name="Freeform: Shape 2195">
                    <a:extLst>
                      <a:ext uri="{FF2B5EF4-FFF2-40B4-BE49-F238E27FC236}">
                        <a16:creationId xmlns:a16="http://schemas.microsoft.com/office/drawing/2014/main" id="{62609CF8-B712-A123-5F81-AFA5D253CBD4}"/>
                      </a:ext>
                    </a:extLst>
                  </p:cNvPr>
                  <p:cNvSpPr/>
                  <p:nvPr/>
                </p:nvSpPr>
                <p:spPr>
                  <a:xfrm>
                    <a:off x="8381142"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3" name="Graphic 16">
                  <a:extLst>
                    <a:ext uri="{FF2B5EF4-FFF2-40B4-BE49-F238E27FC236}">
                      <a16:creationId xmlns:a16="http://schemas.microsoft.com/office/drawing/2014/main" id="{E86398F9-CC7B-8A48-DEF5-BA8B501DB4C7}"/>
                    </a:ext>
                  </a:extLst>
                </p:cNvPr>
                <p:cNvGrpSpPr/>
                <p:nvPr/>
              </p:nvGrpSpPr>
              <p:grpSpPr>
                <a:xfrm>
                  <a:off x="8343328" y="3960113"/>
                  <a:ext cx="75628" cy="75723"/>
                  <a:chOff x="8343328" y="3960113"/>
                  <a:chExt cx="75628" cy="75723"/>
                </a:xfrm>
              </p:grpSpPr>
              <p:sp>
                <p:nvSpPr>
                  <p:cNvPr id="2193" name="Freeform: Shape 2192">
                    <a:extLst>
                      <a:ext uri="{FF2B5EF4-FFF2-40B4-BE49-F238E27FC236}">
                        <a16:creationId xmlns:a16="http://schemas.microsoft.com/office/drawing/2014/main" id="{24D8DC47-23A9-7522-B018-4534D96B60C4}"/>
                      </a:ext>
                    </a:extLst>
                  </p:cNvPr>
                  <p:cNvSpPr/>
                  <p:nvPr/>
                </p:nvSpPr>
                <p:spPr>
                  <a:xfrm>
                    <a:off x="838114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94" name="Freeform: Shape 2193">
                    <a:extLst>
                      <a:ext uri="{FF2B5EF4-FFF2-40B4-BE49-F238E27FC236}">
                        <a16:creationId xmlns:a16="http://schemas.microsoft.com/office/drawing/2014/main" id="{043E4E7D-AC16-9D54-C2E9-6E21D190CC22}"/>
                      </a:ext>
                    </a:extLst>
                  </p:cNvPr>
                  <p:cNvSpPr/>
                  <p:nvPr/>
                </p:nvSpPr>
                <p:spPr>
                  <a:xfrm>
                    <a:off x="8343328"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4" name="Graphic 16">
                  <a:extLst>
                    <a:ext uri="{FF2B5EF4-FFF2-40B4-BE49-F238E27FC236}">
                      <a16:creationId xmlns:a16="http://schemas.microsoft.com/office/drawing/2014/main" id="{C3424899-0EDA-423C-8DEC-08D300F3F0C8}"/>
                    </a:ext>
                  </a:extLst>
                </p:cNvPr>
                <p:cNvGrpSpPr/>
                <p:nvPr/>
              </p:nvGrpSpPr>
              <p:grpSpPr>
                <a:xfrm>
                  <a:off x="8305418" y="3960113"/>
                  <a:ext cx="75723" cy="75723"/>
                  <a:chOff x="8305418" y="3960113"/>
                  <a:chExt cx="75723" cy="75723"/>
                </a:xfrm>
              </p:grpSpPr>
              <p:sp>
                <p:nvSpPr>
                  <p:cNvPr id="2191" name="Freeform: Shape 2190">
                    <a:extLst>
                      <a:ext uri="{FF2B5EF4-FFF2-40B4-BE49-F238E27FC236}">
                        <a16:creationId xmlns:a16="http://schemas.microsoft.com/office/drawing/2014/main" id="{A056B005-86AE-9B48-4C16-29321EAD0BFA}"/>
                      </a:ext>
                    </a:extLst>
                  </p:cNvPr>
                  <p:cNvSpPr/>
                  <p:nvPr/>
                </p:nvSpPr>
                <p:spPr>
                  <a:xfrm>
                    <a:off x="8343328"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92" name="Freeform: Shape 2191">
                    <a:extLst>
                      <a:ext uri="{FF2B5EF4-FFF2-40B4-BE49-F238E27FC236}">
                        <a16:creationId xmlns:a16="http://schemas.microsoft.com/office/drawing/2014/main" id="{C541FBDE-B617-0131-0872-176385CB0968}"/>
                      </a:ext>
                    </a:extLst>
                  </p:cNvPr>
                  <p:cNvSpPr/>
                  <p:nvPr/>
                </p:nvSpPr>
                <p:spPr>
                  <a:xfrm>
                    <a:off x="8305418" y="3998023"/>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5" name="Graphic 16">
                  <a:extLst>
                    <a:ext uri="{FF2B5EF4-FFF2-40B4-BE49-F238E27FC236}">
                      <a16:creationId xmlns:a16="http://schemas.microsoft.com/office/drawing/2014/main" id="{CD22E02A-088D-6473-95B5-74097E23B162}"/>
                    </a:ext>
                  </a:extLst>
                </p:cNvPr>
                <p:cNvGrpSpPr/>
                <p:nvPr/>
              </p:nvGrpSpPr>
              <p:grpSpPr>
                <a:xfrm>
                  <a:off x="7605140" y="3960113"/>
                  <a:ext cx="75723" cy="75723"/>
                  <a:chOff x="7605140" y="3960113"/>
                  <a:chExt cx="75723" cy="75723"/>
                </a:xfrm>
              </p:grpSpPr>
              <p:sp>
                <p:nvSpPr>
                  <p:cNvPr id="2189" name="Freeform: Shape 2188">
                    <a:extLst>
                      <a:ext uri="{FF2B5EF4-FFF2-40B4-BE49-F238E27FC236}">
                        <a16:creationId xmlns:a16="http://schemas.microsoft.com/office/drawing/2014/main" id="{33469311-D067-5C56-6B3D-15FFC820C8F0}"/>
                      </a:ext>
                    </a:extLst>
                  </p:cNvPr>
                  <p:cNvSpPr/>
                  <p:nvPr/>
                </p:nvSpPr>
                <p:spPr>
                  <a:xfrm>
                    <a:off x="76430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90" name="Freeform: Shape 2189">
                    <a:extLst>
                      <a:ext uri="{FF2B5EF4-FFF2-40B4-BE49-F238E27FC236}">
                        <a16:creationId xmlns:a16="http://schemas.microsoft.com/office/drawing/2014/main" id="{DA523C44-3732-302A-1CEA-1C3E2BB657A0}"/>
                      </a:ext>
                    </a:extLst>
                  </p:cNvPr>
                  <p:cNvSpPr/>
                  <p:nvPr/>
                </p:nvSpPr>
                <p:spPr>
                  <a:xfrm>
                    <a:off x="7605140"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6" name="Graphic 16">
                  <a:extLst>
                    <a:ext uri="{FF2B5EF4-FFF2-40B4-BE49-F238E27FC236}">
                      <a16:creationId xmlns:a16="http://schemas.microsoft.com/office/drawing/2014/main" id="{10C9FA6B-ACB8-A992-61E9-4929AB47DA86}"/>
                    </a:ext>
                  </a:extLst>
                </p:cNvPr>
                <p:cNvGrpSpPr/>
                <p:nvPr/>
              </p:nvGrpSpPr>
              <p:grpSpPr>
                <a:xfrm>
                  <a:off x="7383493" y="3924871"/>
                  <a:ext cx="75723" cy="75723"/>
                  <a:chOff x="7383493" y="3924871"/>
                  <a:chExt cx="75723" cy="75723"/>
                </a:xfrm>
              </p:grpSpPr>
              <p:sp>
                <p:nvSpPr>
                  <p:cNvPr id="2187" name="Freeform: Shape 2186">
                    <a:extLst>
                      <a:ext uri="{FF2B5EF4-FFF2-40B4-BE49-F238E27FC236}">
                        <a16:creationId xmlns:a16="http://schemas.microsoft.com/office/drawing/2014/main" id="{957F92F0-B185-7EF9-099A-41A5DF158C03}"/>
                      </a:ext>
                    </a:extLst>
                  </p:cNvPr>
                  <p:cNvSpPr/>
                  <p:nvPr/>
                </p:nvSpPr>
                <p:spPr>
                  <a:xfrm>
                    <a:off x="7421308"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88" name="Freeform: Shape 2187">
                    <a:extLst>
                      <a:ext uri="{FF2B5EF4-FFF2-40B4-BE49-F238E27FC236}">
                        <a16:creationId xmlns:a16="http://schemas.microsoft.com/office/drawing/2014/main" id="{FB017E6E-6C38-0C75-6C58-49C806218B2C}"/>
                      </a:ext>
                    </a:extLst>
                  </p:cNvPr>
                  <p:cNvSpPr/>
                  <p:nvPr/>
                </p:nvSpPr>
                <p:spPr>
                  <a:xfrm>
                    <a:off x="7383493"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7" name="Graphic 16">
                  <a:extLst>
                    <a:ext uri="{FF2B5EF4-FFF2-40B4-BE49-F238E27FC236}">
                      <a16:creationId xmlns:a16="http://schemas.microsoft.com/office/drawing/2014/main" id="{36324E37-1B22-861F-4A62-4A286DAE267F}"/>
                    </a:ext>
                  </a:extLst>
                </p:cNvPr>
                <p:cNvGrpSpPr/>
                <p:nvPr/>
              </p:nvGrpSpPr>
              <p:grpSpPr>
                <a:xfrm>
                  <a:off x="7193946" y="3895819"/>
                  <a:ext cx="75723" cy="75723"/>
                  <a:chOff x="7193946" y="3895819"/>
                  <a:chExt cx="75723" cy="75723"/>
                </a:xfrm>
              </p:grpSpPr>
              <p:sp>
                <p:nvSpPr>
                  <p:cNvPr id="2185" name="Freeform: Shape 2184">
                    <a:extLst>
                      <a:ext uri="{FF2B5EF4-FFF2-40B4-BE49-F238E27FC236}">
                        <a16:creationId xmlns:a16="http://schemas.microsoft.com/office/drawing/2014/main" id="{347A4DE4-A619-BDB9-7D61-12820F9C6C16}"/>
                      </a:ext>
                    </a:extLst>
                  </p:cNvPr>
                  <p:cNvSpPr/>
                  <p:nvPr/>
                </p:nvSpPr>
                <p:spPr>
                  <a:xfrm>
                    <a:off x="723176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86" name="Freeform: Shape 2185">
                    <a:extLst>
                      <a:ext uri="{FF2B5EF4-FFF2-40B4-BE49-F238E27FC236}">
                        <a16:creationId xmlns:a16="http://schemas.microsoft.com/office/drawing/2014/main" id="{C9CE73A4-824F-287C-9F2F-B106A8E65F99}"/>
                      </a:ext>
                    </a:extLst>
                  </p:cNvPr>
                  <p:cNvSpPr/>
                  <p:nvPr/>
                </p:nvSpPr>
                <p:spPr>
                  <a:xfrm>
                    <a:off x="719394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8" name="Graphic 16">
                  <a:extLst>
                    <a:ext uri="{FF2B5EF4-FFF2-40B4-BE49-F238E27FC236}">
                      <a16:creationId xmlns:a16="http://schemas.microsoft.com/office/drawing/2014/main" id="{93DDD293-6ECB-C236-AC7E-6D01D643A92D}"/>
                    </a:ext>
                  </a:extLst>
                </p:cNvPr>
                <p:cNvGrpSpPr/>
                <p:nvPr/>
              </p:nvGrpSpPr>
              <p:grpSpPr>
                <a:xfrm>
                  <a:off x="7148512" y="3878770"/>
                  <a:ext cx="75723" cy="75723"/>
                  <a:chOff x="7148512" y="3878770"/>
                  <a:chExt cx="75723" cy="75723"/>
                </a:xfrm>
              </p:grpSpPr>
              <p:sp>
                <p:nvSpPr>
                  <p:cNvPr id="2183" name="Freeform: Shape 2182">
                    <a:extLst>
                      <a:ext uri="{FF2B5EF4-FFF2-40B4-BE49-F238E27FC236}">
                        <a16:creationId xmlns:a16="http://schemas.microsoft.com/office/drawing/2014/main" id="{E8E650CD-3CC1-F9A9-C084-341BF9F5D594}"/>
                      </a:ext>
                    </a:extLst>
                  </p:cNvPr>
                  <p:cNvSpPr/>
                  <p:nvPr/>
                </p:nvSpPr>
                <p:spPr>
                  <a:xfrm>
                    <a:off x="7186421" y="38787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84" name="Freeform: Shape 2183">
                    <a:extLst>
                      <a:ext uri="{FF2B5EF4-FFF2-40B4-BE49-F238E27FC236}">
                        <a16:creationId xmlns:a16="http://schemas.microsoft.com/office/drawing/2014/main" id="{D117E7EB-5A51-3246-EEA2-C008A4FF8E31}"/>
                      </a:ext>
                    </a:extLst>
                  </p:cNvPr>
                  <p:cNvSpPr/>
                  <p:nvPr/>
                </p:nvSpPr>
                <p:spPr>
                  <a:xfrm>
                    <a:off x="7148512" y="3916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59" name="Graphic 16">
                  <a:extLst>
                    <a:ext uri="{FF2B5EF4-FFF2-40B4-BE49-F238E27FC236}">
                      <a16:creationId xmlns:a16="http://schemas.microsoft.com/office/drawing/2014/main" id="{D093DA94-81B7-6211-992D-6B8484E4DABE}"/>
                    </a:ext>
                  </a:extLst>
                </p:cNvPr>
                <p:cNvGrpSpPr/>
                <p:nvPr/>
              </p:nvGrpSpPr>
              <p:grpSpPr>
                <a:xfrm>
                  <a:off x="7050118" y="3851623"/>
                  <a:ext cx="75723" cy="75723"/>
                  <a:chOff x="7050118" y="3851623"/>
                  <a:chExt cx="75723" cy="75723"/>
                </a:xfrm>
              </p:grpSpPr>
              <p:sp>
                <p:nvSpPr>
                  <p:cNvPr id="2181" name="Freeform: Shape 2180">
                    <a:extLst>
                      <a:ext uri="{FF2B5EF4-FFF2-40B4-BE49-F238E27FC236}">
                        <a16:creationId xmlns:a16="http://schemas.microsoft.com/office/drawing/2014/main" id="{E403BFE8-3794-AC4A-75A9-AF5ACCC627F2}"/>
                      </a:ext>
                    </a:extLst>
                  </p:cNvPr>
                  <p:cNvSpPr/>
                  <p:nvPr/>
                </p:nvSpPr>
                <p:spPr>
                  <a:xfrm>
                    <a:off x="7088028"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82" name="Freeform: Shape 2181">
                    <a:extLst>
                      <a:ext uri="{FF2B5EF4-FFF2-40B4-BE49-F238E27FC236}">
                        <a16:creationId xmlns:a16="http://schemas.microsoft.com/office/drawing/2014/main" id="{23FC9852-2533-71CC-BD1B-D9308DB010F3}"/>
                      </a:ext>
                    </a:extLst>
                  </p:cNvPr>
                  <p:cNvSpPr/>
                  <p:nvPr/>
                </p:nvSpPr>
                <p:spPr>
                  <a:xfrm>
                    <a:off x="7050118"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0" name="Graphic 16">
                  <a:extLst>
                    <a:ext uri="{FF2B5EF4-FFF2-40B4-BE49-F238E27FC236}">
                      <a16:creationId xmlns:a16="http://schemas.microsoft.com/office/drawing/2014/main" id="{8ADB1BFC-2DD9-EC94-92F5-C77D51D01EB3}"/>
                    </a:ext>
                  </a:extLst>
                </p:cNvPr>
                <p:cNvGrpSpPr/>
                <p:nvPr/>
              </p:nvGrpSpPr>
              <p:grpSpPr>
                <a:xfrm>
                  <a:off x="6843616" y="3820096"/>
                  <a:ext cx="84486" cy="87439"/>
                  <a:chOff x="6843616" y="3820096"/>
                  <a:chExt cx="84486" cy="87439"/>
                </a:xfrm>
              </p:grpSpPr>
              <p:sp>
                <p:nvSpPr>
                  <p:cNvPr id="2175" name="Freeform: Shape 2174">
                    <a:extLst>
                      <a:ext uri="{FF2B5EF4-FFF2-40B4-BE49-F238E27FC236}">
                        <a16:creationId xmlns:a16="http://schemas.microsoft.com/office/drawing/2014/main" id="{F0E8414E-D1DD-9B35-7FBF-DF69DCCE6015}"/>
                      </a:ext>
                    </a:extLst>
                  </p:cNvPr>
                  <p:cNvSpPr/>
                  <p:nvPr/>
                </p:nvSpPr>
                <p:spPr>
                  <a:xfrm>
                    <a:off x="689019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6" name="Freeform: Shape 2175">
                    <a:extLst>
                      <a:ext uri="{FF2B5EF4-FFF2-40B4-BE49-F238E27FC236}">
                        <a16:creationId xmlns:a16="http://schemas.microsoft.com/office/drawing/2014/main" id="{C25A5B8E-E98E-046B-7AAF-B4D0DFC573A2}"/>
                      </a:ext>
                    </a:extLst>
                  </p:cNvPr>
                  <p:cNvSpPr/>
                  <p:nvPr/>
                </p:nvSpPr>
                <p:spPr>
                  <a:xfrm>
                    <a:off x="685237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7" name="Freeform: Shape 2176">
                    <a:extLst>
                      <a:ext uri="{FF2B5EF4-FFF2-40B4-BE49-F238E27FC236}">
                        <a16:creationId xmlns:a16="http://schemas.microsoft.com/office/drawing/2014/main" id="{20BA736A-1768-DEA6-AE61-0F62730203F7}"/>
                      </a:ext>
                    </a:extLst>
                  </p:cNvPr>
                  <p:cNvSpPr/>
                  <p:nvPr/>
                </p:nvSpPr>
                <p:spPr>
                  <a:xfrm>
                    <a:off x="688143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8" name="Freeform: Shape 2177">
                    <a:extLst>
                      <a:ext uri="{FF2B5EF4-FFF2-40B4-BE49-F238E27FC236}">
                        <a16:creationId xmlns:a16="http://schemas.microsoft.com/office/drawing/2014/main" id="{EDA6C54D-6EE7-70E4-0DAE-6E5CC9EF6AB1}"/>
                      </a:ext>
                    </a:extLst>
                  </p:cNvPr>
                  <p:cNvSpPr/>
                  <p:nvPr/>
                </p:nvSpPr>
                <p:spPr>
                  <a:xfrm>
                    <a:off x="6843616"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9" name="Freeform: Shape 2178">
                    <a:extLst>
                      <a:ext uri="{FF2B5EF4-FFF2-40B4-BE49-F238E27FC236}">
                        <a16:creationId xmlns:a16="http://schemas.microsoft.com/office/drawing/2014/main" id="{2E046169-57CC-61AE-9A6A-8F301D77B00C}"/>
                      </a:ext>
                    </a:extLst>
                  </p:cNvPr>
                  <p:cNvSpPr/>
                  <p:nvPr/>
                </p:nvSpPr>
                <p:spPr>
                  <a:xfrm>
                    <a:off x="6890194" y="38319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80" name="Freeform: Shape 2179">
                    <a:extLst>
                      <a:ext uri="{FF2B5EF4-FFF2-40B4-BE49-F238E27FC236}">
                        <a16:creationId xmlns:a16="http://schemas.microsoft.com/office/drawing/2014/main" id="{18075CD5-12DB-F534-A2E9-226EF537B627}"/>
                      </a:ext>
                    </a:extLst>
                  </p:cNvPr>
                  <p:cNvSpPr/>
                  <p:nvPr/>
                </p:nvSpPr>
                <p:spPr>
                  <a:xfrm>
                    <a:off x="6852379" y="3869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1" name="Graphic 16">
                  <a:extLst>
                    <a:ext uri="{FF2B5EF4-FFF2-40B4-BE49-F238E27FC236}">
                      <a16:creationId xmlns:a16="http://schemas.microsoft.com/office/drawing/2014/main" id="{C3E975BA-426B-D85A-4621-A3813EA268C8}"/>
                    </a:ext>
                  </a:extLst>
                </p:cNvPr>
                <p:cNvGrpSpPr/>
                <p:nvPr/>
              </p:nvGrpSpPr>
              <p:grpSpPr>
                <a:xfrm>
                  <a:off x="7018781" y="3828287"/>
                  <a:ext cx="75723" cy="75723"/>
                  <a:chOff x="7018781" y="3828287"/>
                  <a:chExt cx="75723" cy="75723"/>
                </a:xfrm>
              </p:grpSpPr>
              <p:sp>
                <p:nvSpPr>
                  <p:cNvPr id="2173" name="Freeform: Shape 2172">
                    <a:extLst>
                      <a:ext uri="{FF2B5EF4-FFF2-40B4-BE49-F238E27FC236}">
                        <a16:creationId xmlns:a16="http://schemas.microsoft.com/office/drawing/2014/main" id="{AC6574D5-3BBB-8685-DC72-847FD107A639}"/>
                      </a:ext>
                    </a:extLst>
                  </p:cNvPr>
                  <p:cNvSpPr/>
                  <p:nvPr/>
                </p:nvSpPr>
                <p:spPr>
                  <a:xfrm>
                    <a:off x="7056691"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4" name="Freeform: Shape 2173">
                    <a:extLst>
                      <a:ext uri="{FF2B5EF4-FFF2-40B4-BE49-F238E27FC236}">
                        <a16:creationId xmlns:a16="http://schemas.microsoft.com/office/drawing/2014/main" id="{68551535-2654-7519-E4D0-52117288E274}"/>
                      </a:ext>
                    </a:extLst>
                  </p:cNvPr>
                  <p:cNvSpPr/>
                  <p:nvPr/>
                </p:nvSpPr>
                <p:spPr>
                  <a:xfrm>
                    <a:off x="701878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2" name="Graphic 16">
                  <a:extLst>
                    <a:ext uri="{FF2B5EF4-FFF2-40B4-BE49-F238E27FC236}">
                      <a16:creationId xmlns:a16="http://schemas.microsoft.com/office/drawing/2014/main" id="{481C38B8-76CF-52EB-92EE-97787618D03D}"/>
                    </a:ext>
                  </a:extLst>
                </p:cNvPr>
                <p:cNvGrpSpPr/>
                <p:nvPr/>
              </p:nvGrpSpPr>
              <p:grpSpPr>
                <a:xfrm>
                  <a:off x="6881431" y="3828287"/>
                  <a:ext cx="75723" cy="75723"/>
                  <a:chOff x="6881431" y="3828287"/>
                  <a:chExt cx="75723" cy="75723"/>
                </a:xfrm>
              </p:grpSpPr>
              <p:sp>
                <p:nvSpPr>
                  <p:cNvPr id="2171" name="Freeform: Shape 2170">
                    <a:extLst>
                      <a:ext uri="{FF2B5EF4-FFF2-40B4-BE49-F238E27FC236}">
                        <a16:creationId xmlns:a16="http://schemas.microsoft.com/office/drawing/2014/main" id="{7DBCF762-97F3-2FBF-AAB1-D058563B1519}"/>
                      </a:ext>
                    </a:extLst>
                  </p:cNvPr>
                  <p:cNvSpPr/>
                  <p:nvPr/>
                </p:nvSpPr>
                <p:spPr>
                  <a:xfrm>
                    <a:off x="6919245"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2" name="Freeform: Shape 2171">
                    <a:extLst>
                      <a:ext uri="{FF2B5EF4-FFF2-40B4-BE49-F238E27FC236}">
                        <a16:creationId xmlns:a16="http://schemas.microsoft.com/office/drawing/2014/main" id="{C40871F6-C3C2-6DE7-8821-19C2F4BB52DF}"/>
                      </a:ext>
                    </a:extLst>
                  </p:cNvPr>
                  <p:cNvSpPr/>
                  <p:nvPr/>
                </p:nvSpPr>
                <p:spPr>
                  <a:xfrm>
                    <a:off x="688143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3" name="Graphic 16">
                  <a:extLst>
                    <a:ext uri="{FF2B5EF4-FFF2-40B4-BE49-F238E27FC236}">
                      <a16:creationId xmlns:a16="http://schemas.microsoft.com/office/drawing/2014/main" id="{84C1CBB1-59BB-687B-794F-D8B4CC1A94E7}"/>
                    </a:ext>
                  </a:extLst>
                </p:cNvPr>
                <p:cNvGrpSpPr/>
                <p:nvPr/>
              </p:nvGrpSpPr>
              <p:grpSpPr>
                <a:xfrm>
                  <a:off x="6901052" y="3828287"/>
                  <a:ext cx="75723" cy="75723"/>
                  <a:chOff x="6901052" y="3828287"/>
                  <a:chExt cx="75723" cy="75723"/>
                </a:xfrm>
              </p:grpSpPr>
              <p:sp>
                <p:nvSpPr>
                  <p:cNvPr id="2169" name="Freeform: Shape 2168">
                    <a:extLst>
                      <a:ext uri="{FF2B5EF4-FFF2-40B4-BE49-F238E27FC236}">
                        <a16:creationId xmlns:a16="http://schemas.microsoft.com/office/drawing/2014/main" id="{A91B3252-9590-F110-E0CD-3186AF168DF5}"/>
                      </a:ext>
                    </a:extLst>
                  </p:cNvPr>
                  <p:cNvSpPr/>
                  <p:nvPr/>
                </p:nvSpPr>
                <p:spPr>
                  <a:xfrm>
                    <a:off x="693886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70" name="Freeform: Shape 2169">
                    <a:extLst>
                      <a:ext uri="{FF2B5EF4-FFF2-40B4-BE49-F238E27FC236}">
                        <a16:creationId xmlns:a16="http://schemas.microsoft.com/office/drawing/2014/main" id="{655A9565-372C-484D-6AB9-F48C5CD25EFC}"/>
                      </a:ext>
                    </a:extLst>
                  </p:cNvPr>
                  <p:cNvSpPr/>
                  <p:nvPr/>
                </p:nvSpPr>
                <p:spPr>
                  <a:xfrm>
                    <a:off x="6901052"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4" name="Graphic 16">
                  <a:extLst>
                    <a:ext uri="{FF2B5EF4-FFF2-40B4-BE49-F238E27FC236}">
                      <a16:creationId xmlns:a16="http://schemas.microsoft.com/office/drawing/2014/main" id="{CE935005-DBB4-5885-FF67-F60D0BD27622}"/>
                    </a:ext>
                  </a:extLst>
                </p:cNvPr>
                <p:cNvGrpSpPr/>
                <p:nvPr/>
              </p:nvGrpSpPr>
              <p:grpSpPr>
                <a:xfrm>
                  <a:off x="6920674" y="3828287"/>
                  <a:ext cx="75723" cy="75723"/>
                  <a:chOff x="6920674" y="3828287"/>
                  <a:chExt cx="75723" cy="75723"/>
                </a:xfrm>
              </p:grpSpPr>
              <p:sp>
                <p:nvSpPr>
                  <p:cNvPr id="2167" name="Freeform: Shape 2166">
                    <a:extLst>
                      <a:ext uri="{FF2B5EF4-FFF2-40B4-BE49-F238E27FC236}">
                        <a16:creationId xmlns:a16="http://schemas.microsoft.com/office/drawing/2014/main" id="{7D1EE486-069C-50C6-CE08-EFEF5951B1FB}"/>
                      </a:ext>
                    </a:extLst>
                  </p:cNvPr>
                  <p:cNvSpPr/>
                  <p:nvPr/>
                </p:nvSpPr>
                <p:spPr>
                  <a:xfrm>
                    <a:off x="695848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68" name="Freeform: Shape 2167">
                    <a:extLst>
                      <a:ext uri="{FF2B5EF4-FFF2-40B4-BE49-F238E27FC236}">
                        <a16:creationId xmlns:a16="http://schemas.microsoft.com/office/drawing/2014/main" id="{5D5ADB34-954E-FF93-D311-17315D621E37}"/>
                      </a:ext>
                    </a:extLst>
                  </p:cNvPr>
                  <p:cNvSpPr/>
                  <p:nvPr/>
                </p:nvSpPr>
                <p:spPr>
                  <a:xfrm>
                    <a:off x="6920674"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5" name="Graphic 16">
                  <a:extLst>
                    <a:ext uri="{FF2B5EF4-FFF2-40B4-BE49-F238E27FC236}">
                      <a16:creationId xmlns:a16="http://schemas.microsoft.com/office/drawing/2014/main" id="{21359D7A-F401-5C6D-C252-480C9784D4D0}"/>
                    </a:ext>
                  </a:extLst>
                </p:cNvPr>
                <p:cNvGrpSpPr/>
                <p:nvPr/>
              </p:nvGrpSpPr>
              <p:grpSpPr>
                <a:xfrm>
                  <a:off x="6940295" y="3828287"/>
                  <a:ext cx="75723" cy="75723"/>
                  <a:chOff x="6940295" y="3828287"/>
                  <a:chExt cx="75723" cy="75723"/>
                </a:xfrm>
              </p:grpSpPr>
              <p:sp>
                <p:nvSpPr>
                  <p:cNvPr id="2165" name="Freeform: Shape 2164">
                    <a:extLst>
                      <a:ext uri="{FF2B5EF4-FFF2-40B4-BE49-F238E27FC236}">
                        <a16:creationId xmlns:a16="http://schemas.microsoft.com/office/drawing/2014/main" id="{1519DD7C-6CEB-07D6-9B70-548A20B6E640}"/>
                      </a:ext>
                    </a:extLst>
                  </p:cNvPr>
                  <p:cNvSpPr/>
                  <p:nvPr/>
                </p:nvSpPr>
                <p:spPr>
                  <a:xfrm>
                    <a:off x="697810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66" name="Freeform: Shape 2165">
                    <a:extLst>
                      <a:ext uri="{FF2B5EF4-FFF2-40B4-BE49-F238E27FC236}">
                        <a16:creationId xmlns:a16="http://schemas.microsoft.com/office/drawing/2014/main" id="{3317E96C-5366-6AD5-4CBD-7FE7C8F55440}"/>
                      </a:ext>
                    </a:extLst>
                  </p:cNvPr>
                  <p:cNvSpPr/>
                  <p:nvPr/>
                </p:nvSpPr>
                <p:spPr>
                  <a:xfrm>
                    <a:off x="6940295"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6" name="Graphic 16">
                  <a:extLst>
                    <a:ext uri="{FF2B5EF4-FFF2-40B4-BE49-F238E27FC236}">
                      <a16:creationId xmlns:a16="http://schemas.microsoft.com/office/drawing/2014/main" id="{83AC0B3B-B7D2-B086-3AFD-0B26E38C766A}"/>
                    </a:ext>
                  </a:extLst>
                </p:cNvPr>
                <p:cNvGrpSpPr/>
                <p:nvPr/>
              </p:nvGrpSpPr>
              <p:grpSpPr>
                <a:xfrm>
                  <a:off x="6959917" y="3828287"/>
                  <a:ext cx="75723" cy="75723"/>
                  <a:chOff x="6959917" y="3828287"/>
                  <a:chExt cx="75723" cy="75723"/>
                </a:xfrm>
              </p:grpSpPr>
              <p:sp>
                <p:nvSpPr>
                  <p:cNvPr id="2163" name="Freeform: Shape 2162">
                    <a:extLst>
                      <a:ext uri="{FF2B5EF4-FFF2-40B4-BE49-F238E27FC236}">
                        <a16:creationId xmlns:a16="http://schemas.microsoft.com/office/drawing/2014/main" id="{2F9FB9B3-4F9B-5F6B-8CE6-B21403D04650}"/>
                      </a:ext>
                    </a:extLst>
                  </p:cNvPr>
                  <p:cNvSpPr/>
                  <p:nvPr/>
                </p:nvSpPr>
                <p:spPr>
                  <a:xfrm>
                    <a:off x="699782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64" name="Freeform: Shape 2163">
                    <a:extLst>
                      <a:ext uri="{FF2B5EF4-FFF2-40B4-BE49-F238E27FC236}">
                        <a16:creationId xmlns:a16="http://schemas.microsoft.com/office/drawing/2014/main" id="{B88F7869-D81C-7A26-A4C3-C6F83AD1339A}"/>
                      </a:ext>
                    </a:extLst>
                  </p:cNvPr>
                  <p:cNvSpPr/>
                  <p:nvPr/>
                </p:nvSpPr>
                <p:spPr>
                  <a:xfrm>
                    <a:off x="6959917"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7" name="Graphic 16">
                  <a:extLst>
                    <a:ext uri="{FF2B5EF4-FFF2-40B4-BE49-F238E27FC236}">
                      <a16:creationId xmlns:a16="http://schemas.microsoft.com/office/drawing/2014/main" id="{0E132B5C-5A5F-28CE-EE16-93EFD39F89E8}"/>
                    </a:ext>
                  </a:extLst>
                </p:cNvPr>
                <p:cNvGrpSpPr/>
                <p:nvPr/>
              </p:nvGrpSpPr>
              <p:grpSpPr>
                <a:xfrm>
                  <a:off x="6979538" y="3828287"/>
                  <a:ext cx="75723" cy="75723"/>
                  <a:chOff x="6979538" y="3828287"/>
                  <a:chExt cx="75723" cy="75723"/>
                </a:xfrm>
              </p:grpSpPr>
              <p:sp>
                <p:nvSpPr>
                  <p:cNvPr id="2161" name="Freeform: Shape 2160">
                    <a:extLst>
                      <a:ext uri="{FF2B5EF4-FFF2-40B4-BE49-F238E27FC236}">
                        <a16:creationId xmlns:a16="http://schemas.microsoft.com/office/drawing/2014/main" id="{A1BCA88B-FC05-2D0E-046A-3082AC4D3B06}"/>
                      </a:ext>
                    </a:extLst>
                  </p:cNvPr>
                  <p:cNvSpPr/>
                  <p:nvPr/>
                </p:nvSpPr>
                <p:spPr>
                  <a:xfrm>
                    <a:off x="701744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62" name="Freeform: Shape 2161">
                    <a:extLst>
                      <a:ext uri="{FF2B5EF4-FFF2-40B4-BE49-F238E27FC236}">
                        <a16:creationId xmlns:a16="http://schemas.microsoft.com/office/drawing/2014/main" id="{2C6C3A9A-8FD3-E759-46C6-DA5203458564}"/>
                      </a:ext>
                    </a:extLst>
                  </p:cNvPr>
                  <p:cNvSpPr/>
                  <p:nvPr/>
                </p:nvSpPr>
                <p:spPr>
                  <a:xfrm>
                    <a:off x="6979538"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8" name="Graphic 16">
                  <a:extLst>
                    <a:ext uri="{FF2B5EF4-FFF2-40B4-BE49-F238E27FC236}">
                      <a16:creationId xmlns:a16="http://schemas.microsoft.com/office/drawing/2014/main" id="{07B84528-D82B-AC0B-F2A7-EB72D62E172F}"/>
                    </a:ext>
                  </a:extLst>
                </p:cNvPr>
                <p:cNvGrpSpPr/>
                <p:nvPr/>
              </p:nvGrpSpPr>
              <p:grpSpPr>
                <a:xfrm>
                  <a:off x="6999160" y="3828287"/>
                  <a:ext cx="75723" cy="75723"/>
                  <a:chOff x="6999160" y="3828287"/>
                  <a:chExt cx="75723" cy="75723"/>
                </a:xfrm>
              </p:grpSpPr>
              <p:sp>
                <p:nvSpPr>
                  <p:cNvPr id="2159" name="Freeform: Shape 2158">
                    <a:extLst>
                      <a:ext uri="{FF2B5EF4-FFF2-40B4-BE49-F238E27FC236}">
                        <a16:creationId xmlns:a16="http://schemas.microsoft.com/office/drawing/2014/main" id="{4197CE9F-D63B-3D41-4179-E85372281B3A}"/>
                      </a:ext>
                    </a:extLst>
                  </p:cNvPr>
                  <p:cNvSpPr/>
                  <p:nvPr/>
                </p:nvSpPr>
                <p:spPr>
                  <a:xfrm>
                    <a:off x="703706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60" name="Freeform: Shape 2159">
                    <a:extLst>
                      <a:ext uri="{FF2B5EF4-FFF2-40B4-BE49-F238E27FC236}">
                        <a16:creationId xmlns:a16="http://schemas.microsoft.com/office/drawing/2014/main" id="{212F6B06-FCB0-1E7A-7E09-F195B06B3E60}"/>
                      </a:ext>
                    </a:extLst>
                  </p:cNvPr>
                  <p:cNvSpPr/>
                  <p:nvPr/>
                </p:nvSpPr>
                <p:spPr>
                  <a:xfrm>
                    <a:off x="6999160"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69" name="Graphic 16">
                  <a:extLst>
                    <a:ext uri="{FF2B5EF4-FFF2-40B4-BE49-F238E27FC236}">
                      <a16:creationId xmlns:a16="http://schemas.microsoft.com/office/drawing/2014/main" id="{EE6AE01E-AFCB-98BB-0C63-DE664567B54B}"/>
                    </a:ext>
                  </a:extLst>
                </p:cNvPr>
                <p:cNvGrpSpPr/>
                <p:nvPr/>
              </p:nvGrpSpPr>
              <p:grpSpPr>
                <a:xfrm>
                  <a:off x="6763702" y="3820096"/>
                  <a:ext cx="80581" cy="75723"/>
                  <a:chOff x="6763702" y="3820096"/>
                  <a:chExt cx="80581" cy="75723"/>
                </a:xfrm>
              </p:grpSpPr>
              <p:sp>
                <p:nvSpPr>
                  <p:cNvPr id="2155" name="Freeform: Shape 2154">
                    <a:extLst>
                      <a:ext uri="{FF2B5EF4-FFF2-40B4-BE49-F238E27FC236}">
                        <a16:creationId xmlns:a16="http://schemas.microsoft.com/office/drawing/2014/main" id="{C55DD90A-09F0-8FD4-2145-B99E547CB0FD}"/>
                      </a:ext>
                    </a:extLst>
                  </p:cNvPr>
                  <p:cNvSpPr/>
                  <p:nvPr/>
                </p:nvSpPr>
                <p:spPr>
                  <a:xfrm>
                    <a:off x="680637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6" name="Freeform: Shape 2155">
                    <a:extLst>
                      <a:ext uri="{FF2B5EF4-FFF2-40B4-BE49-F238E27FC236}">
                        <a16:creationId xmlns:a16="http://schemas.microsoft.com/office/drawing/2014/main" id="{84F6F0B4-A0F6-AA30-1AC4-FB934C27CFDA}"/>
                      </a:ext>
                    </a:extLst>
                  </p:cNvPr>
                  <p:cNvSpPr/>
                  <p:nvPr/>
                </p:nvSpPr>
                <p:spPr>
                  <a:xfrm>
                    <a:off x="676855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7" name="Freeform: Shape 2156">
                    <a:extLst>
                      <a:ext uri="{FF2B5EF4-FFF2-40B4-BE49-F238E27FC236}">
                        <a16:creationId xmlns:a16="http://schemas.microsoft.com/office/drawing/2014/main" id="{B132B81D-951B-CBFA-AD9F-9169AB22914C}"/>
                      </a:ext>
                    </a:extLst>
                  </p:cNvPr>
                  <p:cNvSpPr/>
                  <p:nvPr/>
                </p:nvSpPr>
                <p:spPr>
                  <a:xfrm>
                    <a:off x="680161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8" name="Freeform: Shape 2157">
                    <a:extLst>
                      <a:ext uri="{FF2B5EF4-FFF2-40B4-BE49-F238E27FC236}">
                        <a16:creationId xmlns:a16="http://schemas.microsoft.com/office/drawing/2014/main" id="{68961FEF-19CE-BE31-9BBD-F2956721BFBA}"/>
                      </a:ext>
                    </a:extLst>
                  </p:cNvPr>
                  <p:cNvSpPr/>
                  <p:nvPr/>
                </p:nvSpPr>
                <p:spPr>
                  <a:xfrm>
                    <a:off x="6763702"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0" name="Graphic 16">
                  <a:extLst>
                    <a:ext uri="{FF2B5EF4-FFF2-40B4-BE49-F238E27FC236}">
                      <a16:creationId xmlns:a16="http://schemas.microsoft.com/office/drawing/2014/main" id="{8FA07F5F-3630-3317-3D42-258FF26A74E1}"/>
                    </a:ext>
                  </a:extLst>
                </p:cNvPr>
                <p:cNvGrpSpPr/>
                <p:nvPr/>
              </p:nvGrpSpPr>
              <p:grpSpPr>
                <a:xfrm>
                  <a:off x="6563296" y="3771994"/>
                  <a:ext cx="75723" cy="75723"/>
                  <a:chOff x="6563296" y="3771994"/>
                  <a:chExt cx="75723" cy="75723"/>
                </a:xfrm>
              </p:grpSpPr>
              <p:sp>
                <p:nvSpPr>
                  <p:cNvPr id="2153" name="Freeform: Shape 2152">
                    <a:extLst>
                      <a:ext uri="{FF2B5EF4-FFF2-40B4-BE49-F238E27FC236}">
                        <a16:creationId xmlns:a16="http://schemas.microsoft.com/office/drawing/2014/main" id="{9DF6803B-1352-4696-CD36-E10BF657CBD2}"/>
                      </a:ext>
                    </a:extLst>
                  </p:cNvPr>
                  <p:cNvSpPr/>
                  <p:nvPr/>
                </p:nvSpPr>
                <p:spPr>
                  <a:xfrm>
                    <a:off x="6601110" y="3771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4" name="Freeform: Shape 2153">
                    <a:extLst>
                      <a:ext uri="{FF2B5EF4-FFF2-40B4-BE49-F238E27FC236}">
                        <a16:creationId xmlns:a16="http://schemas.microsoft.com/office/drawing/2014/main" id="{14CB113C-2972-C8A4-C32D-3BF6EAA60736}"/>
                      </a:ext>
                    </a:extLst>
                  </p:cNvPr>
                  <p:cNvSpPr/>
                  <p:nvPr/>
                </p:nvSpPr>
                <p:spPr>
                  <a:xfrm>
                    <a:off x="6563296" y="3809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1" name="Graphic 16">
                  <a:extLst>
                    <a:ext uri="{FF2B5EF4-FFF2-40B4-BE49-F238E27FC236}">
                      <a16:creationId xmlns:a16="http://schemas.microsoft.com/office/drawing/2014/main" id="{80685D5A-3C0E-6703-628F-7025E895709F}"/>
                    </a:ext>
                  </a:extLst>
                </p:cNvPr>
                <p:cNvGrpSpPr/>
                <p:nvPr/>
              </p:nvGrpSpPr>
              <p:grpSpPr>
                <a:xfrm>
                  <a:off x="6563296" y="3750277"/>
                  <a:ext cx="75723" cy="75723"/>
                  <a:chOff x="6563296" y="3750277"/>
                  <a:chExt cx="75723" cy="75723"/>
                </a:xfrm>
              </p:grpSpPr>
              <p:sp>
                <p:nvSpPr>
                  <p:cNvPr id="2151" name="Freeform: Shape 2150">
                    <a:extLst>
                      <a:ext uri="{FF2B5EF4-FFF2-40B4-BE49-F238E27FC236}">
                        <a16:creationId xmlns:a16="http://schemas.microsoft.com/office/drawing/2014/main" id="{C50A0650-D7B6-9D8A-3F3C-DFBD3F509448}"/>
                      </a:ext>
                    </a:extLst>
                  </p:cNvPr>
                  <p:cNvSpPr/>
                  <p:nvPr/>
                </p:nvSpPr>
                <p:spPr>
                  <a:xfrm>
                    <a:off x="6601110" y="3750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2" name="Freeform: Shape 2151">
                    <a:extLst>
                      <a:ext uri="{FF2B5EF4-FFF2-40B4-BE49-F238E27FC236}">
                        <a16:creationId xmlns:a16="http://schemas.microsoft.com/office/drawing/2014/main" id="{339CFC1A-8EB8-986E-DC5F-2CEF806F9033}"/>
                      </a:ext>
                    </a:extLst>
                  </p:cNvPr>
                  <p:cNvSpPr/>
                  <p:nvPr/>
                </p:nvSpPr>
                <p:spPr>
                  <a:xfrm>
                    <a:off x="6563296" y="37881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2" name="Graphic 16">
                  <a:extLst>
                    <a:ext uri="{FF2B5EF4-FFF2-40B4-BE49-F238E27FC236}">
                      <a16:creationId xmlns:a16="http://schemas.microsoft.com/office/drawing/2014/main" id="{6C509932-7888-6800-89ED-C12DE1B02E0E}"/>
                    </a:ext>
                  </a:extLst>
                </p:cNvPr>
                <p:cNvGrpSpPr/>
                <p:nvPr/>
              </p:nvGrpSpPr>
              <p:grpSpPr>
                <a:xfrm>
                  <a:off x="6514528" y="3708272"/>
                  <a:ext cx="75628" cy="75723"/>
                  <a:chOff x="6514528" y="3708272"/>
                  <a:chExt cx="75628" cy="75723"/>
                </a:xfrm>
              </p:grpSpPr>
              <p:sp>
                <p:nvSpPr>
                  <p:cNvPr id="2149" name="Freeform: Shape 2148">
                    <a:extLst>
                      <a:ext uri="{FF2B5EF4-FFF2-40B4-BE49-F238E27FC236}">
                        <a16:creationId xmlns:a16="http://schemas.microsoft.com/office/drawing/2014/main" id="{E3ABF21C-B139-9EEF-8D56-734FA6FF2D1E}"/>
                      </a:ext>
                    </a:extLst>
                  </p:cNvPr>
                  <p:cNvSpPr/>
                  <p:nvPr/>
                </p:nvSpPr>
                <p:spPr>
                  <a:xfrm>
                    <a:off x="6552342"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50" name="Freeform: Shape 2149">
                    <a:extLst>
                      <a:ext uri="{FF2B5EF4-FFF2-40B4-BE49-F238E27FC236}">
                        <a16:creationId xmlns:a16="http://schemas.microsoft.com/office/drawing/2014/main" id="{FF774081-1D12-8BF7-09A8-B1AC2F8FC5B6}"/>
                      </a:ext>
                    </a:extLst>
                  </p:cNvPr>
                  <p:cNvSpPr/>
                  <p:nvPr/>
                </p:nvSpPr>
                <p:spPr>
                  <a:xfrm>
                    <a:off x="6514528"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3" name="Graphic 16">
                  <a:extLst>
                    <a:ext uri="{FF2B5EF4-FFF2-40B4-BE49-F238E27FC236}">
                      <a16:creationId xmlns:a16="http://schemas.microsoft.com/office/drawing/2014/main" id="{0B153480-BD9E-B915-8A5E-CE54F1F08AF4}"/>
                    </a:ext>
                  </a:extLst>
                </p:cNvPr>
                <p:cNvGrpSpPr/>
                <p:nvPr/>
              </p:nvGrpSpPr>
              <p:grpSpPr>
                <a:xfrm>
                  <a:off x="6347554" y="3708272"/>
                  <a:ext cx="75628" cy="75723"/>
                  <a:chOff x="6347554" y="3708272"/>
                  <a:chExt cx="75628" cy="75723"/>
                </a:xfrm>
              </p:grpSpPr>
              <p:sp>
                <p:nvSpPr>
                  <p:cNvPr id="2147" name="Freeform: Shape 2146">
                    <a:extLst>
                      <a:ext uri="{FF2B5EF4-FFF2-40B4-BE49-F238E27FC236}">
                        <a16:creationId xmlns:a16="http://schemas.microsoft.com/office/drawing/2014/main" id="{C76E0D34-1E22-8C57-423D-B9B6105780FD}"/>
                      </a:ext>
                    </a:extLst>
                  </p:cNvPr>
                  <p:cNvSpPr/>
                  <p:nvPr/>
                </p:nvSpPr>
                <p:spPr>
                  <a:xfrm>
                    <a:off x="6385369"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8" name="Freeform: Shape 2147">
                    <a:extLst>
                      <a:ext uri="{FF2B5EF4-FFF2-40B4-BE49-F238E27FC236}">
                        <a16:creationId xmlns:a16="http://schemas.microsoft.com/office/drawing/2014/main" id="{DA6D2FCE-3688-5141-1B8A-6E73D5BE0B16}"/>
                      </a:ext>
                    </a:extLst>
                  </p:cNvPr>
                  <p:cNvSpPr/>
                  <p:nvPr/>
                </p:nvSpPr>
                <p:spPr>
                  <a:xfrm>
                    <a:off x="6347554"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4" name="Graphic 16">
                  <a:extLst>
                    <a:ext uri="{FF2B5EF4-FFF2-40B4-BE49-F238E27FC236}">
                      <a16:creationId xmlns:a16="http://schemas.microsoft.com/office/drawing/2014/main" id="{007E3EED-B09B-A6D6-D117-BCEDC28A9344}"/>
                    </a:ext>
                  </a:extLst>
                </p:cNvPr>
                <p:cNvGrpSpPr/>
                <p:nvPr/>
              </p:nvGrpSpPr>
              <p:grpSpPr>
                <a:xfrm>
                  <a:off x="6223729" y="3683602"/>
                  <a:ext cx="75628" cy="75628"/>
                  <a:chOff x="6223729" y="3683602"/>
                  <a:chExt cx="75628" cy="75628"/>
                </a:xfrm>
              </p:grpSpPr>
              <p:sp>
                <p:nvSpPr>
                  <p:cNvPr id="2145" name="Freeform: Shape 2144">
                    <a:extLst>
                      <a:ext uri="{FF2B5EF4-FFF2-40B4-BE49-F238E27FC236}">
                        <a16:creationId xmlns:a16="http://schemas.microsoft.com/office/drawing/2014/main" id="{73D0D36D-244D-B538-2ABF-04B4A2E3D6BD}"/>
                      </a:ext>
                    </a:extLst>
                  </p:cNvPr>
                  <p:cNvSpPr/>
                  <p:nvPr/>
                </p:nvSpPr>
                <p:spPr>
                  <a:xfrm>
                    <a:off x="6261544"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6" name="Freeform: Shape 2145">
                    <a:extLst>
                      <a:ext uri="{FF2B5EF4-FFF2-40B4-BE49-F238E27FC236}">
                        <a16:creationId xmlns:a16="http://schemas.microsoft.com/office/drawing/2014/main" id="{73BF28A4-D4F2-9088-4908-5489F4E166D3}"/>
                      </a:ext>
                    </a:extLst>
                  </p:cNvPr>
                  <p:cNvSpPr/>
                  <p:nvPr/>
                </p:nvSpPr>
                <p:spPr>
                  <a:xfrm>
                    <a:off x="6223729" y="37214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5" name="Graphic 16">
                  <a:extLst>
                    <a:ext uri="{FF2B5EF4-FFF2-40B4-BE49-F238E27FC236}">
                      <a16:creationId xmlns:a16="http://schemas.microsoft.com/office/drawing/2014/main" id="{A35653F3-6D16-8788-C3DC-40609137D037}"/>
                    </a:ext>
                  </a:extLst>
                </p:cNvPr>
                <p:cNvGrpSpPr/>
                <p:nvPr/>
              </p:nvGrpSpPr>
              <p:grpSpPr>
                <a:xfrm>
                  <a:off x="6164674" y="3672172"/>
                  <a:ext cx="75723" cy="75723"/>
                  <a:chOff x="6164674" y="3672172"/>
                  <a:chExt cx="75723" cy="75723"/>
                </a:xfrm>
              </p:grpSpPr>
              <p:sp>
                <p:nvSpPr>
                  <p:cNvPr id="2143" name="Freeform: Shape 2142">
                    <a:extLst>
                      <a:ext uri="{FF2B5EF4-FFF2-40B4-BE49-F238E27FC236}">
                        <a16:creationId xmlns:a16="http://schemas.microsoft.com/office/drawing/2014/main" id="{04588A7A-899B-02DD-F9AA-4D99ECE6A232}"/>
                      </a:ext>
                    </a:extLst>
                  </p:cNvPr>
                  <p:cNvSpPr/>
                  <p:nvPr/>
                </p:nvSpPr>
                <p:spPr>
                  <a:xfrm>
                    <a:off x="6202584" y="36721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4" name="Freeform: Shape 2143">
                    <a:extLst>
                      <a:ext uri="{FF2B5EF4-FFF2-40B4-BE49-F238E27FC236}">
                        <a16:creationId xmlns:a16="http://schemas.microsoft.com/office/drawing/2014/main" id="{126E70F4-B081-F490-1E09-9DEE1D5009A7}"/>
                      </a:ext>
                    </a:extLst>
                  </p:cNvPr>
                  <p:cNvSpPr/>
                  <p:nvPr/>
                </p:nvSpPr>
                <p:spPr>
                  <a:xfrm>
                    <a:off x="6164674" y="3710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6" name="Graphic 16">
                  <a:extLst>
                    <a:ext uri="{FF2B5EF4-FFF2-40B4-BE49-F238E27FC236}">
                      <a16:creationId xmlns:a16="http://schemas.microsoft.com/office/drawing/2014/main" id="{92FD8696-5624-1C03-761D-CA2F71FF66D6}"/>
                    </a:ext>
                  </a:extLst>
                </p:cNvPr>
                <p:cNvGrpSpPr/>
                <p:nvPr/>
              </p:nvGrpSpPr>
              <p:grpSpPr>
                <a:xfrm>
                  <a:off x="6137242" y="3656456"/>
                  <a:ext cx="75723" cy="75628"/>
                  <a:chOff x="6137242" y="3656456"/>
                  <a:chExt cx="75723" cy="75628"/>
                </a:xfrm>
              </p:grpSpPr>
              <p:sp>
                <p:nvSpPr>
                  <p:cNvPr id="2141" name="Freeform: Shape 2140">
                    <a:extLst>
                      <a:ext uri="{FF2B5EF4-FFF2-40B4-BE49-F238E27FC236}">
                        <a16:creationId xmlns:a16="http://schemas.microsoft.com/office/drawing/2014/main" id="{E4B1BFCC-194A-BAE7-B9A0-716479CC5E56}"/>
                      </a:ext>
                    </a:extLst>
                  </p:cNvPr>
                  <p:cNvSpPr/>
                  <p:nvPr/>
                </p:nvSpPr>
                <p:spPr>
                  <a:xfrm>
                    <a:off x="6175057"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2" name="Freeform: Shape 2141">
                    <a:extLst>
                      <a:ext uri="{FF2B5EF4-FFF2-40B4-BE49-F238E27FC236}">
                        <a16:creationId xmlns:a16="http://schemas.microsoft.com/office/drawing/2014/main" id="{7AAAA549-09CA-2BD1-E01F-9CB0C657AD00}"/>
                      </a:ext>
                    </a:extLst>
                  </p:cNvPr>
                  <p:cNvSpPr/>
                  <p:nvPr/>
                </p:nvSpPr>
                <p:spPr>
                  <a:xfrm>
                    <a:off x="6137242"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7" name="Graphic 16">
                  <a:extLst>
                    <a:ext uri="{FF2B5EF4-FFF2-40B4-BE49-F238E27FC236}">
                      <a16:creationId xmlns:a16="http://schemas.microsoft.com/office/drawing/2014/main" id="{7ACE4BDA-975A-D97F-001A-D3D6D33AED77}"/>
                    </a:ext>
                  </a:extLst>
                </p:cNvPr>
                <p:cNvGrpSpPr/>
                <p:nvPr/>
              </p:nvGrpSpPr>
              <p:grpSpPr>
                <a:xfrm>
                  <a:off x="6149149" y="3656456"/>
                  <a:ext cx="75723" cy="75628"/>
                  <a:chOff x="6149149" y="3656456"/>
                  <a:chExt cx="75723" cy="75628"/>
                </a:xfrm>
              </p:grpSpPr>
              <p:sp>
                <p:nvSpPr>
                  <p:cNvPr id="2139" name="Freeform: Shape 2138">
                    <a:extLst>
                      <a:ext uri="{FF2B5EF4-FFF2-40B4-BE49-F238E27FC236}">
                        <a16:creationId xmlns:a16="http://schemas.microsoft.com/office/drawing/2014/main" id="{8ECD01B6-E5E9-2B8A-443D-FED38E7197F1}"/>
                      </a:ext>
                    </a:extLst>
                  </p:cNvPr>
                  <p:cNvSpPr/>
                  <p:nvPr/>
                </p:nvSpPr>
                <p:spPr>
                  <a:xfrm>
                    <a:off x="6186963"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40" name="Freeform: Shape 2139">
                    <a:extLst>
                      <a:ext uri="{FF2B5EF4-FFF2-40B4-BE49-F238E27FC236}">
                        <a16:creationId xmlns:a16="http://schemas.microsoft.com/office/drawing/2014/main" id="{7C78B0EB-EE02-7895-AEB4-17B827864DA4}"/>
                      </a:ext>
                    </a:extLst>
                  </p:cNvPr>
                  <p:cNvSpPr/>
                  <p:nvPr/>
                </p:nvSpPr>
                <p:spPr>
                  <a:xfrm>
                    <a:off x="614914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8" name="Graphic 16">
                  <a:extLst>
                    <a:ext uri="{FF2B5EF4-FFF2-40B4-BE49-F238E27FC236}">
                      <a16:creationId xmlns:a16="http://schemas.microsoft.com/office/drawing/2014/main" id="{761ABC65-B2D8-43FB-CC1C-B673C8A818BD}"/>
                    </a:ext>
                  </a:extLst>
                </p:cNvPr>
                <p:cNvGrpSpPr/>
                <p:nvPr/>
              </p:nvGrpSpPr>
              <p:grpSpPr>
                <a:xfrm>
                  <a:off x="6094380" y="3656456"/>
                  <a:ext cx="75723" cy="75628"/>
                  <a:chOff x="6094380" y="3656456"/>
                  <a:chExt cx="75723" cy="75628"/>
                </a:xfrm>
              </p:grpSpPr>
              <p:sp>
                <p:nvSpPr>
                  <p:cNvPr id="2137" name="Freeform: Shape 2136">
                    <a:extLst>
                      <a:ext uri="{FF2B5EF4-FFF2-40B4-BE49-F238E27FC236}">
                        <a16:creationId xmlns:a16="http://schemas.microsoft.com/office/drawing/2014/main" id="{B5BF211F-8D6D-D1CA-0D1A-675ADCBCC214}"/>
                      </a:ext>
                    </a:extLst>
                  </p:cNvPr>
                  <p:cNvSpPr/>
                  <p:nvPr/>
                </p:nvSpPr>
                <p:spPr>
                  <a:xfrm>
                    <a:off x="6132289"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8" name="Freeform: Shape 2137">
                    <a:extLst>
                      <a:ext uri="{FF2B5EF4-FFF2-40B4-BE49-F238E27FC236}">
                        <a16:creationId xmlns:a16="http://schemas.microsoft.com/office/drawing/2014/main" id="{ECC09183-2A17-9D8E-BA9D-1E0FA9339292}"/>
                      </a:ext>
                    </a:extLst>
                  </p:cNvPr>
                  <p:cNvSpPr/>
                  <p:nvPr/>
                </p:nvSpPr>
                <p:spPr>
                  <a:xfrm>
                    <a:off x="609438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79" name="Graphic 16">
                  <a:extLst>
                    <a:ext uri="{FF2B5EF4-FFF2-40B4-BE49-F238E27FC236}">
                      <a16:creationId xmlns:a16="http://schemas.microsoft.com/office/drawing/2014/main" id="{7BC48BC5-09D4-BADB-C68B-3C868D8F086D}"/>
                    </a:ext>
                  </a:extLst>
                </p:cNvPr>
                <p:cNvGrpSpPr/>
                <p:nvPr/>
              </p:nvGrpSpPr>
              <p:grpSpPr>
                <a:xfrm>
                  <a:off x="6094380" y="3622738"/>
                  <a:ext cx="75723" cy="75628"/>
                  <a:chOff x="6094380" y="3622738"/>
                  <a:chExt cx="75723" cy="75628"/>
                </a:xfrm>
              </p:grpSpPr>
              <p:sp>
                <p:nvSpPr>
                  <p:cNvPr id="2135" name="Freeform: Shape 2134">
                    <a:extLst>
                      <a:ext uri="{FF2B5EF4-FFF2-40B4-BE49-F238E27FC236}">
                        <a16:creationId xmlns:a16="http://schemas.microsoft.com/office/drawing/2014/main" id="{E5A7288F-AF26-49B5-3A6E-82DB4CE4837A}"/>
                      </a:ext>
                    </a:extLst>
                  </p:cNvPr>
                  <p:cNvSpPr/>
                  <p:nvPr/>
                </p:nvSpPr>
                <p:spPr>
                  <a:xfrm>
                    <a:off x="6132289"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6" name="Freeform: Shape 2135">
                    <a:extLst>
                      <a:ext uri="{FF2B5EF4-FFF2-40B4-BE49-F238E27FC236}">
                        <a16:creationId xmlns:a16="http://schemas.microsoft.com/office/drawing/2014/main" id="{13629CF3-B422-8F3D-8E8E-C8220C7289AA}"/>
                      </a:ext>
                    </a:extLst>
                  </p:cNvPr>
                  <p:cNvSpPr/>
                  <p:nvPr/>
                </p:nvSpPr>
                <p:spPr>
                  <a:xfrm>
                    <a:off x="6094380"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0" name="Graphic 16">
                  <a:extLst>
                    <a:ext uri="{FF2B5EF4-FFF2-40B4-BE49-F238E27FC236}">
                      <a16:creationId xmlns:a16="http://schemas.microsoft.com/office/drawing/2014/main" id="{3314B25B-744E-E92E-24D6-175C2D35A047}"/>
                    </a:ext>
                  </a:extLst>
                </p:cNvPr>
                <p:cNvGrpSpPr/>
                <p:nvPr/>
              </p:nvGrpSpPr>
              <p:grpSpPr>
                <a:xfrm>
                  <a:off x="6022276" y="3622738"/>
                  <a:ext cx="75628" cy="75628"/>
                  <a:chOff x="6022276" y="3622738"/>
                  <a:chExt cx="75628" cy="75628"/>
                </a:xfrm>
              </p:grpSpPr>
              <p:sp>
                <p:nvSpPr>
                  <p:cNvPr id="2133" name="Freeform: Shape 2132">
                    <a:extLst>
                      <a:ext uri="{FF2B5EF4-FFF2-40B4-BE49-F238E27FC236}">
                        <a16:creationId xmlns:a16="http://schemas.microsoft.com/office/drawing/2014/main" id="{C90E11D9-4DE1-F01D-F3F5-C1586D474948}"/>
                      </a:ext>
                    </a:extLst>
                  </p:cNvPr>
                  <p:cNvSpPr/>
                  <p:nvPr/>
                </p:nvSpPr>
                <p:spPr>
                  <a:xfrm>
                    <a:off x="6060090"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4" name="Freeform: Shape 2133">
                    <a:extLst>
                      <a:ext uri="{FF2B5EF4-FFF2-40B4-BE49-F238E27FC236}">
                        <a16:creationId xmlns:a16="http://schemas.microsoft.com/office/drawing/2014/main" id="{2E98034C-1798-BD42-B791-2262FE12436D}"/>
                      </a:ext>
                    </a:extLst>
                  </p:cNvPr>
                  <p:cNvSpPr/>
                  <p:nvPr/>
                </p:nvSpPr>
                <p:spPr>
                  <a:xfrm>
                    <a:off x="6022276"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1" name="Graphic 16">
                  <a:extLst>
                    <a:ext uri="{FF2B5EF4-FFF2-40B4-BE49-F238E27FC236}">
                      <a16:creationId xmlns:a16="http://schemas.microsoft.com/office/drawing/2014/main" id="{C387C2EF-E7B5-CC11-344A-80E2D64A24E2}"/>
                    </a:ext>
                  </a:extLst>
                </p:cNvPr>
                <p:cNvGrpSpPr/>
                <p:nvPr/>
              </p:nvGrpSpPr>
              <p:grpSpPr>
                <a:xfrm>
                  <a:off x="6036277" y="3622738"/>
                  <a:ext cx="75628" cy="75628"/>
                  <a:chOff x="6036277" y="3622738"/>
                  <a:chExt cx="75628" cy="75628"/>
                </a:xfrm>
              </p:grpSpPr>
              <p:sp>
                <p:nvSpPr>
                  <p:cNvPr id="2131" name="Freeform: Shape 2130">
                    <a:extLst>
                      <a:ext uri="{FF2B5EF4-FFF2-40B4-BE49-F238E27FC236}">
                        <a16:creationId xmlns:a16="http://schemas.microsoft.com/office/drawing/2014/main" id="{ACACB9D6-D27B-A82D-7B5E-18494B678A7A}"/>
                      </a:ext>
                    </a:extLst>
                  </p:cNvPr>
                  <p:cNvSpPr/>
                  <p:nvPr/>
                </p:nvSpPr>
                <p:spPr>
                  <a:xfrm>
                    <a:off x="6074092"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2" name="Freeform: Shape 2131">
                    <a:extLst>
                      <a:ext uri="{FF2B5EF4-FFF2-40B4-BE49-F238E27FC236}">
                        <a16:creationId xmlns:a16="http://schemas.microsoft.com/office/drawing/2014/main" id="{F39DE3E2-82C4-6F9A-A8CB-0292560B45F6}"/>
                      </a:ext>
                    </a:extLst>
                  </p:cNvPr>
                  <p:cNvSpPr/>
                  <p:nvPr/>
                </p:nvSpPr>
                <p:spPr>
                  <a:xfrm>
                    <a:off x="6036277"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2" name="Graphic 16">
                  <a:extLst>
                    <a:ext uri="{FF2B5EF4-FFF2-40B4-BE49-F238E27FC236}">
                      <a16:creationId xmlns:a16="http://schemas.microsoft.com/office/drawing/2014/main" id="{9AE8D6B2-0A43-61DB-9F60-E2BE5C7EA542}"/>
                    </a:ext>
                  </a:extLst>
                </p:cNvPr>
                <p:cNvGrpSpPr/>
                <p:nvPr/>
              </p:nvGrpSpPr>
              <p:grpSpPr>
                <a:xfrm>
                  <a:off x="5957601" y="3622738"/>
                  <a:ext cx="75628" cy="75628"/>
                  <a:chOff x="5957601" y="3622738"/>
                  <a:chExt cx="75628" cy="75628"/>
                </a:xfrm>
              </p:grpSpPr>
              <p:sp>
                <p:nvSpPr>
                  <p:cNvPr id="2129" name="Freeform: Shape 2128">
                    <a:extLst>
                      <a:ext uri="{FF2B5EF4-FFF2-40B4-BE49-F238E27FC236}">
                        <a16:creationId xmlns:a16="http://schemas.microsoft.com/office/drawing/2014/main" id="{BB73805C-C927-88CE-2E04-98EDB2DCA49F}"/>
                      </a:ext>
                    </a:extLst>
                  </p:cNvPr>
                  <p:cNvSpPr/>
                  <p:nvPr/>
                </p:nvSpPr>
                <p:spPr>
                  <a:xfrm>
                    <a:off x="5995415"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30" name="Freeform: Shape 2129">
                    <a:extLst>
                      <a:ext uri="{FF2B5EF4-FFF2-40B4-BE49-F238E27FC236}">
                        <a16:creationId xmlns:a16="http://schemas.microsoft.com/office/drawing/2014/main" id="{92C7E7D9-6813-659A-7C16-97573CF9DD91}"/>
                      </a:ext>
                    </a:extLst>
                  </p:cNvPr>
                  <p:cNvSpPr/>
                  <p:nvPr/>
                </p:nvSpPr>
                <p:spPr>
                  <a:xfrm>
                    <a:off x="5957601"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3" name="Graphic 16">
                  <a:extLst>
                    <a:ext uri="{FF2B5EF4-FFF2-40B4-BE49-F238E27FC236}">
                      <a16:creationId xmlns:a16="http://schemas.microsoft.com/office/drawing/2014/main" id="{8D6AD6B9-E5DD-782E-289B-0B71B51C2B77}"/>
                    </a:ext>
                  </a:extLst>
                </p:cNvPr>
                <p:cNvGrpSpPr/>
                <p:nvPr/>
              </p:nvGrpSpPr>
              <p:grpSpPr>
                <a:xfrm>
                  <a:off x="5970079" y="3622738"/>
                  <a:ext cx="75628" cy="75628"/>
                  <a:chOff x="5970079" y="3622738"/>
                  <a:chExt cx="75628" cy="75628"/>
                </a:xfrm>
              </p:grpSpPr>
              <p:sp>
                <p:nvSpPr>
                  <p:cNvPr id="2127" name="Freeform: Shape 2126">
                    <a:extLst>
                      <a:ext uri="{FF2B5EF4-FFF2-40B4-BE49-F238E27FC236}">
                        <a16:creationId xmlns:a16="http://schemas.microsoft.com/office/drawing/2014/main" id="{483FC975-2FAF-8219-3A6C-AD9ACB420BC8}"/>
                      </a:ext>
                    </a:extLst>
                  </p:cNvPr>
                  <p:cNvSpPr/>
                  <p:nvPr/>
                </p:nvSpPr>
                <p:spPr>
                  <a:xfrm>
                    <a:off x="6007893"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8" name="Freeform: Shape 2127">
                    <a:extLst>
                      <a:ext uri="{FF2B5EF4-FFF2-40B4-BE49-F238E27FC236}">
                        <a16:creationId xmlns:a16="http://schemas.microsoft.com/office/drawing/2014/main" id="{8ED8F0F7-6014-B7FC-D25F-341A0DA1F2E6}"/>
                      </a:ext>
                    </a:extLst>
                  </p:cNvPr>
                  <p:cNvSpPr/>
                  <p:nvPr/>
                </p:nvSpPr>
                <p:spPr>
                  <a:xfrm>
                    <a:off x="5970079"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4" name="Graphic 16">
                  <a:extLst>
                    <a:ext uri="{FF2B5EF4-FFF2-40B4-BE49-F238E27FC236}">
                      <a16:creationId xmlns:a16="http://schemas.microsoft.com/office/drawing/2014/main" id="{60A0FB97-5DD5-BF7F-05D1-FA5A8EC89AEC}"/>
                    </a:ext>
                  </a:extLst>
                </p:cNvPr>
                <p:cNvGrpSpPr/>
                <p:nvPr/>
              </p:nvGrpSpPr>
              <p:grpSpPr>
                <a:xfrm>
                  <a:off x="5985128" y="3622738"/>
                  <a:ext cx="75723" cy="75628"/>
                  <a:chOff x="5985128" y="3622738"/>
                  <a:chExt cx="75723" cy="75628"/>
                </a:xfrm>
              </p:grpSpPr>
              <p:sp>
                <p:nvSpPr>
                  <p:cNvPr id="2125" name="Freeform: Shape 2124">
                    <a:extLst>
                      <a:ext uri="{FF2B5EF4-FFF2-40B4-BE49-F238E27FC236}">
                        <a16:creationId xmlns:a16="http://schemas.microsoft.com/office/drawing/2014/main" id="{45296817-7570-08CA-C119-88186EF32B44}"/>
                      </a:ext>
                    </a:extLst>
                  </p:cNvPr>
                  <p:cNvSpPr/>
                  <p:nvPr/>
                </p:nvSpPr>
                <p:spPr>
                  <a:xfrm>
                    <a:off x="6023038"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6" name="Freeform: Shape 2125">
                    <a:extLst>
                      <a:ext uri="{FF2B5EF4-FFF2-40B4-BE49-F238E27FC236}">
                        <a16:creationId xmlns:a16="http://schemas.microsoft.com/office/drawing/2014/main" id="{2A6B419A-8CBD-9DF3-6B32-E11747CE193E}"/>
                      </a:ext>
                    </a:extLst>
                  </p:cNvPr>
                  <p:cNvSpPr/>
                  <p:nvPr/>
                </p:nvSpPr>
                <p:spPr>
                  <a:xfrm>
                    <a:off x="598512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5" name="Graphic 16">
                  <a:extLst>
                    <a:ext uri="{FF2B5EF4-FFF2-40B4-BE49-F238E27FC236}">
                      <a16:creationId xmlns:a16="http://schemas.microsoft.com/office/drawing/2014/main" id="{DB8582C6-7E68-4B0F-660D-FE445488CB43}"/>
                    </a:ext>
                  </a:extLst>
                </p:cNvPr>
                <p:cNvGrpSpPr/>
                <p:nvPr/>
              </p:nvGrpSpPr>
              <p:grpSpPr>
                <a:xfrm>
                  <a:off x="5998368" y="3622738"/>
                  <a:ext cx="75723" cy="75628"/>
                  <a:chOff x="5998368" y="3622738"/>
                  <a:chExt cx="75723" cy="75628"/>
                </a:xfrm>
              </p:grpSpPr>
              <p:sp>
                <p:nvSpPr>
                  <p:cNvPr id="2123" name="Freeform: Shape 2122">
                    <a:extLst>
                      <a:ext uri="{FF2B5EF4-FFF2-40B4-BE49-F238E27FC236}">
                        <a16:creationId xmlns:a16="http://schemas.microsoft.com/office/drawing/2014/main" id="{57B5C2D1-330F-ECC2-FB90-AB1F159D88BD}"/>
                      </a:ext>
                    </a:extLst>
                  </p:cNvPr>
                  <p:cNvSpPr/>
                  <p:nvPr/>
                </p:nvSpPr>
                <p:spPr>
                  <a:xfrm>
                    <a:off x="6036277"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4" name="Freeform: Shape 2123">
                    <a:extLst>
                      <a:ext uri="{FF2B5EF4-FFF2-40B4-BE49-F238E27FC236}">
                        <a16:creationId xmlns:a16="http://schemas.microsoft.com/office/drawing/2014/main" id="{3B759FC4-F6F7-D96E-EFB9-C1971764EEE7}"/>
                      </a:ext>
                    </a:extLst>
                  </p:cNvPr>
                  <p:cNvSpPr/>
                  <p:nvPr/>
                </p:nvSpPr>
                <p:spPr>
                  <a:xfrm>
                    <a:off x="599836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6" name="Graphic 16">
                  <a:extLst>
                    <a:ext uri="{FF2B5EF4-FFF2-40B4-BE49-F238E27FC236}">
                      <a16:creationId xmlns:a16="http://schemas.microsoft.com/office/drawing/2014/main" id="{2BD83A7B-6258-5BD2-D13A-1D7DE4BBEF23}"/>
                    </a:ext>
                  </a:extLst>
                </p:cNvPr>
                <p:cNvGrpSpPr/>
                <p:nvPr/>
              </p:nvGrpSpPr>
              <p:grpSpPr>
                <a:xfrm>
                  <a:off x="5885687" y="3600735"/>
                  <a:ext cx="75723" cy="75723"/>
                  <a:chOff x="5885687" y="3600735"/>
                  <a:chExt cx="75723" cy="75723"/>
                </a:xfrm>
              </p:grpSpPr>
              <p:sp>
                <p:nvSpPr>
                  <p:cNvPr id="2121" name="Freeform: Shape 2120">
                    <a:extLst>
                      <a:ext uri="{FF2B5EF4-FFF2-40B4-BE49-F238E27FC236}">
                        <a16:creationId xmlns:a16="http://schemas.microsoft.com/office/drawing/2014/main" id="{EBC66FC5-0C3E-2A06-FB3A-7795A8DAB36F}"/>
                      </a:ext>
                    </a:extLst>
                  </p:cNvPr>
                  <p:cNvSpPr/>
                  <p:nvPr/>
                </p:nvSpPr>
                <p:spPr>
                  <a:xfrm>
                    <a:off x="5923501"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2" name="Freeform: Shape 2121">
                    <a:extLst>
                      <a:ext uri="{FF2B5EF4-FFF2-40B4-BE49-F238E27FC236}">
                        <a16:creationId xmlns:a16="http://schemas.microsoft.com/office/drawing/2014/main" id="{8698A897-80B1-16AB-7A0B-D11108DF3A46}"/>
                      </a:ext>
                    </a:extLst>
                  </p:cNvPr>
                  <p:cNvSpPr/>
                  <p:nvPr/>
                </p:nvSpPr>
                <p:spPr>
                  <a:xfrm>
                    <a:off x="5885687"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7" name="Graphic 16">
                  <a:extLst>
                    <a:ext uri="{FF2B5EF4-FFF2-40B4-BE49-F238E27FC236}">
                      <a16:creationId xmlns:a16="http://schemas.microsoft.com/office/drawing/2014/main" id="{A2EBC69D-69F6-9598-5E91-69B862CE057E}"/>
                    </a:ext>
                  </a:extLst>
                </p:cNvPr>
                <p:cNvGrpSpPr/>
                <p:nvPr/>
              </p:nvGrpSpPr>
              <p:grpSpPr>
                <a:xfrm>
                  <a:off x="5885687" y="3557396"/>
                  <a:ext cx="75723" cy="75723"/>
                  <a:chOff x="5885687" y="3557396"/>
                  <a:chExt cx="75723" cy="75723"/>
                </a:xfrm>
              </p:grpSpPr>
              <p:sp>
                <p:nvSpPr>
                  <p:cNvPr id="2119" name="Freeform: Shape 2118">
                    <a:extLst>
                      <a:ext uri="{FF2B5EF4-FFF2-40B4-BE49-F238E27FC236}">
                        <a16:creationId xmlns:a16="http://schemas.microsoft.com/office/drawing/2014/main" id="{88C20786-077B-7FB8-AAB5-9AD8C9AFF74D}"/>
                      </a:ext>
                    </a:extLst>
                  </p:cNvPr>
                  <p:cNvSpPr/>
                  <p:nvPr/>
                </p:nvSpPr>
                <p:spPr>
                  <a:xfrm>
                    <a:off x="592350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20" name="Freeform: Shape 2119">
                    <a:extLst>
                      <a:ext uri="{FF2B5EF4-FFF2-40B4-BE49-F238E27FC236}">
                        <a16:creationId xmlns:a16="http://schemas.microsoft.com/office/drawing/2014/main" id="{4ADDA9EE-295A-F86F-2473-A8055767D336}"/>
                      </a:ext>
                    </a:extLst>
                  </p:cNvPr>
                  <p:cNvSpPr/>
                  <p:nvPr/>
                </p:nvSpPr>
                <p:spPr>
                  <a:xfrm>
                    <a:off x="588568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8" name="Graphic 16">
                  <a:extLst>
                    <a:ext uri="{FF2B5EF4-FFF2-40B4-BE49-F238E27FC236}">
                      <a16:creationId xmlns:a16="http://schemas.microsoft.com/office/drawing/2014/main" id="{294B1705-D28B-816F-39E4-886E3DCEBA25}"/>
                    </a:ext>
                  </a:extLst>
                </p:cNvPr>
                <p:cNvGrpSpPr/>
                <p:nvPr/>
              </p:nvGrpSpPr>
              <p:grpSpPr>
                <a:xfrm>
                  <a:off x="5816917" y="3557396"/>
                  <a:ext cx="75723" cy="75723"/>
                  <a:chOff x="5816917" y="3557396"/>
                  <a:chExt cx="75723" cy="75723"/>
                </a:xfrm>
              </p:grpSpPr>
              <p:sp>
                <p:nvSpPr>
                  <p:cNvPr id="2117" name="Freeform: Shape 2116">
                    <a:extLst>
                      <a:ext uri="{FF2B5EF4-FFF2-40B4-BE49-F238E27FC236}">
                        <a16:creationId xmlns:a16="http://schemas.microsoft.com/office/drawing/2014/main" id="{19CC4DB7-0D9A-A894-D12E-BED68DF4C123}"/>
                      </a:ext>
                    </a:extLst>
                  </p:cNvPr>
                  <p:cNvSpPr/>
                  <p:nvPr/>
                </p:nvSpPr>
                <p:spPr>
                  <a:xfrm>
                    <a:off x="585482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8" name="Freeform: Shape 2117">
                    <a:extLst>
                      <a:ext uri="{FF2B5EF4-FFF2-40B4-BE49-F238E27FC236}">
                        <a16:creationId xmlns:a16="http://schemas.microsoft.com/office/drawing/2014/main" id="{49D654E9-F046-EB37-CCB5-817CA23484CF}"/>
                      </a:ext>
                    </a:extLst>
                  </p:cNvPr>
                  <p:cNvSpPr/>
                  <p:nvPr/>
                </p:nvSpPr>
                <p:spPr>
                  <a:xfrm>
                    <a:off x="581691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89" name="Graphic 16">
                  <a:extLst>
                    <a:ext uri="{FF2B5EF4-FFF2-40B4-BE49-F238E27FC236}">
                      <a16:creationId xmlns:a16="http://schemas.microsoft.com/office/drawing/2014/main" id="{C072B435-4CFA-6BEF-F377-49C2C1FA5688}"/>
                    </a:ext>
                  </a:extLst>
                </p:cNvPr>
                <p:cNvGrpSpPr/>
                <p:nvPr/>
              </p:nvGrpSpPr>
              <p:grpSpPr>
                <a:xfrm>
                  <a:off x="5834157" y="3557396"/>
                  <a:ext cx="75628" cy="75723"/>
                  <a:chOff x="5834157" y="3557396"/>
                  <a:chExt cx="75628" cy="75723"/>
                </a:xfrm>
              </p:grpSpPr>
              <p:sp>
                <p:nvSpPr>
                  <p:cNvPr id="2115" name="Freeform: Shape 2114">
                    <a:extLst>
                      <a:ext uri="{FF2B5EF4-FFF2-40B4-BE49-F238E27FC236}">
                        <a16:creationId xmlns:a16="http://schemas.microsoft.com/office/drawing/2014/main" id="{3FDAE602-AC01-1374-9F90-1EA86FACA9C1}"/>
                      </a:ext>
                    </a:extLst>
                  </p:cNvPr>
                  <p:cNvSpPr/>
                  <p:nvPr/>
                </p:nvSpPr>
                <p:spPr>
                  <a:xfrm>
                    <a:off x="587197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6" name="Freeform: Shape 2115">
                    <a:extLst>
                      <a:ext uri="{FF2B5EF4-FFF2-40B4-BE49-F238E27FC236}">
                        <a16:creationId xmlns:a16="http://schemas.microsoft.com/office/drawing/2014/main" id="{6547424D-5325-FF56-BD18-1DAC152CD743}"/>
                      </a:ext>
                    </a:extLst>
                  </p:cNvPr>
                  <p:cNvSpPr/>
                  <p:nvPr/>
                </p:nvSpPr>
                <p:spPr>
                  <a:xfrm>
                    <a:off x="5834157" y="35952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0" name="Graphic 16">
                  <a:extLst>
                    <a:ext uri="{FF2B5EF4-FFF2-40B4-BE49-F238E27FC236}">
                      <a16:creationId xmlns:a16="http://schemas.microsoft.com/office/drawing/2014/main" id="{6DB8B6F4-417D-DBBA-610E-AB8E619028D3}"/>
                    </a:ext>
                  </a:extLst>
                </p:cNvPr>
                <p:cNvGrpSpPr/>
                <p:nvPr/>
              </p:nvGrpSpPr>
              <p:grpSpPr>
                <a:xfrm>
                  <a:off x="5851302" y="3557396"/>
                  <a:ext cx="75723" cy="75723"/>
                  <a:chOff x="5851302" y="3557396"/>
                  <a:chExt cx="75723" cy="75723"/>
                </a:xfrm>
              </p:grpSpPr>
              <p:sp>
                <p:nvSpPr>
                  <p:cNvPr id="2113" name="Freeform: Shape 2112">
                    <a:extLst>
                      <a:ext uri="{FF2B5EF4-FFF2-40B4-BE49-F238E27FC236}">
                        <a16:creationId xmlns:a16="http://schemas.microsoft.com/office/drawing/2014/main" id="{2FC276DF-1845-6D3E-1035-A5E99E76C677}"/>
                      </a:ext>
                    </a:extLst>
                  </p:cNvPr>
                  <p:cNvSpPr/>
                  <p:nvPr/>
                </p:nvSpPr>
                <p:spPr>
                  <a:xfrm>
                    <a:off x="588911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4" name="Freeform: Shape 2113">
                    <a:extLst>
                      <a:ext uri="{FF2B5EF4-FFF2-40B4-BE49-F238E27FC236}">
                        <a16:creationId xmlns:a16="http://schemas.microsoft.com/office/drawing/2014/main" id="{334A632A-46FA-AEA5-D689-0595647D23E4}"/>
                      </a:ext>
                    </a:extLst>
                  </p:cNvPr>
                  <p:cNvSpPr/>
                  <p:nvPr/>
                </p:nvSpPr>
                <p:spPr>
                  <a:xfrm>
                    <a:off x="5851302"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1" name="Graphic 16">
                  <a:extLst>
                    <a:ext uri="{FF2B5EF4-FFF2-40B4-BE49-F238E27FC236}">
                      <a16:creationId xmlns:a16="http://schemas.microsoft.com/office/drawing/2014/main" id="{5D4AA5B9-2CE1-F449-C630-FB50DC6ACF7D}"/>
                    </a:ext>
                  </a:extLst>
                </p:cNvPr>
                <p:cNvGrpSpPr/>
                <p:nvPr/>
              </p:nvGrpSpPr>
              <p:grpSpPr>
                <a:xfrm>
                  <a:off x="5868542" y="3557396"/>
                  <a:ext cx="75628" cy="75723"/>
                  <a:chOff x="5868542" y="3557396"/>
                  <a:chExt cx="75628" cy="75723"/>
                </a:xfrm>
              </p:grpSpPr>
              <p:sp>
                <p:nvSpPr>
                  <p:cNvPr id="2111" name="Freeform: Shape 2110">
                    <a:extLst>
                      <a:ext uri="{FF2B5EF4-FFF2-40B4-BE49-F238E27FC236}">
                        <a16:creationId xmlns:a16="http://schemas.microsoft.com/office/drawing/2014/main" id="{8A183C9E-586D-B2E7-A6AE-BCDFFF157849}"/>
                      </a:ext>
                    </a:extLst>
                  </p:cNvPr>
                  <p:cNvSpPr/>
                  <p:nvPr/>
                </p:nvSpPr>
                <p:spPr>
                  <a:xfrm>
                    <a:off x="590635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2" name="Freeform: Shape 2111">
                    <a:extLst>
                      <a:ext uri="{FF2B5EF4-FFF2-40B4-BE49-F238E27FC236}">
                        <a16:creationId xmlns:a16="http://schemas.microsoft.com/office/drawing/2014/main" id="{D61A43C4-C086-876C-29D2-8F8CBBD3781B}"/>
                      </a:ext>
                    </a:extLst>
                  </p:cNvPr>
                  <p:cNvSpPr/>
                  <p:nvPr/>
                </p:nvSpPr>
                <p:spPr>
                  <a:xfrm>
                    <a:off x="5868542" y="35952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2" name="Graphic 16">
                  <a:extLst>
                    <a:ext uri="{FF2B5EF4-FFF2-40B4-BE49-F238E27FC236}">
                      <a16:creationId xmlns:a16="http://schemas.microsoft.com/office/drawing/2014/main" id="{37703FB2-27E9-4442-8513-AD93A5D7F1CC}"/>
                    </a:ext>
                  </a:extLst>
                </p:cNvPr>
                <p:cNvGrpSpPr/>
                <p:nvPr/>
              </p:nvGrpSpPr>
              <p:grpSpPr>
                <a:xfrm>
                  <a:off x="5659278" y="3484911"/>
                  <a:ext cx="75723" cy="75628"/>
                  <a:chOff x="5659278" y="3484911"/>
                  <a:chExt cx="75723" cy="75628"/>
                </a:xfrm>
              </p:grpSpPr>
              <p:sp>
                <p:nvSpPr>
                  <p:cNvPr id="2109" name="Freeform: Shape 2108">
                    <a:extLst>
                      <a:ext uri="{FF2B5EF4-FFF2-40B4-BE49-F238E27FC236}">
                        <a16:creationId xmlns:a16="http://schemas.microsoft.com/office/drawing/2014/main" id="{9089DF6F-DCE4-841A-AC69-DAC08E202F7F}"/>
                      </a:ext>
                    </a:extLst>
                  </p:cNvPr>
                  <p:cNvSpPr/>
                  <p:nvPr/>
                </p:nvSpPr>
                <p:spPr>
                  <a:xfrm>
                    <a:off x="569709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10" name="Freeform: Shape 2109">
                    <a:extLst>
                      <a:ext uri="{FF2B5EF4-FFF2-40B4-BE49-F238E27FC236}">
                        <a16:creationId xmlns:a16="http://schemas.microsoft.com/office/drawing/2014/main" id="{4CC605D1-B831-CE4D-A983-72654E8D9F1B}"/>
                      </a:ext>
                    </a:extLst>
                  </p:cNvPr>
                  <p:cNvSpPr/>
                  <p:nvPr/>
                </p:nvSpPr>
                <p:spPr>
                  <a:xfrm>
                    <a:off x="565927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3" name="Graphic 16">
                  <a:extLst>
                    <a:ext uri="{FF2B5EF4-FFF2-40B4-BE49-F238E27FC236}">
                      <a16:creationId xmlns:a16="http://schemas.microsoft.com/office/drawing/2014/main" id="{03692815-D478-B7FD-EFB9-E3EC0249FEE3}"/>
                    </a:ext>
                  </a:extLst>
                </p:cNvPr>
                <p:cNvGrpSpPr/>
                <p:nvPr/>
              </p:nvGrpSpPr>
              <p:grpSpPr>
                <a:xfrm>
                  <a:off x="5706331" y="3490150"/>
                  <a:ext cx="75723" cy="75723"/>
                  <a:chOff x="5706331" y="3490150"/>
                  <a:chExt cx="75723" cy="75723"/>
                </a:xfrm>
              </p:grpSpPr>
              <p:sp>
                <p:nvSpPr>
                  <p:cNvPr id="2107" name="Freeform: Shape 2106">
                    <a:extLst>
                      <a:ext uri="{FF2B5EF4-FFF2-40B4-BE49-F238E27FC236}">
                        <a16:creationId xmlns:a16="http://schemas.microsoft.com/office/drawing/2014/main" id="{C13C0BD5-12F8-3CD5-30F6-6EFC98926F94}"/>
                      </a:ext>
                    </a:extLst>
                  </p:cNvPr>
                  <p:cNvSpPr/>
                  <p:nvPr/>
                </p:nvSpPr>
                <p:spPr>
                  <a:xfrm>
                    <a:off x="5744146"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8" name="Freeform: Shape 2107">
                    <a:extLst>
                      <a:ext uri="{FF2B5EF4-FFF2-40B4-BE49-F238E27FC236}">
                        <a16:creationId xmlns:a16="http://schemas.microsoft.com/office/drawing/2014/main" id="{05355BA2-EBA9-71FA-5B5A-282007BFF632}"/>
                      </a:ext>
                    </a:extLst>
                  </p:cNvPr>
                  <p:cNvSpPr/>
                  <p:nvPr/>
                </p:nvSpPr>
                <p:spPr>
                  <a:xfrm>
                    <a:off x="5706331" y="35279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4" name="Graphic 16">
                  <a:extLst>
                    <a:ext uri="{FF2B5EF4-FFF2-40B4-BE49-F238E27FC236}">
                      <a16:creationId xmlns:a16="http://schemas.microsoft.com/office/drawing/2014/main" id="{FCB2DE25-DBE5-3C18-A71C-DCA14CE628BA}"/>
                    </a:ext>
                  </a:extLst>
                </p:cNvPr>
                <p:cNvGrpSpPr/>
                <p:nvPr/>
              </p:nvGrpSpPr>
              <p:grpSpPr>
                <a:xfrm>
                  <a:off x="5682614" y="3490150"/>
                  <a:ext cx="75628" cy="75723"/>
                  <a:chOff x="5682614" y="3490150"/>
                  <a:chExt cx="75628" cy="75723"/>
                </a:xfrm>
              </p:grpSpPr>
              <p:sp>
                <p:nvSpPr>
                  <p:cNvPr id="2105" name="Freeform: Shape 2104">
                    <a:extLst>
                      <a:ext uri="{FF2B5EF4-FFF2-40B4-BE49-F238E27FC236}">
                        <a16:creationId xmlns:a16="http://schemas.microsoft.com/office/drawing/2014/main" id="{7CE1DCC2-FC0C-6EF8-9291-003C85ED0AAB}"/>
                      </a:ext>
                    </a:extLst>
                  </p:cNvPr>
                  <p:cNvSpPr/>
                  <p:nvPr/>
                </p:nvSpPr>
                <p:spPr>
                  <a:xfrm>
                    <a:off x="5720428"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6" name="Freeform: Shape 2105">
                    <a:extLst>
                      <a:ext uri="{FF2B5EF4-FFF2-40B4-BE49-F238E27FC236}">
                        <a16:creationId xmlns:a16="http://schemas.microsoft.com/office/drawing/2014/main" id="{CF21FF69-9406-B1FF-14D4-2E45AEB195CE}"/>
                      </a:ext>
                    </a:extLst>
                  </p:cNvPr>
                  <p:cNvSpPr/>
                  <p:nvPr/>
                </p:nvSpPr>
                <p:spPr>
                  <a:xfrm>
                    <a:off x="5682614" y="35279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5" name="Graphic 16">
                  <a:extLst>
                    <a:ext uri="{FF2B5EF4-FFF2-40B4-BE49-F238E27FC236}">
                      <a16:creationId xmlns:a16="http://schemas.microsoft.com/office/drawing/2014/main" id="{820D87D1-96BF-EC4A-2292-47C5EC2264E9}"/>
                    </a:ext>
                  </a:extLst>
                </p:cNvPr>
                <p:cNvGrpSpPr/>
                <p:nvPr/>
              </p:nvGrpSpPr>
              <p:grpSpPr>
                <a:xfrm>
                  <a:off x="5730430" y="3513486"/>
                  <a:ext cx="75723" cy="75723"/>
                  <a:chOff x="5730430" y="3513486"/>
                  <a:chExt cx="75723" cy="75723"/>
                </a:xfrm>
              </p:grpSpPr>
              <p:sp>
                <p:nvSpPr>
                  <p:cNvPr id="2103" name="Freeform: Shape 2102">
                    <a:extLst>
                      <a:ext uri="{FF2B5EF4-FFF2-40B4-BE49-F238E27FC236}">
                        <a16:creationId xmlns:a16="http://schemas.microsoft.com/office/drawing/2014/main" id="{EED834D4-1DDD-50AD-2FFB-E33A12086CE3}"/>
                      </a:ext>
                    </a:extLst>
                  </p:cNvPr>
                  <p:cNvSpPr/>
                  <p:nvPr/>
                </p:nvSpPr>
                <p:spPr>
                  <a:xfrm>
                    <a:off x="5768244" y="35134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4" name="Freeform: Shape 2103">
                    <a:extLst>
                      <a:ext uri="{FF2B5EF4-FFF2-40B4-BE49-F238E27FC236}">
                        <a16:creationId xmlns:a16="http://schemas.microsoft.com/office/drawing/2014/main" id="{2DBD47B3-3FD3-A670-9B7F-1CD9B3791816}"/>
                      </a:ext>
                    </a:extLst>
                  </p:cNvPr>
                  <p:cNvSpPr/>
                  <p:nvPr/>
                </p:nvSpPr>
                <p:spPr>
                  <a:xfrm>
                    <a:off x="5730430" y="355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6" name="Graphic 16">
                  <a:extLst>
                    <a:ext uri="{FF2B5EF4-FFF2-40B4-BE49-F238E27FC236}">
                      <a16:creationId xmlns:a16="http://schemas.microsoft.com/office/drawing/2014/main" id="{5F4C7C40-2B2B-2C82-3FC6-C4ED27E86B9F}"/>
                    </a:ext>
                  </a:extLst>
                </p:cNvPr>
                <p:cNvGrpSpPr/>
                <p:nvPr/>
              </p:nvGrpSpPr>
              <p:grpSpPr>
                <a:xfrm>
                  <a:off x="5590507" y="3484911"/>
                  <a:ext cx="75723" cy="75628"/>
                  <a:chOff x="5590507" y="3484911"/>
                  <a:chExt cx="75723" cy="75628"/>
                </a:xfrm>
              </p:grpSpPr>
              <p:sp>
                <p:nvSpPr>
                  <p:cNvPr id="2101" name="Freeform: Shape 2100">
                    <a:extLst>
                      <a:ext uri="{FF2B5EF4-FFF2-40B4-BE49-F238E27FC236}">
                        <a16:creationId xmlns:a16="http://schemas.microsoft.com/office/drawing/2014/main" id="{33944593-2C36-05A8-55FB-C792D1EF6B46}"/>
                      </a:ext>
                    </a:extLst>
                  </p:cNvPr>
                  <p:cNvSpPr/>
                  <p:nvPr/>
                </p:nvSpPr>
                <p:spPr>
                  <a:xfrm>
                    <a:off x="562841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2" name="Freeform: Shape 2101">
                    <a:extLst>
                      <a:ext uri="{FF2B5EF4-FFF2-40B4-BE49-F238E27FC236}">
                        <a16:creationId xmlns:a16="http://schemas.microsoft.com/office/drawing/2014/main" id="{690BA1AF-3BD1-B0E7-6DA6-455633DEEDA8}"/>
                      </a:ext>
                    </a:extLst>
                  </p:cNvPr>
                  <p:cNvSpPr/>
                  <p:nvPr/>
                </p:nvSpPr>
                <p:spPr>
                  <a:xfrm>
                    <a:off x="5590507"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7" name="Graphic 16">
                  <a:extLst>
                    <a:ext uri="{FF2B5EF4-FFF2-40B4-BE49-F238E27FC236}">
                      <a16:creationId xmlns:a16="http://schemas.microsoft.com/office/drawing/2014/main" id="{2F9B8992-5CAB-BFAE-BAFF-E1BFED1C5ED0}"/>
                    </a:ext>
                  </a:extLst>
                </p:cNvPr>
                <p:cNvGrpSpPr/>
                <p:nvPr/>
              </p:nvGrpSpPr>
              <p:grpSpPr>
                <a:xfrm>
                  <a:off x="5600318" y="3484911"/>
                  <a:ext cx="75723" cy="75628"/>
                  <a:chOff x="5600318" y="3484911"/>
                  <a:chExt cx="75723" cy="75628"/>
                </a:xfrm>
              </p:grpSpPr>
              <p:sp>
                <p:nvSpPr>
                  <p:cNvPr id="2099" name="Freeform: Shape 2098">
                    <a:extLst>
                      <a:ext uri="{FF2B5EF4-FFF2-40B4-BE49-F238E27FC236}">
                        <a16:creationId xmlns:a16="http://schemas.microsoft.com/office/drawing/2014/main" id="{4B622AF0-FC4E-1361-F085-41891EC83EE0}"/>
                      </a:ext>
                    </a:extLst>
                  </p:cNvPr>
                  <p:cNvSpPr/>
                  <p:nvPr/>
                </p:nvSpPr>
                <p:spPr>
                  <a:xfrm>
                    <a:off x="563813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00" name="Freeform: Shape 2099">
                    <a:extLst>
                      <a:ext uri="{FF2B5EF4-FFF2-40B4-BE49-F238E27FC236}">
                        <a16:creationId xmlns:a16="http://schemas.microsoft.com/office/drawing/2014/main" id="{36AC9D40-AC7E-A321-AF16-FE53B8A62A6E}"/>
                      </a:ext>
                    </a:extLst>
                  </p:cNvPr>
                  <p:cNvSpPr/>
                  <p:nvPr/>
                </p:nvSpPr>
                <p:spPr>
                  <a:xfrm>
                    <a:off x="560031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8" name="Graphic 16">
                  <a:extLst>
                    <a:ext uri="{FF2B5EF4-FFF2-40B4-BE49-F238E27FC236}">
                      <a16:creationId xmlns:a16="http://schemas.microsoft.com/office/drawing/2014/main" id="{E05B555B-433A-74E5-848D-06033A7ADD0A}"/>
                    </a:ext>
                  </a:extLst>
                </p:cNvPr>
                <p:cNvGrpSpPr/>
                <p:nvPr/>
              </p:nvGrpSpPr>
              <p:grpSpPr>
                <a:xfrm>
                  <a:off x="5607748" y="3484911"/>
                  <a:ext cx="75628" cy="75628"/>
                  <a:chOff x="5607748" y="3484911"/>
                  <a:chExt cx="75628" cy="75628"/>
                </a:xfrm>
              </p:grpSpPr>
              <p:sp>
                <p:nvSpPr>
                  <p:cNvPr id="2097" name="Freeform: Shape 2096">
                    <a:extLst>
                      <a:ext uri="{FF2B5EF4-FFF2-40B4-BE49-F238E27FC236}">
                        <a16:creationId xmlns:a16="http://schemas.microsoft.com/office/drawing/2014/main" id="{CD82B525-6531-FFD5-CA44-5757E6BDA4CC}"/>
                      </a:ext>
                    </a:extLst>
                  </p:cNvPr>
                  <p:cNvSpPr/>
                  <p:nvPr/>
                </p:nvSpPr>
                <p:spPr>
                  <a:xfrm>
                    <a:off x="564556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8" name="Freeform: Shape 2097">
                    <a:extLst>
                      <a:ext uri="{FF2B5EF4-FFF2-40B4-BE49-F238E27FC236}">
                        <a16:creationId xmlns:a16="http://schemas.microsoft.com/office/drawing/2014/main" id="{D781B55C-B92B-4CBA-AE9D-BF2332D7B958}"/>
                      </a:ext>
                    </a:extLst>
                  </p:cNvPr>
                  <p:cNvSpPr/>
                  <p:nvPr/>
                </p:nvSpPr>
                <p:spPr>
                  <a:xfrm>
                    <a:off x="5607748"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99" name="Graphic 16">
                  <a:extLst>
                    <a:ext uri="{FF2B5EF4-FFF2-40B4-BE49-F238E27FC236}">
                      <a16:creationId xmlns:a16="http://schemas.microsoft.com/office/drawing/2014/main" id="{55487057-F9CF-B888-8597-161EFBCDBE8F}"/>
                    </a:ext>
                  </a:extLst>
                </p:cNvPr>
                <p:cNvGrpSpPr/>
                <p:nvPr/>
              </p:nvGrpSpPr>
              <p:grpSpPr>
                <a:xfrm>
                  <a:off x="5624893" y="3484911"/>
                  <a:ext cx="75723" cy="75628"/>
                  <a:chOff x="5624893" y="3484911"/>
                  <a:chExt cx="75723" cy="75628"/>
                </a:xfrm>
              </p:grpSpPr>
              <p:sp>
                <p:nvSpPr>
                  <p:cNvPr id="2095" name="Freeform: Shape 2094">
                    <a:extLst>
                      <a:ext uri="{FF2B5EF4-FFF2-40B4-BE49-F238E27FC236}">
                        <a16:creationId xmlns:a16="http://schemas.microsoft.com/office/drawing/2014/main" id="{8558E58B-769B-0E48-C27C-49DA446257EC}"/>
                      </a:ext>
                    </a:extLst>
                  </p:cNvPr>
                  <p:cNvSpPr/>
                  <p:nvPr/>
                </p:nvSpPr>
                <p:spPr>
                  <a:xfrm>
                    <a:off x="566280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6" name="Freeform: Shape 2095">
                    <a:extLst>
                      <a:ext uri="{FF2B5EF4-FFF2-40B4-BE49-F238E27FC236}">
                        <a16:creationId xmlns:a16="http://schemas.microsoft.com/office/drawing/2014/main" id="{9D8BD29B-F150-C005-7E51-C64282C21FB9}"/>
                      </a:ext>
                    </a:extLst>
                  </p:cNvPr>
                  <p:cNvSpPr/>
                  <p:nvPr/>
                </p:nvSpPr>
                <p:spPr>
                  <a:xfrm>
                    <a:off x="5624893"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0" name="Graphic 16">
                  <a:extLst>
                    <a:ext uri="{FF2B5EF4-FFF2-40B4-BE49-F238E27FC236}">
                      <a16:creationId xmlns:a16="http://schemas.microsoft.com/office/drawing/2014/main" id="{046617AA-2339-0447-A254-8FB6D048B09E}"/>
                    </a:ext>
                  </a:extLst>
                </p:cNvPr>
                <p:cNvGrpSpPr/>
                <p:nvPr/>
              </p:nvGrpSpPr>
              <p:grpSpPr>
                <a:xfrm>
                  <a:off x="5642133" y="3484911"/>
                  <a:ext cx="75628" cy="75628"/>
                  <a:chOff x="5642133" y="3484911"/>
                  <a:chExt cx="75628" cy="75628"/>
                </a:xfrm>
              </p:grpSpPr>
              <p:sp>
                <p:nvSpPr>
                  <p:cNvPr id="2093" name="Freeform: Shape 2092">
                    <a:extLst>
                      <a:ext uri="{FF2B5EF4-FFF2-40B4-BE49-F238E27FC236}">
                        <a16:creationId xmlns:a16="http://schemas.microsoft.com/office/drawing/2014/main" id="{8ABBD54F-ACDE-5FCB-4DA2-68E82B51B0CF}"/>
                      </a:ext>
                    </a:extLst>
                  </p:cNvPr>
                  <p:cNvSpPr/>
                  <p:nvPr/>
                </p:nvSpPr>
                <p:spPr>
                  <a:xfrm>
                    <a:off x="567994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4" name="Freeform: Shape 2093">
                    <a:extLst>
                      <a:ext uri="{FF2B5EF4-FFF2-40B4-BE49-F238E27FC236}">
                        <a16:creationId xmlns:a16="http://schemas.microsoft.com/office/drawing/2014/main" id="{114A34E2-BE95-17E2-7F9F-FB849F453E7C}"/>
                      </a:ext>
                    </a:extLst>
                  </p:cNvPr>
                  <p:cNvSpPr/>
                  <p:nvPr/>
                </p:nvSpPr>
                <p:spPr>
                  <a:xfrm>
                    <a:off x="5642133"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1" name="Graphic 16">
                  <a:extLst>
                    <a:ext uri="{FF2B5EF4-FFF2-40B4-BE49-F238E27FC236}">
                      <a16:creationId xmlns:a16="http://schemas.microsoft.com/office/drawing/2014/main" id="{196360BA-D8D8-ACF4-DC05-7B7647028E1E}"/>
                    </a:ext>
                  </a:extLst>
                </p:cNvPr>
                <p:cNvGrpSpPr/>
                <p:nvPr/>
              </p:nvGrpSpPr>
              <p:grpSpPr>
                <a:xfrm>
                  <a:off x="5398864" y="3418807"/>
                  <a:ext cx="75723" cy="75723"/>
                  <a:chOff x="5398864" y="3418807"/>
                  <a:chExt cx="75723" cy="75723"/>
                </a:xfrm>
              </p:grpSpPr>
              <p:sp>
                <p:nvSpPr>
                  <p:cNvPr id="2091" name="Freeform: Shape 2090">
                    <a:extLst>
                      <a:ext uri="{FF2B5EF4-FFF2-40B4-BE49-F238E27FC236}">
                        <a16:creationId xmlns:a16="http://schemas.microsoft.com/office/drawing/2014/main" id="{4B8F11AA-ECD4-908F-5469-8A459132E14F}"/>
                      </a:ext>
                    </a:extLst>
                  </p:cNvPr>
                  <p:cNvSpPr/>
                  <p:nvPr/>
                </p:nvSpPr>
                <p:spPr>
                  <a:xfrm>
                    <a:off x="543677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2" name="Freeform: Shape 2091">
                    <a:extLst>
                      <a:ext uri="{FF2B5EF4-FFF2-40B4-BE49-F238E27FC236}">
                        <a16:creationId xmlns:a16="http://schemas.microsoft.com/office/drawing/2014/main" id="{76EA81A0-346C-E714-09DB-31F8DB83EDBC}"/>
                      </a:ext>
                    </a:extLst>
                  </p:cNvPr>
                  <p:cNvSpPr/>
                  <p:nvPr/>
                </p:nvSpPr>
                <p:spPr>
                  <a:xfrm>
                    <a:off x="539886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2" name="Graphic 16">
                  <a:extLst>
                    <a:ext uri="{FF2B5EF4-FFF2-40B4-BE49-F238E27FC236}">
                      <a16:creationId xmlns:a16="http://schemas.microsoft.com/office/drawing/2014/main" id="{97AA7306-B5C7-55EE-5799-CD9B130EB993}"/>
                    </a:ext>
                  </a:extLst>
                </p:cNvPr>
                <p:cNvGrpSpPr/>
                <p:nvPr/>
              </p:nvGrpSpPr>
              <p:grpSpPr>
                <a:xfrm>
                  <a:off x="5412199" y="3418807"/>
                  <a:ext cx="75723" cy="75723"/>
                  <a:chOff x="5412199" y="3418807"/>
                  <a:chExt cx="75723" cy="75723"/>
                </a:xfrm>
              </p:grpSpPr>
              <p:sp>
                <p:nvSpPr>
                  <p:cNvPr id="2089" name="Freeform: Shape 2088">
                    <a:extLst>
                      <a:ext uri="{FF2B5EF4-FFF2-40B4-BE49-F238E27FC236}">
                        <a16:creationId xmlns:a16="http://schemas.microsoft.com/office/drawing/2014/main" id="{49721663-4FDE-DD67-8C07-ED47CD47A862}"/>
                      </a:ext>
                    </a:extLst>
                  </p:cNvPr>
                  <p:cNvSpPr/>
                  <p:nvPr/>
                </p:nvSpPr>
                <p:spPr>
                  <a:xfrm>
                    <a:off x="545001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90" name="Freeform: Shape 2089">
                    <a:extLst>
                      <a:ext uri="{FF2B5EF4-FFF2-40B4-BE49-F238E27FC236}">
                        <a16:creationId xmlns:a16="http://schemas.microsoft.com/office/drawing/2014/main" id="{6A5F9B89-011E-8C67-F9AB-373D1AEC6AE5}"/>
                      </a:ext>
                    </a:extLst>
                  </p:cNvPr>
                  <p:cNvSpPr/>
                  <p:nvPr/>
                </p:nvSpPr>
                <p:spPr>
                  <a:xfrm>
                    <a:off x="541219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3" name="Graphic 16">
                  <a:extLst>
                    <a:ext uri="{FF2B5EF4-FFF2-40B4-BE49-F238E27FC236}">
                      <a16:creationId xmlns:a16="http://schemas.microsoft.com/office/drawing/2014/main" id="{CC9EF5E9-378E-1E31-1940-1E2C19282E9F}"/>
                    </a:ext>
                  </a:extLst>
                </p:cNvPr>
                <p:cNvGrpSpPr/>
                <p:nvPr/>
              </p:nvGrpSpPr>
              <p:grpSpPr>
                <a:xfrm>
                  <a:off x="5330094" y="3418807"/>
                  <a:ext cx="75723" cy="75723"/>
                  <a:chOff x="5330094" y="3418807"/>
                  <a:chExt cx="75723" cy="75723"/>
                </a:xfrm>
              </p:grpSpPr>
              <p:sp>
                <p:nvSpPr>
                  <p:cNvPr id="2087" name="Freeform: Shape 2086">
                    <a:extLst>
                      <a:ext uri="{FF2B5EF4-FFF2-40B4-BE49-F238E27FC236}">
                        <a16:creationId xmlns:a16="http://schemas.microsoft.com/office/drawing/2014/main" id="{B387914E-71EA-D1A8-176C-C9873673D442}"/>
                      </a:ext>
                    </a:extLst>
                  </p:cNvPr>
                  <p:cNvSpPr/>
                  <p:nvPr/>
                </p:nvSpPr>
                <p:spPr>
                  <a:xfrm>
                    <a:off x="5368003"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8" name="Freeform: Shape 2087">
                    <a:extLst>
                      <a:ext uri="{FF2B5EF4-FFF2-40B4-BE49-F238E27FC236}">
                        <a16:creationId xmlns:a16="http://schemas.microsoft.com/office/drawing/2014/main" id="{2C36AF40-DE84-709E-A06A-FDEC91B4E537}"/>
                      </a:ext>
                    </a:extLst>
                  </p:cNvPr>
                  <p:cNvSpPr/>
                  <p:nvPr/>
                </p:nvSpPr>
                <p:spPr>
                  <a:xfrm>
                    <a:off x="533009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4" name="Graphic 16">
                  <a:extLst>
                    <a:ext uri="{FF2B5EF4-FFF2-40B4-BE49-F238E27FC236}">
                      <a16:creationId xmlns:a16="http://schemas.microsoft.com/office/drawing/2014/main" id="{CCC82C0E-A20F-9A03-984B-390E2734AEBA}"/>
                    </a:ext>
                  </a:extLst>
                </p:cNvPr>
                <p:cNvGrpSpPr/>
                <p:nvPr/>
              </p:nvGrpSpPr>
              <p:grpSpPr>
                <a:xfrm>
                  <a:off x="5347334" y="3418807"/>
                  <a:ext cx="75723" cy="75723"/>
                  <a:chOff x="5347334" y="3418807"/>
                  <a:chExt cx="75723" cy="75723"/>
                </a:xfrm>
              </p:grpSpPr>
              <p:sp>
                <p:nvSpPr>
                  <p:cNvPr id="2085" name="Freeform: Shape 2084">
                    <a:extLst>
                      <a:ext uri="{FF2B5EF4-FFF2-40B4-BE49-F238E27FC236}">
                        <a16:creationId xmlns:a16="http://schemas.microsoft.com/office/drawing/2014/main" id="{FBEDAB4B-A229-1DF5-B781-5CCF879866C0}"/>
                      </a:ext>
                    </a:extLst>
                  </p:cNvPr>
                  <p:cNvSpPr/>
                  <p:nvPr/>
                </p:nvSpPr>
                <p:spPr>
                  <a:xfrm>
                    <a:off x="5385148"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6" name="Freeform: Shape 2085">
                    <a:extLst>
                      <a:ext uri="{FF2B5EF4-FFF2-40B4-BE49-F238E27FC236}">
                        <a16:creationId xmlns:a16="http://schemas.microsoft.com/office/drawing/2014/main" id="{5DB5282A-AB4F-AB4F-C7DD-B3B824724348}"/>
                      </a:ext>
                    </a:extLst>
                  </p:cNvPr>
                  <p:cNvSpPr/>
                  <p:nvPr/>
                </p:nvSpPr>
                <p:spPr>
                  <a:xfrm>
                    <a:off x="534733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5" name="Graphic 16">
                  <a:extLst>
                    <a:ext uri="{FF2B5EF4-FFF2-40B4-BE49-F238E27FC236}">
                      <a16:creationId xmlns:a16="http://schemas.microsoft.com/office/drawing/2014/main" id="{16587C99-4EEB-7CC2-56F5-0CC2D42D67EB}"/>
                    </a:ext>
                  </a:extLst>
                </p:cNvPr>
                <p:cNvGrpSpPr/>
                <p:nvPr/>
              </p:nvGrpSpPr>
              <p:grpSpPr>
                <a:xfrm>
                  <a:off x="5364479" y="3418807"/>
                  <a:ext cx="75723" cy="75723"/>
                  <a:chOff x="5364479" y="3418807"/>
                  <a:chExt cx="75723" cy="75723"/>
                </a:xfrm>
              </p:grpSpPr>
              <p:sp>
                <p:nvSpPr>
                  <p:cNvPr id="2083" name="Freeform: Shape 2082">
                    <a:extLst>
                      <a:ext uri="{FF2B5EF4-FFF2-40B4-BE49-F238E27FC236}">
                        <a16:creationId xmlns:a16="http://schemas.microsoft.com/office/drawing/2014/main" id="{EF9FBE50-143C-FE09-2451-63B098FF85D1}"/>
                      </a:ext>
                    </a:extLst>
                  </p:cNvPr>
                  <p:cNvSpPr/>
                  <p:nvPr/>
                </p:nvSpPr>
                <p:spPr>
                  <a:xfrm>
                    <a:off x="5402389"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4" name="Freeform: Shape 2083">
                    <a:extLst>
                      <a:ext uri="{FF2B5EF4-FFF2-40B4-BE49-F238E27FC236}">
                        <a16:creationId xmlns:a16="http://schemas.microsoft.com/office/drawing/2014/main" id="{D2131F67-BFB1-9C98-1D34-96C42DD7B1A1}"/>
                      </a:ext>
                    </a:extLst>
                  </p:cNvPr>
                  <p:cNvSpPr/>
                  <p:nvPr/>
                </p:nvSpPr>
                <p:spPr>
                  <a:xfrm>
                    <a:off x="536447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6" name="Graphic 16">
                  <a:extLst>
                    <a:ext uri="{FF2B5EF4-FFF2-40B4-BE49-F238E27FC236}">
                      <a16:creationId xmlns:a16="http://schemas.microsoft.com/office/drawing/2014/main" id="{7E4DFCA0-6C80-FA15-2D5D-A33505F3D667}"/>
                    </a:ext>
                  </a:extLst>
                </p:cNvPr>
                <p:cNvGrpSpPr/>
                <p:nvPr/>
              </p:nvGrpSpPr>
              <p:grpSpPr>
                <a:xfrm>
                  <a:off x="5381719" y="3418807"/>
                  <a:ext cx="75723" cy="75723"/>
                  <a:chOff x="5381719" y="3418807"/>
                  <a:chExt cx="75723" cy="75723"/>
                </a:xfrm>
              </p:grpSpPr>
              <p:sp>
                <p:nvSpPr>
                  <p:cNvPr id="2081" name="Freeform: Shape 2080">
                    <a:extLst>
                      <a:ext uri="{FF2B5EF4-FFF2-40B4-BE49-F238E27FC236}">
                        <a16:creationId xmlns:a16="http://schemas.microsoft.com/office/drawing/2014/main" id="{FFA2F64E-C2F0-1301-FF3E-15990CB80C21}"/>
                      </a:ext>
                    </a:extLst>
                  </p:cNvPr>
                  <p:cNvSpPr/>
                  <p:nvPr/>
                </p:nvSpPr>
                <p:spPr>
                  <a:xfrm>
                    <a:off x="541953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2" name="Freeform: Shape 2081">
                    <a:extLst>
                      <a:ext uri="{FF2B5EF4-FFF2-40B4-BE49-F238E27FC236}">
                        <a16:creationId xmlns:a16="http://schemas.microsoft.com/office/drawing/2014/main" id="{3A5A67F6-D9B4-776A-2451-E7C25E597DFC}"/>
                      </a:ext>
                    </a:extLst>
                  </p:cNvPr>
                  <p:cNvSpPr/>
                  <p:nvPr/>
                </p:nvSpPr>
                <p:spPr>
                  <a:xfrm>
                    <a:off x="538171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7" name="Graphic 16">
                  <a:extLst>
                    <a:ext uri="{FF2B5EF4-FFF2-40B4-BE49-F238E27FC236}">
                      <a16:creationId xmlns:a16="http://schemas.microsoft.com/office/drawing/2014/main" id="{8ABF8907-3393-5ADF-5874-202DF787C114}"/>
                    </a:ext>
                  </a:extLst>
                </p:cNvPr>
                <p:cNvGrpSpPr/>
                <p:nvPr/>
              </p:nvGrpSpPr>
              <p:grpSpPr>
                <a:xfrm>
                  <a:off x="5338762" y="3418807"/>
                  <a:ext cx="75628" cy="75723"/>
                  <a:chOff x="5338762" y="3418807"/>
                  <a:chExt cx="75628" cy="75723"/>
                </a:xfrm>
              </p:grpSpPr>
              <p:sp>
                <p:nvSpPr>
                  <p:cNvPr id="2079" name="Freeform: Shape 2078">
                    <a:extLst>
                      <a:ext uri="{FF2B5EF4-FFF2-40B4-BE49-F238E27FC236}">
                        <a16:creationId xmlns:a16="http://schemas.microsoft.com/office/drawing/2014/main" id="{1FBF71CC-7B16-586D-4F21-D348BF8ADFDA}"/>
                      </a:ext>
                    </a:extLst>
                  </p:cNvPr>
                  <p:cNvSpPr/>
                  <p:nvPr/>
                </p:nvSpPr>
                <p:spPr>
                  <a:xfrm>
                    <a:off x="537657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80" name="Freeform: Shape 2079">
                    <a:extLst>
                      <a:ext uri="{FF2B5EF4-FFF2-40B4-BE49-F238E27FC236}">
                        <a16:creationId xmlns:a16="http://schemas.microsoft.com/office/drawing/2014/main" id="{ADB9C408-2377-4B3E-947D-7D4A3F01F694}"/>
                      </a:ext>
                    </a:extLst>
                  </p:cNvPr>
                  <p:cNvSpPr/>
                  <p:nvPr/>
                </p:nvSpPr>
                <p:spPr>
                  <a:xfrm>
                    <a:off x="5338762"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8" name="Graphic 16">
                  <a:extLst>
                    <a:ext uri="{FF2B5EF4-FFF2-40B4-BE49-F238E27FC236}">
                      <a16:creationId xmlns:a16="http://schemas.microsoft.com/office/drawing/2014/main" id="{20768E45-2471-46F6-B477-6DC1A12C6638}"/>
                    </a:ext>
                  </a:extLst>
                </p:cNvPr>
                <p:cNvGrpSpPr/>
                <p:nvPr/>
              </p:nvGrpSpPr>
              <p:grpSpPr>
                <a:xfrm>
                  <a:off x="5355907" y="3418807"/>
                  <a:ext cx="75723" cy="75723"/>
                  <a:chOff x="5355907" y="3418807"/>
                  <a:chExt cx="75723" cy="75723"/>
                </a:xfrm>
              </p:grpSpPr>
              <p:sp>
                <p:nvSpPr>
                  <p:cNvPr id="2077" name="Freeform: Shape 2076">
                    <a:extLst>
                      <a:ext uri="{FF2B5EF4-FFF2-40B4-BE49-F238E27FC236}">
                        <a16:creationId xmlns:a16="http://schemas.microsoft.com/office/drawing/2014/main" id="{40259249-F85E-EBAA-CDBB-84B7FDDAC7B0}"/>
                      </a:ext>
                    </a:extLst>
                  </p:cNvPr>
                  <p:cNvSpPr/>
                  <p:nvPr/>
                </p:nvSpPr>
                <p:spPr>
                  <a:xfrm>
                    <a:off x="539372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8" name="Freeform: Shape 2077">
                    <a:extLst>
                      <a:ext uri="{FF2B5EF4-FFF2-40B4-BE49-F238E27FC236}">
                        <a16:creationId xmlns:a16="http://schemas.microsoft.com/office/drawing/2014/main" id="{2E8069EC-290A-B981-B499-6A599067E447}"/>
                      </a:ext>
                    </a:extLst>
                  </p:cNvPr>
                  <p:cNvSpPr/>
                  <p:nvPr/>
                </p:nvSpPr>
                <p:spPr>
                  <a:xfrm>
                    <a:off x="5355907"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9" name="Graphic 16">
                  <a:extLst>
                    <a:ext uri="{FF2B5EF4-FFF2-40B4-BE49-F238E27FC236}">
                      <a16:creationId xmlns:a16="http://schemas.microsoft.com/office/drawing/2014/main" id="{80AABFE9-057C-FC6B-48E9-8C1D7D59CB7B}"/>
                    </a:ext>
                  </a:extLst>
                </p:cNvPr>
                <p:cNvGrpSpPr/>
                <p:nvPr/>
              </p:nvGrpSpPr>
              <p:grpSpPr>
                <a:xfrm>
                  <a:off x="5373147" y="3418807"/>
                  <a:ext cx="75628" cy="75723"/>
                  <a:chOff x="5373147" y="3418807"/>
                  <a:chExt cx="75628" cy="75723"/>
                </a:xfrm>
              </p:grpSpPr>
              <p:sp>
                <p:nvSpPr>
                  <p:cNvPr id="2075" name="Freeform: Shape 2074">
                    <a:extLst>
                      <a:ext uri="{FF2B5EF4-FFF2-40B4-BE49-F238E27FC236}">
                        <a16:creationId xmlns:a16="http://schemas.microsoft.com/office/drawing/2014/main" id="{3183FDCF-B2D4-5215-BE47-8AD0BB65069F}"/>
                      </a:ext>
                    </a:extLst>
                  </p:cNvPr>
                  <p:cNvSpPr/>
                  <p:nvPr/>
                </p:nvSpPr>
                <p:spPr>
                  <a:xfrm>
                    <a:off x="541096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6" name="Freeform: Shape 2075">
                    <a:extLst>
                      <a:ext uri="{FF2B5EF4-FFF2-40B4-BE49-F238E27FC236}">
                        <a16:creationId xmlns:a16="http://schemas.microsoft.com/office/drawing/2014/main" id="{63691BAC-B51B-5F19-34B4-069CD4816017}"/>
                      </a:ext>
                    </a:extLst>
                  </p:cNvPr>
                  <p:cNvSpPr/>
                  <p:nvPr/>
                </p:nvSpPr>
                <p:spPr>
                  <a:xfrm>
                    <a:off x="5373147"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0" name="Graphic 16">
                  <a:extLst>
                    <a:ext uri="{FF2B5EF4-FFF2-40B4-BE49-F238E27FC236}">
                      <a16:creationId xmlns:a16="http://schemas.microsoft.com/office/drawing/2014/main" id="{EAD6980C-D962-8622-3148-9FD72C2A593B}"/>
                    </a:ext>
                  </a:extLst>
                </p:cNvPr>
                <p:cNvGrpSpPr/>
                <p:nvPr/>
              </p:nvGrpSpPr>
              <p:grpSpPr>
                <a:xfrm>
                  <a:off x="5390292" y="3418807"/>
                  <a:ext cx="75723" cy="75723"/>
                  <a:chOff x="5390292" y="3418807"/>
                  <a:chExt cx="75723" cy="75723"/>
                </a:xfrm>
              </p:grpSpPr>
              <p:sp>
                <p:nvSpPr>
                  <p:cNvPr id="2073" name="Freeform: Shape 2072">
                    <a:extLst>
                      <a:ext uri="{FF2B5EF4-FFF2-40B4-BE49-F238E27FC236}">
                        <a16:creationId xmlns:a16="http://schemas.microsoft.com/office/drawing/2014/main" id="{8737FD7C-DB0A-C471-C5F9-5A625EB9C2B2}"/>
                      </a:ext>
                    </a:extLst>
                  </p:cNvPr>
                  <p:cNvSpPr/>
                  <p:nvPr/>
                </p:nvSpPr>
                <p:spPr>
                  <a:xfrm>
                    <a:off x="542810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4" name="Freeform: Shape 2073">
                    <a:extLst>
                      <a:ext uri="{FF2B5EF4-FFF2-40B4-BE49-F238E27FC236}">
                        <a16:creationId xmlns:a16="http://schemas.microsoft.com/office/drawing/2014/main" id="{27E3650F-EB70-D154-CB90-5B2AAD468D9A}"/>
                      </a:ext>
                    </a:extLst>
                  </p:cNvPr>
                  <p:cNvSpPr/>
                  <p:nvPr/>
                </p:nvSpPr>
                <p:spPr>
                  <a:xfrm>
                    <a:off x="5390292"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1" name="Graphic 16">
                  <a:extLst>
                    <a:ext uri="{FF2B5EF4-FFF2-40B4-BE49-F238E27FC236}">
                      <a16:creationId xmlns:a16="http://schemas.microsoft.com/office/drawing/2014/main" id="{0B513E04-995C-1B6B-5C01-8D7586ED5AE5}"/>
                    </a:ext>
                  </a:extLst>
                </p:cNvPr>
                <p:cNvGrpSpPr/>
                <p:nvPr/>
              </p:nvGrpSpPr>
              <p:grpSpPr>
                <a:xfrm>
                  <a:off x="5225414" y="3337083"/>
                  <a:ext cx="75723" cy="75628"/>
                  <a:chOff x="5225414" y="3337083"/>
                  <a:chExt cx="75723" cy="75628"/>
                </a:xfrm>
              </p:grpSpPr>
              <p:sp>
                <p:nvSpPr>
                  <p:cNvPr id="2071" name="Freeform: Shape 2070">
                    <a:extLst>
                      <a:ext uri="{FF2B5EF4-FFF2-40B4-BE49-F238E27FC236}">
                        <a16:creationId xmlns:a16="http://schemas.microsoft.com/office/drawing/2014/main" id="{0FD337A3-2C32-B5F6-213B-33DF147B2D4A}"/>
                      </a:ext>
                    </a:extLst>
                  </p:cNvPr>
                  <p:cNvSpPr/>
                  <p:nvPr/>
                </p:nvSpPr>
                <p:spPr>
                  <a:xfrm>
                    <a:off x="526322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2" name="Freeform: Shape 2071">
                    <a:extLst>
                      <a:ext uri="{FF2B5EF4-FFF2-40B4-BE49-F238E27FC236}">
                        <a16:creationId xmlns:a16="http://schemas.microsoft.com/office/drawing/2014/main" id="{3181D70D-A46B-F68C-8C01-7706BAB36832}"/>
                      </a:ext>
                    </a:extLst>
                  </p:cNvPr>
                  <p:cNvSpPr/>
                  <p:nvPr/>
                </p:nvSpPr>
                <p:spPr>
                  <a:xfrm>
                    <a:off x="5225414"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2" name="Graphic 16">
                  <a:extLst>
                    <a:ext uri="{FF2B5EF4-FFF2-40B4-BE49-F238E27FC236}">
                      <a16:creationId xmlns:a16="http://schemas.microsoft.com/office/drawing/2014/main" id="{00E5563C-9A14-C4FB-8807-639C1D335F0D}"/>
                    </a:ext>
                  </a:extLst>
                </p:cNvPr>
                <p:cNvGrpSpPr/>
                <p:nvPr/>
              </p:nvGrpSpPr>
              <p:grpSpPr>
                <a:xfrm>
                  <a:off x="5243416" y="3368896"/>
                  <a:ext cx="75723" cy="75723"/>
                  <a:chOff x="5243416" y="3368896"/>
                  <a:chExt cx="75723" cy="75723"/>
                </a:xfrm>
              </p:grpSpPr>
              <p:sp>
                <p:nvSpPr>
                  <p:cNvPr id="2069" name="Freeform: Shape 2068">
                    <a:extLst>
                      <a:ext uri="{FF2B5EF4-FFF2-40B4-BE49-F238E27FC236}">
                        <a16:creationId xmlns:a16="http://schemas.microsoft.com/office/drawing/2014/main" id="{8F86BCB0-8A04-0442-5F0B-73156120495F}"/>
                      </a:ext>
                    </a:extLst>
                  </p:cNvPr>
                  <p:cNvSpPr/>
                  <p:nvPr/>
                </p:nvSpPr>
                <p:spPr>
                  <a:xfrm>
                    <a:off x="5281231"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70" name="Freeform: Shape 2069">
                    <a:extLst>
                      <a:ext uri="{FF2B5EF4-FFF2-40B4-BE49-F238E27FC236}">
                        <a16:creationId xmlns:a16="http://schemas.microsoft.com/office/drawing/2014/main" id="{AF6E2F17-3084-2836-98C1-F1DB4CA895A0}"/>
                      </a:ext>
                    </a:extLst>
                  </p:cNvPr>
                  <p:cNvSpPr/>
                  <p:nvPr/>
                </p:nvSpPr>
                <p:spPr>
                  <a:xfrm>
                    <a:off x="5243416"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3" name="Graphic 16">
                  <a:extLst>
                    <a:ext uri="{FF2B5EF4-FFF2-40B4-BE49-F238E27FC236}">
                      <a16:creationId xmlns:a16="http://schemas.microsoft.com/office/drawing/2014/main" id="{1C615482-D724-16AC-7733-FAE7D97C42F3}"/>
                    </a:ext>
                  </a:extLst>
                </p:cNvPr>
                <p:cNvGrpSpPr/>
                <p:nvPr/>
              </p:nvGrpSpPr>
              <p:grpSpPr>
                <a:xfrm>
                  <a:off x="5263228" y="3368896"/>
                  <a:ext cx="75723" cy="75723"/>
                  <a:chOff x="5263228" y="3368896"/>
                  <a:chExt cx="75723" cy="75723"/>
                </a:xfrm>
              </p:grpSpPr>
              <p:sp>
                <p:nvSpPr>
                  <p:cNvPr id="2067" name="Freeform: Shape 2066">
                    <a:extLst>
                      <a:ext uri="{FF2B5EF4-FFF2-40B4-BE49-F238E27FC236}">
                        <a16:creationId xmlns:a16="http://schemas.microsoft.com/office/drawing/2014/main" id="{8EFC1D1C-5E7F-C755-476F-953C373B62A8}"/>
                      </a:ext>
                    </a:extLst>
                  </p:cNvPr>
                  <p:cNvSpPr/>
                  <p:nvPr/>
                </p:nvSpPr>
                <p:spPr>
                  <a:xfrm>
                    <a:off x="5301138"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8" name="Freeform: Shape 2067">
                    <a:extLst>
                      <a:ext uri="{FF2B5EF4-FFF2-40B4-BE49-F238E27FC236}">
                        <a16:creationId xmlns:a16="http://schemas.microsoft.com/office/drawing/2014/main" id="{EAF72249-A5AE-3695-BB61-C7FF9235E445}"/>
                      </a:ext>
                    </a:extLst>
                  </p:cNvPr>
                  <p:cNvSpPr/>
                  <p:nvPr/>
                </p:nvSpPr>
                <p:spPr>
                  <a:xfrm>
                    <a:off x="5263228"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4" name="Graphic 16">
                  <a:extLst>
                    <a:ext uri="{FF2B5EF4-FFF2-40B4-BE49-F238E27FC236}">
                      <a16:creationId xmlns:a16="http://schemas.microsoft.com/office/drawing/2014/main" id="{EE9D05C4-6AE3-30EC-2C42-AE8355B4426F}"/>
                    </a:ext>
                  </a:extLst>
                </p:cNvPr>
                <p:cNvGrpSpPr/>
                <p:nvPr/>
              </p:nvGrpSpPr>
              <p:grpSpPr>
                <a:xfrm>
                  <a:off x="5281231" y="3387089"/>
                  <a:ext cx="75628" cy="75723"/>
                  <a:chOff x="5281231" y="3387089"/>
                  <a:chExt cx="75628" cy="75723"/>
                </a:xfrm>
              </p:grpSpPr>
              <p:sp>
                <p:nvSpPr>
                  <p:cNvPr id="2065" name="Freeform: Shape 2064">
                    <a:extLst>
                      <a:ext uri="{FF2B5EF4-FFF2-40B4-BE49-F238E27FC236}">
                        <a16:creationId xmlns:a16="http://schemas.microsoft.com/office/drawing/2014/main" id="{D8A4F48D-EF77-271E-965C-4F6381C384B5}"/>
                      </a:ext>
                    </a:extLst>
                  </p:cNvPr>
                  <p:cNvSpPr/>
                  <p:nvPr/>
                </p:nvSpPr>
                <p:spPr>
                  <a:xfrm>
                    <a:off x="5319045"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6" name="Freeform: Shape 2065">
                    <a:extLst>
                      <a:ext uri="{FF2B5EF4-FFF2-40B4-BE49-F238E27FC236}">
                        <a16:creationId xmlns:a16="http://schemas.microsoft.com/office/drawing/2014/main" id="{F31A769B-C662-B777-18FD-55ABFC83778E}"/>
                      </a:ext>
                    </a:extLst>
                  </p:cNvPr>
                  <p:cNvSpPr/>
                  <p:nvPr/>
                </p:nvSpPr>
                <p:spPr>
                  <a:xfrm>
                    <a:off x="5281231" y="342490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5" name="Graphic 16">
                  <a:extLst>
                    <a:ext uri="{FF2B5EF4-FFF2-40B4-BE49-F238E27FC236}">
                      <a16:creationId xmlns:a16="http://schemas.microsoft.com/office/drawing/2014/main" id="{377F2494-2D61-96CD-191F-871D382065C0}"/>
                    </a:ext>
                  </a:extLst>
                </p:cNvPr>
                <p:cNvGrpSpPr/>
                <p:nvPr/>
              </p:nvGrpSpPr>
              <p:grpSpPr>
                <a:xfrm>
                  <a:off x="5273134" y="3368896"/>
                  <a:ext cx="75628" cy="75723"/>
                  <a:chOff x="5273134" y="3368896"/>
                  <a:chExt cx="75628" cy="75723"/>
                </a:xfrm>
              </p:grpSpPr>
              <p:sp>
                <p:nvSpPr>
                  <p:cNvPr id="2063" name="Freeform: Shape 2062">
                    <a:extLst>
                      <a:ext uri="{FF2B5EF4-FFF2-40B4-BE49-F238E27FC236}">
                        <a16:creationId xmlns:a16="http://schemas.microsoft.com/office/drawing/2014/main" id="{0A8117F5-12CF-D2D5-5BFB-A17227429594}"/>
                      </a:ext>
                    </a:extLst>
                  </p:cNvPr>
                  <p:cNvSpPr/>
                  <p:nvPr/>
                </p:nvSpPr>
                <p:spPr>
                  <a:xfrm>
                    <a:off x="5310949"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4" name="Freeform: Shape 2063">
                    <a:extLst>
                      <a:ext uri="{FF2B5EF4-FFF2-40B4-BE49-F238E27FC236}">
                        <a16:creationId xmlns:a16="http://schemas.microsoft.com/office/drawing/2014/main" id="{8684F995-C4CD-1DD1-47B9-ACB173EDE9DA}"/>
                      </a:ext>
                    </a:extLst>
                  </p:cNvPr>
                  <p:cNvSpPr/>
                  <p:nvPr/>
                </p:nvSpPr>
                <p:spPr>
                  <a:xfrm>
                    <a:off x="5273134" y="34067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6" name="Graphic 16">
                  <a:extLst>
                    <a:ext uri="{FF2B5EF4-FFF2-40B4-BE49-F238E27FC236}">
                      <a16:creationId xmlns:a16="http://schemas.microsoft.com/office/drawing/2014/main" id="{F078238C-97F8-DE65-960D-E1F9B69A2EC1}"/>
                    </a:ext>
                  </a:extLst>
                </p:cNvPr>
                <p:cNvGrpSpPr/>
                <p:nvPr/>
              </p:nvGrpSpPr>
              <p:grpSpPr>
                <a:xfrm>
                  <a:off x="5291041" y="3387089"/>
                  <a:ext cx="75723" cy="75723"/>
                  <a:chOff x="5291041" y="3387089"/>
                  <a:chExt cx="75723" cy="75723"/>
                </a:xfrm>
              </p:grpSpPr>
              <p:sp>
                <p:nvSpPr>
                  <p:cNvPr id="2061" name="Freeform: Shape 2060">
                    <a:extLst>
                      <a:ext uri="{FF2B5EF4-FFF2-40B4-BE49-F238E27FC236}">
                        <a16:creationId xmlns:a16="http://schemas.microsoft.com/office/drawing/2014/main" id="{FA01EBFC-0671-4167-CF85-0B61FFCEEBFF}"/>
                      </a:ext>
                    </a:extLst>
                  </p:cNvPr>
                  <p:cNvSpPr/>
                  <p:nvPr/>
                </p:nvSpPr>
                <p:spPr>
                  <a:xfrm>
                    <a:off x="532885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2" name="Freeform: Shape 2061">
                    <a:extLst>
                      <a:ext uri="{FF2B5EF4-FFF2-40B4-BE49-F238E27FC236}">
                        <a16:creationId xmlns:a16="http://schemas.microsoft.com/office/drawing/2014/main" id="{70F8E8A1-EE8C-0784-B125-4134A06195A0}"/>
                      </a:ext>
                    </a:extLst>
                  </p:cNvPr>
                  <p:cNvSpPr/>
                  <p:nvPr/>
                </p:nvSpPr>
                <p:spPr>
                  <a:xfrm>
                    <a:off x="5291041" y="34249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7" name="Graphic 16">
                  <a:extLst>
                    <a:ext uri="{FF2B5EF4-FFF2-40B4-BE49-F238E27FC236}">
                      <a16:creationId xmlns:a16="http://schemas.microsoft.com/office/drawing/2014/main" id="{A08FD2C7-F727-4E57-1A44-1B61EAB84B15}"/>
                    </a:ext>
                  </a:extLst>
                </p:cNvPr>
                <p:cNvGrpSpPr/>
                <p:nvPr/>
              </p:nvGrpSpPr>
              <p:grpSpPr>
                <a:xfrm>
                  <a:off x="5302471" y="3387089"/>
                  <a:ext cx="75628" cy="75723"/>
                  <a:chOff x="5302471" y="3387089"/>
                  <a:chExt cx="75628" cy="75723"/>
                </a:xfrm>
              </p:grpSpPr>
              <p:sp>
                <p:nvSpPr>
                  <p:cNvPr id="2059" name="Freeform: Shape 2058">
                    <a:extLst>
                      <a:ext uri="{FF2B5EF4-FFF2-40B4-BE49-F238E27FC236}">
                        <a16:creationId xmlns:a16="http://schemas.microsoft.com/office/drawing/2014/main" id="{95C35E87-CB6B-FDA8-B28A-50D137BDBD0E}"/>
                      </a:ext>
                    </a:extLst>
                  </p:cNvPr>
                  <p:cNvSpPr/>
                  <p:nvPr/>
                </p:nvSpPr>
                <p:spPr>
                  <a:xfrm>
                    <a:off x="534028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60" name="Freeform: Shape 2059">
                    <a:extLst>
                      <a:ext uri="{FF2B5EF4-FFF2-40B4-BE49-F238E27FC236}">
                        <a16:creationId xmlns:a16="http://schemas.microsoft.com/office/drawing/2014/main" id="{7E4EDE0F-E586-943A-933B-6B101F8662B5}"/>
                      </a:ext>
                    </a:extLst>
                  </p:cNvPr>
                  <p:cNvSpPr/>
                  <p:nvPr/>
                </p:nvSpPr>
                <p:spPr>
                  <a:xfrm>
                    <a:off x="5302471" y="342490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8" name="Graphic 16">
                  <a:extLst>
                    <a:ext uri="{FF2B5EF4-FFF2-40B4-BE49-F238E27FC236}">
                      <a16:creationId xmlns:a16="http://schemas.microsoft.com/office/drawing/2014/main" id="{021C5F06-E2F2-5222-4537-D9BD246C5FDE}"/>
                    </a:ext>
                  </a:extLst>
                </p:cNvPr>
                <p:cNvGrpSpPr/>
                <p:nvPr/>
              </p:nvGrpSpPr>
              <p:grpSpPr>
                <a:xfrm>
                  <a:off x="5153215" y="3334130"/>
                  <a:ext cx="75628" cy="75723"/>
                  <a:chOff x="5153215" y="3334130"/>
                  <a:chExt cx="75628" cy="75723"/>
                </a:xfrm>
              </p:grpSpPr>
              <p:sp>
                <p:nvSpPr>
                  <p:cNvPr id="2057" name="Freeform: Shape 2056">
                    <a:extLst>
                      <a:ext uri="{FF2B5EF4-FFF2-40B4-BE49-F238E27FC236}">
                        <a16:creationId xmlns:a16="http://schemas.microsoft.com/office/drawing/2014/main" id="{98C4E8EB-1A2E-2505-D769-2067ACA9160B}"/>
                      </a:ext>
                    </a:extLst>
                  </p:cNvPr>
                  <p:cNvSpPr/>
                  <p:nvPr/>
                </p:nvSpPr>
                <p:spPr>
                  <a:xfrm>
                    <a:off x="5191029" y="3334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8" name="Freeform: Shape 2057">
                    <a:extLst>
                      <a:ext uri="{FF2B5EF4-FFF2-40B4-BE49-F238E27FC236}">
                        <a16:creationId xmlns:a16="http://schemas.microsoft.com/office/drawing/2014/main" id="{769E536C-5BFA-BBA8-512D-EE75C458A1DB}"/>
                      </a:ext>
                    </a:extLst>
                  </p:cNvPr>
                  <p:cNvSpPr/>
                  <p:nvPr/>
                </p:nvSpPr>
                <p:spPr>
                  <a:xfrm>
                    <a:off x="5153215" y="33719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19" name="Graphic 16">
                  <a:extLst>
                    <a:ext uri="{FF2B5EF4-FFF2-40B4-BE49-F238E27FC236}">
                      <a16:creationId xmlns:a16="http://schemas.microsoft.com/office/drawing/2014/main" id="{7C5CF5CA-C7F7-2AB9-70A0-B0A35257BEF8}"/>
                    </a:ext>
                  </a:extLst>
                </p:cNvPr>
                <p:cNvGrpSpPr/>
                <p:nvPr/>
              </p:nvGrpSpPr>
              <p:grpSpPr>
                <a:xfrm>
                  <a:off x="5173884" y="3337083"/>
                  <a:ext cx="75628" cy="75628"/>
                  <a:chOff x="5173884" y="3337083"/>
                  <a:chExt cx="75628" cy="75628"/>
                </a:xfrm>
              </p:grpSpPr>
              <p:sp>
                <p:nvSpPr>
                  <p:cNvPr id="2055" name="Freeform: Shape 2054">
                    <a:extLst>
                      <a:ext uri="{FF2B5EF4-FFF2-40B4-BE49-F238E27FC236}">
                        <a16:creationId xmlns:a16="http://schemas.microsoft.com/office/drawing/2014/main" id="{66D3D56A-47EA-F10B-B0E3-A924BBFEEE25}"/>
                      </a:ext>
                    </a:extLst>
                  </p:cNvPr>
                  <p:cNvSpPr/>
                  <p:nvPr/>
                </p:nvSpPr>
                <p:spPr>
                  <a:xfrm>
                    <a:off x="521169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6" name="Freeform: Shape 2055">
                    <a:extLst>
                      <a:ext uri="{FF2B5EF4-FFF2-40B4-BE49-F238E27FC236}">
                        <a16:creationId xmlns:a16="http://schemas.microsoft.com/office/drawing/2014/main" id="{C74537FC-1762-8D2E-243F-C80C01DC925C}"/>
                      </a:ext>
                    </a:extLst>
                  </p:cNvPr>
                  <p:cNvSpPr/>
                  <p:nvPr/>
                </p:nvSpPr>
                <p:spPr>
                  <a:xfrm>
                    <a:off x="5173884"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0" name="Graphic 16">
                  <a:extLst>
                    <a:ext uri="{FF2B5EF4-FFF2-40B4-BE49-F238E27FC236}">
                      <a16:creationId xmlns:a16="http://schemas.microsoft.com/office/drawing/2014/main" id="{8B07B0D4-5385-0A37-ACCB-A6E4FB348484}"/>
                    </a:ext>
                  </a:extLst>
                </p:cNvPr>
                <p:cNvGrpSpPr/>
                <p:nvPr/>
              </p:nvGrpSpPr>
              <p:grpSpPr>
                <a:xfrm>
                  <a:off x="5191029" y="3337083"/>
                  <a:ext cx="75723" cy="75628"/>
                  <a:chOff x="5191029" y="3337083"/>
                  <a:chExt cx="75723" cy="75628"/>
                </a:xfrm>
              </p:grpSpPr>
              <p:sp>
                <p:nvSpPr>
                  <p:cNvPr id="2053" name="Freeform: Shape 2052">
                    <a:extLst>
                      <a:ext uri="{FF2B5EF4-FFF2-40B4-BE49-F238E27FC236}">
                        <a16:creationId xmlns:a16="http://schemas.microsoft.com/office/drawing/2014/main" id="{F3F85958-5FD4-3530-13BC-DAF0C5E87F93}"/>
                      </a:ext>
                    </a:extLst>
                  </p:cNvPr>
                  <p:cNvSpPr/>
                  <p:nvPr/>
                </p:nvSpPr>
                <p:spPr>
                  <a:xfrm>
                    <a:off x="522884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4" name="Freeform: Shape 2053">
                    <a:extLst>
                      <a:ext uri="{FF2B5EF4-FFF2-40B4-BE49-F238E27FC236}">
                        <a16:creationId xmlns:a16="http://schemas.microsoft.com/office/drawing/2014/main" id="{8170D18F-6CA9-D020-E973-D1F4F1EC48B4}"/>
                      </a:ext>
                    </a:extLst>
                  </p:cNvPr>
                  <p:cNvSpPr/>
                  <p:nvPr/>
                </p:nvSpPr>
                <p:spPr>
                  <a:xfrm>
                    <a:off x="5191029"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1" name="Graphic 16">
                  <a:extLst>
                    <a:ext uri="{FF2B5EF4-FFF2-40B4-BE49-F238E27FC236}">
                      <a16:creationId xmlns:a16="http://schemas.microsoft.com/office/drawing/2014/main" id="{67CD36BE-FC3B-E930-A351-AD66785C1370}"/>
                    </a:ext>
                  </a:extLst>
                </p:cNvPr>
                <p:cNvGrpSpPr/>
                <p:nvPr/>
              </p:nvGrpSpPr>
              <p:grpSpPr>
                <a:xfrm>
                  <a:off x="5208269" y="3337083"/>
                  <a:ext cx="75628" cy="75628"/>
                  <a:chOff x="5208269" y="3337083"/>
                  <a:chExt cx="75628" cy="75628"/>
                </a:xfrm>
              </p:grpSpPr>
              <p:sp>
                <p:nvSpPr>
                  <p:cNvPr id="2051" name="Freeform: Shape 2050">
                    <a:extLst>
                      <a:ext uri="{FF2B5EF4-FFF2-40B4-BE49-F238E27FC236}">
                        <a16:creationId xmlns:a16="http://schemas.microsoft.com/office/drawing/2014/main" id="{40397C10-6D7E-6F24-E581-E6ED35F790AB}"/>
                      </a:ext>
                    </a:extLst>
                  </p:cNvPr>
                  <p:cNvSpPr/>
                  <p:nvPr/>
                </p:nvSpPr>
                <p:spPr>
                  <a:xfrm>
                    <a:off x="524608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2" name="Freeform: Shape 2051">
                    <a:extLst>
                      <a:ext uri="{FF2B5EF4-FFF2-40B4-BE49-F238E27FC236}">
                        <a16:creationId xmlns:a16="http://schemas.microsoft.com/office/drawing/2014/main" id="{A2C451B0-3DD8-2D87-21F1-E956ABD26E93}"/>
                      </a:ext>
                    </a:extLst>
                  </p:cNvPr>
                  <p:cNvSpPr/>
                  <p:nvPr/>
                </p:nvSpPr>
                <p:spPr>
                  <a:xfrm>
                    <a:off x="5208269"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2" name="Graphic 16">
                  <a:extLst>
                    <a:ext uri="{FF2B5EF4-FFF2-40B4-BE49-F238E27FC236}">
                      <a16:creationId xmlns:a16="http://schemas.microsoft.com/office/drawing/2014/main" id="{4B656E58-8C6D-67DA-784E-41966BBB7891}"/>
                    </a:ext>
                  </a:extLst>
                </p:cNvPr>
                <p:cNvGrpSpPr/>
                <p:nvPr/>
              </p:nvGrpSpPr>
              <p:grpSpPr>
                <a:xfrm>
                  <a:off x="4432553" y="3045523"/>
                  <a:ext cx="75628" cy="75628"/>
                  <a:chOff x="4432553" y="3045523"/>
                  <a:chExt cx="75628" cy="75628"/>
                </a:xfrm>
              </p:grpSpPr>
              <p:sp>
                <p:nvSpPr>
                  <p:cNvPr id="2049" name="Freeform: Shape 2048">
                    <a:extLst>
                      <a:ext uri="{FF2B5EF4-FFF2-40B4-BE49-F238E27FC236}">
                        <a16:creationId xmlns:a16="http://schemas.microsoft.com/office/drawing/2014/main" id="{7B154969-DE16-C135-B86E-417752BB83B5}"/>
                      </a:ext>
                    </a:extLst>
                  </p:cNvPr>
                  <p:cNvSpPr/>
                  <p:nvPr/>
                </p:nvSpPr>
                <p:spPr>
                  <a:xfrm>
                    <a:off x="4470367"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50" name="Freeform: Shape 2049">
                    <a:extLst>
                      <a:ext uri="{FF2B5EF4-FFF2-40B4-BE49-F238E27FC236}">
                        <a16:creationId xmlns:a16="http://schemas.microsoft.com/office/drawing/2014/main" id="{EBA4E7A9-BAA2-A5DA-86F0-792A1A0ABB6E}"/>
                      </a:ext>
                    </a:extLst>
                  </p:cNvPr>
                  <p:cNvSpPr/>
                  <p:nvPr/>
                </p:nvSpPr>
                <p:spPr>
                  <a:xfrm>
                    <a:off x="4432553"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3" name="Graphic 16">
                  <a:extLst>
                    <a:ext uri="{FF2B5EF4-FFF2-40B4-BE49-F238E27FC236}">
                      <a16:creationId xmlns:a16="http://schemas.microsoft.com/office/drawing/2014/main" id="{2B2E36E5-A080-0FB4-90FF-CC674D53EC1C}"/>
                    </a:ext>
                  </a:extLst>
                </p:cNvPr>
                <p:cNvGrpSpPr/>
                <p:nvPr/>
              </p:nvGrpSpPr>
              <p:grpSpPr>
                <a:xfrm>
                  <a:off x="4451413" y="3045523"/>
                  <a:ext cx="75723" cy="75628"/>
                  <a:chOff x="4451413" y="3045523"/>
                  <a:chExt cx="75723" cy="75628"/>
                </a:xfrm>
              </p:grpSpPr>
              <p:sp>
                <p:nvSpPr>
                  <p:cNvPr id="2047" name="Freeform: Shape 2046">
                    <a:extLst>
                      <a:ext uri="{FF2B5EF4-FFF2-40B4-BE49-F238E27FC236}">
                        <a16:creationId xmlns:a16="http://schemas.microsoft.com/office/drawing/2014/main" id="{44725D3D-9FF5-DB2A-F155-986923B21D3D}"/>
                      </a:ext>
                    </a:extLst>
                  </p:cNvPr>
                  <p:cNvSpPr/>
                  <p:nvPr/>
                </p:nvSpPr>
                <p:spPr>
                  <a:xfrm>
                    <a:off x="448932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8" name="Freeform: Shape 2047">
                    <a:extLst>
                      <a:ext uri="{FF2B5EF4-FFF2-40B4-BE49-F238E27FC236}">
                        <a16:creationId xmlns:a16="http://schemas.microsoft.com/office/drawing/2014/main" id="{E5A3788B-969C-B964-4C5F-DAC0266A5D90}"/>
                      </a:ext>
                    </a:extLst>
                  </p:cNvPr>
                  <p:cNvSpPr/>
                  <p:nvPr/>
                </p:nvSpPr>
                <p:spPr>
                  <a:xfrm>
                    <a:off x="4451413"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4" name="Graphic 16">
                  <a:extLst>
                    <a:ext uri="{FF2B5EF4-FFF2-40B4-BE49-F238E27FC236}">
                      <a16:creationId xmlns:a16="http://schemas.microsoft.com/office/drawing/2014/main" id="{B68ABB15-7184-0359-693C-6058849F7DA8}"/>
                    </a:ext>
                  </a:extLst>
                </p:cNvPr>
                <p:cNvGrpSpPr/>
                <p:nvPr/>
              </p:nvGrpSpPr>
              <p:grpSpPr>
                <a:xfrm>
                  <a:off x="4470367" y="3045523"/>
                  <a:ext cx="75723" cy="75628"/>
                  <a:chOff x="4470367" y="3045523"/>
                  <a:chExt cx="75723" cy="75628"/>
                </a:xfrm>
              </p:grpSpPr>
              <p:sp>
                <p:nvSpPr>
                  <p:cNvPr id="2045" name="Freeform: Shape 2044">
                    <a:extLst>
                      <a:ext uri="{FF2B5EF4-FFF2-40B4-BE49-F238E27FC236}">
                        <a16:creationId xmlns:a16="http://schemas.microsoft.com/office/drawing/2014/main" id="{BD2E0AB6-5862-5B43-EC93-385367505BFE}"/>
                      </a:ext>
                    </a:extLst>
                  </p:cNvPr>
                  <p:cNvSpPr/>
                  <p:nvPr/>
                </p:nvSpPr>
                <p:spPr>
                  <a:xfrm>
                    <a:off x="450818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6" name="Freeform: Shape 2045">
                    <a:extLst>
                      <a:ext uri="{FF2B5EF4-FFF2-40B4-BE49-F238E27FC236}">
                        <a16:creationId xmlns:a16="http://schemas.microsoft.com/office/drawing/2014/main" id="{C47711FA-2A59-CBA1-14B9-9215EBB6639D}"/>
                      </a:ext>
                    </a:extLst>
                  </p:cNvPr>
                  <p:cNvSpPr/>
                  <p:nvPr/>
                </p:nvSpPr>
                <p:spPr>
                  <a:xfrm>
                    <a:off x="4470367"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5" name="Graphic 16">
                  <a:extLst>
                    <a:ext uri="{FF2B5EF4-FFF2-40B4-BE49-F238E27FC236}">
                      <a16:creationId xmlns:a16="http://schemas.microsoft.com/office/drawing/2014/main" id="{01968672-AF99-FBB7-CE42-449289D83C62}"/>
                    </a:ext>
                  </a:extLst>
                </p:cNvPr>
                <p:cNvGrpSpPr/>
                <p:nvPr/>
              </p:nvGrpSpPr>
              <p:grpSpPr>
                <a:xfrm>
                  <a:off x="4481607" y="3068002"/>
                  <a:ext cx="75628" cy="75628"/>
                  <a:chOff x="4481607" y="3068002"/>
                  <a:chExt cx="75628" cy="75628"/>
                </a:xfrm>
              </p:grpSpPr>
              <p:sp>
                <p:nvSpPr>
                  <p:cNvPr id="2043" name="Freeform: Shape 2042">
                    <a:extLst>
                      <a:ext uri="{FF2B5EF4-FFF2-40B4-BE49-F238E27FC236}">
                        <a16:creationId xmlns:a16="http://schemas.microsoft.com/office/drawing/2014/main" id="{D036F3A3-2920-2765-028D-908CEFE3B696}"/>
                      </a:ext>
                    </a:extLst>
                  </p:cNvPr>
                  <p:cNvSpPr/>
                  <p:nvPr/>
                </p:nvSpPr>
                <p:spPr>
                  <a:xfrm>
                    <a:off x="4519421"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4" name="Freeform: Shape 2043">
                    <a:extLst>
                      <a:ext uri="{FF2B5EF4-FFF2-40B4-BE49-F238E27FC236}">
                        <a16:creationId xmlns:a16="http://schemas.microsoft.com/office/drawing/2014/main" id="{546A1E76-4E00-4914-15B6-FBB785DAD582}"/>
                      </a:ext>
                    </a:extLst>
                  </p:cNvPr>
                  <p:cNvSpPr/>
                  <p:nvPr/>
                </p:nvSpPr>
                <p:spPr>
                  <a:xfrm>
                    <a:off x="4481607" y="310581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6" name="Graphic 16">
                  <a:extLst>
                    <a:ext uri="{FF2B5EF4-FFF2-40B4-BE49-F238E27FC236}">
                      <a16:creationId xmlns:a16="http://schemas.microsoft.com/office/drawing/2014/main" id="{96CD35C4-95A4-0DD3-5B6B-D841CA6A4242}"/>
                    </a:ext>
                  </a:extLst>
                </p:cNvPr>
                <p:cNvGrpSpPr/>
                <p:nvPr/>
              </p:nvGrpSpPr>
              <p:grpSpPr>
                <a:xfrm>
                  <a:off x="4500466" y="3068002"/>
                  <a:ext cx="75723" cy="75628"/>
                  <a:chOff x="4500466" y="3068002"/>
                  <a:chExt cx="75723" cy="75628"/>
                </a:xfrm>
              </p:grpSpPr>
              <p:sp>
                <p:nvSpPr>
                  <p:cNvPr id="2041" name="Freeform: Shape 2040">
                    <a:extLst>
                      <a:ext uri="{FF2B5EF4-FFF2-40B4-BE49-F238E27FC236}">
                        <a16:creationId xmlns:a16="http://schemas.microsoft.com/office/drawing/2014/main" id="{E9C8062F-31ED-B5BB-7F5E-DA3AFAC7BD1C}"/>
                      </a:ext>
                    </a:extLst>
                  </p:cNvPr>
                  <p:cNvSpPr/>
                  <p:nvPr/>
                </p:nvSpPr>
                <p:spPr>
                  <a:xfrm>
                    <a:off x="4538376"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2" name="Freeform: Shape 2041">
                    <a:extLst>
                      <a:ext uri="{FF2B5EF4-FFF2-40B4-BE49-F238E27FC236}">
                        <a16:creationId xmlns:a16="http://schemas.microsoft.com/office/drawing/2014/main" id="{F4F9A3D3-8F33-95A1-6E5D-5C9EE2ED62BF}"/>
                      </a:ext>
                    </a:extLst>
                  </p:cNvPr>
                  <p:cNvSpPr/>
                  <p:nvPr/>
                </p:nvSpPr>
                <p:spPr>
                  <a:xfrm>
                    <a:off x="4500466"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7" name="Graphic 16">
                  <a:extLst>
                    <a:ext uri="{FF2B5EF4-FFF2-40B4-BE49-F238E27FC236}">
                      <a16:creationId xmlns:a16="http://schemas.microsoft.com/office/drawing/2014/main" id="{62C9F8C4-475B-EDB3-41D4-221DFFC0A3FF}"/>
                    </a:ext>
                  </a:extLst>
                </p:cNvPr>
                <p:cNvGrpSpPr/>
                <p:nvPr/>
              </p:nvGrpSpPr>
              <p:grpSpPr>
                <a:xfrm>
                  <a:off x="4519421" y="3068002"/>
                  <a:ext cx="75723" cy="75628"/>
                  <a:chOff x="4519421" y="3068002"/>
                  <a:chExt cx="75723" cy="75628"/>
                </a:xfrm>
              </p:grpSpPr>
              <p:sp>
                <p:nvSpPr>
                  <p:cNvPr id="2039" name="Freeform: Shape 2038">
                    <a:extLst>
                      <a:ext uri="{FF2B5EF4-FFF2-40B4-BE49-F238E27FC236}">
                        <a16:creationId xmlns:a16="http://schemas.microsoft.com/office/drawing/2014/main" id="{191F1B9D-4D66-43A9-5F7D-C96B2176CF51}"/>
                      </a:ext>
                    </a:extLst>
                  </p:cNvPr>
                  <p:cNvSpPr/>
                  <p:nvPr/>
                </p:nvSpPr>
                <p:spPr>
                  <a:xfrm>
                    <a:off x="4557235"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40" name="Freeform: Shape 2039">
                    <a:extLst>
                      <a:ext uri="{FF2B5EF4-FFF2-40B4-BE49-F238E27FC236}">
                        <a16:creationId xmlns:a16="http://schemas.microsoft.com/office/drawing/2014/main" id="{8076919D-6DB2-D494-4EF2-FF22704C68D3}"/>
                      </a:ext>
                    </a:extLst>
                  </p:cNvPr>
                  <p:cNvSpPr/>
                  <p:nvPr/>
                </p:nvSpPr>
                <p:spPr>
                  <a:xfrm>
                    <a:off x="4519421"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8" name="Graphic 16">
                  <a:extLst>
                    <a:ext uri="{FF2B5EF4-FFF2-40B4-BE49-F238E27FC236}">
                      <a16:creationId xmlns:a16="http://schemas.microsoft.com/office/drawing/2014/main" id="{EB8E2954-9E7D-100C-028B-8DAB709D8D98}"/>
                    </a:ext>
                  </a:extLst>
                </p:cNvPr>
                <p:cNvGrpSpPr/>
                <p:nvPr/>
              </p:nvGrpSpPr>
              <p:grpSpPr>
                <a:xfrm>
                  <a:off x="4538376" y="3068002"/>
                  <a:ext cx="75628" cy="75628"/>
                  <a:chOff x="4538376" y="3068002"/>
                  <a:chExt cx="75628" cy="75628"/>
                </a:xfrm>
              </p:grpSpPr>
              <p:sp>
                <p:nvSpPr>
                  <p:cNvPr id="2037" name="Freeform: Shape 2036">
                    <a:extLst>
                      <a:ext uri="{FF2B5EF4-FFF2-40B4-BE49-F238E27FC236}">
                        <a16:creationId xmlns:a16="http://schemas.microsoft.com/office/drawing/2014/main" id="{C9C8FF8B-2FDF-3297-D825-6A6459F94A8F}"/>
                      </a:ext>
                    </a:extLst>
                  </p:cNvPr>
                  <p:cNvSpPr/>
                  <p:nvPr/>
                </p:nvSpPr>
                <p:spPr>
                  <a:xfrm>
                    <a:off x="4576190"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8" name="Freeform: Shape 2037">
                    <a:extLst>
                      <a:ext uri="{FF2B5EF4-FFF2-40B4-BE49-F238E27FC236}">
                        <a16:creationId xmlns:a16="http://schemas.microsoft.com/office/drawing/2014/main" id="{993B06D6-D0DC-BD5A-965A-D634D9ACCA6E}"/>
                      </a:ext>
                    </a:extLst>
                  </p:cNvPr>
                  <p:cNvSpPr/>
                  <p:nvPr/>
                </p:nvSpPr>
                <p:spPr>
                  <a:xfrm>
                    <a:off x="4538376"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29" name="Graphic 16">
                  <a:extLst>
                    <a:ext uri="{FF2B5EF4-FFF2-40B4-BE49-F238E27FC236}">
                      <a16:creationId xmlns:a16="http://schemas.microsoft.com/office/drawing/2014/main" id="{94D23933-A984-1631-F2B3-C02C0DBBE1F7}"/>
                    </a:ext>
                  </a:extLst>
                </p:cNvPr>
                <p:cNvGrpSpPr/>
                <p:nvPr/>
              </p:nvGrpSpPr>
              <p:grpSpPr>
                <a:xfrm>
                  <a:off x="4557235" y="3077336"/>
                  <a:ext cx="75723" cy="75723"/>
                  <a:chOff x="4557235" y="3077336"/>
                  <a:chExt cx="75723" cy="75723"/>
                </a:xfrm>
              </p:grpSpPr>
              <p:sp>
                <p:nvSpPr>
                  <p:cNvPr id="2035" name="Freeform: Shape 2034">
                    <a:extLst>
                      <a:ext uri="{FF2B5EF4-FFF2-40B4-BE49-F238E27FC236}">
                        <a16:creationId xmlns:a16="http://schemas.microsoft.com/office/drawing/2014/main" id="{70B75614-1E16-7FE4-2048-BEEDD2B9159F}"/>
                      </a:ext>
                    </a:extLst>
                  </p:cNvPr>
                  <p:cNvSpPr/>
                  <p:nvPr/>
                </p:nvSpPr>
                <p:spPr>
                  <a:xfrm>
                    <a:off x="4595145"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6" name="Freeform: Shape 2035">
                    <a:extLst>
                      <a:ext uri="{FF2B5EF4-FFF2-40B4-BE49-F238E27FC236}">
                        <a16:creationId xmlns:a16="http://schemas.microsoft.com/office/drawing/2014/main" id="{EFF8BB3C-2378-0866-2A5C-19EDA53B1CFA}"/>
                      </a:ext>
                    </a:extLst>
                  </p:cNvPr>
                  <p:cNvSpPr/>
                  <p:nvPr/>
                </p:nvSpPr>
                <p:spPr>
                  <a:xfrm>
                    <a:off x="4557235"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0" name="Graphic 16">
                  <a:extLst>
                    <a:ext uri="{FF2B5EF4-FFF2-40B4-BE49-F238E27FC236}">
                      <a16:creationId xmlns:a16="http://schemas.microsoft.com/office/drawing/2014/main" id="{C1221A5C-B479-3DE7-F057-52AD2E7A67E4}"/>
                    </a:ext>
                  </a:extLst>
                </p:cNvPr>
                <p:cNvGrpSpPr/>
                <p:nvPr/>
              </p:nvGrpSpPr>
              <p:grpSpPr>
                <a:xfrm>
                  <a:off x="4576190" y="3077336"/>
                  <a:ext cx="75723" cy="75723"/>
                  <a:chOff x="4576190" y="3077336"/>
                  <a:chExt cx="75723" cy="75723"/>
                </a:xfrm>
              </p:grpSpPr>
              <p:sp>
                <p:nvSpPr>
                  <p:cNvPr id="2033" name="Freeform: Shape 2032">
                    <a:extLst>
                      <a:ext uri="{FF2B5EF4-FFF2-40B4-BE49-F238E27FC236}">
                        <a16:creationId xmlns:a16="http://schemas.microsoft.com/office/drawing/2014/main" id="{6EAFC024-8165-4691-EB97-6CDA90CBC795}"/>
                      </a:ext>
                    </a:extLst>
                  </p:cNvPr>
                  <p:cNvSpPr/>
                  <p:nvPr/>
                </p:nvSpPr>
                <p:spPr>
                  <a:xfrm>
                    <a:off x="4614004"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4" name="Freeform: Shape 2033">
                    <a:extLst>
                      <a:ext uri="{FF2B5EF4-FFF2-40B4-BE49-F238E27FC236}">
                        <a16:creationId xmlns:a16="http://schemas.microsoft.com/office/drawing/2014/main" id="{49BE56F2-56DF-EA9B-D38C-99D259766F5B}"/>
                      </a:ext>
                    </a:extLst>
                  </p:cNvPr>
                  <p:cNvSpPr/>
                  <p:nvPr/>
                </p:nvSpPr>
                <p:spPr>
                  <a:xfrm>
                    <a:off x="4576190"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1" name="Graphic 16">
                  <a:extLst>
                    <a:ext uri="{FF2B5EF4-FFF2-40B4-BE49-F238E27FC236}">
                      <a16:creationId xmlns:a16="http://schemas.microsoft.com/office/drawing/2014/main" id="{79E53E7F-C6CA-AFED-A9FD-4039C03B66AC}"/>
                    </a:ext>
                  </a:extLst>
                </p:cNvPr>
                <p:cNvGrpSpPr/>
                <p:nvPr/>
              </p:nvGrpSpPr>
              <p:grpSpPr>
                <a:xfrm>
                  <a:off x="4595145" y="3085718"/>
                  <a:ext cx="75628" cy="75628"/>
                  <a:chOff x="4595145" y="3085718"/>
                  <a:chExt cx="75628" cy="75628"/>
                </a:xfrm>
              </p:grpSpPr>
              <p:sp>
                <p:nvSpPr>
                  <p:cNvPr id="2031" name="Freeform: Shape 2030">
                    <a:extLst>
                      <a:ext uri="{FF2B5EF4-FFF2-40B4-BE49-F238E27FC236}">
                        <a16:creationId xmlns:a16="http://schemas.microsoft.com/office/drawing/2014/main" id="{AD82DEAC-2867-E24F-E96D-701ECB0A7698}"/>
                      </a:ext>
                    </a:extLst>
                  </p:cNvPr>
                  <p:cNvSpPr/>
                  <p:nvPr/>
                </p:nvSpPr>
                <p:spPr>
                  <a:xfrm>
                    <a:off x="4632959"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2" name="Freeform: Shape 2031">
                    <a:extLst>
                      <a:ext uri="{FF2B5EF4-FFF2-40B4-BE49-F238E27FC236}">
                        <a16:creationId xmlns:a16="http://schemas.microsoft.com/office/drawing/2014/main" id="{94669E0F-367B-6779-D9C0-24C42E37306A}"/>
                      </a:ext>
                    </a:extLst>
                  </p:cNvPr>
                  <p:cNvSpPr/>
                  <p:nvPr/>
                </p:nvSpPr>
                <p:spPr>
                  <a:xfrm>
                    <a:off x="4595145" y="312353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2" name="Graphic 16">
                  <a:extLst>
                    <a:ext uri="{FF2B5EF4-FFF2-40B4-BE49-F238E27FC236}">
                      <a16:creationId xmlns:a16="http://schemas.microsoft.com/office/drawing/2014/main" id="{BABBC75E-5A34-D7CF-9854-99B56A771217}"/>
                    </a:ext>
                  </a:extLst>
                </p:cNvPr>
                <p:cNvGrpSpPr/>
                <p:nvPr/>
              </p:nvGrpSpPr>
              <p:grpSpPr>
                <a:xfrm>
                  <a:off x="4614004" y="3085718"/>
                  <a:ext cx="75723" cy="75628"/>
                  <a:chOff x="4614004" y="3085718"/>
                  <a:chExt cx="75723" cy="75628"/>
                </a:xfrm>
              </p:grpSpPr>
              <p:sp>
                <p:nvSpPr>
                  <p:cNvPr id="2029" name="Freeform: Shape 2028">
                    <a:extLst>
                      <a:ext uri="{FF2B5EF4-FFF2-40B4-BE49-F238E27FC236}">
                        <a16:creationId xmlns:a16="http://schemas.microsoft.com/office/drawing/2014/main" id="{675E2A66-083B-77E4-7906-00771B57123D}"/>
                      </a:ext>
                    </a:extLst>
                  </p:cNvPr>
                  <p:cNvSpPr/>
                  <p:nvPr/>
                </p:nvSpPr>
                <p:spPr>
                  <a:xfrm>
                    <a:off x="4651914"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30" name="Freeform: Shape 2029">
                    <a:extLst>
                      <a:ext uri="{FF2B5EF4-FFF2-40B4-BE49-F238E27FC236}">
                        <a16:creationId xmlns:a16="http://schemas.microsoft.com/office/drawing/2014/main" id="{BF8868AF-B766-2903-5258-838981F0B3D3}"/>
                      </a:ext>
                    </a:extLst>
                  </p:cNvPr>
                  <p:cNvSpPr/>
                  <p:nvPr/>
                </p:nvSpPr>
                <p:spPr>
                  <a:xfrm>
                    <a:off x="4614004"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3" name="Graphic 16">
                  <a:extLst>
                    <a:ext uri="{FF2B5EF4-FFF2-40B4-BE49-F238E27FC236}">
                      <a16:creationId xmlns:a16="http://schemas.microsoft.com/office/drawing/2014/main" id="{683AFCA0-B9F0-EA2F-39C4-015ECC56C068}"/>
                    </a:ext>
                  </a:extLst>
                </p:cNvPr>
                <p:cNvGrpSpPr/>
                <p:nvPr/>
              </p:nvGrpSpPr>
              <p:grpSpPr>
                <a:xfrm>
                  <a:off x="4633816" y="3095148"/>
                  <a:ext cx="75628" cy="75628"/>
                  <a:chOff x="4633816" y="3095148"/>
                  <a:chExt cx="75628" cy="75628"/>
                </a:xfrm>
              </p:grpSpPr>
              <p:sp>
                <p:nvSpPr>
                  <p:cNvPr id="2027" name="Freeform: Shape 2026">
                    <a:extLst>
                      <a:ext uri="{FF2B5EF4-FFF2-40B4-BE49-F238E27FC236}">
                        <a16:creationId xmlns:a16="http://schemas.microsoft.com/office/drawing/2014/main" id="{FC304010-29BD-E1DA-ABAF-B08E77CD8FDB}"/>
                      </a:ext>
                    </a:extLst>
                  </p:cNvPr>
                  <p:cNvSpPr/>
                  <p:nvPr/>
                </p:nvSpPr>
                <p:spPr>
                  <a:xfrm>
                    <a:off x="4671631"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8" name="Freeform: Shape 2027">
                    <a:extLst>
                      <a:ext uri="{FF2B5EF4-FFF2-40B4-BE49-F238E27FC236}">
                        <a16:creationId xmlns:a16="http://schemas.microsoft.com/office/drawing/2014/main" id="{83722033-3219-DAEE-0BAA-04F35E6E9BCA}"/>
                      </a:ext>
                    </a:extLst>
                  </p:cNvPr>
                  <p:cNvSpPr/>
                  <p:nvPr/>
                </p:nvSpPr>
                <p:spPr>
                  <a:xfrm>
                    <a:off x="4633816" y="313296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4" name="Graphic 16">
                  <a:extLst>
                    <a:ext uri="{FF2B5EF4-FFF2-40B4-BE49-F238E27FC236}">
                      <a16:creationId xmlns:a16="http://schemas.microsoft.com/office/drawing/2014/main" id="{CCDAAEF3-402D-91D8-D0B5-9EDE20F382E3}"/>
                    </a:ext>
                  </a:extLst>
                </p:cNvPr>
                <p:cNvGrpSpPr/>
                <p:nvPr/>
              </p:nvGrpSpPr>
              <p:grpSpPr>
                <a:xfrm>
                  <a:off x="4652676" y="3095148"/>
                  <a:ext cx="75723" cy="75628"/>
                  <a:chOff x="4652676" y="3095148"/>
                  <a:chExt cx="75723" cy="75628"/>
                </a:xfrm>
              </p:grpSpPr>
              <p:sp>
                <p:nvSpPr>
                  <p:cNvPr id="2025" name="Freeform: Shape 2024">
                    <a:extLst>
                      <a:ext uri="{FF2B5EF4-FFF2-40B4-BE49-F238E27FC236}">
                        <a16:creationId xmlns:a16="http://schemas.microsoft.com/office/drawing/2014/main" id="{55A6F322-0F0A-30AF-4E99-6D80F4FDC49E}"/>
                      </a:ext>
                    </a:extLst>
                  </p:cNvPr>
                  <p:cNvSpPr/>
                  <p:nvPr/>
                </p:nvSpPr>
                <p:spPr>
                  <a:xfrm>
                    <a:off x="4690585"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6" name="Freeform: Shape 2025">
                    <a:extLst>
                      <a:ext uri="{FF2B5EF4-FFF2-40B4-BE49-F238E27FC236}">
                        <a16:creationId xmlns:a16="http://schemas.microsoft.com/office/drawing/2014/main" id="{7769CF41-3915-3FE2-98C9-987FB1ADCD5C}"/>
                      </a:ext>
                    </a:extLst>
                  </p:cNvPr>
                  <p:cNvSpPr/>
                  <p:nvPr/>
                </p:nvSpPr>
                <p:spPr>
                  <a:xfrm>
                    <a:off x="4652676"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5" name="Graphic 16">
                  <a:extLst>
                    <a:ext uri="{FF2B5EF4-FFF2-40B4-BE49-F238E27FC236}">
                      <a16:creationId xmlns:a16="http://schemas.microsoft.com/office/drawing/2014/main" id="{C2D56217-BF24-2098-4FBE-DE7F476AB796}"/>
                    </a:ext>
                  </a:extLst>
                </p:cNvPr>
                <p:cNvGrpSpPr/>
                <p:nvPr/>
              </p:nvGrpSpPr>
              <p:grpSpPr>
                <a:xfrm>
                  <a:off x="4363783" y="3035712"/>
                  <a:ext cx="75628" cy="75723"/>
                  <a:chOff x="4363783" y="3035712"/>
                  <a:chExt cx="75628" cy="75723"/>
                </a:xfrm>
              </p:grpSpPr>
              <p:sp>
                <p:nvSpPr>
                  <p:cNvPr id="2023" name="Freeform: Shape 2022">
                    <a:extLst>
                      <a:ext uri="{FF2B5EF4-FFF2-40B4-BE49-F238E27FC236}">
                        <a16:creationId xmlns:a16="http://schemas.microsoft.com/office/drawing/2014/main" id="{6AE5A354-A766-B8F8-DA5F-83FAAF7333F4}"/>
                      </a:ext>
                    </a:extLst>
                  </p:cNvPr>
                  <p:cNvSpPr/>
                  <p:nvPr/>
                </p:nvSpPr>
                <p:spPr>
                  <a:xfrm>
                    <a:off x="440159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4" name="Freeform: Shape 2023">
                    <a:extLst>
                      <a:ext uri="{FF2B5EF4-FFF2-40B4-BE49-F238E27FC236}">
                        <a16:creationId xmlns:a16="http://schemas.microsoft.com/office/drawing/2014/main" id="{A84DDDF3-9889-FD17-1E9C-A7A60594936A}"/>
                      </a:ext>
                    </a:extLst>
                  </p:cNvPr>
                  <p:cNvSpPr/>
                  <p:nvPr/>
                </p:nvSpPr>
                <p:spPr>
                  <a:xfrm>
                    <a:off x="4363783"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6" name="Graphic 16">
                  <a:extLst>
                    <a:ext uri="{FF2B5EF4-FFF2-40B4-BE49-F238E27FC236}">
                      <a16:creationId xmlns:a16="http://schemas.microsoft.com/office/drawing/2014/main" id="{338EC530-3FF4-03CE-4E50-61F4EF63153E}"/>
                    </a:ext>
                  </a:extLst>
                </p:cNvPr>
                <p:cNvGrpSpPr/>
                <p:nvPr/>
              </p:nvGrpSpPr>
              <p:grpSpPr>
                <a:xfrm>
                  <a:off x="3462337" y="2824162"/>
                  <a:ext cx="75723" cy="75723"/>
                  <a:chOff x="3462337" y="2824162"/>
                  <a:chExt cx="75723" cy="75723"/>
                </a:xfrm>
              </p:grpSpPr>
              <p:sp>
                <p:nvSpPr>
                  <p:cNvPr id="2021" name="Freeform: Shape 2020">
                    <a:extLst>
                      <a:ext uri="{FF2B5EF4-FFF2-40B4-BE49-F238E27FC236}">
                        <a16:creationId xmlns:a16="http://schemas.microsoft.com/office/drawing/2014/main" id="{E011E60F-23E0-18F3-AFE3-AF7F00A0B3BE}"/>
                      </a:ext>
                    </a:extLst>
                  </p:cNvPr>
                  <p:cNvSpPr/>
                  <p:nvPr/>
                </p:nvSpPr>
                <p:spPr>
                  <a:xfrm>
                    <a:off x="3500151" y="28241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2" name="Freeform: Shape 2021">
                    <a:extLst>
                      <a:ext uri="{FF2B5EF4-FFF2-40B4-BE49-F238E27FC236}">
                        <a16:creationId xmlns:a16="http://schemas.microsoft.com/office/drawing/2014/main" id="{F0E3DB2A-47CE-F55A-4C87-563EE64781F3}"/>
                      </a:ext>
                    </a:extLst>
                  </p:cNvPr>
                  <p:cNvSpPr/>
                  <p:nvPr/>
                </p:nvSpPr>
                <p:spPr>
                  <a:xfrm>
                    <a:off x="3462337" y="28619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7" name="Graphic 16">
                  <a:extLst>
                    <a:ext uri="{FF2B5EF4-FFF2-40B4-BE49-F238E27FC236}">
                      <a16:creationId xmlns:a16="http://schemas.microsoft.com/office/drawing/2014/main" id="{2C76FB81-54F9-2626-26CA-44B9BEBC0775}"/>
                    </a:ext>
                  </a:extLst>
                </p:cNvPr>
                <p:cNvGrpSpPr/>
                <p:nvPr/>
              </p:nvGrpSpPr>
              <p:grpSpPr>
                <a:xfrm>
                  <a:off x="3500151" y="2833877"/>
                  <a:ext cx="75723" cy="75723"/>
                  <a:chOff x="3500151" y="2833877"/>
                  <a:chExt cx="75723" cy="75723"/>
                </a:xfrm>
              </p:grpSpPr>
              <p:sp>
                <p:nvSpPr>
                  <p:cNvPr id="2019" name="Freeform: Shape 2018">
                    <a:extLst>
                      <a:ext uri="{FF2B5EF4-FFF2-40B4-BE49-F238E27FC236}">
                        <a16:creationId xmlns:a16="http://schemas.microsoft.com/office/drawing/2014/main" id="{7E55A104-B8E7-9EF3-5C46-9297A596ACBD}"/>
                      </a:ext>
                    </a:extLst>
                  </p:cNvPr>
                  <p:cNvSpPr/>
                  <p:nvPr/>
                </p:nvSpPr>
                <p:spPr>
                  <a:xfrm>
                    <a:off x="3538060" y="28338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20" name="Freeform: Shape 2019">
                    <a:extLst>
                      <a:ext uri="{FF2B5EF4-FFF2-40B4-BE49-F238E27FC236}">
                        <a16:creationId xmlns:a16="http://schemas.microsoft.com/office/drawing/2014/main" id="{47B46003-328C-2D0F-A679-5DA5B214323F}"/>
                      </a:ext>
                    </a:extLst>
                  </p:cNvPr>
                  <p:cNvSpPr/>
                  <p:nvPr/>
                </p:nvSpPr>
                <p:spPr>
                  <a:xfrm>
                    <a:off x="3500151" y="28716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8" name="Graphic 16">
                  <a:extLst>
                    <a:ext uri="{FF2B5EF4-FFF2-40B4-BE49-F238E27FC236}">
                      <a16:creationId xmlns:a16="http://schemas.microsoft.com/office/drawing/2014/main" id="{5C9973A2-F68E-FAA5-EE0A-7A952F79B1F3}"/>
                    </a:ext>
                  </a:extLst>
                </p:cNvPr>
                <p:cNvGrpSpPr/>
                <p:nvPr/>
              </p:nvGrpSpPr>
              <p:grpSpPr>
                <a:xfrm>
                  <a:off x="3551014" y="2846736"/>
                  <a:ext cx="75628" cy="75628"/>
                  <a:chOff x="3551014" y="2846736"/>
                  <a:chExt cx="75628" cy="75628"/>
                </a:xfrm>
              </p:grpSpPr>
              <p:sp>
                <p:nvSpPr>
                  <p:cNvPr id="2017" name="Freeform: Shape 2016">
                    <a:extLst>
                      <a:ext uri="{FF2B5EF4-FFF2-40B4-BE49-F238E27FC236}">
                        <a16:creationId xmlns:a16="http://schemas.microsoft.com/office/drawing/2014/main" id="{C1895E25-143E-262C-6B06-22574F9D317A}"/>
                      </a:ext>
                    </a:extLst>
                  </p:cNvPr>
                  <p:cNvSpPr/>
                  <p:nvPr/>
                </p:nvSpPr>
                <p:spPr>
                  <a:xfrm>
                    <a:off x="3588829"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8" name="Freeform: Shape 2017">
                    <a:extLst>
                      <a:ext uri="{FF2B5EF4-FFF2-40B4-BE49-F238E27FC236}">
                        <a16:creationId xmlns:a16="http://schemas.microsoft.com/office/drawing/2014/main" id="{AE83C674-BA84-00A1-F322-4FF679A7FEFF}"/>
                      </a:ext>
                    </a:extLst>
                  </p:cNvPr>
                  <p:cNvSpPr/>
                  <p:nvPr/>
                </p:nvSpPr>
                <p:spPr>
                  <a:xfrm>
                    <a:off x="3551014" y="28845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39" name="Graphic 16">
                  <a:extLst>
                    <a:ext uri="{FF2B5EF4-FFF2-40B4-BE49-F238E27FC236}">
                      <a16:creationId xmlns:a16="http://schemas.microsoft.com/office/drawing/2014/main" id="{DB33A085-FBC9-38F7-CD9D-C12BDF24B90C}"/>
                    </a:ext>
                  </a:extLst>
                </p:cNvPr>
                <p:cNvGrpSpPr/>
                <p:nvPr/>
              </p:nvGrpSpPr>
              <p:grpSpPr>
                <a:xfrm>
                  <a:off x="3701509" y="2846736"/>
                  <a:ext cx="75628" cy="75628"/>
                  <a:chOff x="3701509" y="2846736"/>
                  <a:chExt cx="75628" cy="75628"/>
                </a:xfrm>
              </p:grpSpPr>
              <p:sp>
                <p:nvSpPr>
                  <p:cNvPr id="2015" name="Freeform: Shape 2014">
                    <a:extLst>
                      <a:ext uri="{FF2B5EF4-FFF2-40B4-BE49-F238E27FC236}">
                        <a16:creationId xmlns:a16="http://schemas.microsoft.com/office/drawing/2014/main" id="{628B7894-0BFC-A784-27CD-3489A1AA0F30}"/>
                      </a:ext>
                    </a:extLst>
                  </p:cNvPr>
                  <p:cNvSpPr/>
                  <p:nvPr/>
                </p:nvSpPr>
                <p:spPr>
                  <a:xfrm>
                    <a:off x="3739324"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6" name="Freeform: Shape 2015">
                    <a:extLst>
                      <a:ext uri="{FF2B5EF4-FFF2-40B4-BE49-F238E27FC236}">
                        <a16:creationId xmlns:a16="http://schemas.microsoft.com/office/drawing/2014/main" id="{C7FD1557-2202-6C6F-D6F3-786425B05DA0}"/>
                      </a:ext>
                    </a:extLst>
                  </p:cNvPr>
                  <p:cNvSpPr/>
                  <p:nvPr/>
                </p:nvSpPr>
                <p:spPr>
                  <a:xfrm>
                    <a:off x="3701509" y="28845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0" name="Graphic 16">
                  <a:extLst>
                    <a:ext uri="{FF2B5EF4-FFF2-40B4-BE49-F238E27FC236}">
                      <a16:creationId xmlns:a16="http://schemas.microsoft.com/office/drawing/2014/main" id="{5022DC12-BFD3-E6CB-7042-5A22910D7F11}"/>
                    </a:ext>
                  </a:extLst>
                </p:cNvPr>
                <p:cNvGrpSpPr/>
                <p:nvPr/>
              </p:nvGrpSpPr>
              <p:grpSpPr>
                <a:xfrm>
                  <a:off x="3729132" y="2846736"/>
                  <a:ext cx="75723" cy="75628"/>
                  <a:chOff x="3729132" y="2846736"/>
                  <a:chExt cx="75723" cy="75628"/>
                </a:xfrm>
              </p:grpSpPr>
              <p:sp>
                <p:nvSpPr>
                  <p:cNvPr id="2013" name="Freeform: Shape 2012">
                    <a:extLst>
                      <a:ext uri="{FF2B5EF4-FFF2-40B4-BE49-F238E27FC236}">
                        <a16:creationId xmlns:a16="http://schemas.microsoft.com/office/drawing/2014/main" id="{5C9BABBC-6EFF-8656-9253-3B6DFB5563F3}"/>
                      </a:ext>
                    </a:extLst>
                  </p:cNvPr>
                  <p:cNvSpPr/>
                  <p:nvPr/>
                </p:nvSpPr>
                <p:spPr>
                  <a:xfrm>
                    <a:off x="3766946"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4" name="Freeform: Shape 2013">
                    <a:extLst>
                      <a:ext uri="{FF2B5EF4-FFF2-40B4-BE49-F238E27FC236}">
                        <a16:creationId xmlns:a16="http://schemas.microsoft.com/office/drawing/2014/main" id="{463E4A99-32B1-1CF3-2A28-F8D429740DC3}"/>
                      </a:ext>
                    </a:extLst>
                  </p:cNvPr>
                  <p:cNvSpPr/>
                  <p:nvPr/>
                </p:nvSpPr>
                <p:spPr>
                  <a:xfrm>
                    <a:off x="3729132" y="288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1" name="Graphic 16">
                  <a:extLst>
                    <a:ext uri="{FF2B5EF4-FFF2-40B4-BE49-F238E27FC236}">
                      <a16:creationId xmlns:a16="http://schemas.microsoft.com/office/drawing/2014/main" id="{A4CBCB39-04A6-24B2-6DE7-02B989CD7D64}"/>
                    </a:ext>
                  </a:extLst>
                </p:cNvPr>
                <p:cNvGrpSpPr/>
                <p:nvPr/>
              </p:nvGrpSpPr>
              <p:grpSpPr>
                <a:xfrm>
                  <a:off x="3860672" y="2875311"/>
                  <a:ext cx="75723" cy="75628"/>
                  <a:chOff x="3860672" y="2875311"/>
                  <a:chExt cx="75723" cy="75628"/>
                </a:xfrm>
              </p:grpSpPr>
              <p:sp>
                <p:nvSpPr>
                  <p:cNvPr id="2011" name="Freeform: Shape 2010">
                    <a:extLst>
                      <a:ext uri="{FF2B5EF4-FFF2-40B4-BE49-F238E27FC236}">
                        <a16:creationId xmlns:a16="http://schemas.microsoft.com/office/drawing/2014/main" id="{F34947DE-0244-3AE7-7C03-9F4639D14249}"/>
                      </a:ext>
                    </a:extLst>
                  </p:cNvPr>
                  <p:cNvSpPr/>
                  <p:nvPr/>
                </p:nvSpPr>
                <p:spPr>
                  <a:xfrm>
                    <a:off x="3898486" y="28753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2" name="Freeform: Shape 2011">
                    <a:extLst>
                      <a:ext uri="{FF2B5EF4-FFF2-40B4-BE49-F238E27FC236}">
                        <a16:creationId xmlns:a16="http://schemas.microsoft.com/office/drawing/2014/main" id="{2D6C401C-85FD-C8C1-A177-386C7979C499}"/>
                      </a:ext>
                    </a:extLst>
                  </p:cNvPr>
                  <p:cNvSpPr/>
                  <p:nvPr/>
                </p:nvSpPr>
                <p:spPr>
                  <a:xfrm>
                    <a:off x="3860672" y="29131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2" name="Graphic 16">
                  <a:extLst>
                    <a:ext uri="{FF2B5EF4-FFF2-40B4-BE49-F238E27FC236}">
                      <a16:creationId xmlns:a16="http://schemas.microsoft.com/office/drawing/2014/main" id="{96A07986-1ED5-6634-3E4A-1D9671BE19EB}"/>
                    </a:ext>
                  </a:extLst>
                </p:cNvPr>
                <p:cNvGrpSpPr/>
                <p:nvPr/>
              </p:nvGrpSpPr>
              <p:grpSpPr>
                <a:xfrm>
                  <a:off x="4010786" y="2910458"/>
                  <a:ext cx="75723" cy="75628"/>
                  <a:chOff x="4010786" y="2910458"/>
                  <a:chExt cx="75723" cy="75628"/>
                </a:xfrm>
              </p:grpSpPr>
              <p:sp>
                <p:nvSpPr>
                  <p:cNvPr id="2009" name="Freeform: Shape 2008">
                    <a:extLst>
                      <a:ext uri="{FF2B5EF4-FFF2-40B4-BE49-F238E27FC236}">
                        <a16:creationId xmlns:a16="http://schemas.microsoft.com/office/drawing/2014/main" id="{249DD9D4-3163-DAE5-59F6-62C80938A857}"/>
                      </a:ext>
                    </a:extLst>
                  </p:cNvPr>
                  <p:cNvSpPr/>
                  <p:nvPr/>
                </p:nvSpPr>
                <p:spPr>
                  <a:xfrm>
                    <a:off x="4048696" y="2910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10" name="Freeform: Shape 2009">
                    <a:extLst>
                      <a:ext uri="{FF2B5EF4-FFF2-40B4-BE49-F238E27FC236}">
                        <a16:creationId xmlns:a16="http://schemas.microsoft.com/office/drawing/2014/main" id="{40039F20-7FF8-8101-06DC-96BF72484300}"/>
                      </a:ext>
                    </a:extLst>
                  </p:cNvPr>
                  <p:cNvSpPr/>
                  <p:nvPr/>
                </p:nvSpPr>
                <p:spPr>
                  <a:xfrm>
                    <a:off x="4010786" y="29482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3" name="Graphic 16">
                  <a:extLst>
                    <a:ext uri="{FF2B5EF4-FFF2-40B4-BE49-F238E27FC236}">
                      <a16:creationId xmlns:a16="http://schemas.microsoft.com/office/drawing/2014/main" id="{C0B0997E-F084-F162-73F7-3D5E8B807B5A}"/>
                    </a:ext>
                  </a:extLst>
                </p:cNvPr>
                <p:cNvGrpSpPr/>
                <p:nvPr/>
              </p:nvGrpSpPr>
              <p:grpSpPr>
                <a:xfrm>
                  <a:off x="4187094" y="2959988"/>
                  <a:ext cx="75723" cy="75723"/>
                  <a:chOff x="4187094" y="2959988"/>
                  <a:chExt cx="75723" cy="75723"/>
                </a:xfrm>
              </p:grpSpPr>
              <p:sp>
                <p:nvSpPr>
                  <p:cNvPr id="2007" name="Freeform: Shape 2006">
                    <a:extLst>
                      <a:ext uri="{FF2B5EF4-FFF2-40B4-BE49-F238E27FC236}">
                        <a16:creationId xmlns:a16="http://schemas.microsoft.com/office/drawing/2014/main" id="{1C0AA48C-499A-8532-D1F5-EA2777667EB6}"/>
                      </a:ext>
                    </a:extLst>
                  </p:cNvPr>
                  <p:cNvSpPr/>
                  <p:nvPr/>
                </p:nvSpPr>
                <p:spPr>
                  <a:xfrm>
                    <a:off x="4225003" y="2959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8" name="Freeform: Shape 2007">
                    <a:extLst>
                      <a:ext uri="{FF2B5EF4-FFF2-40B4-BE49-F238E27FC236}">
                        <a16:creationId xmlns:a16="http://schemas.microsoft.com/office/drawing/2014/main" id="{E4F3D2E2-8F06-AB31-C3B1-39BC5F97AB11}"/>
                      </a:ext>
                    </a:extLst>
                  </p:cNvPr>
                  <p:cNvSpPr/>
                  <p:nvPr/>
                </p:nvSpPr>
                <p:spPr>
                  <a:xfrm>
                    <a:off x="4187094" y="2997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4" name="Graphic 16">
                  <a:extLst>
                    <a:ext uri="{FF2B5EF4-FFF2-40B4-BE49-F238E27FC236}">
                      <a16:creationId xmlns:a16="http://schemas.microsoft.com/office/drawing/2014/main" id="{EE8A2185-893C-E4DD-9604-E3D40BF67181}"/>
                    </a:ext>
                  </a:extLst>
                </p:cNvPr>
                <p:cNvGrpSpPr/>
                <p:nvPr/>
              </p:nvGrpSpPr>
              <p:grpSpPr>
                <a:xfrm>
                  <a:off x="4288059" y="3010375"/>
                  <a:ext cx="75723" cy="75723"/>
                  <a:chOff x="4288059" y="3010375"/>
                  <a:chExt cx="75723" cy="75723"/>
                </a:xfrm>
              </p:grpSpPr>
              <p:sp>
                <p:nvSpPr>
                  <p:cNvPr id="2005" name="Freeform: Shape 2004">
                    <a:extLst>
                      <a:ext uri="{FF2B5EF4-FFF2-40B4-BE49-F238E27FC236}">
                        <a16:creationId xmlns:a16="http://schemas.microsoft.com/office/drawing/2014/main" id="{97881026-3294-9EDA-70D2-6C31F0C3AEAF}"/>
                      </a:ext>
                    </a:extLst>
                  </p:cNvPr>
                  <p:cNvSpPr/>
                  <p:nvPr/>
                </p:nvSpPr>
                <p:spPr>
                  <a:xfrm>
                    <a:off x="4325873" y="3010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6" name="Freeform: Shape 2005">
                    <a:extLst>
                      <a:ext uri="{FF2B5EF4-FFF2-40B4-BE49-F238E27FC236}">
                        <a16:creationId xmlns:a16="http://schemas.microsoft.com/office/drawing/2014/main" id="{293DA6EC-9B84-40AF-C76D-51E01AB293BF}"/>
                      </a:ext>
                    </a:extLst>
                  </p:cNvPr>
                  <p:cNvSpPr/>
                  <p:nvPr/>
                </p:nvSpPr>
                <p:spPr>
                  <a:xfrm>
                    <a:off x="4288059"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5" name="Graphic 16">
                  <a:extLst>
                    <a:ext uri="{FF2B5EF4-FFF2-40B4-BE49-F238E27FC236}">
                      <a16:creationId xmlns:a16="http://schemas.microsoft.com/office/drawing/2014/main" id="{C1158059-3D97-261C-14BD-B1924FA19205}"/>
                    </a:ext>
                  </a:extLst>
                </p:cNvPr>
                <p:cNvGrpSpPr/>
                <p:nvPr/>
              </p:nvGrpSpPr>
              <p:grpSpPr>
                <a:xfrm>
                  <a:off x="4380928" y="3035712"/>
                  <a:ext cx="75723" cy="75723"/>
                  <a:chOff x="4380928" y="3035712"/>
                  <a:chExt cx="75723" cy="75723"/>
                </a:xfrm>
              </p:grpSpPr>
              <p:sp>
                <p:nvSpPr>
                  <p:cNvPr id="2003" name="Freeform: Shape 2002">
                    <a:extLst>
                      <a:ext uri="{FF2B5EF4-FFF2-40B4-BE49-F238E27FC236}">
                        <a16:creationId xmlns:a16="http://schemas.microsoft.com/office/drawing/2014/main" id="{FC9C48EA-D2A2-DE9B-8587-2C4AC6E97069}"/>
                      </a:ext>
                    </a:extLst>
                  </p:cNvPr>
                  <p:cNvSpPr/>
                  <p:nvPr/>
                </p:nvSpPr>
                <p:spPr>
                  <a:xfrm>
                    <a:off x="441883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4" name="Freeform: Shape 2003">
                    <a:extLst>
                      <a:ext uri="{FF2B5EF4-FFF2-40B4-BE49-F238E27FC236}">
                        <a16:creationId xmlns:a16="http://schemas.microsoft.com/office/drawing/2014/main" id="{78CD38A9-B75A-8050-11C9-AFB70E9F6E98}"/>
                      </a:ext>
                    </a:extLst>
                  </p:cNvPr>
                  <p:cNvSpPr/>
                  <p:nvPr/>
                </p:nvSpPr>
                <p:spPr>
                  <a:xfrm>
                    <a:off x="4380928"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6" name="Graphic 16">
                  <a:extLst>
                    <a:ext uri="{FF2B5EF4-FFF2-40B4-BE49-F238E27FC236}">
                      <a16:creationId xmlns:a16="http://schemas.microsoft.com/office/drawing/2014/main" id="{A908C27D-7AD3-F533-7763-5B6CDB6233F0}"/>
                    </a:ext>
                  </a:extLst>
                </p:cNvPr>
                <p:cNvGrpSpPr/>
                <p:nvPr/>
              </p:nvGrpSpPr>
              <p:grpSpPr>
                <a:xfrm>
                  <a:off x="4398168" y="3035712"/>
                  <a:ext cx="75628" cy="75723"/>
                  <a:chOff x="4398168" y="3035712"/>
                  <a:chExt cx="75628" cy="75723"/>
                </a:xfrm>
              </p:grpSpPr>
              <p:sp>
                <p:nvSpPr>
                  <p:cNvPr id="2001" name="Freeform: Shape 2000">
                    <a:extLst>
                      <a:ext uri="{FF2B5EF4-FFF2-40B4-BE49-F238E27FC236}">
                        <a16:creationId xmlns:a16="http://schemas.microsoft.com/office/drawing/2014/main" id="{F995E63B-C08C-4CD1-6954-1AEB5FC0A5B1}"/>
                      </a:ext>
                    </a:extLst>
                  </p:cNvPr>
                  <p:cNvSpPr/>
                  <p:nvPr/>
                </p:nvSpPr>
                <p:spPr>
                  <a:xfrm>
                    <a:off x="4435982"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2" name="Freeform: Shape 2001">
                    <a:extLst>
                      <a:ext uri="{FF2B5EF4-FFF2-40B4-BE49-F238E27FC236}">
                        <a16:creationId xmlns:a16="http://schemas.microsoft.com/office/drawing/2014/main" id="{7A64425F-E7DB-29AD-6A7D-FE02D8709A08}"/>
                      </a:ext>
                    </a:extLst>
                  </p:cNvPr>
                  <p:cNvSpPr/>
                  <p:nvPr/>
                </p:nvSpPr>
                <p:spPr>
                  <a:xfrm>
                    <a:off x="4398168"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7" name="Graphic 16">
                  <a:extLst>
                    <a:ext uri="{FF2B5EF4-FFF2-40B4-BE49-F238E27FC236}">
                      <a16:creationId xmlns:a16="http://schemas.microsoft.com/office/drawing/2014/main" id="{047A7DAB-C518-DE76-61ED-04D218A4A6DB}"/>
                    </a:ext>
                  </a:extLst>
                </p:cNvPr>
                <p:cNvGrpSpPr/>
                <p:nvPr/>
              </p:nvGrpSpPr>
              <p:grpSpPr>
                <a:xfrm>
                  <a:off x="4415313" y="3035712"/>
                  <a:ext cx="75723" cy="75723"/>
                  <a:chOff x="4415313" y="3035712"/>
                  <a:chExt cx="75723" cy="75723"/>
                </a:xfrm>
              </p:grpSpPr>
              <p:sp>
                <p:nvSpPr>
                  <p:cNvPr id="1999" name="Freeform: Shape 1998">
                    <a:extLst>
                      <a:ext uri="{FF2B5EF4-FFF2-40B4-BE49-F238E27FC236}">
                        <a16:creationId xmlns:a16="http://schemas.microsoft.com/office/drawing/2014/main" id="{A9508970-CDBB-DA81-57F6-B64A60CA104B}"/>
                      </a:ext>
                    </a:extLst>
                  </p:cNvPr>
                  <p:cNvSpPr/>
                  <p:nvPr/>
                </p:nvSpPr>
                <p:spPr>
                  <a:xfrm>
                    <a:off x="445312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00" name="Freeform: Shape 1999">
                    <a:extLst>
                      <a:ext uri="{FF2B5EF4-FFF2-40B4-BE49-F238E27FC236}">
                        <a16:creationId xmlns:a16="http://schemas.microsoft.com/office/drawing/2014/main" id="{CB6CC39E-213E-C717-C183-F302648C63EE}"/>
                      </a:ext>
                    </a:extLst>
                  </p:cNvPr>
                  <p:cNvSpPr/>
                  <p:nvPr/>
                </p:nvSpPr>
                <p:spPr>
                  <a:xfrm>
                    <a:off x="4415313"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8" name="Graphic 16">
                  <a:extLst>
                    <a:ext uri="{FF2B5EF4-FFF2-40B4-BE49-F238E27FC236}">
                      <a16:creationId xmlns:a16="http://schemas.microsoft.com/office/drawing/2014/main" id="{DC6DF67F-DFC5-C907-6D46-45776634FC8E}"/>
                    </a:ext>
                  </a:extLst>
                </p:cNvPr>
                <p:cNvGrpSpPr/>
                <p:nvPr/>
              </p:nvGrpSpPr>
              <p:grpSpPr>
                <a:xfrm>
                  <a:off x="4442745" y="3045523"/>
                  <a:ext cx="75723" cy="75628"/>
                  <a:chOff x="4442745" y="3045523"/>
                  <a:chExt cx="75723" cy="75628"/>
                </a:xfrm>
              </p:grpSpPr>
              <p:sp>
                <p:nvSpPr>
                  <p:cNvPr id="1997" name="Freeform: Shape 1996">
                    <a:extLst>
                      <a:ext uri="{FF2B5EF4-FFF2-40B4-BE49-F238E27FC236}">
                        <a16:creationId xmlns:a16="http://schemas.microsoft.com/office/drawing/2014/main" id="{34D1E017-55C9-C346-CDE6-5184B31E0569}"/>
                      </a:ext>
                    </a:extLst>
                  </p:cNvPr>
                  <p:cNvSpPr/>
                  <p:nvPr/>
                </p:nvSpPr>
                <p:spPr>
                  <a:xfrm>
                    <a:off x="448055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8" name="Freeform: Shape 1997">
                    <a:extLst>
                      <a:ext uri="{FF2B5EF4-FFF2-40B4-BE49-F238E27FC236}">
                        <a16:creationId xmlns:a16="http://schemas.microsoft.com/office/drawing/2014/main" id="{ABD84707-5ACD-E0DC-86D4-63F614697D36}"/>
                      </a:ext>
                    </a:extLst>
                  </p:cNvPr>
                  <p:cNvSpPr/>
                  <p:nvPr/>
                </p:nvSpPr>
                <p:spPr>
                  <a:xfrm>
                    <a:off x="4442745"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49" name="Graphic 16">
                  <a:extLst>
                    <a:ext uri="{FF2B5EF4-FFF2-40B4-BE49-F238E27FC236}">
                      <a16:creationId xmlns:a16="http://schemas.microsoft.com/office/drawing/2014/main" id="{0B7CB5C3-8D84-D387-6714-9619839B40BD}"/>
                    </a:ext>
                  </a:extLst>
                </p:cNvPr>
                <p:cNvGrpSpPr/>
                <p:nvPr/>
              </p:nvGrpSpPr>
              <p:grpSpPr>
                <a:xfrm>
                  <a:off x="4461700" y="3045523"/>
                  <a:ext cx="75628" cy="75628"/>
                  <a:chOff x="4461700" y="3045523"/>
                  <a:chExt cx="75628" cy="75628"/>
                </a:xfrm>
              </p:grpSpPr>
              <p:sp>
                <p:nvSpPr>
                  <p:cNvPr id="1995" name="Freeform: Shape 1994">
                    <a:extLst>
                      <a:ext uri="{FF2B5EF4-FFF2-40B4-BE49-F238E27FC236}">
                        <a16:creationId xmlns:a16="http://schemas.microsoft.com/office/drawing/2014/main" id="{BCC41F4A-E116-2B82-F014-49C17779B857}"/>
                      </a:ext>
                    </a:extLst>
                  </p:cNvPr>
                  <p:cNvSpPr/>
                  <p:nvPr/>
                </p:nvSpPr>
                <p:spPr>
                  <a:xfrm>
                    <a:off x="4499514"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6" name="Freeform: Shape 1995">
                    <a:extLst>
                      <a:ext uri="{FF2B5EF4-FFF2-40B4-BE49-F238E27FC236}">
                        <a16:creationId xmlns:a16="http://schemas.microsoft.com/office/drawing/2014/main" id="{FCE9BF72-069A-C50D-B798-66AA6A0198D8}"/>
                      </a:ext>
                    </a:extLst>
                  </p:cNvPr>
                  <p:cNvSpPr/>
                  <p:nvPr/>
                </p:nvSpPr>
                <p:spPr>
                  <a:xfrm>
                    <a:off x="4461700"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0" name="Graphic 16">
                  <a:extLst>
                    <a:ext uri="{FF2B5EF4-FFF2-40B4-BE49-F238E27FC236}">
                      <a16:creationId xmlns:a16="http://schemas.microsoft.com/office/drawing/2014/main" id="{C843BCD1-F48D-B248-9EA0-615DA19E3D11}"/>
                    </a:ext>
                  </a:extLst>
                </p:cNvPr>
                <p:cNvGrpSpPr/>
                <p:nvPr/>
              </p:nvGrpSpPr>
              <p:grpSpPr>
                <a:xfrm>
                  <a:off x="4480559" y="3045523"/>
                  <a:ext cx="75723" cy="75628"/>
                  <a:chOff x="4480559" y="3045523"/>
                  <a:chExt cx="75723" cy="75628"/>
                </a:xfrm>
              </p:grpSpPr>
              <p:sp>
                <p:nvSpPr>
                  <p:cNvPr id="1993" name="Freeform: Shape 1992">
                    <a:extLst>
                      <a:ext uri="{FF2B5EF4-FFF2-40B4-BE49-F238E27FC236}">
                        <a16:creationId xmlns:a16="http://schemas.microsoft.com/office/drawing/2014/main" id="{47DDE6E7-FD47-1AA0-E5F0-0A9EFB82437B}"/>
                      </a:ext>
                    </a:extLst>
                  </p:cNvPr>
                  <p:cNvSpPr/>
                  <p:nvPr/>
                </p:nvSpPr>
                <p:spPr>
                  <a:xfrm>
                    <a:off x="451846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4" name="Freeform: Shape 1993">
                    <a:extLst>
                      <a:ext uri="{FF2B5EF4-FFF2-40B4-BE49-F238E27FC236}">
                        <a16:creationId xmlns:a16="http://schemas.microsoft.com/office/drawing/2014/main" id="{54CF7CBC-F5F3-9ECE-BAF0-4B42479C2BD0}"/>
                      </a:ext>
                    </a:extLst>
                  </p:cNvPr>
                  <p:cNvSpPr/>
                  <p:nvPr/>
                </p:nvSpPr>
                <p:spPr>
                  <a:xfrm>
                    <a:off x="4480559"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1" name="Graphic 16">
                  <a:extLst>
                    <a:ext uri="{FF2B5EF4-FFF2-40B4-BE49-F238E27FC236}">
                      <a16:creationId xmlns:a16="http://schemas.microsoft.com/office/drawing/2014/main" id="{34A05F41-8D08-D547-76BE-DF41A50044BA}"/>
                    </a:ext>
                  </a:extLst>
                </p:cNvPr>
                <p:cNvGrpSpPr/>
                <p:nvPr/>
              </p:nvGrpSpPr>
              <p:grpSpPr>
                <a:xfrm>
                  <a:off x="4491799" y="3068002"/>
                  <a:ext cx="75723" cy="75628"/>
                  <a:chOff x="4491799" y="3068002"/>
                  <a:chExt cx="75723" cy="75628"/>
                </a:xfrm>
              </p:grpSpPr>
              <p:sp>
                <p:nvSpPr>
                  <p:cNvPr id="1991" name="Freeform: Shape 1990">
                    <a:extLst>
                      <a:ext uri="{FF2B5EF4-FFF2-40B4-BE49-F238E27FC236}">
                        <a16:creationId xmlns:a16="http://schemas.microsoft.com/office/drawing/2014/main" id="{55CA071A-B9A7-5C55-2B5B-890C78E860A4}"/>
                      </a:ext>
                    </a:extLst>
                  </p:cNvPr>
                  <p:cNvSpPr/>
                  <p:nvPr/>
                </p:nvSpPr>
                <p:spPr>
                  <a:xfrm>
                    <a:off x="4529613"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2" name="Freeform: Shape 1991">
                    <a:extLst>
                      <a:ext uri="{FF2B5EF4-FFF2-40B4-BE49-F238E27FC236}">
                        <a16:creationId xmlns:a16="http://schemas.microsoft.com/office/drawing/2014/main" id="{2FC21BE3-3F17-5EE1-239B-E036BDEFEB70}"/>
                      </a:ext>
                    </a:extLst>
                  </p:cNvPr>
                  <p:cNvSpPr/>
                  <p:nvPr/>
                </p:nvSpPr>
                <p:spPr>
                  <a:xfrm>
                    <a:off x="4491799"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2" name="Graphic 16">
                  <a:extLst>
                    <a:ext uri="{FF2B5EF4-FFF2-40B4-BE49-F238E27FC236}">
                      <a16:creationId xmlns:a16="http://schemas.microsoft.com/office/drawing/2014/main" id="{107365F6-AE14-C085-1932-65A65F0147AD}"/>
                    </a:ext>
                  </a:extLst>
                </p:cNvPr>
                <p:cNvGrpSpPr/>
                <p:nvPr/>
              </p:nvGrpSpPr>
              <p:grpSpPr>
                <a:xfrm>
                  <a:off x="4510753" y="3068002"/>
                  <a:ext cx="75628" cy="75628"/>
                  <a:chOff x="4510753" y="3068002"/>
                  <a:chExt cx="75628" cy="75628"/>
                </a:xfrm>
              </p:grpSpPr>
              <p:sp>
                <p:nvSpPr>
                  <p:cNvPr id="1989" name="Freeform: Shape 1988">
                    <a:extLst>
                      <a:ext uri="{FF2B5EF4-FFF2-40B4-BE49-F238E27FC236}">
                        <a16:creationId xmlns:a16="http://schemas.microsoft.com/office/drawing/2014/main" id="{510D1AC5-BA37-EB0D-52B8-64F9AD857F88}"/>
                      </a:ext>
                    </a:extLst>
                  </p:cNvPr>
                  <p:cNvSpPr/>
                  <p:nvPr/>
                </p:nvSpPr>
                <p:spPr>
                  <a:xfrm>
                    <a:off x="4548568"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90" name="Freeform: Shape 1989">
                    <a:extLst>
                      <a:ext uri="{FF2B5EF4-FFF2-40B4-BE49-F238E27FC236}">
                        <a16:creationId xmlns:a16="http://schemas.microsoft.com/office/drawing/2014/main" id="{A7691B81-EDEC-EC2B-F91E-9FC8F6EA1B4C}"/>
                      </a:ext>
                    </a:extLst>
                  </p:cNvPr>
                  <p:cNvSpPr/>
                  <p:nvPr/>
                </p:nvSpPr>
                <p:spPr>
                  <a:xfrm>
                    <a:off x="4510753"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3" name="Graphic 16">
                  <a:extLst>
                    <a:ext uri="{FF2B5EF4-FFF2-40B4-BE49-F238E27FC236}">
                      <a16:creationId xmlns:a16="http://schemas.microsoft.com/office/drawing/2014/main" id="{00584842-5FD0-FF7B-77C4-306D3A899CCB}"/>
                    </a:ext>
                  </a:extLst>
                </p:cNvPr>
                <p:cNvGrpSpPr/>
                <p:nvPr/>
              </p:nvGrpSpPr>
              <p:grpSpPr>
                <a:xfrm>
                  <a:off x="4529613" y="3068002"/>
                  <a:ext cx="75723" cy="75628"/>
                  <a:chOff x="4529613" y="3068002"/>
                  <a:chExt cx="75723" cy="75628"/>
                </a:xfrm>
              </p:grpSpPr>
              <p:sp>
                <p:nvSpPr>
                  <p:cNvPr id="1987" name="Freeform: Shape 1986">
                    <a:extLst>
                      <a:ext uri="{FF2B5EF4-FFF2-40B4-BE49-F238E27FC236}">
                        <a16:creationId xmlns:a16="http://schemas.microsoft.com/office/drawing/2014/main" id="{0DAF2FC8-59C9-E7E4-F211-7E58C0D64331}"/>
                      </a:ext>
                    </a:extLst>
                  </p:cNvPr>
                  <p:cNvSpPr/>
                  <p:nvPr/>
                </p:nvSpPr>
                <p:spPr>
                  <a:xfrm>
                    <a:off x="456752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8" name="Freeform: Shape 1987">
                    <a:extLst>
                      <a:ext uri="{FF2B5EF4-FFF2-40B4-BE49-F238E27FC236}">
                        <a16:creationId xmlns:a16="http://schemas.microsoft.com/office/drawing/2014/main" id="{FE7FA287-1AD0-BF09-2FAF-99771E485CAD}"/>
                      </a:ext>
                    </a:extLst>
                  </p:cNvPr>
                  <p:cNvSpPr/>
                  <p:nvPr/>
                </p:nvSpPr>
                <p:spPr>
                  <a:xfrm>
                    <a:off x="4529613"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4" name="Graphic 16">
                  <a:extLst>
                    <a:ext uri="{FF2B5EF4-FFF2-40B4-BE49-F238E27FC236}">
                      <a16:creationId xmlns:a16="http://schemas.microsoft.com/office/drawing/2014/main" id="{AF0ECC5C-C434-4684-771A-CC535985E5A1}"/>
                    </a:ext>
                  </a:extLst>
                </p:cNvPr>
                <p:cNvGrpSpPr/>
                <p:nvPr/>
              </p:nvGrpSpPr>
              <p:grpSpPr>
                <a:xfrm>
                  <a:off x="4548568" y="3068002"/>
                  <a:ext cx="75723" cy="75628"/>
                  <a:chOff x="4548568" y="3068002"/>
                  <a:chExt cx="75723" cy="75628"/>
                </a:xfrm>
              </p:grpSpPr>
              <p:sp>
                <p:nvSpPr>
                  <p:cNvPr id="1985" name="Freeform: Shape 1984">
                    <a:extLst>
                      <a:ext uri="{FF2B5EF4-FFF2-40B4-BE49-F238E27FC236}">
                        <a16:creationId xmlns:a16="http://schemas.microsoft.com/office/drawing/2014/main" id="{0C7CBB3B-1149-586C-89D9-9F84A50E3885}"/>
                      </a:ext>
                    </a:extLst>
                  </p:cNvPr>
                  <p:cNvSpPr/>
                  <p:nvPr/>
                </p:nvSpPr>
                <p:spPr>
                  <a:xfrm>
                    <a:off x="458638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6" name="Freeform: Shape 1985">
                    <a:extLst>
                      <a:ext uri="{FF2B5EF4-FFF2-40B4-BE49-F238E27FC236}">
                        <a16:creationId xmlns:a16="http://schemas.microsoft.com/office/drawing/2014/main" id="{7F7A4772-14C8-E643-07A9-D40ECBC843CC}"/>
                      </a:ext>
                    </a:extLst>
                  </p:cNvPr>
                  <p:cNvSpPr/>
                  <p:nvPr/>
                </p:nvSpPr>
                <p:spPr>
                  <a:xfrm>
                    <a:off x="4548568"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5" name="Graphic 16">
                  <a:extLst>
                    <a:ext uri="{FF2B5EF4-FFF2-40B4-BE49-F238E27FC236}">
                      <a16:creationId xmlns:a16="http://schemas.microsoft.com/office/drawing/2014/main" id="{D64C39C5-2EF2-9634-6BE6-C89669C955EC}"/>
                    </a:ext>
                  </a:extLst>
                </p:cNvPr>
                <p:cNvGrpSpPr/>
                <p:nvPr/>
              </p:nvGrpSpPr>
              <p:grpSpPr>
                <a:xfrm>
                  <a:off x="4567522" y="3077336"/>
                  <a:ext cx="75628" cy="75723"/>
                  <a:chOff x="4567522" y="3077336"/>
                  <a:chExt cx="75628" cy="75723"/>
                </a:xfrm>
              </p:grpSpPr>
              <p:sp>
                <p:nvSpPr>
                  <p:cNvPr id="1983" name="Freeform: Shape 1982">
                    <a:extLst>
                      <a:ext uri="{FF2B5EF4-FFF2-40B4-BE49-F238E27FC236}">
                        <a16:creationId xmlns:a16="http://schemas.microsoft.com/office/drawing/2014/main" id="{0BCBA025-5DD3-6424-4D20-C5D2A9668A34}"/>
                      </a:ext>
                    </a:extLst>
                  </p:cNvPr>
                  <p:cNvSpPr/>
                  <p:nvPr/>
                </p:nvSpPr>
                <p:spPr>
                  <a:xfrm>
                    <a:off x="4605337"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4" name="Freeform: Shape 1983">
                    <a:extLst>
                      <a:ext uri="{FF2B5EF4-FFF2-40B4-BE49-F238E27FC236}">
                        <a16:creationId xmlns:a16="http://schemas.microsoft.com/office/drawing/2014/main" id="{38745180-E69D-ADAA-B502-E21CA6945F47}"/>
                      </a:ext>
                    </a:extLst>
                  </p:cNvPr>
                  <p:cNvSpPr/>
                  <p:nvPr/>
                </p:nvSpPr>
                <p:spPr>
                  <a:xfrm>
                    <a:off x="4567522" y="31151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6" name="Graphic 16">
                  <a:extLst>
                    <a:ext uri="{FF2B5EF4-FFF2-40B4-BE49-F238E27FC236}">
                      <a16:creationId xmlns:a16="http://schemas.microsoft.com/office/drawing/2014/main" id="{4D2963FB-EFDB-BFFF-FA3E-DF273E893B06}"/>
                    </a:ext>
                  </a:extLst>
                </p:cNvPr>
                <p:cNvGrpSpPr/>
                <p:nvPr/>
              </p:nvGrpSpPr>
              <p:grpSpPr>
                <a:xfrm>
                  <a:off x="4586382" y="3077336"/>
                  <a:ext cx="75723" cy="75723"/>
                  <a:chOff x="4586382" y="3077336"/>
                  <a:chExt cx="75723" cy="75723"/>
                </a:xfrm>
              </p:grpSpPr>
              <p:sp>
                <p:nvSpPr>
                  <p:cNvPr id="1981" name="Freeform: Shape 1980">
                    <a:extLst>
                      <a:ext uri="{FF2B5EF4-FFF2-40B4-BE49-F238E27FC236}">
                        <a16:creationId xmlns:a16="http://schemas.microsoft.com/office/drawing/2014/main" id="{7DFAE294-033C-C381-82EA-A7063F2B2F0A}"/>
                      </a:ext>
                    </a:extLst>
                  </p:cNvPr>
                  <p:cNvSpPr/>
                  <p:nvPr/>
                </p:nvSpPr>
                <p:spPr>
                  <a:xfrm>
                    <a:off x="4624291"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2" name="Freeform: Shape 1981">
                    <a:extLst>
                      <a:ext uri="{FF2B5EF4-FFF2-40B4-BE49-F238E27FC236}">
                        <a16:creationId xmlns:a16="http://schemas.microsoft.com/office/drawing/2014/main" id="{A420D0E2-9617-E14F-3F90-A8BDEB78B2C9}"/>
                      </a:ext>
                    </a:extLst>
                  </p:cNvPr>
                  <p:cNvSpPr/>
                  <p:nvPr/>
                </p:nvSpPr>
                <p:spPr>
                  <a:xfrm>
                    <a:off x="4586382"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7" name="Graphic 16">
                  <a:extLst>
                    <a:ext uri="{FF2B5EF4-FFF2-40B4-BE49-F238E27FC236}">
                      <a16:creationId xmlns:a16="http://schemas.microsoft.com/office/drawing/2014/main" id="{10983DCF-7A0D-D329-34EA-6362430C504B}"/>
                    </a:ext>
                  </a:extLst>
                </p:cNvPr>
                <p:cNvGrpSpPr/>
                <p:nvPr/>
              </p:nvGrpSpPr>
              <p:grpSpPr>
                <a:xfrm>
                  <a:off x="4605337" y="3085718"/>
                  <a:ext cx="75723" cy="75628"/>
                  <a:chOff x="4605337" y="3085718"/>
                  <a:chExt cx="75723" cy="75628"/>
                </a:xfrm>
              </p:grpSpPr>
              <p:sp>
                <p:nvSpPr>
                  <p:cNvPr id="1979" name="Freeform: Shape 1978">
                    <a:extLst>
                      <a:ext uri="{FF2B5EF4-FFF2-40B4-BE49-F238E27FC236}">
                        <a16:creationId xmlns:a16="http://schemas.microsoft.com/office/drawing/2014/main" id="{780794E4-3654-63B6-138D-DF58A85CF58A}"/>
                      </a:ext>
                    </a:extLst>
                  </p:cNvPr>
                  <p:cNvSpPr/>
                  <p:nvPr/>
                </p:nvSpPr>
                <p:spPr>
                  <a:xfrm>
                    <a:off x="4643151"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80" name="Freeform: Shape 1979">
                    <a:extLst>
                      <a:ext uri="{FF2B5EF4-FFF2-40B4-BE49-F238E27FC236}">
                        <a16:creationId xmlns:a16="http://schemas.microsoft.com/office/drawing/2014/main" id="{CB473758-67E8-C9FB-A1AB-6CC4D50880DA}"/>
                      </a:ext>
                    </a:extLst>
                  </p:cNvPr>
                  <p:cNvSpPr/>
                  <p:nvPr/>
                </p:nvSpPr>
                <p:spPr>
                  <a:xfrm>
                    <a:off x="4605337"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8" name="Graphic 16">
                  <a:extLst>
                    <a:ext uri="{FF2B5EF4-FFF2-40B4-BE49-F238E27FC236}">
                      <a16:creationId xmlns:a16="http://schemas.microsoft.com/office/drawing/2014/main" id="{1003815E-40AD-63B3-1698-9F0353FE536B}"/>
                    </a:ext>
                  </a:extLst>
                </p:cNvPr>
                <p:cNvGrpSpPr/>
                <p:nvPr/>
              </p:nvGrpSpPr>
              <p:grpSpPr>
                <a:xfrm>
                  <a:off x="4624291" y="3085718"/>
                  <a:ext cx="75628" cy="75628"/>
                  <a:chOff x="4624291" y="3085718"/>
                  <a:chExt cx="75628" cy="75628"/>
                </a:xfrm>
              </p:grpSpPr>
              <p:sp>
                <p:nvSpPr>
                  <p:cNvPr id="1977" name="Freeform: Shape 1976">
                    <a:extLst>
                      <a:ext uri="{FF2B5EF4-FFF2-40B4-BE49-F238E27FC236}">
                        <a16:creationId xmlns:a16="http://schemas.microsoft.com/office/drawing/2014/main" id="{75628183-C36E-4E6A-A089-53C7239FAA39}"/>
                      </a:ext>
                    </a:extLst>
                  </p:cNvPr>
                  <p:cNvSpPr/>
                  <p:nvPr/>
                </p:nvSpPr>
                <p:spPr>
                  <a:xfrm>
                    <a:off x="4662106"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8" name="Freeform: Shape 1977">
                    <a:extLst>
                      <a:ext uri="{FF2B5EF4-FFF2-40B4-BE49-F238E27FC236}">
                        <a16:creationId xmlns:a16="http://schemas.microsoft.com/office/drawing/2014/main" id="{119E70B9-9123-AB7E-5FA0-7BE4653DE9A3}"/>
                      </a:ext>
                    </a:extLst>
                  </p:cNvPr>
                  <p:cNvSpPr/>
                  <p:nvPr/>
                </p:nvSpPr>
                <p:spPr>
                  <a:xfrm>
                    <a:off x="4624291" y="312353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59" name="Graphic 16">
                  <a:extLst>
                    <a:ext uri="{FF2B5EF4-FFF2-40B4-BE49-F238E27FC236}">
                      <a16:creationId xmlns:a16="http://schemas.microsoft.com/office/drawing/2014/main" id="{C54FDCC5-97EA-5603-8AE9-CBDA6637D0A7}"/>
                    </a:ext>
                  </a:extLst>
                </p:cNvPr>
                <p:cNvGrpSpPr/>
                <p:nvPr/>
              </p:nvGrpSpPr>
              <p:grpSpPr>
                <a:xfrm>
                  <a:off x="4644008" y="3095148"/>
                  <a:ext cx="75723" cy="75628"/>
                  <a:chOff x="4644008" y="3095148"/>
                  <a:chExt cx="75723" cy="75628"/>
                </a:xfrm>
              </p:grpSpPr>
              <p:sp>
                <p:nvSpPr>
                  <p:cNvPr id="1975" name="Freeform: Shape 1974">
                    <a:extLst>
                      <a:ext uri="{FF2B5EF4-FFF2-40B4-BE49-F238E27FC236}">
                        <a16:creationId xmlns:a16="http://schemas.microsoft.com/office/drawing/2014/main" id="{707584E3-FD5E-1872-F7E4-DE51A56CF6DE}"/>
                      </a:ext>
                    </a:extLst>
                  </p:cNvPr>
                  <p:cNvSpPr/>
                  <p:nvPr/>
                </p:nvSpPr>
                <p:spPr>
                  <a:xfrm>
                    <a:off x="4681822"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6" name="Freeform: Shape 1975">
                    <a:extLst>
                      <a:ext uri="{FF2B5EF4-FFF2-40B4-BE49-F238E27FC236}">
                        <a16:creationId xmlns:a16="http://schemas.microsoft.com/office/drawing/2014/main" id="{628DC8DC-2DB6-08F8-E1AD-24BC0F1329B4}"/>
                      </a:ext>
                    </a:extLst>
                  </p:cNvPr>
                  <p:cNvSpPr/>
                  <p:nvPr/>
                </p:nvSpPr>
                <p:spPr>
                  <a:xfrm>
                    <a:off x="4644008"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0" name="Graphic 16">
                  <a:extLst>
                    <a:ext uri="{FF2B5EF4-FFF2-40B4-BE49-F238E27FC236}">
                      <a16:creationId xmlns:a16="http://schemas.microsoft.com/office/drawing/2014/main" id="{EAAE1BD4-EE06-A664-762B-87278B20269D}"/>
                    </a:ext>
                  </a:extLst>
                </p:cNvPr>
                <p:cNvGrpSpPr/>
                <p:nvPr/>
              </p:nvGrpSpPr>
              <p:grpSpPr>
                <a:xfrm>
                  <a:off x="4662963" y="3095148"/>
                  <a:ext cx="75628" cy="75628"/>
                  <a:chOff x="4662963" y="3095148"/>
                  <a:chExt cx="75628" cy="75628"/>
                </a:xfrm>
              </p:grpSpPr>
              <p:sp>
                <p:nvSpPr>
                  <p:cNvPr id="1973" name="Freeform: Shape 1972">
                    <a:extLst>
                      <a:ext uri="{FF2B5EF4-FFF2-40B4-BE49-F238E27FC236}">
                        <a16:creationId xmlns:a16="http://schemas.microsoft.com/office/drawing/2014/main" id="{EB41B220-21D9-9FD5-9FA5-11DDDBD3CD23}"/>
                      </a:ext>
                    </a:extLst>
                  </p:cNvPr>
                  <p:cNvSpPr/>
                  <p:nvPr/>
                </p:nvSpPr>
                <p:spPr>
                  <a:xfrm>
                    <a:off x="4700777"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4" name="Freeform: Shape 1973">
                    <a:extLst>
                      <a:ext uri="{FF2B5EF4-FFF2-40B4-BE49-F238E27FC236}">
                        <a16:creationId xmlns:a16="http://schemas.microsoft.com/office/drawing/2014/main" id="{A880DFAC-15AC-A3A9-F1DC-A9F4AE5FB0D9}"/>
                      </a:ext>
                    </a:extLst>
                  </p:cNvPr>
                  <p:cNvSpPr/>
                  <p:nvPr/>
                </p:nvSpPr>
                <p:spPr>
                  <a:xfrm>
                    <a:off x="4662963" y="31329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1" name="Graphic 16">
                  <a:extLst>
                    <a:ext uri="{FF2B5EF4-FFF2-40B4-BE49-F238E27FC236}">
                      <a16:creationId xmlns:a16="http://schemas.microsoft.com/office/drawing/2014/main" id="{21C6E230-358D-8F7C-5B6A-4A5FA42E1E1D}"/>
                    </a:ext>
                  </a:extLst>
                </p:cNvPr>
                <p:cNvGrpSpPr/>
                <p:nvPr/>
              </p:nvGrpSpPr>
              <p:grpSpPr>
                <a:xfrm>
                  <a:off x="4373974" y="3035712"/>
                  <a:ext cx="75723" cy="75723"/>
                  <a:chOff x="4373974" y="3035712"/>
                  <a:chExt cx="75723" cy="75723"/>
                </a:xfrm>
              </p:grpSpPr>
              <p:sp>
                <p:nvSpPr>
                  <p:cNvPr id="1971" name="Freeform: Shape 1970">
                    <a:extLst>
                      <a:ext uri="{FF2B5EF4-FFF2-40B4-BE49-F238E27FC236}">
                        <a16:creationId xmlns:a16="http://schemas.microsoft.com/office/drawing/2014/main" id="{D39E3925-4491-1DF9-374D-9CBB798ACEDB}"/>
                      </a:ext>
                    </a:extLst>
                  </p:cNvPr>
                  <p:cNvSpPr/>
                  <p:nvPr/>
                </p:nvSpPr>
                <p:spPr>
                  <a:xfrm>
                    <a:off x="441188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2" name="Freeform: Shape 1971">
                    <a:extLst>
                      <a:ext uri="{FF2B5EF4-FFF2-40B4-BE49-F238E27FC236}">
                        <a16:creationId xmlns:a16="http://schemas.microsoft.com/office/drawing/2014/main" id="{2048BAE0-63E4-2B66-6A4E-01AC8E61F038}"/>
                      </a:ext>
                    </a:extLst>
                  </p:cNvPr>
                  <p:cNvSpPr/>
                  <p:nvPr/>
                </p:nvSpPr>
                <p:spPr>
                  <a:xfrm>
                    <a:off x="4373974"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2" name="Graphic 16">
                  <a:extLst>
                    <a:ext uri="{FF2B5EF4-FFF2-40B4-BE49-F238E27FC236}">
                      <a16:creationId xmlns:a16="http://schemas.microsoft.com/office/drawing/2014/main" id="{74C6AF3A-D905-83E7-1F2F-2383A6CF009F}"/>
                    </a:ext>
                  </a:extLst>
                </p:cNvPr>
                <p:cNvGrpSpPr/>
                <p:nvPr/>
              </p:nvGrpSpPr>
              <p:grpSpPr>
                <a:xfrm>
                  <a:off x="4391215" y="3035712"/>
                  <a:ext cx="75628" cy="75723"/>
                  <a:chOff x="4391215" y="3035712"/>
                  <a:chExt cx="75628" cy="75723"/>
                </a:xfrm>
              </p:grpSpPr>
              <p:sp>
                <p:nvSpPr>
                  <p:cNvPr id="1969" name="Freeform: Shape 1968">
                    <a:extLst>
                      <a:ext uri="{FF2B5EF4-FFF2-40B4-BE49-F238E27FC236}">
                        <a16:creationId xmlns:a16="http://schemas.microsoft.com/office/drawing/2014/main" id="{81D8E7E3-95F2-E003-1AD7-397E77BDBB3F}"/>
                      </a:ext>
                    </a:extLst>
                  </p:cNvPr>
                  <p:cNvSpPr/>
                  <p:nvPr/>
                </p:nvSpPr>
                <p:spPr>
                  <a:xfrm>
                    <a:off x="442902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70" name="Freeform: Shape 1969">
                    <a:extLst>
                      <a:ext uri="{FF2B5EF4-FFF2-40B4-BE49-F238E27FC236}">
                        <a16:creationId xmlns:a16="http://schemas.microsoft.com/office/drawing/2014/main" id="{057D82A9-9467-15FD-3A0A-586B680E2136}"/>
                      </a:ext>
                    </a:extLst>
                  </p:cNvPr>
                  <p:cNvSpPr/>
                  <p:nvPr/>
                </p:nvSpPr>
                <p:spPr>
                  <a:xfrm>
                    <a:off x="4391215" y="30736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3" name="Graphic 16">
                  <a:extLst>
                    <a:ext uri="{FF2B5EF4-FFF2-40B4-BE49-F238E27FC236}">
                      <a16:creationId xmlns:a16="http://schemas.microsoft.com/office/drawing/2014/main" id="{B1E1F748-45F0-0A33-31F1-FAA4EE6D7173}"/>
                    </a:ext>
                  </a:extLst>
                </p:cNvPr>
                <p:cNvGrpSpPr/>
                <p:nvPr/>
              </p:nvGrpSpPr>
              <p:grpSpPr>
                <a:xfrm>
                  <a:off x="4408360" y="3035712"/>
                  <a:ext cx="75723" cy="75723"/>
                  <a:chOff x="4408360" y="3035712"/>
                  <a:chExt cx="75723" cy="75723"/>
                </a:xfrm>
              </p:grpSpPr>
              <p:sp>
                <p:nvSpPr>
                  <p:cNvPr id="1967" name="Freeform: Shape 1966">
                    <a:extLst>
                      <a:ext uri="{FF2B5EF4-FFF2-40B4-BE49-F238E27FC236}">
                        <a16:creationId xmlns:a16="http://schemas.microsoft.com/office/drawing/2014/main" id="{55A14D6C-1DC3-E4F8-1A87-EF4894AE9F63}"/>
                      </a:ext>
                    </a:extLst>
                  </p:cNvPr>
                  <p:cNvSpPr/>
                  <p:nvPr/>
                </p:nvSpPr>
                <p:spPr>
                  <a:xfrm>
                    <a:off x="444626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8" name="Freeform: Shape 1967">
                    <a:extLst>
                      <a:ext uri="{FF2B5EF4-FFF2-40B4-BE49-F238E27FC236}">
                        <a16:creationId xmlns:a16="http://schemas.microsoft.com/office/drawing/2014/main" id="{5B70ED89-D803-A9A2-8578-FBA2936BFD4B}"/>
                      </a:ext>
                    </a:extLst>
                  </p:cNvPr>
                  <p:cNvSpPr/>
                  <p:nvPr/>
                </p:nvSpPr>
                <p:spPr>
                  <a:xfrm>
                    <a:off x="4408360"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4" name="Graphic 16">
                  <a:extLst>
                    <a:ext uri="{FF2B5EF4-FFF2-40B4-BE49-F238E27FC236}">
                      <a16:creationId xmlns:a16="http://schemas.microsoft.com/office/drawing/2014/main" id="{03F20C3E-C99F-CCCF-E126-8888D9AEA4A3}"/>
                    </a:ext>
                  </a:extLst>
                </p:cNvPr>
                <p:cNvGrpSpPr/>
                <p:nvPr/>
              </p:nvGrpSpPr>
              <p:grpSpPr>
                <a:xfrm>
                  <a:off x="4425600" y="3035712"/>
                  <a:ext cx="75628" cy="75723"/>
                  <a:chOff x="4425600" y="3035712"/>
                  <a:chExt cx="75628" cy="75723"/>
                </a:xfrm>
              </p:grpSpPr>
              <p:sp>
                <p:nvSpPr>
                  <p:cNvPr id="1965" name="Freeform: Shape 1964">
                    <a:extLst>
                      <a:ext uri="{FF2B5EF4-FFF2-40B4-BE49-F238E27FC236}">
                        <a16:creationId xmlns:a16="http://schemas.microsoft.com/office/drawing/2014/main" id="{FDD9BADD-1A8C-C1D1-EC36-D8A903E88ECA}"/>
                      </a:ext>
                    </a:extLst>
                  </p:cNvPr>
                  <p:cNvSpPr/>
                  <p:nvPr/>
                </p:nvSpPr>
                <p:spPr>
                  <a:xfrm>
                    <a:off x="446341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6" name="Freeform: Shape 1965">
                    <a:extLst>
                      <a:ext uri="{FF2B5EF4-FFF2-40B4-BE49-F238E27FC236}">
                        <a16:creationId xmlns:a16="http://schemas.microsoft.com/office/drawing/2014/main" id="{076A7AC4-B303-D8EB-BECC-11EFF4E81177}"/>
                      </a:ext>
                    </a:extLst>
                  </p:cNvPr>
                  <p:cNvSpPr/>
                  <p:nvPr/>
                </p:nvSpPr>
                <p:spPr>
                  <a:xfrm>
                    <a:off x="4425600"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5" name="Graphic 16">
                  <a:extLst>
                    <a:ext uri="{FF2B5EF4-FFF2-40B4-BE49-F238E27FC236}">
                      <a16:creationId xmlns:a16="http://schemas.microsoft.com/office/drawing/2014/main" id="{E75AF588-98C2-D0CA-1285-D3E0E66077EF}"/>
                    </a:ext>
                  </a:extLst>
                </p:cNvPr>
                <p:cNvGrpSpPr/>
                <p:nvPr/>
              </p:nvGrpSpPr>
              <p:grpSpPr>
                <a:xfrm>
                  <a:off x="4744687" y="3128104"/>
                  <a:ext cx="75723" cy="75723"/>
                  <a:chOff x="4744687" y="3128104"/>
                  <a:chExt cx="75723" cy="75723"/>
                </a:xfrm>
              </p:grpSpPr>
              <p:sp>
                <p:nvSpPr>
                  <p:cNvPr id="1963" name="Freeform: Shape 1962">
                    <a:extLst>
                      <a:ext uri="{FF2B5EF4-FFF2-40B4-BE49-F238E27FC236}">
                        <a16:creationId xmlns:a16="http://schemas.microsoft.com/office/drawing/2014/main" id="{6BBD5222-696C-EF7F-EE93-0DFB596070BC}"/>
                      </a:ext>
                    </a:extLst>
                  </p:cNvPr>
                  <p:cNvSpPr/>
                  <p:nvPr/>
                </p:nvSpPr>
                <p:spPr>
                  <a:xfrm>
                    <a:off x="4782502"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4" name="Freeform: Shape 1963">
                    <a:extLst>
                      <a:ext uri="{FF2B5EF4-FFF2-40B4-BE49-F238E27FC236}">
                        <a16:creationId xmlns:a16="http://schemas.microsoft.com/office/drawing/2014/main" id="{67D44A4E-1F49-553F-C140-97264C49BBF4}"/>
                      </a:ext>
                    </a:extLst>
                  </p:cNvPr>
                  <p:cNvSpPr/>
                  <p:nvPr/>
                </p:nvSpPr>
                <p:spPr>
                  <a:xfrm>
                    <a:off x="4744687"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6" name="Graphic 16">
                  <a:extLst>
                    <a:ext uri="{FF2B5EF4-FFF2-40B4-BE49-F238E27FC236}">
                      <a16:creationId xmlns:a16="http://schemas.microsoft.com/office/drawing/2014/main" id="{50A80223-A729-7E27-6CFF-5D72CC3D8011}"/>
                    </a:ext>
                  </a:extLst>
                </p:cNvPr>
                <p:cNvGrpSpPr/>
                <p:nvPr/>
              </p:nvGrpSpPr>
              <p:grpSpPr>
                <a:xfrm>
                  <a:off x="4763642" y="3128104"/>
                  <a:ext cx="75628" cy="75723"/>
                  <a:chOff x="4763642" y="3128104"/>
                  <a:chExt cx="75628" cy="75723"/>
                </a:xfrm>
              </p:grpSpPr>
              <p:sp>
                <p:nvSpPr>
                  <p:cNvPr id="1961" name="Freeform: Shape 1960">
                    <a:extLst>
                      <a:ext uri="{FF2B5EF4-FFF2-40B4-BE49-F238E27FC236}">
                        <a16:creationId xmlns:a16="http://schemas.microsoft.com/office/drawing/2014/main" id="{2FA28064-9ED7-A503-494D-FD58EED3683D}"/>
                      </a:ext>
                    </a:extLst>
                  </p:cNvPr>
                  <p:cNvSpPr/>
                  <p:nvPr/>
                </p:nvSpPr>
                <p:spPr>
                  <a:xfrm>
                    <a:off x="4801456"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2" name="Freeform: Shape 1961">
                    <a:extLst>
                      <a:ext uri="{FF2B5EF4-FFF2-40B4-BE49-F238E27FC236}">
                        <a16:creationId xmlns:a16="http://schemas.microsoft.com/office/drawing/2014/main" id="{8B429366-8FC1-5DE4-6D82-15668C46FF45}"/>
                      </a:ext>
                    </a:extLst>
                  </p:cNvPr>
                  <p:cNvSpPr/>
                  <p:nvPr/>
                </p:nvSpPr>
                <p:spPr>
                  <a:xfrm>
                    <a:off x="4763642"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7" name="Graphic 16">
                  <a:extLst>
                    <a:ext uri="{FF2B5EF4-FFF2-40B4-BE49-F238E27FC236}">
                      <a16:creationId xmlns:a16="http://schemas.microsoft.com/office/drawing/2014/main" id="{634A0110-B5F4-EB83-6D2A-1F0515E26A8F}"/>
                    </a:ext>
                  </a:extLst>
                </p:cNvPr>
                <p:cNvGrpSpPr/>
                <p:nvPr/>
              </p:nvGrpSpPr>
              <p:grpSpPr>
                <a:xfrm>
                  <a:off x="4782502" y="3128104"/>
                  <a:ext cx="75723" cy="75723"/>
                  <a:chOff x="4782502" y="3128104"/>
                  <a:chExt cx="75723" cy="75723"/>
                </a:xfrm>
              </p:grpSpPr>
              <p:sp>
                <p:nvSpPr>
                  <p:cNvPr id="1959" name="Freeform: Shape 1958">
                    <a:extLst>
                      <a:ext uri="{FF2B5EF4-FFF2-40B4-BE49-F238E27FC236}">
                        <a16:creationId xmlns:a16="http://schemas.microsoft.com/office/drawing/2014/main" id="{6C1007EB-F131-439C-DFE7-0D4B48AF2B97}"/>
                      </a:ext>
                    </a:extLst>
                  </p:cNvPr>
                  <p:cNvSpPr/>
                  <p:nvPr/>
                </p:nvSpPr>
                <p:spPr>
                  <a:xfrm>
                    <a:off x="4820411"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60" name="Freeform: Shape 1959">
                    <a:extLst>
                      <a:ext uri="{FF2B5EF4-FFF2-40B4-BE49-F238E27FC236}">
                        <a16:creationId xmlns:a16="http://schemas.microsoft.com/office/drawing/2014/main" id="{B49B5111-1501-E532-2066-CA243D29F51B}"/>
                      </a:ext>
                    </a:extLst>
                  </p:cNvPr>
                  <p:cNvSpPr/>
                  <p:nvPr/>
                </p:nvSpPr>
                <p:spPr>
                  <a:xfrm>
                    <a:off x="4782502"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8" name="Graphic 16">
                  <a:extLst>
                    <a:ext uri="{FF2B5EF4-FFF2-40B4-BE49-F238E27FC236}">
                      <a16:creationId xmlns:a16="http://schemas.microsoft.com/office/drawing/2014/main" id="{7DD7C4A2-8C1B-602E-79B0-9717EC8A8F98}"/>
                    </a:ext>
                  </a:extLst>
                </p:cNvPr>
                <p:cNvGrpSpPr/>
                <p:nvPr/>
              </p:nvGrpSpPr>
              <p:grpSpPr>
                <a:xfrm>
                  <a:off x="4803171" y="3141154"/>
                  <a:ext cx="75723" cy="75723"/>
                  <a:chOff x="4803171" y="3141154"/>
                  <a:chExt cx="75723" cy="75723"/>
                </a:xfrm>
              </p:grpSpPr>
              <p:sp>
                <p:nvSpPr>
                  <p:cNvPr id="1957" name="Freeform: Shape 1956">
                    <a:extLst>
                      <a:ext uri="{FF2B5EF4-FFF2-40B4-BE49-F238E27FC236}">
                        <a16:creationId xmlns:a16="http://schemas.microsoft.com/office/drawing/2014/main" id="{0FEA3F98-2D23-EDDB-DA05-634A09145495}"/>
                      </a:ext>
                    </a:extLst>
                  </p:cNvPr>
                  <p:cNvSpPr/>
                  <p:nvPr/>
                </p:nvSpPr>
                <p:spPr>
                  <a:xfrm>
                    <a:off x="484108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8" name="Freeform: Shape 1957">
                    <a:extLst>
                      <a:ext uri="{FF2B5EF4-FFF2-40B4-BE49-F238E27FC236}">
                        <a16:creationId xmlns:a16="http://schemas.microsoft.com/office/drawing/2014/main" id="{2FDF7CB1-23D4-0E28-8795-4BF7E5F2BC39}"/>
                      </a:ext>
                    </a:extLst>
                  </p:cNvPr>
                  <p:cNvSpPr/>
                  <p:nvPr/>
                </p:nvSpPr>
                <p:spPr>
                  <a:xfrm>
                    <a:off x="4803171"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69" name="Graphic 16">
                  <a:extLst>
                    <a:ext uri="{FF2B5EF4-FFF2-40B4-BE49-F238E27FC236}">
                      <a16:creationId xmlns:a16="http://schemas.microsoft.com/office/drawing/2014/main" id="{24F9AA5D-065D-7F38-2B56-7E7AEEBE2D12}"/>
                    </a:ext>
                  </a:extLst>
                </p:cNvPr>
                <p:cNvGrpSpPr/>
                <p:nvPr/>
              </p:nvGrpSpPr>
              <p:grpSpPr>
                <a:xfrm>
                  <a:off x="4822126" y="3141154"/>
                  <a:ext cx="75723" cy="75723"/>
                  <a:chOff x="4822126" y="3141154"/>
                  <a:chExt cx="75723" cy="75723"/>
                </a:xfrm>
              </p:grpSpPr>
              <p:sp>
                <p:nvSpPr>
                  <p:cNvPr id="1955" name="Freeform: Shape 1954">
                    <a:extLst>
                      <a:ext uri="{FF2B5EF4-FFF2-40B4-BE49-F238E27FC236}">
                        <a16:creationId xmlns:a16="http://schemas.microsoft.com/office/drawing/2014/main" id="{EA40A7FA-6A63-4063-B9E8-61BE90A2B7AE}"/>
                      </a:ext>
                    </a:extLst>
                  </p:cNvPr>
                  <p:cNvSpPr/>
                  <p:nvPr/>
                </p:nvSpPr>
                <p:spPr>
                  <a:xfrm>
                    <a:off x="485994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6" name="Freeform: Shape 1955">
                    <a:extLst>
                      <a:ext uri="{FF2B5EF4-FFF2-40B4-BE49-F238E27FC236}">
                        <a16:creationId xmlns:a16="http://schemas.microsoft.com/office/drawing/2014/main" id="{CE67331A-E295-DE18-684F-13CB837E2D54}"/>
                      </a:ext>
                    </a:extLst>
                  </p:cNvPr>
                  <p:cNvSpPr/>
                  <p:nvPr/>
                </p:nvSpPr>
                <p:spPr>
                  <a:xfrm>
                    <a:off x="4822126"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0" name="Graphic 16">
                  <a:extLst>
                    <a:ext uri="{FF2B5EF4-FFF2-40B4-BE49-F238E27FC236}">
                      <a16:creationId xmlns:a16="http://schemas.microsoft.com/office/drawing/2014/main" id="{84C63606-DFA3-25B4-7196-F7DF24EEFD9D}"/>
                    </a:ext>
                  </a:extLst>
                </p:cNvPr>
                <p:cNvGrpSpPr/>
                <p:nvPr/>
              </p:nvGrpSpPr>
              <p:grpSpPr>
                <a:xfrm>
                  <a:off x="4841080" y="3141154"/>
                  <a:ext cx="75628" cy="75723"/>
                  <a:chOff x="4841080" y="3141154"/>
                  <a:chExt cx="75628" cy="75723"/>
                </a:xfrm>
              </p:grpSpPr>
              <p:sp>
                <p:nvSpPr>
                  <p:cNvPr id="1953" name="Freeform: Shape 1952">
                    <a:extLst>
                      <a:ext uri="{FF2B5EF4-FFF2-40B4-BE49-F238E27FC236}">
                        <a16:creationId xmlns:a16="http://schemas.microsoft.com/office/drawing/2014/main" id="{653E44F4-3EBF-0553-2F45-6EDC6DA28B6F}"/>
                      </a:ext>
                    </a:extLst>
                  </p:cNvPr>
                  <p:cNvSpPr/>
                  <p:nvPr/>
                </p:nvSpPr>
                <p:spPr>
                  <a:xfrm>
                    <a:off x="4878895"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4" name="Freeform: Shape 1953">
                    <a:extLst>
                      <a:ext uri="{FF2B5EF4-FFF2-40B4-BE49-F238E27FC236}">
                        <a16:creationId xmlns:a16="http://schemas.microsoft.com/office/drawing/2014/main" id="{719E47CC-753F-9407-B188-00BE8426A46D}"/>
                      </a:ext>
                    </a:extLst>
                  </p:cNvPr>
                  <p:cNvSpPr/>
                  <p:nvPr/>
                </p:nvSpPr>
                <p:spPr>
                  <a:xfrm>
                    <a:off x="4841080" y="3179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1" name="Graphic 16">
                  <a:extLst>
                    <a:ext uri="{FF2B5EF4-FFF2-40B4-BE49-F238E27FC236}">
                      <a16:creationId xmlns:a16="http://schemas.microsoft.com/office/drawing/2014/main" id="{3D014041-0810-0204-637D-83DA3F11859F}"/>
                    </a:ext>
                  </a:extLst>
                </p:cNvPr>
                <p:cNvGrpSpPr/>
                <p:nvPr/>
              </p:nvGrpSpPr>
              <p:grpSpPr>
                <a:xfrm>
                  <a:off x="4859940" y="3152393"/>
                  <a:ext cx="75723" cy="75723"/>
                  <a:chOff x="4859940" y="3152393"/>
                  <a:chExt cx="75723" cy="75723"/>
                </a:xfrm>
              </p:grpSpPr>
              <p:sp>
                <p:nvSpPr>
                  <p:cNvPr id="1951" name="Freeform: Shape 1950">
                    <a:extLst>
                      <a:ext uri="{FF2B5EF4-FFF2-40B4-BE49-F238E27FC236}">
                        <a16:creationId xmlns:a16="http://schemas.microsoft.com/office/drawing/2014/main" id="{32745ED7-3B64-2FFD-A896-2FB21AC2D8A7}"/>
                      </a:ext>
                    </a:extLst>
                  </p:cNvPr>
                  <p:cNvSpPr/>
                  <p:nvPr/>
                </p:nvSpPr>
                <p:spPr>
                  <a:xfrm>
                    <a:off x="4897849"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2" name="Freeform: Shape 1951">
                    <a:extLst>
                      <a:ext uri="{FF2B5EF4-FFF2-40B4-BE49-F238E27FC236}">
                        <a16:creationId xmlns:a16="http://schemas.microsoft.com/office/drawing/2014/main" id="{ADCE6738-813B-BC6D-74AD-4E7B2A8B75A9}"/>
                      </a:ext>
                    </a:extLst>
                  </p:cNvPr>
                  <p:cNvSpPr/>
                  <p:nvPr/>
                </p:nvSpPr>
                <p:spPr>
                  <a:xfrm>
                    <a:off x="4859940"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2" name="Graphic 16">
                  <a:extLst>
                    <a:ext uri="{FF2B5EF4-FFF2-40B4-BE49-F238E27FC236}">
                      <a16:creationId xmlns:a16="http://schemas.microsoft.com/office/drawing/2014/main" id="{6487F262-1F02-0F7C-BF7D-FE8EC18B72FF}"/>
                    </a:ext>
                  </a:extLst>
                </p:cNvPr>
                <p:cNvGrpSpPr/>
                <p:nvPr/>
              </p:nvGrpSpPr>
              <p:grpSpPr>
                <a:xfrm>
                  <a:off x="4878895" y="3168681"/>
                  <a:ext cx="75723" cy="75723"/>
                  <a:chOff x="4878895" y="3168681"/>
                  <a:chExt cx="75723" cy="75723"/>
                </a:xfrm>
              </p:grpSpPr>
              <p:sp>
                <p:nvSpPr>
                  <p:cNvPr id="1949" name="Freeform: Shape 1948">
                    <a:extLst>
                      <a:ext uri="{FF2B5EF4-FFF2-40B4-BE49-F238E27FC236}">
                        <a16:creationId xmlns:a16="http://schemas.microsoft.com/office/drawing/2014/main" id="{5F37122F-CD2F-2CDC-C438-7B70B888F003}"/>
                      </a:ext>
                    </a:extLst>
                  </p:cNvPr>
                  <p:cNvSpPr/>
                  <p:nvPr/>
                </p:nvSpPr>
                <p:spPr>
                  <a:xfrm>
                    <a:off x="4916709" y="31686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50" name="Freeform: Shape 1949">
                    <a:extLst>
                      <a:ext uri="{FF2B5EF4-FFF2-40B4-BE49-F238E27FC236}">
                        <a16:creationId xmlns:a16="http://schemas.microsoft.com/office/drawing/2014/main" id="{9D047AAD-A58F-26DD-8EA0-D70A9399CD30}"/>
                      </a:ext>
                    </a:extLst>
                  </p:cNvPr>
                  <p:cNvSpPr/>
                  <p:nvPr/>
                </p:nvSpPr>
                <p:spPr>
                  <a:xfrm>
                    <a:off x="4878895" y="32064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3" name="Graphic 16">
                  <a:extLst>
                    <a:ext uri="{FF2B5EF4-FFF2-40B4-BE49-F238E27FC236}">
                      <a16:creationId xmlns:a16="http://schemas.microsoft.com/office/drawing/2014/main" id="{A4A74B87-393A-7A06-49AB-6A0C4CC29E09}"/>
                    </a:ext>
                  </a:extLst>
                </p:cNvPr>
                <p:cNvGrpSpPr/>
                <p:nvPr/>
              </p:nvGrpSpPr>
              <p:grpSpPr>
                <a:xfrm>
                  <a:off x="4897849" y="3181730"/>
                  <a:ext cx="75628" cy="75723"/>
                  <a:chOff x="4897849" y="3181730"/>
                  <a:chExt cx="75628" cy="75723"/>
                </a:xfrm>
              </p:grpSpPr>
              <p:sp>
                <p:nvSpPr>
                  <p:cNvPr id="1947" name="Freeform: Shape 1946">
                    <a:extLst>
                      <a:ext uri="{FF2B5EF4-FFF2-40B4-BE49-F238E27FC236}">
                        <a16:creationId xmlns:a16="http://schemas.microsoft.com/office/drawing/2014/main" id="{9BE246B3-509E-8E02-2B80-86D16018DBEF}"/>
                      </a:ext>
                    </a:extLst>
                  </p:cNvPr>
                  <p:cNvSpPr/>
                  <p:nvPr/>
                </p:nvSpPr>
                <p:spPr>
                  <a:xfrm>
                    <a:off x="4935664"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8" name="Freeform: Shape 1947">
                    <a:extLst>
                      <a:ext uri="{FF2B5EF4-FFF2-40B4-BE49-F238E27FC236}">
                        <a16:creationId xmlns:a16="http://schemas.microsoft.com/office/drawing/2014/main" id="{26DA8DC9-80C6-E837-22B3-0B0D6E3BB616}"/>
                      </a:ext>
                    </a:extLst>
                  </p:cNvPr>
                  <p:cNvSpPr/>
                  <p:nvPr/>
                </p:nvSpPr>
                <p:spPr>
                  <a:xfrm>
                    <a:off x="4897849" y="32196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4" name="Graphic 16">
                  <a:extLst>
                    <a:ext uri="{FF2B5EF4-FFF2-40B4-BE49-F238E27FC236}">
                      <a16:creationId xmlns:a16="http://schemas.microsoft.com/office/drawing/2014/main" id="{B1643E66-99BD-04C8-5C5A-9F28B94BE1DC}"/>
                    </a:ext>
                  </a:extLst>
                </p:cNvPr>
                <p:cNvGrpSpPr/>
                <p:nvPr/>
              </p:nvGrpSpPr>
              <p:grpSpPr>
                <a:xfrm>
                  <a:off x="4916709" y="3185921"/>
                  <a:ext cx="75723" cy="75723"/>
                  <a:chOff x="4916709" y="3185921"/>
                  <a:chExt cx="75723" cy="75723"/>
                </a:xfrm>
              </p:grpSpPr>
              <p:sp>
                <p:nvSpPr>
                  <p:cNvPr id="1945" name="Freeform: Shape 1944">
                    <a:extLst>
                      <a:ext uri="{FF2B5EF4-FFF2-40B4-BE49-F238E27FC236}">
                        <a16:creationId xmlns:a16="http://schemas.microsoft.com/office/drawing/2014/main" id="{162ABBB2-0146-E370-1656-46E6F38F10B4}"/>
                      </a:ext>
                    </a:extLst>
                  </p:cNvPr>
                  <p:cNvSpPr/>
                  <p:nvPr/>
                </p:nvSpPr>
                <p:spPr>
                  <a:xfrm>
                    <a:off x="495461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6" name="Freeform: Shape 1945">
                    <a:extLst>
                      <a:ext uri="{FF2B5EF4-FFF2-40B4-BE49-F238E27FC236}">
                        <a16:creationId xmlns:a16="http://schemas.microsoft.com/office/drawing/2014/main" id="{A6410EC1-E37F-6A64-83E5-FFC8F98397D1}"/>
                      </a:ext>
                    </a:extLst>
                  </p:cNvPr>
                  <p:cNvSpPr/>
                  <p:nvPr/>
                </p:nvSpPr>
                <p:spPr>
                  <a:xfrm>
                    <a:off x="4916709"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5" name="Graphic 16">
                  <a:extLst>
                    <a:ext uri="{FF2B5EF4-FFF2-40B4-BE49-F238E27FC236}">
                      <a16:creationId xmlns:a16="http://schemas.microsoft.com/office/drawing/2014/main" id="{C1975860-6651-5E78-C9D1-18D9AE490365}"/>
                    </a:ext>
                  </a:extLst>
                </p:cNvPr>
                <p:cNvGrpSpPr/>
                <p:nvPr/>
              </p:nvGrpSpPr>
              <p:grpSpPr>
                <a:xfrm>
                  <a:off x="4935664" y="3185921"/>
                  <a:ext cx="75723" cy="75723"/>
                  <a:chOff x="4935664" y="3185921"/>
                  <a:chExt cx="75723" cy="75723"/>
                </a:xfrm>
              </p:grpSpPr>
              <p:sp>
                <p:nvSpPr>
                  <p:cNvPr id="1943" name="Freeform: Shape 1942">
                    <a:extLst>
                      <a:ext uri="{FF2B5EF4-FFF2-40B4-BE49-F238E27FC236}">
                        <a16:creationId xmlns:a16="http://schemas.microsoft.com/office/drawing/2014/main" id="{F9712181-128D-A99B-E82E-7336CFCAC350}"/>
                      </a:ext>
                    </a:extLst>
                  </p:cNvPr>
                  <p:cNvSpPr/>
                  <p:nvPr/>
                </p:nvSpPr>
                <p:spPr>
                  <a:xfrm>
                    <a:off x="497347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4" name="Freeform: Shape 1943">
                    <a:extLst>
                      <a:ext uri="{FF2B5EF4-FFF2-40B4-BE49-F238E27FC236}">
                        <a16:creationId xmlns:a16="http://schemas.microsoft.com/office/drawing/2014/main" id="{1A420E34-17F0-8610-3882-FFD1551C8254}"/>
                      </a:ext>
                    </a:extLst>
                  </p:cNvPr>
                  <p:cNvSpPr/>
                  <p:nvPr/>
                </p:nvSpPr>
                <p:spPr>
                  <a:xfrm>
                    <a:off x="4935664"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6" name="Graphic 16">
                  <a:extLst>
                    <a:ext uri="{FF2B5EF4-FFF2-40B4-BE49-F238E27FC236}">
                      <a16:creationId xmlns:a16="http://schemas.microsoft.com/office/drawing/2014/main" id="{63976341-BF23-9A81-5422-60621A5D2953}"/>
                    </a:ext>
                  </a:extLst>
                </p:cNvPr>
                <p:cNvGrpSpPr/>
                <p:nvPr/>
              </p:nvGrpSpPr>
              <p:grpSpPr>
                <a:xfrm>
                  <a:off x="4955380" y="3195351"/>
                  <a:ext cx="75723" cy="75723"/>
                  <a:chOff x="4955380" y="3195351"/>
                  <a:chExt cx="75723" cy="75723"/>
                </a:xfrm>
              </p:grpSpPr>
              <p:sp>
                <p:nvSpPr>
                  <p:cNvPr id="1941" name="Freeform: Shape 1940">
                    <a:extLst>
                      <a:ext uri="{FF2B5EF4-FFF2-40B4-BE49-F238E27FC236}">
                        <a16:creationId xmlns:a16="http://schemas.microsoft.com/office/drawing/2014/main" id="{FEE9EE81-E8BB-BA24-7CD9-BE4AED6AA607}"/>
                      </a:ext>
                    </a:extLst>
                  </p:cNvPr>
                  <p:cNvSpPr/>
                  <p:nvPr/>
                </p:nvSpPr>
                <p:spPr>
                  <a:xfrm>
                    <a:off x="4993290"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2" name="Freeform: Shape 1941">
                    <a:extLst>
                      <a:ext uri="{FF2B5EF4-FFF2-40B4-BE49-F238E27FC236}">
                        <a16:creationId xmlns:a16="http://schemas.microsoft.com/office/drawing/2014/main" id="{0953AB2E-D085-472D-3494-2660C8F69588}"/>
                      </a:ext>
                    </a:extLst>
                  </p:cNvPr>
                  <p:cNvSpPr/>
                  <p:nvPr/>
                </p:nvSpPr>
                <p:spPr>
                  <a:xfrm>
                    <a:off x="4955380"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7" name="Graphic 16">
                  <a:extLst>
                    <a:ext uri="{FF2B5EF4-FFF2-40B4-BE49-F238E27FC236}">
                      <a16:creationId xmlns:a16="http://schemas.microsoft.com/office/drawing/2014/main" id="{BD5BB635-2C97-BC50-05D7-104A54F24449}"/>
                    </a:ext>
                  </a:extLst>
                </p:cNvPr>
                <p:cNvGrpSpPr/>
                <p:nvPr/>
              </p:nvGrpSpPr>
              <p:grpSpPr>
                <a:xfrm>
                  <a:off x="4974335" y="3200685"/>
                  <a:ext cx="75723" cy="75723"/>
                  <a:chOff x="4974335" y="3200685"/>
                  <a:chExt cx="75723" cy="75723"/>
                </a:xfrm>
              </p:grpSpPr>
              <p:sp>
                <p:nvSpPr>
                  <p:cNvPr id="1939" name="Freeform: Shape 1938">
                    <a:extLst>
                      <a:ext uri="{FF2B5EF4-FFF2-40B4-BE49-F238E27FC236}">
                        <a16:creationId xmlns:a16="http://schemas.microsoft.com/office/drawing/2014/main" id="{F08043B7-78B4-4D9F-0646-A4FC18CF9201}"/>
                      </a:ext>
                    </a:extLst>
                  </p:cNvPr>
                  <p:cNvSpPr/>
                  <p:nvPr/>
                </p:nvSpPr>
                <p:spPr>
                  <a:xfrm>
                    <a:off x="5012149"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40" name="Freeform: Shape 1939">
                    <a:extLst>
                      <a:ext uri="{FF2B5EF4-FFF2-40B4-BE49-F238E27FC236}">
                        <a16:creationId xmlns:a16="http://schemas.microsoft.com/office/drawing/2014/main" id="{95A5BBF8-8C33-B437-266B-288D55BDFA9F}"/>
                      </a:ext>
                    </a:extLst>
                  </p:cNvPr>
                  <p:cNvSpPr/>
                  <p:nvPr/>
                </p:nvSpPr>
                <p:spPr>
                  <a:xfrm>
                    <a:off x="4974335"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8" name="Graphic 16">
                  <a:extLst>
                    <a:ext uri="{FF2B5EF4-FFF2-40B4-BE49-F238E27FC236}">
                      <a16:creationId xmlns:a16="http://schemas.microsoft.com/office/drawing/2014/main" id="{B8690033-F54B-A07D-6CBA-8E9A6BCE08BB}"/>
                    </a:ext>
                  </a:extLst>
                </p:cNvPr>
                <p:cNvGrpSpPr/>
                <p:nvPr/>
              </p:nvGrpSpPr>
              <p:grpSpPr>
                <a:xfrm>
                  <a:off x="4675917" y="3111340"/>
                  <a:ext cx="75723" cy="75723"/>
                  <a:chOff x="4675917" y="3111340"/>
                  <a:chExt cx="75723" cy="75723"/>
                </a:xfrm>
              </p:grpSpPr>
              <p:sp>
                <p:nvSpPr>
                  <p:cNvPr id="1937" name="Freeform: Shape 1936">
                    <a:extLst>
                      <a:ext uri="{FF2B5EF4-FFF2-40B4-BE49-F238E27FC236}">
                        <a16:creationId xmlns:a16="http://schemas.microsoft.com/office/drawing/2014/main" id="{F8F32371-52D6-DF7E-607E-A828B8BC4F20}"/>
                      </a:ext>
                    </a:extLst>
                  </p:cNvPr>
                  <p:cNvSpPr/>
                  <p:nvPr/>
                </p:nvSpPr>
                <p:spPr>
                  <a:xfrm>
                    <a:off x="471382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8" name="Freeform: Shape 1937">
                    <a:extLst>
                      <a:ext uri="{FF2B5EF4-FFF2-40B4-BE49-F238E27FC236}">
                        <a16:creationId xmlns:a16="http://schemas.microsoft.com/office/drawing/2014/main" id="{74FB3B10-D683-3D9B-F954-4398B8F340E2}"/>
                      </a:ext>
                    </a:extLst>
                  </p:cNvPr>
                  <p:cNvSpPr/>
                  <p:nvPr/>
                </p:nvSpPr>
                <p:spPr>
                  <a:xfrm>
                    <a:off x="4675917"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79" name="Graphic 16">
                  <a:extLst>
                    <a:ext uri="{FF2B5EF4-FFF2-40B4-BE49-F238E27FC236}">
                      <a16:creationId xmlns:a16="http://schemas.microsoft.com/office/drawing/2014/main" id="{C15BCB4B-DF6B-4016-22AD-B3EBA85369E9}"/>
                    </a:ext>
                  </a:extLst>
                </p:cNvPr>
                <p:cNvGrpSpPr/>
                <p:nvPr/>
              </p:nvGrpSpPr>
              <p:grpSpPr>
                <a:xfrm>
                  <a:off x="4693157" y="3111340"/>
                  <a:ext cx="75628" cy="75723"/>
                  <a:chOff x="4693157" y="3111340"/>
                  <a:chExt cx="75628" cy="75723"/>
                </a:xfrm>
              </p:grpSpPr>
              <p:sp>
                <p:nvSpPr>
                  <p:cNvPr id="1935" name="Freeform: Shape 1934">
                    <a:extLst>
                      <a:ext uri="{FF2B5EF4-FFF2-40B4-BE49-F238E27FC236}">
                        <a16:creationId xmlns:a16="http://schemas.microsoft.com/office/drawing/2014/main" id="{90645D3D-AA01-F048-1DDB-E3B08310260F}"/>
                      </a:ext>
                    </a:extLst>
                  </p:cNvPr>
                  <p:cNvSpPr/>
                  <p:nvPr/>
                </p:nvSpPr>
                <p:spPr>
                  <a:xfrm>
                    <a:off x="4730971"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6" name="Freeform: Shape 1935">
                    <a:extLst>
                      <a:ext uri="{FF2B5EF4-FFF2-40B4-BE49-F238E27FC236}">
                        <a16:creationId xmlns:a16="http://schemas.microsoft.com/office/drawing/2014/main" id="{6BAC4998-76D7-0501-86BA-6ABD3BF7B433}"/>
                      </a:ext>
                    </a:extLst>
                  </p:cNvPr>
                  <p:cNvSpPr/>
                  <p:nvPr/>
                </p:nvSpPr>
                <p:spPr>
                  <a:xfrm>
                    <a:off x="4693157"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0" name="Graphic 16">
                  <a:extLst>
                    <a:ext uri="{FF2B5EF4-FFF2-40B4-BE49-F238E27FC236}">
                      <a16:creationId xmlns:a16="http://schemas.microsoft.com/office/drawing/2014/main" id="{938766F6-06CB-3E31-D1D9-C3FCB18C4214}"/>
                    </a:ext>
                  </a:extLst>
                </p:cNvPr>
                <p:cNvGrpSpPr/>
                <p:nvPr/>
              </p:nvGrpSpPr>
              <p:grpSpPr>
                <a:xfrm>
                  <a:off x="4710302" y="3111340"/>
                  <a:ext cx="75723" cy="75723"/>
                  <a:chOff x="4710302" y="3111340"/>
                  <a:chExt cx="75723" cy="75723"/>
                </a:xfrm>
              </p:grpSpPr>
              <p:sp>
                <p:nvSpPr>
                  <p:cNvPr id="1933" name="Freeform: Shape 1932">
                    <a:extLst>
                      <a:ext uri="{FF2B5EF4-FFF2-40B4-BE49-F238E27FC236}">
                        <a16:creationId xmlns:a16="http://schemas.microsoft.com/office/drawing/2014/main" id="{9724EC48-8DC6-64EE-D2C3-6A3CF53C11FF}"/>
                      </a:ext>
                    </a:extLst>
                  </p:cNvPr>
                  <p:cNvSpPr/>
                  <p:nvPr/>
                </p:nvSpPr>
                <p:spPr>
                  <a:xfrm>
                    <a:off x="474811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4" name="Freeform: Shape 1933">
                    <a:extLst>
                      <a:ext uri="{FF2B5EF4-FFF2-40B4-BE49-F238E27FC236}">
                        <a16:creationId xmlns:a16="http://schemas.microsoft.com/office/drawing/2014/main" id="{70DA3C4C-9D2C-D2F5-4AD9-E49EEF95A04F}"/>
                      </a:ext>
                    </a:extLst>
                  </p:cNvPr>
                  <p:cNvSpPr/>
                  <p:nvPr/>
                </p:nvSpPr>
                <p:spPr>
                  <a:xfrm>
                    <a:off x="4710302"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1" name="Graphic 16">
                  <a:extLst>
                    <a:ext uri="{FF2B5EF4-FFF2-40B4-BE49-F238E27FC236}">
                      <a16:creationId xmlns:a16="http://schemas.microsoft.com/office/drawing/2014/main" id="{C3DF8767-71F7-053D-0D1C-2594F2C47719}"/>
                    </a:ext>
                  </a:extLst>
                </p:cNvPr>
                <p:cNvGrpSpPr/>
                <p:nvPr/>
              </p:nvGrpSpPr>
              <p:grpSpPr>
                <a:xfrm>
                  <a:off x="4727542" y="3111340"/>
                  <a:ext cx="75628" cy="75723"/>
                  <a:chOff x="4727542" y="3111340"/>
                  <a:chExt cx="75628" cy="75723"/>
                </a:xfrm>
              </p:grpSpPr>
              <p:sp>
                <p:nvSpPr>
                  <p:cNvPr id="1931" name="Freeform: Shape 1930">
                    <a:extLst>
                      <a:ext uri="{FF2B5EF4-FFF2-40B4-BE49-F238E27FC236}">
                        <a16:creationId xmlns:a16="http://schemas.microsoft.com/office/drawing/2014/main" id="{CDB5CB01-06C1-1AE6-2BBF-890E32DEB317}"/>
                      </a:ext>
                    </a:extLst>
                  </p:cNvPr>
                  <p:cNvSpPr/>
                  <p:nvPr/>
                </p:nvSpPr>
                <p:spPr>
                  <a:xfrm>
                    <a:off x="4765357"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2" name="Freeform: Shape 1931">
                    <a:extLst>
                      <a:ext uri="{FF2B5EF4-FFF2-40B4-BE49-F238E27FC236}">
                        <a16:creationId xmlns:a16="http://schemas.microsoft.com/office/drawing/2014/main" id="{42D60276-2A67-17E2-A090-19A6E3D9F139}"/>
                      </a:ext>
                    </a:extLst>
                  </p:cNvPr>
                  <p:cNvSpPr/>
                  <p:nvPr/>
                </p:nvSpPr>
                <p:spPr>
                  <a:xfrm>
                    <a:off x="4727542"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2" name="Graphic 16">
                  <a:extLst>
                    <a:ext uri="{FF2B5EF4-FFF2-40B4-BE49-F238E27FC236}">
                      <a16:creationId xmlns:a16="http://schemas.microsoft.com/office/drawing/2014/main" id="{5A233A79-33EB-3BD1-8258-8F2162004F85}"/>
                    </a:ext>
                  </a:extLst>
                </p:cNvPr>
                <p:cNvGrpSpPr/>
                <p:nvPr/>
              </p:nvGrpSpPr>
              <p:grpSpPr>
                <a:xfrm>
                  <a:off x="4754974" y="3128104"/>
                  <a:ext cx="75628" cy="75723"/>
                  <a:chOff x="4754974" y="3128104"/>
                  <a:chExt cx="75628" cy="75723"/>
                </a:xfrm>
              </p:grpSpPr>
              <p:sp>
                <p:nvSpPr>
                  <p:cNvPr id="1929" name="Freeform: Shape 1928">
                    <a:extLst>
                      <a:ext uri="{FF2B5EF4-FFF2-40B4-BE49-F238E27FC236}">
                        <a16:creationId xmlns:a16="http://schemas.microsoft.com/office/drawing/2014/main" id="{F91F678C-8D0C-A89C-C9B5-15990D5D2963}"/>
                      </a:ext>
                    </a:extLst>
                  </p:cNvPr>
                  <p:cNvSpPr/>
                  <p:nvPr/>
                </p:nvSpPr>
                <p:spPr>
                  <a:xfrm>
                    <a:off x="4792789"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30" name="Freeform: Shape 1929">
                    <a:extLst>
                      <a:ext uri="{FF2B5EF4-FFF2-40B4-BE49-F238E27FC236}">
                        <a16:creationId xmlns:a16="http://schemas.microsoft.com/office/drawing/2014/main" id="{C15987D0-694E-6D5E-A8B0-F0519B2830B9}"/>
                      </a:ext>
                    </a:extLst>
                  </p:cNvPr>
                  <p:cNvSpPr/>
                  <p:nvPr/>
                </p:nvSpPr>
                <p:spPr>
                  <a:xfrm>
                    <a:off x="4754974"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3" name="Graphic 16">
                  <a:extLst>
                    <a:ext uri="{FF2B5EF4-FFF2-40B4-BE49-F238E27FC236}">
                      <a16:creationId xmlns:a16="http://schemas.microsoft.com/office/drawing/2014/main" id="{6530AE7E-73A0-92D6-5045-3B5D32DDE62C}"/>
                    </a:ext>
                  </a:extLst>
                </p:cNvPr>
                <p:cNvGrpSpPr/>
                <p:nvPr/>
              </p:nvGrpSpPr>
              <p:grpSpPr>
                <a:xfrm>
                  <a:off x="4773834" y="3128104"/>
                  <a:ext cx="75723" cy="75723"/>
                  <a:chOff x="4773834" y="3128104"/>
                  <a:chExt cx="75723" cy="75723"/>
                </a:xfrm>
              </p:grpSpPr>
              <p:sp>
                <p:nvSpPr>
                  <p:cNvPr id="1927" name="Freeform: Shape 1926">
                    <a:extLst>
                      <a:ext uri="{FF2B5EF4-FFF2-40B4-BE49-F238E27FC236}">
                        <a16:creationId xmlns:a16="http://schemas.microsoft.com/office/drawing/2014/main" id="{8F143969-1377-B036-3183-EFF2AAF8D65E}"/>
                      </a:ext>
                    </a:extLst>
                  </p:cNvPr>
                  <p:cNvSpPr/>
                  <p:nvPr/>
                </p:nvSpPr>
                <p:spPr>
                  <a:xfrm>
                    <a:off x="481174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8" name="Freeform: Shape 1927">
                    <a:extLst>
                      <a:ext uri="{FF2B5EF4-FFF2-40B4-BE49-F238E27FC236}">
                        <a16:creationId xmlns:a16="http://schemas.microsoft.com/office/drawing/2014/main" id="{7E5AE69C-AF76-B185-71F3-0A93E891DD9E}"/>
                      </a:ext>
                    </a:extLst>
                  </p:cNvPr>
                  <p:cNvSpPr/>
                  <p:nvPr/>
                </p:nvSpPr>
                <p:spPr>
                  <a:xfrm>
                    <a:off x="4773834"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4" name="Graphic 16">
                  <a:extLst>
                    <a:ext uri="{FF2B5EF4-FFF2-40B4-BE49-F238E27FC236}">
                      <a16:creationId xmlns:a16="http://schemas.microsoft.com/office/drawing/2014/main" id="{D8275C12-7B8B-3EEB-26F4-58EE45817E5E}"/>
                    </a:ext>
                  </a:extLst>
                </p:cNvPr>
                <p:cNvGrpSpPr/>
                <p:nvPr/>
              </p:nvGrpSpPr>
              <p:grpSpPr>
                <a:xfrm>
                  <a:off x="4792789" y="3128104"/>
                  <a:ext cx="75723" cy="75723"/>
                  <a:chOff x="4792789" y="3128104"/>
                  <a:chExt cx="75723" cy="75723"/>
                </a:xfrm>
              </p:grpSpPr>
              <p:sp>
                <p:nvSpPr>
                  <p:cNvPr id="1925" name="Freeform: Shape 1924">
                    <a:extLst>
                      <a:ext uri="{FF2B5EF4-FFF2-40B4-BE49-F238E27FC236}">
                        <a16:creationId xmlns:a16="http://schemas.microsoft.com/office/drawing/2014/main" id="{59449076-A059-0246-86B5-85BB9A765963}"/>
                      </a:ext>
                    </a:extLst>
                  </p:cNvPr>
                  <p:cNvSpPr/>
                  <p:nvPr/>
                </p:nvSpPr>
                <p:spPr>
                  <a:xfrm>
                    <a:off x="483060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6" name="Freeform: Shape 1925">
                    <a:extLst>
                      <a:ext uri="{FF2B5EF4-FFF2-40B4-BE49-F238E27FC236}">
                        <a16:creationId xmlns:a16="http://schemas.microsoft.com/office/drawing/2014/main" id="{E7F8CB7E-F79D-37A9-D66E-D4B04F6D7988}"/>
                      </a:ext>
                    </a:extLst>
                  </p:cNvPr>
                  <p:cNvSpPr/>
                  <p:nvPr/>
                </p:nvSpPr>
                <p:spPr>
                  <a:xfrm>
                    <a:off x="4792789"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5" name="Graphic 16">
                  <a:extLst>
                    <a:ext uri="{FF2B5EF4-FFF2-40B4-BE49-F238E27FC236}">
                      <a16:creationId xmlns:a16="http://schemas.microsoft.com/office/drawing/2014/main" id="{8042626D-45B4-6E0A-D4A5-94F98053F270}"/>
                    </a:ext>
                  </a:extLst>
                </p:cNvPr>
                <p:cNvGrpSpPr/>
                <p:nvPr/>
              </p:nvGrpSpPr>
              <p:grpSpPr>
                <a:xfrm>
                  <a:off x="4813458" y="3141154"/>
                  <a:ext cx="75723" cy="75723"/>
                  <a:chOff x="4813458" y="3141154"/>
                  <a:chExt cx="75723" cy="75723"/>
                </a:xfrm>
              </p:grpSpPr>
              <p:sp>
                <p:nvSpPr>
                  <p:cNvPr id="1923" name="Freeform: Shape 1922">
                    <a:extLst>
                      <a:ext uri="{FF2B5EF4-FFF2-40B4-BE49-F238E27FC236}">
                        <a16:creationId xmlns:a16="http://schemas.microsoft.com/office/drawing/2014/main" id="{860C4DFC-1886-33B6-B8A7-98B31E66DC40}"/>
                      </a:ext>
                    </a:extLst>
                  </p:cNvPr>
                  <p:cNvSpPr/>
                  <p:nvPr/>
                </p:nvSpPr>
                <p:spPr>
                  <a:xfrm>
                    <a:off x="4851272"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4" name="Freeform: Shape 1923">
                    <a:extLst>
                      <a:ext uri="{FF2B5EF4-FFF2-40B4-BE49-F238E27FC236}">
                        <a16:creationId xmlns:a16="http://schemas.microsoft.com/office/drawing/2014/main" id="{0E5F695E-BABF-2BA5-E8DC-AB67E76ED62C}"/>
                      </a:ext>
                    </a:extLst>
                  </p:cNvPr>
                  <p:cNvSpPr/>
                  <p:nvPr/>
                </p:nvSpPr>
                <p:spPr>
                  <a:xfrm>
                    <a:off x="4813458"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6" name="Graphic 16">
                  <a:extLst>
                    <a:ext uri="{FF2B5EF4-FFF2-40B4-BE49-F238E27FC236}">
                      <a16:creationId xmlns:a16="http://schemas.microsoft.com/office/drawing/2014/main" id="{64FA9F08-4983-D310-12B1-73E9C9E9A066}"/>
                    </a:ext>
                  </a:extLst>
                </p:cNvPr>
                <p:cNvGrpSpPr/>
                <p:nvPr/>
              </p:nvGrpSpPr>
              <p:grpSpPr>
                <a:xfrm>
                  <a:off x="4832413" y="3141154"/>
                  <a:ext cx="75628" cy="75723"/>
                  <a:chOff x="4832413" y="3141154"/>
                  <a:chExt cx="75628" cy="75723"/>
                </a:xfrm>
              </p:grpSpPr>
              <p:sp>
                <p:nvSpPr>
                  <p:cNvPr id="1921" name="Freeform: Shape 1920">
                    <a:extLst>
                      <a:ext uri="{FF2B5EF4-FFF2-40B4-BE49-F238E27FC236}">
                        <a16:creationId xmlns:a16="http://schemas.microsoft.com/office/drawing/2014/main" id="{EE2BFAAD-E0DE-39AE-ECD2-C7F7D577D9F6}"/>
                      </a:ext>
                    </a:extLst>
                  </p:cNvPr>
                  <p:cNvSpPr/>
                  <p:nvPr/>
                </p:nvSpPr>
                <p:spPr>
                  <a:xfrm>
                    <a:off x="4870227"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2" name="Freeform: Shape 1921">
                    <a:extLst>
                      <a:ext uri="{FF2B5EF4-FFF2-40B4-BE49-F238E27FC236}">
                        <a16:creationId xmlns:a16="http://schemas.microsoft.com/office/drawing/2014/main" id="{04C95DE5-3406-3E78-0BDE-54915E67C5F9}"/>
                      </a:ext>
                    </a:extLst>
                  </p:cNvPr>
                  <p:cNvSpPr/>
                  <p:nvPr/>
                </p:nvSpPr>
                <p:spPr>
                  <a:xfrm>
                    <a:off x="4832413" y="317906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7" name="Graphic 16">
                  <a:extLst>
                    <a:ext uri="{FF2B5EF4-FFF2-40B4-BE49-F238E27FC236}">
                      <a16:creationId xmlns:a16="http://schemas.microsoft.com/office/drawing/2014/main" id="{E9217614-8F5E-668E-DD9D-AA9F69FEAC02}"/>
                    </a:ext>
                  </a:extLst>
                </p:cNvPr>
                <p:cNvGrpSpPr/>
                <p:nvPr/>
              </p:nvGrpSpPr>
              <p:grpSpPr>
                <a:xfrm>
                  <a:off x="4851272" y="3152393"/>
                  <a:ext cx="75723" cy="75723"/>
                  <a:chOff x="4851272" y="3152393"/>
                  <a:chExt cx="75723" cy="75723"/>
                </a:xfrm>
              </p:grpSpPr>
              <p:sp>
                <p:nvSpPr>
                  <p:cNvPr id="1919" name="Freeform: Shape 1918">
                    <a:extLst>
                      <a:ext uri="{FF2B5EF4-FFF2-40B4-BE49-F238E27FC236}">
                        <a16:creationId xmlns:a16="http://schemas.microsoft.com/office/drawing/2014/main" id="{1ACC9297-A3A9-000C-78B7-785AB908B46E}"/>
                      </a:ext>
                    </a:extLst>
                  </p:cNvPr>
                  <p:cNvSpPr/>
                  <p:nvPr/>
                </p:nvSpPr>
                <p:spPr>
                  <a:xfrm>
                    <a:off x="4889182"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20" name="Freeform: Shape 1919">
                    <a:extLst>
                      <a:ext uri="{FF2B5EF4-FFF2-40B4-BE49-F238E27FC236}">
                        <a16:creationId xmlns:a16="http://schemas.microsoft.com/office/drawing/2014/main" id="{4EBCB858-85E8-E02D-D8A6-84048F027F3F}"/>
                      </a:ext>
                    </a:extLst>
                  </p:cNvPr>
                  <p:cNvSpPr/>
                  <p:nvPr/>
                </p:nvSpPr>
                <p:spPr>
                  <a:xfrm>
                    <a:off x="4851272"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8" name="Graphic 16">
                  <a:extLst>
                    <a:ext uri="{FF2B5EF4-FFF2-40B4-BE49-F238E27FC236}">
                      <a16:creationId xmlns:a16="http://schemas.microsoft.com/office/drawing/2014/main" id="{17DD73F5-3582-4823-BC4E-B9F1B0DE8009}"/>
                    </a:ext>
                  </a:extLst>
                </p:cNvPr>
                <p:cNvGrpSpPr/>
                <p:nvPr/>
              </p:nvGrpSpPr>
              <p:grpSpPr>
                <a:xfrm>
                  <a:off x="4870227" y="3159346"/>
                  <a:ext cx="75723" cy="75628"/>
                  <a:chOff x="4870227" y="3159346"/>
                  <a:chExt cx="75723" cy="75628"/>
                </a:xfrm>
              </p:grpSpPr>
              <p:sp>
                <p:nvSpPr>
                  <p:cNvPr id="1917" name="Freeform: Shape 1916">
                    <a:extLst>
                      <a:ext uri="{FF2B5EF4-FFF2-40B4-BE49-F238E27FC236}">
                        <a16:creationId xmlns:a16="http://schemas.microsoft.com/office/drawing/2014/main" id="{7C884A8F-7AC6-B3FD-1303-DA803D5F6BA5}"/>
                      </a:ext>
                    </a:extLst>
                  </p:cNvPr>
                  <p:cNvSpPr/>
                  <p:nvPr/>
                </p:nvSpPr>
                <p:spPr>
                  <a:xfrm>
                    <a:off x="4908041" y="315934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18" name="Freeform: Shape 1917">
                    <a:extLst>
                      <a:ext uri="{FF2B5EF4-FFF2-40B4-BE49-F238E27FC236}">
                        <a16:creationId xmlns:a16="http://schemas.microsoft.com/office/drawing/2014/main" id="{D3D1949D-FB60-4F6A-7E7C-16701F272DFA}"/>
                      </a:ext>
                    </a:extLst>
                  </p:cNvPr>
                  <p:cNvSpPr/>
                  <p:nvPr/>
                </p:nvSpPr>
                <p:spPr>
                  <a:xfrm>
                    <a:off x="4870227" y="3197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89" name="Graphic 16">
                  <a:extLst>
                    <a:ext uri="{FF2B5EF4-FFF2-40B4-BE49-F238E27FC236}">
                      <a16:creationId xmlns:a16="http://schemas.microsoft.com/office/drawing/2014/main" id="{B84BE967-E251-4118-CA7D-C1116E233F1A}"/>
                    </a:ext>
                  </a:extLst>
                </p:cNvPr>
                <p:cNvGrpSpPr/>
                <p:nvPr/>
              </p:nvGrpSpPr>
              <p:grpSpPr>
                <a:xfrm>
                  <a:off x="4889182" y="3177539"/>
                  <a:ext cx="75628" cy="75723"/>
                  <a:chOff x="4889182" y="3177539"/>
                  <a:chExt cx="75628" cy="75723"/>
                </a:xfrm>
              </p:grpSpPr>
              <p:sp>
                <p:nvSpPr>
                  <p:cNvPr id="1915" name="Freeform: Shape 1914">
                    <a:extLst>
                      <a:ext uri="{FF2B5EF4-FFF2-40B4-BE49-F238E27FC236}">
                        <a16:creationId xmlns:a16="http://schemas.microsoft.com/office/drawing/2014/main" id="{0F0EDC64-563F-5C0A-B2EF-0D11A78F21BF}"/>
                      </a:ext>
                    </a:extLst>
                  </p:cNvPr>
                  <p:cNvSpPr/>
                  <p:nvPr/>
                </p:nvSpPr>
                <p:spPr>
                  <a:xfrm>
                    <a:off x="4926996" y="31775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16" name="Freeform: Shape 1915">
                    <a:extLst>
                      <a:ext uri="{FF2B5EF4-FFF2-40B4-BE49-F238E27FC236}">
                        <a16:creationId xmlns:a16="http://schemas.microsoft.com/office/drawing/2014/main" id="{CF006EF1-C11D-6E25-F6A9-3A9D583EC632}"/>
                      </a:ext>
                    </a:extLst>
                  </p:cNvPr>
                  <p:cNvSpPr/>
                  <p:nvPr/>
                </p:nvSpPr>
                <p:spPr>
                  <a:xfrm>
                    <a:off x="4889182" y="32154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0" name="Graphic 16">
                  <a:extLst>
                    <a:ext uri="{FF2B5EF4-FFF2-40B4-BE49-F238E27FC236}">
                      <a16:creationId xmlns:a16="http://schemas.microsoft.com/office/drawing/2014/main" id="{687A55B6-3F81-014C-519D-9748C03F3CF2}"/>
                    </a:ext>
                  </a:extLst>
                </p:cNvPr>
                <p:cNvGrpSpPr/>
                <p:nvPr/>
              </p:nvGrpSpPr>
              <p:grpSpPr>
                <a:xfrm>
                  <a:off x="4908041" y="3181730"/>
                  <a:ext cx="75723" cy="75723"/>
                  <a:chOff x="4908041" y="3181730"/>
                  <a:chExt cx="75723" cy="75723"/>
                </a:xfrm>
              </p:grpSpPr>
              <p:sp>
                <p:nvSpPr>
                  <p:cNvPr id="1913" name="Freeform: Shape 1912">
                    <a:extLst>
                      <a:ext uri="{FF2B5EF4-FFF2-40B4-BE49-F238E27FC236}">
                        <a16:creationId xmlns:a16="http://schemas.microsoft.com/office/drawing/2014/main" id="{85D8C820-7406-EF99-3E20-56B164F8BA42}"/>
                      </a:ext>
                    </a:extLst>
                  </p:cNvPr>
                  <p:cNvSpPr/>
                  <p:nvPr/>
                </p:nvSpPr>
                <p:spPr>
                  <a:xfrm>
                    <a:off x="4945951"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14" name="Freeform: Shape 1913">
                    <a:extLst>
                      <a:ext uri="{FF2B5EF4-FFF2-40B4-BE49-F238E27FC236}">
                        <a16:creationId xmlns:a16="http://schemas.microsoft.com/office/drawing/2014/main" id="{8BEFCF55-366B-6F56-8365-19BF688CDC38}"/>
                      </a:ext>
                    </a:extLst>
                  </p:cNvPr>
                  <p:cNvSpPr/>
                  <p:nvPr/>
                </p:nvSpPr>
                <p:spPr>
                  <a:xfrm>
                    <a:off x="4908041" y="3219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1" name="Graphic 16">
                  <a:extLst>
                    <a:ext uri="{FF2B5EF4-FFF2-40B4-BE49-F238E27FC236}">
                      <a16:creationId xmlns:a16="http://schemas.microsoft.com/office/drawing/2014/main" id="{BC7CAED6-B457-88A5-1DB6-1E55EE8218A7}"/>
                    </a:ext>
                  </a:extLst>
                </p:cNvPr>
                <p:cNvGrpSpPr/>
                <p:nvPr/>
              </p:nvGrpSpPr>
              <p:grpSpPr>
                <a:xfrm>
                  <a:off x="4926996" y="3185921"/>
                  <a:ext cx="75723" cy="75723"/>
                  <a:chOff x="4926996" y="3185921"/>
                  <a:chExt cx="75723" cy="75723"/>
                </a:xfrm>
              </p:grpSpPr>
              <p:sp>
                <p:nvSpPr>
                  <p:cNvPr id="1911" name="Freeform: Shape 1910">
                    <a:extLst>
                      <a:ext uri="{FF2B5EF4-FFF2-40B4-BE49-F238E27FC236}">
                        <a16:creationId xmlns:a16="http://schemas.microsoft.com/office/drawing/2014/main" id="{F3D2B8D2-1A1F-7ABB-75DE-60E1556681E0}"/>
                      </a:ext>
                    </a:extLst>
                  </p:cNvPr>
                  <p:cNvSpPr/>
                  <p:nvPr/>
                </p:nvSpPr>
                <p:spPr>
                  <a:xfrm>
                    <a:off x="4964810"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12" name="Freeform: Shape 1911">
                    <a:extLst>
                      <a:ext uri="{FF2B5EF4-FFF2-40B4-BE49-F238E27FC236}">
                        <a16:creationId xmlns:a16="http://schemas.microsoft.com/office/drawing/2014/main" id="{0902793B-F1BB-360F-6172-F0417700525E}"/>
                      </a:ext>
                    </a:extLst>
                  </p:cNvPr>
                  <p:cNvSpPr/>
                  <p:nvPr/>
                </p:nvSpPr>
                <p:spPr>
                  <a:xfrm>
                    <a:off x="4926996"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2" name="Graphic 16">
                  <a:extLst>
                    <a:ext uri="{FF2B5EF4-FFF2-40B4-BE49-F238E27FC236}">
                      <a16:creationId xmlns:a16="http://schemas.microsoft.com/office/drawing/2014/main" id="{B62C38C3-A701-C7FD-9AA7-63CB68B051DB}"/>
                    </a:ext>
                  </a:extLst>
                </p:cNvPr>
                <p:cNvGrpSpPr/>
                <p:nvPr/>
              </p:nvGrpSpPr>
              <p:grpSpPr>
                <a:xfrm>
                  <a:off x="4945951" y="3185921"/>
                  <a:ext cx="75628" cy="75723"/>
                  <a:chOff x="4945951" y="3185921"/>
                  <a:chExt cx="75628" cy="75723"/>
                </a:xfrm>
              </p:grpSpPr>
              <p:sp>
                <p:nvSpPr>
                  <p:cNvPr id="1909" name="Freeform: Shape 1908">
                    <a:extLst>
                      <a:ext uri="{FF2B5EF4-FFF2-40B4-BE49-F238E27FC236}">
                        <a16:creationId xmlns:a16="http://schemas.microsoft.com/office/drawing/2014/main" id="{39CAF9F4-EC8B-76AA-0674-9F97E9EDBC1A}"/>
                      </a:ext>
                    </a:extLst>
                  </p:cNvPr>
                  <p:cNvSpPr/>
                  <p:nvPr/>
                </p:nvSpPr>
                <p:spPr>
                  <a:xfrm>
                    <a:off x="4983765"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10" name="Freeform: Shape 1909">
                    <a:extLst>
                      <a:ext uri="{FF2B5EF4-FFF2-40B4-BE49-F238E27FC236}">
                        <a16:creationId xmlns:a16="http://schemas.microsoft.com/office/drawing/2014/main" id="{35E9A160-B755-045E-D041-04EBDFEA9ECA}"/>
                      </a:ext>
                    </a:extLst>
                  </p:cNvPr>
                  <p:cNvSpPr/>
                  <p:nvPr/>
                </p:nvSpPr>
                <p:spPr>
                  <a:xfrm>
                    <a:off x="4945951" y="322383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3" name="Graphic 16">
                  <a:extLst>
                    <a:ext uri="{FF2B5EF4-FFF2-40B4-BE49-F238E27FC236}">
                      <a16:creationId xmlns:a16="http://schemas.microsoft.com/office/drawing/2014/main" id="{9B29DAE1-A636-486C-80D6-D1A781A45523}"/>
                    </a:ext>
                  </a:extLst>
                </p:cNvPr>
                <p:cNvGrpSpPr/>
                <p:nvPr/>
              </p:nvGrpSpPr>
              <p:grpSpPr>
                <a:xfrm>
                  <a:off x="4965667" y="3195351"/>
                  <a:ext cx="75723" cy="75723"/>
                  <a:chOff x="4965667" y="3195351"/>
                  <a:chExt cx="75723" cy="75723"/>
                </a:xfrm>
              </p:grpSpPr>
              <p:sp>
                <p:nvSpPr>
                  <p:cNvPr id="1907" name="Freeform: Shape 1906">
                    <a:extLst>
                      <a:ext uri="{FF2B5EF4-FFF2-40B4-BE49-F238E27FC236}">
                        <a16:creationId xmlns:a16="http://schemas.microsoft.com/office/drawing/2014/main" id="{701CAFAF-C49E-2F38-25C8-2CA35CA161FF}"/>
                      </a:ext>
                    </a:extLst>
                  </p:cNvPr>
                  <p:cNvSpPr/>
                  <p:nvPr/>
                </p:nvSpPr>
                <p:spPr>
                  <a:xfrm>
                    <a:off x="5003482"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08" name="Freeform: Shape 1907">
                    <a:extLst>
                      <a:ext uri="{FF2B5EF4-FFF2-40B4-BE49-F238E27FC236}">
                        <a16:creationId xmlns:a16="http://schemas.microsoft.com/office/drawing/2014/main" id="{B5FEAA43-F1E0-38EF-026C-C89B3A7E1002}"/>
                      </a:ext>
                    </a:extLst>
                  </p:cNvPr>
                  <p:cNvSpPr/>
                  <p:nvPr/>
                </p:nvSpPr>
                <p:spPr>
                  <a:xfrm>
                    <a:off x="4965667"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4" name="Graphic 16">
                  <a:extLst>
                    <a:ext uri="{FF2B5EF4-FFF2-40B4-BE49-F238E27FC236}">
                      <a16:creationId xmlns:a16="http://schemas.microsoft.com/office/drawing/2014/main" id="{5371086E-7F7F-1AA2-F10D-57B42495599A}"/>
                    </a:ext>
                  </a:extLst>
                </p:cNvPr>
                <p:cNvGrpSpPr/>
                <p:nvPr/>
              </p:nvGrpSpPr>
              <p:grpSpPr>
                <a:xfrm>
                  <a:off x="4984622" y="3200685"/>
                  <a:ext cx="75628" cy="75723"/>
                  <a:chOff x="4984622" y="3200685"/>
                  <a:chExt cx="75628" cy="75723"/>
                </a:xfrm>
              </p:grpSpPr>
              <p:sp>
                <p:nvSpPr>
                  <p:cNvPr id="1905" name="Freeform: Shape 1904">
                    <a:extLst>
                      <a:ext uri="{FF2B5EF4-FFF2-40B4-BE49-F238E27FC236}">
                        <a16:creationId xmlns:a16="http://schemas.microsoft.com/office/drawing/2014/main" id="{7C707AAE-4B96-F8CE-33DF-66B8A314E731}"/>
                      </a:ext>
                    </a:extLst>
                  </p:cNvPr>
                  <p:cNvSpPr/>
                  <p:nvPr/>
                </p:nvSpPr>
                <p:spPr>
                  <a:xfrm>
                    <a:off x="5022436"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06" name="Freeform: Shape 1905">
                    <a:extLst>
                      <a:ext uri="{FF2B5EF4-FFF2-40B4-BE49-F238E27FC236}">
                        <a16:creationId xmlns:a16="http://schemas.microsoft.com/office/drawing/2014/main" id="{57FE6736-ADD8-95A6-D381-F77623B917AF}"/>
                      </a:ext>
                    </a:extLst>
                  </p:cNvPr>
                  <p:cNvSpPr/>
                  <p:nvPr/>
                </p:nvSpPr>
                <p:spPr>
                  <a:xfrm>
                    <a:off x="4984622" y="32385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5" name="Graphic 16">
                  <a:extLst>
                    <a:ext uri="{FF2B5EF4-FFF2-40B4-BE49-F238E27FC236}">
                      <a16:creationId xmlns:a16="http://schemas.microsoft.com/office/drawing/2014/main" id="{9B0D4CF7-4318-55F5-B01D-374EA8881F0D}"/>
                    </a:ext>
                  </a:extLst>
                </p:cNvPr>
                <p:cNvGrpSpPr/>
                <p:nvPr/>
              </p:nvGrpSpPr>
              <p:grpSpPr>
                <a:xfrm>
                  <a:off x="4998338" y="3200685"/>
                  <a:ext cx="75723" cy="75723"/>
                  <a:chOff x="4998338" y="3200685"/>
                  <a:chExt cx="75723" cy="75723"/>
                </a:xfrm>
              </p:grpSpPr>
              <p:sp>
                <p:nvSpPr>
                  <p:cNvPr id="1903" name="Freeform: Shape 1902">
                    <a:extLst>
                      <a:ext uri="{FF2B5EF4-FFF2-40B4-BE49-F238E27FC236}">
                        <a16:creationId xmlns:a16="http://schemas.microsoft.com/office/drawing/2014/main" id="{5B62D712-C3F9-2F92-1C8A-CC3A8187926D}"/>
                      </a:ext>
                    </a:extLst>
                  </p:cNvPr>
                  <p:cNvSpPr/>
                  <p:nvPr/>
                </p:nvSpPr>
                <p:spPr>
                  <a:xfrm>
                    <a:off x="5036248"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04" name="Freeform: Shape 1903">
                    <a:extLst>
                      <a:ext uri="{FF2B5EF4-FFF2-40B4-BE49-F238E27FC236}">
                        <a16:creationId xmlns:a16="http://schemas.microsoft.com/office/drawing/2014/main" id="{4434DA41-E30A-5A3D-100A-2DE647E602D4}"/>
                      </a:ext>
                    </a:extLst>
                  </p:cNvPr>
                  <p:cNvSpPr/>
                  <p:nvPr/>
                </p:nvSpPr>
                <p:spPr>
                  <a:xfrm>
                    <a:off x="4998338"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6" name="Graphic 16">
                  <a:extLst>
                    <a:ext uri="{FF2B5EF4-FFF2-40B4-BE49-F238E27FC236}">
                      <a16:creationId xmlns:a16="http://schemas.microsoft.com/office/drawing/2014/main" id="{B108EE20-9D6B-C707-412D-FEDE55B330DF}"/>
                    </a:ext>
                  </a:extLst>
                </p:cNvPr>
                <p:cNvGrpSpPr/>
                <p:nvPr/>
              </p:nvGrpSpPr>
              <p:grpSpPr>
                <a:xfrm>
                  <a:off x="5016531" y="3213163"/>
                  <a:ext cx="75628" cy="75723"/>
                  <a:chOff x="5016531" y="3213163"/>
                  <a:chExt cx="75628" cy="75723"/>
                </a:xfrm>
              </p:grpSpPr>
              <p:sp>
                <p:nvSpPr>
                  <p:cNvPr id="1901" name="Freeform: Shape 1900">
                    <a:extLst>
                      <a:ext uri="{FF2B5EF4-FFF2-40B4-BE49-F238E27FC236}">
                        <a16:creationId xmlns:a16="http://schemas.microsoft.com/office/drawing/2014/main" id="{E68C61E9-EA81-6DCF-171E-72A83E668582}"/>
                      </a:ext>
                    </a:extLst>
                  </p:cNvPr>
                  <p:cNvSpPr/>
                  <p:nvPr/>
                </p:nvSpPr>
                <p:spPr>
                  <a:xfrm>
                    <a:off x="5054345" y="32131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02" name="Freeform: Shape 1901">
                    <a:extLst>
                      <a:ext uri="{FF2B5EF4-FFF2-40B4-BE49-F238E27FC236}">
                        <a16:creationId xmlns:a16="http://schemas.microsoft.com/office/drawing/2014/main" id="{E1223417-31AB-63AC-0151-627401471047}"/>
                      </a:ext>
                    </a:extLst>
                  </p:cNvPr>
                  <p:cNvSpPr/>
                  <p:nvPr/>
                </p:nvSpPr>
                <p:spPr>
                  <a:xfrm>
                    <a:off x="5016531" y="325097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7" name="Graphic 16">
                  <a:extLst>
                    <a:ext uri="{FF2B5EF4-FFF2-40B4-BE49-F238E27FC236}">
                      <a16:creationId xmlns:a16="http://schemas.microsoft.com/office/drawing/2014/main" id="{BCFFD06A-4F48-B948-799E-DF53731A9122}"/>
                    </a:ext>
                  </a:extLst>
                </p:cNvPr>
                <p:cNvGrpSpPr/>
                <p:nvPr/>
              </p:nvGrpSpPr>
              <p:grpSpPr>
                <a:xfrm>
                  <a:off x="5033962" y="3244976"/>
                  <a:ext cx="75723" cy="75723"/>
                  <a:chOff x="5033962" y="3244976"/>
                  <a:chExt cx="75723" cy="75723"/>
                </a:xfrm>
              </p:grpSpPr>
              <p:sp>
                <p:nvSpPr>
                  <p:cNvPr id="1899" name="Freeform: Shape 1898">
                    <a:extLst>
                      <a:ext uri="{FF2B5EF4-FFF2-40B4-BE49-F238E27FC236}">
                        <a16:creationId xmlns:a16="http://schemas.microsoft.com/office/drawing/2014/main" id="{56F83D25-A267-1453-72AC-7C776EFFD46E}"/>
                      </a:ext>
                    </a:extLst>
                  </p:cNvPr>
                  <p:cNvSpPr/>
                  <p:nvPr/>
                </p:nvSpPr>
                <p:spPr>
                  <a:xfrm>
                    <a:off x="5071776" y="32449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00" name="Freeform: Shape 1899">
                    <a:extLst>
                      <a:ext uri="{FF2B5EF4-FFF2-40B4-BE49-F238E27FC236}">
                        <a16:creationId xmlns:a16="http://schemas.microsoft.com/office/drawing/2014/main" id="{4B6DA63A-5474-F1E7-89EC-2F7E2B3CA7C1}"/>
                      </a:ext>
                    </a:extLst>
                  </p:cNvPr>
                  <p:cNvSpPr/>
                  <p:nvPr/>
                </p:nvSpPr>
                <p:spPr>
                  <a:xfrm>
                    <a:off x="5033962" y="3282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8" name="Graphic 16">
                  <a:extLst>
                    <a:ext uri="{FF2B5EF4-FFF2-40B4-BE49-F238E27FC236}">
                      <a16:creationId xmlns:a16="http://schemas.microsoft.com/office/drawing/2014/main" id="{B63D1B75-5B69-59A7-853A-5E32966A85E5}"/>
                    </a:ext>
                  </a:extLst>
                </p:cNvPr>
                <p:cNvGrpSpPr/>
                <p:nvPr/>
              </p:nvGrpSpPr>
              <p:grpSpPr>
                <a:xfrm>
                  <a:off x="5048630" y="3253263"/>
                  <a:ext cx="75723" cy="75723"/>
                  <a:chOff x="5048630" y="3253263"/>
                  <a:chExt cx="75723" cy="75723"/>
                </a:xfrm>
              </p:grpSpPr>
              <p:sp>
                <p:nvSpPr>
                  <p:cNvPr id="1897" name="Freeform: Shape 1896">
                    <a:extLst>
                      <a:ext uri="{FF2B5EF4-FFF2-40B4-BE49-F238E27FC236}">
                        <a16:creationId xmlns:a16="http://schemas.microsoft.com/office/drawing/2014/main" id="{0A54C2EC-4336-95AA-44DD-A276B6CB3F99}"/>
                      </a:ext>
                    </a:extLst>
                  </p:cNvPr>
                  <p:cNvSpPr/>
                  <p:nvPr/>
                </p:nvSpPr>
                <p:spPr>
                  <a:xfrm>
                    <a:off x="5086444" y="3253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98" name="Freeform: Shape 1897">
                    <a:extLst>
                      <a:ext uri="{FF2B5EF4-FFF2-40B4-BE49-F238E27FC236}">
                        <a16:creationId xmlns:a16="http://schemas.microsoft.com/office/drawing/2014/main" id="{22502966-4FEB-4AB6-B467-2FBB7F18B174}"/>
                      </a:ext>
                    </a:extLst>
                  </p:cNvPr>
                  <p:cNvSpPr/>
                  <p:nvPr/>
                </p:nvSpPr>
                <p:spPr>
                  <a:xfrm>
                    <a:off x="5048630" y="32910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99" name="Graphic 16">
                  <a:extLst>
                    <a:ext uri="{FF2B5EF4-FFF2-40B4-BE49-F238E27FC236}">
                      <a16:creationId xmlns:a16="http://schemas.microsoft.com/office/drawing/2014/main" id="{BA9CB081-69C9-FE5A-DAFF-7E5228F37BA2}"/>
                    </a:ext>
                  </a:extLst>
                </p:cNvPr>
                <p:cNvGrpSpPr/>
                <p:nvPr/>
              </p:nvGrpSpPr>
              <p:grpSpPr>
                <a:xfrm>
                  <a:off x="5059108" y="3267360"/>
                  <a:ext cx="75723" cy="75723"/>
                  <a:chOff x="5059108" y="3267360"/>
                  <a:chExt cx="75723" cy="75723"/>
                </a:xfrm>
              </p:grpSpPr>
              <p:sp>
                <p:nvSpPr>
                  <p:cNvPr id="1895" name="Freeform: Shape 1894">
                    <a:extLst>
                      <a:ext uri="{FF2B5EF4-FFF2-40B4-BE49-F238E27FC236}">
                        <a16:creationId xmlns:a16="http://schemas.microsoft.com/office/drawing/2014/main" id="{474D8364-C5AF-3833-CD5B-3E72DC6C8EE4}"/>
                      </a:ext>
                    </a:extLst>
                  </p:cNvPr>
                  <p:cNvSpPr/>
                  <p:nvPr/>
                </p:nvSpPr>
                <p:spPr>
                  <a:xfrm>
                    <a:off x="5097017" y="32673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96" name="Freeform: Shape 1895">
                    <a:extLst>
                      <a:ext uri="{FF2B5EF4-FFF2-40B4-BE49-F238E27FC236}">
                        <a16:creationId xmlns:a16="http://schemas.microsoft.com/office/drawing/2014/main" id="{BE8C106A-BB56-CBC4-EFC5-CA4A8AB1F3B6}"/>
                      </a:ext>
                    </a:extLst>
                  </p:cNvPr>
                  <p:cNvSpPr/>
                  <p:nvPr/>
                </p:nvSpPr>
                <p:spPr>
                  <a:xfrm>
                    <a:off x="5059108" y="33051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0" name="Graphic 16">
                  <a:extLst>
                    <a:ext uri="{FF2B5EF4-FFF2-40B4-BE49-F238E27FC236}">
                      <a16:creationId xmlns:a16="http://schemas.microsoft.com/office/drawing/2014/main" id="{417149E7-D005-0C12-F221-7215CEB10E7C}"/>
                    </a:ext>
                  </a:extLst>
                </p:cNvPr>
                <p:cNvGrpSpPr/>
                <p:nvPr/>
              </p:nvGrpSpPr>
              <p:grpSpPr>
                <a:xfrm>
                  <a:off x="5074824" y="3276885"/>
                  <a:ext cx="75628" cy="75723"/>
                  <a:chOff x="5074824" y="3276885"/>
                  <a:chExt cx="75628" cy="75723"/>
                </a:xfrm>
              </p:grpSpPr>
              <p:sp>
                <p:nvSpPr>
                  <p:cNvPr id="1893" name="Freeform: Shape 1892">
                    <a:extLst>
                      <a:ext uri="{FF2B5EF4-FFF2-40B4-BE49-F238E27FC236}">
                        <a16:creationId xmlns:a16="http://schemas.microsoft.com/office/drawing/2014/main" id="{7ECD7377-151E-1792-4826-47C6C7315B9C}"/>
                      </a:ext>
                    </a:extLst>
                  </p:cNvPr>
                  <p:cNvSpPr/>
                  <p:nvPr/>
                </p:nvSpPr>
                <p:spPr>
                  <a:xfrm>
                    <a:off x="5112638" y="32768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94" name="Freeform: Shape 1893">
                    <a:extLst>
                      <a:ext uri="{FF2B5EF4-FFF2-40B4-BE49-F238E27FC236}">
                        <a16:creationId xmlns:a16="http://schemas.microsoft.com/office/drawing/2014/main" id="{90B52E18-53D6-47C4-20ED-EE687454AD38}"/>
                      </a:ext>
                    </a:extLst>
                  </p:cNvPr>
                  <p:cNvSpPr/>
                  <p:nvPr/>
                </p:nvSpPr>
                <p:spPr>
                  <a:xfrm>
                    <a:off x="5074824" y="33146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1" name="Graphic 16">
                  <a:extLst>
                    <a:ext uri="{FF2B5EF4-FFF2-40B4-BE49-F238E27FC236}">
                      <a16:creationId xmlns:a16="http://schemas.microsoft.com/office/drawing/2014/main" id="{8A590FEF-1903-1B77-4A8F-B49583C13427}"/>
                    </a:ext>
                  </a:extLst>
                </p:cNvPr>
                <p:cNvGrpSpPr/>
                <p:nvPr/>
              </p:nvGrpSpPr>
              <p:grpSpPr>
                <a:xfrm>
                  <a:off x="5086444" y="3285267"/>
                  <a:ext cx="75723" cy="75628"/>
                  <a:chOff x="5086444" y="3285267"/>
                  <a:chExt cx="75723" cy="75628"/>
                </a:xfrm>
              </p:grpSpPr>
              <p:sp>
                <p:nvSpPr>
                  <p:cNvPr id="1891" name="Freeform: Shape 1890">
                    <a:extLst>
                      <a:ext uri="{FF2B5EF4-FFF2-40B4-BE49-F238E27FC236}">
                        <a16:creationId xmlns:a16="http://schemas.microsoft.com/office/drawing/2014/main" id="{5AD8C069-3617-8203-3A2F-5D26CD0B4F4A}"/>
                      </a:ext>
                    </a:extLst>
                  </p:cNvPr>
                  <p:cNvSpPr/>
                  <p:nvPr/>
                </p:nvSpPr>
                <p:spPr>
                  <a:xfrm>
                    <a:off x="5124354" y="32852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92" name="Freeform: Shape 1891">
                    <a:extLst>
                      <a:ext uri="{FF2B5EF4-FFF2-40B4-BE49-F238E27FC236}">
                        <a16:creationId xmlns:a16="http://schemas.microsoft.com/office/drawing/2014/main" id="{E812811F-61D1-9DA4-BDD0-2324F7C5AFDD}"/>
                      </a:ext>
                    </a:extLst>
                  </p:cNvPr>
                  <p:cNvSpPr/>
                  <p:nvPr/>
                </p:nvSpPr>
                <p:spPr>
                  <a:xfrm>
                    <a:off x="5086444" y="33230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2" name="Graphic 16">
                  <a:extLst>
                    <a:ext uri="{FF2B5EF4-FFF2-40B4-BE49-F238E27FC236}">
                      <a16:creationId xmlns:a16="http://schemas.microsoft.com/office/drawing/2014/main" id="{D2ED3BDD-C1F4-C0C6-5604-55F233D59604}"/>
                    </a:ext>
                  </a:extLst>
                </p:cNvPr>
                <p:cNvGrpSpPr/>
                <p:nvPr/>
              </p:nvGrpSpPr>
              <p:grpSpPr>
                <a:xfrm>
                  <a:off x="5098160" y="3293458"/>
                  <a:ext cx="75723" cy="75628"/>
                  <a:chOff x="5098160" y="3293458"/>
                  <a:chExt cx="75723" cy="75628"/>
                </a:xfrm>
              </p:grpSpPr>
              <p:sp>
                <p:nvSpPr>
                  <p:cNvPr id="1889" name="Freeform: Shape 1888">
                    <a:extLst>
                      <a:ext uri="{FF2B5EF4-FFF2-40B4-BE49-F238E27FC236}">
                        <a16:creationId xmlns:a16="http://schemas.microsoft.com/office/drawing/2014/main" id="{8881BB67-204C-AD9E-24C6-0D218ACE8C44}"/>
                      </a:ext>
                    </a:extLst>
                  </p:cNvPr>
                  <p:cNvSpPr/>
                  <p:nvPr/>
                </p:nvSpPr>
                <p:spPr>
                  <a:xfrm>
                    <a:off x="5135974" y="329345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90" name="Freeform: Shape 1889">
                    <a:extLst>
                      <a:ext uri="{FF2B5EF4-FFF2-40B4-BE49-F238E27FC236}">
                        <a16:creationId xmlns:a16="http://schemas.microsoft.com/office/drawing/2014/main" id="{CC780E16-3ACE-2809-D0CD-AEA9D8A6F2D6}"/>
                      </a:ext>
                    </a:extLst>
                  </p:cNvPr>
                  <p:cNvSpPr/>
                  <p:nvPr/>
                </p:nvSpPr>
                <p:spPr>
                  <a:xfrm>
                    <a:off x="5098160" y="3331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3" name="Graphic 16">
                  <a:extLst>
                    <a:ext uri="{FF2B5EF4-FFF2-40B4-BE49-F238E27FC236}">
                      <a16:creationId xmlns:a16="http://schemas.microsoft.com/office/drawing/2014/main" id="{ECDC6010-A2E6-AAF5-CF37-D1F547E6F214}"/>
                    </a:ext>
                  </a:extLst>
                </p:cNvPr>
                <p:cNvGrpSpPr/>
                <p:nvPr/>
              </p:nvGrpSpPr>
              <p:grpSpPr>
                <a:xfrm>
                  <a:off x="5113019" y="3308698"/>
                  <a:ext cx="75723" cy="75723"/>
                  <a:chOff x="5113019" y="3308698"/>
                  <a:chExt cx="75723" cy="75723"/>
                </a:xfrm>
              </p:grpSpPr>
              <p:sp>
                <p:nvSpPr>
                  <p:cNvPr id="1887" name="Freeform: Shape 1886">
                    <a:extLst>
                      <a:ext uri="{FF2B5EF4-FFF2-40B4-BE49-F238E27FC236}">
                        <a16:creationId xmlns:a16="http://schemas.microsoft.com/office/drawing/2014/main" id="{26201D01-A579-5B7C-8A1D-61E0D1FC4656}"/>
                      </a:ext>
                    </a:extLst>
                  </p:cNvPr>
                  <p:cNvSpPr/>
                  <p:nvPr/>
                </p:nvSpPr>
                <p:spPr>
                  <a:xfrm>
                    <a:off x="5150833" y="33086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8" name="Freeform: Shape 1887">
                    <a:extLst>
                      <a:ext uri="{FF2B5EF4-FFF2-40B4-BE49-F238E27FC236}">
                        <a16:creationId xmlns:a16="http://schemas.microsoft.com/office/drawing/2014/main" id="{9C09BB94-BC1A-00E5-7516-5B2296394B74}"/>
                      </a:ext>
                    </a:extLst>
                  </p:cNvPr>
                  <p:cNvSpPr/>
                  <p:nvPr/>
                </p:nvSpPr>
                <p:spPr>
                  <a:xfrm>
                    <a:off x="5113019" y="3346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4" name="Graphic 16">
                  <a:extLst>
                    <a:ext uri="{FF2B5EF4-FFF2-40B4-BE49-F238E27FC236}">
                      <a16:creationId xmlns:a16="http://schemas.microsoft.com/office/drawing/2014/main" id="{F4FCECC5-6609-FA6F-FF0E-7AD7CA76BDBF}"/>
                    </a:ext>
                  </a:extLst>
                </p:cNvPr>
                <p:cNvGrpSpPr/>
                <p:nvPr/>
              </p:nvGrpSpPr>
              <p:grpSpPr>
                <a:xfrm>
                  <a:off x="5130259" y="3317080"/>
                  <a:ext cx="75723" cy="75723"/>
                  <a:chOff x="5130259" y="3317080"/>
                  <a:chExt cx="75723" cy="75723"/>
                </a:xfrm>
              </p:grpSpPr>
              <p:sp>
                <p:nvSpPr>
                  <p:cNvPr id="1885" name="Freeform: Shape 1884">
                    <a:extLst>
                      <a:ext uri="{FF2B5EF4-FFF2-40B4-BE49-F238E27FC236}">
                        <a16:creationId xmlns:a16="http://schemas.microsoft.com/office/drawing/2014/main" id="{BC0B89B1-62D7-DDEE-F28F-BF50A680A1EB}"/>
                      </a:ext>
                    </a:extLst>
                  </p:cNvPr>
                  <p:cNvSpPr/>
                  <p:nvPr/>
                </p:nvSpPr>
                <p:spPr>
                  <a:xfrm>
                    <a:off x="5168169" y="331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6" name="Freeform: Shape 1885">
                    <a:extLst>
                      <a:ext uri="{FF2B5EF4-FFF2-40B4-BE49-F238E27FC236}">
                        <a16:creationId xmlns:a16="http://schemas.microsoft.com/office/drawing/2014/main" id="{5A7FBF13-7F69-58AF-57ED-4B6C1FC34CC6}"/>
                      </a:ext>
                    </a:extLst>
                  </p:cNvPr>
                  <p:cNvSpPr/>
                  <p:nvPr/>
                </p:nvSpPr>
                <p:spPr>
                  <a:xfrm>
                    <a:off x="5130259" y="33548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5" name="Graphic 16">
                  <a:extLst>
                    <a:ext uri="{FF2B5EF4-FFF2-40B4-BE49-F238E27FC236}">
                      <a16:creationId xmlns:a16="http://schemas.microsoft.com/office/drawing/2014/main" id="{9D6DC30B-6D45-95FE-D9F6-905556463EED}"/>
                    </a:ext>
                  </a:extLst>
                </p:cNvPr>
                <p:cNvGrpSpPr/>
                <p:nvPr/>
              </p:nvGrpSpPr>
              <p:grpSpPr>
                <a:xfrm>
                  <a:off x="4686204" y="3111340"/>
                  <a:ext cx="75628" cy="75723"/>
                  <a:chOff x="4686204" y="3111340"/>
                  <a:chExt cx="75628" cy="75723"/>
                </a:xfrm>
              </p:grpSpPr>
              <p:sp>
                <p:nvSpPr>
                  <p:cNvPr id="1883" name="Freeform: Shape 1882">
                    <a:extLst>
                      <a:ext uri="{FF2B5EF4-FFF2-40B4-BE49-F238E27FC236}">
                        <a16:creationId xmlns:a16="http://schemas.microsoft.com/office/drawing/2014/main" id="{2FA631FE-AE6B-9CF8-5168-3AE1981BA6B8}"/>
                      </a:ext>
                    </a:extLst>
                  </p:cNvPr>
                  <p:cNvSpPr/>
                  <p:nvPr/>
                </p:nvSpPr>
                <p:spPr>
                  <a:xfrm>
                    <a:off x="472401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4" name="Freeform: Shape 1883">
                    <a:extLst>
                      <a:ext uri="{FF2B5EF4-FFF2-40B4-BE49-F238E27FC236}">
                        <a16:creationId xmlns:a16="http://schemas.microsoft.com/office/drawing/2014/main" id="{C5D68B6E-E652-B76A-114B-9741A3AB3CAB}"/>
                      </a:ext>
                    </a:extLst>
                  </p:cNvPr>
                  <p:cNvSpPr/>
                  <p:nvPr/>
                </p:nvSpPr>
                <p:spPr>
                  <a:xfrm>
                    <a:off x="4686204"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6" name="Graphic 16">
                  <a:extLst>
                    <a:ext uri="{FF2B5EF4-FFF2-40B4-BE49-F238E27FC236}">
                      <a16:creationId xmlns:a16="http://schemas.microsoft.com/office/drawing/2014/main" id="{A95EC6B6-3E41-5C15-E759-2098CA7FD241}"/>
                    </a:ext>
                  </a:extLst>
                </p:cNvPr>
                <p:cNvGrpSpPr/>
                <p:nvPr/>
              </p:nvGrpSpPr>
              <p:grpSpPr>
                <a:xfrm>
                  <a:off x="4703349" y="3111340"/>
                  <a:ext cx="75723" cy="75723"/>
                  <a:chOff x="4703349" y="3111340"/>
                  <a:chExt cx="75723" cy="75723"/>
                </a:xfrm>
              </p:grpSpPr>
              <p:sp>
                <p:nvSpPr>
                  <p:cNvPr id="1881" name="Freeform: Shape 1880">
                    <a:extLst>
                      <a:ext uri="{FF2B5EF4-FFF2-40B4-BE49-F238E27FC236}">
                        <a16:creationId xmlns:a16="http://schemas.microsoft.com/office/drawing/2014/main" id="{607E3893-16E2-0242-CC2B-CF28DDE7BB3D}"/>
                      </a:ext>
                    </a:extLst>
                  </p:cNvPr>
                  <p:cNvSpPr/>
                  <p:nvPr/>
                </p:nvSpPr>
                <p:spPr>
                  <a:xfrm>
                    <a:off x="474125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2" name="Freeform: Shape 1881">
                    <a:extLst>
                      <a:ext uri="{FF2B5EF4-FFF2-40B4-BE49-F238E27FC236}">
                        <a16:creationId xmlns:a16="http://schemas.microsoft.com/office/drawing/2014/main" id="{ECD8EC0E-CAA7-02C8-D132-2C8C4C505F9E}"/>
                      </a:ext>
                    </a:extLst>
                  </p:cNvPr>
                  <p:cNvSpPr/>
                  <p:nvPr/>
                </p:nvSpPr>
                <p:spPr>
                  <a:xfrm>
                    <a:off x="4703349"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7" name="Graphic 16">
                  <a:extLst>
                    <a:ext uri="{FF2B5EF4-FFF2-40B4-BE49-F238E27FC236}">
                      <a16:creationId xmlns:a16="http://schemas.microsoft.com/office/drawing/2014/main" id="{BA08D3EC-203C-F328-DA35-D92A5F7A12EA}"/>
                    </a:ext>
                  </a:extLst>
                </p:cNvPr>
                <p:cNvGrpSpPr/>
                <p:nvPr/>
              </p:nvGrpSpPr>
              <p:grpSpPr>
                <a:xfrm>
                  <a:off x="4720589" y="3111340"/>
                  <a:ext cx="75628" cy="75723"/>
                  <a:chOff x="4720589" y="3111340"/>
                  <a:chExt cx="75628" cy="75723"/>
                </a:xfrm>
              </p:grpSpPr>
              <p:sp>
                <p:nvSpPr>
                  <p:cNvPr id="1879" name="Freeform: Shape 1878">
                    <a:extLst>
                      <a:ext uri="{FF2B5EF4-FFF2-40B4-BE49-F238E27FC236}">
                        <a16:creationId xmlns:a16="http://schemas.microsoft.com/office/drawing/2014/main" id="{0227D998-35BC-2512-84FF-FB1264B2897A}"/>
                      </a:ext>
                    </a:extLst>
                  </p:cNvPr>
                  <p:cNvSpPr/>
                  <p:nvPr/>
                </p:nvSpPr>
                <p:spPr>
                  <a:xfrm>
                    <a:off x="4758403"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0" name="Freeform: Shape 1879">
                    <a:extLst>
                      <a:ext uri="{FF2B5EF4-FFF2-40B4-BE49-F238E27FC236}">
                        <a16:creationId xmlns:a16="http://schemas.microsoft.com/office/drawing/2014/main" id="{1719EE50-1843-CEAF-DA42-7C6BA47157D7}"/>
                      </a:ext>
                    </a:extLst>
                  </p:cNvPr>
                  <p:cNvSpPr/>
                  <p:nvPr/>
                </p:nvSpPr>
                <p:spPr>
                  <a:xfrm>
                    <a:off x="4720589"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8" name="Graphic 16">
                  <a:extLst>
                    <a:ext uri="{FF2B5EF4-FFF2-40B4-BE49-F238E27FC236}">
                      <a16:creationId xmlns:a16="http://schemas.microsoft.com/office/drawing/2014/main" id="{F66055A2-C0B5-A4F2-E8E9-6ADCDE18FFED}"/>
                    </a:ext>
                  </a:extLst>
                </p:cNvPr>
                <p:cNvGrpSpPr/>
                <p:nvPr/>
              </p:nvGrpSpPr>
              <p:grpSpPr>
                <a:xfrm>
                  <a:off x="4737734" y="3111340"/>
                  <a:ext cx="75723" cy="75723"/>
                  <a:chOff x="4737734" y="3111340"/>
                  <a:chExt cx="75723" cy="75723"/>
                </a:xfrm>
              </p:grpSpPr>
              <p:sp>
                <p:nvSpPr>
                  <p:cNvPr id="1877" name="Freeform: Shape 1876">
                    <a:extLst>
                      <a:ext uri="{FF2B5EF4-FFF2-40B4-BE49-F238E27FC236}">
                        <a16:creationId xmlns:a16="http://schemas.microsoft.com/office/drawing/2014/main" id="{AEED5DA1-E5E4-17DC-DA3D-762E4BF24D62}"/>
                      </a:ext>
                    </a:extLst>
                  </p:cNvPr>
                  <p:cNvSpPr/>
                  <p:nvPr/>
                </p:nvSpPr>
                <p:spPr>
                  <a:xfrm>
                    <a:off x="4775644"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78" name="Freeform: Shape 1877">
                    <a:extLst>
                      <a:ext uri="{FF2B5EF4-FFF2-40B4-BE49-F238E27FC236}">
                        <a16:creationId xmlns:a16="http://schemas.microsoft.com/office/drawing/2014/main" id="{86024F94-1660-AF30-DE71-40ADFD9EC514}"/>
                      </a:ext>
                    </a:extLst>
                  </p:cNvPr>
                  <p:cNvSpPr/>
                  <p:nvPr/>
                </p:nvSpPr>
                <p:spPr>
                  <a:xfrm>
                    <a:off x="4737734"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09" name="Graphic 16">
                  <a:extLst>
                    <a:ext uri="{FF2B5EF4-FFF2-40B4-BE49-F238E27FC236}">
                      <a16:creationId xmlns:a16="http://schemas.microsoft.com/office/drawing/2014/main" id="{71439A80-984E-FA20-5493-DF6200B15B95}"/>
                    </a:ext>
                  </a:extLst>
                </p:cNvPr>
                <p:cNvGrpSpPr/>
                <p:nvPr/>
              </p:nvGrpSpPr>
              <p:grpSpPr>
                <a:xfrm>
                  <a:off x="5450014" y="3435952"/>
                  <a:ext cx="75723" cy="75723"/>
                  <a:chOff x="5450014" y="3435952"/>
                  <a:chExt cx="75723" cy="75723"/>
                </a:xfrm>
              </p:grpSpPr>
              <p:sp>
                <p:nvSpPr>
                  <p:cNvPr id="1875" name="Freeform: Shape 1874">
                    <a:extLst>
                      <a:ext uri="{FF2B5EF4-FFF2-40B4-BE49-F238E27FC236}">
                        <a16:creationId xmlns:a16="http://schemas.microsoft.com/office/drawing/2014/main" id="{E7EE533E-4B67-266D-2CDF-B011254550BF}"/>
                      </a:ext>
                    </a:extLst>
                  </p:cNvPr>
                  <p:cNvSpPr/>
                  <p:nvPr/>
                </p:nvSpPr>
                <p:spPr>
                  <a:xfrm>
                    <a:off x="5487923" y="3435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76" name="Freeform: Shape 1875">
                    <a:extLst>
                      <a:ext uri="{FF2B5EF4-FFF2-40B4-BE49-F238E27FC236}">
                        <a16:creationId xmlns:a16="http://schemas.microsoft.com/office/drawing/2014/main" id="{4E52199F-1952-F885-C24B-6E4339453792}"/>
                      </a:ext>
                    </a:extLst>
                  </p:cNvPr>
                  <p:cNvSpPr/>
                  <p:nvPr/>
                </p:nvSpPr>
                <p:spPr>
                  <a:xfrm>
                    <a:off x="5450014" y="34738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0" name="Graphic 16">
                  <a:extLst>
                    <a:ext uri="{FF2B5EF4-FFF2-40B4-BE49-F238E27FC236}">
                      <a16:creationId xmlns:a16="http://schemas.microsoft.com/office/drawing/2014/main" id="{822C1261-E474-60E2-AE50-15E52CDD230E}"/>
                    </a:ext>
                  </a:extLst>
                </p:cNvPr>
                <p:cNvGrpSpPr/>
                <p:nvPr/>
              </p:nvGrpSpPr>
              <p:grpSpPr>
                <a:xfrm>
                  <a:off x="5484304" y="3440048"/>
                  <a:ext cx="75628" cy="75723"/>
                  <a:chOff x="5484304" y="3440048"/>
                  <a:chExt cx="75628" cy="75723"/>
                </a:xfrm>
              </p:grpSpPr>
              <p:sp>
                <p:nvSpPr>
                  <p:cNvPr id="1873" name="Freeform: Shape 1872">
                    <a:extLst>
                      <a:ext uri="{FF2B5EF4-FFF2-40B4-BE49-F238E27FC236}">
                        <a16:creationId xmlns:a16="http://schemas.microsoft.com/office/drawing/2014/main" id="{DEF16DC4-3C2E-6AFD-6F6F-273CCF8DC39F}"/>
                      </a:ext>
                    </a:extLst>
                  </p:cNvPr>
                  <p:cNvSpPr/>
                  <p:nvPr/>
                </p:nvSpPr>
                <p:spPr>
                  <a:xfrm>
                    <a:off x="5522118" y="34400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74" name="Freeform: Shape 1873">
                    <a:extLst>
                      <a:ext uri="{FF2B5EF4-FFF2-40B4-BE49-F238E27FC236}">
                        <a16:creationId xmlns:a16="http://schemas.microsoft.com/office/drawing/2014/main" id="{58C6E285-D2B2-3A3C-78B9-F590B1D19503}"/>
                      </a:ext>
                    </a:extLst>
                  </p:cNvPr>
                  <p:cNvSpPr/>
                  <p:nvPr/>
                </p:nvSpPr>
                <p:spPr>
                  <a:xfrm>
                    <a:off x="5484304" y="34778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1" name="Graphic 16">
                  <a:extLst>
                    <a:ext uri="{FF2B5EF4-FFF2-40B4-BE49-F238E27FC236}">
                      <a16:creationId xmlns:a16="http://schemas.microsoft.com/office/drawing/2014/main" id="{156D508A-AED1-68C7-EBD0-EAB74BCBB7C4}"/>
                    </a:ext>
                  </a:extLst>
                </p:cNvPr>
                <p:cNvGrpSpPr/>
                <p:nvPr/>
              </p:nvGrpSpPr>
              <p:grpSpPr>
                <a:xfrm>
                  <a:off x="5498877" y="3453002"/>
                  <a:ext cx="75723" cy="75723"/>
                  <a:chOff x="5498877" y="3453002"/>
                  <a:chExt cx="75723" cy="75723"/>
                </a:xfrm>
              </p:grpSpPr>
              <p:sp>
                <p:nvSpPr>
                  <p:cNvPr id="1871" name="Freeform: Shape 1870">
                    <a:extLst>
                      <a:ext uri="{FF2B5EF4-FFF2-40B4-BE49-F238E27FC236}">
                        <a16:creationId xmlns:a16="http://schemas.microsoft.com/office/drawing/2014/main" id="{E3A6DE15-5789-B8B6-C793-978DE8E0EAFC}"/>
                      </a:ext>
                    </a:extLst>
                  </p:cNvPr>
                  <p:cNvSpPr/>
                  <p:nvPr/>
                </p:nvSpPr>
                <p:spPr>
                  <a:xfrm>
                    <a:off x="5536786"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72" name="Freeform: Shape 1871">
                    <a:extLst>
                      <a:ext uri="{FF2B5EF4-FFF2-40B4-BE49-F238E27FC236}">
                        <a16:creationId xmlns:a16="http://schemas.microsoft.com/office/drawing/2014/main" id="{23FE93E0-CB7D-5FC8-1269-7DC69ABCEE52}"/>
                      </a:ext>
                    </a:extLst>
                  </p:cNvPr>
                  <p:cNvSpPr/>
                  <p:nvPr/>
                </p:nvSpPr>
                <p:spPr>
                  <a:xfrm>
                    <a:off x="549887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2" name="Graphic 16">
                  <a:extLst>
                    <a:ext uri="{FF2B5EF4-FFF2-40B4-BE49-F238E27FC236}">
                      <a16:creationId xmlns:a16="http://schemas.microsoft.com/office/drawing/2014/main" id="{FCB10C19-A6D9-6A69-CB0F-88D045542F8E}"/>
                    </a:ext>
                  </a:extLst>
                </p:cNvPr>
                <p:cNvGrpSpPr/>
                <p:nvPr/>
              </p:nvGrpSpPr>
              <p:grpSpPr>
                <a:xfrm>
                  <a:off x="5518022" y="3453002"/>
                  <a:ext cx="75723" cy="75723"/>
                  <a:chOff x="5518022" y="3453002"/>
                  <a:chExt cx="75723" cy="75723"/>
                </a:xfrm>
              </p:grpSpPr>
              <p:sp>
                <p:nvSpPr>
                  <p:cNvPr id="1869" name="Freeform: Shape 1868">
                    <a:extLst>
                      <a:ext uri="{FF2B5EF4-FFF2-40B4-BE49-F238E27FC236}">
                        <a16:creationId xmlns:a16="http://schemas.microsoft.com/office/drawing/2014/main" id="{2B0B9704-9DCD-1ECD-0770-AD3C0FA666BE}"/>
                      </a:ext>
                    </a:extLst>
                  </p:cNvPr>
                  <p:cNvSpPr/>
                  <p:nvPr/>
                </p:nvSpPr>
                <p:spPr>
                  <a:xfrm>
                    <a:off x="5555932"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70" name="Freeform: Shape 1869">
                    <a:extLst>
                      <a:ext uri="{FF2B5EF4-FFF2-40B4-BE49-F238E27FC236}">
                        <a16:creationId xmlns:a16="http://schemas.microsoft.com/office/drawing/2014/main" id="{BC914881-BCE4-0C47-7D24-1405DCC52CE2}"/>
                      </a:ext>
                    </a:extLst>
                  </p:cNvPr>
                  <p:cNvSpPr/>
                  <p:nvPr/>
                </p:nvSpPr>
                <p:spPr>
                  <a:xfrm>
                    <a:off x="5518022"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3" name="Graphic 16">
                  <a:extLst>
                    <a:ext uri="{FF2B5EF4-FFF2-40B4-BE49-F238E27FC236}">
                      <a16:creationId xmlns:a16="http://schemas.microsoft.com/office/drawing/2014/main" id="{685F6948-2CD2-5E49-697E-DE7D2AD9C218}"/>
                    </a:ext>
                  </a:extLst>
                </p:cNvPr>
                <p:cNvGrpSpPr/>
                <p:nvPr/>
              </p:nvGrpSpPr>
              <p:grpSpPr>
                <a:xfrm>
                  <a:off x="5534405" y="3453002"/>
                  <a:ext cx="75723" cy="75723"/>
                  <a:chOff x="5534405" y="3453002"/>
                  <a:chExt cx="75723" cy="75723"/>
                </a:xfrm>
              </p:grpSpPr>
              <p:sp>
                <p:nvSpPr>
                  <p:cNvPr id="1867" name="Freeform: Shape 1866">
                    <a:extLst>
                      <a:ext uri="{FF2B5EF4-FFF2-40B4-BE49-F238E27FC236}">
                        <a16:creationId xmlns:a16="http://schemas.microsoft.com/office/drawing/2014/main" id="{09FD49E6-EEFE-C3D5-3616-E0DAF904BC68}"/>
                      </a:ext>
                    </a:extLst>
                  </p:cNvPr>
                  <p:cNvSpPr/>
                  <p:nvPr/>
                </p:nvSpPr>
                <p:spPr>
                  <a:xfrm>
                    <a:off x="5572315"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8" name="Freeform: Shape 1867">
                    <a:extLst>
                      <a:ext uri="{FF2B5EF4-FFF2-40B4-BE49-F238E27FC236}">
                        <a16:creationId xmlns:a16="http://schemas.microsoft.com/office/drawing/2014/main" id="{172E4CD8-0EAA-61D3-C52E-118CCB95F377}"/>
                      </a:ext>
                    </a:extLst>
                  </p:cNvPr>
                  <p:cNvSpPr/>
                  <p:nvPr/>
                </p:nvSpPr>
                <p:spPr>
                  <a:xfrm>
                    <a:off x="5534405"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4" name="Graphic 16">
                  <a:extLst>
                    <a:ext uri="{FF2B5EF4-FFF2-40B4-BE49-F238E27FC236}">
                      <a16:creationId xmlns:a16="http://schemas.microsoft.com/office/drawing/2014/main" id="{FF4E4679-12B0-14C8-B48C-834F8C94F669}"/>
                    </a:ext>
                  </a:extLst>
                </p:cNvPr>
                <p:cNvGrpSpPr/>
                <p:nvPr/>
              </p:nvGrpSpPr>
              <p:grpSpPr>
                <a:xfrm>
                  <a:off x="5526214" y="3453002"/>
                  <a:ext cx="75723" cy="75723"/>
                  <a:chOff x="5526214" y="3453002"/>
                  <a:chExt cx="75723" cy="75723"/>
                </a:xfrm>
              </p:grpSpPr>
              <p:sp>
                <p:nvSpPr>
                  <p:cNvPr id="1865" name="Freeform: Shape 1864">
                    <a:extLst>
                      <a:ext uri="{FF2B5EF4-FFF2-40B4-BE49-F238E27FC236}">
                        <a16:creationId xmlns:a16="http://schemas.microsoft.com/office/drawing/2014/main" id="{8DED120E-498C-1370-7756-7E24B9DB2C7C}"/>
                      </a:ext>
                    </a:extLst>
                  </p:cNvPr>
                  <p:cNvSpPr/>
                  <p:nvPr/>
                </p:nvSpPr>
                <p:spPr>
                  <a:xfrm>
                    <a:off x="5564123"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6" name="Freeform: Shape 1865">
                    <a:extLst>
                      <a:ext uri="{FF2B5EF4-FFF2-40B4-BE49-F238E27FC236}">
                        <a16:creationId xmlns:a16="http://schemas.microsoft.com/office/drawing/2014/main" id="{C440FA02-A98E-29D6-A795-09A63F7328FF}"/>
                      </a:ext>
                    </a:extLst>
                  </p:cNvPr>
                  <p:cNvSpPr/>
                  <p:nvPr/>
                </p:nvSpPr>
                <p:spPr>
                  <a:xfrm>
                    <a:off x="5526214"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5" name="Graphic 16">
                  <a:extLst>
                    <a:ext uri="{FF2B5EF4-FFF2-40B4-BE49-F238E27FC236}">
                      <a16:creationId xmlns:a16="http://schemas.microsoft.com/office/drawing/2014/main" id="{324CA939-6AF3-B1E7-558F-F369B6249E80}"/>
                    </a:ext>
                  </a:extLst>
                </p:cNvPr>
                <p:cNvGrpSpPr/>
                <p:nvPr/>
              </p:nvGrpSpPr>
              <p:grpSpPr>
                <a:xfrm>
                  <a:off x="5542597" y="3453002"/>
                  <a:ext cx="75723" cy="75723"/>
                  <a:chOff x="5542597" y="3453002"/>
                  <a:chExt cx="75723" cy="75723"/>
                </a:xfrm>
              </p:grpSpPr>
              <p:sp>
                <p:nvSpPr>
                  <p:cNvPr id="1863" name="Freeform: Shape 1862">
                    <a:extLst>
                      <a:ext uri="{FF2B5EF4-FFF2-40B4-BE49-F238E27FC236}">
                        <a16:creationId xmlns:a16="http://schemas.microsoft.com/office/drawing/2014/main" id="{0B5D6109-00D4-BE5B-0CDF-198395476966}"/>
                      </a:ext>
                    </a:extLst>
                  </p:cNvPr>
                  <p:cNvSpPr/>
                  <p:nvPr/>
                </p:nvSpPr>
                <p:spPr>
                  <a:xfrm>
                    <a:off x="5580411"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4" name="Freeform: Shape 1863">
                    <a:extLst>
                      <a:ext uri="{FF2B5EF4-FFF2-40B4-BE49-F238E27FC236}">
                        <a16:creationId xmlns:a16="http://schemas.microsoft.com/office/drawing/2014/main" id="{C8A16732-86C2-72EE-703F-10783DA167D3}"/>
                      </a:ext>
                    </a:extLst>
                  </p:cNvPr>
                  <p:cNvSpPr/>
                  <p:nvPr/>
                </p:nvSpPr>
                <p:spPr>
                  <a:xfrm>
                    <a:off x="554259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6" name="Graphic 16">
                  <a:extLst>
                    <a:ext uri="{FF2B5EF4-FFF2-40B4-BE49-F238E27FC236}">
                      <a16:creationId xmlns:a16="http://schemas.microsoft.com/office/drawing/2014/main" id="{569A5CEE-11F1-430E-CA94-EA0D0CA093DE}"/>
                    </a:ext>
                  </a:extLst>
                </p:cNvPr>
                <p:cNvGrpSpPr/>
                <p:nvPr/>
              </p:nvGrpSpPr>
              <p:grpSpPr>
                <a:xfrm>
                  <a:off x="5555932" y="3473862"/>
                  <a:ext cx="75628" cy="75628"/>
                  <a:chOff x="5555932" y="3473862"/>
                  <a:chExt cx="75628" cy="75628"/>
                </a:xfrm>
              </p:grpSpPr>
              <p:sp>
                <p:nvSpPr>
                  <p:cNvPr id="1861" name="Freeform: Shape 1860">
                    <a:extLst>
                      <a:ext uri="{FF2B5EF4-FFF2-40B4-BE49-F238E27FC236}">
                        <a16:creationId xmlns:a16="http://schemas.microsoft.com/office/drawing/2014/main" id="{6DB05D18-7235-A4A4-4406-85C9C62FA14D}"/>
                      </a:ext>
                    </a:extLst>
                  </p:cNvPr>
                  <p:cNvSpPr/>
                  <p:nvPr/>
                </p:nvSpPr>
                <p:spPr>
                  <a:xfrm>
                    <a:off x="5593746"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2" name="Freeform: Shape 1861">
                    <a:extLst>
                      <a:ext uri="{FF2B5EF4-FFF2-40B4-BE49-F238E27FC236}">
                        <a16:creationId xmlns:a16="http://schemas.microsoft.com/office/drawing/2014/main" id="{82F93ADE-4BED-32F9-5DA9-BD5667D02C33}"/>
                      </a:ext>
                    </a:extLst>
                  </p:cNvPr>
                  <p:cNvSpPr/>
                  <p:nvPr/>
                </p:nvSpPr>
                <p:spPr>
                  <a:xfrm>
                    <a:off x="5555932" y="3511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7" name="Graphic 16">
                  <a:extLst>
                    <a:ext uri="{FF2B5EF4-FFF2-40B4-BE49-F238E27FC236}">
                      <a16:creationId xmlns:a16="http://schemas.microsoft.com/office/drawing/2014/main" id="{C98393B4-B32D-D0EB-FD77-ACE2BD3B9798}"/>
                    </a:ext>
                  </a:extLst>
                </p:cNvPr>
                <p:cNvGrpSpPr/>
                <p:nvPr/>
              </p:nvGrpSpPr>
              <p:grpSpPr>
                <a:xfrm>
                  <a:off x="5568028" y="3473862"/>
                  <a:ext cx="75628" cy="75628"/>
                  <a:chOff x="5568028" y="3473862"/>
                  <a:chExt cx="75628" cy="75628"/>
                </a:xfrm>
              </p:grpSpPr>
              <p:sp>
                <p:nvSpPr>
                  <p:cNvPr id="1859" name="Freeform: Shape 1858">
                    <a:extLst>
                      <a:ext uri="{FF2B5EF4-FFF2-40B4-BE49-F238E27FC236}">
                        <a16:creationId xmlns:a16="http://schemas.microsoft.com/office/drawing/2014/main" id="{5A4EAB13-8BB1-6736-D793-4A49E6E911A3}"/>
                      </a:ext>
                    </a:extLst>
                  </p:cNvPr>
                  <p:cNvSpPr/>
                  <p:nvPr/>
                </p:nvSpPr>
                <p:spPr>
                  <a:xfrm>
                    <a:off x="5605843"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60" name="Freeform: Shape 1859">
                    <a:extLst>
                      <a:ext uri="{FF2B5EF4-FFF2-40B4-BE49-F238E27FC236}">
                        <a16:creationId xmlns:a16="http://schemas.microsoft.com/office/drawing/2014/main" id="{1C52E560-A9A3-7F7C-34A6-73413E1BE35F}"/>
                      </a:ext>
                    </a:extLst>
                  </p:cNvPr>
                  <p:cNvSpPr/>
                  <p:nvPr/>
                </p:nvSpPr>
                <p:spPr>
                  <a:xfrm>
                    <a:off x="5568028"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8" name="Graphic 16">
                  <a:extLst>
                    <a:ext uri="{FF2B5EF4-FFF2-40B4-BE49-F238E27FC236}">
                      <a16:creationId xmlns:a16="http://schemas.microsoft.com/office/drawing/2014/main" id="{DC271F80-23AC-CC26-3FD2-C1C989D2C233}"/>
                    </a:ext>
                  </a:extLst>
                </p:cNvPr>
                <p:cNvGrpSpPr/>
                <p:nvPr/>
              </p:nvGrpSpPr>
              <p:grpSpPr>
                <a:xfrm>
                  <a:off x="5580125" y="3473862"/>
                  <a:ext cx="75628" cy="75628"/>
                  <a:chOff x="5580125" y="3473862"/>
                  <a:chExt cx="75628" cy="75628"/>
                </a:xfrm>
              </p:grpSpPr>
              <p:sp>
                <p:nvSpPr>
                  <p:cNvPr id="1857" name="Freeform: Shape 1856">
                    <a:extLst>
                      <a:ext uri="{FF2B5EF4-FFF2-40B4-BE49-F238E27FC236}">
                        <a16:creationId xmlns:a16="http://schemas.microsoft.com/office/drawing/2014/main" id="{ECC231FE-339A-3126-3FDD-4B290D6FE482}"/>
                      </a:ext>
                    </a:extLst>
                  </p:cNvPr>
                  <p:cNvSpPr/>
                  <p:nvPr/>
                </p:nvSpPr>
                <p:spPr>
                  <a:xfrm>
                    <a:off x="5617939"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8" name="Freeform: Shape 1857">
                    <a:extLst>
                      <a:ext uri="{FF2B5EF4-FFF2-40B4-BE49-F238E27FC236}">
                        <a16:creationId xmlns:a16="http://schemas.microsoft.com/office/drawing/2014/main" id="{E5AA73F7-2BB2-7CAF-6FD9-0904D9B1ECF7}"/>
                      </a:ext>
                    </a:extLst>
                  </p:cNvPr>
                  <p:cNvSpPr/>
                  <p:nvPr/>
                </p:nvSpPr>
                <p:spPr>
                  <a:xfrm>
                    <a:off x="5580125"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19" name="Graphic 16">
                  <a:extLst>
                    <a:ext uri="{FF2B5EF4-FFF2-40B4-BE49-F238E27FC236}">
                      <a16:creationId xmlns:a16="http://schemas.microsoft.com/office/drawing/2014/main" id="{9F7EFCCE-73F0-1490-B19A-E958C78758B3}"/>
                    </a:ext>
                  </a:extLst>
                </p:cNvPr>
                <p:cNvGrpSpPr/>
                <p:nvPr/>
              </p:nvGrpSpPr>
              <p:grpSpPr>
                <a:xfrm>
                  <a:off x="5423058" y="3424903"/>
                  <a:ext cx="75628" cy="75723"/>
                  <a:chOff x="5423058" y="3424903"/>
                  <a:chExt cx="75628" cy="75723"/>
                </a:xfrm>
              </p:grpSpPr>
              <p:sp>
                <p:nvSpPr>
                  <p:cNvPr id="1855" name="Freeform: Shape 1854">
                    <a:extLst>
                      <a:ext uri="{FF2B5EF4-FFF2-40B4-BE49-F238E27FC236}">
                        <a16:creationId xmlns:a16="http://schemas.microsoft.com/office/drawing/2014/main" id="{ACA1486C-C386-03A0-F3C0-34D7CABEAEC1}"/>
                      </a:ext>
                    </a:extLst>
                  </p:cNvPr>
                  <p:cNvSpPr/>
                  <p:nvPr/>
                </p:nvSpPr>
                <p:spPr>
                  <a:xfrm>
                    <a:off x="5460872" y="34249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6" name="Freeform: Shape 1855">
                    <a:extLst>
                      <a:ext uri="{FF2B5EF4-FFF2-40B4-BE49-F238E27FC236}">
                        <a16:creationId xmlns:a16="http://schemas.microsoft.com/office/drawing/2014/main" id="{03D82AF6-EA94-FA21-F28C-8AFEE1CC0088}"/>
                      </a:ext>
                    </a:extLst>
                  </p:cNvPr>
                  <p:cNvSpPr/>
                  <p:nvPr/>
                </p:nvSpPr>
                <p:spPr>
                  <a:xfrm>
                    <a:off x="5423058" y="34628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0" name="Graphic 16">
                  <a:extLst>
                    <a:ext uri="{FF2B5EF4-FFF2-40B4-BE49-F238E27FC236}">
                      <a16:creationId xmlns:a16="http://schemas.microsoft.com/office/drawing/2014/main" id="{F74C865E-8FDF-C450-0C0F-1CE811B73F04}"/>
                    </a:ext>
                  </a:extLst>
                </p:cNvPr>
                <p:cNvGrpSpPr/>
                <p:nvPr/>
              </p:nvGrpSpPr>
              <p:grpSpPr>
                <a:xfrm>
                  <a:off x="5809011" y="3527964"/>
                  <a:ext cx="75628" cy="75723"/>
                  <a:chOff x="5809011" y="3527964"/>
                  <a:chExt cx="75628" cy="75723"/>
                </a:xfrm>
              </p:grpSpPr>
              <p:sp>
                <p:nvSpPr>
                  <p:cNvPr id="1853" name="Freeform: Shape 1852">
                    <a:extLst>
                      <a:ext uri="{FF2B5EF4-FFF2-40B4-BE49-F238E27FC236}">
                        <a16:creationId xmlns:a16="http://schemas.microsoft.com/office/drawing/2014/main" id="{194304B3-9DA2-8CCF-A701-BDC8758BE73B}"/>
                      </a:ext>
                    </a:extLst>
                  </p:cNvPr>
                  <p:cNvSpPr/>
                  <p:nvPr/>
                </p:nvSpPr>
                <p:spPr>
                  <a:xfrm>
                    <a:off x="584682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4" name="Freeform: Shape 1853">
                    <a:extLst>
                      <a:ext uri="{FF2B5EF4-FFF2-40B4-BE49-F238E27FC236}">
                        <a16:creationId xmlns:a16="http://schemas.microsoft.com/office/drawing/2014/main" id="{C60D6B01-6A34-43DD-0397-480CD4C4A8FA}"/>
                      </a:ext>
                    </a:extLst>
                  </p:cNvPr>
                  <p:cNvSpPr/>
                  <p:nvPr/>
                </p:nvSpPr>
                <p:spPr>
                  <a:xfrm>
                    <a:off x="5809011" y="35658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1" name="Graphic 16">
                  <a:extLst>
                    <a:ext uri="{FF2B5EF4-FFF2-40B4-BE49-F238E27FC236}">
                      <a16:creationId xmlns:a16="http://schemas.microsoft.com/office/drawing/2014/main" id="{C6BAE127-ECE7-EA98-C221-AD336DC8E2AE}"/>
                    </a:ext>
                  </a:extLst>
                </p:cNvPr>
                <p:cNvGrpSpPr/>
                <p:nvPr/>
              </p:nvGrpSpPr>
              <p:grpSpPr>
                <a:xfrm>
                  <a:off x="5740240" y="3527964"/>
                  <a:ext cx="75723" cy="75723"/>
                  <a:chOff x="5740240" y="3527964"/>
                  <a:chExt cx="75723" cy="75723"/>
                </a:xfrm>
              </p:grpSpPr>
              <p:sp>
                <p:nvSpPr>
                  <p:cNvPr id="1851" name="Freeform: Shape 1850">
                    <a:extLst>
                      <a:ext uri="{FF2B5EF4-FFF2-40B4-BE49-F238E27FC236}">
                        <a16:creationId xmlns:a16="http://schemas.microsoft.com/office/drawing/2014/main" id="{52B59D2C-4BEF-8C8F-FF8A-7798021D292B}"/>
                      </a:ext>
                    </a:extLst>
                  </p:cNvPr>
                  <p:cNvSpPr/>
                  <p:nvPr/>
                </p:nvSpPr>
                <p:spPr>
                  <a:xfrm>
                    <a:off x="577805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2" name="Freeform: Shape 1851">
                    <a:extLst>
                      <a:ext uri="{FF2B5EF4-FFF2-40B4-BE49-F238E27FC236}">
                        <a16:creationId xmlns:a16="http://schemas.microsoft.com/office/drawing/2014/main" id="{D2DDC416-D8D4-A8A5-7BED-B942B158C64B}"/>
                      </a:ext>
                    </a:extLst>
                  </p:cNvPr>
                  <p:cNvSpPr/>
                  <p:nvPr/>
                </p:nvSpPr>
                <p:spPr>
                  <a:xfrm>
                    <a:off x="5740240"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2" name="Graphic 16">
                  <a:extLst>
                    <a:ext uri="{FF2B5EF4-FFF2-40B4-BE49-F238E27FC236}">
                      <a16:creationId xmlns:a16="http://schemas.microsoft.com/office/drawing/2014/main" id="{63FF5A39-3113-8326-77A9-83F8534F774A}"/>
                    </a:ext>
                  </a:extLst>
                </p:cNvPr>
                <p:cNvGrpSpPr/>
                <p:nvPr/>
              </p:nvGrpSpPr>
              <p:grpSpPr>
                <a:xfrm>
                  <a:off x="5757385" y="3527964"/>
                  <a:ext cx="75723" cy="75723"/>
                  <a:chOff x="5757385" y="3527964"/>
                  <a:chExt cx="75723" cy="75723"/>
                </a:xfrm>
              </p:grpSpPr>
              <p:sp>
                <p:nvSpPr>
                  <p:cNvPr id="1849" name="Freeform: Shape 1848">
                    <a:extLst>
                      <a:ext uri="{FF2B5EF4-FFF2-40B4-BE49-F238E27FC236}">
                        <a16:creationId xmlns:a16="http://schemas.microsoft.com/office/drawing/2014/main" id="{90824D97-FD12-C6D9-AEB3-0AC0EB33391F}"/>
                      </a:ext>
                    </a:extLst>
                  </p:cNvPr>
                  <p:cNvSpPr/>
                  <p:nvPr/>
                </p:nvSpPr>
                <p:spPr>
                  <a:xfrm>
                    <a:off x="579529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50" name="Freeform: Shape 1849">
                    <a:extLst>
                      <a:ext uri="{FF2B5EF4-FFF2-40B4-BE49-F238E27FC236}">
                        <a16:creationId xmlns:a16="http://schemas.microsoft.com/office/drawing/2014/main" id="{63F56C18-C101-9CCC-47ED-EDF87EDF3C01}"/>
                      </a:ext>
                    </a:extLst>
                  </p:cNvPr>
                  <p:cNvSpPr/>
                  <p:nvPr/>
                </p:nvSpPr>
                <p:spPr>
                  <a:xfrm>
                    <a:off x="5757385"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3" name="Graphic 16">
                  <a:extLst>
                    <a:ext uri="{FF2B5EF4-FFF2-40B4-BE49-F238E27FC236}">
                      <a16:creationId xmlns:a16="http://schemas.microsoft.com/office/drawing/2014/main" id="{C1FD0899-D963-8497-43A2-DB4D73207428}"/>
                    </a:ext>
                  </a:extLst>
                </p:cNvPr>
                <p:cNvGrpSpPr/>
                <p:nvPr/>
              </p:nvGrpSpPr>
              <p:grpSpPr>
                <a:xfrm>
                  <a:off x="5774626" y="3527964"/>
                  <a:ext cx="75723" cy="75723"/>
                  <a:chOff x="5774626" y="3527964"/>
                  <a:chExt cx="75723" cy="75723"/>
                </a:xfrm>
              </p:grpSpPr>
              <p:sp>
                <p:nvSpPr>
                  <p:cNvPr id="1847" name="Freeform: Shape 1846">
                    <a:extLst>
                      <a:ext uri="{FF2B5EF4-FFF2-40B4-BE49-F238E27FC236}">
                        <a16:creationId xmlns:a16="http://schemas.microsoft.com/office/drawing/2014/main" id="{A4C5611A-7193-7159-271E-3266D8E26CAE}"/>
                      </a:ext>
                    </a:extLst>
                  </p:cNvPr>
                  <p:cNvSpPr/>
                  <p:nvPr/>
                </p:nvSpPr>
                <p:spPr>
                  <a:xfrm>
                    <a:off x="581244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8" name="Freeform: Shape 1847">
                    <a:extLst>
                      <a:ext uri="{FF2B5EF4-FFF2-40B4-BE49-F238E27FC236}">
                        <a16:creationId xmlns:a16="http://schemas.microsoft.com/office/drawing/2014/main" id="{80349E0A-0D4E-1A3C-D74D-3CC068D39D88}"/>
                      </a:ext>
                    </a:extLst>
                  </p:cNvPr>
                  <p:cNvSpPr/>
                  <p:nvPr/>
                </p:nvSpPr>
                <p:spPr>
                  <a:xfrm>
                    <a:off x="5774626"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4" name="Graphic 16">
                  <a:extLst>
                    <a:ext uri="{FF2B5EF4-FFF2-40B4-BE49-F238E27FC236}">
                      <a16:creationId xmlns:a16="http://schemas.microsoft.com/office/drawing/2014/main" id="{C04FBB4A-53CC-458D-8AB3-33999FE01296}"/>
                    </a:ext>
                  </a:extLst>
                </p:cNvPr>
                <p:cNvGrpSpPr/>
                <p:nvPr/>
              </p:nvGrpSpPr>
              <p:grpSpPr>
                <a:xfrm>
                  <a:off x="5791771" y="3527964"/>
                  <a:ext cx="75723" cy="75723"/>
                  <a:chOff x="5791771" y="3527964"/>
                  <a:chExt cx="75723" cy="75723"/>
                </a:xfrm>
              </p:grpSpPr>
              <p:sp>
                <p:nvSpPr>
                  <p:cNvPr id="1845" name="Freeform: Shape 1844">
                    <a:extLst>
                      <a:ext uri="{FF2B5EF4-FFF2-40B4-BE49-F238E27FC236}">
                        <a16:creationId xmlns:a16="http://schemas.microsoft.com/office/drawing/2014/main" id="{49999386-F71E-8216-81A7-94D910AFA799}"/>
                      </a:ext>
                    </a:extLst>
                  </p:cNvPr>
                  <p:cNvSpPr/>
                  <p:nvPr/>
                </p:nvSpPr>
                <p:spPr>
                  <a:xfrm>
                    <a:off x="582968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6" name="Freeform: Shape 1845">
                    <a:extLst>
                      <a:ext uri="{FF2B5EF4-FFF2-40B4-BE49-F238E27FC236}">
                        <a16:creationId xmlns:a16="http://schemas.microsoft.com/office/drawing/2014/main" id="{4BE4B144-4513-9FEC-B258-BC3736B6EE23}"/>
                      </a:ext>
                    </a:extLst>
                  </p:cNvPr>
                  <p:cNvSpPr/>
                  <p:nvPr/>
                </p:nvSpPr>
                <p:spPr>
                  <a:xfrm>
                    <a:off x="5791771"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5" name="Graphic 16">
                  <a:extLst>
                    <a:ext uri="{FF2B5EF4-FFF2-40B4-BE49-F238E27FC236}">
                      <a16:creationId xmlns:a16="http://schemas.microsoft.com/office/drawing/2014/main" id="{FD5DAD80-90CE-2F82-2AE1-DDF04A1D72DE}"/>
                    </a:ext>
                  </a:extLst>
                </p:cNvPr>
                <p:cNvGrpSpPr/>
                <p:nvPr/>
              </p:nvGrpSpPr>
              <p:grpSpPr>
                <a:xfrm>
                  <a:off x="5901499" y="3600735"/>
                  <a:ext cx="75723" cy="75723"/>
                  <a:chOff x="5901499" y="3600735"/>
                  <a:chExt cx="75723" cy="75723"/>
                </a:xfrm>
              </p:grpSpPr>
              <p:sp>
                <p:nvSpPr>
                  <p:cNvPr id="1843" name="Freeform: Shape 1842">
                    <a:extLst>
                      <a:ext uri="{FF2B5EF4-FFF2-40B4-BE49-F238E27FC236}">
                        <a16:creationId xmlns:a16="http://schemas.microsoft.com/office/drawing/2014/main" id="{F3B5147C-B47E-7A9E-3D3B-6AE8F781710A}"/>
                      </a:ext>
                    </a:extLst>
                  </p:cNvPr>
                  <p:cNvSpPr/>
                  <p:nvPr/>
                </p:nvSpPr>
                <p:spPr>
                  <a:xfrm>
                    <a:off x="5939313"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4" name="Freeform: Shape 1843">
                    <a:extLst>
                      <a:ext uri="{FF2B5EF4-FFF2-40B4-BE49-F238E27FC236}">
                        <a16:creationId xmlns:a16="http://schemas.microsoft.com/office/drawing/2014/main" id="{154F2A53-F28D-1B54-99B6-77B309823413}"/>
                      </a:ext>
                    </a:extLst>
                  </p:cNvPr>
                  <p:cNvSpPr/>
                  <p:nvPr/>
                </p:nvSpPr>
                <p:spPr>
                  <a:xfrm>
                    <a:off x="590149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6" name="Graphic 16">
                  <a:extLst>
                    <a:ext uri="{FF2B5EF4-FFF2-40B4-BE49-F238E27FC236}">
                      <a16:creationId xmlns:a16="http://schemas.microsoft.com/office/drawing/2014/main" id="{38FE0CF5-5A8E-937D-EAB0-B47CB8A2A5AD}"/>
                    </a:ext>
                  </a:extLst>
                </p:cNvPr>
                <p:cNvGrpSpPr/>
                <p:nvPr/>
              </p:nvGrpSpPr>
              <p:grpSpPr>
                <a:xfrm>
                  <a:off x="5932169" y="3600735"/>
                  <a:ext cx="75723" cy="75723"/>
                  <a:chOff x="5932169" y="3600735"/>
                  <a:chExt cx="75723" cy="75723"/>
                </a:xfrm>
              </p:grpSpPr>
              <p:sp>
                <p:nvSpPr>
                  <p:cNvPr id="1841" name="Freeform: Shape 1840">
                    <a:extLst>
                      <a:ext uri="{FF2B5EF4-FFF2-40B4-BE49-F238E27FC236}">
                        <a16:creationId xmlns:a16="http://schemas.microsoft.com/office/drawing/2014/main" id="{239D0B86-01D6-EB85-9F6B-307FD881C0D5}"/>
                      </a:ext>
                    </a:extLst>
                  </p:cNvPr>
                  <p:cNvSpPr/>
                  <p:nvPr/>
                </p:nvSpPr>
                <p:spPr>
                  <a:xfrm>
                    <a:off x="5970079"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2" name="Freeform: Shape 1841">
                    <a:extLst>
                      <a:ext uri="{FF2B5EF4-FFF2-40B4-BE49-F238E27FC236}">
                        <a16:creationId xmlns:a16="http://schemas.microsoft.com/office/drawing/2014/main" id="{F16F97DF-21B5-FC77-FBE1-7DA68707EA40}"/>
                      </a:ext>
                    </a:extLst>
                  </p:cNvPr>
                  <p:cNvSpPr/>
                  <p:nvPr/>
                </p:nvSpPr>
                <p:spPr>
                  <a:xfrm>
                    <a:off x="593216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7" name="Graphic 16">
                  <a:extLst>
                    <a:ext uri="{FF2B5EF4-FFF2-40B4-BE49-F238E27FC236}">
                      <a16:creationId xmlns:a16="http://schemas.microsoft.com/office/drawing/2014/main" id="{1990F679-A342-B21B-2A00-B8C8EBA2D71E}"/>
                    </a:ext>
                  </a:extLst>
                </p:cNvPr>
                <p:cNvGrpSpPr/>
                <p:nvPr/>
              </p:nvGrpSpPr>
              <p:grpSpPr>
                <a:xfrm>
                  <a:off x="6109429" y="3656456"/>
                  <a:ext cx="75723" cy="75628"/>
                  <a:chOff x="6109429" y="3656456"/>
                  <a:chExt cx="75723" cy="75628"/>
                </a:xfrm>
              </p:grpSpPr>
              <p:sp>
                <p:nvSpPr>
                  <p:cNvPr id="1839" name="Freeform: Shape 1838">
                    <a:extLst>
                      <a:ext uri="{FF2B5EF4-FFF2-40B4-BE49-F238E27FC236}">
                        <a16:creationId xmlns:a16="http://schemas.microsoft.com/office/drawing/2014/main" id="{7B4EB7EA-363A-3A8A-0F9C-7DBC9F784D10}"/>
                      </a:ext>
                    </a:extLst>
                  </p:cNvPr>
                  <p:cNvSpPr/>
                  <p:nvPr/>
                </p:nvSpPr>
                <p:spPr>
                  <a:xfrm>
                    <a:off x="614724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40" name="Freeform: Shape 1839">
                    <a:extLst>
                      <a:ext uri="{FF2B5EF4-FFF2-40B4-BE49-F238E27FC236}">
                        <a16:creationId xmlns:a16="http://schemas.microsoft.com/office/drawing/2014/main" id="{E6296F3E-65A9-69E5-2B76-800DD2AE2DBF}"/>
                      </a:ext>
                    </a:extLst>
                  </p:cNvPr>
                  <p:cNvSpPr/>
                  <p:nvPr/>
                </p:nvSpPr>
                <p:spPr>
                  <a:xfrm>
                    <a:off x="610942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8" name="Graphic 16">
                  <a:extLst>
                    <a:ext uri="{FF2B5EF4-FFF2-40B4-BE49-F238E27FC236}">
                      <a16:creationId xmlns:a16="http://schemas.microsoft.com/office/drawing/2014/main" id="{D2980470-B9B6-EFFA-6F01-DC1992324C2B}"/>
                    </a:ext>
                  </a:extLst>
                </p:cNvPr>
                <p:cNvGrpSpPr/>
                <p:nvPr/>
              </p:nvGrpSpPr>
              <p:grpSpPr>
                <a:xfrm>
                  <a:off x="6126860" y="3656456"/>
                  <a:ext cx="75723" cy="75628"/>
                  <a:chOff x="6126860" y="3656456"/>
                  <a:chExt cx="75723" cy="75628"/>
                </a:xfrm>
              </p:grpSpPr>
              <p:sp>
                <p:nvSpPr>
                  <p:cNvPr id="1837" name="Freeform: Shape 1836">
                    <a:extLst>
                      <a:ext uri="{FF2B5EF4-FFF2-40B4-BE49-F238E27FC236}">
                        <a16:creationId xmlns:a16="http://schemas.microsoft.com/office/drawing/2014/main" id="{9D3C649D-0883-6722-35FC-0D7EAF44F7BF}"/>
                      </a:ext>
                    </a:extLst>
                  </p:cNvPr>
                  <p:cNvSpPr/>
                  <p:nvPr/>
                </p:nvSpPr>
                <p:spPr>
                  <a:xfrm>
                    <a:off x="616467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8" name="Freeform: Shape 1837">
                    <a:extLst>
                      <a:ext uri="{FF2B5EF4-FFF2-40B4-BE49-F238E27FC236}">
                        <a16:creationId xmlns:a16="http://schemas.microsoft.com/office/drawing/2014/main" id="{530E877C-A61C-4C4B-C0BD-F0F50886B149}"/>
                      </a:ext>
                    </a:extLst>
                  </p:cNvPr>
                  <p:cNvSpPr/>
                  <p:nvPr/>
                </p:nvSpPr>
                <p:spPr>
                  <a:xfrm>
                    <a:off x="612686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29" name="Graphic 16">
                  <a:extLst>
                    <a:ext uri="{FF2B5EF4-FFF2-40B4-BE49-F238E27FC236}">
                      <a16:creationId xmlns:a16="http://schemas.microsoft.com/office/drawing/2014/main" id="{4AAF0FDD-8B67-AE3D-B9DD-1D118026A1B1}"/>
                    </a:ext>
                  </a:extLst>
                </p:cNvPr>
                <p:cNvGrpSpPr/>
                <p:nvPr/>
              </p:nvGrpSpPr>
              <p:grpSpPr>
                <a:xfrm>
                  <a:off x="6256781" y="3683602"/>
                  <a:ext cx="75723" cy="75628"/>
                  <a:chOff x="6256781" y="3683602"/>
                  <a:chExt cx="75723" cy="75628"/>
                </a:xfrm>
              </p:grpSpPr>
              <p:sp>
                <p:nvSpPr>
                  <p:cNvPr id="1835" name="Freeform: Shape 1834">
                    <a:extLst>
                      <a:ext uri="{FF2B5EF4-FFF2-40B4-BE49-F238E27FC236}">
                        <a16:creationId xmlns:a16="http://schemas.microsoft.com/office/drawing/2014/main" id="{0ED2DCE4-2637-7CAF-B58D-CEC51B7EFE80}"/>
                      </a:ext>
                    </a:extLst>
                  </p:cNvPr>
                  <p:cNvSpPr/>
                  <p:nvPr/>
                </p:nvSpPr>
                <p:spPr>
                  <a:xfrm>
                    <a:off x="6294595"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6" name="Freeform: Shape 1835">
                    <a:extLst>
                      <a:ext uri="{FF2B5EF4-FFF2-40B4-BE49-F238E27FC236}">
                        <a16:creationId xmlns:a16="http://schemas.microsoft.com/office/drawing/2014/main" id="{D8C118DB-6F53-7841-9A44-99CDAAE4EE36}"/>
                      </a:ext>
                    </a:extLst>
                  </p:cNvPr>
                  <p:cNvSpPr/>
                  <p:nvPr/>
                </p:nvSpPr>
                <p:spPr>
                  <a:xfrm>
                    <a:off x="6256781"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0" name="Graphic 16">
                  <a:extLst>
                    <a:ext uri="{FF2B5EF4-FFF2-40B4-BE49-F238E27FC236}">
                      <a16:creationId xmlns:a16="http://schemas.microsoft.com/office/drawing/2014/main" id="{5710B4EF-C703-3717-AEAA-4D2726429450}"/>
                    </a:ext>
                  </a:extLst>
                </p:cNvPr>
                <p:cNvGrpSpPr/>
                <p:nvPr/>
              </p:nvGrpSpPr>
              <p:grpSpPr>
                <a:xfrm>
                  <a:off x="6264973" y="3683602"/>
                  <a:ext cx="75723" cy="75628"/>
                  <a:chOff x="6264973" y="3683602"/>
                  <a:chExt cx="75723" cy="75628"/>
                </a:xfrm>
              </p:grpSpPr>
              <p:sp>
                <p:nvSpPr>
                  <p:cNvPr id="1833" name="Freeform: Shape 1832">
                    <a:extLst>
                      <a:ext uri="{FF2B5EF4-FFF2-40B4-BE49-F238E27FC236}">
                        <a16:creationId xmlns:a16="http://schemas.microsoft.com/office/drawing/2014/main" id="{2D00CB05-CB1D-B78A-9246-116D04A73595}"/>
                      </a:ext>
                    </a:extLst>
                  </p:cNvPr>
                  <p:cNvSpPr/>
                  <p:nvPr/>
                </p:nvSpPr>
                <p:spPr>
                  <a:xfrm>
                    <a:off x="6302882"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4" name="Freeform: Shape 1833">
                    <a:extLst>
                      <a:ext uri="{FF2B5EF4-FFF2-40B4-BE49-F238E27FC236}">
                        <a16:creationId xmlns:a16="http://schemas.microsoft.com/office/drawing/2014/main" id="{F57D9EBC-BB97-6403-9386-4A2610EF923B}"/>
                      </a:ext>
                    </a:extLst>
                  </p:cNvPr>
                  <p:cNvSpPr/>
                  <p:nvPr/>
                </p:nvSpPr>
                <p:spPr>
                  <a:xfrm>
                    <a:off x="6264973"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1" name="Graphic 16">
                  <a:extLst>
                    <a:ext uri="{FF2B5EF4-FFF2-40B4-BE49-F238E27FC236}">
                      <a16:creationId xmlns:a16="http://schemas.microsoft.com/office/drawing/2014/main" id="{C7B1B1F0-6DCD-C4A0-A7CE-90B9216A2C88}"/>
                    </a:ext>
                  </a:extLst>
                </p:cNvPr>
                <p:cNvGrpSpPr/>
                <p:nvPr/>
              </p:nvGrpSpPr>
              <p:grpSpPr>
                <a:xfrm>
                  <a:off x="6297453" y="3692461"/>
                  <a:ext cx="75723" cy="75628"/>
                  <a:chOff x="6297453" y="3692461"/>
                  <a:chExt cx="75723" cy="75628"/>
                </a:xfrm>
              </p:grpSpPr>
              <p:sp>
                <p:nvSpPr>
                  <p:cNvPr id="1831" name="Freeform: Shape 1830">
                    <a:extLst>
                      <a:ext uri="{FF2B5EF4-FFF2-40B4-BE49-F238E27FC236}">
                        <a16:creationId xmlns:a16="http://schemas.microsoft.com/office/drawing/2014/main" id="{B75C5BB3-66C0-FD10-4797-F3AC9BE5C712}"/>
                      </a:ext>
                    </a:extLst>
                  </p:cNvPr>
                  <p:cNvSpPr/>
                  <p:nvPr/>
                </p:nvSpPr>
                <p:spPr>
                  <a:xfrm>
                    <a:off x="6335362"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2" name="Freeform: Shape 1831">
                    <a:extLst>
                      <a:ext uri="{FF2B5EF4-FFF2-40B4-BE49-F238E27FC236}">
                        <a16:creationId xmlns:a16="http://schemas.microsoft.com/office/drawing/2014/main" id="{6ED97D96-15E0-E59D-44ED-A76C1CD2F910}"/>
                      </a:ext>
                    </a:extLst>
                  </p:cNvPr>
                  <p:cNvSpPr/>
                  <p:nvPr/>
                </p:nvSpPr>
                <p:spPr>
                  <a:xfrm>
                    <a:off x="6297453"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2" name="Graphic 16">
                  <a:extLst>
                    <a:ext uri="{FF2B5EF4-FFF2-40B4-BE49-F238E27FC236}">
                      <a16:creationId xmlns:a16="http://schemas.microsoft.com/office/drawing/2014/main" id="{E461D1EB-794B-D8B1-7016-D48E355B077B}"/>
                    </a:ext>
                  </a:extLst>
                </p:cNvPr>
                <p:cNvGrpSpPr/>
                <p:nvPr/>
              </p:nvGrpSpPr>
              <p:grpSpPr>
                <a:xfrm>
                  <a:off x="6309645" y="3692461"/>
                  <a:ext cx="75723" cy="75628"/>
                  <a:chOff x="6309645" y="3692461"/>
                  <a:chExt cx="75723" cy="75628"/>
                </a:xfrm>
              </p:grpSpPr>
              <p:sp>
                <p:nvSpPr>
                  <p:cNvPr id="1829" name="Freeform: Shape 1828">
                    <a:extLst>
                      <a:ext uri="{FF2B5EF4-FFF2-40B4-BE49-F238E27FC236}">
                        <a16:creationId xmlns:a16="http://schemas.microsoft.com/office/drawing/2014/main" id="{CD2B8904-0A02-443F-290A-BFDDD9C34B36}"/>
                      </a:ext>
                    </a:extLst>
                  </p:cNvPr>
                  <p:cNvSpPr/>
                  <p:nvPr/>
                </p:nvSpPr>
                <p:spPr>
                  <a:xfrm>
                    <a:off x="6347554"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30" name="Freeform: Shape 1829">
                    <a:extLst>
                      <a:ext uri="{FF2B5EF4-FFF2-40B4-BE49-F238E27FC236}">
                        <a16:creationId xmlns:a16="http://schemas.microsoft.com/office/drawing/2014/main" id="{96BCD92C-C2A0-7DD2-73E0-3C057A2FE354}"/>
                      </a:ext>
                    </a:extLst>
                  </p:cNvPr>
                  <p:cNvSpPr/>
                  <p:nvPr/>
                </p:nvSpPr>
                <p:spPr>
                  <a:xfrm>
                    <a:off x="6309645"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3" name="Graphic 16">
                  <a:extLst>
                    <a:ext uri="{FF2B5EF4-FFF2-40B4-BE49-F238E27FC236}">
                      <a16:creationId xmlns:a16="http://schemas.microsoft.com/office/drawing/2014/main" id="{E9A30A95-3A7C-9F4B-FD7E-AC5682B42E29}"/>
                    </a:ext>
                  </a:extLst>
                </p:cNvPr>
                <p:cNvGrpSpPr/>
                <p:nvPr/>
              </p:nvGrpSpPr>
              <p:grpSpPr>
                <a:xfrm>
                  <a:off x="6356984" y="3708272"/>
                  <a:ext cx="75628" cy="75723"/>
                  <a:chOff x="6356984" y="3708272"/>
                  <a:chExt cx="75628" cy="75723"/>
                </a:xfrm>
              </p:grpSpPr>
              <p:sp>
                <p:nvSpPr>
                  <p:cNvPr id="1827" name="Freeform: Shape 1826">
                    <a:extLst>
                      <a:ext uri="{FF2B5EF4-FFF2-40B4-BE49-F238E27FC236}">
                        <a16:creationId xmlns:a16="http://schemas.microsoft.com/office/drawing/2014/main" id="{71214FC2-B298-74F8-2AF9-1CB8B3E1B57B}"/>
                      </a:ext>
                    </a:extLst>
                  </p:cNvPr>
                  <p:cNvSpPr/>
                  <p:nvPr/>
                </p:nvSpPr>
                <p:spPr>
                  <a:xfrm>
                    <a:off x="6394798"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8" name="Freeform: Shape 1827">
                    <a:extLst>
                      <a:ext uri="{FF2B5EF4-FFF2-40B4-BE49-F238E27FC236}">
                        <a16:creationId xmlns:a16="http://schemas.microsoft.com/office/drawing/2014/main" id="{4E65481F-AFB8-C0A4-1A41-C86128AAF8F9}"/>
                      </a:ext>
                    </a:extLst>
                  </p:cNvPr>
                  <p:cNvSpPr/>
                  <p:nvPr/>
                </p:nvSpPr>
                <p:spPr>
                  <a:xfrm>
                    <a:off x="6356984"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4" name="Graphic 16">
                  <a:extLst>
                    <a:ext uri="{FF2B5EF4-FFF2-40B4-BE49-F238E27FC236}">
                      <a16:creationId xmlns:a16="http://schemas.microsoft.com/office/drawing/2014/main" id="{16EA5D18-01EA-A6C4-0150-7FFF619C863E}"/>
                    </a:ext>
                  </a:extLst>
                </p:cNvPr>
                <p:cNvGrpSpPr/>
                <p:nvPr/>
              </p:nvGrpSpPr>
              <p:grpSpPr>
                <a:xfrm>
                  <a:off x="6332314" y="3708272"/>
                  <a:ext cx="75723" cy="75723"/>
                  <a:chOff x="6332314" y="3708272"/>
                  <a:chExt cx="75723" cy="75723"/>
                </a:xfrm>
              </p:grpSpPr>
              <p:sp>
                <p:nvSpPr>
                  <p:cNvPr id="1825" name="Freeform: Shape 1824">
                    <a:extLst>
                      <a:ext uri="{FF2B5EF4-FFF2-40B4-BE49-F238E27FC236}">
                        <a16:creationId xmlns:a16="http://schemas.microsoft.com/office/drawing/2014/main" id="{2BA3F9B7-B2FB-C416-943C-0E639C9EF03A}"/>
                      </a:ext>
                    </a:extLst>
                  </p:cNvPr>
                  <p:cNvSpPr/>
                  <p:nvPr/>
                </p:nvSpPr>
                <p:spPr>
                  <a:xfrm>
                    <a:off x="6370224"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6" name="Freeform: Shape 1825">
                    <a:extLst>
                      <a:ext uri="{FF2B5EF4-FFF2-40B4-BE49-F238E27FC236}">
                        <a16:creationId xmlns:a16="http://schemas.microsoft.com/office/drawing/2014/main" id="{E6467917-C599-6AF9-B5D8-B0A213624BC1}"/>
                      </a:ext>
                    </a:extLst>
                  </p:cNvPr>
                  <p:cNvSpPr/>
                  <p:nvPr/>
                </p:nvSpPr>
                <p:spPr>
                  <a:xfrm>
                    <a:off x="6332314"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5" name="Graphic 16">
                  <a:extLst>
                    <a:ext uri="{FF2B5EF4-FFF2-40B4-BE49-F238E27FC236}">
                      <a16:creationId xmlns:a16="http://schemas.microsoft.com/office/drawing/2014/main" id="{77E362A1-BFC9-F5EF-E42E-B837F49F5538}"/>
                    </a:ext>
                  </a:extLst>
                </p:cNvPr>
                <p:cNvGrpSpPr/>
                <p:nvPr/>
              </p:nvGrpSpPr>
              <p:grpSpPr>
                <a:xfrm>
                  <a:off x="6466426" y="3708272"/>
                  <a:ext cx="75628" cy="75723"/>
                  <a:chOff x="6466426" y="3708272"/>
                  <a:chExt cx="75628" cy="75723"/>
                </a:xfrm>
              </p:grpSpPr>
              <p:sp>
                <p:nvSpPr>
                  <p:cNvPr id="1823" name="Freeform: Shape 1822">
                    <a:extLst>
                      <a:ext uri="{FF2B5EF4-FFF2-40B4-BE49-F238E27FC236}">
                        <a16:creationId xmlns:a16="http://schemas.microsoft.com/office/drawing/2014/main" id="{00C2B802-1937-3890-F72A-DBE653806D56}"/>
                      </a:ext>
                    </a:extLst>
                  </p:cNvPr>
                  <p:cNvSpPr/>
                  <p:nvPr/>
                </p:nvSpPr>
                <p:spPr>
                  <a:xfrm>
                    <a:off x="6504241"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4" name="Freeform: Shape 1823">
                    <a:extLst>
                      <a:ext uri="{FF2B5EF4-FFF2-40B4-BE49-F238E27FC236}">
                        <a16:creationId xmlns:a16="http://schemas.microsoft.com/office/drawing/2014/main" id="{F240DE0B-9EAB-2F6A-4C72-25AB490EF0CB}"/>
                      </a:ext>
                    </a:extLst>
                  </p:cNvPr>
                  <p:cNvSpPr/>
                  <p:nvPr/>
                </p:nvSpPr>
                <p:spPr>
                  <a:xfrm>
                    <a:off x="6466426"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6" name="Graphic 16">
                  <a:extLst>
                    <a:ext uri="{FF2B5EF4-FFF2-40B4-BE49-F238E27FC236}">
                      <a16:creationId xmlns:a16="http://schemas.microsoft.com/office/drawing/2014/main" id="{FDDD6CC5-EEFE-8BD4-660D-F877AF749F47}"/>
                    </a:ext>
                  </a:extLst>
                </p:cNvPr>
                <p:cNvGrpSpPr/>
                <p:nvPr/>
              </p:nvGrpSpPr>
              <p:grpSpPr>
                <a:xfrm>
                  <a:off x="6431279" y="3708272"/>
                  <a:ext cx="75723" cy="75723"/>
                  <a:chOff x="6431279" y="3708272"/>
                  <a:chExt cx="75723" cy="75723"/>
                </a:xfrm>
              </p:grpSpPr>
              <p:sp>
                <p:nvSpPr>
                  <p:cNvPr id="1821" name="Freeform: Shape 1820">
                    <a:extLst>
                      <a:ext uri="{FF2B5EF4-FFF2-40B4-BE49-F238E27FC236}">
                        <a16:creationId xmlns:a16="http://schemas.microsoft.com/office/drawing/2014/main" id="{85BDE0ED-6908-A9EC-ACB3-56D48414B757}"/>
                      </a:ext>
                    </a:extLst>
                  </p:cNvPr>
                  <p:cNvSpPr/>
                  <p:nvPr/>
                </p:nvSpPr>
                <p:spPr>
                  <a:xfrm>
                    <a:off x="6469093"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2" name="Freeform: Shape 1821">
                    <a:extLst>
                      <a:ext uri="{FF2B5EF4-FFF2-40B4-BE49-F238E27FC236}">
                        <a16:creationId xmlns:a16="http://schemas.microsoft.com/office/drawing/2014/main" id="{C73AA30B-D577-BDBA-855C-D880F2E63DAF}"/>
                      </a:ext>
                    </a:extLst>
                  </p:cNvPr>
                  <p:cNvSpPr/>
                  <p:nvPr/>
                </p:nvSpPr>
                <p:spPr>
                  <a:xfrm>
                    <a:off x="6431279"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7" name="Graphic 16">
                  <a:extLst>
                    <a:ext uri="{FF2B5EF4-FFF2-40B4-BE49-F238E27FC236}">
                      <a16:creationId xmlns:a16="http://schemas.microsoft.com/office/drawing/2014/main" id="{79C4FA81-22BD-3EF2-7AAB-1F7B6970EAEF}"/>
                    </a:ext>
                  </a:extLst>
                </p:cNvPr>
                <p:cNvGrpSpPr/>
                <p:nvPr/>
              </p:nvGrpSpPr>
              <p:grpSpPr>
                <a:xfrm>
                  <a:off x="6404038" y="3708272"/>
                  <a:ext cx="75723" cy="75723"/>
                  <a:chOff x="6404038" y="3708272"/>
                  <a:chExt cx="75723" cy="75723"/>
                </a:xfrm>
              </p:grpSpPr>
              <p:sp>
                <p:nvSpPr>
                  <p:cNvPr id="1819" name="Freeform: Shape 1818">
                    <a:extLst>
                      <a:ext uri="{FF2B5EF4-FFF2-40B4-BE49-F238E27FC236}">
                        <a16:creationId xmlns:a16="http://schemas.microsoft.com/office/drawing/2014/main" id="{C0096B4A-11CD-3A78-C9D6-06E22136A92A}"/>
                      </a:ext>
                    </a:extLst>
                  </p:cNvPr>
                  <p:cNvSpPr/>
                  <p:nvPr/>
                </p:nvSpPr>
                <p:spPr>
                  <a:xfrm>
                    <a:off x="6441947"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20" name="Freeform: Shape 1819">
                    <a:extLst>
                      <a:ext uri="{FF2B5EF4-FFF2-40B4-BE49-F238E27FC236}">
                        <a16:creationId xmlns:a16="http://schemas.microsoft.com/office/drawing/2014/main" id="{654E6FE8-F88C-926B-C135-463699722820}"/>
                      </a:ext>
                    </a:extLst>
                  </p:cNvPr>
                  <p:cNvSpPr/>
                  <p:nvPr/>
                </p:nvSpPr>
                <p:spPr>
                  <a:xfrm>
                    <a:off x="6404038"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8" name="Graphic 16">
                  <a:extLst>
                    <a:ext uri="{FF2B5EF4-FFF2-40B4-BE49-F238E27FC236}">
                      <a16:creationId xmlns:a16="http://schemas.microsoft.com/office/drawing/2014/main" id="{43338635-A208-EB56-DC7A-97BFEADF950D}"/>
                    </a:ext>
                  </a:extLst>
                </p:cNvPr>
                <p:cNvGrpSpPr/>
                <p:nvPr/>
              </p:nvGrpSpPr>
              <p:grpSpPr>
                <a:xfrm>
                  <a:off x="6378511" y="3708272"/>
                  <a:ext cx="75723" cy="75723"/>
                  <a:chOff x="6378511" y="3708272"/>
                  <a:chExt cx="75723" cy="75723"/>
                </a:xfrm>
              </p:grpSpPr>
              <p:sp>
                <p:nvSpPr>
                  <p:cNvPr id="1817" name="Freeform: Shape 1816">
                    <a:extLst>
                      <a:ext uri="{FF2B5EF4-FFF2-40B4-BE49-F238E27FC236}">
                        <a16:creationId xmlns:a16="http://schemas.microsoft.com/office/drawing/2014/main" id="{EB418255-A3F2-CC49-5E90-13D159828928}"/>
                      </a:ext>
                    </a:extLst>
                  </p:cNvPr>
                  <p:cNvSpPr/>
                  <p:nvPr/>
                </p:nvSpPr>
                <p:spPr>
                  <a:xfrm>
                    <a:off x="6416420"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8" name="Freeform: Shape 1817">
                    <a:extLst>
                      <a:ext uri="{FF2B5EF4-FFF2-40B4-BE49-F238E27FC236}">
                        <a16:creationId xmlns:a16="http://schemas.microsoft.com/office/drawing/2014/main" id="{EC10D2F4-6852-985A-DE11-66F2EDA9EC22}"/>
                      </a:ext>
                    </a:extLst>
                  </p:cNvPr>
                  <p:cNvSpPr/>
                  <p:nvPr/>
                </p:nvSpPr>
                <p:spPr>
                  <a:xfrm>
                    <a:off x="6378511"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39" name="Graphic 16">
                  <a:extLst>
                    <a:ext uri="{FF2B5EF4-FFF2-40B4-BE49-F238E27FC236}">
                      <a16:creationId xmlns:a16="http://schemas.microsoft.com/office/drawing/2014/main" id="{03334F1F-62CB-ACA4-151B-C0422F7F2B02}"/>
                    </a:ext>
                  </a:extLst>
                </p:cNvPr>
                <p:cNvGrpSpPr/>
                <p:nvPr/>
              </p:nvGrpSpPr>
              <p:grpSpPr>
                <a:xfrm>
                  <a:off x="6603872" y="3784186"/>
                  <a:ext cx="75628" cy="75723"/>
                  <a:chOff x="6603872" y="3784186"/>
                  <a:chExt cx="75628" cy="75723"/>
                </a:xfrm>
              </p:grpSpPr>
              <p:sp>
                <p:nvSpPr>
                  <p:cNvPr id="1815" name="Freeform: Shape 1814">
                    <a:extLst>
                      <a:ext uri="{FF2B5EF4-FFF2-40B4-BE49-F238E27FC236}">
                        <a16:creationId xmlns:a16="http://schemas.microsoft.com/office/drawing/2014/main" id="{78670D62-7658-4BCE-4D41-596BB69F7994}"/>
                      </a:ext>
                    </a:extLst>
                  </p:cNvPr>
                  <p:cNvSpPr/>
                  <p:nvPr/>
                </p:nvSpPr>
                <p:spPr>
                  <a:xfrm>
                    <a:off x="664168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6" name="Freeform: Shape 1815">
                    <a:extLst>
                      <a:ext uri="{FF2B5EF4-FFF2-40B4-BE49-F238E27FC236}">
                        <a16:creationId xmlns:a16="http://schemas.microsoft.com/office/drawing/2014/main" id="{D5ACA8B0-447D-D37B-0E64-05E1ABDC1EE0}"/>
                      </a:ext>
                    </a:extLst>
                  </p:cNvPr>
                  <p:cNvSpPr/>
                  <p:nvPr/>
                </p:nvSpPr>
                <p:spPr>
                  <a:xfrm>
                    <a:off x="6603872"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0" name="Graphic 16">
                  <a:extLst>
                    <a:ext uri="{FF2B5EF4-FFF2-40B4-BE49-F238E27FC236}">
                      <a16:creationId xmlns:a16="http://schemas.microsoft.com/office/drawing/2014/main" id="{925D3F0C-7B4C-5400-4FAF-777214A91CBD}"/>
                    </a:ext>
                  </a:extLst>
                </p:cNvPr>
                <p:cNvGrpSpPr/>
                <p:nvPr/>
              </p:nvGrpSpPr>
              <p:grpSpPr>
                <a:xfrm>
                  <a:off x="6619112" y="3784186"/>
                  <a:ext cx="75628" cy="75723"/>
                  <a:chOff x="6619112" y="3784186"/>
                  <a:chExt cx="75628" cy="75723"/>
                </a:xfrm>
              </p:grpSpPr>
              <p:sp>
                <p:nvSpPr>
                  <p:cNvPr id="1813" name="Freeform: Shape 1812">
                    <a:extLst>
                      <a:ext uri="{FF2B5EF4-FFF2-40B4-BE49-F238E27FC236}">
                        <a16:creationId xmlns:a16="http://schemas.microsoft.com/office/drawing/2014/main" id="{5648B91D-31F6-F1FC-E397-2B361279BA41}"/>
                      </a:ext>
                    </a:extLst>
                  </p:cNvPr>
                  <p:cNvSpPr/>
                  <p:nvPr/>
                </p:nvSpPr>
                <p:spPr>
                  <a:xfrm>
                    <a:off x="665692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4" name="Freeform: Shape 1813">
                    <a:extLst>
                      <a:ext uri="{FF2B5EF4-FFF2-40B4-BE49-F238E27FC236}">
                        <a16:creationId xmlns:a16="http://schemas.microsoft.com/office/drawing/2014/main" id="{0691EBB9-5E32-3DC8-1207-3110E43D5E27}"/>
                      </a:ext>
                    </a:extLst>
                  </p:cNvPr>
                  <p:cNvSpPr/>
                  <p:nvPr/>
                </p:nvSpPr>
                <p:spPr>
                  <a:xfrm>
                    <a:off x="6619112"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1" name="Graphic 16">
                  <a:extLst>
                    <a:ext uri="{FF2B5EF4-FFF2-40B4-BE49-F238E27FC236}">
                      <a16:creationId xmlns:a16="http://schemas.microsoft.com/office/drawing/2014/main" id="{A05B9CE4-620A-D84D-0B9F-90C16BFA1ABF}"/>
                    </a:ext>
                  </a:extLst>
                </p:cNvPr>
                <p:cNvGrpSpPr/>
                <p:nvPr/>
              </p:nvGrpSpPr>
              <p:grpSpPr>
                <a:xfrm>
                  <a:off x="6634352" y="3784186"/>
                  <a:ext cx="75723" cy="75723"/>
                  <a:chOff x="6634352" y="3784186"/>
                  <a:chExt cx="75723" cy="75723"/>
                </a:xfrm>
              </p:grpSpPr>
              <p:sp>
                <p:nvSpPr>
                  <p:cNvPr id="1811" name="Freeform: Shape 1810">
                    <a:extLst>
                      <a:ext uri="{FF2B5EF4-FFF2-40B4-BE49-F238E27FC236}">
                        <a16:creationId xmlns:a16="http://schemas.microsoft.com/office/drawing/2014/main" id="{11ACF4B8-AD4D-C30B-3AA7-32CBE9AD3C9E}"/>
                      </a:ext>
                    </a:extLst>
                  </p:cNvPr>
                  <p:cNvSpPr/>
                  <p:nvPr/>
                </p:nvSpPr>
                <p:spPr>
                  <a:xfrm>
                    <a:off x="667216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2" name="Freeform: Shape 1811">
                    <a:extLst>
                      <a:ext uri="{FF2B5EF4-FFF2-40B4-BE49-F238E27FC236}">
                        <a16:creationId xmlns:a16="http://schemas.microsoft.com/office/drawing/2014/main" id="{2A588E85-4A74-91DF-F7FF-9BD7982AB095}"/>
                      </a:ext>
                    </a:extLst>
                  </p:cNvPr>
                  <p:cNvSpPr/>
                  <p:nvPr/>
                </p:nvSpPr>
                <p:spPr>
                  <a:xfrm>
                    <a:off x="663435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2" name="Graphic 16">
                  <a:extLst>
                    <a:ext uri="{FF2B5EF4-FFF2-40B4-BE49-F238E27FC236}">
                      <a16:creationId xmlns:a16="http://schemas.microsoft.com/office/drawing/2014/main" id="{AB37ED98-FFA6-CA8F-AB45-31FA5E186030}"/>
                    </a:ext>
                  </a:extLst>
                </p:cNvPr>
                <p:cNvGrpSpPr/>
                <p:nvPr/>
              </p:nvGrpSpPr>
              <p:grpSpPr>
                <a:xfrm>
                  <a:off x="6649592" y="3784186"/>
                  <a:ext cx="75723" cy="75723"/>
                  <a:chOff x="6649592" y="3784186"/>
                  <a:chExt cx="75723" cy="75723"/>
                </a:xfrm>
              </p:grpSpPr>
              <p:sp>
                <p:nvSpPr>
                  <p:cNvPr id="1809" name="Freeform: Shape 1808">
                    <a:extLst>
                      <a:ext uri="{FF2B5EF4-FFF2-40B4-BE49-F238E27FC236}">
                        <a16:creationId xmlns:a16="http://schemas.microsoft.com/office/drawing/2014/main" id="{DB5123DD-DA81-F4A4-BC11-8E770EB171AA}"/>
                      </a:ext>
                    </a:extLst>
                  </p:cNvPr>
                  <p:cNvSpPr/>
                  <p:nvPr/>
                </p:nvSpPr>
                <p:spPr>
                  <a:xfrm>
                    <a:off x="668740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10" name="Freeform: Shape 1809">
                    <a:extLst>
                      <a:ext uri="{FF2B5EF4-FFF2-40B4-BE49-F238E27FC236}">
                        <a16:creationId xmlns:a16="http://schemas.microsoft.com/office/drawing/2014/main" id="{F36032E4-52D6-79E5-D275-266CB2688304}"/>
                      </a:ext>
                    </a:extLst>
                  </p:cNvPr>
                  <p:cNvSpPr/>
                  <p:nvPr/>
                </p:nvSpPr>
                <p:spPr>
                  <a:xfrm>
                    <a:off x="664959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3" name="Graphic 16">
                  <a:extLst>
                    <a:ext uri="{FF2B5EF4-FFF2-40B4-BE49-F238E27FC236}">
                      <a16:creationId xmlns:a16="http://schemas.microsoft.com/office/drawing/2014/main" id="{49E09A0E-16F7-7908-DA42-75D13251D69D}"/>
                    </a:ext>
                  </a:extLst>
                </p:cNvPr>
                <p:cNvGrpSpPr/>
                <p:nvPr/>
              </p:nvGrpSpPr>
              <p:grpSpPr>
                <a:xfrm>
                  <a:off x="6664832" y="3784186"/>
                  <a:ext cx="75723" cy="75723"/>
                  <a:chOff x="6664832" y="3784186"/>
                  <a:chExt cx="75723" cy="75723"/>
                </a:xfrm>
              </p:grpSpPr>
              <p:sp>
                <p:nvSpPr>
                  <p:cNvPr id="1807" name="Freeform: Shape 1806">
                    <a:extLst>
                      <a:ext uri="{FF2B5EF4-FFF2-40B4-BE49-F238E27FC236}">
                        <a16:creationId xmlns:a16="http://schemas.microsoft.com/office/drawing/2014/main" id="{4FE7F993-049C-E4AC-00B7-2A6A10918C68}"/>
                      </a:ext>
                    </a:extLst>
                  </p:cNvPr>
                  <p:cNvSpPr/>
                  <p:nvPr/>
                </p:nvSpPr>
                <p:spPr>
                  <a:xfrm>
                    <a:off x="67027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8" name="Freeform: Shape 1807">
                    <a:extLst>
                      <a:ext uri="{FF2B5EF4-FFF2-40B4-BE49-F238E27FC236}">
                        <a16:creationId xmlns:a16="http://schemas.microsoft.com/office/drawing/2014/main" id="{CA5D54BF-E3AE-021F-27C9-D324784FFA0A}"/>
                      </a:ext>
                    </a:extLst>
                  </p:cNvPr>
                  <p:cNvSpPr/>
                  <p:nvPr/>
                </p:nvSpPr>
                <p:spPr>
                  <a:xfrm>
                    <a:off x="666483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4" name="Graphic 16">
                  <a:extLst>
                    <a:ext uri="{FF2B5EF4-FFF2-40B4-BE49-F238E27FC236}">
                      <a16:creationId xmlns:a16="http://schemas.microsoft.com/office/drawing/2014/main" id="{918BBF75-5DB4-F7A2-7CC2-21FABFD0DE5E}"/>
                    </a:ext>
                  </a:extLst>
                </p:cNvPr>
                <p:cNvGrpSpPr/>
                <p:nvPr/>
              </p:nvGrpSpPr>
              <p:grpSpPr>
                <a:xfrm>
                  <a:off x="6680072" y="3784186"/>
                  <a:ext cx="75723" cy="75723"/>
                  <a:chOff x="6680072" y="3784186"/>
                  <a:chExt cx="75723" cy="75723"/>
                </a:xfrm>
              </p:grpSpPr>
              <p:sp>
                <p:nvSpPr>
                  <p:cNvPr id="1805" name="Freeform: Shape 1804">
                    <a:extLst>
                      <a:ext uri="{FF2B5EF4-FFF2-40B4-BE49-F238E27FC236}">
                        <a16:creationId xmlns:a16="http://schemas.microsoft.com/office/drawing/2014/main" id="{02B1662A-C44F-D884-32A1-1B1B36DB02D9}"/>
                      </a:ext>
                    </a:extLst>
                  </p:cNvPr>
                  <p:cNvSpPr/>
                  <p:nvPr/>
                </p:nvSpPr>
                <p:spPr>
                  <a:xfrm>
                    <a:off x="671798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6" name="Freeform: Shape 1805">
                    <a:extLst>
                      <a:ext uri="{FF2B5EF4-FFF2-40B4-BE49-F238E27FC236}">
                        <a16:creationId xmlns:a16="http://schemas.microsoft.com/office/drawing/2014/main" id="{2154E3DA-3F55-DC45-7A45-6567FE0C98F4}"/>
                      </a:ext>
                    </a:extLst>
                  </p:cNvPr>
                  <p:cNvSpPr/>
                  <p:nvPr/>
                </p:nvSpPr>
                <p:spPr>
                  <a:xfrm>
                    <a:off x="668007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5" name="Graphic 16">
                  <a:extLst>
                    <a:ext uri="{FF2B5EF4-FFF2-40B4-BE49-F238E27FC236}">
                      <a16:creationId xmlns:a16="http://schemas.microsoft.com/office/drawing/2014/main" id="{CC5C9E12-78E0-F1E8-2D7F-F4C4C9FA8CDD}"/>
                    </a:ext>
                  </a:extLst>
                </p:cNvPr>
                <p:cNvGrpSpPr/>
                <p:nvPr/>
              </p:nvGrpSpPr>
              <p:grpSpPr>
                <a:xfrm>
                  <a:off x="6695407" y="3784186"/>
                  <a:ext cx="75628" cy="75723"/>
                  <a:chOff x="6695407" y="3784186"/>
                  <a:chExt cx="75628" cy="75723"/>
                </a:xfrm>
              </p:grpSpPr>
              <p:sp>
                <p:nvSpPr>
                  <p:cNvPr id="1803" name="Freeform: Shape 1802">
                    <a:extLst>
                      <a:ext uri="{FF2B5EF4-FFF2-40B4-BE49-F238E27FC236}">
                        <a16:creationId xmlns:a16="http://schemas.microsoft.com/office/drawing/2014/main" id="{E2F73CC0-CA16-58D8-233D-BD7275657B26}"/>
                      </a:ext>
                    </a:extLst>
                  </p:cNvPr>
                  <p:cNvSpPr/>
                  <p:nvPr/>
                </p:nvSpPr>
                <p:spPr>
                  <a:xfrm>
                    <a:off x="673322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4" name="Freeform: Shape 1803">
                    <a:extLst>
                      <a:ext uri="{FF2B5EF4-FFF2-40B4-BE49-F238E27FC236}">
                        <a16:creationId xmlns:a16="http://schemas.microsoft.com/office/drawing/2014/main" id="{A4711367-8857-A72C-BE19-E46EEBE6CBAA}"/>
                      </a:ext>
                    </a:extLst>
                  </p:cNvPr>
                  <p:cNvSpPr/>
                  <p:nvPr/>
                </p:nvSpPr>
                <p:spPr>
                  <a:xfrm>
                    <a:off x="6695407"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6" name="Graphic 16">
                  <a:extLst>
                    <a:ext uri="{FF2B5EF4-FFF2-40B4-BE49-F238E27FC236}">
                      <a16:creationId xmlns:a16="http://schemas.microsoft.com/office/drawing/2014/main" id="{2E02E8AB-B1AB-A5E4-D7BC-C3A76D637057}"/>
                    </a:ext>
                  </a:extLst>
                </p:cNvPr>
                <p:cNvGrpSpPr/>
                <p:nvPr/>
              </p:nvGrpSpPr>
              <p:grpSpPr>
                <a:xfrm>
                  <a:off x="6710647" y="3784186"/>
                  <a:ext cx="75628" cy="75723"/>
                  <a:chOff x="6710647" y="3784186"/>
                  <a:chExt cx="75628" cy="75723"/>
                </a:xfrm>
              </p:grpSpPr>
              <p:sp>
                <p:nvSpPr>
                  <p:cNvPr id="1801" name="Freeform: Shape 1800">
                    <a:extLst>
                      <a:ext uri="{FF2B5EF4-FFF2-40B4-BE49-F238E27FC236}">
                        <a16:creationId xmlns:a16="http://schemas.microsoft.com/office/drawing/2014/main" id="{5D521E88-ADCB-B85F-32E8-765696805034}"/>
                      </a:ext>
                    </a:extLst>
                  </p:cNvPr>
                  <p:cNvSpPr/>
                  <p:nvPr/>
                </p:nvSpPr>
                <p:spPr>
                  <a:xfrm>
                    <a:off x="674846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2" name="Freeform: Shape 1801">
                    <a:extLst>
                      <a:ext uri="{FF2B5EF4-FFF2-40B4-BE49-F238E27FC236}">
                        <a16:creationId xmlns:a16="http://schemas.microsoft.com/office/drawing/2014/main" id="{5E9E491E-EADB-006D-5948-0B905C56D0F8}"/>
                      </a:ext>
                    </a:extLst>
                  </p:cNvPr>
                  <p:cNvSpPr/>
                  <p:nvPr/>
                </p:nvSpPr>
                <p:spPr>
                  <a:xfrm>
                    <a:off x="6710647"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7" name="Graphic 16">
                  <a:extLst>
                    <a:ext uri="{FF2B5EF4-FFF2-40B4-BE49-F238E27FC236}">
                      <a16:creationId xmlns:a16="http://schemas.microsoft.com/office/drawing/2014/main" id="{CAC62D9E-1FF3-AE2B-8D01-9DD0FB466A34}"/>
                    </a:ext>
                  </a:extLst>
                </p:cNvPr>
                <p:cNvGrpSpPr/>
                <p:nvPr/>
              </p:nvGrpSpPr>
              <p:grpSpPr>
                <a:xfrm>
                  <a:off x="6725887" y="3784186"/>
                  <a:ext cx="75723" cy="75723"/>
                  <a:chOff x="6725887" y="3784186"/>
                  <a:chExt cx="75723" cy="75723"/>
                </a:xfrm>
              </p:grpSpPr>
              <p:sp>
                <p:nvSpPr>
                  <p:cNvPr id="1799" name="Freeform: Shape 1798">
                    <a:extLst>
                      <a:ext uri="{FF2B5EF4-FFF2-40B4-BE49-F238E27FC236}">
                        <a16:creationId xmlns:a16="http://schemas.microsoft.com/office/drawing/2014/main" id="{B93CEF76-FC73-8A05-D1B9-30521315A0E7}"/>
                      </a:ext>
                    </a:extLst>
                  </p:cNvPr>
                  <p:cNvSpPr/>
                  <p:nvPr/>
                </p:nvSpPr>
                <p:spPr>
                  <a:xfrm>
                    <a:off x="676370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00" name="Freeform: Shape 1799">
                    <a:extLst>
                      <a:ext uri="{FF2B5EF4-FFF2-40B4-BE49-F238E27FC236}">
                        <a16:creationId xmlns:a16="http://schemas.microsoft.com/office/drawing/2014/main" id="{2440B419-92D4-02FA-CE60-C24381E1FC83}"/>
                      </a:ext>
                    </a:extLst>
                  </p:cNvPr>
                  <p:cNvSpPr/>
                  <p:nvPr/>
                </p:nvSpPr>
                <p:spPr>
                  <a:xfrm>
                    <a:off x="672588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8" name="Graphic 16">
                  <a:extLst>
                    <a:ext uri="{FF2B5EF4-FFF2-40B4-BE49-F238E27FC236}">
                      <a16:creationId xmlns:a16="http://schemas.microsoft.com/office/drawing/2014/main" id="{B9617DC6-AFA6-60D8-4D41-D8548FA5475B}"/>
                    </a:ext>
                  </a:extLst>
                </p:cNvPr>
                <p:cNvGrpSpPr/>
                <p:nvPr/>
              </p:nvGrpSpPr>
              <p:grpSpPr>
                <a:xfrm>
                  <a:off x="6741127" y="3784186"/>
                  <a:ext cx="75723" cy="75723"/>
                  <a:chOff x="6741127" y="3784186"/>
                  <a:chExt cx="75723" cy="75723"/>
                </a:xfrm>
              </p:grpSpPr>
              <p:sp>
                <p:nvSpPr>
                  <p:cNvPr id="1797" name="Freeform: Shape 1796">
                    <a:extLst>
                      <a:ext uri="{FF2B5EF4-FFF2-40B4-BE49-F238E27FC236}">
                        <a16:creationId xmlns:a16="http://schemas.microsoft.com/office/drawing/2014/main" id="{846688E6-6E12-4369-50D0-8C81EA9A7A32}"/>
                      </a:ext>
                    </a:extLst>
                  </p:cNvPr>
                  <p:cNvSpPr/>
                  <p:nvPr/>
                </p:nvSpPr>
                <p:spPr>
                  <a:xfrm>
                    <a:off x="67789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8" name="Freeform: Shape 1797">
                    <a:extLst>
                      <a:ext uri="{FF2B5EF4-FFF2-40B4-BE49-F238E27FC236}">
                        <a16:creationId xmlns:a16="http://schemas.microsoft.com/office/drawing/2014/main" id="{4800CA0B-E076-98F3-22C0-CCCFA6608156}"/>
                      </a:ext>
                    </a:extLst>
                  </p:cNvPr>
                  <p:cNvSpPr/>
                  <p:nvPr/>
                </p:nvSpPr>
                <p:spPr>
                  <a:xfrm>
                    <a:off x="674112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49" name="Graphic 16">
                  <a:extLst>
                    <a:ext uri="{FF2B5EF4-FFF2-40B4-BE49-F238E27FC236}">
                      <a16:creationId xmlns:a16="http://schemas.microsoft.com/office/drawing/2014/main" id="{35607EE7-EF7B-7618-35FD-7821963A3040}"/>
                    </a:ext>
                  </a:extLst>
                </p:cNvPr>
                <p:cNvGrpSpPr/>
                <p:nvPr/>
              </p:nvGrpSpPr>
              <p:grpSpPr>
                <a:xfrm>
                  <a:off x="6756367" y="3784186"/>
                  <a:ext cx="75723" cy="75723"/>
                  <a:chOff x="6756367" y="3784186"/>
                  <a:chExt cx="75723" cy="75723"/>
                </a:xfrm>
              </p:grpSpPr>
              <p:sp>
                <p:nvSpPr>
                  <p:cNvPr id="1795" name="Freeform: Shape 1794">
                    <a:extLst>
                      <a:ext uri="{FF2B5EF4-FFF2-40B4-BE49-F238E27FC236}">
                        <a16:creationId xmlns:a16="http://schemas.microsoft.com/office/drawing/2014/main" id="{F3C258B6-4ED4-E9DD-EF65-74C216461B58}"/>
                      </a:ext>
                    </a:extLst>
                  </p:cNvPr>
                  <p:cNvSpPr/>
                  <p:nvPr/>
                </p:nvSpPr>
                <p:spPr>
                  <a:xfrm>
                    <a:off x="6794277"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6" name="Freeform: Shape 1795">
                    <a:extLst>
                      <a:ext uri="{FF2B5EF4-FFF2-40B4-BE49-F238E27FC236}">
                        <a16:creationId xmlns:a16="http://schemas.microsoft.com/office/drawing/2014/main" id="{B346C5E6-A60E-1BCA-A059-819B4E6A6377}"/>
                      </a:ext>
                    </a:extLst>
                  </p:cNvPr>
                  <p:cNvSpPr/>
                  <p:nvPr/>
                </p:nvSpPr>
                <p:spPr>
                  <a:xfrm>
                    <a:off x="675636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0" name="Graphic 16">
                  <a:extLst>
                    <a:ext uri="{FF2B5EF4-FFF2-40B4-BE49-F238E27FC236}">
                      <a16:creationId xmlns:a16="http://schemas.microsoft.com/office/drawing/2014/main" id="{ADAF536B-F515-5CE0-BCC4-8E06858A4D8F}"/>
                    </a:ext>
                  </a:extLst>
                </p:cNvPr>
                <p:cNvGrpSpPr/>
                <p:nvPr/>
              </p:nvGrpSpPr>
              <p:grpSpPr>
                <a:xfrm>
                  <a:off x="7132129" y="3851623"/>
                  <a:ext cx="75723" cy="75723"/>
                  <a:chOff x="7132129" y="3851623"/>
                  <a:chExt cx="75723" cy="75723"/>
                </a:xfrm>
              </p:grpSpPr>
              <p:sp>
                <p:nvSpPr>
                  <p:cNvPr id="1793" name="Freeform: Shape 1792">
                    <a:extLst>
                      <a:ext uri="{FF2B5EF4-FFF2-40B4-BE49-F238E27FC236}">
                        <a16:creationId xmlns:a16="http://schemas.microsoft.com/office/drawing/2014/main" id="{F96A8AA3-19A0-7B79-50BD-5E39B3CC0C94}"/>
                      </a:ext>
                    </a:extLst>
                  </p:cNvPr>
                  <p:cNvSpPr/>
                  <p:nvPr/>
                </p:nvSpPr>
                <p:spPr>
                  <a:xfrm>
                    <a:off x="7169943"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4" name="Freeform: Shape 1793">
                    <a:extLst>
                      <a:ext uri="{FF2B5EF4-FFF2-40B4-BE49-F238E27FC236}">
                        <a16:creationId xmlns:a16="http://schemas.microsoft.com/office/drawing/2014/main" id="{EFF723E3-CDDE-5628-5FDD-B7C16754F23A}"/>
                      </a:ext>
                    </a:extLst>
                  </p:cNvPr>
                  <p:cNvSpPr/>
                  <p:nvPr/>
                </p:nvSpPr>
                <p:spPr>
                  <a:xfrm>
                    <a:off x="7132129"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1" name="Graphic 16">
                  <a:extLst>
                    <a:ext uri="{FF2B5EF4-FFF2-40B4-BE49-F238E27FC236}">
                      <a16:creationId xmlns:a16="http://schemas.microsoft.com/office/drawing/2014/main" id="{09A22B49-8381-9A21-1A3B-C8AF32BED8CD}"/>
                    </a:ext>
                  </a:extLst>
                </p:cNvPr>
                <p:cNvGrpSpPr/>
                <p:nvPr/>
              </p:nvGrpSpPr>
              <p:grpSpPr>
                <a:xfrm>
                  <a:off x="7103935" y="3851623"/>
                  <a:ext cx="75723" cy="75723"/>
                  <a:chOff x="7103935" y="3851623"/>
                  <a:chExt cx="75723" cy="75723"/>
                </a:xfrm>
              </p:grpSpPr>
              <p:sp>
                <p:nvSpPr>
                  <p:cNvPr id="1791" name="Freeform: Shape 1790">
                    <a:extLst>
                      <a:ext uri="{FF2B5EF4-FFF2-40B4-BE49-F238E27FC236}">
                        <a16:creationId xmlns:a16="http://schemas.microsoft.com/office/drawing/2014/main" id="{77EAE01A-24A6-3157-BE7C-A9E4543AAC1A}"/>
                      </a:ext>
                    </a:extLst>
                  </p:cNvPr>
                  <p:cNvSpPr/>
                  <p:nvPr/>
                </p:nvSpPr>
                <p:spPr>
                  <a:xfrm>
                    <a:off x="7141844"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2" name="Freeform: Shape 1791">
                    <a:extLst>
                      <a:ext uri="{FF2B5EF4-FFF2-40B4-BE49-F238E27FC236}">
                        <a16:creationId xmlns:a16="http://schemas.microsoft.com/office/drawing/2014/main" id="{5E2B1B5B-C874-677E-856A-7487BB7AFC68}"/>
                      </a:ext>
                    </a:extLst>
                  </p:cNvPr>
                  <p:cNvSpPr/>
                  <p:nvPr/>
                </p:nvSpPr>
                <p:spPr>
                  <a:xfrm>
                    <a:off x="7103935"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2" name="Graphic 16">
                  <a:extLst>
                    <a:ext uri="{FF2B5EF4-FFF2-40B4-BE49-F238E27FC236}">
                      <a16:creationId xmlns:a16="http://schemas.microsoft.com/office/drawing/2014/main" id="{C570FB70-2638-9D04-2A03-BD66D007D0AE}"/>
                    </a:ext>
                  </a:extLst>
                </p:cNvPr>
                <p:cNvGrpSpPr/>
                <p:nvPr/>
              </p:nvGrpSpPr>
              <p:grpSpPr>
                <a:xfrm>
                  <a:off x="7066120" y="3851623"/>
                  <a:ext cx="75723" cy="75723"/>
                  <a:chOff x="7066120" y="3851623"/>
                  <a:chExt cx="75723" cy="75723"/>
                </a:xfrm>
              </p:grpSpPr>
              <p:sp>
                <p:nvSpPr>
                  <p:cNvPr id="1789" name="Freeform: Shape 1788">
                    <a:extLst>
                      <a:ext uri="{FF2B5EF4-FFF2-40B4-BE49-F238E27FC236}">
                        <a16:creationId xmlns:a16="http://schemas.microsoft.com/office/drawing/2014/main" id="{77BFADEF-45A9-F4C8-5731-9B4FE131E1FD}"/>
                      </a:ext>
                    </a:extLst>
                  </p:cNvPr>
                  <p:cNvSpPr/>
                  <p:nvPr/>
                </p:nvSpPr>
                <p:spPr>
                  <a:xfrm>
                    <a:off x="7103935"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90" name="Freeform: Shape 1789">
                    <a:extLst>
                      <a:ext uri="{FF2B5EF4-FFF2-40B4-BE49-F238E27FC236}">
                        <a16:creationId xmlns:a16="http://schemas.microsoft.com/office/drawing/2014/main" id="{FD1891D8-9FA7-9B3F-D9B5-618C3B97AA8A}"/>
                      </a:ext>
                    </a:extLst>
                  </p:cNvPr>
                  <p:cNvSpPr/>
                  <p:nvPr/>
                </p:nvSpPr>
                <p:spPr>
                  <a:xfrm>
                    <a:off x="7066120"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3" name="Graphic 16">
                  <a:extLst>
                    <a:ext uri="{FF2B5EF4-FFF2-40B4-BE49-F238E27FC236}">
                      <a16:creationId xmlns:a16="http://schemas.microsoft.com/office/drawing/2014/main" id="{653EEC62-6BF8-C6B8-AA9F-BE5A589AFB8E}"/>
                    </a:ext>
                  </a:extLst>
                </p:cNvPr>
                <p:cNvGrpSpPr/>
                <p:nvPr/>
              </p:nvGrpSpPr>
              <p:grpSpPr>
                <a:xfrm>
                  <a:off x="7334725" y="3895819"/>
                  <a:ext cx="75628" cy="75723"/>
                  <a:chOff x="7334725" y="3895819"/>
                  <a:chExt cx="75628" cy="75723"/>
                </a:xfrm>
              </p:grpSpPr>
              <p:sp>
                <p:nvSpPr>
                  <p:cNvPr id="1787" name="Freeform: Shape 1786">
                    <a:extLst>
                      <a:ext uri="{FF2B5EF4-FFF2-40B4-BE49-F238E27FC236}">
                        <a16:creationId xmlns:a16="http://schemas.microsoft.com/office/drawing/2014/main" id="{285CAEF9-7427-0105-C80F-176751765B80}"/>
                      </a:ext>
                    </a:extLst>
                  </p:cNvPr>
                  <p:cNvSpPr/>
                  <p:nvPr/>
                </p:nvSpPr>
                <p:spPr>
                  <a:xfrm>
                    <a:off x="737254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8" name="Freeform: Shape 1787">
                    <a:extLst>
                      <a:ext uri="{FF2B5EF4-FFF2-40B4-BE49-F238E27FC236}">
                        <a16:creationId xmlns:a16="http://schemas.microsoft.com/office/drawing/2014/main" id="{3CD8F067-4E5A-6C65-8FF1-64D9C24D9309}"/>
                      </a:ext>
                    </a:extLst>
                  </p:cNvPr>
                  <p:cNvSpPr/>
                  <p:nvPr/>
                </p:nvSpPr>
                <p:spPr>
                  <a:xfrm>
                    <a:off x="7334725" y="393363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4" name="Graphic 16">
                  <a:extLst>
                    <a:ext uri="{FF2B5EF4-FFF2-40B4-BE49-F238E27FC236}">
                      <a16:creationId xmlns:a16="http://schemas.microsoft.com/office/drawing/2014/main" id="{F0B4303B-89DF-456F-BECA-342D4D2EC0B3}"/>
                    </a:ext>
                  </a:extLst>
                </p:cNvPr>
                <p:cNvGrpSpPr/>
                <p:nvPr/>
              </p:nvGrpSpPr>
              <p:grpSpPr>
                <a:xfrm>
                  <a:off x="7369587" y="3895819"/>
                  <a:ext cx="75723" cy="75723"/>
                  <a:chOff x="7369587" y="3895819"/>
                  <a:chExt cx="75723" cy="75723"/>
                </a:xfrm>
              </p:grpSpPr>
              <p:sp>
                <p:nvSpPr>
                  <p:cNvPr id="1785" name="Freeform: Shape 1784">
                    <a:extLst>
                      <a:ext uri="{FF2B5EF4-FFF2-40B4-BE49-F238E27FC236}">
                        <a16:creationId xmlns:a16="http://schemas.microsoft.com/office/drawing/2014/main" id="{9483B06E-127A-5CF8-6D8C-844CF28EA51A}"/>
                      </a:ext>
                    </a:extLst>
                  </p:cNvPr>
                  <p:cNvSpPr/>
                  <p:nvPr/>
                </p:nvSpPr>
                <p:spPr>
                  <a:xfrm>
                    <a:off x="7407401"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6" name="Freeform: Shape 1785">
                    <a:extLst>
                      <a:ext uri="{FF2B5EF4-FFF2-40B4-BE49-F238E27FC236}">
                        <a16:creationId xmlns:a16="http://schemas.microsoft.com/office/drawing/2014/main" id="{D27F423B-5C2B-8E36-A9A1-74572D47507C}"/>
                      </a:ext>
                    </a:extLst>
                  </p:cNvPr>
                  <p:cNvSpPr/>
                  <p:nvPr/>
                </p:nvSpPr>
                <p:spPr>
                  <a:xfrm>
                    <a:off x="7369587"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5" name="Graphic 16">
                  <a:extLst>
                    <a:ext uri="{FF2B5EF4-FFF2-40B4-BE49-F238E27FC236}">
                      <a16:creationId xmlns:a16="http://schemas.microsoft.com/office/drawing/2014/main" id="{6B56057D-0747-EDF9-75CA-0FE014E6184C}"/>
                    </a:ext>
                  </a:extLst>
                </p:cNvPr>
                <p:cNvGrpSpPr/>
                <p:nvPr/>
              </p:nvGrpSpPr>
              <p:grpSpPr>
                <a:xfrm>
                  <a:off x="7307674" y="3895819"/>
                  <a:ext cx="75723" cy="75723"/>
                  <a:chOff x="7307674" y="3895819"/>
                  <a:chExt cx="75723" cy="75723"/>
                </a:xfrm>
              </p:grpSpPr>
              <p:sp>
                <p:nvSpPr>
                  <p:cNvPr id="1783" name="Freeform: Shape 1782">
                    <a:extLst>
                      <a:ext uri="{FF2B5EF4-FFF2-40B4-BE49-F238E27FC236}">
                        <a16:creationId xmlns:a16="http://schemas.microsoft.com/office/drawing/2014/main" id="{7A266D0E-B2AF-D5A2-6D06-8A085BF4CCCE}"/>
                      </a:ext>
                    </a:extLst>
                  </p:cNvPr>
                  <p:cNvSpPr/>
                  <p:nvPr/>
                </p:nvSpPr>
                <p:spPr>
                  <a:xfrm>
                    <a:off x="734548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4" name="Freeform: Shape 1783">
                    <a:extLst>
                      <a:ext uri="{FF2B5EF4-FFF2-40B4-BE49-F238E27FC236}">
                        <a16:creationId xmlns:a16="http://schemas.microsoft.com/office/drawing/2014/main" id="{BA5F95A1-F86A-B41B-C3AC-CC33DA889254}"/>
                      </a:ext>
                    </a:extLst>
                  </p:cNvPr>
                  <p:cNvSpPr/>
                  <p:nvPr/>
                </p:nvSpPr>
                <p:spPr>
                  <a:xfrm>
                    <a:off x="7307674"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6" name="Graphic 16">
                  <a:extLst>
                    <a:ext uri="{FF2B5EF4-FFF2-40B4-BE49-F238E27FC236}">
                      <a16:creationId xmlns:a16="http://schemas.microsoft.com/office/drawing/2014/main" id="{F55119C8-6246-A91B-08A3-D8D7BAC1FA5A}"/>
                    </a:ext>
                  </a:extLst>
                </p:cNvPr>
                <p:cNvGrpSpPr/>
                <p:nvPr/>
              </p:nvGrpSpPr>
              <p:grpSpPr>
                <a:xfrm>
                  <a:off x="7296816" y="3895819"/>
                  <a:ext cx="75723" cy="75723"/>
                  <a:chOff x="7296816" y="3895819"/>
                  <a:chExt cx="75723" cy="75723"/>
                </a:xfrm>
              </p:grpSpPr>
              <p:sp>
                <p:nvSpPr>
                  <p:cNvPr id="1781" name="Freeform: Shape 1780">
                    <a:extLst>
                      <a:ext uri="{FF2B5EF4-FFF2-40B4-BE49-F238E27FC236}">
                        <a16:creationId xmlns:a16="http://schemas.microsoft.com/office/drawing/2014/main" id="{5AE2804F-4D22-B443-0A0A-B850C1DF2727}"/>
                      </a:ext>
                    </a:extLst>
                  </p:cNvPr>
                  <p:cNvSpPr/>
                  <p:nvPr/>
                </p:nvSpPr>
                <p:spPr>
                  <a:xfrm>
                    <a:off x="7334725"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2" name="Freeform: Shape 1781">
                    <a:extLst>
                      <a:ext uri="{FF2B5EF4-FFF2-40B4-BE49-F238E27FC236}">
                        <a16:creationId xmlns:a16="http://schemas.microsoft.com/office/drawing/2014/main" id="{C16B2ACC-CC3A-C0ED-F362-76E510B47E62}"/>
                      </a:ext>
                    </a:extLst>
                  </p:cNvPr>
                  <p:cNvSpPr/>
                  <p:nvPr/>
                </p:nvSpPr>
                <p:spPr>
                  <a:xfrm>
                    <a:off x="729681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7" name="Graphic 16">
                  <a:extLst>
                    <a:ext uri="{FF2B5EF4-FFF2-40B4-BE49-F238E27FC236}">
                      <a16:creationId xmlns:a16="http://schemas.microsoft.com/office/drawing/2014/main" id="{93CB1D7B-F50B-AA72-0ED6-89CAAFE3387F}"/>
                    </a:ext>
                  </a:extLst>
                </p:cNvPr>
                <p:cNvGrpSpPr/>
                <p:nvPr/>
              </p:nvGrpSpPr>
              <p:grpSpPr>
                <a:xfrm>
                  <a:off x="7217282" y="3895819"/>
                  <a:ext cx="75723" cy="75723"/>
                  <a:chOff x="7217282" y="3895819"/>
                  <a:chExt cx="75723" cy="75723"/>
                </a:xfrm>
              </p:grpSpPr>
              <p:sp>
                <p:nvSpPr>
                  <p:cNvPr id="1779" name="Freeform: Shape 1778">
                    <a:extLst>
                      <a:ext uri="{FF2B5EF4-FFF2-40B4-BE49-F238E27FC236}">
                        <a16:creationId xmlns:a16="http://schemas.microsoft.com/office/drawing/2014/main" id="{25DD266F-5109-42BA-9DBE-6025963A3A53}"/>
                      </a:ext>
                    </a:extLst>
                  </p:cNvPr>
                  <p:cNvSpPr/>
                  <p:nvPr/>
                </p:nvSpPr>
                <p:spPr>
                  <a:xfrm>
                    <a:off x="725509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80" name="Freeform: Shape 1779">
                    <a:extLst>
                      <a:ext uri="{FF2B5EF4-FFF2-40B4-BE49-F238E27FC236}">
                        <a16:creationId xmlns:a16="http://schemas.microsoft.com/office/drawing/2014/main" id="{B219BA9A-C0D2-32BA-E5A7-C2C62EC3E60A}"/>
                      </a:ext>
                    </a:extLst>
                  </p:cNvPr>
                  <p:cNvSpPr/>
                  <p:nvPr/>
                </p:nvSpPr>
                <p:spPr>
                  <a:xfrm>
                    <a:off x="7217282"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8" name="Graphic 16">
                  <a:extLst>
                    <a:ext uri="{FF2B5EF4-FFF2-40B4-BE49-F238E27FC236}">
                      <a16:creationId xmlns:a16="http://schemas.microsoft.com/office/drawing/2014/main" id="{4661C902-C758-BE34-61D1-A2BB914051FF}"/>
                    </a:ext>
                  </a:extLst>
                </p:cNvPr>
                <p:cNvGrpSpPr/>
                <p:nvPr/>
              </p:nvGrpSpPr>
              <p:grpSpPr>
                <a:xfrm>
                  <a:off x="7226521" y="3895819"/>
                  <a:ext cx="75628" cy="75723"/>
                  <a:chOff x="7226521" y="3895819"/>
                  <a:chExt cx="75628" cy="75723"/>
                </a:xfrm>
              </p:grpSpPr>
              <p:sp>
                <p:nvSpPr>
                  <p:cNvPr id="1777" name="Freeform: Shape 1776">
                    <a:extLst>
                      <a:ext uri="{FF2B5EF4-FFF2-40B4-BE49-F238E27FC236}">
                        <a16:creationId xmlns:a16="http://schemas.microsoft.com/office/drawing/2014/main" id="{FFF3537A-8577-7340-1C7C-4DF314F2BB58}"/>
                      </a:ext>
                    </a:extLst>
                  </p:cNvPr>
                  <p:cNvSpPr/>
                  <p:nvPr/>
                </p:nvSpPr>
                <p:spPr>
                  <a:xfrm>
                    <a:off x="726433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8" name="Freeform: Shape 1777">
                    <a:extLst>
                      <a:ext uri="{FF2B5EF4-FFF2-40B4-BE49-F238E27FC236}">
                        <a16:creationId xmlns:a16="http://schemas.microsoft.com/office/drawing/2014/main" id="{C2BD8BCE-DDEC-995C-7E5E-96C42C9C5E57}"/>
                      </a:ext>
                    </a:extLst>
                  </p:cNvPr>
                  <p:cNvSpPr/>
                  <p:nvPr/>
                </p:nvSpPr>
                <p:spPr>
                  <a:xfrm>
                    <a:off x="7226521" y="3933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59" name="Graphic 16">
                  <a:extLst>
                    <a:ext uri="{FF2B5EF4-FFF2-40B4-BE49-F238E27FC236}">
                      <a16:creationId xmlns:a16="http://schemas.microsoft.com/office/drawing/2014/main" id="{FD997D86-8D19-EE7E-4BB8-3A7A152A4519}"/>
                    </a:ext>
                  </a:extLst>
                </p:cNvPr>
                <p:cNvGrpSpPr/>
                <p:nvPr/>
              </p:nvGrpSpPr>
              <p:grpSpPr>
                <a:xfrm>
                  <a:off x="7238999" y="3895819"/>
                  <a:ext cx="75723" cy="75723"/>
                  <a:chOff x="7238999" y="3895819"/>
                  <a:chExt cx="75723" cy="75723"/>
                </a:xfrm>
              </p:grpSpPr>
              <p:sp>
                <p:nvSpPr>
                  <p:cNvPr id="1775" name="Freeform: Shape 1774">
                    <a:extLst>
                      <a:ext uri="{FF2B5EF4-FFF2-40B4-BE49-F238E27FC236}">
                        <a16:creationId xmlns:a16="http://schemas.microsoft.com/office/drawing/2014/main" id="{B46CE526-AE45-9F2B-7F12-E792C3C15BB2}"/>
                      </a:ext>
                    </a:extLst>
                  </p:cNvPr>
                  <p:cNvSpPr/>
                  <p:nvPr/>
                </p:nvSpPr>
                <p:spPr>
                  <a:xfrm>
                    <a:off x="727690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6" name="Freeform: Shape 1775">
                    <a:extLst>
                      <a:ext uri="{FF2B5EF4-FFF2-40B4-BE49-F238E27FC236}">
                        <a16:creationId xmlns:a16="http://schemas.microsoft.com/office/drawing/2014/main" id="{F88B710B-B283-9120-7A2F-447CD0B55D87}"/>
                      </a:ext>
                    </a:extLst>
                  </p:cNvPr>
                  <p:cNvSpPr/>
                  <p:nvPr/>
                </p:nvSpPr>
                <p:spPr>
                  <a:xfrm>
                    <a:off x="7238999"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60" name="Graphic 16">
                  <a:extLst>
                    <a:ext uri="{FF2B5EF4-FFF2-40B4-BE49-F238E27FC236}">
                      <a16:creationId xmlns:a16="http://schemas.microsoft.com/office/drawing/2014/main" id="{BAB1779E-7987-5A17-BE60-6CB317BFADE9}"/>
                    </a:ext>
                  </a:extLst>
                </p:cNvPr>
                <p:cNvGrpSpPr/>
                <p:nvPr/>
              </p:nvGrpSpPr>
              <p:grpSpPr>
                <a:xfrm>
                  <a:off x="7393590" y="3924871"/>
                  <a:ext cx="75628" cy="75723"/>
                  <a:chOff x="7393590" y="3924871"/>
                  <a:chExt cx="75628" cy="75723"/>
                </a:xfrm>
              </p:grpSpPr>
              <p:sp>
                <p:nvSpPr>
                  <p:cNvPr id="1773" name="Freeform: Shape 1772">
                    <a:extLst>
                      <a:ext uri="{FF2B5EF4-FFF2-40B4-BE49-F238E27FC236}">
                        <a16:creationId xmlns:a16="http://schemas.microsoft.com/office/drawing/2014/main" id="{B79BD099-78E5-8AAA-B3BF-2FF22E5AAB1D}"/>
                      </a:ext>
                    </a:extLst>
                  </p:cNvPr>
                  <p:cNvSpPr/>
                  <p:nvPr/>
                </p:nvSpPr>
                <p:spPr>
                  <a:xfrm>
                    <a:off x="743140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4" name="Freeform: Shape 1773">
                    <a:extLst>
                      <a:ext uri="{FF2B5EF4-FFF2-40B4-BE49-F238E27FC236}">
                        <a16:creationId xmlns:a16="http://schemas.microsoft.com/office/drawing/2014/main" id="{C7D684D0-08BE-C542-C6C9-EC0E2461D73C}"/>
                      </a:ext>
                    </a:extLst>
                  </p:cNvPr>
                  <p:cNvSpPr/>
                  <p:nvPr/>
                </p:nvSpPr>
                <p:spPr>
                  <a:xfrm>
                    <a:off x="7393590" y="39627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61" name="Graphic 16">
                  <a:extLst>
                    <a:ext uri="{FF2B5EF4-FFF2-40B4-BE49-F238E27FC236}">
                      <a16:creationId xmlns:a16="http://schemas.microsoft.com/office/drawing/2014/main" id="{83072884-658A-FCF4-6144-DD507597217A}"/>
                    </a:ext>
                  </a:extLst>
                </p:cNvPr>
                <p:cNvGrpSpPr/>
                <p:nvPr/>
              </p:nvGrpSpPr>
              <p:grpSpPr>
                <a:xfrm>
                  <a:off x="7445311" y="3924871"/>
                  <a:ext cx="75723" cy="75723"/>
                  <a:chOff x="7445311" y="3924871"/>
                  <a:chExt cx="75723" cy="75723"/>
                </a:xfrm>
              </p:grpSpPr>
              <p:sp>
                <p:nvSpPr>
                  <p:cNvPr id="1771" name="Freeform: Shape 1770">
                    <a:extLst>
                      <a:ext uri="{FF2B5EF4-FFF2-40B4-BE49-F238E27FC236}">
                        <a16:creationId xmlns:a16="http://schemas.microsoft.com/office/drawing/2014/main" id="{17AFF4D4-A2E2-CFBA-FFD1-C772585C6898}"/>
                      </a:ext>
                    </a:extLst>
                  </p:cNvPr>
                  <p:cNvSpPr/>
                  <p:nvPr/>
                </p:nvSpPr>
                <p:spPr>
                  <a:xfrm>
                    <a:off x="7483125"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2" name="Freeform: Shape 1771">
                    <a:extLst>
                      <a:ext uri="{FF2B5EF4-FFF2-40B4-BE49-F238E27FC236}">
                        <a16:creationId xmlns:a16="http://schemas.microsoft.com/office/drawing/2014/main" id="{7FBC0AA9-191F-012E-B2B4-F318B7E23134}"/>
                      </a:ext>
                    </a:extLst>
                  </p:cNvPr>
                  <p:cNvSpPr/>
                  <p:nvPr/>
                </p:nvSpPr>
                <p:spPr>
                  <a:xfrm>
                    <a:off x="7445311"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62" name="Graphic 16">
                  <a:extLst>
                    <a:ext uri="{FF2B5EF4-FFF2-40B4-BE49-F238E27FC236}">
                      <a16:creationId xmlns:a16="http://schemas.microsoft.com/office/drawing/2014/main" id="{625231D5-CBB5-9463-2B6F-2CC5009EB1ED}"/>
                    </a:ext>
                  </a:extLst>
                </p:cNvPr>
                <p:cNvGrpSpPr/>
                <p:nvPr/>
              </p:nvGrpSpPr>
              <p:grpSpPr>
                <a:xfrm>
                  <a:off x="7517796" y="3924871"/>
                  <a:ext cx="75723" cy="75723"/>
                  <a:chOff x="7517796" y="3924871"/>
                  <a:chExt cx="75723" cy="75723"/>
                </a:xfrm>
              </p:grpSpPr>
              <p:sp>
                <p:nvSpPr>
                  <p:cNvPr id="1769" name="Freeform: Shape 1768">
                    <a:extLst>
                      <a:ext uri="{FF2B5EF4-FFF2-40B4-BE49-F238E27FC236}">
                        <a16:creationId xmlns:a16="http://schemas.microsoft.com/office/drawing/2014/main" id="{A272155B-E24E-C2B4-50E3-A46298E3829F}"/>
                      </a:ext>
                    </a:extLst>
                  </p:cNvPr>
                  <p:cNvSpPr/>
                  <p:nvPr/>
                </p:nvSpPr>
                <p:spPr>
                  <a:xfrm>
                    <a:off x="755561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70" name="Freeform: Shape 1769">
                    <a:extLst>
                      <a:ext uri="{FF2B5EF4-FFF2-40B4-BE49-F238E27FC236}">
                        <a16:creationId xmlns:a16="http://schemas.microsoft.com/office/drawing/2014/main" id="{9F8ADD49-F680-27A0-D4E7-570375D55571}"/>
                      </a:ext>
                    </a:extLst>
                  </p:cNvPr>
                  <p:cNvSpPr/>
                  <p:nvPr/>
                </p:nvSpPr>
                <p:spPr>
                  <a:xfrm>
                    <a:off x="7517796"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63" name="Graphic 16">
                  <a:extLst>
                    <a:ext uri="{FF2B5EF4-FFF2-40B4-BE49-F238E27FC236}">
                      <a16:creationId xmlns:a16="http://schemas.microsoft.com/office/drawing/2014/main" id="{13C716EF-DC6D-C073-2242-942F1E969055}"/>
                    </a:ext>
                  </a:extLst>
                </p:cNvPr>
                <p:cNvGrpSpPr/>
                <p:nvPr/>
              </p:nvGrpSpPr>
              <p:grpSpPr>
                <a:xfrm>
                  <a:off x="7560944" y="3924871"/>
                  <a:ext cx="75723" cy="75723"/>
                  <a:chOff x="7560944" y="3924871"/>
                  <a:chExt cx="75723" cy="75723"/>
                </a:xfrm>
              </p:grpSpPr>
              <p:sp>
                <p:nvSpPr>
                  <p:cNvPr id="1767" name="Freeform: Shape 1766">
                    <a:extLst>
                      <a:ext uri="{FF2B5EF4-FFF2-40B4-BE49-F238E27FC236}">
                        <a16:creationId xmlns:a16="http://schemas.microsoft.com/office/drawing/2014/main" id="{6B14772D-E118-910C-FA16-FEDB34306BAD}"/>
                      </a:ext>
                    </a:extLst>
                  </p:cNvPr>
                  <p:cNvSpPr/>
                  <p:nvPr/>
                </p:nvSpPr>
                <p:spPr>
                  <a:xfrm>
                    <a:off x="759885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8" name="Freeform: Shape 1767">
                    <a:extLst>
                      <a:ext uri="{FF2B5EF4-FFF2-40B4-BE49-F238E27FC236}">
                        <a16:creationId xmlns:a16="http://schemas.microsoft.com/office/drawing/2014/main" id="{96310AF7-04E4-317D-5C97-864E9126FBE7}"/>
                      </a:ext>
                    </a:extLst>
                  </p:cNvPr>
                  <p:cNvSpPr/>
                  <p:nvPr/>
                </p:nvSpPr>
                <p:spPr>
                  <a:xfrm>
                    <a:off x="7560944"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64" name="Graphic 16">
                  <a:extLst>
                    <a:ext uri="{FF2B5EF4-FFF2-40B4-BE49-F238E27FC236}">
                      <a16:creationId xmlns:a16="http://schemas.microsoft.com/office/drawing/2014/main" id="{00812331-7CFC-ADB4-DC8F-4A72D6B2E820}"/>
                    </a:ext>
                  </a:extLst>
                </p:cNvPr>
                <p:cNvGrpSpPr/>
                <p:nvPr/>
              </p:nvGrpSpPr>
              <p:grpSpPr>
                <a:xfrm>
                  <a:off x="7605140" y="3924871"/>
                  <a:ext cx="75723" cy="75723"/>
                  <a:chOff x="7605140" y="3924871"/>
                  <a:chExt cx="75723" cy="75723"/>
                </a:xfrm>
              </p:grpSpPr>
              <p:sp>
                <p:nvSpPr>
                  <p:cNvPr id="1765" name="Freeform: Shape 1764">
                    <a:extLst>
                      <a:ext uri="{FF2B5EF4-FFF2-40B4-BE49-F238E27FC236}">
                        <a16:creationId xmlns:a16="http://schemas.microsoft.com/office/drawing/2014/main" id="{0415FB46-8B96-A4AE-496E-044678A5C598}"/>
                      </a:ext>
                    </a:extLst>
                  </p:cNvPr>
                  <p:cNvSpPr/>
                  <p:nvPr/>
                </p:nvSpPr>
                <p:spPr>
                  <a:xfrm>
                    <a:off x="764305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66" name="Freeform: Shape 1765">
                    <a:extLst>
                      <a:ext uri="{FF2B5EF4-FFF2-40B4-BE49-F238E27FC236}">
                        <a16:creationId xmlns:a16="http://schemas.microsoft.com/office/drawing/2014/main" id="{86E6CF35-FEB8-9777-5A74-BA43D3F250F1}"/>
                      </a:ext>
                    </a:extLst>
                  </p:cNvPr>
                  <p:cNvSpPr/>
                  <p:nvPr/>
                </p:nvSpPr>
                <p:spPr>
                  <a:xfrm>
                    <a:off x="7605140"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521" name="Freeform: Shape 1520">
                <a:extLst>
                  <a:ext uri="{FF2B5EF4-FFF2-40B4-BE49-F238E27FC236}">
                    <a16:creationId xmlns:a16="http://schemas.microsoft.com/office/drawing/2014/main" id="{004B4FE0-F75A-6429-E2D7-BD798740DC7A}"/>
                  </a:ext>
                </a:extLst>
              </p:cNvPr>
              <p:cNvSpPr/>
              <p:nvPr/>
            </p:nvSpPr>
            <p:spPr>
              <a:xfrm>
                <a:off x="3505770" y="2861976"/>
                <a:ext cx="5180742" cy="1136046"/>
              </a:xfrm>
              <a:custGeom>
                <a:avLst/>
                <a:gdLst>
                  <a:gd name="connsiteX0" fmla="*/ 5180743 w 5180742"/>
                  <a:gd name="connsiteY0" fmla="*/ 1136047 h 1136046"/>
                  <a:gd name="connsiteX1" fmla="*/ 4136136 w 5180742"/>
                  <a:gd name="connsiteY1" fmla="*/ 1136047 h 1136046"/>
                  <a:gd name="connsiteX2" fmla="*/ 4136136 w 5180742"/>
                  <a:gd name="connsiteY2" fmla="*/ 1100519 h 1136046"/>
                  <a:gd name="connsiteX3" fmla="*/ 3904869 w 5180742"/>
                  <a:gd name="connsiteY3" fmla="*/ 1100519 h 1136046"/>
                  <a:gd name="connsiteX4" fmla="*/ 3904869 w 5180742"/>
                  <a:gd name="connsiteY4" fmla="*/ 1071658 h 1136046"/>
                  <a:gd name="connsiteX5" fmla="*/ 3704844 w 5180742"/>
                  <a:gd name="connsiteY5" fmla="*/ 1071658 h 1136046"/>
                  <a:gd name="connsiteX6" fmla="*/ 3704844 w 5180742"/>
                  <a:gd name="connsiteY6" fmla="*/ 1054608 h 1136046"/>
                  <a:gd name="connsiteX7" fmla="*/ 3662839 w 5180742"/>
                  <a:gd name="connsiteY7" fmla="*/ 1054608 h 1136046"/>
                  <a:gd name="connsiteX8" fmla="*/ 3662839 w 5180742"/>
                  <a:gd name="connsiteY8" fmla="*/ 1026700 h 1136046"/>
                  <a:gd name="connsiteX9" fmla="*/ 3564541 w 5180742"/>
                  <a:gd name="connsiteY9" fmla="*/ 1026700 h 1136046"/>
                  <a:gd name="connsiteX10" fmla="*/ 3564541 w 5180742"/>
                  <a:gd name="connsiteY10" fmla="*/ 1004126 h 1136046"/>
                  <a:gd name="connsiteX11" fmla="*/ 3383756 w 5180742"/>
                  <a:gd name="connsiteY11" fmla="*/ 1004126 h 1136046"/>
                  <a:gd name="connsiteX12" fmla="*/ 3383756 w 5180742"/>
                  <a:gd name="connsiteY12" fmla="*/ 996315 h 1136046"/>
                  <a:gd name="connsiteX13" fmla="*/ 3297269 w 5180742"/>
                  <a:gd name="connsiteY13" fmla="*/ 996315 h 1136046"/>
                  <a:gd name="connsiteX14" fmla="*/ 3297269 w 5180742"/>
                  <a:gd name="connsiteY14" fmla="*/ 960120 h 1136046"/>
                  <a:gd name="connsiteX15" fmla="*/ 3135725 w 5180742"/>
                  <a:gd name="connsiteY15" fmla="*/ 960120 h 1136046"/>
                  <a:gd name="connsiteX16" fmla="*/ 3135725 w 5180742"/>
                  <a:gd name="connsiteY16" fmla="*/ 947833 h 1136046"/>
                  <a:gd name="connsiteX17" fmla="*/ 3095339 w 5180742"/>
                  <a:gd name="connsiteY17" fmla="*/ 947833 h 1136046"/>
                  <a:gd name="connsiteX18" fmla="*/ 3095339 w 5180742"/>
                  <a:gd name="connsiteY18" fmla="*/ 916019 h 1136046"/>
                  <a:gd name="connsiteX19" fmla="*/ 3055430 w 5180742"/>
                  <a:gd name="connsiteY19" fmla="*/ 916019 h 1136046"/>
                  <a:gd name="connsiteX20" fmla="*/ 3055430 w 5180742"/>
                  <a:gd name="connsiteY20" fmla="*/ 884206 h 1136046"/>
                  <a:gd name="connsiteX21" fmla="*/ 2864453 w 5180742"/>
                  <a:gd name="connsiteY21" fmla="*/ 884206 h 1136046"/>
                  <a:gd name="connsiteX22" fmla="*/ 2864453 w 5180742"/>
                  <a:gd name="connsiteY22" fmla="*/ 859441 h 1136046"/>
                  <a:gd name="connsiteX23" fmla="*/ 2727674 w 5180742"/>
                  <a:gd name="connsiteY23" fmla="*/ 859441 h 1136046"/>
                  <a:gd name="connsiteX24" fmla="*/ 2727674 w 5180742"/>
                  <a:gd name="connsiteY24" fmla="*/ 846106 h 1136046"/>
                  <a:gd name="connsiteX25" fmla="*/ 2672429 w 5180742"/>
                  <a:gd name="connsiteY25" fmla="*/ 846106 h 1136046"/>
                  <a:gd name="connsiteX26" fmla="*/ 2672429 w 5180742"/>
                  <a:gd name="connsiteY26" fmla="*/ 832295 h 1136046"/>
                  <a:gd name="connsiteX27" fmla="*/ 2626519 w 5180742"/>
                  <a:gd name="connsiteY27" fmla="*/ 832295 h 1136046"/>
                  <a:gd name="connsiteX28" fmla="*/ 2626519 w 5180742"/>
                  <a:gd name="connsiteY28" fmla="*/ 798576 h 1136046"/>
                  <a:gd name="connsiteX29" fmla="*/ 2489645 w 5180742"/>
                  <a:gd name="connsiteY29" fmla="*/ 798576 h 1136046"/>
                  <a:gd name="connsiteX30" fmla="*/ 2489645 w 5180742"/>
                  <a:gd name="connsiteY30" fmla="*/ 776573 h 1136046"/>
                  <a:gd name="connsiteX31" fmla="*/ 2418302 w 5180742"/>
                  <a:gd name="connsiteY31" fmla="*/ 776573 h 1136046"/>
                  <a:gd name="connsiteX32" fmla="*/ 2418302 w 5180742"/>
                  <a:gd name="connsiteY32" fmla="*/ 733235 h 1136046"/>
                  <a:gd name="connsiteX33" fmla="*/ 2349056 w 5180742"/>
                  <a:gd name="connsiteY33" fmla="*/ 733235 h 1136046"/>
                  <a:gd name="connsiteX34" fmla="*/ 2349056 w 5180742"/>
                  <a:gd name="connsiteY34" fmla="*/ 709898 h 1136046"/>
                  <a:gd name="connsiteX35" fmla="*/ 2272284 w 5180742"/>
                  <a:gd name="connsiteY35" fmla="*/ 709898 h 1136046"/>
                  <a:gd name="connsiteX36" fmla="*/ 2272284 w 5180742"/>
                  <a:gd name="connsiteY36" fmla="*/ 683419 h 1136046"/>
                  <a:gd name="connsiteX37" fmla="*/ 2244852 w 5180742"/>
                  <a:gd name="connsiteY37" fmla="*/ 683419 h 1136046"/>
                  <a:gd name="connsiteX38" fmla="*/ 2244852 w 5180742"/>
                  <a:gd name="connsiteY38" fmla="*/ 660749 h 1136046"/>
                  <a:gd name="connsiteX39" fmla="*/ 2119789 w 5180742"/>
                  <a:gd name="connsiteY39" fmla="*/ 660749 h 1136046"/>
                  <a:gd name="connsiteX40" fmla="*/ 2119789 w 5180742"/>
                  <a:gd name="connsiteY40" fmla="*/ 646176 h 1136046"/>
                  <a:gd name="connsiteX41" fmla="*/ 2078450 w 5180742"/>
                  <a:gd name="connsiteY41" fmla="*/ 646176 h 1136046"/>
                  <a:gd name="connsiteX42" fmla="*/ 2078450 w 5180742"/>
                  <a:gd name="connsiteY42" fmla="*/ 628841 h 1136046"/>
                  <a:gd name="connsiteX43" fmla="*/ 2016443 w 5180742"/>
                  <a:gd name="connsiteY43" fmla="*/ 628841 h 1136046"/>
                  <a:gd name="connsiteX44" fmla="*/ 2016443 w 5180742"/>
                  <a:gd name="connsiteY44" fmla="*/ 610838 h 1136046"/>
                  <a:gd name="connsiteX45" fmla="*/ 1964722 w 5180742"/>
                  <a:gd name="connsiteY45" fmla="*/ 610838 h 1136046"/>
                  <a:gd name="connsiteX46" fmla="*/ 1964722 w 5180742"/>
                  <a:gd name="connsiteY46" fmla="*/ 594646 h 1136046"/>
                  <a:gd name="connsiteX47" fmla="*/ 1852041 w 5180742"/>
                  <a:gd name="connsiteY47" fmla="*/ 594646 h 1136046"/>
                  <a:gd name="connsiteX48" fmla="*/ 1852041 w 5180742"/>
                  <a:gd name="connsiteY48" fmla="*/ 562166 h 1136046"/>
                  <a:gd name="connsiteX49" fmla="*/ 1813274 w 5180742"/>
                  <a:gd name="connsiteY49" fmla="*/ 562166 h 1136046"/>
                  <a:gd name="connsiteX50" fmla="*/ 1813274 w 5180742"/>
                  <a:gd name="connsiteY50" fmla="*/ 544735 h 1136046"/>
                  <a:gd name="connsiteX51" fmla="*/ 1776317 w 5180742"/>
                  <a:gd name="connsiteY51" fmla="*/ 544735 h 1136046"/>
                  <a:gd name="connsiteX52" fmla="*/ 1776317 w 5180742"/>
                  <a:gd name="connsiteY52" fmla="*/ 512921 h 1136046"/>
                  <a:gd name="connsiteX53" fmla="*/ 1690592 w 5180742"/>
                  <a:gd name="connsiteY53" fmla="*/ 512921 h 1136046"/>
                  <a:gd name="connsiteX54" fmla="*/ 1690592 w 5180742"/>
                  <a:gd name="connsiteY54" fmla="*/ 492919 h 1136046"/>
                  <a:gd name="connsiteX55" fmla="*/ 1660017 w 5180742"/>
                  <a:gd name="connsiteY55" fmla="*/ 492919 h 1136046"/>
                  <a:gd name="connsiteX56" fmla="*/ 1660017 w 5180742"/>
                  <a:gd name="connsiteY56" fmla="*/ 477107 h 1136046"/>
                  <a:gd name="connsiteX57" fmla="*/ 1632204 w 5180742"/>
                  <a:gd name="connsiteY57" fmla="*/ 477107 h 1136046"/>
                  <a:gd name="connsiteX58" fmla="*/ 1632204 w 5180742"/>
                  <a:gd name="connsiteY58" fmla="*/ 452723 h 1136046"/>
                  <a:gd name="connsiteX59" fmla="*/ 1606868 w 5180742"/>
                  <a:gd name="connsiteY59" fmla="*/ 452723 h 1136046"/>
                  <a:gd name="connsiteX60" fmla="*/ 1606868 w 5180742"/>
                  <a:gd name="connsiteY60" fmla="*/ 436912 h 1136046"/>
                  <a:gd name="connsiteX61" fmla="*/ 1578674 w 5180742"/>
                  <a:gd name="connsiteY61" fmla="*/ 436912 h 1136046"/>
                  <a:gd name="connsiteX62" fmla="*/ 1578674 w 5180742"/>
                  <a:gd name="connsiteY62" fmla="*/ 412623 h 1136046"/>
                  <a:gd name="connsiteX63" fmla="*/ 1556195 w 5180742"/>
                  <a:gd name="connsiteY63" fmla="*/ 412623 h 1136046"/>
                  <a:gd name="connsiteX64" fmla="*/ 1556195 w 5180742"/>
                  <a:gd name="connsiteY64" fmla="*/ 380429 h 1136046"/>
                  <a:gd name="connsiteX65" fmla="*/ 1489901 w 5180742"/>
                  <a:gd name="connsiteY65" fmla="*/ 380429 h 1136046"/>
                  <a:gd name="connsiteX66" fmla="*/ 1489901 w 5180742"/>
                  <a:gd name="connsiteY66" fmla="*/ 360998 h 1136046"/>
                  <a:gd name="connsiteX67" fmla="*/ 1415129 w 5180742"/>
                  <a:gd name="connsiteY67" fmla="*/ 360998 h 1136046"/>
                  <a:gd name="connsiteX68" fmla="*/ 1415129 w 5180742"/>
                  <a:gd name="connsiteY68" fmla="*/ 348710 h 1136046"/>
                  <a:gd name="connsiteX69" fmla="*/ 1393317 w 5180742"/>
                  <a:gd name="connsiteY69" fmla="*/ 348710 h 1136046"/>
                  <a:gd name="connsiteX70" fmla="*/ 1393317 w 5180742"/>
                  <a:gd name="connsiteY70" fmla="*/ 325755 h 1136046"/>
                  <a:gd name="connsiteX71" fmla="*/ 1335786 w 5180742"/>
                  <a:gd name="connsiteY71" fmla="*/ 325755 h 1136046"/>
                  <a:gd name="connsiteX72" fmla="*/ 1335786 w 5180742"/>
                  <a:gd name="connsiteY72" fmla="*/ 312896 h 1136046"/>
                  <a:gd name="connsiteX73" fmla="*/ 1276541 w 5180742"/>
                  <a:gd name="connsiteY73" fmla="*/ 312896 h 1136046"/>
                  <a:gd name="connsiteX74" fmla="*/ 1276541 w 5180742"/>
                  <a:gd name="connsiteY74" fmla="*/ 285083 h 1136046"/>
                  <a:gd name="connsiteX75" fmla="*/ 1175290 w 5180742"/>
                  <a:gd name="connsiteY75" fmla="*/ 285083 h 1136046"/>
                  <a:gd name="connsiteX76" fmla="*/ 1175290 w 5180742"/>
                  <a:gd name="connsiteY76" fmla="*/ 261557 h 1136046"/>
                  <a:gd name="connsiteX77" fmla="*/ 1123283 w 5180742"/>
                  <a:gd name="connsiteY77" fmla="*/ 261557 h 1136046"/>
                  <a:gd name="connsiteX78" fmla="*/ 1123283 w 5180742"/>
                  <a:gd name="connsiteY78" fmla="*/ 249936 h 1136046"/>
                  <a:gd name="connsiteX79" fmla="*/ 1052798 w 5180742"/>
                  <a:gd name="connsiteY79" fmla="*/ 249936 h 1136046"/>
                  <a:gd name="connsiteX80" fmla="*/ 1052798 w 5180742"/>
                  <a:gd name="connsiteY80" fmla="*/ 241078 h 1136046"/>
                  <a:gd name="connsiteX81" fmla="*/ 1001649 w 5180742"/>
                  <a:gd name="connsiteY81" fmla="*/ 241078 h 1136046"/>
                  <a:gd name="connsiteX82" fmla="*/ 1001649 w 5180742"/>
                  <a:gd name="connsiteY82" fmla="*/ 221361 h 1136046"/>
                  <a:gd name="connsiteX83" fmla="*/ 948785 w 5180742"/>
                  <a:gd name="connsiteY83" fmla="*/ 221361 h 1136046"/>
                  <a:gd name="connsiteX84" fmla="*/ 948785 w 5180742"/>
                  <a:gd name="connsiteY84" fmla="*/ 209264 h 1136046"/>
                  <a:gd name="connsiteX85" fmla="*/ 891635 w 5180742"/>
                  <a:gd name="connsiteY85" fmla="*/ 209264 h 1136046"/>
                  <a:gd name="connsiteX86" fmla="*/ 891635 w 5180742"/>
                  <a:gd name="connsiteY86" fmla="*/ 191357 h 1136046"/>
                  <a:gd name="connsiteX87" fmla="*/ 849725 w 5180742"/>
                  <a:gd name="connsiteY87" fmla="*/ 191357 h 1136046"/>
                  <a:gd name="connsiteX88" fmla="*/ 849725 w 5180742"/>
                  <a:gd name="connsiteY88" fmla="*/ 187452 h 1136046"/>
                  <a:gd name="connsiteX89" fmla="*/ 789527 w 5180742"/>
                  <a:gd name="connsiteY89" fmla="*/ 187452 h 1136046"/>
                  <a:gd name="connsiteX90" fmla="*/ 789527 w 5180742"/>
                  <a:gd name="connsiteY90" fmla="*/ 154210 h 1136046"/>
                  <a:gd name="connsiteX91" fmla="*/ 729329 w 5180742"/>
                  <a:gd name="connsiteY91" fmla="*/ 154210 h 1136046"/>
                  <a:gd name="connsiteX92" fmla="*/ 729329 w 5180742"/>
                  <a:gd name="connsiteY92" fmla="*/ 135922 h 1136046"/>
                  <a:gd name="connsiteX93" fmla="*/ 691801 w 5180742"/>
                  <a:gd name="connsiteY93" fmla="*/ 135922 h 1136046"/>
                  <a:gd name="connsiteX94" fmla="*/ 691801 w 5180742"/>
                  <a:gd name="connsiteY94" fmla="*/ 108014 h 1136046"/>
                  <a:gd name="connsiteX95" fmla="*/ 586454 w 5180742"/>
                  <a:gd name="connsiteY95" fmla="*/ 108014 h 1136046"/>
                  <a:gd name="connsiteX96" fmla="*/ 586454 w 5180742"/>
                  <a:gd name="connsiteY96" fmla="*/ 86297 h 1136046"/>
                  <a:gd name="connsiteX97" fmla="*/ 523875 w 5180742"/>
                  <a:gd name="connsiteY97" fmla="*/ 86297 h 1136046"/>
                  <a:gd name="connsiteX98" fmla="*/ 523875 w 5180742"/>
                  <a:gd name="connsiteY98" fmla="*/ 72771 h 1136046"/>
                  <a:gd name="connsiteX99" fmla="*/ 410813 w 5180742"/>
                  <a:gd name="connsiteY99" fmla="*/ 72771 h 1136046"/>
                  <a:gd name="connsiteX100" fmla="*/ 410813 w 5180742"/>
                  <a:gd name="connsiteY100" fmla="*/ 51149 h 1136046"/>
                  <a:gd name="connsiteX101" fmla="*/ 358521 w 5180742"/>
                  <a:gd name="connsiteY101" fmla="*/ 51149 h 1136046"/>
                  <a:gd name="connsiteX102" fmla="*/ 358521 w 5180742"/>
                  <a:gd name="connsiteY102" fmla="*/ 22574 h 1136046"/>
                  <a:gd name="connsiteX103" fmla="*/ 32290 w 5180742"/>
                  <a:gd name="connsiteY103" fmla="*/ 22574 h 1136046"/>
                  <a:gd name="connsiteX104" fmla="*/ 32290 w 5180742"/>
                  <a:gd name="connsiteY104" fmla="*/ 0 h 1136046"/>
                  <a:gd name="connsiteX105" fmla="*/ 0 w 5180742"/>
                  <a:gd name="connsiteY105" fmla="*/ 0 h 113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180742" h="1136046">
                    <a:moveTo>
                      <a:pt x="5180743" y="1136047"/>
                    </a:moveTo>
                    <a:lnTo>
                      <a:pt x="4136136" y="1136047"/>
                    </a:lnTo>
                    <a:lnTo>
                      <a:pt x="4136136" y="1100519"/>
                    </a:lnTo>
                    <a:lnTo>
                      <a:pt x="3904869" y="1100519"/>
                    </a:lnTo>
                    <a:lnTo>
                      <a:pt x="3904869" y="1071658"/>
                    </a:lnTo>
                    <a:lnTo>
                      <a:pt x="3704844" y="1071658"/>
                    </a:lnTo>
                    <a:lnTo>
                      <a:pt x="3704844" y="1054608"/>
                    </a:lnTo>
                    <a:lnTo>
                      <a:pt x="3662839" y="1054608"/>
                    </a:lnTo>
                    <a:lnTo>
                      <a:pt x="3662839" y="1026700"/>
                    </a:lnTo>
                    <a:lnTo>
                      <a:pt x="3564541" y="1026700"/>
                    </a:lnTo>
                    <a:lnTo>
                      <a:pt x="3564541" y="1004126"/>
                    </a:lnTo>
                    <a:lnTo>
                      <a:pt x="3383756" y="1004126"/>
                    </a:lnTo>
                    <a:lnTo>
                      <a:pt x="3383756" y="996315"/>
                    </a:lnTo>
                    <a:lnTo>
                      <a:pt x="3297269" y="996315"/>
                    </a:lnTo>
                    <a:lnTo>
                      <a:pt x="3297269" y="960120"/>
                    </a:lnTo>
                    <a:lnTo>
                      <a:pt x="3135725" y="960120"/>
                    </a:lnTo>
                    <a:lnTo>
                      <a:pt x="3135725" y="947833"/>
                    </a:lnTo>
                    <a:lnTo>
                      <a:pt x="3095339" y="947833"/>
                    </a:lnTo>
                    <a:lnTo>
                      <a:pt x="3095339" y="916019"/>
                    </a:lnTo>
                    <a:lnTo>
                      <a:pt x="3055430" y="916019"/>
                    </a:lnTo>
                    <a:lnTo>
                      <a:pt x="3055430" y="884206"/>
                    </a:lnTo>
                    <a:lnTo>
                      <a:pt x="2864453" y="884206"/>
                    </a:lnTo>
                    <a:lnTo>
                      <a:pt x="2864453" y="859441"/>
                    </a:lnTo>
                    <a:lnTo>
                      <a:pt x="2727674" y="859441"/>
                    </a:lnTo>
                    <a:lnTo>
                      <a:pt x="2727674" y="846106"/>
                    </a:lnTo>
                    <a:lnTo>
                      <a:pt x="2672429" y="846106"/>
                    </a:lnTo>
                    <a:lnTo>
                      <a:pt x="2672429" y="832295"/>
                    </a:lnTo>
                    <a:lnTo>
                      <a:pt x="2626519" y="832295"/>
                    </a:lnTo>
                    <a:lnTo>
                      <a:pt x="2626519" y="798576"/>
                    </a:lnTo>
                    <a:lnTo>
                      <a:pt x="2489645" y="798576"/>
                    </a:lnTo>
                    <a:lnTo>
                      <a:pt x="2489645" y="776573"/>
                    </a:lnTo>
                    <a:lnTo>
                      <a:pt x="2418302" y="776573"/>
                    </a:lnTo>
                    <a:lnTo>
                      <a:pt x="2418302" y="733235"/>
                    </a:lnTo>
                    <a:lnTo>
                      <a:pt x="2349056" y="733235"/>
                    </a:lnTo>
                    <a:lnTo>
                      <a:pt x="2349056" y="709898"/>
                    </a:lnTo>
                    <a:lnTo>
                      <a:pt x="2272284" y="709898"/>
                    </a:lnTo>
                    <a:lnTo>
                      <a:pt x="2272284" y="683419"/>
                    </a:lnTo>
                    <a:lnTo>
                      <a:pt x="2244852" y="683419"/>
                    </a:lnTo>
                    <a:lnTo>
                      <a:pt x="2244852" y="660749"/>
                    </a:lnTo>
                    <a:lnTo>
                      <a:pt x="2119789" y="660749"/>
                    </a:lnTo>
                    <a:lnTo>
                      <a:pt x="2119789" y="646176"/>
                    </a:lnTo>
                    <a:lnTo>
                      <a:pt x="2078450" y="646176"/>
                    </a:lnTo>
                    <a:lnTo>
                      <a:pt x="2078450" y="628841"/>
                    </a:lnTo>
                    <a:lnTo>
                      <a:pt x="2016443" y="628841"/>
                    </a:lnTo>
                    <a:lnTo>
                      <a:pt x="2016443" y="610838"/>
                    </a:lnTo>
                    <a:lnTo>
                      <a:pt x="1964722" y="610838"/>
                    </a:lnTo>
                    <a:lnTo>
                      <a:pt x="1964722" y="594646"/>
                    </a:lnTo>
                    <a:lnTo>
                      <a:pt x="1852041" y="594646"/>
                    </a:lnTo>
                    <a:lnTo>
                      <a:pt x="1852041" y="562166"/>
                    </a:lnTo>
                    <a:lnTo>
                      <a:pt x="1813274" y="562166"/>
                    </a:lnTo>
                    <a:lnTo>
                      <a:pt x="1813274" y="544735"/>
                    </a:lnTo>
                    <a:lnTo>
                      <a:pt x="1776317" y="544735"/>
                    </a:lnTo>
                    <a:lnTo>
                      <a:pt x="1776317" y="512921"/>
                    </a:lnTo>
                    <a:lnTo>
                      <a:pt x="1690592" y="512921"/>
                    </a:lnTo>
                    <a:lnTo>
                      <a:pt x="1690592" y="492919"/>
                    </a:lnTo>
                    <a:lnTo>
                      <a:pt x="1660017" y="492919"/>
                    </a:lnTo>
                    <a:lnTo>
                      <a:pt x="1660017" y="477107"/>
                    </a:lnTo>
                    <a:lnTo>
                      <a:pt x="1632204" y="477107"/>
                    </a:lnTo>
                    <a:lnTo>
                      <a:pt x="1632204" y="452723"/>
                    </a:lnTo>
                    <a:lnTo>
                      <a:pt x="1606868" y="452723"/>
                    </a:lnTo>
                    <a:lnTo>
                      <a:pt x="1606868" y="436912"/>
                    </a:lnTo>
                    <a:lnTo>
                      <a:pt x="1578674" y="436912"/>
                    </a:lnTo>
                    <a:lnTo>
                      <a:pt x="1578674" y="412623"/>
                    </a:lnTo>
                    <a:lnTo>
                      <a:pt x="1556195" y="412623"/>
                    </a:lnTo>
                    <a:lnTo>
                      <a:pt x="1556195" y="380429"/>
                    </a:lnTo>
                    <a:lnTo>
                      <a:pt x="1489901" y="380429"/>
                    </a:lnTo>
                    <a:lnTo>
                      <a:pt x="1489901" y="360998"/>
                    </a:lnTo>
                    <a:lnTo>
                      <a:pt x="1415129" y="360998"/>
                    </a:lnTo>
                    <a:lnTo>
                      <a:pt x="1415129" y="348710"/>
                    </a:lnTo>
                    <a:lnTo>
                      <a:pt x="1393317" y="348710"/>
                    </a:lnTo>
                    <a:lnTo>
                      <a:pt x="1393317" y="325755"/>
                    </a:lnTo>
                    <a:lnTo>
                      <a:pt x="1335786" y="325755"/>
                    </a:lnTo>
                    <a:lnTo>
                      <a:pt x="1335786" y="312896"/>
                    </a:lnTo>
                    <a:lnTo>
                      <a:pt x="1276541" y="312896"/>
                    </a:lnTo>
                    <a:lnTo>
                      <a:pt x="1276541" y="285083"/>
                    </a:lnTo>
                    <a:lnTo>
                      <a:pt x="1175290" y="285083"/>
                    </a:lnTo>
                    <a:lnTo>
                      <a:pt x="1175290" y="261557"/>
                    </a:lnTo>
                    <a:lnTo>
                      <a:pt x="1123283" y="261557"/>
                    </a:lnTo>
                    <a:lnTo>
                      <a:pt x="1123283" y="249936"/>
                    </a:lnTo>
                    <a:lnTo>
                      <a:pt x="1052798" y="249936"/>
                    </a:lnTo>
                    <a:lnTo>
                      <a:pt x="1052798" y="241078"/>
                    </a:lnTo>
                    <a:lnTo>
                      <a:pt x="1001649" y="241078"/>
                    </a:lnTo>
                    <a:lnTo>
                      <a:pt x="1001649" y="221361"/>
                    </a:lnTo>
                    <a:lnTo>
                      <a:pt x="948785" y="221361"/>
                    </a:lnTo>
                    <a:lnTo>
                      <a:pt x="948785" y="209264"/>
                    </a:lnTo>
                    <a:lnTo>
                      <a:pt x="891635" y="209264"/>
                    </a:lnTo>
                    <a:lnTo>
                      <a:pt x="891635" y="191357"/>
                    </a:lnTo>
                    <a:lnTo>
                      <a:pt x="849725" y="191357"/>
                    </a:lnTo>
                    <a:lnTo>
                      <a:pt x="849725" y="187452"/>
                    </a:lnTo>
                    <a:lnTo>
                      <a:pt x="789527" y="187452"/>
                    </a:lnTo>
                    <a:lnTo>
                      <a:pt x="789527" y="154210"/>
                    </a:lnTo>
                    <a:lnTo>
                      <a:pt x="729329" y="154210"/>
                    </a:lnTo>
                    <a:lnTo>
                      <a:pt x="729329" y="135922"/>
                    </a:lnTo>
                    <a:lnTo>
                      <a:pt x="691801" y="135922"/>
                    </a:lnTo>
                    <a:lnTo>
                      <a:pt x="691801" y="108014"/>
                    </a:lnTo>
                    <a:lnTo>
                      <a:pt x="586454" y="108014"/>
                    </a:lnTo>
                    <a:lnTo>
                      <a:pt x="586454" y="86297"/>
                    </a:lnTo>
                    <a:lnTo>
                      <a:pt x="523875" y="86297"/>
                    </a:lnTo>
                    <a:lnTo>
                      <a:pt x="523875" y="72771"/>
                    </a:lnTo>
                    <a:lnTo>
                      <a:pt x="410813" y="72771"/>
                    </a:lnTo>
                    <a:lnTo>
                      <a:pt x="410813" y="51149"/>
                    </a:lnTo>
                    <a:lnTo>
                      <a:pt x="358521" y="51149"/>
                    </a:lnTo>
                    <a:lnTo>
                      <a:pt x="358521" y="22574"/>
                    </a:lnTo>
                    <a:lnTo>
                      <a:pt x="32290" y="22574"/>
                    </a:lnTo>
                    <a:lnTo>
                      <a:pt x="32290" y="0"/>
                    </a:lnTo>
                    <a:lnTo>
                      <a:pt x="0" y="0"/>
                    </a:lnTo>
                  </a:path>
                </a:pathLst>
              </a:custGeom>
              <a:noFill/>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2" name="Text Placeholder 1">
            <a:extLst>
              <a:ext uri="{FF2B5EF4-FFF2-40B4-BE49-F238E27FC236}">
                <a16:creationId xmlns:a16="http://schemas.microsoft.com/office/drawing/2014/main" id="{4E5FA47B-05F9-D075-87C9-D342194BD4FE}"/>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graphicFrame>
        <p:nvGraphicFramePr>
          <p:cNvPr id="1512" name="Table 1511">
            <a:extLst>
              <a:ext uri="{FF2B5EF4-FFF2-40B4-BE49-F238E27FC236}">
                <a16:creationId xmlns:a16="http://schemas.microsoft.com/office/drawing/2014/main" id="{9087FEAA-03CE-3B57-FBE3-7E1BA3D26B06}"/>
              </a:ext>
            </a:extLst>
          </p:cNvPr>
          <p:cNvGraphicFramePr>
            <a:graphicFrameLocks noGrp="1"/>
          </p:cNvGraphicFramePr>
          <p:nvPr/>
        </p:nvGraphicFramePr>
        <p:xfrm>
          <a:off x="6567440" y="1061258"/>
          <a:ext cx="4902822" cy="1426800"/>
        </p:xfrm>
        <a:graphic>
          <a:graphicData uri="http://schemas.openxmlformats.org/drawingml/2006/table">
            <a:tbl>
              <a:tblPr firstRow="1" firstCol="1" bandRow="1"/>
              <a:tblGrid>
                <a:gridCol w="2166758">
                  <a:extLst>
                    <a:ext uri="{9D8B030D-6E8A-4147-A177-3AD203B41FA5}">
                      <a16:colId xmlns:a16="http://schemas.microsoft.com/office/drawing/2014/main" val="2891963951"/>
                    </a:ext>
                  </a:extLst>
                </a:gridCol>
                <a:gridCol w="1368032">
                  <a:extLst>
                    <a:ext uri="{9D8B030D-6E8A-4147-A177-3AD203B41FA5}">
                      <a16:colId xmlns:a16="http://schemas.microsoft.com/office/drawing/2014/main" val="275263577"/>
                    </a:ext>
                  </a:extLst>
                </a:gridCol>
                <a:gridCol w="1368032">
                  <a:extLst>
                    <a:ext uri="{9D8B030D-6E8A-4147-A177-3AD203B41FA5}">
                      <a16:colId xmlns:a16="http://schemas.microsoft.com/office/drawing/2014/main" val="930621322"/>
                    </a:ext>
                  </a:extLst>
                </a:gridCol>
              </a:tblGrid>
              <a:tr h="28536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just">
                        <a:lnSpc>
                          <a:spcPct val="100000"/>
                        </a:lnSpc>
                        <a:spcAft>
                          <a:spcPts val="0"/>
                        </a:spcAft>
                      </a:pPr>
                      <a:r>
                        <a:rPr lang="en-US" sz="1400" noProof="0" dirty="0">
                          <a:effectLst/>
                          <a:latin typeface="Arial Narrow" panose="020B0606020202030204" pitchFamily="34" charset="0"/>
                        </a:rPr>
                        <a:t> </a:t>
                      </a:r>
                      <a:endParaRPr lang="en-US" sz="1400" noProof="0" dirty="0">
                        <a:effectLst/>
                        <a:latin typeface="Arial Narrow" panose="020B0606020202030204" pitchFamily="34" charset="0"/>
                        <a:ea typeface="MS Mincho" panose="02020609040205080304" pitchFamily="49" charset="-128"/>
                      </a:endParaRPr>
                    </a:p>
                  </a:txBody>
                  <a:tcPr marL="36000" marR="36000" marT="36000" marB="36000">
                    <a:lnL w="12700" cap="flat" cmpd="sng" algn="ctr">
                      <a:noFill/>
                      <a:prstDash val="solid"/>
                      <a:round/>
                      <a:headEnd type="none" w="med" len="med"/>
                      <a:tailEnd type="none" w="med" len="med"/>
                    </a:lnL>
                    <a:lnR w="12700" cmpd="sng">
                      <a:solidFill>
                        <a:srgbClr val="FFFFFF"/>
                      </a:solidFill>
                    </a:lnR>
                    <a:lnT w="38100" cmpd="sng">
                      <a:noFill/>
                    </a:lnT>
                    <a:lnB w="38100" cmpd="sng">
                      <a:noFill/>
                    </a:lnB>
                    <a:lnTlToBr w="12700" cmpd="sng">
                      <a:noFill/>
                      <a:prstDash val="solid"/>
                    </a:lnTlToBr>
                    <a:lnBlToTr w="12700" cmpd="sng">
                      <a:noFill/>
                      <a:prstDash val="solid"/>
                    </a:lnBlToTr>
                    <a:no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b="1" noProof="0" dirty="0">
                          <a:solidFill>
                            <a:schemeClr val="bg1"/>
                          </a:solidFill>
                          <a:effectLst/>
                          <a:latin typeface="Arial Narrow" panose="020B0606020202030204" pitchFamily="34" charset="0"/>
                        </a:rPr>
                        <a:t>Capi + </a:t>
                      </a:r>
                      <a:r>
                        <a:rPr lang="en-US" sz="1400" b="1" noProof="0" dirty="0" err="1">
                          <a:solidFill>
                            <a:schemeClr val="bg1"/>
                          </a:solidFill>
                          <a:effectLst/>
                          <a:latin typeface="Arial Narrow" panose="020B0606020202030204" pitchFamily="34" charset="0"/>
                        </a:rPr>
                        <a:t>abi</a:t>
                      </a:r>
                      <a:r>
                        <a:rPr lang="en-US" sz="1400" b="1" noProof="0" dirty="0">
                          <a:solidFill>
                            <a:schemeClr val="bg1"/>
                          </a:solidFill>
                          <a:effectLst/>
                          <a:latin typeface="Arial Narrow" panose="020B0606020202030204" pitchFamily="34" charset="0"/>
                        </a:rPr>
                        <a:t> (N=507)</a:t>
                      </a:r>
                      <a:endParaRPr lang="en-US" sz="1400" b="1" noProof="0" dirty="0">
                        <a:solidFill>
                          <a:schemeClr val="bg1"/>
                        </a:solidFill>
                        <a:effectLst/>
                        <a:latin typeface="Arial Narrow" panose="020B0606020202030204" pitchFamily="34" charset="0"/>
                        <a:ea typeface="MS Mincho" panose="02020609040205080304" pitchFamily="49" charset="-128"/>
                      </a:endParaRPr>
                    </a:p>
                  </a:txBody>
                  <a:tcPr marL="36000" marR="36000" marT="36000" marB="36000">
                    <a:lnL w="12700" cmpd="sng">
                      <a:solidFill>
                        <a:srgbClr val="FFFFFF"/>
                      </a:solidFill>
                    </a:lnL>
                    <a:lnR w="12700" cmpd="sng">
                      <a:solidFill>
                        <a:srgbClr val="FFFFFF"/>
                      </a:solidFill>
                    </a:lnR>
                    <a:lnT w="38100" cmpd="sng">
                      <a:noFill/>
                    </a:lnT>
                    <a:lnB w="38100" cmpd="sng">
                      <a:noFill/>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b="1" noProof="0" dirty="0" err="1">
                          <a:solidFill>
                            <a:schemeClr val="bg1"/>
                          </a:solidFill>
                          <a:effectLst/>
                          <a:latin typeface="Arial Narrow" panose="020B0606020202030204" pitchFamily="34" charset="0"/>
                        </a:rPr>
                        <a:t>Pbo</a:t>
                      </a:r>
                      <a:r>
                        <a:rPr lang="en-US" sz="1400" b="1" noProof="0" dirty="0">
                          <a:solidFill>
                            <a:schemeClr val="bg1"/>
                          </a:solidFill>
                          <a:effectLst/>
                          <a:latin typeface="Arial Narrow" panose="020B0606020202030204" pitchFamily="34" charset="0"/>
                        </a:rPr>
                        <a:t> + </a:t>
                      </a:r>
                      <a:r>
                        <a:rPr lang="en-US" sz="1400" b="1" noProof="0" dirty="0" err="1">
                          <a:solidFill>
                            <a:schemeClr val="bg1"/>
                          </a:solidFill>
                          <a:effectLst/>
                          <a:latin typeface="Arial Narrow" panose="020B0606020202030204" pitchFamily="34" charset="0"/>
                        </a:rPr>
                        <a:t>abi</a:t>
                      </a:r>
                      <a:r>
                        <a:rPr lang="en-US" sz="1400" b="1" noProof="0" dirty="0">
                          <a:solidFill>
                            <a:schemeClr val="bg1"/>
                          </a:solidFill>
                          <a:effectLst/>
                          <a:latin typeface="Arial Narrow" panose="020B0606020202030204" pitchFamily="34" charset="0"/>
                        </a:rPr>
                        <a:t> (N=505)</a:t>
                      </a:r>
                      <a:endParaRPr lang="en-US" sz="1400" b="1" noProof="0" dirty="0">
                        <a:solidFill>
                          <a:schemeClr val="bg1"/>
                        </a:solidFill>
                        <a:effectLst/>
                        <a:latin typeface="Arial Narrow" panose="020B0606020202030204" pitchFamily="34" charset="0"/>
                        <a:ea typeface="MS Mincho" panose="02020609040205080304" pitchFamily="49" charset="-128"/>
                      </a:endParaRPr>
                    </a:p>
                  </a:txBody>
                  <a:tcPr marL="36000" marR="36000" marT="36000" marB="36000">
                    <a:lnL w="12700" cmpd="sng">
                      <a:solidFill>
                        <a:srgbClr val="FFFFFF"/>
                      </a:solidFill>
                    </a:lnL>
                    <a:lnR w="12700" cap="flat" cmpd="sng" algn="ctr">
                      <a:noFill/>
                      <a:prstDash val="solid"/>
                      <a:round/>
                      <a:headEnd type="none" w="med" len="med"/>
                      <a:tailEnd type="none" w="med" len="med"/>
                    </a:lnR>
                    <a:lnT w="381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4420743"/>
                  </a:ext>
                </a:extLst>
              </a:tr>
              <a:tr h="28536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Events, n (%)</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129 (25.4)</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138 (27.3)</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extLst>
                  <a:ext uri="{0D108BD9-81ED-4DB2-BD59-A6C34878D82A}">
                    <a16:rowId xmlns:a16="http://schemas.microsoft.com/office/drawing/2014/main" val="3284079475"/>
                  </a:ext>
                </a:extLst>
              </a:tr>
              <a:tr h="28536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indent="0"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Median OS, months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NC</a:t>
                      </a: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 (42.5, NC)</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NC</a:t>
                      </a: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 (NC, NC)</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1854622382"/>
                  </a:ext>
                </a:extLst>
              </a:tr>
              <a:tr h="28536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rPr>
                        <a:t>HR (95% CI)</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0.90 (0.71, 1.15)</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tint val="20000"/>
                        <a:alpha val="20000"/>
                      </a:schemeClr>
                    </a:solidFill>
                  </a:tcPr>
                </a:tc>
                <a:extLst>
                  <a:ext uri="{0D108BD9-81ED-4DB2-BD59-A6C34878D82A}">
                    <a16:rowId xmlns:a16="http://schemas.microsoft.com/office/drawing/2014/main" val="2304385734"/>
                  </a:ext>
                </a:extLst>
              </a:tr>
              <a:tr h="28536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i="1" noProof="0" dirty="0">
                          <a:solidFill>
                            <a:schemeClr val="tx1">
                              <a:lumMod val="50000"/>
                            </a:schemeClr>
                          </a:solidFill>
                          <a:effectLst/>
                          <a:latin typeface="Arial Narrow" panose="020B0606020202030204" pitchFamily="34" charset="0"/>
                        </a:rPr>
                        <a:t>P</a:t>
                      </a:r>
                      <a:r>
                        <a:rPr lang="en-US" sz="1400" b="0" noProof="0" dirty="0">
                          <a:solidFill>
                            <a:schemeClr val="tx1">
                              <a:lumMod val="50000"/>
                            </a:schemeClr>
                          </a:solidFill>
                          <a:effectLst/>
                          <a:latin typeface="Arial Narrow" panose="020B0606020202030204" pitchFamily="34" charset="0"/>
                        </a:rPr>
                        <a:t>-value</a:t>
                      </a: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0.401</a:t>
                      </a:r>
                    </a:p>
                  </a:txBody>
                  <a:tcPr marL="36000" marR="36000" marT="36000" marB="360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20000"/>
                      </a:schemeClr>
                    </a:solidFill>
                  </a:tcPr>
                </a:tc>
                <a:extLst>
                  <a:ext uri="{0D108BD9-81ED-4DB2-BD59-A6C34878D82A}">
                    <a16:rowId xmlns:a16="http://schemas.microsoft.com/office/drawing/2014/main" val="2987664283"/>
                  </a:ext>
                </a:extLst>
              </a:tr>
            </a:tbl>
          </a:graphicData>
        </a:graphic>
      </p:graphicFrame>
      <p:sp>
        <p:nvSpPr>
          <p:cNvPr id="1513" name="TextBox 1512">
            <a:extLst>
              <a:ext uri="{FF2B5EF4-FFF2-40B4-BE49-F238E27FC236}">
                <a16:creationId xmlns:a16="http://schemas.microsoft.com/office/drawing/2014/main" id="{95AE8D85-199C-1B32-130E-4AE23E93D42C}"/>
              </a:ext>
            </a:extLst>
          </p:cNvPr>
          <p:cNvSpPr txBox="1"/>
          <p:nvPr/>
        </p:nvSpPr>
        <p:spPr>
          <a:xfrm>
            <a:off x="430306" y="5911191"/>
            <a:ext cx="10886982" cy="400110"/>
          </a:xfrm>
          <a:prstGeom prst="rect">
            <a:avLst/>
          </a:prstGeom>
          <a:noFill/>
        </p:spPr>
        <p:txBody>
          <a:bodyPr wrap="square" anchor="b">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A stratified log-rank test was used to calculate two-sided P values. HRs and 95% CIs were calculated using a stratified Cox proportional-hazards model.</a:t>
            </a:r>
            <a:b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CI, confidence interval; HR, hazard ratio; NC, not calculable; OS, overall survival;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a:t>
            </a:r>
          </a:p>
        </p:txBody>
      </p:sp>
      <p:grpSp>
        <p:nvGrpSpPr>
          <p:cNvPr id="1515" name="Group 1514">
            <a:extLst>
              <a:ext uri="{FF2B5EF4-FFF2-40B4-BE49-F238E27FC236}">
                <a16:creationId xmlns:a16="http://schemas.microsoft.com/office/drawing/2014/main" id="{482047F2-1287-2E56-C46F-3B3F759347D4}"/>
              </a:ext>
            </a:extLst>
          </p:cNvPr>
          <p:cNvGrpSpPr/>
          <p:nvPr/>
        </p:nvGrpSpPr>
        <p:grpSpPr>
          <a:xfrm>
            <a:off x="1661102" y="1383094"/>
            <a:ext cx="8846721" cy="1600476"/>
            <a:chOff x="3457575" y="2751867"/>
            <a:chExt cx="5273706" cy="1360836"/>
          </a:xfrm>
        </p:grpSpPr>
        <p:grpSp>
          <p:nvGrpSpPr>
            <p:cNvPr id="2261" name="Graphic 1443">
              <a:extLst>
                <a:ext uri="{FF2B5EF4-FFF2-40B4-BE49-F238E27FC236}">
                  <a16:creationId xmlns:a16="http://schemas.microsoft.com/office/drawing/2014/main" id="{B88A2D5E-F357-2551-6D0D-C3DE26C489A6}"/>
                </a:ext>
              </a:extLst>
            </p:cNvPr>
            <p:cNvGrpSpPr/>
            <p:nvPr/>
          </p:nvGrpSpPr>
          <p:grpSpPr>
            <a:xfrm>
              <a:off x="3489864" y="2754343"/>
              <a:ext cx="5241417" cy="1358360"/>
              <a:chOff x="3489864" y="2754343"/>
              <a:chExt cx="5241417" cy="1358360"/>
            </a:xfrm>
          </p:grpSpPr>
          <p:grpSp>
            <p:nvGrpSpPr>
              <p:cNvPr id="2263" name="Graphic 1443">
                <a:extLst>
                  <a:ext uri="{FF2B5EF4-FFF2-40B4-BE49-F238E27FC236}">
                    <a16:creationId xmlns:a16="http://schemas.microsoft.com/office/drawing/2014/main" id="{8842F038-D42D-6E2D-A72A-6486AB5B47D4}"/>
                  </a:ext>
                </a:extLst>
              </p:cNvPr>
              <p:cNvGrpSpPr/>
              <p:nvPr/>
            </p:nvGrpSpPr>
            <p:grpSpPr>
              <a:xfrm>
                <a:off x="8669464" y="4048981"/>
                <a:ext cx="61817" cy="63722"/>
                <a:chOff x="8669464" y="4048981"/>
                <a:chExt cx="61817" cy="63722"/>
              </a:xfrm>
            </p:grpSpPr>
            <p:sp>
              <p:nvSpPr>
                <p:cNvPr id="2945" name="Freeform: Shape 2944">
                  <a:extLst>
                    <a:ext uri="{FF2B5EF4-FFF2-40B4-BE49-F238E27FC236}">
                      <a16:creationId xmlns:a16="http://schemas.microsoft.com/office/drawing/2014/main" id="{2E21899C-9D80-C899-6C0F-3E6B602E4679}"/>
                    </a:ext>
                  </a:extLst>
                </p:cNvPr>
                <p:cNvSpPr/>
                <p:nvPr/>
              </p:nvSpPr>
              <p:spPr>
                <a:xfrm>
                  <a:off x="8700325"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46" name="Freeform: Shape 2945">
                  <a:extLst>
                    <a:ext uri="{FF2B5EF4-FFF2-40B4-BE49-F238E27FC236}">
                      <a16:creationId xmlns:a16="http://schemas.microsoft.com/office/drawing/2014/main" id="{E198D013-FCAA-94D3-AA7B-6181C0E2A77A}"/>
                    </a:ext>
                  </a:extLst>
                </p:cNvPr>
                <p:cNvSpPr/>
                <p:nvPr/>
              </p:nvSpPr>
              <p:spPr>
                <a:xfrm>
                  <a:off x="86694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4" name="Graphic 1443">
                <a:extLst>
                  <a:ext uri="{FF2B5EF4-FFF2-40B4-BE49-F238E27FC236}">
                    <a16:creationId xmlns:a16="http://schemas.microsoft.com/office/drawing/2014/main" id="{7F903629-8807-D1FD-74A6-F2837A77894B}"/>
                  </a:ext>
                </a:extLst>
              </p:cNvPr>
              <p:cNvGrpSpPr/>
              <p:nvPr/>
            </p:nvGrpSpPr>
            <p:grpSpPr>
              <a:xfrm>
                <a:off x="8432387" y="4048981"/>
                <a:ext cx="61817" cy="63722"/>
                <a:chOff x="8432387" y="4048981"/>
                <a:chExt cx="61817" cy="63722"/>
              </a:xfrm>
            </p:grpSpPr>
            <p:sp>
              <p:nvSpPr>
                <p:cNvPr id="2943" name="Freeform: Shape 2942">
                  <a:extLst>
                    <a:ext uri="{FF2B5EF4-FFF2-40B4-BE49-F238E27FC236}">
                      <a16:creationId xmlns:a16="http://schemas.microsoft.com/office/drawing/2014/main" id="{6FF8CB37-6AE2-82C9-8350-8C4B8AD793C8}"/>
                    </a:ext>
                  </a:extLst>
                </p:cNvPr>
                <p:cNvSpPr/>
                <p:nvPr/>
              </p:nvSpPr>
              <p:spPr>
                <a:xfrm>
                  <a:off x="846334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44" name="Freeform: Shape 2943">
                  <a:extLst>
                    <a:ext uri="{FF2B5EF4-FFF2-40B4-BE49-F238E27FC236}">
                      <a16:creationId xmlns:a16="http://schemas.microsoft.com/office/drawing/2014/main" id="{DB0D4531-046D-64BD-DEE7-3C313DCBE702}"/>
                    </a:ext>
                  </a:extLst>
                </p:cNvPr>
                <p:cNvSpPr/>
                <p:nvPr/>
              </p:nvSpPr>
              <p:spPr>
                <a:xfrm>
                  <a:off x="8432387" y="4080890"/>
                  <a:ext cx="61817" cy="9525"/>
                </a:xfrm>
                <a:custGeom>
                  <a:avLst/>
                  <a:gdLst>
                    <a:gd name="connsiteX0" fmla="*/ 61818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5" name="Graphic 1443">
                <a:extLst>
                  <a:ext uri="{FF2B5EF4-FFF2-40B4-BE49-F238E27FC236}">
                    <a16:creationId xmlns:a16="http://schemas.microsoft.com/office/drawing/2014/main" id="{4201B894-5486-BE72-E01A-191BCCE44B4D}"/>
                  </a:ext>
                </a:extLst>
              </p:cNvPr>
              <p:cNvGrpSpPr/>
              <p:nvPr/>
            </p:nvGrpSpPr>
            <p:grpSpPr>
              <a:xfrm>
                <a:off x="8443436" y="4048981"/>
                <a:ext cx="61817" cy="63722"/>
                <a:chOff x="8443436" y="4048981"/>
                <a:chExt cx="61817" cy="63722"/>
              </a:xfrm>
            </p:grpSpPr>
            <p:sp>
              <p:nvSpPr>
                <p:cNvPr id="2941" name="Freeform: Shape 2940">
                  <a:extLst>
                    <a:ext uri="{FF2B5EF4-FFF2-40B4-BE49-F238E27FC236}">
                      <a16:creationId xmlns:a16="http://schemas.microsoft.com/office/drawing/2014/main" id="{CF89DD1F-D5FF-6D42-EBD8-3E3ABCB1463B}"/>
                    </a:ext>
                  </a:extLst>
                </p:cNvPr>
                <p:cNvSpPr/>
                <p:nvPr/>
              </p:nvSpPr>
              <p:spPr>
                <a:xfrm>
                  <a:off x="8474392"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42" name="Freeform: Shape 2941">
                  <a:extLst>
                    <a:ext uri="{FF2B5EF4-FFF2-40B4-BE49-F238E27FC236}">
                      <a16:creationId xmlns:a16="http://schemas.microsoft.com/office/drawing/2014/main" id="{23EAEC88-FC10-4CF3-6068-35E6D9CAC9DC}"/>
                    </a:ext>
                  </a:extLst>
                </p:cNvPr>
                <p:cNvSpPr/>
                <p:nvPr/>
              </p:nvSpPr>
              <p:spPr>
                <a:xfrm>
                  <a:off x="844343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6" name="Graphic 1443">
                <a:extLst>
                  <a:ext uri="{FF2B5EF4-FFF2-40B4-BE49-F238E27FC236}">
                    <a16:creationId xmlns:a16="http://schemas.microsoft.com/office/drawing/2014/main" id="{B096B023-FD6A-E908-3432-85AD8527DC5E}"/>
                  </a:ext>
                </a:extLst>
              </p:cNvPr>
              <p:cNvGrpSpPr/>
              <p:nvPr/>
            </p:nvGrpSpPr>
            <p:grpSpPr>
              <a:xfrm>
                <a:off x="8558117" y="4048981"/>
                <a:ext cx="61817" cy="63722"/>
                <a:chOff x="8558117" y="4048981"/>
                <a:chExt cx="61817" cy="63722"/>
              </a:xfrm>
            </p:grpSpPr>
            <p:sp>
              <p:nvSpPr>
                <p:cNvPr id="2939" name="Freeform: Shape 2938">
                  <a:extLst>
                    <a:ext uri="{FF2B5EF4-FFF2-40B4-BE49-F238E27FC236}">
                      <a16:creationId xmlns:a16="http://schemas.microsoft.com/office/drawing/2014/main" id="{9228F0D2-2662-26F8-4AEE-5862F4939812}"/>
                    </a:ext>
                  </a:extLst>
                </p:cNvPr>
                <p:cNvSpPr/>
                <p:nvPr/>
              </p:nvSpPr>
              <p:spPr>
                <a:xfrm>
                  <a:off x="85889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40" name="Freeform: Shape 2939">
                  <a:extLst>
                    <a:ext uri="{FF2B5EF4-FFF2-40B4-BE49-F238E27FC236}">
                      <a16:creationId xmlns:a16="http://schemas.microsoft.com/office/drawing/2014/main" id="{1DDCCABD-EF09-FB9A-DAC6-D11E08272CB8}"/>
                    </a:ext>
                  </a:extLst>
                </p:cNvPr>
                <p:cNvSpPr/>
                <p:nvPr/>
              </p:nvSpPr>
              <p:spPr>
                <a:xfrm>
                  <a:off x="85581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7" name="Graphic 1443">
                <a:extLst>
                  <a:ext uri="{FF2B5EF4-FFF2-40B4-BE49-F238E27FC236}">
                    <a16:creationId xmlns:a16="http://schemas.microsoft.com/office/drawing/2014/main" id="{2BE88D44-0418-2790-3BA5-3ECEEF907113}"/>
                  </a:ext>
                </a:extLst>
              </p:cNvPr>
              <p:cNvGrpSpPr/>
              <p:nvPr/>
            </p:nvGrpSpPr>
            <p:grpSpPr>
              <a:xfrm>
                <a:off x="8569166" y="4048981"/>
                <a:ext cx="61817" cy="63722"/>
                <a:chOff x="8569166" y="4048981"/>
                <a:chExt cx="61817" cy="63722"/>
              </a:xfrm>
            </p:grpSpPr>
            <p:sp>
              <p:nvSpPr>
                <p:cNvPr id="2937" name="Freeform: Shape 2936">
                  <a:extLst>
                    <a:ext uri="{FF2B5EF4-FFF2-40B4-BE49-F238E27FC236}">
                      <a16:creationId xmlns:a16="http://schemas.microsoft.com/office/drawing/2014/main" id="{2D0EEA32-7509-48DF-CA92-1C7B48AC8E54}"/>
                    </a:ext>
                  </a:extLst>
                </p:cNvPr>
                <p:cNvSpPr/>
                <p:nvPr/>
              </p:nvSpPr>
              <p:spPr>
                <a:xfrm>
                  <a:off x="860002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38" name="Freeform: Shape 2937">
                  <a:extLst>
                    <a:ext uri="{FF2B5EF4-FFF2-40B4-BE49-F238E27FC236}">
                      <a16:creationId xmlns:a16="http://schemas.microsoft.com/office/drawing/2014/main" id="{87B9650A-A7F3-6583-34AA-8EA1856E5ED7}"/>
                    </a:ext>
                  </a:extLst>
                </p:cNvPr>
                <p:cNvSpPr/>
                <p:nvPr/>
              </p:nvSpPr>
              <p:spPr>
                <a:xfrm>
                  <a:off x="856916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8" name="Graphic 1443">
                <a:extLst>
                  <a:ext uri="{FF2B5EF4-FFF2-40B4-BE49-F238E27FC236}">
                    <a16:creationId xmlns:a16="http://schemas.microsoft.com/office/drawing/2014/main" id="{95C193BC-52B0-053F-92F5-E3BCB33A22E5}"/>
                  </a:ext>
                </a:extLst>
              </p:cNvPr>
              <p:cNvGrpSpPr/>
              <p:nvPr/>
            </p:nvGrpSpPr>
            <p:grpSpPr>
              <a:xfrm>
                <a:off x="8489727" y="4048981"/>
                <a:ext cx="61817" cy="63722"/>
                <a:chOff x="8489727" y="4048981"/>
                <a:chExt cx="61817" cy="63722"/>
              </a:xfrm>
            </p:grpSpPr>
            <p:sp>
              <p:nvSpPr>
                <p:cNvPr id="2935" name="Freeform: Shape 2934">
                  <a:extLst>
                    <a:ext uri="{FF2B5EF4-FFF2-40B4-BE49-F238E27FC236}">
                      <a16:creationId xmlns:a16="http://schemas.microsoft.com/office/drawing/2014/main" id="{67C05D48-CC9E-8345-55BE-426EF9B44C96}"/>
                    </a:ext>
                  </a:extLst>
                </p:cNvPr>
                <p:cNvSpPr/>
                <p:nvPr/>
              </p:nvSpPr>
              <p:spPr>
                <a:xfrm>
                  <a:off x="852058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36" name="Freeform: Shape 2935">
                  <a:extLst>
                    <a:ext uri="{FF2B5EF4-FFF2-40B4-BE49-F238E27FC236}">
                      <a16:creationId xmlns:a16="http://schemas.microsoft.com/office/drawing/2014/main" id="{C4D977C3-B228-6D24-A3DB-EBA059A1026E}"/>
                    </a:ext>
                  </a:extLst>
                </p:cNvPr>
                <p:cNvSpPr/>
                <p:nvPr/>
              </p:nvSpPr>
              <p:spPr>
                <a:xfrm>
                  <a:off x="848972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69" name="Graphic 1443">
                <a:extLst>
                  <a:ext uri="{FF2B5EF4-FFF2-40B4-BE49-F238E27FC236}">
                    <a16:creationId xmlns:a16="http://schemas.microsoft.com/office/drawing/2014/main" id="{891A23AD-84E0-A7A7-23BC-93A8F6DECB10}"/>
                  </a:ext>
                </a:extLst>
              </p:cNvPr>
              <p:cNvGrpSpPr/>
              <p:nvPr/>
            </p:nvGrpSpPr>
            <p:grpSpPr>
              <a:xfrm>
                <a:off x="8538400" y="4048981"/>
                <a:ext cx="61817" cy="63722"/>
                <a:chOff x="8538400" y="4048981"/>
                <a:chExt cx="61817" cy="63722"/>
              </a:xfrm>
            </p:grpSpPr>
            <p:sp>
              <p:nvSpPr>
                <p:cNvPr id="2933" name="Freeform: Shape 2932">
                  <a:extLst>
                    <a:ext uri="{FF2B5EF4-FFF2-40B4-BE49-F238E27FC236}">
                      <a16:creationId xmlns:a16="http://schemas.microsoft.com/office/drawing/2014/main" id="{95CF1301-5D0C-89CA-3347-50CE673153A1}"/>
                    </a:ext>
                  </a:extLst>
                </p:cNvPr>
                <p:cNvSpPr/>
                <p:nvPr/>
              </p:nvSpPr>
              <p:spPr>
                <a:xfrm>
                  <a:off x="8569261"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34" name="Freeform: Shape 2933">
                  <a:extLst>
                    <a:ext uri="{FF2B5EF4-FFF2-40B4-BE49-F238E27FC236}">
                      <a16:creationId xmlns:a16="http://schemas.microsoft.com/office/drawing/2014/main" id="{7290C9DC-12BB-2E2B-FEF0-168BCD986045}"/>
                    </a:ext>
                  </a:extLst>
                </p:cNvPr>
                <p:cNvSpPr/>
                <p:nvPr/>
              </p:nvSpPr>
              <p:spPr>
                <a:xfrm>
                  <a:off x="8538400"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0" name="Graphic 1443">
                <a:extLst>
                  <a:ext uri="{FF2B5EF4-FFF2-40B4-BE49-F238E27FC236}">
                    <a16:creationId xmlns:a16="http://schemas.microsoft.com/office/drawing/2014/main" id="{13E9EFE8-B3C5-D339-13B4-625C1C48C63F}"/>
                  </a:ext>
                </a:extLst>
              </p:cNvPr>
              <p:cNvGrpSpPr/>
              <p:nvPr/>
            </p:nvGrpSpPr>
            <p:grpSpPr>
              <a:xfrm>
                <a:off x="8293417" y="4048981"/>
                <a:ext cx="61817" cy="63722"/>
                <a:chOff x="8293417" y="4048981"/>
                <a:chExt cx="61817" cy="63722"/>
              </a:xfrm>
            </p:grpSpPr>
            <p:sp>
              <p:nvSpPr>
                <p:cNvPr id="2931" name="Freeform: Shape 2930">
                  <a:extLst>
                    <a:ext uri="{FF2B5EF4-FFF2-40B4-BE49-F238E27FC236}">
                      <a16:creationId xmlns:a16="http://schemas.microsoft.com/office/drawing/2014/main" id="{08883E6B-D8CA-6CD2-EF77-873407B77375}"/>
                    </a:ext>
                  </a:extLst>
                </p:cNvPr>
                <p:cNvSpPr/>
                <p:nvPr/>
              </p:nvSpPr>
              <p:spPr>
                <a:xfrm>
                  <a:off x="83242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32" name="Freeform: Shape 2931">
                  <a:extLst>
                    <a:ext uri="{FF2B5EF4-FFF2-40B4-BE49-F238E27FC236}">
                      <a16:creationId xmlns:a16="http://schemas.microsoft.com/office/drawing/2014/main" id="{626BB5F8-661E-6675-C44F-11756F82210B}"/>
                    </a:ext>
                  </a:extLst>
                </p:cNvPr>
                <p:cNvSpPr/>
                <p:nvPr/>
              </p:nvSpPr>
              <p:spPr>
                <a:xfrm>
                  <a:off x="82934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1" name="Graphic 1443">
                <a:extLst>
                  <a:ext uri="{FF2B5EF4-FFF2-40B4-BE49-F238E27FC236}">
                    <a16:creationId xmlns:a16="http://schemas.microsoft.com/office/drawing/2014/main" id="{F9BCC982-08D6-210D-4DCC-0024EE23E646}"/>
                  </a:ext>
                </a:extLst>
              </p:cNvPr>
              <p:cNvGrpSpPr/>
              <p:nvPr/>
            </p:nvGrpSpPr>
            <p:grpSpPr>
              <a:xfrm>
                <a:off x="8248364" y="4048981"/>
                <a:ext cx="61817" cy="63722"/>
                <a:chOff x="8248364" y="4048981"/>
                <a:chExt cx="61817" cy="63722"/>
              </a:xfrm>
            </p:grpSpPr>
            <p:sp>
              <p:nvSpPr>
                <p:cNvPr id="2929" name="Freeform: Shape 2928">
                  <a:extLst>
                    <a:ext uri="{FF2B5EF4-FFF2-40B4-BE49-F238E27FC236}">
                      <a16:creationId xmlns:a16="http://schemas.microsoft.com/office/drawing/2014/main" id="{15C9951B-A172-ED90-DDFB-DD02DE7079FE}"/>
                    </a:ext>
                  </a:extLst>
                </p:cNvPr>
                <p:cNvSpPr/>
                <p:nvPr/>
              </p:nvSpPr>
              <p:spPr>
                <a:xfrm>
                  <a:off x="8279320"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30" name="Freeform: Shape 2929">
                  <a:extLst>
                    <a:ext uri="{FF2B5EF4-FFF2-40B4-BE49-F238E27FC236}">
                      <a16:creationId xmlns:a16="http://schemas.microsoft.com/office/drawing/2014/main" id="{1C9FFF50-7CAF-117B-F4D7-B93AAFFAA658}"/>
                    </a:ext>
                  </a:extLst>
                </p:cNvPr>
                <p:cNvSpPr/>
                <p:nvPr/>
              </p:nvSpPr>
              <p:spPr>
                <a:xfrm>
                  <a:off x="82483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2" name="Graphic 1443">
                <a:extLst>
                  <a:ext uri="{FF2B5EF4-FFF2-40B4-BE49-F238E27FC236}">
                    <a16:creationId xmlns:a16="http://schemas.microsoft.com/office/drawing/2014/main" id="{9FB65D7C-D87D-7BC0-CF00-2B068E942FDC}"/>
                  </a:ext>
                </a:extLst>
              </p:cNvPr>
              <p:cNvGrpSpPr/>
              <p:nvPr/>
            </p:nvGrpSpPr>
            <p:grpSpPr>
              <a:xfrm>
                <a:off x="8217503" y="4048981"/>
                <a:ext cx="61817" cy="63722"/>
                <a:chOff x="8217503" y="4048981"/>
                <a:chExt cx="61817" cy="63722"/>
              </a:xfrm>
            </p:grpSpPr>
            <p:sp>
              <p:nvSpPr>
                <p:cNvPr id="2927" name="Freeform: Shape 2926">
                  <a:extLst>
                    <a:ext uri="{FF2B5EF4-FFF2-40B4-BE49-F238E27FC236}">
                      <a16:creationId xmlns:a16="http://schemas.microsoft.com/office/drawing/2014/main" id="{1177A965-01DB-1232-7D57-FCEBF106969C}"/>
                    </a:ext>
                  </a:extLst>
                </p:cNvPr>
                <p:cNvSpPr/>
                <p:nvPr/>
              </p:nvSpPr>
              <p:spPr>
                <a:xfrm>
                  <a:off x="824836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28" name="Freeform: Shape 2927">
                  <a:extLst>
                    <a:ext uri="{FF2B5EF4-FFF2-40B4-BE49-F238E27FC236}">
                      <a16:creationId xmlns:a16="http://schemas.microsoft.com/office/drawing/2014/main" id="{28CADAE8-447C-7946-BF4B-06EB02EF199E}"/>
                    </a:ext>
                  </a:extLst>
                </p:cNvPr>
                <p:cNvSpPr/>
                <p:nvPr/>
              </p:nvSpPr>
              <p:spPr>
                <a:xfrm>
                  <a:off x="8217503"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3" name="Graphic 1443">
                <a:extLst>
                  <a:ext uri="{FF2B5EF4-FFF2-40B4-BE49-F238E27FC236}">
                    <a16:creationId xmlns:a16="http://schemas.microsoft.com/office/drawing/2014/main" id="{AA255973-4EC2-807A-E293-AD2DE31AD1EA}"/>
                  </a:ext>
                </a:extLst>
              </p:cNvPr>
              <p:cNvGrpSpPr/>
              <p:nvPr/>
            </p:nvGrpSpPr>
            <p:grpSpPr>
              <a:xfrm>
                <a:off x="8192738" y="4048981"/>
                <a:ext cx="61817" cy="63722"/>
                <a:chOff x="8192738" y="4048981"/>
                <a:chExt cx="61817" cy="63722"/>
              </a:xfrm>
            </p:grpSpPr>
            <p:sp>
              <p:nvSpPr>
                <p:cNvPr id="2925" name="Freeform: Shape 2924">
                  <a:extLst>
                    <a:ext uri="{FF2B5EF4-FFF2-40B4-BE49-F238E27FC236}">
                      <a16:creationId xmlns:a16="http://schemas.microsoft.com/office/drawing/2014/main" id="{E495D02A-3D1E-46B7-3D6A-AFB54411FCD3}"/>
                    </a:ext>
                  </a:extLst>
                </p:cNvPr>
                <p:cNvSpPr/>
                <p:nvPr/>
              </p:nvSpPr>
              <p:spPr>
                <a:xfrm>
                  <a:off x="822369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26" name="Freeform: Shape 2925">
                  <a:extLst>
                    <a:ext uri="{FF2B5EF4-FFF2-40B4-BE49-F238E27FC236}">
                      <a16:creationId xmlns:a16="http://schemas.microsoft.com/office/drawing/2014/main" id="{85821F4D-FFBB-B324-25FD-E0D23DE96471}"/>
                    </a:ext>
                  </a:extLst>
                </p:cNvPr>
                <p:cNvSpPr/>
                <p:nvPr/>
              </p:nvSpPr>
              <p:spPr>
                <a:xfrm>
                  <a:off x="8192738"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4" name="Graphic 1443">
                <a:extLst>
                  <a:ext uri="{FF2B5EF4-FFF2-40B4-BE49-F238E27FC236}">
                    <a16:creationId xmlns:a16="http://schemas.microsoft.com/office/drawing/2014/main" id="{9D1B7E7D-06EB-4F55-2631-3AEE21A3E1BC}"/>
                  </a:ext>
                </a:extLst>
              </p:cNvPr>
              <p:cNvGrpSpPr/>
              <p:nvPr/>
            </p:nvGrpSpPr>
            <p:grpSpPr>
              <a:xfrm>
                <a:off x="8186547" y="4048981"/>
                <a:ext cx="61817" cy="63722"/>
                <a:chOff x="8186547" y="4048981"/>
                <a:chExt cx="61817" cy="63722"/>
              </a:xfrm>
            </p:grpSpPr>
            <p:sp>
              <p:nvSpPr>
                <p:cNvPr id="2923" name="Freeform: Shape 2922">
                  <a:extLst>
                    <a:ext uri="{FF2B5EF4-FFF2-40B4-BE49-F238E27FC236}">
                      <a16:creationId xmlns:a16="http://schemas.microsoft.com/office/drawing/2014/main" id="{79F90390-CD11-7BD2-97BC-28C121FEE8B6}"/>
                    </a:ext>
                  </a:extLst>
                </p:cNvPr>
                <p:cNvSpPr/>
                <p:nvPr/>
              </p:nvSpPr>
              <p:spPr>
                <a:xfrm>
                  <a:off x="821750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24" name="Freeform: Shape 2923">
                  <a:extLst>
                    <a:ext uri="{FF2B5EF4-FFF2-40B4-BE49-F238E27FC236}">
                      <a16:creationId xmlns:a16="http://schemas.microsoft.com/office/drawing/2014/main" id="{0B2F4FCC-EB91-A1EC-98F2-F91E0F271536}"/>
                    </a:ext>
                  </a:extLst>
                </p:cNvPr>
                <p:cNvSpPr/>
                <p:nvPr/>
              </p:nvSpPr>
              <p:spPr>
                <a:xfrm>
                  <a:off x="818654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5" name="Graphic 1443">
                <a:extLst>
                  <a:ext uri="{FF2B5EF4-FFF2-40B4-BE49-F238E27FC236}">
                    <a16:creationId xmlns:a16="http://schemas.microsoft.com/office/drawing/2014/main" id="{9BA13272-7608-8C20-930E-54C226614852}"/>
                  </a:ext>
                </a:extLst>
              </p:cNvPr>
              <p:cNvGrpSpPr/>
              <p:nvPr/>
            </p:nvGrpSpPr>
            <p:grpSpPr>
              <a:xfrm>
                <a:off x="8155686" y="4048981"/>
                <a:ext cx="61817" cy="63722"/>
                <a:chOff x="8155686" y="4048981"/>
                <a:chExt cx="61817" cy="63722"/>
              </a:xfrm>
            </p:grpSpPr>
            <p:sp>
              <p:nvSpPr>
                <p:cNvPr id="2921" name="Freeform: Shape 2920">
                  <a:extLst>
                    <a:ext uri="{FF2B5EF4-FFF2-40B4-BE49-F238E27FC236}">
                      <a16:creationId xmlns:a16="http://schemas.microsoft.com/office/drawing/2014/main" id="{F9F0A698-1DC8-D5A0-5F8B-96915BEBD642}"/>
                    </a:ext>
                  </a:extLst>
                </p:cNvPr>
                <p:cNvSpPr/>
                <p:nvPr/>
              </p:nvSpPr>
              <p:spPr>
                <a:xfrm>
                  <a:off x="818654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22" name="Freeform: Shape 2921">
                  <a:extLst>
                    <a:ext uri="{FF2B5EF4-FFF2-40B4-BE49-F238E27FC236}">
                      <a16:creationId xmlns:a16="http://schemas.microsoft.com/office/drawing/2014/main" id="{DFF4204B-F981-868E-B152-F7EBBE2A2F75}"/>
                    </a:ext>
                  </a:extLst>
                </p:cNvPr>
                <p:cNvSpPr/>
                <p:nvPr/>
              </p:nvSpPr>
              <p:spPr>
                <a:xfrm>
                  <a:off x="815568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6" name="Graphic 1443">
                <a:extLst>
                  <a:ext uri="{FF2B5EF4-FFF2-40B4-BE49-F238E27FC236}">
                    <a16:creationId xmlns:a16="http://schemas.microsoft.com/office/drawing/2014/main" id="{949D3293-01E2-6BD7-BD08-14F68C1E7CB5}"/>
                  </a:ext>
                </a:extLst>
              </p:cNvPr>
              <p:cNvGrpSpPr/>
              <p:nvPr/>
            </p:nvGrpSpPr>
            <p:grpSpPr>
              <a:xfrm>
                <a:off x="8155686" y="3937063"/>
                <a:ext cx="61817" cy="63722"/>
                <a:chOff x="8155686" y="3937063"/>
                <a:chExt cx="61817" cy="63722"/>
              </a:xfrm>
            </p:grpSpPr>
            <p:sp>
              <p:nvSpPr>
                <p:cNvPr id="2919" name="Freeform: Shape 2918">
                  <a:extLst>
                    <a:ext uri="{FF2B5EF4-FFF2-40B4-BE49-F238E27FC236}">
                      <a16:creationId xmlns:a16="http://schemas.microsoft.com/office/drawing/2014/main" id="{3C0D632F-6E1A-2081-4BAA-DB2C28D2DF32}"/>
                    </a:ext>
                  </a:extLst>
                </p:cNvPr>
                <p:cNvSpPr/>
                <p:nvPr/>
              </p:nvSpPr>
              <p:spPr>
                <a:xfrm>
                  <a:off x="818654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20" name="Freeform: Shape 2919">
                  <a:extLst>
                    <a:ext uri="{FF2B5EF4-FFF2-40B4-BE49-F238E27FC236}">
                      <a16:creationId xmlns:a16="http://schemas.microsoft.com/office/drawing/2014/main" id="{D35BCF9F-E7FF-C21F-8996-958610880089}"/>
                    </a:ext>
                  </a:extLst>
                </p:cNvPr>
                <p:cNvSpPr/>
                <p:nvPr/>
              </p:nvSpPr>
              <p:spPr>
                <a:xfrm>
                  <a:off x="8155686" y="396897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7" name="Graphic 1443">
                <a:extLst>
                  <a:ext uri="{FF2B5EF4-FFF2-40B4-BE49-F238E27FC236}">
                    <a16:creationId xmlns:a16="http://schemas.microsoft.com/office/drawing/2014/main" id="{3B2FE82C-4A12-0B44-80EA-CEC76186D99A}"/>
                  </a:ext>
                </a:extLst>
              </p:cNvPr>
              <p:cNvGrpSpPr/>
              <p:nvPr/>
            </p:nvGrpSpPr>
            <p:grpSpPr>
              <a:xfrm>
                <a:off x="8108346" y="3833431"/>
                <a:ext cx="61817" cy="63722"/>
                <a:chOff x="8108346" y="3833431"/>
                <a:chExt cx="61817" cy="63722"/>
              </a:xfrm>
            </p:grpSpPr>
            <p:sp>
              <p:nvSpPr>
                <p:cNvPr id="2917" name="Freeform: Shape 2916">
                  <a:extLst>
                    <a:ext uri="{FF2B5EF4-FFF2-40B4-BE49-F238E27FC236}">
                      <a16:creationId xmlns:a16="http://schemas.microsoft.com/office/drawing/2014/main" id="{72815E5E-BA2B-6DF8-6EB1-4321B21AF6F2}"/>
                    </a:ext>
                  </a:extLst>
                </p:cNvPr>
                <p:cNvSpPr/>
                <p:nvPr/>
              </p:nvSpPr>
              <p:spPr>
                <a:xfrm>
                  <a:off x="813930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18" name="Freeform: Shape 2917">
                  <a:extLst>
                    <a:ext uri="{FF2B5EF4-FFF2-40B4-BE49-F238E27FC236}">
                      <a16:creationId xmlns:a16="http://schemas.microsoft.com/office/drawing/2014/main" id="{EEB29690-FC8A-4C25-2F5D-A11A8E8B812D}"/>
                    </a:ext>
                  </a:extLst>
                </p:cNvPr>
                <p:cNvSpPr/>
                <p:nvPr/>
              </p:nvSpPr>
              <p:spPr>
                <a:xfrm>
                  <a:off x="810834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8" name="Graphic 1443">
                <a:extLst>
                  <a:ext uri="{FF2B5EF4-FFF2-40B4-BE49-F238E27FC236}">
                    <a16:creationId xmlns:a16="http://schemas.microsoft.com/office/drawing/2014/main" id="{50ED7FC7-5D14-3205-E87F-C3F1C9E84B8E}"/>
                  </a:ext>
                </a:extLst>
              </p:cNvPr>
              <p:cNvGrpSpPr/>
              <p:nvPr/>
            </p:nvGrpSpPr>
            <p:grpSpPr>
              <a:xfrm>
                <a:off x="7974425" y="3833431"/>
                <a:ext cx="61817" cy="63722"/>
                <a:chOff x="7974425" y="3833431"/>
                <a:chExt cx="61817" cy="63722"/>
              </a:xfrm>
            </p:grpSpPr>
            <p:sp>
              <p:nvSpPr>
                <p:cNvPr id="2915" name="Freeform: Shape 2914">
                  <a:extLst>
                    <a:ext uri="{FF2B5EF4-FFF2-40B4-BE49-F238E27FC236}">
                      <a16:creationId xmlns:a16="http://schemas.microsoft.com/office/drawing/2014/main" id="{B5E3809D-B78C-63F1-D0E5-E818E0F156F0}"/>
                    </a:ext>
                  </a:extLst>
                </p:cNvPr>
                <p:cNvSpPr/>
                <p:nvPr/>
              </p:nvSpPr>
              <p:spPr>
                <a:xfrm>
                  <a:off x="80053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16" name="Freeform: Shape 2915">
                  <a:extLst>
                    <a:ext uri="{FF2B5EF4-FFF2-40B4-BE49-F238E27FC236}">
                      <a16:creationId xmlns:a16="http://schemas.microsoft.com/office/drawing/2014/main" id="{D47BB3D4-F101-0B15-9702-D703C5DC8E4F}"/>
                    </a:ext>
                  </a:extLst>
                </p:cNvPr>
                <p:cNvSpPr/>
                <p:nvPr/>
              </p:nvSpPr>
              <p:spPr>
                <a:xfrm>
                  <a:off x="79744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79" name="Graphic 1443">
                <a:extLst>
                  <a:ext uri="{FF2B5EF4-FFF2-40B4-BE49-F238E27FC236}">
                    <a16:creationId xmlns:a16="http://schemas.microsoft.com/office/drawing/2014/main" id="{64E47D5D-6063-CBBB-7A46-A33EBE4FFCD0}"/>
                  </a:ext>
                </a:extLst>
              </p:cNvPr>
              <p:cNvGrpSpPr/>
              <p:nvPr/>
            </p:nvGrpSpPr>
            <p:grpSpPr>
              <a:xfrm>
                <a:off x="7965090" y="3833431"/>
                <a:ext cx="61817" cy="63722"/>
                <a:chOff x="7965090" y="3833431"/>
                <a:chExt cx="61817" cy="63722"/>
              </a:xfrm>
            </p:grpSpPr>
            <p:sp>
              <p:nvSpPr>
                <p:cNvPr id="2913" name="Freeform: Shape 2912">
                  <a:extLst>
                    <a:ext uri="{FF2B5EF4-FFF2-40B4-BE49-F238E27FC236}">
                      <a16:creationId xmlns:a16="http://schemas.microsoft.com/office/drawing/2014/main" id="{07B20EB2-6845-781E-E7C6-1B4A5BA62EFE}"/>
                    </a:ext>
                  </a:extLst>
                </p:cNvPr>
                <p:cNvSpPr/>
                <p:nvPr/>
              </p:nvSpPr>
              <p:spPr>
                <a:xfrm>
                  <a:off x="799595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14" name="Freeform: Shape 2913">
                  <a:extLst>
                    <a:ext uri="{FF2B5EF4-FFF2-40B4-BE49-F238E27FC236}">
                      <a16:creationId xmlns:a16="http://schemas.microsoft.com/office/drawing/2014/main" id="{C88E5002-1556-0ED2-39F8-5FAB6DD7C5A9}"/>
                    </a:ext>
                  </a:extLst>
                </p:cNvPr>
                <p:cNvSpPr/>
                <p:nvPr/>
              </p:nvSpPr>
              <p:spPr>
                <a:xfrm>
                  <a:off x="796509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0" name="Graphic 1443">
                <a:extLst>
                  <a:ext uri="{FF2B5EF4-FFF2-40B4-BE49-F238E27FC236}">
                    <a16:creationId xmlns:a16="http://schemas.microsoft.com/office/drawing/2014/main" id="{3C5392CB-5751-00C2-D88E-CD7C7A26F224}"/>
                  </a:ext>
                </a:extLst>
              </p:cNvPr>
              <p:cNvGrpSpPr/>
              <p:nvPr/>
            </p:nvGrpSpPr>
            <p:grpSpPr>
              <a:xfrm>
                <a:off x="7886033" y="3833431"/>
                <a:ext cx="61817" cy="63722"/>
                <a:chOff x="7886033" y="3833431"/>
                <a:chExt cx="61817" cy="63722"/>
              </a:xfrm>
            </p:grpSpPr>
            <p:sp>
              <p:nvSpPr>
                <p:cNvPr id="2911" name="Freeform: Shape 2910">
                  <a:extLst>
                    <a:ext uri="{FF2B5EF4-FFF2-40B4-BE49-F238E27FC236}">
                      <a16:creationId xmlns:a16="http://schemas.microsoft.com/office/drawing/2014/main" id="{E79AA247-6FDE-7E89-4C48-617F536B2BE3}"/>
                    </a:ext>
                  </a:extLst>
                </p:cNvPr>
                <p:cNvSpPr/>
                <p:nvPr/>
              </p:nvSpPr>
              <p:spPr>
                <a:xfrm>
                  <a:off x="7916989"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12" name="Freeform: Shape 2911">
                  <a:extLst>
                    <a:ext uri="{FF2B5EF4-FFF2-40B4-BE49-F238E27FC236}">
                      <a16:creationId xmlns:a16="http://schemas.microsoft.com/office/drawing/2014/main" id="{59D1B6F2-7B05-52C9-057E-37C660ED311D}"/>
                    </a:ext>
                  </a:extLst>
                </p:cNvPr>
                <p:cNvSpPr/>
                <p:nvPr/>
              </p:nvSpPr>
              <p:spPr>
                <a:xfrm>
                  <a:off x="788603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1" name="Graphic 1443">
                <a:extLst>
                  <a:ext uri="{FF2B5EF4-FFF2-40B4-BE49-F238E27FC236}">
                    <a16:creationId xmlns:a16="http://schemas.microsoft.com/office/drawing/2014/main" id="{96C77962-4335-CA9F-E75A-8F99562D2338}"/>
                  </a:ext>
                </a:extLst>
              </p:cNvPr>
              <p:cNvGrpSpPr/>
              <p:nvPr/>
            </p:nvGrpSpPr>
            <p:grpSpPr>
              <a:xfrm>
                <a:off x="7675530" y="3833431"/>
                <a:ext cx="61817" cy="63722"/>
                <a:chOff x="7675530" y="3833431"/>
                <a:chExt cx="61817" cy="63722"/>
              </a:xfrm>
            </p:grpSpPr>
            <p:sp>
              <p:nvSpPr>
                <p:cNvPr id="2909" name="Freeform: Shape 2908">
                  <a:extLst>
                    <a:ext uri="{FF2B5EF4-FFF2-40B4-BE49-F238E27FC236}">
                      <a16:creationId xmlns:a16="http://schemas.microsoft.com/office/drawing/2014/main" id="{F40F4B9D-2BB1-00CE-D0D6-469CBE6A8A0B}"/>
                    </a:ext>
                  </a:extLst>
                </p:cNvPr>
                <p:cNvSpPr/>
                <p:nvPr/>
              </p:nvSpPr>
              <p:spPr>
                <a:xfrm>
                  <a:off x="77063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10" name="Freeform: Shape 2909">
                  <a:extLst>
                    <a:ext uri="{FF2B5EF4-FFF2-40B4-BE49-F238E27FC236}">
                      <a16:creationId xmlns:a16="http://schemas.microsoft.com/office/drawing/2014/main" id="{0450C969-5C59-E4FF-AFE3-E44B8EEE1658}"/>
                    </a:ext>
                  </a:extLst>
                </p:cNvPr>
                <p:cNvSpPr/>
                <p:nvPr/>
              </p:nvSpPr>
              <p:spPr>
                <a:xfrm>
                  <a:off x="76755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2" name="Graphic 1443">
                <a:extLst>
                  <a:ext uri="{FF2B5EF4-FFF2-40B4-BE49-F238E27FC236}">
                    <a16:creationId xmlns:a16="http://schemas.microsoft.com/office/drawing/2014/main" id="{9C00122C-3E8A-9914-4470-D3BC1A7FFAD9}"/>
                  </a:ext>
                </a:extLst>
              </p:cNvPr>
              <p:cNvGrpSpPr/>
              <p:nvPr/>
            </p:nvGrpSpPr>
            <p:grpSpPr>
              <a:xfrm>
                <a:off x="7629715" y="3796569"/>
                <a:ext cx="61817" cy="63626"/>
                <a:chOff x="7629715" y="3796569"/>
                <a:chExt cx="61817" cy="63626"/>
              </a:xfrm>
            </p:grpSpPr>
            <p:sp>
              <p:nvSpPr>
                <p:cNvPr id="2907" name="Freeform: Shape 2906">
                  <a:extLst>
                    <a:ext uri="{FF2B5EF4-FFF2-40B4-BE49-F238E27FC236}">
                      <a16:creationId xmlns:a16="http://schemas.microsoft.com/office/drawing/2014/main" id="{5C3A6D28-E5F1-FC0B-A216-2A0460A1EC7A}"/>
                    </a:ext>
                  </a:extLst>
                </p:cNvPr>
                <p:cNvSpPr/>
                <p:nvPr/>
              </p:nvSpPr>
              <p:spPr>
                <a:xfrm>
                  <a:off x="7660671"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08" name="Freeform: Shape 2907">
                  <a:extLst>
                    <a:ext uri="{FF2B5EF4-FFF2-40B4-BE49-F238E27FC236}">
                      <a16:creationId xmlns:a16="http://schemas.microsoft.com/office/drawing/2014/main" id="{2278134D-0405-96AA-04AB-5CC217D0DD3C}"/>
                    </a:ext>
                  </a:extLst>
                </p:cNvPr>
                <p:cNvSpPr/>
                <p:nvPr/>
              </p:nvSpPr>
              <p:spPr>
                <a:xfrm>
                  <a:off x="7629715"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3" name="Graphic 1443">
                <a:extLst>
                  <a:ext uri="{FF2B5EF4-FFF2-40B4-BE49-F238E27FC236}">
                    <a16:creationId xmlns:a16="http://schemas.microsoft.com/office/drawing/2014/main" id="{AEE60FB7-DF2E-BB3B-8184-B7B0D6A45E90}"/>
                  </a:ext>
                </a:extLst>
              </p:cNvPr>
              <p:cNvGrpSpPr/>
              <p:nvPr/>
            </p:nvGrpSpPr>
            <p:grpSpPr>
              <a:xfrm>
                <a:off x="7605998" y="3796569"/>
                <a:ext cx="61817" cy="63626"/>
                <a:chOff x="7605998" y="3796569"/>
                <a:chExt cx="61817" cy="63626"/>
              </a:xfrm>
            </p:grpSpPr>
            <p:sp>
              <p:nvSpPr>
                <p:cNvPr id="2905" name="Freeform: Shape 2904">
                  <a:extLst>
                    <a:ext uri="{FF2B5EF4-FFF2-40B4-BE49-F238E27FC236}">
                      <a16:creationId xmlns:a16="http://schemas.microsoft.com/office/drawing/2014/main" id="{0C2B1BAB-68BE-6793-35E3-F41F6E6C3BF3}"/>
                    </a:ext>
                  </a:extLst>
                </p:cNvPr>
                <p:cNvSpPr/>
                <p:nvPr/>
              </p:nvSpPr>
              <p:spPr>
                <a:xfrm>
                  <a:off x="7636859"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06" name="Freeform: Shape 2905">
                  <a:extLst>
                    <a:ext uri="{FF2B5EF4-FFF2-40B4-BE49-F238E27FC236}">
                      <a16:creationId xmlns:a16="http://schemas.microsoft.com/office/drawing/2014/main" id="{4F63BDC6-9677-A63B-235C-74D85020A97A}"/>
                    </a:ext>
                  </a:extLst>
                </p:cNvPr>
                <p:cNvSpPr/>
                <p:nvPr/>
              </p:nvSpPr>
              <p:spPr>
                <a:xfrm>
                  <a:off x="7605998"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4" name="Graphic 1443">
                <a:extLst>
                  <a:ext uri="{FF2B5EF4-FFF2-40B4-BE49-F238E27FC236}">
                    <a16:creationId xmlns:a16="http://schemas.microsoft.com/office/drawing/2014/main" id="{C2BF209F-6813-9BFA-EBF2-E3E3BCBA6F1C}"/>
                  </a:ext>
                </a:extLst>
              </p:cNvPr>
              <p:cNvGrpSpPr/>
              <p:nvPr/>
            </p:nvGrpSpPr>
            <p:grpSpPr>
              <a:xfrm>
                <a:off x="7577804" y="3764660"/>
                <a:ext cx="61817" cy="63722"/>
                <a:chOff x="7577804" y="3764660"/>
                <a:chExt cx="61817" cy="63722"/>
              </a:xfrm>
            </p:grpSpPr>
            <p:sp>
              <p:nvSpPr>
                <p:cNvPr id="2903" name="Freeform: Shape 2902">
                  <a:extLst>
                    <a:ext uri="{FF2B5EF4-FFF2-40B4-BE49-F238E27FC236}">
                      <a16:creationId xmlns:a16="http://schemas.microsoft.com/office/drawing/2014/main" id="{D760BA8E-1526-BEB8-A7E0-EE950A90557A}"/>
                    </a:ext>
                  </a:extLst>
                </p:cNvPr>
                <p:cNvSpPr/>
                <p:nvPr/>
              </p:nvSpPr>
              <p:spPr>
                <a:xfrm>
                  <a:off x="760876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04" name="Freeform: Shape 2903">
                  <a:extLst>
                    <a:ext uri="{FF2B5EF4-FFF2-40B4-BE49-F238E27FC236}">
                      <a16:creationId xmlns:a16="http://schemas.microsoft.com/office/drawing/2014/main" id="{85AE45E9-6FB2-C600-9D2A-D03A48A6CE22}"/>
                    </a:ext>
                  </a:extLst>
                </p:cNvPr>
                <p:cNvSpPr/>
                <p:nvPr/>
              </p:nvSpPr>
              <p:spPr>
                <a:xfrm>
                  <a:off x="757780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5" name="Graphic 1443">
                <a:extLst>
                  <a:ext uri="{FF2B5EF4-FFF2-40B4-BE49-F238E27FC236}">
                    <a16:creationId xmlns:a16="http://schemas.microsoft.com/office/drawing/2014/main" id="{E079A427-6E46-4511-5956-2FB02CD22E06}"/>
                  </a:ext>
                </a:extLst>
              </p:cNvPr>
              <p:cNvGrpSpPr/>
              <p:nvPr/>
            </p:nvGrpSpPr>
            <p:grpSpPr>
              <a:xfrm>
                <a:off x="7476553" y="3764660"/>
                <a:ext cx="61817" cy="63722"/>
                <a:chOff x="7476553" y="3764660"/>
                <a:chExt cx="61817" cy="63722"/>
              </a:xfrm>
            </p:grpSpPr>
            <p:sp>
              <p:nvSpPr>
                <p:cNvPr id="2901" name="Freeform: Shape 2900">
                  <a:extLst>
                    <a:ext uri="{FF2B5EF4-FFF2-40B4-BE49-F238E27FC236}">
                      <a16:creationId xmlns:a16="http://schemas.microsoft.com/office/drawing/2014/main" id="{45824352-C72A-2BFA-FF53-FD11F19C9079}"/>
                    </a:ext>
                  </a:extLst>
                </p:cNvPr>
                <p:cNvSpPr/>
                <p:nvPr/>
              </p:nvSpPr>
              <p:spPr>
                <a:xfrm>
                  <a:off x="7507509"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02" name="Freeform: Shape 2901">
                  <a:extLst>
                    <a:ext uri="{FF2B5EF4-FFF2-40B4-BE49-F238E27FC236}">
                      <a16:creationId xmlns:a16="http://schemas.microsoft.com/office/drawing/2014/main" id="{3E4E120D-45C5-A34C-528B-66527992B90D}"/>
                    </a:ext>
                  </a:extLst>
                </p:cNvPr>
                <p:cNvSpPr/>
                <p:nvPr/>
              </p:nvSpPr>
              <p:spPr>
                <a:xfrm>
                  <a:off x="747655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6" name="Graphic 1443">
                <a:extLst>
                  <a:ext uri="{FF2B5EF4-FFF2-40B4-BE49-F238E27FC236}">
                    <a16:creationId xmlns:a16="http://schemas.microsoft.com/office/drawing/2014/main" id="{65C678CB-A445-9967-E40F-7A1A2F45E223}"/>
                  </a:ext>
                </a:extLst>
              </p:cNvPr>
              <p:cNvGrpSpPr/>
              <p:nvPr/>
            </p:nvGrpSpPr>
            <p:grpSpPr>
              <a:xfrm>
                <a:off x="7404068" y="3764660"/>
                <a:ext cx="61817" cy="63722"/>
                <a:chOff x="7404068" y="3764660"/>
                <a:chExt cx="61817" cy="63722"/>
              </a:xfrm>
            </p:grpSpPr>
            <p:sp>
              <p:nvSpPr>
                <p:cNvPr id="2899" name="Freeform: Shape 2898">
                  <a:extLst>
                    <a:ext uri="{FF2B5EF4-FFF2-40B4-BE49-F238E27FC236}">
                      <a16:creationId xmlns:a16="http://schemas.microsoft.com/office/drawing/2014/main" id="{B49FB17D-686A-A161-E076-A7DC103388FD}"/>
                    </a:ext>
                  </a:extLst>
                </p:cNvPr>
                <p:cNvSpPr/>
                <p:nvPr/>
              </p:nvSpPr>
              <p:spPr>
                <a:xfrm>
                  <a:off x="743502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00" name="Freeform: Shape 2899">
                  <a:extLst>
                    <a:ext uri="{FF2B5EF4-FFF2-40B4-BE49-F238E27FC236}">
                      <a16:creationId xmlns:a16="http://schemas.microsoft.com/office/drawing/2014/main" id="{BB5CEFF3-D8AB-0ACE-C0B7-19D995437626}"/>
                    </a:ext>
                  </a:extLst>
                </p:cNvPr>
                <p:cNvSpPr/>
                <p:nvPr/>
              </p:nvSpPr>
              <p:spPr>
                <a:xfrm>
                  <a:off x="740406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7" name="Graphic 1443">
                <a:extLst>
                  <a:ext uri="{FF2B5EF4-FFF2-40B4-BE49-F238E27FC236}">
                    <a16:creationId xmlns:a16="http://schemas.microsoft.com/office/drawing/2014/main" id="{1D128CBB-280F-FAF8-9952-81FB7F456F48}"/>
                  </a:ext>
                </a:extLst>
              </p:cNvPr>
              <p:cNvGrpSpPr/>
              <p:nvPr/>
            </p:nvGrpSpPr>
            <p:grpSpPr>
              <a:xfrm>
                <a:off x="7180897" y="3711987"/>
                <a:ext cx="61817" cy="63722"/>
                <a:chOff x="7180897" y="3711987"/>
                <a:chExt cx="61817" cy="63722"/>
              </a:xfrm>
            </p:grpSpPr>
            <p:sp>
              <p:nvSpPr>
                <p:cNvPr id="2897" name="Freeform: Shape 2896">
                  <a:extLst>
                    <a:ext uri="{FF2B5EF4-FFF2-40B4-BE49-F238E27FC236}">
                      <a16:creationId xmlns:a16="http://schemas.microsoft.com/office/drawing/2014/main" id="{D05803B5-05D1-9B4A-0D83-C9C7386548FC}"/>
                    </a:ext>
                  </a:extLst>
                </p:cNvPr>
                <p:cNvSpPr/>
                <p:nvPr/>
              </p:nvSpPr>
              <p:spPr>
                <a:xfrm>
                  <a:off x="721185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98" name="Freeform: Shape 2897">
                  <a:extLst>
                    <a:ext uri="{FF2B5EF4-FFF2-40B4-BE49-F238E27FC236}">
                      <a16:creationId xmlns:a16="http://schemas.microsoft.com/office/drawing/2014/main" id="{D4136D50-6813-0F11-4BF2-53C0B0AA8A12}"/>
                    </a:ext>
                  </a:extLst>
                </p:cNvPr>
                <p:cNvSpPr/>
                <p:nvPr/>
              </p:nvSpPr>
              <p:spPr>
                <a:xfrm>
                  <a:off x="71808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8" name="Graphic 1443">
                <a:extLst>
                  <a:ext uri="{FF2B5EF4-FFF2-40B4-BE49-F238E27FC236}">
                    <a16:creationId xmlns:a16="http://schemas.microsoft.com/office/drawing/2014/main" id="{7BAD682D-55EB-3AE5-425C-601871AE905E}"/>
                  </a:ext>
                </a:extLst>
              </p:cNvPr>
              <p:cNvGrpSpPr/>
              <p:nvPr/>
            </p:nvGrpSpPr>
            <p:grpSpPr>
              <a:xfrm>
                <a:off x="7166895" y="3692365"/>
                <a:ext cx="61817" cy="63626"/>
                <a:chOff x="7166895" y="3692365"/>
                <a:chExt cx="61817" cy="63626"/>
              </a:xfrm>
            </p:grpSpPr>
            <p:sp>
              <p:nvSpPr>
                <p:cNvPr id="2895" name="Freeform: Shape 2894">
                  <a:extLst>
                    <a:ext uri="{FF2B5EF4-FFF2-40B4-BE49-F238E27FC236}">
                      <a16:creationId xmlns:a16="http://schemas.microsoft.com/office/drawing/2014/main" id="{D4109887-2C3E-0BFE-7B0F-E75333E9B632}"/>
                    </a:ext>
                  </a:extLst>
                </p:cNvPr>
                <p:cNvSpPr/>
                <p:nvPr/>
              </p:nvSpPr>
              <p:spPr>
                <a:xfrm>
                  <a:off x="7197756" y="3692365"/>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96" name="Freeform: Shape 2895">
                  <a:extLst>
                    <a:ext uri="{FF2B5EF4-FFF2-40B4-BE49-F238E27FC236}">
                      <a16:creationId xmlns:a16="http://schemas.microsoft.com/office/drawing/2014/main" id="{C3C81921-933F-69C7-A9AB-8FED1F28F2AA}"/>
                    </a:ext>
                  </a:extLst>
                </p:cNvPr>
                <p:cNvSpPr/>
                <p:nvPr/>
              </p:nvSpPr>
              <p:spPr>
                <a:xfrm>
                  <a:off x="7166895" y="372417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89" name="Graphic 1443">
                <a:extLst>
                  <a:ext uri="{FF2B5EF4-FFF2-40B4-BE49-F238E27FC236}">
                    <a16:creationId xmlns:a16="http://schemas.microsoft.com/office/drawing/2014/main" id="{5E63D14B-8AA8-8222-1165-520FCA6ABAAA}"/>
                  </a:ext>
                </a:extLst>
              </p:cNvPr>
              <p:cNvGrpSpPr/>
              <p:nvPr/>
            </p:nvGrpSpPr>
            <p:grpSpPr>
              <a:xfrm>
                <a:off x="7166895" y="3655980"/>
                <a:ext cx="61817" cy="63722"/>
                <a:chOff x="7166895" y="3655980"/>
                <a:chExt cx="61817" cy="63722"/>
              </a:xfrm>
            </p:grpSpPr>
            <p:sp>
              <p:nvSpPr>
                <p:cNvPr id="2893" name="Freeform: Shape 2892">
                  <a:extLst>
                    <a:ext uri="{FF2B5EF4-FFF2-40B4-BE49-F238E27FC236}">
                      <a16:creationId xmlns:a16="http://schemas.microsoft.com/office/drawing/2014/main" id="{82622000-E2EF-6954-F8E9-95F3392A2075}"/>
                    </a:ext>
                  </a:extLst>
                </p:cNvPr>
                <p:cNvSpPr/>
                <p:nvPr/>
              </p:nvSpPr>
              <p:spPr>
                <a:xfrm>
                  <a:off x="719775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94" name="Freeform: Shape 2893">
                  <a:extLst>
                    <a:ext uri="{FF2B5EF4-FFF2-40B4-BE49-F238E27FC236}">
                      <a16:creationId xmlns:a16="http://schemas.microsoft.com/office/drawing/2014/main" id="{F255AD47-E664-D823-4374-A79C4AA291DF}"/>
                    </a:ext>
                  </a:extLst>
                </p:cNvPr>
                <p:cNvSpPr/>
                <p:nvPr/>
              </p:nvSpPr>
              <p:spPr>
                <a:xfrm>
                  <a:off x="716689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0" name="Graphic 1443">
                <a:extLst>
                  <a:ext uri="{FF2B5EF4-FFF2-40B4-BE49-F238E27FC236}">
                    <a16:creationId xmlns:a16="http://schemas.microsoft.com/office/drawing/2014/main" id="{7F9E0ED8-3E55-BAD9-CE5C-D1F0062BDA87}"/>
                  </a:ext>
                </a:extLst>
              </p:cNvPr>
              <p:cNvGrpSpPr/>
              <p:nvPr/>
            </p:nvGrpSpPr>
            <p:grpSpPr>
              <a:xfrm>
                <a:off x="7138225" y="3655980"/>
                <a:ext cx="61817" cy="63722"/>
                <a:chOff x="7138225" y="3655980"/>
                <a:chExt cx="61817" cy="63722"/>
              </a:xfrm>
            </p:grpSpPr>
            <p:sp>
              <p:nvSpPr>
                <p:cNvPr id="2891" name="Freeform: Shape 2890">
                  <a:extLst>
                    <a:ext uri="{FF2B5EF4-FFF2-40B4-BE49-F238E27FC236}">
                      <a16:creationId xmlns:a16="http://schemas.microsoft.com/office/drawing/2014/main" id="{22D57B96-1D13-0182-4AC7-C01EF80AEB9F}"/>
                    </a:ext>
                  </a:extLst>
                </p:cNvPr>
                <p:cNvSpPr/>
                <p:nvPr/>
              </p:nvSpPr>
              <p:spPr>
                <a:xfrm>
                  <a:off x="716908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92" name="Freeform: Shape 2891">
                  <a:extLst>
                    <a:ext uri="{FF2B5EF4-FFF2-40B4-BE49-F238E27FC236}">
                      <a16:creationId xmlns:a16="http://schemas.microsoft.com/office/drawing/2014/main" id="{1BD4E940-7190-C745-E88D-EBFDE61E6426}"/>
                    </a:ext>
                  </a:extLst>
                </p:cNvPr>
                <p:cNvSpPr/>
                <p:nvPr/>
              </p:nvSpPr>
              <p:spPr>
                <a:xfrm>
                  <a:off x="713822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1" name="Graphic 1443">
                <a:extLst>
                  <a:ext uri="{FF2B5EF4-FFF2-40B4-BE49-F238E27FC236}">
                    <a16:creationId xmlns:a16="http://schemas.microsoft.com/office/drawing/2014/main" id="{DC5686D9-D622-1FD1-ABC3-E25B25F507B2}"/>
                  </a:ext>
                </a:extLst>
              </p:cNvPr>
              <p:cNvGrpSpPr/>
              <p:nvPr/>
            </p:nvGrpSpPr>
            <p:grpSpPr>
              <a:xfrm>
                <a:off x="7129272" y="3655980"/>
                <a:ext cx="61817" cy="63722"/>
                <a:chOff x="7129272" y="3655980"/>
                <a:chExt cx="61817" cy="63722"/>
              </a:xfrm>
            </p:grpSpPr>
            <p:sp>
              <p:nvSpPr>
                <p:cNvPr id="2889" name="Freeform: Shape 2888">
                  <a:extLst>
                    <a:ext uri="{FF2B5EF4-FFF2-40B4-BE49-F238E27FC236}">
                      <a16:creationId xmlns:a16="http://schemas.microsoft.com/office/drawing/2014/main" id="{263066DA-1854-E85E-5003-84ACD1AF580E}"/>
                    </a:ext>
                  </a:extLst>
                </p:cNvPr>
                <p:cNvSpPr/>
                <p:nvPr/>
              </p:nvSpPr>
              <p:spPr>
                <a:xfrm>
                  <a:off x="716022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90" name="Freeform: Shape 2889">
                  <a:extLst>
                    <a:ext uri="{FF2B5EF4-FFF2-40B4-BE49-F238E27FC236}">
                      <a16:creationId xmlns:a16="http://schemas.microsoft.com/office/drawing/2014/main" id="{CABFF187-064D-6B60-D18B-EF69D022D558}"/>
                    </a:ext>
                  </a:extLst>
                </p:cNvPr>
                <p:cNvSpPr/>
                <p:nvPr/>
              </p:nvSpPr>
              <p:spPr>
                <a:xfrm>
                  <a:off x="712927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2" name="Graphic 1443">
                <a:extLst>
                  <a:ext uri="{FF2B5EF4-FFF2-40B4-BE49-F238E27FC236}">
                    <a16:creationId xmlns:a16="http://schemas.microsoft.com/office/drawing/2014/main" id="{52EA46E1-41BC-CD8B-F9C6-D18BD8869EAF}"/>
                  </a:ext>
                </a:extLst>
              </p:cNvPr>
              <p:cNvGrpSpPr/>
              <p:nvPr/>
            </p:nvGrpSpPr>
            <p:grpSpPr>
              <a:xfrm>
                <a:off x="7111746" y="3655980"/>
                <a:ext cx="61817" cy="63722"/>
                <a:chOff x="7111746" y="3655980"/>
                <a:chExt cx="61817" cy="63722"/>
              </a:xfrm>
            </p:grpSpPr>
            <p:sp>
              <p:nvSpPr>
                <p:cNvPr id="2887" name="Freeform: Shape 2886">
                  <a:extLst>
                    <a:ext uri="{FF2B5EF4-FFF2-40B4-BE49-F238E27FC236}">
                      <a16:creationId xmlns:a16="http://schemas.microsoft.com/office/drawing/2014/main" id="{B18154BE-5CD9-A1FB-CDF5-C050FE1A6AED}"/>
                    </a:ext>
                  </a:extLst>
                </p:cNvPr>
                <p:cNvSpPr/>
                <p:nvPr/>
              </p:nvSpPr>
              <p:spPr>
                <a:xfrm>
                  <a:off x="7142702"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88" name="Freeform: Shape 2887">
                  <a:extLst>
                    <a:ext uri="{FF2B5EF4-FFF2-40B4-BE49-F238E27FC236}">
                      <a16:creationId xmlns:a16="http://schemas.microsoft.com/office/drawing/2014/main" id="{639BE160-6665-CAEF-8E4A-71F894D232CF}"/>
                    </a:ext>
                  </a:extLst>
                </p:cNvPr>
                <p:cNvSpPr/>
                <p:nvPr/>
              </p:nvSpPr>
              <p:spPr>
                <a:xfrm>
                  <a:off x="7111746"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3" name="Graphic 1443">
                <a:extLst>
                  <a:ext uri="{FF2B5EF4-FFF2-40B4-BE49-F238E27FC236}">
                    <a16:creationId xmlns:a16="http://schemas.microsoft.com/office/drawing/2014/main" id="{A6826A69-A9FA-C754-4FF1-1C63F02590F5}"/>
                  </a:ext>
                </a:extLst>
              </p:cNvPr>
              <p:cNvGrpSpPr/>
              <p:nvPr/>
            </p:nvGrpSpPr>
            <p:grpSpPr>
              <a:xfrm>
                <a:off x="7102792" y="3655980"/>
                <a:ext cx="61817" cy="63722"/>
                <a:chOff x="7102792" y="3655980"/>
                <a:chExt cx="61817" cy="63722"/>
              </a:xfrm>
            </p:grpSpPr>
            <p:sp>
              <p:nvSpPr>
                <p:cNvPr id="2885" name="Freeform: Shape 2884">
                  <a:extLst>
                    <a:ext uri="{FF2B5EF4-FFF2-40B4-BE49-F238E27FC236}">
                      <a16:creationId xmlns:a16="http://schemas.microsoft.com/office/drawing/2014/main" id="{889DA655-9FE1-3ADE-0798-BC0D1F990AD1}"/>
                    </a:ext>
                  </a:extLst>
                </p:cNvPr>
                <p:cNvSpPr/>
                <p:nvPr/>
              </p:nvSpPr>
              <p:spPr>
                <a:xfrm>
                  <a:off x="713374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86" name="Freeform: Shape 2885">
                  <a:extLst>
                    <a:ext uri="{FF2B5EF4-FFF2-40B4-BE49-F238E27FC236}">
                      <a16:creationId xmlns:a16="http://schemas.microsoft.com/office/drawing/2014/main" id="{A5CC51FF-9B00-AFFD-918A-01FB7AF5A4BE}"/>
                    </a:ext>
                  </a:extLst>
                </p:cNvPr>
                <p:cNvSpPr/>
                <p:nvPr/>
              </p:nvSpPr>
              <p:spPr>
                <a:xfrm>
                  <a:off x="710279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4" name="Graphic 1443">
                <a:extLst>
                  <a:ext uri="{FF2B5EF4-FFF2-40B4-BE49-F238E27FC236}">
                    <a16:creationId xmlns:a16="http://schemas.microsoft.com/office/drawing/2014/main" id="{C0DE01F4-F7E9-AD62-229A-2DA507175EA2}"/>
                  </a:ext>
                </a:extLst>
              </p:cNvPr>
              <p:cNvGrpSpPr/>
              <p:nvPr/>
            </p:nvGrpSpPr>
            <p:grpSpPr>
              <a:xfrm>
                <a:off x="7093648" y="3636073"/>
                <a:ext cx="61817" cy="63627"/>
                <a:chOff x="7093648" y="3636073"/>
                <a:chExt cx="61817" cy="63627"/>
              </a:xfrm>
            </p:grpSpPr>
            <p:sp>
              <p:nvSpPr>
                <p:cNvPr id="2883" name="Freeform: Shape 2882">
                  <a:extLst>
                    <a:ext uri="{FF2B5EF4-FFF2-40B4-BE49-F238E27FC236}">
                      <a16:creationId xmlns:a16="http://schemas.microsoft.com/office/drawing/2014/main" id="{31CA2D3C-22F9-F3D6-5A7D-605140675443}"/>
                    </a:ext>
                  </a:extLst>
                </p:cNvPr>
                <p:cNvSpPr/>
                <p:nvPr/>
              </p:nvSpPr>
              <p:spPr>
                <a:xfrm>
                  <a:off x="7124604"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84" name="Freeform: Shape 2883">
                  <a:extLst>
                    <a:ext uri="{FF2B5EF4-FFF2-40B4-BE49-F238E27FC236}">
                      <a16:creationId xmlns:a16="http://schemas.microsoft.com/office/drawing/2014/main" id="{E3762581-6CC6-4BC6-DA09-1DC062ECE8EA}"/>
                    </a:ext>
                  </a:extLst>
                </p:cNvPr>
                <p:cNvSpPr/>
                <p:nvPr/>
              </p:nvSpPr>
              <p:spPr>
                <a:xfrm>
                  <a:off x="7093648"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5" name="Graphic 1443">
                <a:extLst>
                  <a:ext uri="{FF2B5EF4-FFF2-40B4-BE49-F238E27FC236}">
                    <a16:creationId xmlns:a16="http://schemas.microsoft.com/office/drawing/2014/main" id="{DB13FA90-88B3-6487-0AC6-BBC37D5B764E}"/>
                  </a:ext>
                </a:extLst>
              </p:cNvPr>
              <p:cNvGrpSpPr/>
              <p:nvPr/>
            </p:nvGrpSpPr>
            <p:grpSpPr>
              <a:xfrm>
                <a:off x="6991254" y="3601211"/>
                <a:ext cx="61817" cy="63722"/>
                <a:chOff x="6991254" y="3601211"/>
                <a:chExt cx="61817" cy="63722"/>
              </a:xfrm>
            </p:grpSpPr>
            <p:sp>
              <p:nvSpPr>
                <p:cNvPr id="2881" name="Freeform: Shape 2880">
                  <a:extLst>
                    <a:ext uri="{FF2B5EF4-FFF2-40B4-BE49-F238E27FC236}">
                      <a16:creationId xmlns:a16="http://schemas.microsoft.com/office/drawing/2014/main" id="{DFC66E24-9051-90E5-490E-6C1DE468F8A1}"/>
                    </a:ext>
                  </a:extLst>
                </p:cNvPr>
                <p:cNvSpPr/>
                <p:nvPr/>
              </p:nvSpPr>
              <p:spPr>
                <a:xfrm>
                  <a:off x="7022115"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82" name="Freeform: Shape 2881">
                  <a:extLst>
                    <a:ext uri="{FF2B5EF4-FFF2-40B4-BE49-F238E27FC236}">
                      <a16:creationId xmlns:a16="http://schemas.microsoft.com/office/drawing/2014/main" id="{5B9A1FD1-D3DB-E344-24E1-6A0119E01407}"/>
                    </a:ext>
                  </a:extLst>
                </p:cNvPr>
                <p:cNvSpPr/>
                <p:nvPr/>
              </p:nvSpPr>
              <p:spPr>
                <a:xfrm>
                  <a:off x="6991254"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6" name="Graphic 1443">
                <a:extLst>
                  <a:ext uri="{FF2B5EF4-FFF2-40B4-BE49-F238E27FC236}">
                    <a16:creationId xmlns:a16="http://schemas.microsoft.com/office/drawing/2014/main" id="{3519C562-211A-61A8-3D23-E8A509A4EA90}"/>
                  </a:ext>
                </a:extLst>
              </p:cNvPr>
              <p:cNvGrpSpPr/>
              <p:nvPr/>
            </p:nvGrpSpPr>
            <p:grpSpPr>
              <a:xfrm>
                <a:off x="6878002" y="3601211"/>
                <a:ext cx="61817" cy="63722"/>
                <a:chOff x="6878002" y="3601211"/>
                <a:chExt cx="61817" cy="63722"/>
              </a:xfrm>
            </p:grpSpPr>
            <p:sp>
              <p:nvSpPr>
                <p:cNvPr id="2879" name="Freeform: Shape 2878">
                  <a:extLst>
                    <a:ext uri="{FF2B5EF4-FFF2-40B4-BE49-F238E27FC236}">
                      <a16:creationId xmlns:a16="http://schemas.microsoft.com/office/drawing/2014/main" id="{92DBD69F-185A-9A1E-A935-EB3F5C57D2AF}"/>
                    </a:ext>
                  </a:extLst>
                </p:cNvPr>
                <p:cNvSpPr/>
                <p:nvPr/>
              </p:nvSpPr>
              <p:spPr>
                <a:xfrm>
                  <a:off x="6908958"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80" name="Freeform: Shape 2879">
                  <a:extLst>
                    <a:ext uri="{FF2B5EF4-FFF2-40B4-BE49-F238E27FC236}">
                      <a16:creationId xmlns:a16="http://schemas.microsoft.com/office/drawing/2014/main" id="{F2BF0891-1C11-6532-8758-5B4542D1A966}"/>
                    </a:ext>
                  </a:extLst>
                </p:cNvPr>
                <p:cNvSpPr/>
                <p:nvPr/>
              </p:nvSpPr>
              <p:spPr>
                <a:xfrm>
                  <a:off x="687800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7" name="Graphic 1443">
                <a:extLst>
                  <a:ext uri="{FF2B5EF4-FFF2-40B4-BE49-F238E27FC236}">
                    <a16:creationId xmlns:a16="http://schemas.microsoft.com/office/drawing/2014/main" id="{45452DF1-4C3B-6064-7A61-5AFA456ADF48}"/>
                  </a:ext>
                </a:extLst>
              </p:cNvPr>
              <p:cNvGrpSpPr/>
              <p:nvPr/>
            </p:nvGrpSpPr>
            <p:grpSpPr>
              <a:xfrm>
                <a:off x="6695313" y="3582352"/>
                <a:ext cx="61817" cy="63627"/>
                <a:chOff x="6695313" y="3582352"/>
                <a:chExt cx="61817" cy="63627"/>
              </a:xfrm>
            </p:grpSpPr>
            <p:sp>
              <p:nvSpPr>
                <p:cNvPr id="2877" name="Freeform: Shape 2876">
                  <a:extLst>
                    <a:ext uri="{FF2B5EF4-FFF2-40B4-BE49-F238E27FC236}">
                      <a16:creationId xmlns:a16="http://schemas.microsoft.com/office/drawing/2014/main" id="{75DB96B4-D6BB-C597-38BE-8C6D3A8505BF}"/>
                    </a:ext>
                  </a:extLst>
                </p:cNvPr>
                <p:cNvSpPr/>
                <p:nvPr/>
              </p:nvSpPr>
              <p:spPr>
                <a:xfrm>
                  <a:off x="6726269"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78" name="Freeform: Shape 2877">
                  <a:extLst>
                    <a:ext uri="{FF2B5EF4-FFF2-40B4-BE49-F238E27FC236}">
                      <a16:creationId xmlns:a16="http://schemas.microsoft.com/office/drawing/2014/main" id="{C6823A4F-5530-4888-C6AB-69903E9F1DF5}"/>
                    </a:ext>
                  </a:extLst>
                </p:cNvPr>
                <p:cNvSpPr/>
                <p:nvPr/>
              </p:nvSpPr>
              <p:spPr>
                <a:xfrm>
                  <a:off x="669531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8" name="Graphic 1443">
                <a:extLst>
                  <a:ext uri="{FF2B5EF4-FFF2-40B4-BE49-F238E27FC236}">
                    <a16:creationId xmlns:a16="http://schemas.microsoft.com/office/drawing/2014/main" id="{7B450FAD-A25F-845F-7CF5-E57A9F27C77A}"/>
                  </a:ext>
                </a:extLst>
              </p:cNvPr>
              <p:cNvGrpSpPr/>
              <p:nvPr/>
            </p:nvGrpSpPr>
            <p:grpSpPr>
              <a:xfrm>
                <a:off x="6695313" y="3550443"/>
                <a:ext cx="61817" cy="63722"/>
                <a:chOff x="6695313" y="3550443"/>
                <a:chExt cx="61817" cy="63722"/>
              </a:xfrm>
            </p:grpSpPr>
            <p:sp>
              <p:nvSpPr>
                <p:cNvPr id="2875" name="Freeform: Shape 2874">
                  <a:extLst>
                    <a:ext uri="{FF2B5EF4-FFF2-40B4-BE49-F238E27FC236}">
                      <a16:creationId xmlns:a16="http://schemas.microsoft.com/office/drawing/2014/main" id="{7F737C5C-0AC6-CE97-D71B-DD1BC893FECF}"/>
                    </a:ext>
                  </a:extLst>
                </p:cNvPr>
                <p:cNvSpPr/>
                <p:nvPr/>
              </p:nvSpPr>
              <p:spPr>
                <a:xfrm>
                  <a:off x="6726269"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76" name="Freeform: Shape 2875">
                  <a:extLst>
                    <a:ext uri="{FF2B5EF4-FFF2-40B4-BE49-F238E27FC236}">
                      <a16:creationId xmlns:a16="http://schemas.microsoft.com/office/drawing/2014/main" id="{6FEE9BE3-0FAC-16EB-CE32-05E77A923411}"/>
                    </a:ext>
                  </a:extLst>
                </p:cNvPr>
                <p:cNvSpPr/>
                <p:nvPr/>
              </p:nvSpPr>
              <p:spPr>
                <a:xfrm>
                  <a:off x="669531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99" name="Graphic 1443">
                <a:extLst>
                  <a:ext uri="{FF2B5EF4-FFF2-40B4-BE49-F238E27FC236}">
                    <a16:creationId xmlns:a16="http://schemas.microsoft.com/office/drawing/2014/main" id="{B96095A7-9B53-323D-C732-D74234FEB1F6}"/>
                  </a:ext>
                </a:extLst>
              </p:cNvPr>
              <p:cNvGrpSpPr/>
              <p:nvPr/>
            </p:nvGrpSpPr>
            <p:grpSpPr>
              <a:xfrm>
                <a:off x="6662070" y="3550443"/>
                <a:ext cx="61817" cy="63722"/>
                <a:chOff x="6662070" y="3550443"/>
                <a:chExt cx="61817" cy="63722"/>
              </a:xfrm>
            </p:grpSpPr>
            <p:sp>
              <p:nvSpPr>
                <p:cNvPr id="2873" name="Freeform: Shape 2872">
                  <a:extLst>
                    <a:ext uri="{FF2B5EF4-FFF2-40B4-BE49-F238E27FC236}">
                      <a16:creationId xmlns:a16="http://schemas.microsoft.com/office/drawing/2014/main" id="{864E6DFB-5FD8-BF5C-930D-92C9CF4A190A}"/>
                    </a:ext>
                  </a:extLst>
                </p:cNvPr>
                <p:cNvSpPr/>
                <p:nvPr/>
              </p:nvSpPr>
              <p:spPr>
                <a:xfrm>
                  <a:off x="669293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74" name="Freeform: Shape 2873">
                  <a:extLst>
                    <a:ext uri="{FF2B5EF4-FFF2-40B4-BE49-F238E27FC236}">
                      <a16:creationId xmlns:a16="http://schemas.microsoft.com/office/drawing/2014/main" id="{5517238D-4410-9F00-3945-78583AAB05E1}"/>
                    </a:ext>
                  </a:extLst>
                </p:cNvPr>
                <p:cNvSpPr/>
                <p:nvPr/>
              </p:nvSpPr>
              <p:spPr>
                <a:xfrm>
                  <a:off x="666207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0" name="Graphic 1443">
                <a:extLst>
                  <a:ext uri="{FF2B5EF4-FFF2-40B4-BE49-F238E27FC236}">
                    <a16:creationId xmlns:a16="http://schemas.microsoft.com/office/drawing/2014/main" id="{6C2C830A-7A0C-BFCD-77B9-14A2FBA9AFF8}"/>
                  </a:ext>
                </a:extLst>
              </p:cNvPr>
              <p:cNvGrpSpPr/>
              <p:nvPr/>
            </p:nvGrpSpPr>
            <p:grpSpPr>
              <a:xfrm>
                <a:off x="6537388" y="3550443"/>
                <a:ext cx="61817" cy="63722"/>
                <a:chOff x="6537388" y="3550443"/>
                <a:chExt cx="61817" cy="63722"/>
              </a:xfrm>
            </p:grpSpPr>
            <p:sp>
              <p:nvSpPr>
                <p:cNvPr id="2871" name="Freeform: Shape 2870">
                  <a:extLst>
                    <a:ext uri="{FF2B5EF4-FFF2-40B4-BE49-F238E27FC236}">
                      <a16:creationId xmlns:a16="http://schemas.microsoft.com/office/drawing/2014/main" id="{9EEA7243-7B83-8C65-8E12-8AB0BEDBAB3B}"/>
                    </a:ext>
                  </a:extLst>
                </p:cNvPr>
                <p:cNvSpPr/>
                <p:nvPr/>
              </p:nvSpPr>
              <p:spPr>
                <a:xfrm>
                  <a:off x="65683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72" name="Freeform: Shape 2871">
                  <a:extLst>
                    <a:ext uri="{FF2B5EF4-FFF2-40B4-BE49-F238E27FC236}">
                      <a16:creationId xmlns:a16="http://schemas.microsoft.com/office/drawing/2014/main" id="{F66F1C59-1C04-291D-CE27-082D3614C73E}"/>
                    </a:ext>
                  </a:extLst>
                </p:cNvPr>
                <p:cNvSpPr/>
                <p:nvPr/>
              </p:nvSpPr>
              <p:spPr>
                <a:xfrm>
                  <a:off x="653738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1" name="Graphic 1443">
                <a:extLst>
                  <a:ext uri="{FF2B5EF4-FFF2-40B4-BE49-F238E27FC236}">
                    <a16:creationId xmlns:a16="http://schemas.microsoft.com/office/drawing/2014/main" id="{55217430-F66A-A5B2-3282-EB414E5A38B8}"/>
                  </a:ext>
                </a:extLst>
              </p:cNvPr>
              <p:cNvGrpSpPr/>
              <p:nvPr/>
            </p:nvGrpSpPr>
            <p:grpSpPr>
              <a:xfrm>
                <a:off x="6522053" y="3528440"/>
                <a:ext cx="61817" cy="63722"/>
                <a:chOff x="6522053" y="3528440"/>
                <a:chExt cx="61817" cy="63722"/>
              </a:xfrm>
            </p:grpSpPr>
            <p:sp>
              <p:nvSpPr>
                <p:cNvPr id="2869" name="Freeform: Shape 2868">
                  <a:extLst>
                    <a:ext uri="{FF2B5EF4-FFF2-40B4-BE49-F238E27FC236}">
                      <a16:creationId xmlns:a16="http://schemas.microsoft.com/office/drawing/2014/main" id="{9B699039-8428-7487-6B29-B9069B981C90}"/>
                    </a:ext>
                  </a:extLst>
                </p:cNvPr>
                <p:cNvSpPr/>
                <p:nvPr/>
              </p:nvSpPr>
              <p:spPr>
                <a:xfrm>
                  <a:off x="6553009" y="352844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70" name="Freeform: Shape 2869">
                  <a:extLst>
                    <a:ext uri="{FF2B5EF4-FFF2-40B4-BE49-F238E27FC236}">
                      <a16:creationId xmlns:a16="http://schemas.microsoft.com/office/drawing/2014/main" id="{E43E2B5B-52E9-0072-EE7E-DDE03383062B}"/>
                    </a:ext>
                  </a:extLst>
                </p:cNvPr>
                <p:cNvSpPr/>
                <p:nvPr/>
              </p:nvSpPr>
              <p:spPr>
                <a:xfrm>
                  <a:off x="6522053" y="356034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2" name="Graphic 1443">
                <a:extLst>
                  <a:ext uri="{FF2B5EF4-FFF2-40B4-BE49-F238E27FC236}">
                    <a16:creationId xmlns:a16="http://schemas.microsoft.com/office/drawing/2014/main" id="{DA11AC27-B9DB-2A9E-FF97-C8466895C051}"/>
                  </a:ext>
                </a:extLst>
              </p:cNvPr>
              <p:cNvGrpSpPr/>
              <p:nvPr/>
            </p:nvGrpSpPr>
            <p:grpSpPr>
              <a:xfrm>
                <a:off x="6504146" y="3516439"/>
                <a:ext cx="61817" cy="63626"/>
                <a:chOff x="6504146" y="3516439"/>
                <a:chExt cx="61817" cy="63626"/>
              </a:xfrm>
            </p:grpSpPr>
            <p:sp>
              <p:nvSpPr>
                <p:cNvPr id="2867" name="Freeform: Shape 2866">
                  <a:extLst>
                    <a:ext uri="{FF2B5EF4-FFF2-40B4-BE49-F238E27FC236}">
                      <a16:creationId xmlns:a16="http://schemas.microsoft.com/office/drawing/2014/main" id="{4B6E45C7-25B5-E16E-DD36-278C28A3EB7A}"/>
                    </a:ext>
                  </a:extLst>
                </p:cNvPr>
                <p:cNvSpPr/>
                <p:nvPr/>
              </p:nvSpPr>
              <p:spPr>
                <a:xfrm>
                  <a:off x="6535102"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68" name="Freeform: Shape 2867">
                  <a:extLst>
                    <a:ext uri="{FF2B5EF4-FFF2-40B4-BE49-F238E27FC236}">
                      <a16:creationId xmlns:a16="http://schemas.microsoft.com/office/drawing/2014/main" id="{945179CB-E19E-C3A4-2165-8B547336C299}"/>
                    </a:ext>
                  </a:extLst>
                </p:cNvPr>
                <p:cNvSpPr/>
                <p:nvPr/>
              </p:nvSpPr>
              <p:spPr>
                <a:xfrm>
                  <a:off x="6504146"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3" name="Graphic 1443">
                <a:extLst>
                  <a:ext uri="{FF2B5EF4-FFF2-40B4-BE49-F238E27FC236}">
                    <a16:creationId xmlns:a16="http://schemas.microsoft.com/office/drawing/2014/main" id="{FB2AA920-D917-4058-2EC4-4A85C538DA51}"/>
                  </a:ext>
                </a:extLst>
              </p:cNvPr>
              <p:cNvGrpSpPr/>
              <p:nvPr/>
            </p:nvGrpSpPr>
            <p:grpSpPr>
              <a:xfrm>
                <a:off x="6491192" y="3516439"/>
                <a:ext cx="61817" cy="63626"/>
                <a:chOff x="6491192" y="3516439"/>
                <a:chExt cx="61817" cy="63626"/>
              </a:xfrm>
            </p:grpSpPr>
            <p:sp>
              <p:nvSpPr>
                <p:cNvPr id="2865" name="Freeform: Shape 2864">
                  <a:extLst>
                    <a:ext uri="{FF2B5EF4-FFF2-40B4-BE49-F238E27FC236}">
                      <a16:creationId xmlns:a16="http://schemas.microsoft.com/office/drawing/2014/main" id="{4ECF1129-A21D-F43C-A2D3-3EA80DA216F9}"/>
                    </a:ext>
                  </a:extLst>
                </p:cNvPr>
                <p:cNvSpPr/>
                <p:nvPr/>
              </p:nvSpPr>
              <p:spPr>
                <a:xfrm>
                  <a:off x="6522053"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66" name="Freeform: Shape 2865">
                  <a:extLst>
                    <a:ext uri="{FF2B5EF4-FFF2-40B4-BE49-F238E27FC236}">
                      <a16:creationId xmlns:a16="http://schemas.microsoft.com/office/drawing/2014/main" id="{4CB4083A-14E7-2996-FD44-0C76F5785F1D}"/>
                    </a:ext>
                  </a:extLst>
                </p:cNvPr>
                <p:cNvSpPr/>
                <p:nvPr/>
              </p:nvSpPr>
              <p:spPr>
                <a:xfrm>
                  <a:off x="6491192"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4" name="Graphic 1443">
                <a:extLst>
                  <a:ext uri="{FF2B5EF4-FFF2-40B4-BE49-F238E27FC236}">
                    <a16:creationId xmlns:a16="http://schemas.microsoft.com/office/drawing/2014/main" id="{5CFD14C2-A102-7928-7ADF-1ACA8B9BB0B4}"/>
                  </a:ext>
                </a:extLst>
              </p:cNvPr>
              <p:cNvGrpSpPr/>
              <p:nvPr/>
            </p:nvGrpSpPr>
            <p:grpSpPr>
              <a:xfrm>
                <a:off x="6213348" y="3468528"/>
                <a:ext cx="61817" cy="63722"/>
                <a:chOff x="6213348" y="3468528"/>
                <a:chExt cx="61817" cy="63722"/>
              </a:xfrm>
            </p:grpSpPr>
            <p:sp>
              <p:nvSpPr>
                <p:cNvPr id="2863" name="Freeform: Shape 2862">
                  <a:extLst>
                    <a:ext uri="{FF2B5EF4-FFF2-40B4-BE49-F238E27FC236}">
                      <a16:creationId xmlns:a16="http://schemas.microsoft.com/office/drawing/2014/main" id="{4AF43E6A-AC22-D7A2-5400-06A6D7E91F81}"/>
                    </a:ext>
                  </a:extLst>
                </p:cNvPr>
                <p:cNvSpPr/>
                <p:nvPr/>
              </p:nvSpPr>
              <p:spPr>
                <a:xfrm>
                  <a:off x="624430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64" name="Freeform: Shape 2863">
                  <a:extLst>
                    <a:ext uri="{FF2B5EF4-FFF2-40B4-BE49-F238E27FC236}">
                      <a16:creationId xmlns:a16="http://schemas.microsoft.com/office/drawing/2014/main" id="{08ECEE37-BA66-9D27-0F47-0AD5F9F27627}"/>
                    </a:ext>
                  </a:extLst>
                </p:cNvPr>
                <p:cNvSpPr/>
                <p:nvPr/>
              </p:nvSpPr>
              <p:spPr>
                <a:xfrm>
                  <a:off x="621334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5" name="Graphic 1443">
                <a:extLst>
                  <a:ext uri="{FF2B5EF4-FFF2-40B4-BE49-F238E27FC236}">
                    <a16:creationId xmlns:a16="http://schemas.microsoft.com/office/drawing/2014/main" id="{972EFFB6-2B74-6AE1-01F6-38D4A227459C}"/>
                  </a:ext>
                </a:extLst>
              </p:cNvPr>
              <p:cNvGrpSpPr/>
              <p:nvPr/>
            </p:nvGrpSpPr>
            <p:grpSpPr>
              <a:xfrm>
                <a:off x="6259068" y="3468528"/>
                <a:ext cx="61817" cy="63722"/>
                <a:chOff x="6259068" y="3468528"/>
                <a:chExt cx="61817" cy="63722"/>
              </a:xfrm>
            </p:grpSpPr>
            <p:sp>
              <p:nvSpPr>
                <p:cNvPr id="2861" name="Freeform: Shape 2860">
                  <a:extLst>
                    <a:ext uri="{FF2B5EF4-FFF2-40B4-BE49-F238E27FC236}">
                      <a16:creationId xmlns:a16="http://schemas.microsoft.com/office/drawing/2014/main" id="{BF06784D-E3AA-25B3-3AA0-ABA18D4D6215}"/>
                    </a:ext>
                  </a:extLst>
                </p:cNvPr>
                <p:cNvSpPr/>
                <p:nvPr/>
              </p:nvSpPr>
              <p:spPr>
                <a:xfrm>
                  <a:off x="628992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62" name="Freeform: Shape 2861">
                  <a:extLst>
                    <a:ext uri="{FF2B5EF4-FFF2-40B4-BE49-F238E27FC236}">
                      <a16:creationId xmlns:a16="http://schemas.microsoft.com/office/drawing/2014/main" id="{29624AEE-8754-3574-CF2A-2B7EDB760699}"/>
                    </a:ext>
                  </a:extLst>
                </p:cNvPr>
                <p:cNvSpPr/>
                <p:nvPr/>
              </p:nvSpPr>
              <p:spPr>
                <a:xfrm>
                  <a:off x="625906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6" name="Graphic 1443">
                <a:extLst>
                  <a:ext uri="{FF2B5EF4-FFF2-40B4-BE49-F238E27FC236}">
                    <a16:creationId xmlns:a16="http://schemas.microsoft.com/office/drawing/2014/main" id="{31240D88-C7A7-1FB8-ED0C-F126AA893EE9}"/>
                  </a:ext>
                </a:extLst>
              </p:cNvPr>
              <p:cNvGrpSpPr/>
              <p:nvPr/>
            </p:nvGrpSpPr>
            <p:grpSpPr>
              <a:xfrm>
                <a:off x="6244304" y="3468528"/>
                <a:ext cx="61817" cy="63722"/>
                <a:chOff x="6244304" y="3468528"/>
                <a:chExt cx="61817" cy="63722"/>
              </a:xfrm>
            </p:grpSpPr>
            <p:sp>
              <p:nvSpPr>
                <p:cNvPr id="2859" name="Freeform: Shape 2858">
                  <a:extLst>
                    <a:ext uri="{FF2B5EF4-FFF2-40B4-BE49-F238E27FC236}">
                      <a16:creationId xmlns:a16="http://schemas.microsoft.com/office/drawing/2014/main" id="{39AB917B-DBB6-E11A-9668-7F0FEBC5CA19}"/>
                    </a:ext>
                  </a:extLst>
                </p:cNvPr>
                <p:cNvSpPr/>
                <p:nvPr/>
              </p:nvSpPr>
              <p:spPr>
                <a:xfrm>
                  <a:off x="6275165"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60" name="Freeform: Shape 2859">
                  <a:extLst>
                    <a:ext uri="{FF2B5EF4-FFF2-40B4-BE49-F238E27FC236}">
                      <a16:creationId xmlns:a16="http://schemas.microsoft.com/office/drawing/2014/main" id="{13528C2B-6A65-F2F6-0C0E-E624729B4735}"/>
                    </a:ext>
                  </a:extLst>
                </p:cNvPr>
                <p:cNvSpPr/>
                <p:nvPr/>
              </p:nvSpPr>
              <p:spPr>
                <a:xfrm>
                  <a:off x="6244304"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7" name="Graphic 1443">
                <a:extLst>
                  <a:ext uri="{FF2B5EF4-FFF2-40B4-BE49-F238E27FC236}">
                    <a16:creationId xmlns:a16="http://schemas.microsoft.com/office/drawing/2014/main" id="{6D9BC944-5169-8CBC-F974-2C2272BD5A32}"/>
                  </a:ext>
                </a:extLst>
              </p:cNvPr>
              <p:cNvGrpSpPr/>
              <p:nvPr/>
            </p:nvGrpSpPr>
            <p:grpSpPr>
              <a:xfrm>
                <a:off x="6408705" y="3468528"/>
                <a:ext cx="61817" cy="63722"/>
                <a:chOff x="6408705" y="3468528"/>
                <a:chExt cx="61817" cy="63722"/>
              </a:xfrm>
            </p:grpSpPr>
            <p:sp>
              <p:nvSpPr>
                <p:cNvPr id="2857" name="Freeform: Shape 2856">
                  <a:extLst>
                    <a:ext uri="{FF2B5EF4-FFF2-40B4-BE49-F238E27FC236}">
                      <a16:creationId xmlns:a16="http://schemas.microsoft.com/office/drawing/2014/main" id="{8B3594A8-2739-D1E1-E30D-094A3761DF5A}"/>
                    </a:ext>
                  </a:extLst>
                </p:cNvPr>
                <p:cNvSpPr/>
                <p:nvPr/>
              </p:nvSpPr>
              <p:spPr>
                <a:xfrm>
                  <a:off x="643956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58" name="Freeform: Shape 2857">
                  <a:extLst>
                    <a:ext uri="{FF2B5EF4-FFF2-40B4-BE49-F238E27FC236}">
                      <a16:creationId xmlns:a16="http://schemas.microsoft.com/office/drawing/2014/main" id="{84BD82AA-25F7-C034-DABC-627BDF705140}"/>
                    </a:ext>
                  </a:extLst>
                </p:cNvPr>
                <p:cNvSpPr/>
                <p:nvPr/>
              </p:nvSpPr>
              <p:spPr>
                <a:xfrm>
                  <a:off x="640870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8" name="Graphic 1443">
                <a:extLst>
                  <a:ext uri="{FF2B5EF4-FFF2-40B4-BE49-F238E27FC236}">
                    <a16:creationId xmlns:a16="http://schemas.microsoft.com/office/drawing/2014/main" id="{5A4B6290-1ABB-BD7F-8E9D-A0D3CA858755}"/>
                  </a:ext>
                </a:extLst>
              </p:cNvPr>
              <p:cNvGrpSpPr/>
              <p:nvPr/>
            </p:nvGrpSpPr>
            <p:grpSpPr>
              <a:xfrm>
                <a:off x="6425184" y="3476719"/>
                <a:ext cx="61817" cy="63722"/>
                <a:chOff x="6425184" y="3476719"/>
                <a:chExt cx="61817" cy="63722"/>
              </a:xfrm>
            </p:grpSpPr>
            <p:sp>
              <p:nvSpPr>
                <p:cNvPr id="2855" name="Freeform: Shape 2854">
                  <a:extLst>
                    <a:ext uri="{FF2B5EF4-FFF2-40B4-BE49-F238E27FC236}">
                      <a16:creationId xmlns:a16="http://schemas.microsoft.com/office/drawing/2014/main" id="{5B0A7F0E-F151-0CBE-0802-BF39EB7CD4C1}"/>
                    </a:ext>
                  </a:extLst>
                </p:cNvPr>
                <p:cNvSpPr/>
                <p:nvPr/>
              </p:nvSpPr>
              <p:spPr>
                <a:xfrm>
                  <a:off x="6456045"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56" name="Freeform: Shape 2855">
                  <a:extLst>
                    <a:ext uri="{FF2B5EF4-FFF2-40B4-BE49-F238E27FC236}">
                      <a16:creationId xmlns:a16="http://schemas.microsoft.com/office/drawing/2014/main" id="{655C492F-CB04-9A7F-C508-6FCAB60B95C0}"/>
                    </a:ext>
                  </a:extLst>
                </p:cNvPr>
                <p:cNvSpPr/>
                <p:nvPr/>
              </p:nvSpPr>
              <p:spPr>
                <a:xfrm>
                  <a:off x="6425184"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09" name="Graphic 1443">
                <a:extLst>
                  <a:ext uri="{FF2B5EF4-FFF2-40B4-BE49-F238E27FC236}">
                    <a16:creationId xmlns:a16="http://schemas.microsoft.com/office/drawing/2014/main" id="{CF4FF0AE-27C6-B84E-32D3-270C1E4ACB85}"/>
                  </a:ext>
                </a:extLst>
              </p:cNvPr>
              <p:cNvGrpSpPr/>
              <p:nvPr/>
            </p:nvGrpSpPr>
            <p:grpSpPr>
              <a:xfrm>
                <a:off x="6445758" y="3476719"/>
                <a:ext cx="61817" cy="63722"/>
                <a:chOff x="6445758" y="3476719"/>
                <a:chExt cx="61817" cy="63722"/>
              </a:xfrm>
            </p:grpSpPr>
            <p:sp>
              <p:nvSpPr>
                <p:cNvPr id="2853" name="Freeform: Shape 2852">
                  <a:extLst>
                    <a:ext uri="{FF2B5EF4-FFF2-40B4-BE49-F238E27FC236}">
                      <a16:creationId xmlns:a16="http://schemas.microsoft.com/office/drawing/2014/main" id="{1A74C6BB-7788-E8CE-B364-8C8DD12495E0}"/>
                    </a:ext>
                  </a:extLst>
                </p:cNvPr>
                <p:cNvSpPr/>
                <p:nvPr/>
              </p:nvSpPr>
              <p:spPr>
                <a:xfrm>
                  <a:off x="6476619"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54" name="Freeform: Shape 2853">
                  <a:extLst>
                    <a:ext uri="{FF2B5EF4-FFF2-40B4-BE49-F238E27FC236}">
                      <a16:creationId xmlns:a16="http://schemas.microsoft.com/office/drawing/2014/main" id="{4EA871AB-20F1-0841-4347-B34CDAE02776}"/>
                    </a:ext>
                  </a:extLst>
                </p:cNvPr>
                <p:cNvSpPr/>
                <p:nvPr/>
              </p:nvSpPr>
              <p:spPr>
                <a:xfrm>
                  <a:off x="6445758"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0" name="Graphic 1443">
                <a:extLst>
                  <a:ext uri="{FF2B5EF4-FFF2-40B4-BE49-F238E27FC236}">
                    <a16:creationId xmlns:a16="http://schemas.microsoft.com/office/drawing/2014/main" id="{44891C7C-CC1F-22F5-EADA-58D77D250DF0}"/>
                  </a:ext>
                </a:extLst>
              </p:cNvPr>
              <p:cNvGrpSpPr/>
              <p:nvPr/>
            </p:nvGrpSpPr>
            <p:grpSpPr>
              <a:xfrm>
                <a:off x="6456045" y="3476719"/>
                <a:ext cx="61817" cy="63722"/>
                <a:chOff x="6456045" y="3476719"/>
                <a:chExt cx="61817" cy="63722"/>
              </a:xfrm>
            </p:grpSpPr>
            <p:sp>
              <p:nvSpPr>
                <p:cNvPr id="2851" name="Freeform: Shape 2850">
                  <a:extLst>
                    <a:ext uri="{FF2B5EF4-FFF2-40B4-BE49-F238E27FC236}">
                      <a16:creationId xmlns:a16="http://schemas.microsoft.com/office/drawing/2014/main" id="{5B5D3C03-B16A-6DD1-607A-2FFEAD6DA28B}"/>
                    </a:ext>
                  </a:extLst>
                </p:cNvPr>
                <p:cNvSpPr/>
                <p:nvPr/>
              </p:nvSpPr>
              <p:spPr>
                <a:xfrm>
                  <a:off x="6487001"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52" name="Freeform: Shape 2851">
                  <a:extLst>
                    <a:ext uri="{FF2B5EF4-FFF2-40B4-BE49-F238E27FC236}">
                      <a16:creationId xmlns:a16="http://schemas.microsoft.com/office/drawing/2014/main" id="{199EEA78-151A-3522-0BB5-F3EB21935748}"/>
                    </a:ext>
                  </a:extLst>
                </p:cNvPr>
                <p:cNvSpPr/>
                <p:nvPr/>
              </p:nvSpPr>
              <p:spPr>
                <a:xfrm>
                  <a:off x="6456045"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1" name="Graphic 1443">
                <a:extLst>
                  <a:ext uri="{FF2B5EF4-FFF2-40B4-BE49-F238E27FC236}">
                    <a16:creationId xmlns:a16="http://schemas.microsoft.com/office/drawing/2014/main" id="{70F64D41-9693-F8C7-75EA-96507FA1B677}"/>
                  </a:ext>
                </a:extLst>
              </p:cNvPr>
              <p:cNvGrpSpPr/>
              <p:nvPr/>
            </p:nvGrpSpPr>
            <p:grpSpPr>
              <a:xfrm>
                <a:off x="6396323" y="3468528"/>
                <a:ext cx="61817" cy="63722"/>
                <a:chOff x="6396323" y="3468528"/>
                <a:chExt cx="61817" cy="63722"/>
              </a:xfrm>
            </p:grpSpPr>
            <p:sp>
              <p:nvSpPr>
                <p:cNvPr id="2849" name="Freeform: Shape 2848">
                  <a:extLst>
                    <a:ext uri="{FF2B5EF4-FFF2-40B4-BE49-F238E27FC236}">
                      <a16:creationId xmlns:a16="http://schemas.microsoft.com/office/drawing/2014/main" id="{B89933E5-448C-57EE-79B1-615401C4B4E6}"/>
                    </a:ext>
                  </a:extLst>
                </p:cNvPr>
                <p:cNvSpPr/>
                <p:nvPr/>
              </p:nvSpPr>
              <p:spPr>
                <a:xfrm>
                  <a:off x="642718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50" name="Freeform: Shape 2849">
                  <a:extLst>
                    <a:ext uri="{FF2B5EF4-FFF2-40B4-BE49-F238E27FC236}">
                      <a16:creationId xmlns:a16="http://schemas.microsoft.com/office/drawing/2014/main" id="{8E20FDA2-9082-1459-A2C6-665004DDAB6A}"/>
                    </a:ext>
                  </a:extLst>
                </p:cNvPr>
                <p:cNvSpPr/>
                <p:nvPr/>
              </p:nvSpPr>
              <p:spPr>
                <a:xfrm>
                  <a:off x="6396323"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2" name="Graphic 1443">
                <a:extLst>
                  <a:ext uri="{FF2B5EF4-FFF2-40B4-BE49-F238E27FC236}">
                    <a16:creationId xmlns:a16="http://schemas.microsoft.com/office/drawing/2014/main" id="{223AF621-75D7-7B46-249A-3BBA46962FBB}"/>
                  </a:ext>
                </a:extLst>
              </p:cNvPr>
              <p:cNvGrpSpPr/>
              <p:nvPr/>
            </p:nvGrpSpPr>
            <p:grpSpPr>
              <a:xfrm>
                <a:off x="6383940" y="3468528"/>
                <a:ext cx="61817" cy="63722"/>
                <a:chOff x="6383940" y="3468528"/>
                <a:chExt cx="61817" cy="63722"/>
              </a:xfrm>
            </p:grpSpPr>
            <p:sp>
              <p:nvSpPr>
                <p:cNvPr id="2847" name="Freeform: Shape 2846">
                  <a:extLst>
                    <a:ext uri="{FF2B5EF4-FFF2-40B4-BE49-F238E27FC236}">
                      <a16:creationId xmlns:a16="http://schemas.microsoft.com/office/drawing/2014/main" id="{442FA8B5-E13A-CF5C-41F9-48EFA0A6891D}"/>
                    </a:ext>
                  </a:extLst>
                </p:cNvPr>
                <p:cNvSpPr/>
                <p:nvPr/>
              </p:nvSpPr>
              <p:spPr>
                <a:xfrm>
                  <a:off x="641480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48" name="Freeform: Shape 2847">
                  <a:extLst>
                    <a:ext uri="{FF2B5EF4-FFF2-40B4-BE49-F238E27FC236}">
                      <a16:creationId xmlns:a16="http://schemas.microsoft.com/office/drawing/2014/main" id="{E664DD84-8D3F-DF62-97B6-56F877D57F3A}"/>
                    </a:ext>
                  </a:extLst>
                </p:cNvPr>
                <p:cNvSpPr/>
                <p:nvPr/>
              </p:nvSpPr>
              <p:spPr>
                <a:xfrm>
                  <a:off x="638394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3" name="Graphic 1443">
                <a:extLst>
                  <a:ext uri="{FF2B5EF4-FFF2-40B4-BE49-F238E27FC236}">
                    <a16:creationId xmlns:a16="http://schemas.microsoft.com/office/drawing/2014/main" id="{70713802-5DAC-FA07-3513-3C18F507A930}"/>
                  </a:ext>
                </a:extLst>
              </p:cNvPr>
              <p:cNvGrpSpPr/>
              <p:nvPr/>
            </p:nvGrpSpPr>
            <p:grpSpPr>
              <a:xfrm>
                <a:off x="6371558" y="3468528"/>
                <a:ext cx="61817" cy="63722"/>
                <a:chOff x="6371558" y="3468528"/>
                <a:chExt cx="61817" cy="63722"/>
              </a:xfrm>
            </p:grpSpPr>
            <p:sp>
              <p:nvSpPr>
                <p:cNvPr id="2845" name="Freeform: Shape 2844">
                  <a:extLst>
                    <a:ext uri="{FF2B5EF4-FFF2-40B4-BE49-F238E27FC236}">
                      <a16:creationId xmlns:a16="http://schemas.microsoft.com/office/drawing/2014/main" id="{67DF123F-C29D-D23A-D0A5-991B48A688B5}"/>
                    </a:ext>
                  </a:extLst>
                </p:cNvPr>
                <p:cNvSpPr/>
                <p:nvPr/>
              </p:nvSpPr>
              <p:spPr>
                <a:xfrm>
                  <a:off x="640241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46" name="Freeform: Shape 2845">
                  <a:extLst>
                    <a:ext uri="{FF2B5EF4-FFF2-40B4-BE49-F238E27FC236}">
                      <a16:creationId xmlns:a16="http://schemas.microsoft.com/office/drawing/2014/main" id="{E35D7D49-ECBB-93A6-7549-8B54E8296B72}"/>
                    </a:ext>
                  </a:extLst>
                </p:cNvPr>
                <p:cNvSpPr/>
                <p:nvPr/>
              </p:nvSpPr>
              <p:spPr>
                <a:xfrm>
                  <a:off x="63715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4" name="Graphic 1443">
                <a:extLst>
                  <a:ext uri="{FF2B5EF4-FFF2-40B4-BE49-F238E27FC236}">
                    <a16:creationId xmlns:a16="http://schemas.microsoft.com/office/drawing/2014/main" id="{61EDA8F6-EF74-C284-6821-667172B36595}"/>
                  </a:ext>
                </a:extLst>
              </p:cNvPr>
              <p:cNvGrpSpPr/>
              <p:nvPr/>
            </p:nvGrpSpPr>
            <p:grpSpPr>
              <a:xfrm>
                <a:off x="6297358" y="3468528"/>
                <a:ext cx="61817" cy="63722"/>
                <a:chOff x="6297358" y="3468528"/>
                <a:chExt cx="61817" cy="63722"/>
              </a:xfrm>
            </p:grpSpPr>
            <p:sp>
              <p:nvSpPr>
                <p:cNvPr id="2843" name="Freeform: Shape 2842">
                  <a:extLst>
                    <a:ext uri="{FF2B5EF4-FFF2-40B4-BE49-F238E27FC236}">
                      <a16:creationId xmlns:a16="http://schemas.microsoft.com/office/drawing/2014/main" id="{40DDC7D5-9BD7-3AC8-3B03-71CACB602D00}"/>
                    </a:ext>
                  </a:extLst>
                </p:cNvPr>
                <p:cNvSpPr/>
                <p:nvPr/>
              </p:nvSpPr>
              <p:spPr>
                <a:xfrm>
                  <a:off x="632831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44" name="Freeform: Shape 2843">
                  <a:extLst>
                    <a:ext uri="{FF2B5EF4-FFF2-40B4-BE49-F238E27FC236}">
                      <a16:creationId xmlns:a16="http://schemas.microsoft.com/office/drawing/2014/main" id="{0BB2B595-4B2C-3A72-507D-4AF7B7BB7151}"/>
                    </a:ext>
                  </a:extLst>
                </p:cNvPr>
                <p:cNvSpPr/>
                <p:nvPr/>
              </p:nvSpPr>
              <p:spPr>
                <a:xfrm>
                  <a:off x="62973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5" name="Graphic 1443">
                <a:extLst>
                  <a:ext uri="{FF2B5EF4-FFF2-40B4-BE49-F238E27FC236}">
                    <a16:creationId xmlns:a16="http://schemas.microsoft.com/office/drawing/2014/main" id="{E6C76F3C-8765-0733-D62D-72BD9360D89A}"/>
                  </a:ext>
                </a:extLst>
              </p:cNvPr>
              <p:cNvGrpSpPr/>
              <p:nvPr/>
            </p:nvGrpSpPr>
            <p:grpSpPr>
              <a:xfrm>
                <a:off x="6284785" y="3468528"/>
                <a:ext cx="61817" cy="63722"/>
                <a:chOff x="6284785" y="3468528"/>
                <a:chExt cx="61817" cy="63722"/>
              </a:xfrm>
            </p:grpSpPr>
            <p:sp>
              <p:nvSpPr>
                <p:cNvPr id="2841" name="Freeform: Shape 2840">
                  <a:extLst>
                    <a:ext uri="{FF2B5EF4-FFF2-40B4-BE49-F238E27FC236}">
                      <a16:creationId xmlns:a16="http://schemas.microsoft.com/office/drawing/2014/main" id="{24C88E90-126B-A10B-DAA7-A08EF41AE248}"/>
                    </a:ext>
                  </a:extLst>
                </p:cNvPr>
                <p:cNvSpPr/>
                <p:nvPr/>
              </p:nvSpPr>
              <p:spPr>
                <a:xfrm>
                  <a:off x="631574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42" name="Freeform: Shape 2841">
                  <a:extLst>
                    <a:ext uri="{FF2B5EF4-FFF2-40B4-BE49-F238E27FC236}">
                      <a16:creationId xmlns:a16="http://schemas.microsoft.com/office/drawing/2014/main" id="{C0DE6719-6324-CCB5-264E-C1D013BD1363}"/>
                    </a:ext>
                  </a:extLst>
                </p:cNvPr>
                <p:cNvSpPr/>
                <p:nvPr/>
              </p:nvSpPr>
              <p:spPr>
                <a:xfrm>
                  <a:off x="628478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6" name="Graphic 1443">
                <a:extLst>
                  <a:ext uri="{FF2B5EF4-FFF2-40B4-BE49-F238E27FC236}">
                    <a16:creationId xmlns:a16="http://schemas.microsoft.com/office/drawing/2014/main" id="{B2173BCE-EC2D-AE36-5036-0F9CDA13002E}"/>
                  </a:ext>
                </a:extLst>
              </p:cNvPr>
              <p:cNvGrpSpPr/>
              <p:nvPr/>
            </p:nvGrpSpPr>
            <p:grpSpPr>
              <a:xfrm>
                <a:off x="6334410" y="3468528"/>
                <a:ext cx="61817" cy="63722"/>
                <a:chOff x="6334410" y="3468528"/>
                <a:chExt cx="61817" cy="63722"/>
              </a:xfrm>
            </p:grpSpPr>
            <p:sp>
              <p:nvSpPr>
                <p:cNvPr id="2839" name="Freeform: Shape 2838">
                  <a:extLst>
                    <a:ext uri="{FF2B5EF4-FFF2-40B4-BE49-F238E27FC236}">
                      <a16:creationId xmlns:a16="http://schemas.microsoft.com/office/drawing/2014/main" id="{9FCDD19E-CC9A-E8F6-C7DD-E4D2BB72ECA5}"/>
                    </a:ext>
                  </a:extLst>
                </p:cNvPr>
                <p:cNvSpPr/>
                <p:nvPr/>
              </p:nvSpPr>
              <p:spPr>
                <a:xfrm>
                  <a:off x="636527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40" name="Freeform: Shape 2839">
                  <a:extLst>
                    <a:ext uri="{FF2B5EF4-FFF2-40B4-BE49-F238E27FC236}">
                      <a16:creationId xmlns:a16="http://schemas.microsoft.com/office/drawing/2014/main" id="{B804ABE9-93DB-3ABB-27A5-AAD0EAD39B9E}"/>
                    </a:ext>
                  </a:extLst>
                </p:cNvPr>
                <p:cNvSpPr/>
                <p:nvPr/>
              </p:nvSpPr>
              <p:spPr>
                <a:xfrm>
                  <a:off x="633441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7" name="Graphic 1443">
                <a:extLst>
                  <a:ext uri="{FF2B5EF4-FFF2-40B4-BE49-F238E27FC236}">
                    <a16:creationId xmlns:a16="http://schemas.microsoft.com/office/drawing/2014/main" id="{7B5CC820-D5CE-8F97-909F-76B0B484BFBD}"/>
                  </a:ext>
                </a:extLst>
              </p:cNvPr>
              <p:cNvGrpSpPr/>
              <p:nvPr/>
            </p:nvGrpSpPr>
            <p:grpSpPr>
              <a:xfrm>
                <a:off x="6359175" y="3468528"/>
                <a:ext cx="61817" cy="63722"/>
                <a:chOff x="6359175" y="3468528"/>
                <a:chExt cx="61817" cy="63722"/>
              </a:xfrm>
            </p:grpSpPr>
            <p:sp>
              <p:nvSpPr>
                <p:cNvPr id="2837" name="Freeform: Shape 2836">
                  <a:extLst>
                    <a:ext uri="{FF2B5EF4-FFF2-40B4-BE49-F238E27FC236}">
                      <a16:creationId xmlns:a16="http://schemas.microsoft.com/office/drawing/2014/main" id="{17508E26-295D-82C3-E64B-811A6C68F553}"/>
                    </a:ext>
                  </a:extLst>
                </p:cNvPr>
                <p:cNvSpPr/>
                <p:nvPr/>
              </p:nvSpPr>
              <p:spPr>
                <a:xfrm>
                  <a:off x="639003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38" name="Freeform: Shape 2837">
                  <a:extLst>
                    <a:ext uri="{FF2B5EF4-FFF2-40B4-BE49-F238E27FC236}">
                      <a16:creationId xmlns:a16="http://schemas.microsoft.com/office/drawing/2014/main" id="{A4C0C56C-1A92-0DB2-6E4F-93A2CFC39C73}"/>
                    </a:ext>
                  </a:extLst>
                </p:cNvPr>
                <p:cNvSpPr/>
                <p:nvPr/>
              </p:nvSpPr>
              <p:spPr>
                <a:xfrm>
                  <a:off x="635917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8" name="Graphic 1443">
                <a:extLst>
                  <a:ext uri="{FF2B5EF4-FFF2-40B4-BE49-F238E27FC236}">
                    <a16:creationId xmlns:a16="http://schemas.microsoft.com/office/drawing/2014/main" id="{EBB659EB-AA67-842D-129F-5FC31C4E496D}"/>
                  </a:ext>
                </a:extLst>
              </p:cNvPr>
              <p:cNvGrpSpPr/>
              <p:nvPr/>
            </p:nvGrpSpPr>
            <p:grpSpPr>
              <a:xfrm>
                <a:off x="6322028" y="3468528"/>
                <a:ext cx="61817" cy="63722"/>
                <a:chOff x="6322028" y="3468528"/>
                <a:chExt cx="61817" cy="63722"/>
              </a:xfrm>
            </p:grpSpPr>
            <p:sp>
              <p:nvSpPr>
                <p:cNvPr id="2835" name="Freeform: Shape 2834">
                  <a:extLst>
                    <a:ext uri="{FF2B5EF4-FFF2-40B4-BE49-F238E27FC236}">
                      <a16:creationId xmlns:a16="http://schemas.microsoft.com/office/drawing/2014/main" id="{CF6FA332-3FC1-1C00-3212-1E3F816A7455}"/>
                    </a:ext>
                  </a:extLst>
                </p:cNvPr>
                <p:cNvSpPr/>
                <p:nvPr/>
              </p:nvSpPr>
              <p:spPr>
                <a:xfrm>
                  <a:off x="635288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36" name="Freeform: Shape 2835">
                  <a:extLst>
                    <a:ext uri="{FF2B5EF4-FFF2-40B4-BE49-F238E27FC236}">
                      <a16:creationId xmlns:a16="http://schemas.microsoft.com/office/drawing/2014/main" id="{F146FEB5-F44C-BA72-0C1A-86EAACEE879C}"/>
                    </a:ext>
                  </a:extLst>
                </p:cNvPr>
                <p:cNvSpPr/>
                <p:nvPr/>
              </p:nvSpPr>
              <p:spPr>
                <a:xfrm>
                  <a:off x="632202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19" name="Graphic 1443">
                <a:extLst>
                  <a:ext uri="{FF2B5EF4-FFF2-40B4-BE49-F238E27FC236}">
                    <a16:creationId xmlns:a16="http://schemas.microsoft.com/office/drawing/2014/main" id="{FD6E0E13-779D-DA09-9EA3-03BEE38C9684}"/>
                  </a:ext>
                </a:extLst>
              </p:cNvPr>
              <p:cNvGrpSpPr/>
              <p:nvPr/>
            </p:nvGrpSpPr>
            <p:grpSpPr>
              <a:xfrm>
                <a:off x="6228111" y="3468528"/>
                <a:ext cx="61817" cy="63722"/>
                <a:chOff x="6228111" y="3468528"/>
                <a:chExt cx="61817" cy="63722"/>
              </a:xfrm>
            </p:grpSpPr>
            <p:sp>
              <p:nvSpPr>
                <p:cNvPr id="2833" name="Freeform: Shape 2832">
                  <a:extLst>
                    <a:ext uri="{FF2B5EF4-FFF2-40B4-BE49-F238E27FC236}">
                      <a16:creationId xmlns:a16="http://schemas.microsoft.com/office/drawing/2014/main" id="{E38137BA-948E-87D0-4B26-F680DAD14D04}"/>
                    </a:ext>
                  </a:extLst>
                </p:cNvPr>
                <p:cNvSpPr/>
                <p:nvPr/>
              </p:nvSpPr>
              <p:spPr>
                <a:xfrm>
                  <a:off x="6259068"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34" name="Freeform: Shape 2833">
                  <a:extLst>
                    <a:ext uri="{FF2B5EF4-FFF2-40B4-BE49-F238E27FC236}">
                      <a16:creationId xmlns:a16="http://schemas.microsoft.com/office/drawing/2014/main" id="{6A8F4ABF-8EF0-0A2D-02FD-DFBE15F3D2E4}"/>
                    </a:ext>
                  </a:extLst>
                </p:cNvPr>
                <p:cNvSpPr/>
                <p:nvPr/>
              </p:nvSpPr>
              <p:spPr>
                <a:xfrm>
                  <a:off x="6228111"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0" name="Graphic 1443">
                <a:extLst>
                  <a:ext uri="{FF2B5EF4-FFF2-40B4-BE49-F238E27FC236}">
                    <a16:creationId xmlns:a16="http://schemas.microsoft.com/office/drawing/2014/main" id="{508B0368-45ED-DA1E-25DC-8D4AD8619C9A}"/>
                  </a:ext>
                </a:extLst>
              </p:cNvPr>
              <p:cNvGrpSpPr/>
              <p:nvPr/>
            </p:nvGrpSpPr>
            <p:grpSpPr>
              <a:xfrm>
                <a:off x="6192869" y="3436714"/>
                <a:ext cx="61817" cy="63722"/>
                <a:chOff x="6192869" y="3436714"/>
                <a:chExt cx="61817" cy="63722"/>
              </a:xfrm>
            </p:grpSpPr>
            <p:sp>
              <p:nvSpPr>
                <p:cNvPr id="2831" name="Freeform: Shape 2830">
                  <a:extLst>
                    <a:ext uri="{FF2B5EF4-FFF2-40B4-BE49-F238E27FC236}">
                      <a16:creationId xmlns:a16="http://schemas.microsoft.com/office/drawing/2014/main" id="{1C6ACA3F-32FC-A673-795E-C18551FE84D3}"/>
                    </a:ext>
                  </a:extLst>
                </p:cNvPr>
                <p:cNvSpPr/>
                <p:nvPr/>
              </p:nvSpPr>
              <p:spPr>
                <a:xfrm>
                  <a:off x="622373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32" name="Freeform: Shape 2831">
                  <a:extLst>
                    <a:ext uri="{FF2B5EF4-FFF2-40B4-BE49-F238E27FC236}">
                      <a16:creationId xmlns:a16="http://schemas.microsoft.com/office/drawing/2014/main" id="{EDE999B9-261E-3A97-C74E-A9E74A02CB37}"/>
                    </a:ext>
                  </a:extLst>
                </p:cNvPr>
                <p:cNvSpPr/>
                <p:nvPr/>
              </p:nvSpPr>
              <p:spPr>
                <a:xfrm>
                  <a:off x="619286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1" name="Graphic 1443">
                <a:extLst>
                  <a:ext uri="{FF2B5EF4-FFF2-40B4-BE49-F238E27FC236}">
                    <a16:creationId xmlns:a16="http://schemas.microsoft.com/office/drawing/2014/main" id="{05067F4A-91AF-3409-7159-D2ECE9127167}"/>
                  </a:ext>
                </a:extLst>
              </p:cNvPr>
              <p:cNvGrpSpPr/>
              <p:nvPr/>
            </p:nvGrpSpPr>
            <p:grpSpPr>
              <a:xfrm>
                <a:off x="6161913" y="3436714"/>
                <a:ext cx="61817" cy="63722"/>
                <a:chOff x="6161913" y="3436714"/>
                <a:chExt cx="61817" cy="63722"/>
              </a:xfrm>
            </p:grpSpPr>
            <p:sp>
              <p:nvSpPr>
                <p:cNvPr id="2829" name="Freeform: Shape 2828">
                  <a:extLst>
                    <a:ext uri="{FF2B5EF4-FFF2-40B4-BE49-F238E27FC236}">
                      <a16:creationId xmlns:a16="http://schemas.microsoft.com/office/drawing/2014/main" id="{87A84CE4-9BC9-5C73-94F1-0E202C6920B9}"/>
                    </a:ext>
                  </a:extLst>
                </p:cNvPr>
                <p:cNvSpPr/>
                <p:nvPr/>
              </p:nvSpPr>
              <p:spPr>
                <a:xfrm>
                  <a:off x="619286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30" name="Freeform: Shape 2829">
                  <a:extLst>
                    <a:ext uri="{FF2B5EF4-FFF2-40B4-BE49-F238E27FC236}">
                      <a16:creationId xmlns:a16="http://schemas.microsoft.com/office/drawing/2014/main" id="{5796A91E-D819-66D7-E2E4-36DCCC45EA6B}"/>
                    </a:ext>
                  </a:extLst>
                </p:cNvPr>
                <p:cNvSpPr/>
                <p:nvPr/>
              </p:nvSpPr>
              <p:spPr>
                <a:xfrm>
                  <a:off x="616191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2" name="Graphic 1443">
                <a:extLst>
                  <a:ext uri="{FF2B5EF4-FFF2-40B4-BE49-F238E27FC236}">
                    <a16:creationId xmlns:a16="http://schemas.microsoft.com/office/drawing/2014/main" id="{8047BD33-E58E-E654-588C-EE17BD8356AB}"/>
                  </a:ext>
                </a:extLst>
              </p:cNvPr>
              <p:cNvGrpSpPr/>
              <p:nvPr/>
            </p:nvGrpSpPr>
            <p:grpSpPr>
              <a:xfrm>
                <a:off x="6065043" y="3436714"/>
                <a:ext cx="61817" cy="63722"/>
                <a:chOff x="6065043" y="3436714"/>
                <a:chExt cx="61817" cy="63722"/>
              </a:xfrm>
            </p:grpSpPr>
            <p:sp>
              <p:nvSpPr>
                <p:cNvPr id="2827" name="Freeform: Shape 2826">
                  <a:extLst>
                    <a:ext uri="{FF2B5EF4-FFF2-40B4-BE49-F238E27FC236}">
                      <a16:creationId xmlns:a16="http://schemas.microsoft.com/office/drawing/2014/main" id="{14DA62BE-F6D5-CA40-2BEC-0EFC2FA3F02A}"/>
                    </a:ext>
                  </a:extLst>
                </p:cNvPr>
                <p:cNvSpPr/>
                <p:nvPr/>
              </p:nvSpPr>
              <p:spPr>
                <a:xfrm>
                  <a:off x="609600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28" name="Freeform: Shape 2827">
                  <a:extLst>
                    <a:ext uri="{FF2B5EF4-FFF2-40B4-BE49-F238E27FC236}">
                      <a16:creationId xmlns:a16="http://schemas.microsoft.com/office/drawing/2014/main" id="{154E596D-2207-920F-FBBE-4F1ADBE2C0A3}"/>
                    </a:ext>
                  </a:extLst>
                </p:cNvPr>
                <p:cNvSpPr/>
                <p:nvPr/>
              </p:nvSpPr>
              <p:spPr>
                <a:xfrm>
                  <a:off x="60650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3" name="Graphic 1443">
                <a:extLst>
                  <a:ext uri="{FF2B5EF4-FFF2-40B4-BE49-F238E27FC236}">
                    <a16:creationId xmlns:a16="http://schemas.microsoft.com/office/drawing/2014/main" id="{30A69B9B-4DE9-7A1F-15A8-DBEC31BB468E}"/>
                  </a:ext>
                </a:extLst>
              </p:cNvPr>
              <p:cNvGrpSpPr/>
              <p:nvPr/>
            </p:nvGrpSpPr>
            <p:grpSpPr>
              <a:xfrm>
                <a:off x="6053137" y="3429856"/>
                <a:ext cx="61817" cy="63722"/>
                <a:chOff x="6053137" y="3429856"/>
                <a:chExt cx="61817" cy="63722"/>
              </a:xfrm>
            </p:grpSpPr>
            <p:sp>
              <p:nvSpPr>
                <p:cNvPr id="2825" name="Freeform: Shape 2824">
                  <a:extLst>
                    <a:ext uri="{FF2B5EF4-FFF2-40B4-BE49-F238E27FC236}">
                      <a16:creationId xmlns:a16="http://schemas.microsoft.com/office/drawing/2014/main" id="{D20DC13D-9729-1B02-5016-8F9AAE1B3979}"/>
                    </a:ext>
                  </a:extLst>
                </p:cNvPr>
                <p:cNvSpPr/>
                <p:nvPr/>
              </p:nvSpPr>
              <p:spPr>
                <a:xfrm>
                  <a:off x="6084093" y="34298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26" name="Freeform: Shape 2825">
                  <a:extLst>
                    <a:ext uri="{FF2B5EF4-FFF2-40B4-BE49-F238E27FC236}">
                      <a16:creationId xmlns:a16="http://schemas.microsoft.com/office/drawing/2014/main" id="{D52957B1-9A53-73C9-0B08-3B7D127DB0F1}"/>
                    </a:ext>
                  </a:extLst>
                </p:cNvPr>
                <p:cNvSpPr/>
                <p:nvPr/>
              </p:nvSpPr>
              <p:spPr>
                <a:xfrm>
                  <a:off x="6053137" y="34617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4" name="Graphic 1443">
                <a:extLst>
                  <a:ext uri="{FF2B5EF4-FFF2-40B4-BE49-F238E27FC236}">
                    <a16:creationId xmlns:a16="http://schemas.microsoft.com/office/drawing/2014/main" id="{8CEAF7E5-766E-BDB3-FB72-594765E0A249}"/>
                  </a:ext>
                </a:extLst>
              </p:cNvPr>
              <p:cNvGrpSpPr/>
              <p:nvPr/>
            </p:nvGrpSpPr>
            <p:grpSpPr>
              <a:xfrm>
                <a:off x="6037326" y="3421474"/>
                <a:ext cx="61817" cy="63627"/>
                <a:chOff x="6037326" y="3421474"/>
                <a:chExt cx="61817" cy="63627"/>
              </a:xfrm>
            </p:grpSpPr>
            <p:sp>
              <p:nvSpPr>
                <p:cNvPr id="2823" name="Freeform: Shape 2822">
                  <a:extLst>
                    <a:ext uri="{FF2B5EF4-FFF2-40B4-BE49-F238E27FC236}">
                      <a16:creationId xmlns:a16="http://schemas.microsoft.com/office/drawing/2014/main" id="{153E7DCA-C00F-491B-85B4-55FCCAFA5649}"/>
                    </a:ext>
                  </a:extLst>
                </p:cNvPr>
                <p:cNvSpPr/>
                <p:nvPr/>
              </p:nvSpPr>
              <p:spPr>
                <a:xfrm>
                  <a:off x="6068187" y="34214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24" name="Freeform: Shape 2823">
                  <a:extLst>
                    <a:ext uri="{FF2B5EF4-FFF2-40B4-BE49-F238E27FC236}">
                      <a16:creationId xmlns:a16="http://schemas.microsoft.com/office/drawing/2014/main" id="{5DAF4A39-0A75-FC13-CA4F-E60BBBBA4D3A}"/>
                    </a:ext>
                  </a:extLst>
                </p:cNvPr>
                <p:cNvSpPr/>
                <p:nvPr/>
              </p:nvSpPr>
              <p:spPr>
                <a:xfrm>
                  <a:off x="6037326" y="34532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5" name="Graphic 1443">
                <a:extLst>
                  <a:ext uri="{FF2B5EF4-FFF2-40B4-BE49-F238E27FC236}">
                    <a16:creationId xmlns:a16="http://schemas.microsoft.com/office/drawing/2014/main" id="{4A133B58-5EA2-AEA2-0D4E-9A73502BAA39}"/>
                  </a:ext>
                </a:extLst>
              </p:cNvPr>
              <p:cNvGrpSpPr/>
              <p:nvPr/>
            </p:nvGrpSpPr>
            <p:grpSpPr>
              <a:xfrm>
                <a:off x="6015228" y="3416426"/>
                <a:ext cx="61817" cy="63626"/>
                <a:chOff x="6015228" y="3416426"/>
                <a:chExt cx="61817" cy="63626"/>
              </a:xfrm>
            </p:grpSpPr>
            <p:sp>
              <p:nvSpPr>
                <p:cNvPr id="2821" name="Freeform: Shape 2820">
                  <a:extLst>
                    <a:ext uri="{FF2B5EF4-FFF2-40B4-BE49-F238E27FC236}">
                      <a16:creationId xmlns:a16="http://schemas.microsoft.com/office/drawing/2014/main" id="{62295389-20CB-902D-A62A-2DFFC2707BEF}"/>
                    </a:ext>
                  </a:extLst>
                </p:cNvPr>
                <p:cNvSpPr/>
                <p:nvPr/>
              </p:nvSpPr>
              <p:spPr>
                <a:xfrm>
                  <a:off x="6046089" y="3416426"/>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22" name="Freeform: Shape 2821">
                  <a:extLst>
                    <a:ext uri="{FF2B5EF4-FFF2-40B4-BE49-F238E27FC236}">
                      <a16:creationId xmlns:a16="http://schemas.microsoft.com/office/drawing/2014/main" id="{96484F22-43E1-D20A-677B-C79260EC13DB}"/>
                    </a:ext>
                  </a:extLst>
                </p:cNvPr>
                <p:cNvSpPr/>
                <p:nvPr/>
              </p:nvSpPr>
              <p:spPr>
                <a:xfrm>
                  <a:off x="6015228" y="34482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6" name="Graphic 1443">
                <a:extLst>
                  <a:ext uri="{FF2B5EF4-FFF2-40B4-BE49-F238E27FC236}">
                    <a16:creationId xmlns:a16="http://schemas.microsoft.com/office/drawing/2014/main" id="{DE0CDDE0-07F5-EB1C-B44C-25C0D7E70E44}"/>
                  </a:ext>
                </a:extLst>
              </p:cNvPr>
              <p:cNvGrpSpPr/>
              <p:nvPr/>
            </p:nvGrpSpPr>
            <p:grpSpPr>
              <a:xfrm>
                <a:off x="5997606" y="3398043"/>
                <a:ext cx="61817" cy="63722"/>
                <a:chOff x="5997606" y="3398043"/>
                <a:chExt cx="61817" cy="63722"/>
              </a:xfrm>
            </p:grpSpPr>
            <p:sp>
              <p:nvSpPr>
                <p:cNvPr id="2819" name="Freeform: Shape 2818">
                  <a:extLst>
                    <a:ext uri="{FF2B5EF4-FFF2-40B4-BE49-F238E27FC236}">
                      <a16:creationId xmlns:a16="http://schemas.microsoft.com/office/drawing/2014/main" id="{750DA7F2-AB31-CA64-32C0-F1A5EF3D848D}"/>
                    </a:ext>
                  </a:extLst>
                </p:cNvPr>
                <p:cNvSpPr/>
                <p:nvPr/>
              </p:nvSpPr>
              <p:spPr>
                <a:xfrm>
                  <a:off x="6028467"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20" name="Freeform: Shape 2819">
                  <a:extLst>
                    <a:ext uri="{FF2B5EF4-FFF2-40B4-BE49-F238E27FC236}">
                      <a16:creationId xmlns:a16="http://schemas.microsoft.com/office/drawing/2014/main" id="{DFCB7772-8E46-568C-6A4C-739EA9E62E82}"/>
                    </a:ext>
                  </a:extLst>
                </p:cNvPr>
                <p:cNvSpPr/>
                <p:nvPr/>
              </p:nvSpPr>
              <p:spPr>
                <a:xfrm>
                  <a:off x="5997606"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7" name="Graphic 1443">
                <a:extLst>
                  <a:ext uri="{FF2B5EF4-FFF2-40B4-BE49-F238E27FC236}">
                    <a16:creationId xmlns:a16="http://schemas.microsoft.com/office/drawing/2014/main" id="{4AC7B9F4-E81F-8FAA-41A3-3BAD2D5A0F6C}"/>
                  </a:ext>
                </a:extLst>
              </p:cNvPr>
              <p:cNvGrpSpPr/>
              <p:nvPr/>
            </p:nvGrpSpPr>
            <p:grpSpPr>
              <a:xfrm>
                <a:off x="5981033" y="3398043"/>
                <a:ext cx="61817" cy="63722"/>
                <a:chOff x="5981033" y="3398043"/>
                <a:chExt cx="61817" cy="63722"/>
              </a:xfrm>
            </p:grpSpPr>
            <p:sp>
              <p:nvSpPr>
                <p:cNvPr id="2817" name="Freeform: Shape 2816">
                  <a:extLst>
                    <a:ext uri="{FF2B5EF4-FFF2-40B4-BE49-F238E27FC236}">
                      <a16:creationId xmlns:a16="http://schemas.microsoft.com/office/drawing/2014/main" id="{E77875C5-5CC2-C786-75A1-775C76C037F4}"/>
                    </a:ext>
                  </a:extLst>
                </p:cNvPr>
                <p:cNvSpPr/>
                <p:nvPr/>
              </p:nvSpPr>
              <p:spPr>
                <a:xfrm>
                  <a:off x="6011894"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18" name="Freeform: Shape 2817">
                  <a:extLst>
                    <a:ext uri="{FF2B5EF4-FFF2-40B4-BE49-F238E27FC236}">
                      <a16:creationId xmlns:a16="http://schemas.microsoft.com/office/drawing/2014/main" id="{3105AF6B-C318-A865-9780-885EA892A87E}"/>
                    </a:ext>
                  </a:extLst>
                </p:cNvPr>
                <p:cNvSpPr/>
                <p:nvPr/>
              </p:nvSpPr>
              <p:spPr>
                <a:xfrm>
                  <a:off x="5981033"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8" name="Graphic 1443">
                <a:extLst>
                  <a:ext uri="{FF2B5EF4-FFF2-40B4-BE49-F238E27FC236}">
                    <a16:creationId xmlns:a16="http://schemas.microsoft.com/office/drawing/2014/main" id="{3814AD05-4DBD-5058-8512-66F0C2E89FF5}"/>
                  </a:ext>
                </a:extLst>
              </p:cNvPr>
              <p:cNvGrpSpPr/>
              <p:nvPr/>
            </p:nvGrpSpPr>
            <p:grpSpPr>
              <a:xfrm>
                <a:off x="5957220" y="3398043"/>
                <a:ext cx="61817" cy="63722"/>
                <a:chOff x="5957220" y="3398043"/>
                <a:chExt cx="61817" cy="63722"/>
              </a:xfrm>
            </p:grpSpPr>
            <p:sp>
              <p:nvSpPr>
                <p:cNvPr id="2815" name="Freeform: Shape 2814">
                  <a:extLst>
                    <a:ext uri="{FF2B5EF4-FFF2-40B4-BE49-F238E27FC236}">
                      <a16:creationId xmlns:a16="http://schemas.microsoft.com/office/drawing/2014/main" id="{B236A95D-F2E7-A916-DE6B-E6D0AA4FB2EA}"/>
                    </a:ext>
                  </a:extLst>
                </p:cNvPr>
                <p:cNvSpPr/>
                <p:nvPr/>
              </p:nvSpPr>
              <p:spPr>
                <a:xfrm>
                  <a:off x="5988081"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16" name="Freeform: Shape 2815">
                  <a:extLst>
                    <a:ext uri="{FF2B5EF4-FFF2-40B4-BE49-F238E27FC236}">
                      <a16:creationId xmlns:a16="http://schemas.microsoft.com/office/drawing/2014/main" id="{773E5913-0511-0D07-88AE-00CFD1C1158E}"/>
                    </a:ext>
                  </a:extLst>
                </p:cNvPr>
                <p:cNvSpPr/>
                <p:nvPr/>
              </p:nvSpPr>
              <p:spPr>
                <a:xfrm>
                  <a:off x="5957220"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29" name="Graphic 1443">
                <a:extLst>
                  <a:ext uri="{FF2B5EF4-FFF2-40B4-BE49-F238E27FC236}">
                    <a16:creationId xmlns:a16="http://schemas.microsoft.com/office/drawing/2014/main" id="{A7B4739B-BC3A-727E-3658-79FB169487D5}"/>
                  </a:ext>
                </a:extLst>
              </p:cNvPr>
              <p:cNvGrpSpPr/>
              <p:nvPr/>
            </p:nvGrpSpPr>
            <p:grpSpPr>
              <a:xfrm>
                <a:off x="5943981" y="3384517"/>
                <a:ext cx="61817" cy="63722"/>
                <a:chOff x="5943981" y="3384517"/>
                <a:chExt cx="61817" cy="63722"/>
              </a:xfrm>
            </p:grpSpPr>
            <p:sp>
              <p:nvSpPr>
                <p:cNvPr id="2813" name="Freeform: Shape 2812">
                  <a:extLst>
                    <a:ext uri="{FF2B5EF4-FFF2-40B4-BE49-F238E27FC236}">
                      <a16:creationId xmlns:a16="http://schemas.microsoft.com/office/drawing/2014/main" id="{71CB3163-242D-6F9A-FA14-31318FFB8645}"/>
                    </a:ext>
                  </a:extLst>
                </p:cNvPr>
                <p:cNvSpPr/>
                <p:nvPr/>
              </p:nvSpPr>
              <p:spPr>
                <a:xfrm>
                  <a:off x="5974842" y="338451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14" name="Freeform: Shape 2813">
                  <a:extLst>
                    <a:ext uri="{FF2B5EF4-FFF2-40B4-BE49-F238E27FC236}">
                      <a16:creationId xmlns:a16="http://schemas.microsoft.com/office/drawing/2014/main" id="{3F9772A2-8438-C468-D574-5A3F9510ABFB}"/>
                    </a:ext>
                  </a:extLst>
                </p:cNvPr>
                <p:cNvSpPr/>
                <p:nvPr/>
              </p:nvSpPr>
              <p:spPr>
                <a:xfrm>
                  <a:off x="5943981" y="341642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0" name="Graphic 1443">
                <a:extLst>
                  <a:ext uri="{FF2B5EF4-FFF2-40B4-BE49-F238E27FC236}">
                    <a16:creationId xmlns:a16="http://schemas.microsoft.com/office/drawing/2014/main" id="{F33AEB14-1E11-09F5-CBD3-7149C690B7B1}"/>
                  </a:ext>
                </a:extLst>
              </p:cNvPr>
              <p:cNvGrpSpPr/>
              <p:nvPr/>
            </p:nvGrpSpPr>
            <p:grpSpPr>
              <a:xfrm>
                <a:off x="5834062" y="3352704"/>
                <a:ext cx="61817" cy="63722"/>
                <a:chOff x="5834062" y="3352704"/>
                <a:chExt cx="61817" cy="63722"/>
              </a:xfrm>
            </p:grpSpPr>
            <p:sp>
              <p:nvSpPr>
                <p:cNvPr id="2811" name="Freeform: Shape 2810">
                  <a:extLst>
                    <a:ext uri="{FF2B5EF4-FFF2-40B4-BE49-F238E27FC236}">
                      <a16:creationId xmlns:a16="http://schemas.microsoft.com/office/drawing/2014/main" id="{15446147-75B0-48F5-3370-BC636AE865F0}"/>
                    </a:ext>
                  </a:extLst>
                </p:cNvPr>
                <p:cNvSpPr/>
                <p:nvPr/>
              </p:nvSpPr>
              <p:spPr>
                <a:xfrm>
                  <a:off x="5864923"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12" name="Freeform: Shape 2811">
                  <a:extLst>
                    <a:ext uri="{FF2B5EF4-FFF2-40B4-BE49-F238E27FC236}">
                      <a16:creationId xmlns:a16="http://schemas.microsoft.com/office/drawing/2014/main" id="{C971110E-2501-F772-87C5-5245A9A9F0F9}"/>
                    </a:ext>
                  </a:extLst>
                </p:cNvPr>
                <p:cNvSpPr/>
                <p:nvPr/>
              </p:nvSpPr>
              <p:spPr>
                <a:xfrm>
                  <a:off x="5834062"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1" name="Graphic 1443">
                <a:extLst>
                  <a:ext uri="{FF2B5EF4-FFF2-40B4-BE49-F238E27FC236}">
                    <a16:creationId xmlns:a16="http://schemas.microsoft.com/office/drawing/2014/main" id="{4DF0264A-5068-FBA0-AF24-716396EEA4AC}"/>
                  </a:ext>
                </a:extLst>
              </p:cNvPr>
              <p:cNvGrpSpPr/>
              <p:nvPr/>
            </p:nvGrpSpPr>
            <p:grpSpPr>
              <a:xfrm>
                <a:off x="5803106" y="3352704"/>
                <a:ext cx="61817" cy="63722"/>
                <a:chOff x="5803106" y="3352704"/>
                <a:chExt cx="61817" cy="63722"/>
              </a:xfrm>
            </p:grpSpPr>
            <p:sp>
              <p:nvSpPr>
                <p:cNvPr id="2809" name="Freeform: Shape 2808">
                  <a:extLst>
                    <a:ext uri="{FF2B5EF4-FFF2-40B4-BE49-F238E27FC236}">
                      <a16:creationId xmlns:a16="http://schemas.microsoft.com/office/drawing/2014/main" id="{6E78B2C5-7FCD-C174-E0DB-663DC02BFF80}"/>
                    </a:ext>
                  </a:extLst>
                </p:cNvPr>
                <p:cNvSpPr/>
                <p:nvPr/>
              </p:nvSpPr>
              <p:spPr>
                <a:xfrm>
                  <a:off x="5834062"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10" name="Freeform: Shape 2809">
                  <a:extLst>
                    <a:ext uri="{FF2B5EF4-FFF2-40B4-BE49-F238E27FC236}">
                      <a16:creationId xmlns:a16="http://schemas.microsoft.com/office/drawing/2014/main" id="{5CA88276-BD41-251E-64E0-27FBFF61C34F}"/>
                    </a:ext>
                  </a:extLst>
                </p:cNvPr>
                <p:cNvSpPr/>
                <p:nvPr/>
              </p:nvSpPr>
              <p:spPr>
                <a:xfrm>
                  <a:off x="5803106"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2" name="Graphic 1443">
                <a:extLst>
                  <a:ext uri="{FF2B5EF4-FFF2-40B4-BE49-F238E27FC236}">
                    <a16:creationId xmlns:a16="http://schemas.microsoft.com/office/drawing/2014/main" id="{3FA898F0-8452-0E77-953D-50E67371CC20}"/>
                  </a:ext>
                </a:extLst>
              </p:cNvPr>
              <p:cNvGrpSpPr/>
              <p:nvPr/>
            </p:nvGrpSpPr>
            <p:grpSpPr>
              <a:xfrm>
                <a:off x="5775674" y="3352704"/>
                <a:ext cx="61817" cy="63722"/>
                <a:chOff x="5775674" y="3352704"/>
                <a:chExt cx="61817" cy="63722"/>
              </a:xfrm>
            </p:grpSpPr>
            <p:sp>
              <p:nvSpPr>
                <p:cNvPr id="2807" name="Freeform: Shape 2806">
                  <a:extLst>
                    <a:ext uri="{FF2B5EF4-FFF2-40B4-BE49-F238E27FC236}">
                      <a16:creationId xmlns:a16="http://schemas.microsoft.com/office/drawing/2014/main" id="{A61A2888-F38A-CB65-97B5-93D4048A826B}"/>
                    </a:ext>
                  </a:extLst>
                </p:cNvPr>
                <p:cNvSpPr/>
                <p:nvPr/>
              </p:nvSpPr>
              <p:spPr>
                <a:xfrm>
                  <a:off x="5806630"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08" name="Freeform: Shape 2807">
                  <a:extLst>
                    <a:ext uri="{FF2B5EF4-FFF2-40B4-BE49-F238E27FC236}">
                      <a16:creationId xmlns:a16="http://schemas.microsoft.com/office/drawing/2014/main" id="{0F74FEFF-8A0E-5DF1-1286-B7A969F9BEF5}"/>
                    </a:ext>
                  </a:extLst>
                </p:cNvPr>
                <p:cNvSpPr/>
                <p:nvPr/>
              </p:nvSpPr>
              <p:spPr>
                <a:xfrm>
                  <a:off x="5775674"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3" name="Graphic 1443">
                <a:extLst>
                  <a:ext uri="{FF2B5EF4-FFF2-40B4-BE49-F238E27FC236}">
                    <a16:creationId xmlns:a16="http://schemas.microsoft.com/office/drawing/2014/main" id="{C8F5A753-F20F-65C6-5C52-5227B1FF7903}"/>
                  </a:ext>
                </a:extLst>
              </p:cNvPr>
              <p:cNvGrpSpPr/>
              <p:nvPr/>
            </p:nvGrpSpPr>
            <p:grpSpPr>
              <a:xfrm>
                <a:off x="5764244" y="3346513"/>
                <a:ext cx="61817" cy="63722"/>
                <a:chOff x="5764244" y="3346513"/>
                <a:chExt cx="61817" cy="63722"/>
              </a:xfrm>
            </p:grpSpPr>
            <p:sp>
              <p:nvSpPr>
                <p:cNvPr id="2805" name="Freeform: Shape 2804">
                  <a:extLst>
                    <a:ext uri="{FF2B5EF4-FFF2-40B4-BE49-F238E27FC236}">
                      <a16:creationId xmlns:a16="http://schemas.microsoft.com/office/drawing/2014/main" id="{8DA65E26-EF93-C425-D8CA-C4E9B80A804A}"/>
                    </a:ext>
                  </a:extLst>
                </p:cNvPr>
                <p:cNvSpPr/>
                <p:nvPr/>
              </p:nvSpPr>
              <p:spPr>
                <a:xfrm>
                  <a:off x="5795200" y="334651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06" name="Freeform: Shape 2805">
                  <a:extLst>
                    <a:ext uri="{FF2B5EF4-FFF2-40B4-BE49-F238E27FC236}">
                      <a16:creationId xmlns:a16="http://schemas.microsoft.com/office/drawing/2014/main" id="{6D8BD0E6-6A26-6F11-1521-6DCAC2523710}"/>
                    </a:ext>
                  </a:extLst>
                </p:cNvPr>
                <p:cNvSpPr/>
                <p:nvPr/>
              </p:nvSpPr>
              <p:spPr>
                <a:xfrm>
                  <a:off x="5764244" y="33784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4" name="Graphic 1443">
                <a:extLst>
                  <a:ext uri="{FF2B5EF4-FFF2-40B4-BE49-F238E27FC236}">
                    <a16:creationId xmlns:a16="http://schemas.microsoft.com/office/drawing/2014/main" id="{43EB62D6-C999-4555-2458-1F4D78E0C245}"/>
                  </a:ext>
                </a:extLst>
              </p:cNvPr>
              <p:cNvGrpSpPr/>
              <p:nvPr/>
            </p:nvGrpSpPr>
            <p:grpSpPr>
              <a:xfrm>
                <a:off x="5702427" y="3304031"/>
                <a:ext cx="61817" cy="63722"/>
                <a:chOff x="5702427" y="3304031"/>
                <a:chExt cx="61817" cy="63722"/>
              </a:xfrm>
            </p:grpSpPr>
            <p:sp>
              <p:nvSpPr>
                <p:cNvPr id="2803" name="Freeform: Shape 2802">
                  <a:extLst>
                    <a:ext uri="{FF2B5EF4-FFF2-40B4-BE49-F238E27FC236}">
                      <a16:creationId xmlns:a16="http://schemas.microsoft.com/office/drawing/2014/main" id="{2BD9B234-EF2A-F159-B7DA-56ACC87391E3}"/>
                    </a:ext>
                  </a:extLst>
                </p:cNvPr>
                <p:cNvSpPr/>
                <p:nvPr/>
              </p:nvSpPr>
              <p:spPr>
                <a:xfrm>
                  <a:off x="5733383"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04" name="Freeform: Shape 2803">
                  <a:extLst>
                    <a:ext uri="{FF2B5EF4-FFF2-40B4-BE49-F238E27FC236}">
                      <a16:creationId xmlns:a16="http://schemas.microsoft.com/office/drawing/2014/main" id="{87EC5A7E-4F50-FB18-BF32-0B55582E1AFC}"/>
                    </a:ext>
                  </a:extLst>
                </p:cNvPr>
                <p:cNvSpPr/>
                <p:nvPr/>
              </p:nvSpPr>
              <p:spPr>
                <a:xfrm>
                  <a:off x="5702427"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5" name="Graphic 1443">
                <a:extLst>
                  <a:ext uri="{FF2B5EF4-FFF2-40B4-BE49-F238E27FC236}">
                    <a16:creationId xmlns:a16="http://schemas.microsoft.com/office/drawing/2014/main" id="{3EFFB607-BBD4-4942-45D9-636739BB609A}"/>
                  </a:ext>
                </a:extLst>
              </p:cNvPr>
              <p:cNvGrpSpPr/>
              <p:nvPr/>
            </p:nvGrpSpPr>
            <p:grpSpPr>
              <a:xfrm>
                <a:off x="5684234" y="3304031"/>
                <a:ext cx="61817" cy="63722"/>
                <a:chOff x="5684234" y="3304031"/>
                <a:chExt cx="61817" cy="63722"/>
              </a:xfrm>
            </p:grpSpPr>
            <p:sp>
              <p:nvSpPr>
                <p:cNvPr id="2801" name="Freeform: Shape 2800">
                  <a:extLst>
                    <a:ext uri="{FF2B5EF4-FFF2-40B4-BE49-F238E27FC236}">
                      <a16:creationId xmlns:a16="http://schemas.microsoft.com/office/drawing/2014/main" id="{3E29EF39-93B8-9E1C-C9F0-2DEC41ADA38B}"/>
                    </a:ext>
                  </a:extLst>
                </p:cNvPr>
                <p:cNvSpPr/>
                <p:nvPr/>
              </p:nvSpPr>
              <p:spPr>
                <a:xfrm>
                  <a:off x="571509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02" name="Freeform: Shape 2801">
                  <a:extLst>
                    <a:ext uri="{FF2B5EF4-FFF2-40B4-BE49-F238E27FC236}">
                      <a16:creationId xmlns:a16="http://schemas.microsoft.com/office/drawing/2014/main" id="{AF094BDA-079C-DD9F-68EE-7118F4CC2BD7}"/>
                    </a:ext>
                  </a:extLst>
                </p:cNvPr>
                <p:cNvSpPr/>
                <p:nvPr/>
              </p:nvSpPr>
              <p:spPr>
                <a:xfrm>
                  <a:off x="568423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6" name="Graphic 1443">
                <a:extLst>
                  <a:ext uri="{FF2B5EF4-FFF2-40B4-BE49-F238E27FC236}">
                    <a16:creationId xmlns:a16="http://schemas.microsoft.com/office/drawing/2014/main" id="{E6C38330-131D-BEE5-7F2C-469435D59112}"/>
                  </a:ext>
                </a:extLst>
              </p:cNvPr>
              <p:cNvGrpSpPr/>
              <p:nvPr/>
            </p:nvGrpSpPr>
            <p:grpSpPr>
              <a:xfrm>
                <a:off x="5655564" y="3304031"/>
                <a:ext cx="61817" cy="63722"/>
                <a:chOff x="5655564" y="3304031"/>
                <a:chExt cx="61817" cy="63722"/>
              </a:xfrm>
            </p:grpSpPr>
            <p:sp>
              <p:nvSpPr>
                <p:cNvPr id="2799" name="Freeform: Shape 2798">
                  <a:extLst>
                    <a:ext uri="{FF2B5EF4-FFF2-40B4-BE49-F238E27FC236}">
                      <a16:creationId xmlns:a16="http://schemas.microsoft.com/office/drawing/2014/main" id="{FF3D688A-D9DC-E0D6-4776-7675195C9869}"/>
                    </a:ext>
                  </a:extLst>
                </p:cNvPr>
                <p:cNvSpPr/>
                <p:nvPr/>
              </p:nvSpPr>
              <p:spPr>
                <a:xfrm>
                  <a:off x="568642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00" name="Freeform: Shape 2799">
                  <a:extLst>
                    <a:ext uri="{FF2B5EF4-FFF2-40B4-BE49-F238E27FC236}">
                      <a16:creationId xmlns:a16="http://schemas.microsoft.com/office/drawing/2014/main" id="{3AB0D4CC-C26E-4E2E-1B85-02594EFD933B}"/>
                    </a:ext>
                  </a:extLst>
                </p:cNvPr>
                <p:cNvSpPr/>
                <p:nvPr/>
              </p:nvSpPr>
              <p:spPr>
                <a:xfrm>
                  <a:off x="565556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7" name="Graphic 1443">
                <a:extLst>
                  <a:ext uri="{FF2B5EF4-FFF2-40B4-BE49-F238E27FC236}">
                    <a16:creationId xmlns:a16="http://schemas.microsoft.com/office/drawing/2014/main" id="{825CA40A-626A-A58F-CEEF-B9A01A1D4800}"/>
                  </a:ext>
                </a:extLst>
              </p:cNvPr>
              <p:cNvGrpSpPr/>
              <p:nvPr/>
            </p:nvGrpSpPr>
            <p:grpSpPr>
              <a:xfrm>
                <a:off x="5591460" y="3304031"/>
                <a:ext cx="61817" cy="63722"/>
                <a:chOff x="5591460" y="3304031"/>
                <a:chExt cx="61817" cy="63722"/>
              </a:xfrm>
            </p:grpSpPr>
            <p:sp>
              <p:nvSpPr>
                <p:cNvPr id="2797" name="Freeform: Shape 2796">
                  <a:extLst>
                    <a:ext uri="{FF2B5EF4-FFF2-40B4-BE49-F238E27FC236}">
                      <a16:creationId xmlns:a16="http://schemas.microsoft.com/office/drawing/2014/main" id="{001FA857-B7A3-2359-5398-FF8BCA9EF909}"/>
                    </a:ext>
                  </a:extLst>
                </p:cNvPr>
                <p:cNvSpPr/>
                <p:nvPr/>
              </p:nvSpPr>
              <p:spPr>
                <a:xfrm>
                  <a:off x="5622417"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98" name="Freeform: Shape 2797">
                  <a:extLst>
                    <a:ext uri="{FF2B5EF4-FFF2-40B4-BE49-F238E27FC236}">
                      <a16:creationId xmlns:a16="http://schemas.microsoft.com/office/drawing/2014/main" id="{F1231B03-C7EC-CF7E-48C0-820ECF6758A7}"/>
                    </a:ext>
                  </a:extLst>
                </p:cNvPr>
                <p:cNvSpPr/>
                <p:nvPr/>
              </p:nvSpPr>
              <p:spPr>
                <a:xfrm>
                  <a:off x="5591460"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8" name="Graphic 1443">
                <a:extLst>
                  <a:ext uri="{FF2B5EF4-FFF2-40B4-BE49-F238E27FC236}">
                    <a16:creationId xmlns:a16="http://schemas.microsoft.com/office/drawing/2014/main" id="{EAE03FA4-1863-D472-8EF4-5AE293876DB2}"/>
                  </a:ext>
                </a:extLst>
              </p:cNvPr>
              <p:cNvGrpSpPr/>
              <p:nvPr/>
            </p:nvGrpSpPr>
            <p:grpSpPr>
              <a:xfrm>
                <a:off x="5538882" y="3294030"/>
                <a:ext cx="61817" cy="63722"/>
                <a:chOff x="5538882" y="3294030"/>
                <a:chExt cx="61817" cy="63722"/>
              </a:xfrm>
            </p:grpSpPr>
            <p:sp>
              <p:nvSpPr>
                <p:cNvPr id="2795" name="Freeform: Shape 2794">
                  <a:extLst>
                    <a:ext uri="{FF2B5EF4-FFF2-40B4-BE49-F238E27FC236}">
                      <a16:creationId xmlns:a16="http://schemas.microsoft.com/office/drawing/2014/main" id="{F8844BD6-4C17-38CA-E31A-3A42819DD0CD}"/>
                    </a:ext>
                  </a:extLst>
                </p:cNvPr>
                <p:cNvSpPr/>
                <p:nvPr/>
              </p:nvSpPr>
              <p:spPr>
                <a:xfrm>
                  <a:off x="5569743"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96" name="Freeform: Shape 2795">
                  <a:extLst>
                    <a:ext uri="{FF2B5EF4-FFF2-40B4-BE49-F238E27FC236}">
                      <a16:creationId xmlns:a16="http://schemas.microsoft.com/office/drawing/2014/main" id="{F6DFB03C-280B-51DE-6CEA-C998954E4028}"/>
                    </a:ext>
                  </a:extLst>
                </p:cNvPr>
                <p:cNvSpPr/>
                <p:nvPr/>
              </p:nvSpPr>
              <p:spPr>
                <a:xfrm>
                  <a:off x="5538882"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39" name="Graphic 1443">
                <a:extLst>
                  <a:ext uri="{FF2B5EF4-FFF2-40B4-BE49-F238E27FC236}">
                    <a16:creationId xmlns:a16="http://schemas.microsoft.com/office/drawing/2014/main" id="{91DCFD51-6F21-A155-80CC-5C20D8FB4407}"/>
                  </a:ext>
                </a:extLst>
              </p:cNvPr>
              <p:cNvGrpSpPr/>
              <p:nvPr/>
            </p:nvGrpSpPr>
            <p:grpSpPr>
              <a:xfrm>
                <a:off x="5552789" y="3294030"/>
                <a:ext cx="61817" cy="63722"/>
                <a:chOff x="5552789" y="3294030"/>
                <a:chExt cx="61817" cy="63722"/>
              </a:xfrm>
            </p:grpSpPr>
            <p:sp>
              <p:nvSpPr>
                <p:cNvPr id="2793" name="Freeform: Shape 2792">
                  <a:extLst>
                    <a:ext uri="{FF2B5EF4-FFF2-40B4-BE49-F238E27FC236}">
                      <a16:creationId xmlns:a16="http://schemas.microsoft.com/office/drawing/2014/main" id="{6BE7A18D-4E74-603C-3D35-8126D87B2F38}"/>
                    </a:ext>
                  </a:extLst>
                </p:cNvPr>
                <p:cNvSpPr/>
                <p:nvPr/>
              </p:nvSpPr>
              <p:spPr>
                <a:xfrm>
                  <a:off x="558365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94" name="Freeform: Shape 2793">
                  <a:extLst>
                    <a:ext uri="{FF2B5EF4-FFF2-40B4-BE49-F238E27FC236}">
                      <a16:creationId xmlns:a16="http://schemas.microsoft.com/office/drawing/2014/main" id="{67C1019A-AC32-DEBA-CA95-D347A8DA5959}"/>
                    </a:ext>
                  </a:extLst>
                </p:cNvPr>
                <p:cNvSpPr/>
                <p:nvPr/>
              </p:nvSpPr>
              <p:spPr>
                <a:xfrm>
                  <a:off x="5552789"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0" name="Graphic 1443">
                <a:extLst>
                  <a:ext uri="{FF2B5EF4-FFF2-40B4-BE49-F238E27FC236}">
                    <a16:creationId xmlns:a16="http://schemas.microsoft.com/office/drawing/2014/main" id="{0C7792D7-9607-3544-A0D7-2142518A158E}"/>
                  </a:ext>
                </a:extLst>
              </p:cNvPr>
              <p:cNvGrpSpPr/>
              <p:nvPr/>
            </p:nvGrpSpPr>
            <p:grpSpPr>
              <a:xfrm>
                <a:off x="5569743" y="3294030"/>
                <a:ext cx="61817" cy="63722"/>
                <a:chOff x="5569743" y="3294030"/>
                <a:chExt cx="61817" cy="63722"/>
              </a:xfrm>
            </p:grpSpPr>
            <p:sp>
              <p:nvSpPr>
                <p:cNvPr id="2791" name="Freeform: Shape 2790">
                  <a:extLst>
                    <a:ext uri="{FF2B5EF4-FFF2-40B4-BE49-F238E27FC236}">
                      <a16:creationId xmlns:a16="http://schemas.microsoft.com/office/drawing/2014/main" id="{21291051-51AA-5644-ACD2-F3CF894D6F93}"/>
                    </a:ext>
                  </a:extLst>
                </p:cNvPr>
                <p:cNvSpPr/>
                <p:nvPr/>
              </p:nvSpPr>
              <p:spPr>
                <a:xfrm>
                  <a:off x="560070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92" name="Freeform: Shape 2791">
                  <a:extLst>
                    <a:ext uri="{FF2B5EF4-FFF2-40B4-BE49-F238E27FC236}">
                      <a16:creationId xmlns:a16="http://schemas.microsoft.com/office/drawing/2014/main" id="{D427C399-B704-0965-7B12-8A36B950F36A}"/>
                    </a:ext>
                  </a:extLst>
                </p:cNvPr>
                <p:cNvSpPr/>
                <p:nvPr/>
              </p:nvSpPr>
              <p:spPr>
                <a:xfrm>
                  <a:off x="5569743"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1" name="Graphic 1443">
                <a:extLst>
                  <a:ext uri="{FF2B5EF4-FFF2-40B4-BE49-F238E27FC236}">
                    <a16:creationId xmlns:a16="http://schemas.microsoft.com/office/drawing/2014/main" id="{E7B45454-7624-6B5B-D60D-EFA3AD4BB1D1}"/>
                  </a:ext>
                </a:extLst>
              </p:cNvPr>
              <p:cNvGrpSpPr/>
              <p:nvPr/>
            </p:nvGrpSpPr>
            <p:grpSpPr>
              <a:xfrm>
                <a:off x="5519547" y="3269455"/>
                <a:ext cx="61817" cy="63722"/>
                <a:chOff x="5519547" y="3269455"/>
                <a:chExt cx="61817" cy="63722"/>
              </a:xfrm>
            </p:grpSpPr>
            <p:sp>
              <p:nvSpPr>
                <p:cNvPr id="2789" name="Freeform: Shape 2788">
                  <a:extLst>
                    <a:ext uri="{FF2B5EF4-FFF2-40B4-BE49-F238E27FC236}">
                      <a16:creationId xmlns:a16="http://schemas.microsoft.com/office/drawing/2014/main" id="{7A68E63E-FAAF-AE8B-A51F-F0FCB8D3E213}"/>
                    </a:ext>
                  </a:extLst>
                </p:cNvPr>
                <p:cNvSpPr/>
                <p:nvPr/>
              </p:nvSpPr>
              <p:spPr>
                <a:xfrm>
                  <a:off x="5550408"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90" name="Freeform: Shape 2789">
                  <a:extLst>
                    <a:ext uri="{FF2B5EF4-FFF2-40B4-BE49-F238E27FC236}">
                      <a16:creationId xmlns:a16="http://schemas.microsoft.com/office/drawing/2014/main" id="{2C5CE990-3A91-DE7F-B6B2-5AF3C761D7FB}"/>
                    </a:ext>
                  </a:extLst>
                </p:cNvPr>
                <p:cNvSpPr/>
                <p:nvPr/>
              </p:nvSpPr>
              <p:spPr>
                <a:xfrm>
                  <a:off x="5519547"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2" name="Graphic 1443">
                <a:extLst>
                  <a:ext uri="{FF2B5EF4-FFF2-40B4-BE49-F238E27FC236}">
                    <a16:creationId xmlns:a16="http://schemas.microsoft.com/office/drawing/2014/main" id="{36B7E59B-A892-F309-7C4A-A109FE834A19}"/>
                  </a:ext>
                </a:extLst>
              </p:cNvPr>
              <p:cNvGrpSpPr/>
              <p:nvPr/>
            </p:nvGrpSpPr>
            <p:grpSpPr>
              <a:xfrm>
                <a:off x="5493162" y="3269455"/>
                <a:ext cx="61817" cy="63722"/>
                <a:chOff x="5493162" y="3269455"/>
                <a:chExt cx="61817" cy="63722"/>
              </a:xfrm>
            </p:grpSpPr>
            <p:sp>
              <p:nvSpPr>
                <p:cNvPr id="2787" name="Freeform: Shape 2786">
                  <a:extLst>
                    <a:ext uri="{FF2B5EF4-FFF2-40B4-BE49-F238E27FC236}">
                      <a16:creationId xmlns:a16="http://schemas.microsoft.com/office/drawing/2014/main" id="{1977D749-AB19-A2E8-4FFB-973887664F3D}"/>
                    </a:ext>
                  </a:extLst>
                </p:cNvPr>
                <p:cNvSpPr/>
                <p:nvPr/>
              </p:nvSpPr>
              <p:spPr>
                <a:xfrm>
                  <a:off x="552411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88" name="Freeform: Shape 2787">
                  <a:extLst>
                    <a:ext uri="{FF2B5EF4-FFF2-40B4-BE49-F238E27FC236}">
                      <a16:creationId xmlns:a16="http://schemas.microsoft.com/office/drawing/2014/main" id="{307315BF-6843-C53D-B9E7-3370E8251A91}"/>
                    </a:ext>
                  </a:extLst>
                </p:cNvPr>
                <p:cNvSpPr/>
                <p:nvPr/>
              </p:nvSpPr>
              <p:spPr>
                <a:xfrm>
                  <a:off x="5493162"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3" name="Graphic 1443">
                <a:extLst>
                  <a:ext uri="{FF2B5EF4-FFF2-40B4-BE49-F238E27FC236}">
                    <a16:creationId xmlns:a16="http://schemas.microsoft.com/office/drawing/2014/main" id="{CD8A6BF2-12E6-E4BD-0602-3716DEC5FB72}"/>
                  </a:ext>
                </a:extLst>
              </p:cNvPr>
              <p:cNvGrpSpPr/>
              <p:nvPr/>
            </p:nvGrpSpPr>
            <p:grpSpPr>
              <a:xfrm>
                <a:off x="5483733" y="3269455"/>
                <a:ext cx="61817" cy="63722"/>
                <a:chOff x="5483733" y="3269455"/>
                <a:chExt cx="61817" cy="63722"/>
              </a:xfrm>
            </p:grpSpPr>
            <p:sp>
              <p:nvSpPr>
                <p:cNvPr id="2785" name="Freeform: Shape 2784">
                  <a:extLst>
                    <a:ext uri="{FF2B5EF4-FFF2-40B4-BE49-F238E27FC236}">
                      <a16:creationId xmlns:a16="http://schemas.microsoft.com/office/drawing/2014/main" id="{A02AD9D4-B9FA-7828-6A8F-59AB068E6DED}"/>
                    </a:ext>
                  </a:extLst>
                </p:cNvPr>
                <p:cNvSpPr/>
                <p:nvPr/>
              </p:nvSpPr>
              <p:spPr>
                <a:xfrm>
                  <a:off x="551468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86" name="Freeform: Shape 2785">
                  <a:extLst>
                    <a:ext uri="{FF2B5EF4-FFF2-40B4-BE49-F238E27FC236}">
                      <a16:creationId xmlns:a16="http://schemas.microsoft.com/office/drawing/2014/main" id="{CC91278B-7915-EFE3-C865-DE5E0E0C2042}"/>
                    </a:ext>
                  </a:extLst>
                </p:cNvPr>
                <p:cNvSpPr/>
                <p:nvPr/>
              </p:nvSpPr>
              <p:spPr>
                <a:xfrm>
                  <a:off x="5483733"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4" name="Graphic 1443">
                <a:extLst>
                  <a:ext uri="{FF2B5EF4-FFF2-40B4-BE49-F238E27FC236}">
                    <a16:creationId xmlns:a16="http://schemas.microsoft.com/office/drawing/2014/main" id="{3CA16663-6CD1-E7E0-2BFD-61A93A5FCA56}"/>
                  </a:ext>
                </a:extLst>
              </p:cNvPr>
              <p:cNvGrpSpPr/>
              <p:nvPr/>
            </p:nvGrpSpPr>
            <p:grpSpPr>
              <a:xfrm>
                <a:off x="5457729" y="3269455"/>
                <a:ext cx="61817" cy="63722"/>
                <a:chOff x="5457729" y="3269455"/>
                <a:chExt cx="61817" cy="63722"/>
              </a:xfrm>
            </p:grpSpPr>
            <p:sp>
              <p:nvSpPr>
                <p:cNvPr id="2783" name="Freeform: Shape 2782">
                  <a:extLst>
                    <a:ext uri="{FF2B5EF4-FFF2-40B4-BE49-F238E27FC236}">
                      <a16:creationId xmlns:a16="http://schemas.microsoft.com/office/drawing/2014/main" id="{DFE94DCB-CCEB-A0DE-71EE-12CD1196D758}"/>
                    </a:ext>
                  </a:extLst>
                </p:cNvPr>
                <p:cNvSpPr/>
                <p:nvPr/>
              </p:nvSpPr>
              <p:spPr>
                <a:xfrm>
                  <a:off x="548859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84" name="Freeform: Shape 2783">
                  <a:extLst>
                    <a:ext uri="{FF2B5EF4-FFF2-40B4-BE49-F238E27FC236}">
                      <a16:creationId xmlns:a16="http://schemas.microsoft.com/office/drawing/2014/main" id="{FBD94124-CA75-F320-8A89-35A3B77930A5}"/>
                    </a:ext>
                  </a:extLst>
                </p:cNvPr>
                <p:cNvSpPr/>
                <p:nvPr/>
              </p:nvSpPr>
              <p:spPr>
                <a:xfrm>
                  <a:off x="5457729"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5" name="Graphic 1443">
                <a:extLst>
                  <a:ext uri="{FF2B5EF4-FFF2-40B4-BE49-F238E27FC236}">
                    <a16:creationId xmlns:a16="http://schemas.microsoft.com/office/drawing/2014/main" id="{FF7BCB1A-42BF-46BD-C45D-9A5F2093B1BC}"/>
                  </a:ext>
                </a:extLst>
              </p:cNvPr>
              <p:cNvGrpSpPr/>
              <p:nvPr/>
            </p:nvGrpSpPr>
            <p:grpSpPr>
              <a:xfrm>
                <a:off x="5436108" y="3269455"/>
                <a:ext cx="61817" cy="63722"/>
                <a:chOff x="5436108" y="3269455"/>
                <a:chExt cx="61817" cy="63722"/>
              </a:xfrm>
            </p:grpSpPr>
            <p:sp>
              <p:nvSpPr>
                <p:cNvPr id="2781" name="Freeform: Shape 2780">
                  <a:extLst>
                    <a:ext uri="{FF2B5EF4-FFF2-40B4-BE49-F238E27FC236}">
                      <a16:creationId xmlns:a16="http://schemas.microsoft.com/office/drawing/2014/main" id="{187AA97B-9AEC-F6AC-A9A8-760C832DB863}"/>
                    </a:ext>
                  </a:extLst>
                </p:cNvPr>
                <p:cNvSpPr/>
                <p:nvPr/>
              </p:nvSpPr>
              <p:spPr>
                <a:xfrm>
                  <a:off x="546696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82" name="Freeform: Shape 2781">
                  <a:extLst>
                    <a:ext uri="{FF2B5EF4-FFF2-40B4-BE49-F238E27FC236}">
                      <a16:creationId xmlns:a16="http://schemas.microsoft.com/office/drawing/2014/main" id="{F435D752-4DEA-724A-DBC1-F6EDE2969155}"/>
                    </a:ext>
                  </a:extLst>
                </p:cNvPr>
                <p:cNvSpPr/>
                <p:nvPr/>
              </p:nvSpPr>
              <p:spPr>
                <a:xfrm>
                  <a:off x="5436108"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6" name="Graphic 1443">
                <a:extLst>
                  <a:ext uri="{FF2B5EF4-FFF2-40B4-BE49-F238E27FC236}">
                    <a16:creationId xmlns:a16="http://schemas.microsoft.com/office/drawing/2014/main" id="{2A526B7A-566C-A486-B6ED-05FAAE86521B}"/>
                  </a:ext>
                </a:extLst>
              </p:cNvPr>
              <p:cNvGrpSpPr/>
              <p:nvPr/>
            </p:nvGrpSpPr>
            <p:grpSpPr>
              <a:xfrm>
                <a:off x="5415724" y="3269455"/>
                <a:ext cx="61817" cy="63722"/>
                <a:chOff x="5415724" y="3269455"/>
                <a:chExt cx="61817" cy="63722"/>
              </a:xfrm>
            </p:grpSpPr>
            <p:sp>
              <p:nvSpPr>
                <p:cNvPr id="2779" name="Freeform: Shape 2778">
                  <a:extLst>
                    <a:ext uri="{FF2B5EF4-FFF2-40B4-BE49-F238E27FC236}">
                      <a16:creationId xmlns:a16="http://schemas.microsoft.com/office/drawing/2014/main" id="{7D65119A-B5BC-BCA6-28B0-A5E698D44818}"/>
                    </a:ext>
                  </a:extLst>
                </p:cNvPr>
                <p:cNvSpPr/>
                <p:nvPr/>
              </p:nvSpPr>
              <p:spPr>
                <a:xfrm>
                  <a:off x="544668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80" name="Freeform: Shape 2779">
                  <a:extLst>
                    <a:ext uri="{FF2B5EF4-FFF2-40B4-BE49-F238E27FC236}">
                      <a16:creationId xmlns:a16="http://schemas.microsoft.com/office/drawing/2014/main" id="{FF7BFBA0-4214-DD77-07BA-ABED5508458D}"/>
                    </a:ext>
                  </a:extLst>
                </p:cNvPr>
                <p:cNvSpPr/>
                <p:nvPr/>
              </p:nvSpPr>
              <p:spPr>
                <a:xfrm>
                  <a:off x="5415724"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7" name="Graphic 1443">
                <a:extLst>
                  <a:ext uri="{FF2B5EF4-FFF2-40B4-BE49-F238E27FC236}">
                    <a16:creationId xmlns:a16="http://schemas.microsoft.com/office/drawing/2014/main" id="{12C6662D-3B04-05A0-EC32-BDAEB0ABA53C}"/>
                  </a:ext>
                </a:extLst>
              </p:cNvPr>
              <p:cNvGrpSpPr/>
              <p:nvPr/>
            </p:nvGrpSpPr>
            <p:grpSpPr>
              <a:xfrm>
                <a:off x="5393531" y="3259168"/>
                <a:ext cx="61817" cy="63627"/>
                <a:chOff x="5393531" y="3259168"/>
                <a:chExt cx="61817" cy="63627"/>
              </a:xfrm>
            </p:grpSpPr>
            <p:sp>
              <p:nvSpPr>
                <p:cNvPr id="2777" name="Freeform: Shape 2776">
                  <a:extLst>
                    <a:ext uri="{FF2B5EF4-FFF2-40B4-BE49-F238E27FC236}">
                      <a16:creationId xmlns:a16="http://schemas.microsoft.com/office/drawing/2014/main" id="{BFB85384-4E68-6130-ABF8-797134287200}"/>
                    </a:ext>
                  </a:extLst>
                </p:cNvPr>
                <p:cNvSpPr/>
                <p:nvPr/>
              </p:nvSpPr>
              <p:spPr>
                <a:xfrm>
                  <a:off x="5424392" y="325916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78" name="Freeform: Shape 2777">
                  <a:extLst>
                    <a:ext uri="{FF2B5EF4-FFF2-40B4-BE49-F238E27FC236}">
                      <a16:creationId xmlns:a16="http://schemas.microsoft.com/office/drawing/2014/main" id="{FB82A160-EF0B-C7D7-DCFA-208ECE958A82}"/>
                    </a:ext>
                  </a:extLst>
                </p:cNvPr>
                <p:cNvSpPr/>
                <p:nvPr/>
              </p:nvSpPr>
              <p:spPr>
                <a:xfrm>
                  <a:off x="5393531" y="32909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8" name="Graphic 1443">
                <a:extLst>
                  <a:ext uri="{FF2B5EF4-FFF2-40B4-BE49-F238E27FC236}">
                    <a16:creationId xmlns:a16="http://schemas.microsoft.com/office/drawing/2014/main" id="{B4E71B11-9325-20D8-236B-6C2EC31FCCE8}"/>
                  </a:ext>
                </a:extLst>
              </p:cNvPr>
              <p:cNvGrpSpPr/>
              <p:nvPr/>
            </p:nvGrpSpPr>
            <p:grpSpPr>
              <a:xfrm>
                <a:off x="5377053" y="3250310"/>
                <a:ext cx="61817" cy="63722"/>
                <a:chOff x="5377053" y="3250310"/>
                <a:chExt cx="61817" cy="63722"/>
              </a:xfrm>
            </p:grpSpPr>
            <p:sp>
              <p:nvSpPr>
                <p:cNvPr id="2775" name="Freeform: Shape 2774">
                  <a:extLst>
                    <a:ext uri="{FF2B5EF4-FFF2-40B4-BE49-F238E27FC236}">
                      <a16:creationId xmlns:a16="http://schemas.microsoft.com/office/drawing/2014/main" id="{AA5E3711-70C0-4F8F-272C-9572490D804B}"/>
                    </a:ext>
                  </a:extLst>
                </p:cNvPr>
                <p:cNvSpPr/>
                <p:nvPr/>
              </p:nvSpPr>
              <p:spPr>
                <a:xfrm>
                  <a:off x="5407914" y="325031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76" name="Freeform: Shape 2775">
                  <a:extLst>
                    <a:ext uri="{FF2B5EF4-FFF2-40B4-BE49-F238E27FC236}">
                      <a16:creationId xmlns:a16="http://schemas.microsoft.com/office/drawing/2014/main" id="{836361A9-03AB-0F4E-F2AC-90F5AEB24C8C}"/>
                    </a:ext>
                  </a:extLst>
                </p:cNvPr>
                <p:cNvSpPr/>
                <p:nvPr/>
              </p:nvSpPr>
              <p:spPr>
                <a:xfrm>
                  <a:off x="5377053" y="328221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49" name="Graphic 1443">
                <a:extLst>
                  <a:ext uri="{FF2B5EF4-FFF2-40B4-BE49-F238E27FC236}">
                    <a16:creationId xmlns:a16="http://schemas.microsoft.com/office/drawing/2014/main" id="{77C29C52-93E7-21D0-F4C9-7DA645319215}"/>
                  </a:ext>
                </a:extLst>
              </p:cNvPr>
              <p:cNvGrpSpPr/>
              <p:nvPr/>
            </p:nvGrpSpPr>
            <p:grpSpPr>
              <a:xfrm>
                <a:off x="5335809" y="3232975"/>
                <a:ext cx="61817" cy="63627"/>
                <a:chOff x="5335809" y="3232975"/>
                <a:chExt cx="61817" cy="63627"/>
              </a:xfrm>
            </p:grpSpPr>
            <p:sp>
              <p:nvSpPr>
                <p:cNvPr id="2773" name="Freeform: Shape 2772">
                  <a:extLst>
                    <a:ext uri="{FF2B5EF4-FFF2-40B4-BE49-F238E27FC236}">
                      <a16:creationId xmlns:a16="http://schemas.microsoft.com/office/drawing/2014/main" id="{CDFF32A5-78D1-B14F-3F75-D54AEBB45F8A}"/>
                    </a:ext>
                  </a:extLst>
                </p:cNvPr>
                <p:cNvSpPr/>
                <p:nvPr/>
              </p:nvSpPr>
              <p:spPr>
                <a:xfrm>
                  <a:off x="5366670" y="3232975"/>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74" name="Freeform: Shape 2773">
                  <a:extLst>
                    <a:ext uri="{FF2B5EF4-FFF2-40B4-BE49-F238E27FC236}">
                      <a16:creationId xmlns:a16="http://schemas.microsoft.com/office/drawing/2014/main" id="{6EC6554F-87CB-CCB9-F649-40CADFDDB114}"/>
                    </a:ext>
                  </a:extLst>
                </p:cNvPr>
                <p:cNvSpPr/>
                <p:nvPr/>
              </p:nvSpPr>
              <p:spPr>
                <a:xfrm>
                  <a:off x="5335809" y="3264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0" name="Graphic 1443">
                <a:extLst>
                  <a:ext uri="{FF2B5EF4-FFF2-40B4-BE49-F238E27FC236}">
                    <a16:creationId xmlns:a16="http://schemas.microsoft.com/office/drawing/2014/main" id="{98DE2527-A068-F8FB-83DF-FBA3C478106C}"/>
                  </a:ext>
                </a:extLst>
              </p:cNvPr>
              <p:cNvGrpSpPr/>
              <p:nvPr/>
            </p:nvGrpSpPr>
            <p:grpSpPr>
              <a:xfrm>
                <a:off x="5278659" y="3212972"/>
                <a:ext cx="61817" cy="63722"/>
                <a:chOff x="5278659" y="3212972"/>
                <a:chExt cx="61817" cy="63722"/>
              </a:xfrm>
            </p:grpSpPr>
            <p:sp>
              <p:nvSpPr>
                <p:cNvPr id="2771" name="Freeform: Shape 2770">
                  <a:extLst>
                    <a:ext uri="{FF2B5EF4-FFF2-40B4-BE49-F238E27FC236}">
                      <a16:creationId xmlns:a16="http://schemas.microsoft.com/office/drawing/2014/main" id="{5EA8A18D-B359-9CE0-E033-E3B08507D1DE}"/>
                    </a:ext>
                  </a:extLst>
                </p:cNvPr>
                <p:cNvSpPr/>
                <p:nvPr/>
              </p:nvSpPr>
              <p:spPr>
                <a:xfrm>
                  <a:off x="5309616"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72" name="Freeform: Shape 2771">
                  <a:extLst>
                    <a:ext uri="{FF2B5EF4-FFF2-40B4-BE49-F238E27FC236}">
                      <a16:creationId xmlns:a16="http://schemas.microsoft.com/office/drawing/2014/main" id="{2A40FAC3-AD0A-91E9-9585-27B6B9774BFA}"/>
                    </a:ext>
                  </a:extLst>
                </p:cNvPr>
                <p:cNvSpPr/>
                <p:nvPr/>
              </p:nvSpPr>
              <p:spPr>
                <a:xfrm>
                  <a:off x="527865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1" name="Graphic 1443">
                <a:extLst>
                  <a:ext uri="{FF2B5EF4-FFF2-40B4-BE49-F238E27FC236}">
                    <a16:creationId xmlns:a16="http://schemas.microsoft.com/office/drawing/2014/main" id="{9C0035DF-40A3-DA62-DC0D-CF170FE4C315}"/>
                  </a:ext>
                </a:extLst>
              </p:cNvPr>
              <p:cNvGrpSpPr/>
              <p:nvPr/>
            </p:nvGrpSpPr>
            <p:grpSpPr>
              <a:xfrm>
                <a:off x="5027961" y="3172777"/>
                <a:ext cx="61817" cy="63722"/>
                <a:chOff x="5027961" y="3172777"/>
                <a:chExt cx="61817" cy="63722"/>
              </a:xfrm>
            </p:grpSpPr>
            <p:sp>
              <p:nvSpPr>
                <p:cNvPr id="2769" name="Freeform: Shape 2768">
                  <a:extLst>
                    <a:ext uri="{FF2B5EF4-FFF2-40B4-BE49-F238E27FC236}">
                      <a16:creationId xmlns:a16="http://schemas.microsoft.com/office/drawing/2014/main" id="{B930DA7B-57DB-C147-60CB-0B9565D46481}"/>
                    </a:ext>
                  </a:extLst>
                </p:cNvPr>
                <p:cNvSpPr/>
                <p:nvPr/>
              </p:nvSpPr>
              <p:spPr>
                <a:xfrm>
                  <a:off x="5058918"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70" name="Freeform: Shape 2769">
                  <a:extLst>
                    <a:ext uri="{FF2B5EF4-FFF2-40B4-BE49-F238E27FC236}">
                      <a16:creationId xmlns:a16="http://schemas.microsoft.com/office/drawing/2014/main" id="{9274E02D-5430-9AEA-6C82-D0D71A057A9C}"/>
                    </a:ext>
                  </a:extLst>
                </p:cNvPr>
                <p:cNvSpPr/>
                <p:nvPr/>
              </p:nvSpPr>
              <p:spPr>
                <a:xfrm>
                  <a:off x="502796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2" name="Graphic 1443">
                <a:extLst>
                  <a:ext uri="{FF2B5EF4-FFF2-40B4-BE49-F238E27FC236}">
                    <a16:creationId xmlns:a16="http://schemas.microsoft.com/office/drawing/2014/main" id="{E9BBE5DE-B4EE-77C3-5779-9BFEF1F7877C}"/>
                  </a:ext>
                </a:extLst>
              </p:cNvPr>
              <p:cNvGrpSpPr/>
              <p:nvPr/>
            </p:nvGrpSpPr>
            <p:grpSpPr>
              <a:xfrm>
                <a:off x="5040915" y="3172777"/>
                <a:ext cx="61817" cy="63722"/>
                <a:chOff x="5040915" y="3172777"/>
                <a:chExt cx="61817" cy="63722"/>
              </a:xfrm>
            </p:grpSpPr>
            <p:sp>
              <p:nvSpPr>
                <p:cNvPr id="2767" name="Freeform: Shape 2766">
                  <a:extLst>
                    <a:ext uri="{FF2B5EF4-FFF2-40B4-BE49-F238E27FC236}">
                      <a16:creationId xmlns:a16="http://schemas.microsoft.com/office/drawing/2014/main" id="{EBC4E190-377A-831F-51EA-853C1C7AE8BE}"/>
                    </a:ext>
                  </a:extLst>
                </p:cNvPr>
                <p:cNvSpPr/>
                <p:nvPr/>
              </p:nvSpPr>
              <p:spPr>
                <a:xfrm>
                  <a:off x="507177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68" name="Freeform: Shape 2767">
                  <a:extLst>
                    <a:ext uri="{FF2B5EF4-FFF2-40B4-BE49-F238E27FC236}">
                      <a16:creationId xmlns:a16="http://schemas.microsoft.com/office/drawing/2014/main" id="{A6995974-A19B-5A5B-6CA6-CE45AF315BF4}"/>
                    </a:ext>
                  </a:extLst>
                </p:cNvPr>
                <p:cNvSpPr/>
                <p:nvPr/>
              </p:nvSpPr>
              <p:spPr>
                <a:xfrm>
                  <a:off x="504091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3" name="Graphic 1443">
                <a:extLst>
                  <a:ext uri="{FF2B5EF4-FFF2-40B4-BE49-F238E27FC236}">
                    <a16:creationId xmlns:a16="http://schemas.microsoft.com/office/drawing/2014/main" id="{8E1A20A6-03D3-946D-1A3D-658DDACEFB5D}"/>
                  </a:ext>
                </a:extLst>
              </p:cNvPr>
              <p:cNvGrpSpPr/>
              <p:nvPr/>
            </p:nvGrpSpPr>
            <p:grpSpPr>
              <a:xfrm>
                <a:off x="5055774" y="3172777"/>
                <a:ext cx="61817" cy="63722"/>
                <a:chOff x="5055774" y="3172777"/>
                <a:chExt cx="61817" cy="63722"/>
              </a:xfrm>
            </p:grpSpPr>
            <p:sp>
              <p:nvSpPr>
                <p:cNvPr id="2765" name="Freeform: Shape 2764">
                  <a:extLst>
                    <a:ext uri="{FF2B5EF4-FFF2-40B4-BE49-F238E27FC236}">
                      <a16:creationId xmlns:a16="http://schemas.microsoft.com/office/drawing/2014/main" id="{57F27CF3-B6B1-6F38-345E-696E5535AA18}"/>
                    </a:ext>
                  </a:extLst>
                </p:cNvPr>
                <p:cNvSpPr/>
                <p:nvPr/>
              </p:nvSpPr>
              <p:spPr>
                <a:xfrm>
                  <a:off x="508663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66" name="Freeform: Shape 2765">
                  <a:extLst>
                    <a:ext uri="{FF2B5EF4-FFF2-40B4-BE49-F238E27FC236}">
                      <a16:creationId xmlns:a16="http://schemas.microsoft.com/office/drawing/2014/main" id="{1496D86E-36E2-2E5C-C8B2-9A71D9673647}"/>
                    </a:ext>
                  </a:extLst>
                </p:cNvPr>
                <p:cNvSpPr/>
                <p:nvPr/>
              </p:nvSpPr>
              <p:spPr>
                <a:xfrm>
                  <a:off x="505577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4" name="Graphic 1443">
                <a:extLst>
                  <a:ext uri="{FF2B5EF4-FFF2-40B4-BE49-F238E27FC236}">
                    <a16:creationId xmlns:a16="http://schemas.microsoft.com/office/drawing/2014/main" id="{44C47E59-DF4E-450D-D574-EFDCE5744B79}"/>
                  </a:ext>
                </a:extLst>
              </p:cNvPr>
              <p:cNvGrpSpPr/>
              <p:nvPr/>
            </p:nvGrpSpPr>
            <p:grpSpPr>
              <a:xfrm>
                <a:off x="5068633" y="3172777"/>
                <a:ext cx="61817" cy="63722"/>
                <a:chOff x="5068633" y="3172777"/>
                <a:chExt cx="61817" cy="63722"/>
              </a:xfrm>
            </p:grpSpPr>
            <p:sp>
              <p:nvSpPr>
                <p:cNvPr id="2763" name="Freeform: Shape 2762">
                  <a:extLst>
                    <a:ext uri="{FF2B5EF4-FFF2-40B4-BE49-F238E27FC236}">
                      <a16:creationId xmlns:a16="http://schemas.microsoft.com/office/drawing/2014/main" id="{069DB221-CBD8-93F2-3793-B68036C2C13C}"/>
                    </a:ext>
                  </a:extLst>
                </p:cNvPr>
                <p:cNvSpPr/>
                <p:nvPr/>
              </p:nvSpPr>
              <p:spPr>
                <a:xfrm>
                  <a:off x="509958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64" name="Freeform: Shape 2763">
                  <a:extLst>
                    <a:ext uri="{FF2B5EF4-FFF2-40B4-BE49-F238E27FC236}">
                      <a16:creationId xmlns:a16="http://schemas.microsoft.com/office/drawing/2014/main" id="{7F167F5C-41B8-6195-8C8A-A30A571D8358}"/>
                    </a:ext>
                  </a:extLst>
                </p:cNvPr>
                <p:cNvSpPr/>
                <p:nvPr/>
              </p:nvSpPr>
              <p:spPr>
                <a:xfrm>
                  <a:off x="506863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5" name="Graphic 1443">
                <a:extLst>
                  <a:ext uri="{FF2B5EF4-FFF2-40B4-BE49-F238E27FC236}">
                    <a16:creationId xmlns:a16="http://schemas.microsoft.com/office/drawing/2014/main" id="{5F6DE3EC-921F-B4E6-F3BA-2BA19FE93704}"/>
                  </a:ext>
                </a:extLst>
              </p:cNvPr>
              <p:cNvGrpSpPr/>
              <p:nvPr/>
            </p:nvGrpSpPr>
            <p:grpSpPr>
              <a:xfrm>
                <a:off x="5083111" y="3172777"/>
                <a:ext cx="61817" cy="63722"/>
                <a:chOff x="5083111" y="3172777"/>
                <a:chExt cx="61817" cy="63722"/>
              </a:xfrm>
            </p:grpSpPr>
            <p:sp>
              <p:nvSpPr>
                <p:cNvPr id="2761" name="Freeform: Shape 2760">
                  <a:extLst>
                    <a:ext uri="{FF2B5EF4-FFF2-40B4-BE49-F238E27FC236}">
                      <a16:creationId xmlns:a16="http://schemas.microsoft.com/office/drawing/2014/main" id="{0CDD90C4-37D1-5AE2-D0F1-68F305EFDD4E}"/>
                    </a:ext>
                  </a:extLst>
                </p:cNvPr>
                <p:cNvSpPr/>
                <p:nvPr/>
              </p:nvSpPr>
              <p:spPr>
                <a:xfrm>
                  <a:off x="5113972"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62" name="Freeform: Shape 2761">
                  <a:extLst>
                    <a:ext uri="{FF2B5EF4-FFF2-40B4-BE49-F238E27FC236}">
                      <a16:creationId xmlns:a16="http://schemas.microsoft.com/office/drawing/2014/main" id="{E31C3F7A-3198-4049-D788-694885088538}"/>
                    </a:ext>
                  </a:extLst>
                </p:cNvPr>
                <p:cNvSpPr/>
                <p:nvPr/>
              </p:nvSpPr>
              <p:spPr>
                <a:xfrm>
                  <a:off x="508311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6" name="Graphic 1443">
                <a:extLst>
                  <a:ext uri="{FF2B5EF4-FFF2-40B4-BE49-F238E27FC236}">
                    <a16:creationId xmlns:a16="http://schemas.microsoft.com/office/drawing/2014/main" id="{7D088575-D5E1-6F2D-4B37-946788F9CDDE}"/>
                  </a:ext>
                </a:extLst>
              </p:cNvPr>
              <p:cNvGrpSpPr/>
              <p:nvPr/>
            </p:nvGrpSpPr>
            <p:grpSpPr>
              <a:xfrm>
                <a:off x="5095970" y="3172777"/>
                <a:ext cx="61817" cy="63722"/>
                <a:chOff x="5095970" y="3172777"/>
                <a:chExt cx="61817" cy="63722"/>
              </a:xfrm>
            </p:grpSpPr>
            <p:sp>
              <p:nvSpPr>
                <p:cNvPr id="2759" name="Freeform: Shape 2758">
                  <a:extLst>
                    <a:ext uri="{FF2B5EF4-FFF2-40B4-BE49-F238E27FC236}">
                      <a16:creationId xmlns:a16="http://schemas.microsoft.com/office/drawing/2014/main" id="{FF48EAF1-ED0D-0E10-1A4C-DD9046B805FD}"/>
                    </a:ext>
                  </a:extLst>
                </p:cNvPr>
                <p:cNvSpPr/>
                <p:nvPr/>
              </p:nvSpPr>
              <p:spPr>
                <a:xfrm>
                  <a:off x="512692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60" name="Freeform: Shape 2759">
                  <a:extLst>
                    <a:ext uri="{FF2B5EF4-FFF2-40B4-BE49-F238E27FC236}">
                      <a16:creationId xmlns:a16="http://schemas.microsoft.com/office/drawing/2014/main" id="{90421BE3-C188-20AE-B807-BD9ABB87728D}"/>
                    </a:ext>
                  </a:extLst>
                </p:cNvPr>
                <p:cNvSpPr/>
                <p:nvPr/>
              </p:nvSpPr>
              <p:spPr>
                <a:xfrm>
                  <a:off x="5095970"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7" name="Graphic 1443">
                <a:extLst>
                  <a:ext uri="{FF2B5EF4-FFF2-40B4-BE49-F238E27FC236}">
                    <a16:creationId xmlns:a16="http://schemas.microsoft.com/office/drawing/2014/main" id="{93E87FC4-5BED-1806-DAE2-E750E700499C}"/>
                  </a:ext>
                </a:extLst>
              </p:cNvPr>
              <p:cNvGrpSpPr/>
              <p:nvPr/>
            </p:nvGrpSpPr>
            <p:grpSpPr>
              <a:xfrm>
                <a:off x="5110924" y="3172777"/>
                <a:ext cx="61817" cy="63722"/>
                <a:chOff x="5110924" y="3172777"/>
                <a:chExt cx="61817" cy="63722"/>
              </a:xfrm>
            </p:grpSpPr>
            <p:sp>
              <p:nvSpPr>
                <p:cNvPr id="2757" name="Freeform: Shape 2756">
                  <a:extLst>
                    <a:ext uri="{FF2B5EF4-FFF2-40B4-BE49-F238E27FC236}">
                      <a16:creationId xmlns:a16="http://schemas.microsoft.com/office/drawing/2014/main" id="{1B436D06-67F3-9DCD-E112-88A65E600663}"/>
                    </a:ext>
                  </a:extLst>
                </p:cNvPr>
                <p:cNvSpPr/>
                <p:nvPr/>
              </p:nvSpPr>
              <p:spPr>
                <a:xfrm>
                  <a:off x="514178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58" name="Freeform: Shape 2757">
                  <a:extLst>
                    <a:ext uri="{FF2B5EF4-FFF2-40B4-BE49-F238E27FC236}">
                      <a16:creationId xmlns:a16="http://schemas.microsoft.com/office/drawing/2014/main" id="{48F5E2C7-5991-339F-839E-89C26A5AC332}"/>
                    </a:ext>
                  </a:extLst>
                </p:cNvPr>
                <p:cNvSpPr/>
                <p:nvPr/>
              </p:nvSpPr>
              <p:spPr>
                <a:xfrm>
                  <a:off x="511092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8" name="Graphic 1443">
                <a:extLst>
                  <a:ext uri="{FF2B5EF4-FFF2-40B4-BE49-F238E27FC236}">
                    <a16:creationId xmlns:a16="http://schemas.microsoft.com/office/drawing/2014/main" id="{8FC2483D-D473-C7FA-D3DA-E9B1B8B220FB}"/>
                  </a:ext>
                </a:extLst>
              </p:cNvPr>
              <p:cNvGrpSpPr/>
              <p:nvPr/>
            </p:nvGrpSpPr>
            <p:grpSpPr>
              <a:xfrm>
                <a:off x="5154739" y="3172777"/>
                <a:ext cx="61817" cy="63722"/>
                <a:chOff x="5154739" y="3172777"/>
                <a:chExt cx="61817" cy="63722"/>
              </a:xfrm>
            </p:grpSpPr>
            <p:sp>
              <p:nvSpPr>
                <p:cNvPr id="2755" name="Freeform: Shape 2754">
                  <a:extLst>
                    <a:ext uri="{FF2B5EF4-FFF2-40B4-BE49-F238E27FC236}">
                      <a16:creationId xmlns:a16="http://schemas.microsoft.com/office/drawing/2014/main" id="{55C77687-8366-BCB6-48C2-DEB40EDD5C39}"/>
                    </a:ext>
                  </a:extLst>
                </p:cNvPr>
                <p:cNvSpPr/>
                <p:nvPr/>
              </p:nvSpPr>
              <p:spPr>
                <a:xfrm>
                  <a:off x="5185600"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56" name="Freeform: Shape 2755">
                  <a:extLst>
                    <a:ext uri="{FF2B5EF4-FFF2-40B4-BE49-F238E27FC236}">
                      <a16:creationId xmlns:a16="http://schemas.microsoft.com/office/drawing/2014/main" id="{D4FE7418-F415-B0FE-38F7-599FD61650C0}"/>
                    </a:ext>
                  </a:extLst>
                </p:cNvPr>
                <p:cNvSpPr/>
                <p:nvPr/>
              </p:nvSpPr>
              <p:spPr>
                <a:xfrm>
                  <a:off x="5154739"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59" name="Graphic 1443">
                <a:extLst>
                  <a:ext uri="{FF2B5EF4-FFF2-40B4-BE49-F238E27FC236}">
                    <a16:creationId xmlns:a16="http://schemas.microsoft.com/office/drawing/2014/main" id="{B79507CF-7981-B10D-EB28-017007B9EA5F}"/>
                  </a:ext>
                </a:extLst>
              </p:cNvPr>
              <p:cNvGrpSpPr/>
              <p:nvPr/>
            </p:nvGrpSpPr>
            <p:grpSpPr>
              <a:xfrm>
                <a:off x="5168455" y="3172777"/>
                <a:ext cx="61817" cy="63722"/>
                <a:chOff x="5168455" y="3172777"/>
                <a:chExt cx="61817" cy="63722"/>
              </a:xfrm>
            </p:grpSpPr>
            <p:sp>
              <p:nvSpPr>
                <p:cNvPr id="2753" name="Freeform: Shape 2752">
                  <a:extLst>
                    <a:ext uri="{FF2B5EF4-FFF2-40B4-BE49-F238E27FC236}">
                      <a16:creationId xmlns:a16="http://schemas.microsoft.com/office/drawing/2014/main" id="{1905E746-293A-3787-C0A6-1994500534E0}"/>
                    </a:ext>
                  </a:extLst>
                </p:cNvPr>
                <p:cNvSpPr/>
                <p:nvPr/>
              </p:nvSpPr>
              <p:spPr>
                <a:xfrm>
                  <a:off x="5199411"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54" name="Freeform: Shape 2753">
                  <a:extLst>
                    <a:ext uri="{FF2B5EF4-FFF2-40B4-BE49-F238E27FC236}">
                      <a16:creationId xmlns:a16="http://schemas.microsoft.com/office/drawing/2014/main" id="{5399F052-2B23-0BB8-49B6-E7C573D31BF2}"/>
                    </a:ext>
                  </a:extLst>
                </p:cNvPr>
                <p:cNvSpPr/>
                <p:nvPr/>
              </p:nvSpPr>
              <p:spPr>
                <a:xfrm>
                  <a:off x="516845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0" name="Graphic 1443">
                <a:extLst>
                  <a:ext uri="{FF2B5EF4-FFF2-40B4-BE49-F238E27FC236}">
                    <a16:creationId xmlns:a16="http://schemas.microsoft.com/office/drawing/2014/main" id="{4ED2DC31-09C3-9773-2C83-624999A25D42}"/>
                  </a:ext>
                </a:extLst>
              </p:cNvPr>
              <p:cNvGrpSpPr/>
              <p:nvPr/>
            </p:nvGrpSpPr>
            <p:grpSpPr>
              <a:xfrm>
                <a:off x="5199411" y="3192208"/>
                <a:ext cx="61817" cy="63627"/>
                <a:chOff x="5199411" y="3192208"/>
                <a:chExt cx="61817" cy="63627"/>
              </a:xfrm>
            </p:grpSpPr>
            <p:sp>
              <p:nvSpPr>
                <p:cNvPr id="2751" name="Freeform: Shape 2750">
                  <a:extLst>
                    <a:ext uri="{FF2B5EF4-FFF2-40B4-BE49-F238E27FC236}">
                      <a16:creationId xmlns:a16="http://schemas.microsoft.com/office/drawing/2014/main" id="{A776CB5A-695D-5CFF-5485-BC09AD820D53}"/>
                    </a:ext>
                  </a:extLst>
                </p:cNvPr>
                <p:cNvSpPr/>
                <p:nvPr/>
              </p:nvSpPr>
              <p:spPr>
                <a:xfrm>
                  <a:off x="5230272"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52" name="Freeform: Shape 2751">
                  <a:extLst>
                    <a:ext uri="{FF2B5EF4-FFF2-40B4-BE49-F238E27FC236}">
                      <a16:creationId xmlns:a16="http://schemas.microsoft.com/office/drawing/2014/main" id="{A843F283-0030-EA4E-1D46-3BB7CC55E6F0}"/>
                    </a:ext>
                  </a:extLst>
                </p:cNvPr>
                <p:cNvSpPr/>
                <p:nvPr/>
              </p:nvSpPr>
              <p:spPr>
                <a:xfrm>
                  <a:off x="5199411"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1" name="Graphic 1443">
                <a:extLst>
                  <a:ext uri="{FF2B5EF4-FFF2-40B4-BE49-F238E27FC236}">
                    <a16:creationId xmlns:a16="http://schemas.microsoft.com/office/drawing/2014/main" id="{CD4A601C-4AA0-BD55-84FB-BE936D8F94C5}"/>
                  </a:ext>
                </a:extLst>
              </p:cNvPr>
              <p:cNvGrpSpPr/>
              <p:nvPr/>
            </p:nvGrpSpPr>
            <p:grpSpPr>
              <a:xfrm>
                <a:off x="5216842" y="3192208"/>
                <a:ext cx="61817" cy="63627"/>
                <a:chOff x="5216842" y="3192208"/>
                <a:chExt cx="61817" cy="63627"/>
              </a:xfrm>
            </p:grpSpPr>
            <p:sp>
              <p:nvSpPr>
                <p:cNvPr id="2749" name="Freeform: Shape 2748">
                  <a:extLst>
                    <a:ext uri="{FF2B5EF4-FFF2-40B4-BE49-F238E27FC236}">
                      <a16:creationId xmlns:a16="http://schemas.microsoft.com/office/drawing/2014/main" id="{7FEF397B-0185-31F5-E876-248D226E14A1}"/>
                    </a:ext>
                  </a:extLst>
                </p:cNvPr>
                <p:cNvSpPr/>
                <p:nvPr/>
              </p:nvSpPr>
              <p:spPr>
                <a:xfrm>
                  <a:off x="5247798"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50" name="Freeform: Shape 2749">
                  <a:extLst>
                    <a:ext uri="{FF2B5EF4-FFF2-40B4-BE49-F238E27FC236}">
                      <a16:creationId xmlns:a16="http://schemas.microsoft.com/office/drawing/2014/main" id="{2253767C-81B5-2BBB-26B8-34339C2ACA82}"/>
                    </a:ext>
                  </a:extLst>
                </p:cNvPr>
                <p:cNvSpPr/>
                <p:nvPr/>
              </p:nvSpPr>
              <p:spPr>
                <a:xfrm>
                  <a:off x="5216842"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2" name="Graphic 1443">
                <a:extLst>
                  <a:ext uri="{FF2B5EF4-FFF2-40B4-BE49-F238E27FC236}">
                    <a16:creationId xmlns:a16="http://schemas.microsoft.com/office/drawing/2014/main" id="{1876A847-40F8-2D97-6C5A-4B3D8E0B9AE9}"/>
                  </a:ext>
                </a:extLst>
              </p:cNvPr>
              <p:cNvGrpSpPr/>
              <p:nvPr/>
            </p:nvGrpSpPr>
            <p:grpSpPr>
              <a:xfrm>
                <a:off x="5239988" y="3192208"/>
                <a:ext cx="61817" cy="63627"/>
                <a:chOff x="5239988" y="3192208"/>
                <a:chExt cx="61817" cy="63627"/>
              </a:xfrm>
            </p:grpSpPr>
            <p:sp>
              <p:nvSpPr>
                <p:cNvPr id="2747" name="Freeform: Shape 2746">
                  <a:extLst>
                    <a:ext uri="{FF2B5EF4-FFF2-40B4-BE49-F238E27FC236}">
                      <a16:creationId xmlns:a16="http://schemas.microsoft.com/office/drawing/2014/main" id="{315AF111-5DF4-03CD-8E74-DB253EFD9665}"/>
                    </a:ext>
                  </a:extLst>
                </p:cNvPr>
                <p:cNvSpPr/>
                <p:nvPr/>
              </p:nvSpPr>
              <p:spPr>
                <a:xfrm>
                  <a:off x="5270849"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48" name="Freeform: Shape 2747">
                  <a:extLst>
                    <a:ext uri="{FF2B5EF4-FFF2-40B4-BE49-F238E27FC236}">
                      <a16:creationId xmlns:a16="http://schemas.microsoft.com/office/drawing/2014/main" id="{06DFBBA0-747D-02A2-6AF6-E3C3745F84BD}"/>
                    </a:ext>
                  </a:extLst>
                </p:cNvPr>
                <p:cNvSpPr/>
                <p:nvPr/>
              </p:nvSpPr>
              <p:spPr>
                <a:xfrm>
                  <a:off x="5239988"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3" name="Graphic 1443">
                <a:extLst>
                  <a:ext uri="{FF2B5EF4-FFF2-40B4-BE49-F238E27FC236}">
                    <a16:creationId xmlns:a16="http://schemas.microsoft.com/office/drawing/2014/main" id="{A76082C4-6987-DACB-82D0-50545EC87FEB}"/>
                  </a:ext>
                </a:extLst>
              </p:cNvPr>
              <p:cNvGrpSpPr/>
              <p:nvPr/>
            </p:nvGrpSpPr>
            <p:grpSpPr>
              <a:xfrm>
                <a:off x="5261229" y="3212972"/>
                <a:ext cx="61817" cy="63722"/>
                <a:chOff x="5261229" y="3212972"/>
                <a:chExt cx="61817" cy="63722"/>
              </a:xfrm>
            </p:grpSpPr>
            <p:sp>
              <p:nvSpPr>
                <p:cNvPr id="2745" name="Freeform: Shape 2744">
                  <a:extLst>
                    <a:ext uri="{FF2B5EF4-FFF2-40B4-BE49-F238E27FC236}">
                      <a16:creationId xmlns:a16="http://schemas.microsoft.com/office/drawing/2014/main" id="{6A4D07AA-27F1-1A63-1872-B866672554F3}"/>
                    </a:ext>
                  </a:extLst>
                </p:cNvPr>
                <p:cNvSpPr/>
                <p:nvPr/>
              </p:nvSpPr>
              <p:spPr>
                <a:xfrm>
                  <a:off x="5292090"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46" name="Freeform: Shape 2745">
                  <a:extLst>
                    <a:ext uri="{FF2B5EF4-FFF2-40B4-BE49-F238E27FC236}">
                      <a16:creationId xmlns:a16="http://schemas.microsoft.com/office/drawing/2014/main" id="{1252372A-B9E7-F115-F5FF-E1D6AA285528}"/>
                    </a:ext>
                  </a:extLst>
                </p:cNvPr>
                <p:cNvSpPr/>
                <p:nvPr/>
              </p:nvSpPr>
              <p:spPr>
                <a:xfrm>
                  <a:off x="526122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4" name="Graphic 1443">
                <a:extLst>
                  <a:ext uri="{FF2B5EF4-FFF2-40B4-BE49-F238E27FC236}">
                    <a16:creationId xmlns:a16="http://schemas.microsoft.com/office/drawing/2014/main" id="{5460FF9F-E8F5-5E1C-BCB0-8140F336A42A}"/>
                  </a:ext>
                </a:extLst>
              </p:cNvPr>
              <p:cNvGrpSpPr/>
              <p:nvPr/>
            </p:nvGrpSpPr>
            <p:grpSpPr>
              <a:xfrm>
                <a:off x="5123783" y="3172777"/>
                <a:ext cx="61817" cy="63722"/>
                <a:chOff x="5123783" y="3172777"/>
                <a:chExt cx="61817" cy="63722"/>
              </a:xfrm>
            </p:grpSpPr>
            <p:sp>
              <p:nvSpPr>
                <p:cNvPr id="2743" name="Freeform: Shape 2742">
                  <a:extLst>
                    <a:ext uri="{FF2B5EF4-FFF2-40B4-BE49-F238E27FC236}">
                      <a16:creationId xmlns:a16="http://schemas.microsoft.com/office/drawing/2014/main" id="{AB2BEC8B-5901-D0C4-971A-9069B422B27A}"/>
                    </a:ext>
                  </a:extLst>
                </p:cNvPr>
                <p:cNvSpPr/>
                <p:nvPr/>
              </p:nvSpPr>
              <p:spPr>
                <a:xfrm>
                  <a:off x="515473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44" name="Freeform: Shape 2743">
                  <a:extLst>
                    <a:ext uri="{FF2B5EF4-FFF2-40B4-BE49-F238E27FC236}">
                      <a16:creationId xmlns:a16="http://schemas.microsoft.com/office/drawing/2014/main" id="{8E51B480-6EC7-7E0D-7321-1F93C7D748A0}"/>
                    </a:ext>
                  </a:extLst>
                </p:cNvPr>
                <p:cNvSpPr/>
                <p:nvPr/>
              </p:nvSpPr>
              <p:spPr>
                <a:xfrm>
                  <a:off x="512378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5" name="Graphic 1443">
                <a:extLst>
                  <a:ext uri="{FF2B5EF4-FFF2-40B4-BE49-F238E27FC236}">
                    <a16:creationId xmlns:a16="http://schemas.microsoft.com/office/drawing/2014/main" id="{1047E1D8-6724-8F9B-E503-CA0A84A002A3}"/>
                  </a:ext>
                </a:extLst>
              </p:cNvPr>
              <p:cNvGrpSpPr/>
              <p:nvPr/>
            </p:nvGrpSpPr>
            <p:grpSpPr>
              <a:xfrm>
                <a:off x="5304853" y="3221164"/>
                <a:ext cx="61817" cy="63722"/>
                <a:chOff x="5304853" y="3221164"/>
                <a:chExt cx="61817" cy="63722"/>
              </a:xfrm>
            </p:grpSpPr>
            <p:sp>
              <p:nvSpPr>
                <p:cNvPr id="2741" name="Freeform: Shape 2740">
                  <a:extLst>
                    <a:ext uri="{FF2B5EF4-FFF2-40B4-BE49-F238E27FC236}">
                      <a16:creationId xmlns:a16="http://schemas.microsoft.com/office/drawing/2014/main" id="{CA086B22-99FC-978B-5E36-B3226D209892}"/>
                    </a:ext>
                  </a:extLst>
                </p:cNvPr>
                <p:cNvSpPr/>
                <p:nvPr/>
              </p:nvSpPr>
              <p:spPr>
                <a:xfrm>
                  <a:off x="5335809" y="322116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42" name="Freeform: Shape 2741">
                  <a:extLst>
                    <a:ext uri="{FF2B5EF4-FFF2-40B4-BE49-F238E27FC236}">
                      <a16:creationId xmlns:a16="http://schemas.microsoft.com/office/drawing/2014/main" id="{F8473D5C-2763-AEE3-0E85-C0BB3B4F1714}"/>
                    </a:ext>
                  </a:extLst>
                </p:cNvPr>
                <p:cNvSpPr/>
                <p:nvPr/>
              </p:nvSpPr>
              <p:spPr>
                <a:xfrm>
                  <a:off x="5304853" y="32529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6" name="Graphic 1443">
                <a:extLst>
                  <a:ext uri="{FF2B5EF4-FFF2-40B4-BE49-F238E27FC236}">
                    <a16:creationId xmlns:a16="http://schemas.microsoft.com/office/drawing/2014/main" id="{758BAE84-A883-A5C5-5183-02ACEDA72CC3}"/>
                  </a:ext>
                </a:extLst>
              </p:cNvPr>
              <p:cNvGrpSpPr/>
              <p:nvPr/>
            </p:nvGrpSpPr>
            <p:grpSpPr>
              <a:xfrm>
                <a:off x="5611368" y="3304031"/>
                <a:ext cx="61817" cy="63722"/>
                <a:chOff x="5611368" y="3304031"/>
                <a:chExt cx="61817" cy="63722"/>
              </a:xfrm>
            </p:grpSpPr>
            <p:sp>
              <p:nvSpPr>
                <p:cNvPr id="2739" name="Freeform: Shape 2738">
                  <a:extLst>
                    <a:ext uri="{FF2B5EF4-FFF2-40B4-BE49-F238E27FC236}">
                      <a16:creationId xmlns:a16="http://schemas.microsoft.com/office/drawing/2014/main" id="{E0C8E07F-0FDC-46D0-5A9F-F8F1D62BE030}"/>
                    </a:ext>
                  </a:extLst>
                </p:cNvPr>
                <p:cNvSpPr/>
                <p:nvPr/>
              </p:nvSpPr>
              <p:spPr>
                <a:xfrm>
                  <a:off x="564222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40" name="Freeform: Shape 2739">
                  <a:extLst>
                    <a:ext uri="{FF2B5EF4-FFF2-40B4-BE49-F238E27FC236}">
                      <a16:creationId xmlns:a16="http://schemas.microsoft.com/office/drawing/2014/main" id="{9B4370DC-44E1-7202-7BFB-2A41618D8675}"/>
                    </a:ext>
                  </a:extLst>
                </p:cNvPr>
                <p:cNvSpPr/>
                <p:nvPr/>
              </p:nvSpPr>
              <p:spPr>
                <a:xfrm>
                  <a:off x="561136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7" name="Graphic 1443">
                <a:extLst>
                  <a:ext uri="{FF2B5EF4-FFF2-40B4-BE49-F238E27FC236}">
                    <a16:creationId xmlns:a16="http://schemas.microsoft.com/office/drawing/2014/main" id="{89AF3529-8FB2-20A2-C69D-FE84133CCDD1}"/>
                  </a:ext>
                </a:extLst>
              </p:cNvPr>
              <p:cNvGrpSpPr/>
              <p:nvPr/>
            </p:nvGrpSpPr>
            <p:grpSpPr>
              <a:xfrm>
                <a:off x="5634228" y="3304031"/>
                <a:ext cx="61817" cy="63722"/>
                <a:chOff x="5634228" y="3304031"/>
                <a:chExt cx="61817" cy="63722"/>
              </a:xfrm>
            </p:grpSpPr>
            <p:sp>
              <p:nvSpPr>
                <p:cNvPr id="2737" name="Freeform: Shape 2736">
                  <a:extLst>
                    <a:ext uri="{FF2B5EF4-FFF2-40B4-BE49-F238E27FC236}">
                      <a16:creationId xmlns:a16="http://schemas.microsoft.com/office/drawing/2014/main" id="{FA4E23CA-CA92-9096-B084-157E509135C8}"/>
                    </a:ext>
                  </a:extLst>
                </p:cNvPr>
                <p:cNvSpPr/>
                <p:nvPr/>
              </p:nvSpPr>
              <p:spPr>
                <a:xfrm>
                  <a:off x="566508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38" name="Freeform: Shape 2737">
                  <a:extLst>
                    <a:ext uri="{FF2B5EF4-FFF2-40B4-BE49-F238E27FC236}">
                      <a16:creationId xmlns:a16="http://schemas.microsoft.com/office/drawing/2014/main" id="{0811618A-4F92-12D2-39B0-2C4941251ADD}"/>
                    </a:ext>
                  </a:extLst>
                </p:cNvPr>
                <p:cNvSpPr/>
                <p:nvPr/>
              </p:nvSpPr>
              <p:spPr>
                <a:xfrm>
                  <a:off x="563422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8" name="Graphic 1443">
                <a:extLst>
                  <a:ext uri="{FF2B5EF4-FFF2-40B4-BE49-F238E27FC236}">
                    <a16:creationId xmlns:a16="http://schemas.microsoft.com/office/drawing/2014/main" id="{2F8C101D-849A-40CC-1098-BB58EE67BB27}"/>
                  </a:ext>
                </a:extLst>
              </p:cNvPr>
              <p:cNvGrpSpPr/>
              <p:nvPr/>
            </p:nvGrpSpPr>
            <p:grpSpPr>
              <a:xfrm>
                <a:off x="5645086" y="3304031"/>
                <a:ext cx="61817" cy="63722"/>
                <a:chOff x="5645086" y="3304031"/>
                <a:chExt cx="61817" cy="63722"/>
              </a:xfrm>
            </p:grpSpPr>
            <p:sp>
              <p:nvSpPr>
                <p:cNvPr id="2735" name="Freeform: Shape 2734">
                  <a:extLst>
                    <a:ext uri="{FF2B5EF4-FFF2-40B4-BE49-F238E27FC236}">
                      <a16:creationId xmlns:a16="http://schemas.microsoft.com/office/drawing/2014/main" id="{4E7D0A88-7F5F-40B5-19D9-19CA7DC34137}"/>
                    </a:ext>
                  </a:extLst>
                </p:cNvPr>
                <p:cNvSpPr/>
                <p:nvPr/>
              </p:nvSpPr>
              <p:spPr>
                <a:xfrm>
                  <a:off x="5676042"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36" name="Freeform: Shape 2735">
                  <a:extLst>
                    <a:ext uri="{FF2B5EF4-FFF2-40B4-BE49-F238E27FC236}">
                      <a16:creationId xmlns:a16="http://schemas.microsoft.com/office/drawing/2014/main" id="{AB55887E-4CAD-B8A3-1EE8-B8348684B23E}"/>
                    </a:ext>
                  </a:extLst>
                </p:cNvPr>
                <p:cNvSpPr/>
                <p:nvPr/>
              </p:nvSpPr>
              <p:spPr>
                <a:xfrm>
                  <a:off x="5645086"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69" name="Graphic 1443">
                <a:extLst>
                  <a:ext uri="{FF2B5EF4-FFF2-40B4-BE49-F238E27FC236}">
                    <a16:creationId xmlns:a16="http://schemas.microsoft.com/office/drawing/2014/main" id="{424CBC14-6374-31CF-CECE-4B4F58675E6B}"/>
                  </a:ext>
                </a:extLst>
              </p:cNvPr>
              <p:cNvGrpSpPr/>
              <p:nvPr/>
            </p:nvGrpSpPr>
            <p:grpSpPr>
              <a:xfrm>
                <a:off x="5715095" y="3320795"/>
                <a:ext cx="61817" cy="63722"/>
                <a:chOff x="5715095" y="3320795"/>
                <a:chExt cx="61817" cy="63722"/>
              </a:xfrm>
            </p:grpSpPr>
            <p:sp>
              <p:nvSpPr>
                <p:cNvPr id="2733" name="Freeform: Shape 2732">
                  <a:extLst>
                    <a:ext uri="{FF2B5EF4-FFF2-40B4-BE49-F238E27FC236}">
                      <a16:creationId xmlns:a16="http://schemas.microsoft.com/office/drawing/2014/main" id="{5BDD2E89-6593-E40B-8EFF-704B1567BD4F}"/>
                    </a:ext>
                  </a:extLst>
                </p:cNvPr>
                <p:cNvSpPr/>
                <p:nvPr/>
              </p:nvSpPr>
              <p:spPr>
                <a:xfrm>
                  <a:off x="5746051" y="332079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34" name="Freeform: Shape 2733">
                  <a:extLst>
                    <a:ext uri="{FF2B5EF4-FFF2-40B4-BE49-F238E27FC236}">
                      <a16:creationId xmlns:a16="http://schemas.microsoft.com/office/drawing/2014/main" id="{5D584FD0-0617-7831-363E-9313688189E7}"/>
                    </a:ext>
                  </a:extLst>
                </p:cNvPr>
                <p:cNvSpPr/>
                <p:nvPr/>
              </p:nvSpPr>
              <p:spPr>
                <a:xfrm>
                  <a:off x="5715095" y="335270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0" name="Graphic 1443">
                <a:extLst>
                  <a:ext uri="{FF2B5EF4-FFF2-40B4-BE49-F238E27FC236}">
                    <a16:creationId xmlns:a16="http://schemas.microsoft.com/office/drawing/2014/main" id="{44B3520E-DA85-6416-9738-6E0BE737AE86}"/>
                  </a:ext>
                </a:extLst>
              </p:cNvPr>
              <p:cNvGrpSpPr/>
              <p:nvPr/>
            </p:nvGrpSpPr>
            <p:grpSpPr>
              <a:xfrm>
                <a:off x="5729001" y="3325843"/>
                <a:ext cx="61817" cy="63722"/>
                <a:chOff x="5729001" y="3325843"/>
                <a:chExt cx="61817" cy="63722"/>
              </a:xfrm>
            </p:grpSpPr>
            <p:sp>
              <p:nvSpPr>
                <p:cNvPr id="2731" name="Freeform: Shape 2730">
                  <a:extLst>
                    <a:ext uri="{FF2B5EF4-FFF2-40B4-BE49-F238E27FC236}">
                      <a16:creationId xmlns:a16="http://schemas.microsoft.com/office/drawing/2014/main" id="{C97E78DC-D5BA-5306-722B-9B716F3BB852}"/>
                    </a:ext>
                  </a:extLst>
                </p:cNvPr>
                <p:cNvSpPr/>
                <p:nvPr/>
              </p:nvSpPr>
              <p:spPr>
                <a:xfrm>
                  <a:off x="5759958"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32" name="Freeform: Shape 2731">
                  <a:extLst>
                    <a:ext uri="{FF2B5EF4-FFF2-40B4-BE49-F238E27FC236}">
                      <a16:creationId xmlns:a16="http://schemas.microsoft.com/office/drawing/2014/main" id="{6BE72727-6F9A-0CDB-3DE6-26F77AB818BE}"/>
                    </a:ext>
                  </a:extLst>
                </p:cNvPr>
                <p:cNvSpPr/>
                <p:nvPr/>
              </p:nvSpPr>
              <p:spPr>
                <a:xfrm>
                  <a:off x="572900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1" name="Graphic 1443">
                <a:extLst>
                  <a:ext uri="{FF2B5EF4-FFF2-40B4-BE49-F238E27FC236}">
                    <a16:creationId xmlns:a16="http://schemas.microsoft.com/office/drawing/2014/main" id="{C5AED82C-CE4B-ED21-0F58-FFAEAEE81EBA}"/>
                  </a:ext>
                </a:extLst>
              </p:cNvPr>
              <p:cNvGrpSpPr/>
              <p:nvPr/>
            </p:nvGrpSpPr>
            <p:grpSpPr>
              <a:xfrm>
                <a:off x="5738431" y="3325843"/>
                <a:ext cx="61817" cy="63722"/>
                <a:chOff x="5738431" y="3325843"/>
                <a:chExt cx="61817" cy="63722"/>
              </a:xfrm>
            </p:grpSpPr>
            <p:sp>
              <p:nvSpPr>
                <p:cNvPr id="2729" name="Freeform: Shape 2728">
                  <a:extLst>
                    <a:ext uri="{FF2B5EF4-FFF2-40B4-BE49-F238E27FC236}">
                      <a16:creationId xmlns:a16="http://schemas.microsoft.com/office/drawing/2014/main" id="{4D579262-5B89-6F16-E34B-EBDF8193AF84}"/>
                    </a:ext>
                  </a:extLst>
                </p:cNvPr>
                <p:cNvSpPr/>
                <p:nvPr/>
              </p:nvSpPr>
              <p:spPr>
                <a:xfrm>
                  <a:off x="5769387"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30" name="Freeform: Shape 2729">
                  <a:extLst>
                    <a:ext uri="{FF2B5EF4-FFF2-40B4-BE49-F238E27FC236}">
                      <a16:creationId xmlns:a16="http://schemas.microsoft.com/office/drawing/2014/main" id="{16A54676-EC13-24AF-568D-10A1C63D3777}"/>
                    </a:ext>
                  </a:extLst>
                </p:cNvPr>
                <p:cNvSpPr/>
                <p:nvPr/>
              </p:nvSpPr>
              <p:spPr>
                <a:xfrm>
                  <a:off x="573843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2" name="Graphic 1443">
                <a:extLst>
                  <a:ext uri="{FF2B5EF4-FFF2-40B4-BE49-F238E27FC236}">
                    <a16:creationId xmlns:a16="http://schemas.microsoft.com/office/drawing/2014/main" id="{D00E2B24-18AC-45BA-5506-98DA52BB155C}"/>
                  </a:ext>
                </a:extLst>
              </p:cNvPr>
              <p:cNvGrpSpPr/>
              <p:nvPr/>
            </p:nvGrpSpPr>
            <p:grpSpPr>
              <a:xfrm>
                <a:off x="3613689" y="2786252"/>
                <a:ext cx="61817" cy="63722"/>
                <a:chOff x="3613689" y="2786252"/>
                <a:chExt cx="61817" cy="63722"/>
              </a:xfrm>
            </p:grpSpPr>
            <p:sp>
              <p:nvSpPr>
                <p:cNvPr id="2727" name="Freeform: Shape 2726">
                  <a:extLst>
                    <a:ext uri="{FF2B5EF4-FFF2-40B4-BE49-F238E27FC236}">
                      <a16:creationId xmlns:a16="http://schemas.microsoft.com/office/drawing/2014/main" id="{F1B8202B-6CBD-6417-BAC3-9A42327356E7}"/>
                    </a:ext>
                  </a:extLst>
                </p:cNvPr>
                <p:cNvSpPr/>
                <p:nvPr/>
              </p:nvSpPr>
              <p:spPr>
                <a:xfrm>
                  <a:off x="3644646" y="27862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28" name="Freeform: Shape 2727">
                  <a:extLst>
                    <a:ext uri="{FF2B5EF4-FFF2-40B4-BE49-F238E27FC236}">
                      <a16:creationId xmlns:a16="http://schemas.microsoft.com/office/drawing/2014/main" id="{CBC44D69-52C0-2B50-BFD6-BD9615D04065}"/>
                    </a:ext>
                  </a:extLst>
                </p:cNvPr>
                <p:cNvSpPr/>
                <p:nvPr/>
              </p:nvSpPr>
              <p:spPr>
                <a:xfrm>
                  <a:off x="3613689" y="28180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3" name="Graphic 1443">
                <a:extLst>
                  <a:ext uri="{FF2B5EF4-FFF2-40B4-BE49-F238E27FC236}">
                    <a16:creationId xmlns:a16="http://schemas.microsoft.com/office/drawing/2014/main" id="{8E1FFDD6-3311-CD7D-0453-FE4901C48DB4}"/>
                  </a:ext>
                </a:extLst>
              </p:cNvPr>
              <p:cNvGrpSpPr/>
              <p:nvPr/>
            </p:nvGrpSpPr>
            <p:grpSpPr>
              <a:xfrm>
                <a:off x="3843337" y="2797682"/>
                <a:ext cx="61817" cy="63722"/>
                <a:chOff x="3843337" y="2797682"/>
                <a:chExt cx="61817" cy="63722"/>
              </a:xfrm>
            </p:grpSpPr>
            <p:sp>
              <p:nvSpPr>
                <p:cNvPr id="2725" name="Freeform: Shape 2724">
                  <a:extLst>
                    <a:ext uri="{FF2B5EF4-FFF2-40B4-BE49-F238E27FC236}">
                      <a16:creationId xmlns:a16="http://schemas.microsoft.com/office/drawing/2014/main" id="{64F2336D-7546-1A86-A4D1-09C8204C8F9D}"/>
                    </a:ext>
                  </a:extLst>
                </p:cNvPr>
                <p:cNvSpPr/>
                <p:nvPr/>
              </p:nvSpPr>
              <p:spPr>
                <a:xfrm>
                  <a:off x="3874293" y="279768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26" name="Freeform: Shape 2725">
                  <a:extLst>
                    <a:ext uri="{FF2B5EF4-FFF2-40B4-BE49-F238E27FC236}">
                      <a16:creationId xmlns:a16="http://schemas.microsoft.com/office/drawing/2014/main" id="{F742A390-0A64-75D9-F1C5-EF6CDBE46B25}"/>
                    </a:ext>
                  </a:extLst>
                </p:cNvPr>
                <p:cNvSpPr/>
                <p:nvPr/>
              </p:nvSpPr>
              <p:spPr>
                <a:xfrm>
                  <a:off x="3843337" y="282949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4" name="Graphic 1443">
                <a:extLst>
                  <a:ext uri="{FF2B5EF4-FFF2-40B4-BE49-F238E27FC236}">
                    <a16:creationId xmlns:a16="http://schemas.microsoft.com/office/drawing/2014/main" id="{7D8A4F27-48AE-A810-CC55-F60F897E2627}"/>
                  </a:ext>
                </a:extLst>
              </p:cNvPr>
              <p:cNvGrpSpPr/>
              <p:nvPr/>
            </p:nvGrpSpPr>
            <p:grpSpPr>
              <a:xfrm>
                <a:off x="4112609" y="2849974"/>
                <a:ext cx="61817" cy="63627"/>
                <a:chOff x="4112609" y="2849974"/>
                <a:chExt cx="61817" cy="63627"/>
              </a:xfrm>
            </p:grpSpPr>
            <p:sp>
              <p:nvSpPr>
                <p:cNvPr id="2723" name="Freeform: Shape 2722">
                  <a:extLst>
                    <a:ext uri="{FF2B5EF4-FFF2-40B4-BE49-F238E27FC236}">
                      <a16:creationId xmlns:a16="http://schemas.microsoft.com/office/drawing/2014/main" id="{D651E8EB-84A9-334B-9BC8-3DF376815B85}"/>
                    </a:ext>
                  </a:extLst>
                </p:cNvPr>
                <p:cNvSpPr/>
                <p:nvPr/>
              </p:nvSpPr>
              <p:spPr>
                <a:xfrm>
                  <a:off x="4143470" y="28499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24" name="Freeform: Shape 2723">
                  <a:extLst>
                    <a:ext uri="{FF2B5EF4-FFF2-40B4-BE49-F238E27FC236}">
                      <a16:creationId xmlns:a16="http://schemas.microsoft.com/office/drawing/2014/main" id="{E4D4F4B3-D125-3550-5B7D-263CC66CA27C}"/>
                    </a:ext>
                  </a:extLst>
                </p:cNvPr>
                <p:cNvSpPr/>
                <p:nvPr/>
              </p:nvSpPr>
              <p:spPr>
                <a:xfrm>
                  <a:off x="4112609" y="2881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5" name="Graphic 1443">
                <a:extLst>
                  <a:ext uri="{FF2B5EF4-FFF2-40B4-BE49-F238E27FC236}">
                    <a16:creationId xmlns:a16="http://schemas.microsoft.com/office/drawing/2014/main" id="{3AF17B6F-159A-05A4-4EF8-B2E0AC4DA225}"/>
                  </a:ext>
                </a:extLst>
              </p:cNvPr>
              <p:cNvGrpSpPr/>
              <p:nvPr/>
            </p:nvGrpSpPr>
            <p:grpSpPr>
              <a:xfrm>
                <a:off x="4233672" y="2891694"/>
                <a:ext cx="61817" cy="63722"/>
                <a:chOff x="4233672" y="2891694"/>
                <a:chExt cx="61817" cy="63722"/>
              </a:xfrm>
            </p:grpSpPr>
            <p:sp>
              <p:nvSpPr>
                <p:cNvPr id="2721" name="Freeform: Shape 2720">
                  <a:extLst>
                    <a:ext uri="{FF2B5EF4-FFF2-40B4-BE49-F238E27FC236}">
                      <a16:creationId xmlns:a16="http://schemas.microsoft.com/office/drawing/2014/main" id="{FBAFDF63-BA7E-C296-B14D-B7997703D1EC}"/>
                    </a:ext>
                  </a:extLst>
                </p:cNvPr>
                <p:cNvSpPr/>
                <p:nvPr/>
              </p:nvSpPr>
              <p:spPr>
                <a:xfrm>
                  <a:off x="4264628" y="289169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22" name="Freeform: Shape 2721">
                  <a:extLst>
                    <a:ext uri="{FF2B5EF4-FFF2-40B4-BE49-F238E27FC236}">
                      <a16:creationId xmlns:a16="http://schemas.microsoft.com/office/drawing/2014/main" id="{E604DFD6-AA22-7B76-1C19-59BBB002DB3C}"/>
                    </a:ext>
                  </a:extLst>
                </p:cNvPr>
                <p:cNvSpPr/>
                <p:nvPr/>
              </p:nvSpPr>
              <p:spPr>
                <a:xfrm>
                  <a:off x="4233672" y="292360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6" name="Graphic 1443">
                <a:extLst>
                  <a:ext uri="{FF2B5EF4-FFF2-40B4-BE49-F238E27FC236}">
                    <a16:creationId xmlns:a16="http://schemas.microsoft.com/office/drawing/2014/main" id="{47C49339-8E29-E5F2-A198-DB27307BA787}"/>
                  </a:ext>
                </a:extLst>
              </p:cNvPr>
              <p:cNvGrpSpPr/>
              <p:nvPr/>
            </p:nvGrpSpPr>
            <p:grpSpPr>
              <a:xfrm>
                <a:off x="4311205" y="2929222"/>
                <a:ext cx="61817" cy="63722"/>
                <a:chOff x="4311205" y="2929222"/>
                <a:chExt cx="61817" cy="63722"/>
              </a:xfrm>
            </p:grpSpPr>
            <p:sp>
              <p:nvSpPr>
                <p:cNvPr id="2719" name="Freeform: Shape 2718">
                  <a:extLst>
                    <a:ext uri="{FF2B5EF4-FFF2-40B4-BE49-F238E27FC236}">
                      <a16:creationId xmlns:a16="http://schemas.microsoft.com/office/drawing/2014/main" id="{EA282633-5390-E329-D1E3-5A241740869C}"/>
                    </a:ext>
                  </a:extLst>
                </p:cNvPr>
                <p:cNvSpPr/>
                <p:nvPr/>
              </p:nvSpPr>
              <p:spPr>
                <a:xfrm>
                  <a:off x="4342066" y="292922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20" name="Freeform: Shape 2719">
                  <a:extLst>
                    <a:ext uri="{FF2B5EF4-FFF2-40B4-BE49-F238E27FC236}">
                      <a16:creationId xmlns:a16="http://schemas.microsoft.com/office/drawing/2014/main" id="{D5619569-CC19-BCE3-FE70-38FDE0F36063}"/>
                    </a:ext>
                  </a:extLst>
                </p:cNvPr>
                <p:cNvSpPr/>
                <p:nvPr/>
              </p:nvSpPr>
              <p:spPr>
                <a:xfrm>
                  <a:off x="4311205" y="296113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7" name="Graphic 1443">
                <a:extLst>
                  <a:ext uri="{FF2B5EF4-FFF2-40B4-BE49-F238E27FC236}">
                    <a16:creationId xmlns:a16="http://schemas.microsoft.com/office/drawing/2014/main" id="{07B301B0-10CD-0F60-B3F1-6B830152BE76}"/>
                  </a:ext>
                </a:extLst>
              </p:cNvPr>
              <p:cNvGrpSpPr/>
              <p:nvPr/>
            </p:nvGrpSpPr>
            <p:grpSpPr>
              <a:xfrm>
                <a:off x="4337018" y="2938176"/>
                <a:ext cx="61817" cy="63627"/>
                <a:chOff x="4337018" y="2938176"/>
                <a:chExt cx="61817" cy="63627"/>
              </a:xfrm>
            </p:grpSpPr>
            <p:sp>
              <p:nvSpPr>
                <p:cNvPr id="2717" name="Freeform: Shape 2716">
                  <a:extLst>
                    <a:ext uri="{FF2B5EF4-FFF2-40B4-BE49-F238E27FC236}">
                      <a16:creationId xmlns:a16="http://schemas.microsoft.com/office/drawing/2014/main" id="{61FC8734-7591-E5F4-0D10-9F4609401AE1}"/>
                    </a:ext>
                  </a:extLst>
                </p:cNvPr>
                <p:cNvSpPr/>
                <p:nvPr/>
              </p:nvSpPr>
              <p:spPr>
                <a:xfrm>
                  <a:off x="4367879" y="2938176"/>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18" name="Freeform: Shape 2717">
                  <a:extLst>
                    <a:ext uri="{FF2B5EF4-FFF2-40B4-BE49-F238E27FC236}">
                      <a16:creationId xmlns:a16="http://schemas.microsoft.com/office/drawing/2014/main" id="{70D62689-191C-264B-3A44-1C1C241C1F11}"/>
                    </a:ext>
                  </a:extLst>
                </p:cNvPr>
                <p:cNvSpPr/>
                <p:nvPr/>
              </p:nvSpPr>
              <p:spPr>
                <a:xfrm>
                  <a:off x="4337018" y="29699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8" name="Graphic 1443">
                <a:extLst>
                  <a:ext uri="{FF2B5EF4-FFF2-40B4-BE49-F238E27FC236}">
                    <a16:creationId xmlns:a16="http://schemas.microsoft.com/office/drawing/2014/main" id="{140440D8-9532-3F38-1367-C06B97D6CC42}"/>
                  </a:ext>
                </a:extLst>
              </p:cNvPr>
              <p:cNvGrpSpPr/>
              <p:nvPr/>
            </p:nvGrpSpPr>
            <p:grpSpPr>
              <a:xfrm>
                <a:off x="4373022" y="2949701"/>
                <a:ext cx="61817" cy="63722"/>
                <a:chOff x="4373022" y="2949701"/>
                <a:chExt cx="61817" cy="63722"/>
              </a:xfrm>
            </p:grpSpPr>
            <p:sp>
              <p:nvSpPr>
                <p:cNvPr id="2715" name="Freeform: Shape 2714">
                  <a:extLst>
                    <a:ext uri="{FF2B5EF4-FFF2-40B4-BE49-F238E27FC236}">
                      <a16:creationId xmlns:a16="http://schemas.microsoft.com/office/drawing/2014/main" id="{6B710E55-14DA-56B1-F194-225CB93CC80E}"/>
                    </a:ext>
                  </a:extLst>
                </p:cNvPr>
                <p:cNvSpPr/>
                <p:nvPr/>
              </p:nvSpPr>
              <p:spPr>
                <a:xfrm>
                  <a:off x="4403883"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16" name="Freeform: Shape 2715">
                  <a:extLst>
                    <a:ext uri="{FF2B5EF4-FFF2-40B4-BE49-F238E27FC236}">
                      <a16:creationId xmlns:a16="http://schemas.microsoft.com/office/drawing/2014/main" id="{E750B591-E778-F2B9-A488-D0724F29115B}"/>
                    </a:ext>
                  </a:extLst>
                </p:cNvPr>
                <p:cNvSpPr/>
                <p:nvPr/>
              </p:nvSpPr>
              <p:spPr>
                <a:xfrm>
                  <a:off x="437302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79" name="Graphic 1443">
                <a:extLst>
                  <a:ext uri="{FF2B5EF4-FFF2-40B4-BE49-F238E27FC236}">
                    <a16:creationId xmlns:a16="http://schemas.microsoft.com/office/drawing/2014/main" id="{3696D657-6465-CB78-2485-3508ADC71B63}"/>
                  </a:ext>
                </a:extLst>
              </p:cNvPr>
              <p:cNvGrpSpPr/>
              <p:nvPr/>
            </p:nvGrpSpPr>
            <p:grpSpPr>
              <a:xfrm>
                <a:off x="4403883" y="2949701"/>
                <a:ext cx="61817" cy="63722"/>
                <a:chOff x="4403883" y="2949701"/>
                <a:chExt cx="61817" cy="63722"/>
              </a:xfrm>
            </p:grpSpPr>
            <p:sp>
              <p:nvSpPr>
                <p:cNvPr id="2713" name="Freeform: Shape 2712">
                  <a:extLst>
                    <a:ext uri="{FF2B5EF4-FFF2-40B4-BE49-F238E27FC236}">
                      <a16:creationId xmlns:a16="http://schemas.microsoft.com/office/drawing/2014/main" id="{39B43DBB-D38A-6F20-B086-69D5D54C3523}"/>
                    </a:ext>
                  </a:extLst>
                </p:cNvPr>
                <p:cNvSpPr/>
                <p:nvPr/>
              </p:nvSpPr>
              <p:spPr>
                <a:xfrm>
                  <a:off x="4434840"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14" name="Freeform: Shape 2713">
                  <a:extLst>
                    <a:ext uri="{FF2B5EF4-FFF2-40B4-BE49-F238E27FC236}">
                      <a16:creationId xmlns:a16="http://schemas.microsoft.com/office/drawing/2014/main" id="{71E192F6-4972-281D-B37C-EB4F7D13EA60}"/>
                    </a:ext>
                  </a:extLst>
                </p:cNvPr>
                <p:cNvSpPr/>
                <p:nvPr/>
              </p:nvSpPr>
              <p:spPr>
                <a:xfrm>
                  <a:off x="440388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0" name="Graphic 1443">
                <a:extLst>
                  <a:ext uri="{FF2B5EF4-FFF2-40B4-BE49-F238E27FC236}">
                    <a16:creationId xmlns:a16="http://schemas.microsoft.com/office/drawing/2014/main" id="{77DD8753-13E2-93EE-7AC4-098EEAA6635A}"/>
                  </a:ext>
                </a:extLst>
              </p:cNvPr>
              <p:cNvGrpSpPr/>
              <p:nvPr/>
            </p:nvGrpSpPr>
            <p:grpSpPr>
              <a:xfrm>
                <a:off x="4450842" y="2949701"/>
                <a:ext cx="61817" cy="63722"/>
                <a:chOff x="4450842" y="2949701"/>
                <a:chExt cx="61817" cy="63722"/>
              </a:xfrm>
            </p:grpSpPr>
            <p:sp>
              <p:nvSpPr>
                <p:cNvPr id="2711" name="Freeform: Shape 2710">
                  <a:extLst>
                    <a:ext uri="{FF2B5EF4-FFF2-40B4-BE49-F238E27FC236}">
                      <a16:creationId xmlns:a16="http://schemas.microsoft.com/office/drawing/2014/main" id="{54334946-DB9B-962B-570D-533469450922}"/>
                    </a:ext>
                  </a:extLst>
                </p:cNvPr>
                <p:cNvSpPr/>
                <p:nvPr/>
              </p:nvSpPr>
              <p:spPr>
                <a:xfrm>
                  <a:off x="4481798"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12" name="Freeform: Shape 2711">
                  <a:extLst>
                    <a:ext uri="{FF2B5EF4-FFF2-40B4-BE49-F238E27FC236}">
                      <a16:creationId xmlns:a16="http://schemas.microsoft.com/office/drawing/2014/main" id="{D8186CBF-3C76-842C-D245-853DE1D8F2B2}"/>
                    </a:ext>
                  </a:extLst>
                </p:cNvPr>
                <p:cNvSpPr/>
                <p:nvPr/>
              </p:nvSpPr>
              <p:spPr>
                <a:xfrm>
                  <a:off x="445084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1" name="Graphic 1443">
                <a:extLst>
                  <a:ext uri="{FF2B5EF4-FFF2-40B4-BE49-F238E27FC236}">
                    <a16:creationId xmlns:a16="http://schemas.microsoft.com/office/drawing/2014/main" id="{826D734E-E62F-C7A4-21C2-A0DF03B77E13}"/>
                  </a:ext>
                </a:extLst>
              </p:cNvPr>
              <p:cNvGrpSpPr/>
              <p:nvPr/>
            </p:nvGrpSpPr>
            <p:grpSpPr>
              <a:xfrm>
                <a:off x="4976526" y="3128485"/>
                <a:ext cx="61817" cy="63722"/>
                <a:chOff x="4976526" y="3128485"/>
                <a:chExt cx="61817" cy="63722"/>
              </a:xfrm>
            </p:grpSpPr>
            <p:sp>
              <p:nvSpPr>
                <p:cNvPr id="2709" name="Freeform: Shape 2708">
                  <a:extLst>
                    <a:ext uri="{FF2B5EF4-FFF2-40B4-BE49-F238E27FC236}">
                      <a16:creationId xmlns:a16="http://schemas.microsoft.com/office/drawing/2014/main" id="{15800ABD-8C4E-F7E6-FCDA-BB55BB637849}"/>
                    </a:ext>
                  </a:extLst>
                </p:cNvPr>
                <p:cNvSpPr/>
                <p:nvPr/>
              </p:nvSpPr>
              <p:spPr>
                <a:xfrm>
                  <a:off x="5007387"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10" name="Freeform: Shape 2709">
                  <a:extLst>
                    <a:ext uri="{FF2B5EF4-FFF2-40B4-BE49-F238E27FC236}">
                      <a16:creationId xmlns:a16="http://schemas.microsoft.com/office/drawing/2014/main" id="{F3F818A9-9956-7DD0-C6EE-E3CA18C031B5}"/>
                    </a:ext>
                  </a:extLst>
                </p:cNvPr>
                <p:cNvSpPr/>
                <p:nvPr/>
              </p:nvSpPr>
              <p:spPr>
                <a:xfrm>
                  <a:off x="4976526"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2" name="Graphic 1443">
                <a:extLst>
                  <a:ext uri="{FF2B5EF4-FFF2-40B4-BE49-F238E27FC236}">
                    <a16:creationId xmlns:a16="http://schemas.microsoft.com/office/drawing/2014/main" id="{AE789532-410C-68EB-AA11-9D29E4206969}"/>
                  </a:ext>
                </a:extLst>
              </p:cNvPr>
              <p:cNvGrpSpPr/>
              <p:nvPr/>
            </p:nvGrpSpPr>
            <p:grpSpPr>
              <a:xfrm>
                <a:off x="4893087" y="3128485"/>
                <a:ext cx="61817" cy="63722"/>
                <a:chOff x="4893087" y="3128485"/>
                <a:chExt cx="61817" cy="63722"/>
              </a:xfrm>
            </p:grpSpPr>
            <p:sp>
              <p:nvSpPr>
                <p:cNvPr id="2707" name="Freeform: Shape 2706">
                  <a:extLst>
                    <a:ext uri="{FF2B5EF4-FFF2-40B4-BE49-F238E27FC236}">
                      <a16:creationId xmlns:a16="http://schemas.microsoft.com/office/drawing/2014/main" id="{BD9BE813-D7DF-4A0F-5C01-4E9744E8910A}"/>
                    </a:ext>
                  </a:extLst>
                </p:cNvPr>
                <p:cNvSpPr/>
                <p:nvPr/>
              </p:nvSpPr>
              <p:spPr>
                <a:xfrm>
                  <a:off x="4923948"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08" name="Freeform: Shape 2707">
                  <a:extLst>
                    <a:ext uri="{FF2B5EF4-FFF2-40B4-BE49-F238E27FC236}">
                      <a16:creationId xmlns:a16="http://schemas.microsoft.com/office/drawing/2014/main" id="{622EA1D0-960A-ED2B-5229-B59763F8A7C7}"/>
                    </a:ext>
                  </a:extLst>
                </p:cNvPr>
                <p:cNvSpPr/>
                <p:nvPr/>
              </p:nvSpPr>
              <p:spPr>
                <a:xfrm>
                  <a:off x="4893087"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3" name="Graphic 1443">
                <a:extLst>
                  <a:ext uri="{FF2B5EF4-FFF2-40B4-BE49-F238E27FC236}">
                    <a16:creationId xmlns:a16="http://schemas.microsoft.com/office/drawing/2014/main" id="{89843B41-AA4F-B74D-25DE-2185589DA1A7}"/>
                  </a:ext>
                </a:extLst>
              </p:cNvPr>
              <p:cNvGrpSpPr/>
              <p:nvPr/>
            </p:nvGrpSpPr>
            <p:grpSpPr>
              <a:xfrm>
                <a:off x="4906518" y="3128485"/>
                <a:ext cx="61817" cy="63722"/>
                <a:chOff x="4906518" y="3128485"/>
                <a:chExt cx="61817" cy="63722"/>
              </a:xfrm>
            </p:grpSpPr>
            <p:sp>
              <p:nvSpPr>
                <p:cNvPr id="2705" name="Freeform: Shape 2704">
                  <a:extLst>
                    <a:ext uri="{FF2B5EF4-FFF2-40B4-BE49-F238E27FC236}">
                      <a16:creationId xmlns:a16="http://schemas.microsoft.com/office/drawing/2014/main" id="{A197748D-AB41-85C1-297F-6028E6AB368E}"/>
                    </a:ext>
                  </a:extLst>
                </p:cNvPr>
                <p:cNvSpPr/>
                <p:nvPr/>
              </p:nvSpPr>
              <p:spPr>
                <a:xfrm>
                  <a:off x="4937474"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06" name="Freeform: Shape 2705">
                  <a:extLst>
                    <a:ext uri="{FF2B5EF4-FFF2-40B4-BE49-F238E27FC236}">
                      <a16:creationId xmlns:a16="http://schemas.microsoft.com/office/drawing/2014/main" id="{A850633B-4C0A-DE51-F23D-168FCBF1E752}"/>
                    </a:ext>
                  </a:extLst>
                </p:cNvPr>
                <p:cNvSpPr/>
                <p:nvPr/>
              </p:nvSpPr>
              <p:spPr>
                <a:xfrm>
                  <a:off x="490651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4" name="Graphic 1443">
                <a:extLst>
                  <a:ext uri="{FF2B5EF4-FFF2-40B4-BE49-F238E27FC236}">
                    <a16:creationId xmlns:a16="http://schemas.microsoft.com/office/drawing/2014/main" id="{215477A8-9276-5D1A-5DC2-2D76649FCEF6}"/>
                  </a:ext>
                </a:extLst>
              </p:cNvPr>
              <p:cNvGrpSpPr/>
              <p:nvPr/>
            </p:nvGrpSpPr>
            <p:grpSpPr>
              <a:xfrm>
                <a:off x="4846701" y="3109054"/>
                <a:ext cx="61817" cy="63722"/>
                <a:chOff x="4846701" y="3109054"/>
                <a:chExt cx="61817" cy="63722"/>
              </a:xfrm>
            </p:grpSpPr>
            <p:sp>
              <p:nvSpPr>
                <p:cNvPr id="2703" name="Freeform: Shape 2702">
                  <a:extLst>
                    <a:ext uri="{FF2B5EF4-FFF2-40B4-BE49-F238E27FC236}">
                      <a16:creationId xmlns:a16="http://schemas.microsoft.com/office/drawing/2014/main" id="{27E390BA-D44C-0A6C-7B76-7719222AD018}"/>
                    </a:ext>
                  </a:extLst>
                </p:cNvPr>
                <p:cNvSpPr/>
                <p:nvPr/>
              </p:nvSpPr>
              <p:spPr>
                <a:xfrm>
                  <a:off x="4877657"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04" name="Freeform: Shape 2703">
                  <a:extLst>
                    <a:ext uri="{FF2B5EF4-FFF2-40B4-BE49-F238E27FC236}">
                      <a16:creationId xmlns:a16="http://schemas.microsoft.com/office/drawing/2014/main" id="{40D8B9AD-D44E-1C91-7AC5-C210C69BE1C3}"/>
                    </a:ext>
                  </a:extLst>
                </p:cNvPr>
                <p:cNvSpPr/>
                <p:nvPr/>
              </p:nvSpPr>
              <p:spPr>
                <a:xfrm>
                  <a:off x="4846701"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5" name="Graphic 1443">
                <a:extLst>
                  <a:ext uri="{FF2B5EF4-FFF2-40B4-BE49-F238E27FC236}">
                    <a16:creationId xmlns:a16="http://schemas.microsoft.com/office/drawing/2014/main" id="{7DEF7305-FAC2-0874-CCAC-7D7D7DE88172}"/>
                  </a:ext>
                </a:extLst>
              </p:cNvPr>
              <p:cNvGrpSpPr/>
              <p:nvPr/>
            </p:nvGrpSpPr>
            <p:grpSpPr>
              <a:xfrm>
                <a:off x="4866608" y="3109054"/>
                <a:ext cx="61817" cy="63722"/>
                <a:chOff x="4866608" y="3109054"/>
                <a:chExt cx="61817" cy="63722"/>
              </a:xfrm>
            </p:grpSpPr>
            <p:sp>
              <p:nvSpPr>
                <p:cNvPr id="2701" name="Freeform: Shape 2700">
                  <a:extLst>
                    <a:ext uri="{FF2B5EF4-FFF2-40B4-BE49-F238E27FC236}">
                      <a16:creationId xmlns:a16="http://schemas.microsoft.com/office/drawing/2014/main" id="{71C095BF-6228-A4C1-032E-C5765C22E46D}"/>
                    </a:ext>
                  </a:extLst>
                </p:cNvPr>
                <p:cNvSpPr/>
                <p:nvPr/>
              </p:nvSpPr>
              <p:spPr>
                <a:xfrm>
                  <a:off x="4897469"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02" name="Freeform: Shape 2701">
                  <a:extLst>
                    <a:ext uri="{FF2B5EF4-FFF2-40B4-BE49-F238E27FC236}">
                      <a16:creationId xmlns:a16="http://schemas.microsoft.com/office/drawing/2014/main" id="{9B90338C-AA52-B7AD-3722-F60C370F9E32}"/>
                    </a:ext>
                  </a:extLst>
                </p:cNvPr>
                <p:cNvSpPr/>
                <p:nvPr/>
              </p:nvSpPr>
              <p:spPr>
                <a:xfrm>
                  <a:off x="4866608"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6" name="Graphic 1443">
                <a:extLst>
                  <a:ext uri="{FF2B5EF4-FFF2-40B4-BE49-F238E27FC236}">
                    <a16:creationId xmlns:a16="http://schemas.microsoft.com/office/drawing/2014/main" id="{C47956F9-8D35-4F7C-5845-C4121BE2BE9E}"/>
                  </a:ext>
                </a:extLst>
              </p:cNvPr>
              <p:cNvGrpSpPr/>
              <p:nvPr/>
            </p:nvGrpSpPr>
            <p:grpSpPr>
              <a:xfrm>
                <a:off x="4826222" y="3086575"/>
                <a:ext cx="61817" cy="63722"/>
                <a:chOff x="4826222" y="3086575"/>
                <a:chExt cx="61817" cy="63722"/>
              </a:xfrm>
            </p:grpSpPr>
            <p:sp>
              <p:nvSpPr>
                <p:cNvPr id="2699" name="Freeform: Shape 2698">
                  <a:extLst>
                    <a:ext uri="{FF2B5EF4-FFF2-40B4-BE49-F238E27FC236}">
                      <a16:creationId xmlns:a16="http://schemas.microsoft.com/office/drawing/2014/main" id="{7149E86A-8F15-804E-BDDD-1A19F46A8EF9}"/>
                    </a:ext>
                  </a:extLst>
                </p:cNvPr>
                <p:cNvSpPr/>
                <p:nvPr/>
              </p:nvSpPr>
              <p:spPr>
                <a:xfrm>
                  <a:off x="4857083" y="308657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00" name="Freeform: Shape 2699">
                  <a:extLst>
                    <a:ext uri="{FF2B5EF4-FFF2-40B4-BE49-F238E27FC236}">
                      <a16:creationId xmlns:a16="http://schemas.microsoft.com/office/drawing/2014/main" id="{7CB5F8A4-D095-9EAC-1055-D7B0CE1004C4}"/>
                    </a:ext>
                  </a:extLst>
                </p:cNvPr>
                <p:cNvSpPr/>
                <p:nvPr/>
              </p:nvSpPr>
              <p:spPr>
                <a:xfrm>
                  <a:off x="4826222" y="31183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7" name="Graphic 1443">
                <a:extLst>
                  <a:ext uri="{FF2B5EF4-FFF2-40B4-BE49-F238E27FC236}">
                    <a16:creationId xmlns:a16="http://schemas.microsoft.com/office/drawing/2014/main" id="{3042DF52-1136-59FC-6AE1-E77602A70EB1}"/>
                  </a:ext>
                </a:extLst>
              </p:cNvPr>
              <p:cNvGrpSpPr/>
              <p:nvPr/>
            </p:nvGrpSpPr>
            <p:grpSpPr>
              <a:xfrm>
                <a:off x="4804791" y="3064763"/>
                <a:ext cx="61817" cy="63722"/>
                <a:chOff x="4804791" y="3064763"/>
                <a:chExt cx="61817" cy="63722"/>
              </a:xfrm>
            </p:grpSpPr>
            <p:sp>
              <p:nvSpPr>
                <p:cNvPr id="2697" name="Freeform: Shape 2696">
                  <a:extLst>
                    <a:ext uri="{FF2B5EF4-FFF2-40B4-BE49-F238E27FC236}">
                      <a16:creationId xmlns:a16="http://schemas.microsoft.com/office/drawing/2014/main" id="{EFC5FB64-F256-8053-9322-8F465656BA13}"/>
                    </a:ext>
                  </a:extLst>
                </p:cNvPr>
                <p:cNvSpPr/>
                <p:nvPr/>
              </p:nvSpPr>
              <p:spPr>
                <a:xfrm>
                  <a:off x="4835652" y="30647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98" name="Freeform: Shape 2697">
                  <a:extLst>
                    <a:ext uri="{FF2B5EF4-FFF2-40B4-BE49-F238E27FC236}">
                      <a16:creationId xmlns:a16="http://schemas.microsoft.com/office/drawing/2014/main" id="{A0397C1F-B355-E6EB-8B87-5440ECF263C4}"/>
                    </a:ext>
                  </a:extLst>
                </p:cNvPr>
                <p:cNvSpPr/>
                <p:nvPr/>
              </p:nvSpPr>
              <p:spPr>
                <a:xfrm>
                  <a:off x="4804791" y="30965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8" name="Graphic 1443">
                <a:extLst>
                  <a:ext uri="{FF2B5EF4-FFF2-40B4-BE49-F238E27FC236}">
                    <a16:creationId xmlns:a16="http://schemas.microsoft.com/office/drawing/2014/main" id="{FD601F3F-26A3-C45A-ACF5-0E7044413F95}"/>
                  </a:ext>
                </a:extLst>
              </p:cNvPr>
              <p:cNvGrpSpPr/>
              <p:nvPr/>
            </p:nvGrpSpPr>
            <p:grpSpPr>
              <a:xfrm>
                <a:off x="4789170" y="3045808"/>
                <a:ext cx="61817" cy="63722"/>
                <a:chOff x="4789170" y="3045808"/>
                <a:chExt cx="61817" cy="63722"/>
              </a:xfrm>
            </p:grpSpPr>
            <p:sp>
              <p:nvSpPr>
                <p:cNvPr id="2695" name="Freeform: Shape 2694">
                  <a:extLst>
                    <a:ext uri="{FF2B5EF4-FFF2-40B4-BE49-F238E27FC236}">
                      <a16:creationId xmlns:a16="http://schemas.microsoft.com/office/drawing/2014/main" id="{0F9984F7-856A-2F57-0984-1D8ECBB64A5B}"/>
                    </a:ext>
                  </a:extLst>
                </p:cNvPr>
                <p:cNvSpPr/>
                <p:nvPr/>
              </p:nvSpPr>
              <p:spPr>
                <a:xfrm>
                  <a:off x="482003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96" name="Freeform: Shape 2695">
                  <a:extLst>
                    <a:ext uri="{FF2B5EF4-FFF2-40B4-BE49-F238E27FC236}">
                      <a16:creationId xmlns:a16="http://schemas.microsoft.com/office/drawing/2014/main" id="{875DA090-FE85-1CE6-884D-CA3C169C844F}"/>
                    </a:ext>
                  </a:extLst>
                </p:cNvPr>
                <p:cNvSpPr/>
                <p:nvPr/>
              </p:nvSpPr>
              <p:spPr>
                <a:xfrm>
                  <a:off x="4789170"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89" name="Graphic 1443">
                <a:extLst>
                  <a:ext uri="{FF2B5EF4-FFF2-40B4-BE49-F238E27FC236}">
                    <a16:creationId xmlns:a16="http://schemas.microsoft.com/office/drawing/2014/main" id="{4FD1D91E-9C19-40BA-80D6-BA3A323BD403}"/>
                  </a:ext>
                </a:extLst>
              </p:cNvPr>
              <p:cNvGrpSpPr/>
              <p:nvPr/>
            </p:nvGrpSpPr>
            <p:grpSpPr>
              <a:xfrm>
                <a:off x="4773834" y="3045808"/>
                <a:ext cx="61817" cy="63722"/>
                <a:chOff x="4773834" y="3045808"/>
                <a:chExt cx="61817" cy="63722"/>
              </a:xfrm>
            </p:grpSpPr>
            <p:sp>
              <p:nvSpPr>
                <p:cNvPr id="2693" name="Freeform: Shape 2692">
                  <a:extLst>
                    <a:ext uri="{FF2B5EF4-FFF2-40B4-BE49-F238E27FC236}">
                      <a16:creationId xmlns:a16="http://schemas.microsoft.com/office/drawing/2014/main" id="{24D1271F-0E83-0250-1538-54C52342DA30}"/>
                    </a:ext>
                  </a:extLst>
                </p:cNvPr>
                <p:cNvSpPr/>
                <p:nvPr/>
              </p:nvSpPr>
              <p:spPr>
                <a:xfrm>
                  <a:off x="480479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94" name="Freeform: Shape 2693">
                  <a:extLst>
                    <a:ext uri="{FF2B5EF4-FFF2-40B4-BE49-F238E27FC236}">
                      <a16:creationId xmlns:a16="http://schemas.microsoft.com/office/drawing/2014/main" id="{0CAEC163-728C-3A14-CE59-2871972F2740}"/>
                    </a:ext>
                  </a:extLst>
                </p:cNvPr>
                <p:cNvSpPr/>
                <p:nvPr/>
              </p:nvSpPr>
              <p:spPr>
                <a:xfrm>
                  <a:off x="4773834"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0" name="Graphic 1443">
                <a:extLst>
                  <a:ext uri="{FF2B5EF4-FFF2-40B4-BE49-F238E27FC236}">
                    <a16:creationId xmlns:a16="http://schemas.microsoft.com/office/drawing/2014/main" id="{5FCEFACF-F185-9695-314A-85BAD5081088}"/>
                  </a:ext>
                </a:extLst>
              </p:cNvPr>
              <p:cNvGrpSpPr/>
              <p:nvPr/>
            </p:nvGrpSpPr>
            <p:grpSpPr>
              <a:xfrm>
                <a:off x="4758213" y="3036950"/>
                <a:ext cx="61817" cy="63722"/>
                <a:chOff x="4758213" y="3036950"/>
                <a:chExt cx="61817" cy="63722"/>
              </a:xfrm>
            </p:grpSpPr>
            <p:sp>
              <p:nvSpPr>
                <p:cNvPr id="2691" name="Freeform: Shape 2690">
                  <a:extLst>
                    <a:ext uri="{FF2B5EF4-FFF2-40B4-BE49-F238E27FC236}">
                      <a16:creationId xmlns:a16="http://schemas.microsoft.com/office/drawing/2014/main" id="{8E5AE286-D4DC-5282-F3DA-4CF8E761A2A3}"/>
                    </a:ext>
                  </a:extLst>
                </p:cNvPr>
                <p:cNvSpPr/>
                <p:nvPr/>
              </p:nvSpPr>
              <p:spPr>
                <a:xfrm>
                  <a:off x="4789170" y="303695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92" name="Freeform: Shape 2691">
                  <a:extLst>
                    <a:ext uri="{FF2B5EF4-FFF2-40B4-BE49-F238E27FC236}">
                      <a16:creationId xmlns:a16="http://schemas.microsoft.com/office/drawing/2014/main" id="{309E006A-04C2-9BBD-8180-E911D167EFC7}"/>
                    </a:ext>
                  </a:extLst>
                </p:cNvPr>
                <p:cNvSpPr/>
                <p:nvPr/>
              </p:nvSpPr>
              <p:spPr>
                <a:xfrm>
                  <a:off x="4758213" y="30687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1" name="Graphic 1443">
                <a:extLst>
                  <a:ext uri="{FF2B5EF4-FFF2-40B4-BE49-F238E27FC236}">
                    <a16:creationId xmlns:a16="http://schemas.microsoft.com/office/drawing/2014/main" id="{5C1E6EBB-22C6-31E6-B133-182E804C691C}"/>
                  </a:ext>
                </a:extLst>
              </p:cNvPr>
              <p:cNvGrpSpPr/>
              <p:nvPr/>
            </p:nvGrpSpPr>
            <p:grpSpPr>
              <a:xfrm>
                <a:off x="4731543" y="3022853"/>
                <a:ext cx="61817" cy="63722"/>
                <a:chOff x="4731543" y="3022853"/>
                <a:chExt cx="61817" cy="63722"/>
              </a:xfrm>
            </p:grpSpPr>
            <p:sp>
              <p:nvSpPr>
                <p:cNvPr id="2689" name="Freeform: Shape 2688">
                  <a:extLst>
                    <a:ext uri="{FF2B5EF4-FFF2-40B4-BE49-F238E27FC236}">
                      <a16:creationId xmlns:a16="http://schemas.microsoft.com/office/drawing/2014/main" id="{747AB25D-B6AF-ABC1-AE53-53FDD3241136}"/>
                    </a:ext>
                  </a:extLst>
                </p:cNvPr>
                <p:cNvSpPr/>
                <p:nvPr/>
              </p:nvSpPr>
              <p:spPr>
                <a:xfrm>
                  <a:off x="4762500" y="302285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90" name="Freeform: Shape 2689">
                  <a:extLst>
                    <a:ext uri="{FF2B5EF4-FFF2-40B4-BE49-F238E27FC236}">
                      <a16:creationId xmlns:a16="http://schemas.microsoft.com/office/drawing/2014/main" id="{B17551F4-1FC3-8775-F5D3-888EC8FD3A46}"/>
                    </a:ext>
                  </a:extLst>
                </p:cNvPr>
                <p:cNvSpPr/>
                <p:nvPr/>
              </p:nvSpPr>
              <p:spPr>
                <a:xfrm>
                  <a:off x="4731543" y="305466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2" name="Graphic 1443">
                <a:extLst>
                  <a:ext uri="{FF2B5EF4-FFF2-40B4-BE49-F238E27FC236}">
                    <a16:creationId xmlns:a16="http://schemas.microsoft.com/office/drawing/2014/main" id="{A86916B9-6CD7-B54B-6D61-BDF539946990}"/>
                  </a:ext>
                </a:extLst>
              </p:cNvPr>
              <p:cNvGrpSpPr/>
              <p:nvPr/>
            </p:nvGrpSpPr>
            <p:grpSpPr>
              <a:xfrm>
                <a:off x="4712017" y="3013900"/>
                <a:ext cx="61817" cy="63722"/>
                <a:chOff x="4712017" y="3013900"/>
                <a:chExt cx="61817" cy="63722"/>
              </a:xfrm>
            </p:grpSpPr>
            <p:sp>
              <p:nvSpPr>
                <p:cNvPr id="2687" name="Freeform: Shape 2686">
                  <a:extLst>
                    <a:ext uri="{FF2B5EF4-FFF2-40B4-BE49-F238E27FC236}">
                      <a16:creationId xmlns:a16="http://schemas.microsoft.com/office/drawing/2014/main" id="{1311628B-137F-82C1-2E7C-D3EEFB839510}"/>
                    </a:ext>
                  </a:extLst>
                </p:cNvPr>
                <p:cNvSpPr/>
                <p:nvPr/>
              </p:nvSpPr>
              <p:spPr>
                <a:xfrm>
                  <a:off x="4742973" y="301390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88" name="Freeform: Shape 2687">
                  <a:extLst>
                    <a:ext uri="{FF2B5EF4-FFF2-40B4-BE49-F238E27FC236}">
                      <a16:creationId xmlns:a16="http://schemas.microsoft.com/office/drawing/2014/main" id="{2E68919A-08CA-9E96-D8B6-828A3444FFB4}"/>
                    </a:ext>
                  </a:extLst>
                </p:cNvPr>
                <p:cNvSpPr/>
                <p:nvPr/>
              </p:nvSpPr>
              <p:spPr>
                <a:xfrm>
                  <a:off x="4712017" y="304580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3" name="Graphic 1443">
                <a:extLst>
                  <a:ext uri="{FF2B5EF4-FFF2-40B4-BE49-F238E27FC236}">
                    <a16:creationId xmlns:a16="http://schemas.microsoft.com/office/drawing/2014/main" id="{4D573F9C-A0A3-6746-B18D-99A92F5D1BBA}"/>
                  </a:ext>
                </a:extLst>
              </p:cNvPr>
              <p:cNvGrpSpPr/>
              <p:nvPr/>
            </p:nvGrpSpPr>
            <p:grpSpPr>
              <a:xfrm>
                <a:off x="4681156" y="3001803"/>
                <a:ext cx="61817" cy="63722"/>
                <a:chOff x="4681156" y="3001803"/>
                <a:chExt cx="61817" cy="63722"/>
              </a:xfrm>
            </p:grpSpPr>
            <p:sp>
              <p:nvSpPr>
                <p:cNvPr id="2685" name="Freeform: Shape 2684">
                  <a:extLst>
                    <a:ext uri="{FF2B5EF4-FFF2-40B4-BE49-F238E27FC236}">
                      <a16:creationId xmlns:a16="http://schemas.microsoft.com/office/drawing/2014/main" id="{725CB558-E0D2-1642-0358-06A7747EFD9E}"/>
                    </a:ext>
                  </a:extLst>
                </p:cNvPr>
                <p:cNvSpPr/>
                <p:nvPr/>
              </p:nvSpPr>
              <p:spPr>
                <a:xfrm>
                  <a:off x="471201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86" name="Freeform: Shape 2685">
                  <a:extLst>
                    <a:ext uri="{FF2B5EF4-FFF2-40B4-BE49-F238E27FC236}">
                      <a16:creationId xmlns:a16="http://schemas.microsoft.com/office/drawing/2014/main" id="{C9CC872E-8F9D-8927-F06E-26207ECDC52A}"/>
                    </a:ext>
                  </a:extLst>
                </p:cNvPr>
                <p:cNvSpPr/>
                <p:nvPr/>
              </p:nvSpPr>
              <p:spPr>
                <a:xfrm>
                  <a:off x="468115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4" name="Graphic 1443">
                <a:extLst>
                  <a:ext uri="{FF2B5EF4-FFF2-40B4-BE49-F238E27FC236}">
                    <a16:creationId xmlns:a16="http://schemas.microsoft.com/office/drawing/2014/main" id="{248BD5BD-D7B3-1757-92C9-0E734EA08A27}"/>
                  </a:ext>
                </a:extLst>
              </p:cNvPr>
              <p:cNvGrpSpPr/>
              <p:nvPr/>
            </p:nvGrpSpPr>
            <p:grpSpPr>
              <a:xfrm>
                <a:off x="4659534" y="3001803"/>
                <a:ext cx="61817" cy="63722"/>
                <a:chOff x="4659534" y="3001803"/>
                <a:chExt cx="61817" cy="63722"/>
              </a:xfrm>
            </p:grpSpPr>
            <p:sp>
              <p:nvSpPr>
                <p:cNvPr id="2683" name="Freeform: Shape 2682">
                  <a:extLst>
                    <a:ext uri="{FF2B5EF4-FFF2-40B4-BE49-F238E27FC236}">
                      <a16:creationId xmlns:a16="http://schemas.microsoft.com/office/drawing/2014/main" id="{092E970B-CE96-02A1-6B04-BF203DBF4B62}"/>
                    </a:ext>
                  </a:extLst>
                </p:cNvPr>
                <p:cNvSpPr/>
                <p:nvPr/>
              </p:nvSpPr>
              <p:spPr>
                <a:xfrm>
                  <a:off x="469049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84" name="Freeform: Shape 2683">
                  <a:extLst>
                    <a:ext uri="{FF2B5EF4-FFF2-40B4-BE49-F238E27FC236}">
                      <a16:creationId xmlns:a16="http://schemas.microsoft.com/office/drawing/2014/main" id="{44FCCF2C-8953-08E6-7F01-20089BCA5354}"/>
                    </a:ext>
                  </a:extLst>
                </p:cNvPr>
                <p:cNvSpPr/>
                <p:nvPr/>
              </p:nvSpPr>
              <p:spPr>
                <a:xfrm>
                  <a:off x="465953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5" name="Graphic 1443">
                <a:extLst>
                  <a:ext uri="{FF2B5EF4-FFF2-40B4-BE49-F238E27FC236}">
                    <a16:creationId xmlns:a16="http://schemas.microsoft.com/office/drawing/2014/main" id="{3B9EF925-90C4-62B5-2382-7D611BEA3198}"/>
                  </a:ext>
                </a:extLst>
              </p:cNvPr>
              <p:cNvGrpSpPr/>
              <p:nvPr/>
            </p:nvGrpSpPr>
            <p:grpSpPr>
              <a:xfrm>
                <a:off x="4632864" y="3001803"/>
                <a:ext cx="61817" cy="63722"/>
                <a:chOff x="4632864" y="3001803"/>
                <a:chExt cx="61817" cy="63722"/>
              </a:xfrm>
            </p:grpSpPr>
            <p:sp>
              <p:nvSpPr>
                <p:cNvPr id="2681" name="Freeform: Shape 2680">
                  <a:extLst>
                    <a:ext uri="{FF2B5EF4-FFF2-40B4-BE49-F238E27FC236}">
                      <a16:creationId xmlns:a16="http://schemas.microsoft.com/office/drawing/2014/main" id="{4723E046-01AB-2953-F820-B3A79D328A27}"/>
                    </a:ext>
                  </a:extLst>
                </p:cNvPr>
                <p:cNvSpPr/>
                <p:nvPr/>
              </p:nvSpPr>
              <p:spPr>
                <a:xfrm>
                  <a:off x="466382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82" name="Freeform: Shape 2681">
                  <a:extLst>
                    <a:ext uri="{FF2B5EF4-FFF2-40B4-BE49-F238E27FC236}">
                      <a16:creationId xmlns:a16="http://schemas.microsoft.com/office/drawing/2014/main" id="{706B3DD6-C36C-EDF0-E072-A991E312FE1A}"/>
                    </a:ext>
                  </a:extLst>
                </p:cNvPr>
                <p:cNvSpPr/>
                <p:nvPr/>
              </p:nvSpPr>
              <p:spPr>
                <a:xfrm>
                  <a:off x="463286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6" name="Graphic 1443">
                <a:extLst>
                  <a:ext uri="{FF2B5EF4-FFF2-40B4-BE49-F238E27FC236}">
                    <a16:creationId xmlns:a16="http://schemas.microsoft.com/office/drawing/2014/main" id="{EE144807-0662-2D4D-09CA-092B05D3884A}"/>
                  </a:ext>
                </a:extLst>
              </p:cNvPr>
              <p:cNvGrpSpPr/>
              <p:nvPr/>
            </p:nvGrpSpPr>
            <p:grpSpPr>
              <a:xfrm>
                <a:off x="4606766" y="3001803"/>
                <a:ext cx="61817" cy="63722"/>
                <a:chOff x="4606766" y="3001803"/>
                <a:chExt cx="61817" cy="63722"/>
              </a:xfrm>
            </p:grpSpPr>
            <p:sp>
              <p:nvSpPr>
                <p:cNvPr id="2679" name="Freeform: Shape 2678">
                  <a:extLst>
                    <a:ext uri="{FF2B5EF4-FFF2-40B4-BE49-F238E27FC236}">
                      <a16:creationId xmlns:a16="http://schemas.microsoft.com/office/drawing/2014/main" id="{D86AA16B-5DB2-2128-8AB3-3070D92B6E7B}"/>
                    </a:ext>
                  </a:extLst>
                </p:cNvPr>
                <p:cNvSpPr/>
                <p:nvPr/>
              </p:nvSpPr>
              <p:spPr>
                <a:xfrm>
                  <a:off x="463762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80" name="Freeform: Shape 2679">
                  <a:extLst>
                    <a:ext uri="{FF2B5EF4-FFF2-40B4-BE49-F238E27FC236}">
                      <a16:creationId xmlns:a16="http://schemas.microsoft.com/office/drawing/2014/main" id="{0452CF46-039D-3619-0B0A-AF851C300C83}"/>
                    </a:ext>
                  </a:extLst>
                </p:cNvPr>
                <p:cNvSpPr/>
                <p:nvPr/>
              </p:nvSpPr>
              <p:spPr>
                <a:xfrm>
                  <a:off x="460676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7" name="Graphic 1443">
                <a:extLst>
                  <a:ext uri="{FF2B5EF4-FFF2-40B4-BE49-F238E27FC236}">
                    <a16:creationId xmlns:a16="http://schemas.microsoft.com/office/drawing/2014/main" id="{2080D3AA-AC97-D057-C27E-DC29FED0E215}"/>
                  </a:ext>
                </a:extLst>
              </p:cNvPr>
              <p:cNvGrpSpPr/>
              <p:nvPr/>
            </p:nvGrpSpPr>
            <p:grpSpPr>
              <a:xfrm>
                <a:off x="4606766" y="2973228"/>
                <a:ext cx="61817" cy="63722"/>
                <a:chOff x="4606766" y="2973228"/>
                <a:chExt cx="61817" cy="63722"/>
              </a:xfrm>
            </p:grpSpPr>
            <p:sp>
              <p:nvSpPr>
                <p:cNvPr id="2677" name="Freeform: Shape 2676">
                  <a:extLst>
                    <a:ext uri="{FF2B5EF4-FFF2-40B4-BE49-F238E27FC236}">
                      <a16:creationId xmlns:a16="http://schemas.microsoft.com/office/drawing/2014/main" id="{53AC0748-D499-F2C2-806F-9EDBB2705850}"/>
                    </a:ext>
                  </a:extLst>
                </p:cNvPr>
                <p:cNvSpPr/>
                <p:nvPr/>
              </p:nvSpPr>
              <p:spPr>
                <a:xfrm>
                  <a:off x="4637627"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78" name="Freeform: Shape 2677">
                  <a:extLst>
                    <a:ext uri="{FF2B5EF4-FFF2-40B4-BE49-F238E27FC236}">
                      <a16:creationId xmlns:a16="http://schemas.microsoft.com/office/drawing/2014/main" id="{F39561EC-7143-56A1-E3A9-B515AE904196}"/>
                    </a:ext>
                  </a:extLst>
                </p:cNvPr>
                <p:cNvSpPr/>
                <p:nvPr/>
              </p:nvSpPr>
              <p:spPr>
                <a:xfrm>
                  <a:off x="4606766"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8" name="Graphic 1443">
                <a:extLst>
                  <a:ext uri="{FF2B5EF4-FFF2-40B4-BE49-F238E27FC236}">
                    <a16:creationId xmlns:a16="http://schemas.microsoft.com/office/drawing/2014/main" id="{C3744E52-75BF-AEED-06EB-E2D3D8DF2AAB}"/>
                  </a:ext>
                </a:extLst>
              </p:cNvPr>
              <p:cNvGrpSpPr/>
              <p:nvPr/>
            </p:nvGrpSpPr>
            <p:grpSpPr>
              <a:xfrm>
                <a:off x="4587525" y="2973228"/>
                <a:ext cx="61817" cy="63722"/>
                <a:chOff x="4587525" y="2973228"/>
                <a:chExt cx="61817" cy="63722"/>
              </a:xfrm>
            </p:grpSpPr>
            <p:sp>
              <p:nvSpPr>
                <p:cNvPr id="2675" name="Freeform: Shape 2674">
                  <a:extLst>
                    <a:ext uri="{FF2B5EF4-FFF2-40B4-BE49-F238E27FC236}">
                      <a16:creationId xmlns:a16="http://schemas.microsoft.com/office/drawing/2014/main" id="{310AD21A-DE72-56CE-BE42-4A157631F4C1}"/>
                    </a:ext>
                  </a:extLst>
                </p:cNvPr>
                <p:cNvSpPr/>
                <p:nvPr/>
              </p:nvSpPr>
              <p:spPr>
                <a:xfrm>
                  <a:off x="4618482"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76" name="Freeform: Shape 2675">
                  <a:extLst>
                    <a:ext uri="{FF2B5EF4-FFF2-40B4-BE49-F238E27FC236}">
                      <a16:creationId xmlns:a16="http://schemas.microsoft.com/office/drawing/2014/main" id="{26BFB7FF-4236-B7A3-FD89-0AF5A2C0BB26}"/>
                    </a:ext>
                  </a:extLst>
                </p:cNvPr>
                <p:cNvSpPr/>
                <p:nvPr/>
              </p:nvSpPr>
              <p:spPr>
                <a:xfrm>
                  <a:off x="4587525"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399" name="Graphic 1443">
                <a:extLst>
                  <a:ext uri="{FF2B5EF4-FFF2-40B4-BE49-F238E27FC236}">
                    <a16:creationId xmlns:a16="http://schemas.microsoft.com/office/drawing/2014/main" id="{7BBA8F04-AC02-6734-9672-5FE7F97523D8}"/>
                  </a:ext>
                </a:extLst>
              </p:cNvPr>
              <p:cNvGrpSpPr/>
              <p:nvPr/>
            </p:nvGrpSpPr>
            <p:grpSpPr>
              <a:xfrm>
                <a:off x="4538948" y="2973228"/>
                <a:ext cx="61817" cy="63722"/>
                <a:chOff x="4538948" y="2973228"/>
                <a:chExt cx="61817" cy="63722"/>
              </a:xfrm>
            </p:grpSpPr>
            <p:sp>
              <p:nvSpPr>
                <p:cNvPr id="2673" name="Freeform: Shape 2672">
                  <a:extLst>
                    <a:ext uri="{FF2B5EF4-FFF2-40B4-BE49-F238E27FC236}">
                      <a16:creationId xmlns:a16="http://schemas.microsoft.com/office/drawing/2014/main" id="{C6C423A0-1DBC-042B-DD9C-EB1484388205}"/>
                    </a:ext>
                  </a:extLst>
                </p:cNvPr>
                <p:cNvSpPr/>
                <p:nvPr/>
              </p:nvSpPr>
              <p:spPr>
                <a:xfrm>
                  <a:off x="4569809"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74" name="Freeform: Shape 2673">
                  <a:extLst>
                    <a:ext uri="{FF2B5EF4-FFF2-40B4-BE49-F238E27FC236}">
                      <a16:creationId xmlns:a16="http://schemas.microsoft.com/office/drawing/2014/main" id="{CCB27253-8A2B-FFAB-AB19-3C66DF43712D}"/>
                    </a:ext>
                  </a:extLst>
                </p:cNvPr>
                <p:cNvSpPr/>
                <p:nvPr/>
              </p:nvSpPr>
              <p:spPr>
                <a:xfrm>
                  <a:off x="4538948"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0" name="Graphic 1443">
                <a:extLst>
                  <a:ext uri="{FF2B5EF4-FFF2-40B4-BE49-F238E27FC236}">
                    <a16:creationId xmlns:a16="http://schemas.microsoft.com/office/drawing/2014/main" id="{5C5CAFD0-C11B-58F4-456C-C4A07F898C88}"/>
                  </a:ext>
                </a:extLst>
              </p:cNvPr>
              <p:cNvGrpSpPr/>
              <p:nvPr/>
            </p:nvGrpSpPr>
            <p:grpSpPr>
              <a:xfrm>
                <a:off x="4525708" y="2957893"/>
                <a:ext cx="61817" cy="63722"/>
                <a:chOff x="4525708" y="2957893"/>
                <a:chExt cx="61817" cy="63722"/>
              </a:xfrm>
            </p:grpSpPr>
            <p:sp>
              <p:nvSpPr>
                <p:cNvPr id="2671" name="Freeform: Shape 2670">
                  <a:extLst>
                    <a:ext uri="{FF2B5EF4-FFF2-40B4-BE49-F238E27FC236}">
                      <a16:creationId xmlns:a16="http://schemas.microsoft.com/office/drawing/2014/main" id="{29D42885-940F-8BFD-9D53-D05B2077A16B}"/>
                    </a:ext>
                  </a:extLst>
                </p:cNvPr>
                <p:cNvSpPr/>
                <p:nvPr/>
              </p:nvSpPr>
              <p:spPr>
                <a:xfrm>
                  <a:off x="4556664"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72" name="Freeform: Shape 2671">
                  <a:extLst>
                    <a:ext uri="{FF2B5EF4-FFF2-40B4-BE49-F238E27FC236}">
                      <a16:creationId xmlns:a16="http://schemas.microsoft.com/office/drawing/2014/main" id="{1A0851D0-2564-9E6C-81E3-8C55D1FDC6BE}"/>
                    </a:ext>
                  </a:extLst>
                </p:cNvPr>
                <p:cNvSpPr/>
                <p:nvPr/>
              </p:nvSpPr>
              <p:spPr>
                <a:xfrm>
                  <a:off x="4525708"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1" name="Graphic 1443">
                <a:extLst>
                  <a:ext uri="{FF2B5EF4-FFF2-40B4-BE49-F238E27FC236}">
                    <a16:creationId xmlns:a16="http://schemas.microsoft.com/office/drawing/2014/main" id="{0F76CD87-47C1-63A0-A76E-ACF84334FF8E}"/>
                  </a:ext>
                </a:extLst>
              </p:cNvPr>
              <p:cNvGrpSpPr/>
              <p:nvPr/>
            </p:nvGrpSpPr>
            <p:grpSpPr>
              <a:xfrm>
                <a:off x="4512659" y="2957893"/>
                <a:ext cx="61817" cy="63722"/>
                <a:chOff x="4512659" y="2957893"/>
                <a:chExt cx="61817" cy="63722"/>
              </a:xfrm>
            </p:grpSpPr>
            <p:sp>
              <p:nvSpPr>
                <p:cNvPr id="2669" name="Freeform: Shape 2668">
                  <a:extLst>
                    <a:ext uri="{FF2B5EF4-FFF2-40B4-BE49-F238E27FC236}">
                      <a16:creationId xmlns:a16="http://schemas.microsoft.com/office/drawing/2014/main" id="{33B91459-5FF8-5BF4-ACC8-3CBF66B1C641}"/>
                    </a:ext>
                  </a:extLst>
                </p:cNvPr>
                <p:cNvSpPr/>
                <p:nvPr/>
              </p:nvSpPr>
              <p:spPr>
                <a:xfrm>
                  <a:off x="4543615"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70" name="Freeform: Shape 2669">
                  <a:extLst>
                    <a:ext uri="{FF2B5EF4-FFF2-40B4-BE49-F238E27FC236}">
                      <a16:creationId xmlns:a16="http://schemas.microsoft.com/office/drawing/2014/main" id="{FCAFCADD-FBA2-8EA9-E120-69B002570144}"/>
                    </a:ext>
                  </a:extLst>
                </p:cNvPr>
                <p:cNvSpPr/>
                <p:nvPr/>
              </p:nvSpPr>
              <p:spPr>
                <a:xfrm>
                  <a:off x="4512659"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2" name="Graphic 1443">
                <a:extLst>
                  <a:ext uri="{FF2B5EF4-FFF2-40B4-BE49-F238E27FC236}">
                    <a16:creationId xmlns:a16="http://schemas.microsoft.com/office/drawing/2014/main" id="{4BF36C89-250D-9AE1-6EF5-57605D86BF81}"/>
                  </a:ext>
                </a:extLst>
              </p:cNvPr>
              <p:cNvGrpSpPr/>
              <p:nvPr/>
            </p:nvGrpSpPr>
            <p:grpSpPr>
              <a:xfrm>
                <a:off x="4490180" y="2957893"/>
                <a:ext cx="61817" cy="63722"/>
                <a:chOff x="4490180" y="2957893"/>
                <a:chExt cx="61817" cy="63722"/>
              </a:xfrm>
            </p:grpSpPr>
            <p:sp>
              <p:nvSpPr>
                <p:cNvPr id="2667" name="Freeform: Shape 2666">
                  <a:extLst>
                    <a:ext uri="{FF2B5EF4-FFF2-40B4-BE49-F238E27FC236}">
                      <a16:creationId xmlns:a16="http://schemas.microsoft.com/office/drawing/2014/main" id="{811606ED-462E-A637-1E69-1D0AAE42D49E}"/>
                    </a:ext>
                  </a:extLst>
                </p:cNvPr>
                <p:cNvSpPr/>
                <p:nvPr/>
              </p:nvSpPr>
              <p:spPr>
                <a:xfrm>
                  <a:off x="4521041"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68" name="Freeform: Shape 2667">
                  <a:extLst>
                    <a:ext uri="{FF2B5EF4-FFF2-40B4-BE49-F238E27FC236}">
                      <a16:creationId xmlns:a16="http://schemas.microsoft.com/office/drawing/2014/main" id="{23AE5E2E-FF8A-013A-921D-60105015335E}"/>
                    </a:ext>
                  </a:extLst>
                </p:cNvPr>
                <p:cNvSpPr/>
                <p:nvPr/>
              </p:nvSpPr>
              <p:spPr>
                <a:xfrm>
                  <a:off x="4490180"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3" name="Graphic 1443">
                <a:extLst>
                  <a:ext uri="{FF2B5EF4-FFF2-40B4-BE49-F238E27FC236}">
                    <a16:creationId xmlns:a16="http://schemas.microsoft.com/office/drawing/2014/main" id="{7D74655F-1C8E-567B-90A5-C8189AF4A1EF}"/>
                  </a:ext>
                </a:extLst>
              </p:cNvPr>
              <p:cNvGrpSpPr/>
              <p:nvPr/>
            </p:nvGrpSpPr>
            <p:grpSpPr>
              <a:xfrm>
                <a:off x="4471416" y="2957893"/>
                <a:ext cx="61817" cy="63722"/>
                <a:chOff x="4471416" y="2957893"/>
                <a:chExt cx="61817" cy="63722"/>
              </a:xfrm>
            </p:grpSpPr>
            <p:sp>
              <p:nvSpPr>
                <p:cNvPr id="2665" name="Freeform: Shape 2664">
                  <a:extLst>
                    <a:ext uri="{FF2B5EF4-FFF2-40B4-BE49-F238E27FC236}">
                      <a16:creationId xmlns:a16="http://schemas.microsoft.com/office/drawing/2014/main" id="{523F2D15-61DC-8A61-44AF-837418E20ADE}"/>
                    </a:ext>
                  </a:extLst>
                </p:cNvPr>
                <p:cNvSpPr/>
                <p:nvPr/>
              </p:nvSpPr>
              <p:spPr>
                <a:xfrm>
                  <a:off x="4502277"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66" name="Freeform: Shape 2665">
                  <a:extLst>
                    <a:ext uri="{FF2B5EF4-FFF2-40B4-BE49-F238E27FC236}">
                      <a16:creationId xmlns:a16="http://schemas.microsoft.com/office/drawing/2014/main" id="{5F980EBA-8823-B27E-07B0-A8C8B0908A98}"/>
                    </a:ext>
                  </a:extLst>
                </p:cNvPr>
                <p:cNvSpPr/>
                <p:nvPr/>
              </p:nvSpPr>
              <p:spPr>
                <a:xfrm>
                  <a:off x="4471416"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4" name="Graphic 1443">
                <a:extLst>
                  <a:ext uri="{FF2B5EF4-FFF2-40B4-BE49-F238E27FC236}">
                    <a16:creationId xmlns:a16="http://schemas.microsoft.com/office/drawing/2014/main" id="{FA270410-1997-E770-0D49-F61707704364}"/>
                  </a:ext>
                </a:extLst>
              </p:cNvPr>
              <p:cNvGrpSpPr/>
              <p:nvPr/>
            </p:nvGrpSpPr>
            <p:grpSpPr>
              <a:xfrm>
                <a:off x="4556664" y="2973228"/>
                <a:ext cx="61817" cy="63722"/>
                <a:chOff x="4556664" y="2973228"/>
                <a:chExt cx="61817" cy="63722"/>
              </a:xfrm>
            </p:grpSpPr>
            <p:sp>
              <p:nvSpPr>
                <p:cNvPr id="2663" name="Freeform: Shape 2662">
                  <a:extLst>
                    <a:ext uri="{FF2B5EF4-FFF2-40B4-BE49-F238E27FC236}">
                      <a16:creationId xmlns:a16="http://schemas.microsoft.com/office/drawing/2014/main" id="{1F7CD2E9-DBB7-D08D-91B3-8DF6083C5950}"/>
                    </a:ext>
                  </a:extLst>
                </p:cNvPr>
                <p:cNvSpPr/>
                <p:nvPr/>
              </p:nvSpPr>
              <p:spPr>
                <a:xfrm>
                  <a:off x="4587525"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64" name="Freeform: Shape 2663">
                  <a:extLst>
                    <a:ext uri="{FF2B5EF4-FFF2-40B4-BE49-F238E27FC236}">
                      <a16:creationId xmlns:a16="http://schemas.microsoft.com/office/drawing/2014/main" id="{B3DABA5B-1BDD-55F9-9D6D-3B3268CA9B7A}"/>
                    </a:ext>
                  </a:extLst>
                </p:cNvPr>
                <p:cNvSpPr/>
                <p:nvPr/>
              </p:nvSpPr>
              <p:spPr>
                <a:xfrm>
                  <a:off x="4556664"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5" name="Graphic 1443">
                <a:extLst>
                  <a:ext uri="{FF2B5EF4-FFF2-40B4-BE49-F238E27FC236}">
                    <a16:creationId xmlns:a16="http://schemas.microsoft.com/office/drawing/2014/main" id="{D5488FF1-6D8E-6425-6E7C-6A505FB375BC}"/>
                  </a:ext>
                </a:extLst>
              </p:cNvPr>
              <p:cNvGrpSpPr/>
              <p:nvPr/>
            </p:nvGrpSpPr>
            <p:grpSpPr>
              <a:xfrm>
                <a:off x="4923948" y="3128485"/>
                <a:ext cx="61817" cy="63722"/>
                <a:chOff x="4923948" y="3128485"/>
                <a:chExt cx="61817" cy="63722"/>
              </a:xfrm>
            </p:grpSpPr>
            <p:sp>
              <p:nvSpPr>
                <p:cNvPr id="2661" name="Freeform: Shape 2660">
                  <a:extLst>
                    <a:ext uri="{FF2B5EF4-FFF2-40B4-BE49-F238E27FC236}">
                      <a16:creationId xmlns:a16="http://schemas.microsoft.com/office/drawing/2014/main" id="{A8B184DC-88BA-2FFC-7E89-DCFF729B5B13}"/>
                    </a:ext>
                  </a:extLst>
                </p:cNvPr>
                <p:cNvSpPr/>
                <p:nvPr/>
              </p:nvSpPr>
              <p:spPr>
                <a:xfrm>
                  <a:off x="495490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62" name="Freeform: Shape 2661">
                  <a:extLst>
                    <a:ext uri="{FF2B5EF4-FFF2-40B4-BE49-F238E27FC236}">
                      <a16:creationId xmlns:a16="http://schemas.microsoft.com/office/drawing/2014/main" id="{E1D50FE6-AB2B-1E2C-267C-3645602BA3CC}"/>
                    </a:ext>
                  </a:extLst>
                </p:cNvPr>
                <p:cNvSpPr/>
                <p:nvPr/>
              </p:nvSpPr>
              <p:spPr>
                <a:xfrm>
                  <a:off x="492394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6" name="Graphic 1443">
                <a:extLst>
                  <a:ext uri="{FF2B5EF4-FFF2-40B4-BE49-F238E27FC236}">
                    <a16:creationId xmlns:a16="http://schemas.microsoft.com/office/drawing/2014/main" id="{DB9B630F-577E-9EC8-396F-F3EE2CD2DF53}"/>
                  </a:ext>
                </a:extLst>
              </p:cNvPr>
              <p:cNvGrpSpPr/>
              <p:nvPr/>
            </p:nvGrpSpPr>
            <p:grpSpPr>
              <a:xfrm>
                <a:off x="4937474" y="3128485"/>
                <a:ext cx="61817" cy="63722"/>
                <a:chOff x="4937474" y="3128485"/>
                <a:chExt cx="61817" cy="63722"/>
              </a:xfrm>
            </p:grpSpPr>
            <p:sp>
              <p:nvSpPr>
                <p:cNvPr id="2659" name="Freeform: Shape 2658">
                  <a:extLst>
                    <a:ext uri="{FF2B5EF4-FFF2-40B4-BE49-F238E27FC236}">
                      <a16:creationId xmlns:a16="http://schemas.microsoft.com/office/drawing/2014/main" id="{BFAA3312-1C90-9B35-B910-96C664D348FA}"/>
                    </a:ext>
                  </a:extLst>
                </p:cNvPr>
                <p:cNvSpPr/>
                <p:nvPr/>
              </p:nvSpPr>
              <p:spPr>
                <a:xfrm>
                  <a:off x="496833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60" name="Freeform: Shape 2659">
                  <a:extLst>
                    <a:ext uri="{FF2B5EF4-FFF2-40B4-BE49-F238E27FC236}">
                      <a16:creationId xmlns:a16="http://schemas.microsoft.com/office/drawing/2014/main" id="{AA52D048-D386-30ED-C6A1-280E65F0EBB7}"/>
                    </a:ext>
                  </a:extLst>
                </p:cNvPr>
                <p:cNvSpPr/>
                <p:nvPr/>
              </p:nvSpPr>
              <p:spPr>
                <a:xfrm>
                  <a:off x="4937474"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7" name="Graphic 1443">
                <a:extLst>
                  <a:ext uri="{FF2B5EF4-FFF2-40B4-BE49-F238E27FC236}">
                    <a16:creationId xmlns:a16="http://schemas.microsoft.com/office/drawing/2014/main" id="{6120EF3F-DD84-3E96-3A73-FBBBD18E9E0A}"/>
                  </a:ext>
                </a:extLst>
              </p:cNvPr>
              <p:cNvGrpSpPr/>
              <p:nvPr/>
            </p:nvGrpSpPr>
            <p:grpSpPr>
              <a:xfrm>
                <a:off x="4954905" y="3128485"/>
                <a:ext cx="61817" cy="63722"/>
                <a:chOff x="4954905" y="3128485"/>
                <a:chExt cx="61817" cy="63722"/>
              </a:xfrm>
            </p:grpSpPr>
            <p:sp>
              <p:nvSpPr>
                <p:cNvPr id="2657" name="Freeform: Shape 2656">
                  <a:extLst>
                    <a:ext uri="{FF2B5EF4-FFF2-40B4-BE49-F238E27FC236}">
                      <a16:creationId xmlns:a16="http://schemas.microsoft.com/office/drawing/2014/main" id="{7D9CD11C-10B8-142E-BCF6-E4E18E82A69A}"/>
                    </a:ext>
                  </a:extLst>
                </p:cNvPr>
                <p:cNvSpPr/>
                <p:nvPr/>
              </p:nvSpPr>
              <p:spPr>
                <a:xfrm>
                  <a:off x="4985766"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58" name="Freeform: Shape 2657">
                  <a:extLst>
                    <a:ext uri="{FF2B5EF4-FFF2-40B4-BE49-F238E27FC236}">
                      <a16:creationId xmlns:a16="http://schemas.microsoft.com/office/drawing/2014/main" id="{7B54CA91-48B1-B635-82A2-EEAF58799A65}"/>
                    </a:ext>
                  </a:extLst>
                </p:cNvPr>
                <p:cNvSpPr/>
                <p:nvPr/>
              </p:nvSpPr>
              <p:spPr>
                <a:xfrm>
                  <a:off x="4954905"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8" name="Graphic 1443">
                <a:extLst>
                  <a:ext uri="{FF2B5EF4-FFF2-40B4-BE49-F238E27FC236}">
                    <a16:creationId xmlns:a16="http://schemas.microsoft.com/office/drawing/2014/main" id="{DE14C7AF-9890-6ED2-0D1E-8C0DB4851D6E}"/>
                  </a:ext>
                </a:extLst>
              </p:cNvPr>
              <p:cNvGrpSpPr/>
              <p:nvPr/>
            </p:nvGrpSpPr>
            <p:grpSpPr>
              <a:xfrm>
                <a:off x="4428363" y="2949701"/>
                <a:ext cx="61817" cy="63722"/>
                <a:chOff x="4428363" y="2949701"/>
                <a:chExt cx="61817" cy="63722"/>
              </a:xfrm>
            </p:grpSpPr>
            <p:sp>
              <p:nvSpPr>
                <p:cNvPr id="2655" name="Freeform: Shape 2654">
                  <a:extLst>
                    <a:ext uri="{FF2B5EF4-FFF2-40B4-BE49-F238E27FC236}">
                      <a16:creationId xmlns:a16="http://schemas.microsoft.com/office/drawing/2014/main" id="{C747D9DF-3B68-F99F-ACA8-91A80F8ADC79}"/>
                    </a:ext>
                  </a:extLst>
                </p:cNvPr>
                <p:cNvSpPr/>
                <p:nvPr/>
              </p:nvSpPr>
              <p:spPr>
                <a:xfrm>
                  <a:off x="4459224"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56" name="Freeform: Shape 2655">
                  <a:extLst>
                    <a:ext uri="{FF2B5EF4-FFF2-40B4-BE49-F238E27FC236}">
                      <a16:creationId xmlns:a16="http://schemas.microsoft.com/office/drawing/2014/main" id="{1EF74F62-D18E-164E-5F93-39AF523A97C3}"/>
                    </a:ext>
                  </a:extLst>
                </p:cNvPr>
                <p:cNvSpPr/>
                <p:nvPr/>
              </p:nvSpPr>
              <p:spPr>
                <a:xfrm>
                  <a:off x="442836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09" name="Graphic 1443">
                <a:extLst>
                  <a:ext uri="{FF2B5EF4-FFF2-40B4-BE49-F238E27FC236}">
                    <a16:creationId xmlns:a16="http://schemas.microsoft.com/office/drawing/2014/main" id="{D0B5EC50-FE4B-84A4-BAF7-41C1DA767628}"/>
                  </a:ext>
                </a:extLst>
              </p:cNvPr>
              <p:cNvGrpSpPr/>
              <p:nvPr/>
            </p:nvGrpSpPr>
            <p:grpSpPr>
              <a:xfrm>
                <a:off x="3589210" y="2782156"/>
                <a:ext cx="61722" cy="63722"/>
                <a:chOff x="3589210" y="2782156"/>
                <a:chExt cx="61722" cy="63722"/>
              </a:xfrm>
            </p:grpSpPr>
            <p:sp>
              <p:nvSpPr>
                <p:cNvPr id="2653" name="Freeform: Shape 2652">
                  <a:extLst>
                    <a:ext uri="{FF2B5EF4-FFF2-40B4-BE49-F238E27FC236}">
                      <a16:creationId xmlns:a16="http://schemas.microsoft.com/office/drawing/2014/main" id="{358E9504-FA3C-7B04-A4EB-BED415730CBB}"/>
                    </a:ext>
                  </a:extLst>
                </p:cNvPr>
                <p:cNvSpPr/>
                <p:nvPr/>
              </p:nvSpPr>
              <p:spPr>
                <a:xfrm>
                  <a:off x="3620071" y="27821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54" name="Freeform: Shape 2653">
                  <a:extLst>
                    <a:ext uri="{FF2B5EF4-FFF2-40B4-BE49-F238E27FC236}">
                      <a16:creationId xmlns:a16="http://schemas.microsoft.com/office/drawing/2014/main" id="{8BE1DD0B-98C5-E1A0-D8AD-C71663CCC4C1}"/>
                    </a:ext>
                  </a:extLst>
                </p:cNvPr>
                <p:cNvSpPr/>
                <p:nvPr/>
              </p:nvSpPr>
              <p:spPr>
                <a:xfrm>
                  <a:off x="3589210" y="2813970"/>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0" name="Graphic 1443">
                <a:extLst>
                  <a:ext uri="{FF2B5EF4-FFF2-40B4-BE49-F238E27FC236}">
                    <a16:creationId xmlns:a16="http://schemas.microsoft.com/office/drawing/2014/main" id="{38DADC63-BDC8-A738-48AC-2CDEF3A0C7F3}"/>
                  </a:ext>
                </a:extLst>
              </p:cNvPr>
              <p:cNvGrpSpPr/>
              <p:nvPr/>
            </p:nvGrpSpPr>
            <p:grpSpPr>
              <a:xfrm>
                <a:off x="3558254" y="2774441"/>
                <a:ext cx="61817" cy="63722"/>
                <a:chOff x="3558254" y="2774441"/>
                <a:chExt cx="61817" cy="63722"/>
              </a:xfrm>
            </p:grpSpPr>
            <p:sp>
              <p:nvSpPr>
                <p:cNvPr id="2651" name="Freeform: Shape 2650">
                  <a:extLst>
                    <a:ext uri="{FF2B5EF4-FFF2-40B4-BE49-F238E27FC236}">
                      <a16:creationId xmlns:a16="http://schemas.microsoft.com/office/drawing/2014/main" id="{31275582-325B-8641-9B44-E30C42387B20}"/>
                    </a:ext>
                  </a:extLst>
                </p:cNvPr>
                <p:cNvSpPr/>
                <p:nvPr/>
              </p:nvSpPr>
              <p:spPr>
                <a:xfrm>
                  <a:off x="3589210"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52" name="Freeform: Shape 2651">
                  <a:extLst>
                    <a:ext uri="{FF2B5EF4-FFF2-40B4-BE49-F238E27FC236}">
                      <a16:creationId xmlns:a16="http://schemas.microsoft.com/office/drawing/2014/main" id="{0815D718-2A07-EFAB-F766-7FEE15BB484F}"/>
                    </a:ext>
                  </a:extLst>
                </p:cNvPr>
                <p:cNvSpPr/>
                <p:nvPr/>
              </p:nvSpPr>
              <p:spPr>
                <a:xfrm>
                  <a:off x="3558254"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1" name="Graphic 1443">
                <a:extLst>
                  <a:ext uri="{FF2B5EF4-FFF2-40B4-BE49-F238E27FC236}">
                    <a16:creationId xmlns:a16="http://schemas.microsoft.com/office/drawing/2014/main" id="{F72DD3CE-FA7B-638B-C142-1E96E9E1EFC5}"/>
                  </a:ext>
                </a:extLst>
              </p:cNvPr>
              <p:cNvGrpSpPr/>
              <p:nvPr/>
            </p:nvGrpSpPr>
            <p:grpSpPr>
              <a:xfrm>
                <a:off x="3545490" y="2774441"/>
                <a:ext cx="61817" cy="63722"/>
                <a:chOff x="3545490" y="2774441"/>
                <a:chExt cx="61817" cy="63722"/>
              </a:xfrm>
            </p:grpSpPr>
            <p:sp>
              <p:nvSpPr>
                <p:cNvPr id="2649" name="Freeform: Shape 2648">
                  <a:extLst>
                    <a:ext uri="{FF2B5EF4-FFF2-40B4-BE49-F238E27FC236}">
                      <a16:creationId xmlns:a16="http://schemas.microsoft.com/office/drawing/2014/main" id="{72765140-4785-A932-3F74-52C784CA72B3}"/>
                    </a:ext>
                  </a:extLst>
                </p:cNvPr>
                <p:cNvSpPr/>
                <p:nvPr/>
              </p:nvSpPr>
              <p:spPr>
                <a:xfrm>
                  <a:off x="3576351"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50" name="Freeform: Shape 2649">
                  <a:extLst>
                    <a:ext uri="{FF2B5EF4-FFF2-40B4-BE49-F238E27FC236}">
                      <a16:creationId xmlns:a16="http://schemas.microsoft.com/office/drawing/2014/main" id="{FAB9BF80-394F-D75A-5DCF-B2CCD28CC60D}"/>
                    </a:ext>
                  </a:extLst>
                </p:cNvPr>
                <p:cNvSpPr/>
                <p:nvPr/>
              </p:nvSpPr>
              <p:spPr>
                <a:xfrm>
                  <a:off x="3545490"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2" name="Graphic 1443">
                <a:extLst>
                  <a:ext uri="{FF2B5EF4-FFF2-40B4-BE49-F238E27FC236}">
                    <a16:creationId xmlns:a16="http://schemas.microsoft.com/office/drawing/2014/main" id="{3FFC580D-0F33-0EC9-2A60-70F7761BE679}"/>
                  </a:ext>
                </a:extLst>
              </p:cNvPr>
              <p:cNvGrpSpPr/>
              <p:nvPr/>
            </p:nvGrpSpPr>
            <p:grpSpPr>
              <a:xfrm>
                <a:off x="3505295" y="2774441"/>
                <a:ext cx="61817" cy="63722"/>
                <a:chOff x="3505295" y="2774441"/>
                <a:chExt cx="61817" cy="63722"/>
              </a:xfrm>
            </p:grpSpPr>
            <p:sp>
              <p:nvSpPr>
                <p:cNvPr id="2647" name="Freeform: Shape 2646">
                  <a:extLst>
                    <a:ext uri="{FF2B5EF4-FFF2-40B4-BE49-F238E27FC236}">
                      <a16:creationId xmlns:a16="http://schemas.microsoft.com/office/drawing/2014/main" id="{44CB8006-417F-4C98-5CAD-E12C139A609F}"/>
                    </a:ext>
                  </a:extLst>
                </p:cNvPr>
                <p:cNvSpPr/>
                <p:nvPr/>
              </p:nvSpPr>
              <p:spPr>
                <a:xfrm>
                  <a:off x="3536156"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48" name="Freeform: Shape 2647">
                  <a:extLst>
                    <a:ext uri="{FF2B5EF4-FFF2-40B4-BE49-F238E27FC236}">
                      <a16:creationId xmlns:a16="http://schemas.microsoft.com/office/drawing/2014/main" id="{D980ED1F-24A3-C723-2D1A-D342C28F034F}"/>
                    </a:ext>
                  </a:extLst>
                </p:cNvPr>
                <p:cNvSpPr/>
                <p:nvPr/>
              </p:nvSpPr>
              <p:spPr>
                <a:xfrm>
                  <a:off x="3505295"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3" name="Graphic 1443">
                <a:extLst>
                  <a:ext uri="{FF2B5EF4-FFF2-40B4-BE49-F238E27FC236}">
                    <a16:creationId xmlns:a16="http://schemas.microsoft.com/office/drawing/2014/main" id="{E8ED4781-7D99-67C2-1E75-124309639236}"/>
                  </a:ext>
                </a:extLst>
              </p:cNvPr>
              <p:cNvGrpSpPr/>
              <p:nvPr/>
            </p:nvGrpSpPr>
            <p:grpSpPr>
              <a:xfrm>
                <a:off x="3489864" y="2754343"/>
                <a:ext cx="61817" cy="63722"/>
                <a:chOff x="3489864" y="2754343"/>
                <a:chExt cx="61817" cy="63722"/>
              </a:xfrm>
            </p:grpSpPr>
            <p:sp>
              <p:nvSpPr>
                <p:cNvPr id="2645" name="Freeform: Shape 2644">
                  <a:extLst>
                    <a:ext uri="{FF2B5EF4-FFF2-40B4-BE49-F238E27FC236}">
                      <a16:creationId xmlns:a16="http://schemas.microsoft.com/office/drawing/2014/main" id="{A262C53F-F01D-F9E8-E73B-9A4C67D455DE}"/>
                    </a:ext>
                  </a:extLst>
                </p:cNvPr>
                <p:cNvSpPr/>
                <p:nvPr/>
              </p:nvSpPr>
              <p:spPr>
                <a:xfrm>
                  <a:off x="3520725" y="27543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46" name="Freeform: Shape 2645">
                  <a:extLst>
                    <a:ext uri="{FF2B5EF4-FFF2-40B4-BE49-F238E27FC236}">
                      <a16:creationId xmlns:a16="http://schemas.microsoft.com/office/drawing/2014/main" id="{F2DDC200-CDAF-6014-BE4F-0F330A1284D4}"/>
                    </a:ext>
                  </a:extLst>
                </p:cNvPr>
                <p:cNvSpPr/>
                <p:nvPr/>
              </p:nvSpPr>
              <p:spPr>
                <a:xfrm>
                  <a:off x="3489864" y="2786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4" name="Graphic 1443">
                <a:extLst>
                  <a:ext uri="{FF2B5EF4-FFF2-40B4-BE49-F238E27FC236}">
                    <a16:creationId xmlns:a16="http://schemas.microsoft.com/office/drawing/2014/main" id="{A148ADD6-6B1D-970F-A5CD-C3CE92A3FF2D}"/>
                  </a:ext>
                </a:extLst>
              </p:cNvPr>
              <p:cNvGrpSpPr/>
              <p:nvPr/>
            </p:nvGrpSpPr>
            <p:grpSpPr>
              <a:xfrm>
                <a:off x="5848635" y="3357752"/>
                <a:ext cx="61817" cy="63722"/>
                <a:chOff x="5848635" y="3357752"/>
                <a:chExt cx="61817" cy="63722"/>
              </a:xfrm>
            </p:grpSpPr>
            <p:sp>
              <p:nvSpPr>
                <p:cNvPr id="2643" name="Freeform: Shape 2642">
                  <a:extLst>
                    <a:ext uri="{FF2B5EF4-FFF2-40B4-BE49-F238E27FC236}">
                      <a16:creationId xmlns:a16="http://schemas.microsoft.com/office/drawing/2014/main" id="{0D7CE19A-B6F7-FC35-2DCE-DD5ABDF152EA}"/>
                    </a:ext>
                  </a:extLst>
                </p:cNvPr>
                <p:cNvSpPr/>
                <p:nvPr/>
              </p:nvSpPr>
              <p:spPr>
                <a:xfrm>
                  <a:off x="5879496" y="33577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44" name="Freeform: Shape 2643">
                  <a:extLst>
                    <a:ext uri="{FF2B5EF4-FFF2-40B4-BE49-F238E27FC236}">
                      <a16:creationId xmlns:a16="http://schemas.microsoft.com/office/drawing/2014/main" id="{99CCF6B4-E344-683F-096B-E5DF9881AEB0}"/>
                    </a:ext>
                  </a:extLst>
                </p:cNvPr>
                <p:cNvSpPr/>
                <p:nvPr/>
              </p:nvSpPr>
              <p:spPr>
                <a:xfrm>
                  <a:off x="5848635" y="33895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5" name="Graphic 1443">
                <a:extLst>
                  <a:ext uri="{FF2B5EF4-FFF2-40B4-BE49-F238E27FC236}">
                    <a16:creationId xmlns:a16="http://schemas.microsoft.com/office/drawing/2014/main" id="{566581FA-1BD5-3F43-4D90-0545964409BD}"/>
                  </a:ext>
                </a:extLst>
              </p:cNvPr>
              <p:cNvGrpSpPr/>
              <p:nvPr/>
            </p:nvGrpSpPr>
            <p:grpSpPr>
              <a:xfrm>
                <a:off x="5919216" y="3380803"/>
                <a:ext cx="61817" cy="63627"/>
                <a:chOff x="5919216" y="3380803"/>
                <a:chExt cx="61817" cy="63627"/>
              </a:xfrm>
            </p:grpSpPr>
            <p:sp>
              <p:nvSpPr>
                <p:cNvPr id="2641" name="Freeform: Shape 2640">
                  <a:extLst>
                    <a:ext uri="{FF2B5EF4-FFF2-40B4-BE49-F238E27FC236}">
                      <a16:creationId xmlns:a16="http://schemas.microsoft.com/office/drawing/2014/main" id="{9D6810CC-7797-D028-8792-15B825A8D58E}"/>
                    </a:ext>
                  </a:extLst>
                </p:cNvPr>
                <p:cNvSpPr/>
                <p:nvPr/>
              </p:nvSpPr>
              <p:spPr>
                <a:xfrm>
                  <a:off x="5950077" y="338080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42" name="Freeform: Shape 2641">
                  <a:extLst>
                    <a:ext uri="{FF2B5EF4-FFF2-40B4-BE49-F238E27FC236}">
                      <a16:creationId xmlns:a16="http://schemas.microsoft.com/office/drawing/2014/main" id="{67103842-C2FF-DC6A-0A33-8FEBB3F0CFD2}"/>
                    </a:ext>
                  </a:extLst>
                </p:cNvPr>
                <p:cNvSpPr/>
                <p:nvPr/>
              </p:nvSpPr>
              <p:spPr>
                <a:xfrm>
                  <a:off x="5919216" y="341261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6" name="Graphic 1443">
                <a:extLst>
                  <a:ext uri="{FF2B5EF4-FFF2-40B4-BE49-F238E27FC236}">
                    <a16:creationId xmlns:a16="http://schemas.microsoft.com/office/drawing/2014/main" id="{01C0D11A-1623-8174-E496-025B0BD539BF}"/>
                  </a:ext>
                </a:extLst>
              </p:cNvPr>
              <p:cNvGrpSpPr/>
              <p:nvPr/>
            </p:nvGrpSpPr>
            <p:grpSpPr>
              <a:xfrm>
                <a:off x="5907500" y="3371563"/>
                <a:ext cx="61817" cy="63722"/>
                <a:chOff x="5907500" y="3371563"/>
                <a:chExt cx="61817" cy="63722"/>
              </a:xfrm>
            </p:grpSpPr>
            <p:sp>
              <p:nvSpPr>
                <p:cNvPr id="2639" name="Freeform: Shape 2638">
                  <a:extLst>
                    <a:ext uri="{FF2B5EF4-FFF2-40B4-BE49-F238E27FC236}">
                      <a16:creationId xmlns:a16="http://schemas.microsoft.com/office/drawing/2014/main" id="{4B501550-12F8-6012-A0EE-7582B9CB9B73}"/>
                    </a:ext>
                  </a:extLst>
                </p:cNvPr>
                <p:cNvSpPr/>
                <p:nvPr/>
              </p:nvSpPr>
              <p:spPr>
                <a:xfrm>
                  <a:off x="5938456" y="33715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40" name="Freeform: Shape 2639">
                  <a:extLst>
                    <a:ext uri="{FF2B5EF4-FFF2-40B4-BE49-F238E27FC236}">
                      <a16:creationId xmlns:a16="http://schemas.microsoft.com/office/drawing/2014/main" id="{6469CE98-DBC6-8A89-23EB-0BA7B0E983F2}"/>
                    </a:ext>
                  </a:extLst>
                </p:cNvPr>
                <p:cNvSpPr/>
                <p:nvPr/>
              </p:nvSpPr>
              <p:spPr>
                <a:xfrm>
                  <a:off x="5907500" y="34033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7" name="Graphic 1443">
                <a:extLst>
                  <a:ext uri="{FF2B5EF4-FFF2-40B4-BE49-F238E27FC236}">
                    <a16:creationId xmlns:a16="http://schemas.microsoft.com/office/drawing/2014/main" id="{9ED6B3F8-2A07-669F-41AB-EA4A5AF35700}"/>
                  </a:ext>
                </a:extLst>
              </p:cNvPr>
              <p:cNvGrpSpPr/>
              <p:nvPr/>
            </p:nvGrpSpPr>
            <p:grpSpPr>
              <a:xfrm>
                <a:off x="5885402" y="3366134"/>
                <a:ext cx="61817" cy="63722"/>
                <a:chOff x="5885402" y="3366134"/>
                <a:chExt cx="61817" cy="63722"/>
              </a:xfrm>
            </p:grpSpPr>
            <p:sp>
              <p:nvSpPr>
                <p:cNvPr id="2637" name="Freeform: Shape 2636">
                  <a:extLst>
                    <a:ext uri="{FF2B5EF4-FFF2-40B4-BE49-F238E27FC236}">
                      <a16:creationId xmlns:a16="http://schemas.microsoft.com/office/drawing/2014/main" id="{82480CB7-9526-9986-3E8B-4239EA4DC442}"/>
                    </a:ext>
                  </a:extLst>
                </p:cNvPr>
                <p:cNvSpPr/>
                <p:nvPr/>
              </p:nvSpPr>
              <p:spPr>
                <a:xfrm>
                  <a:off x="5916358" y="336613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38" name="Freeform: Shape 2637">
                  <a:extLst>
                    <a:ext uri="{FF2B5EF4-FFF2-40B4-BE49-F238E27FC236}">
                      <a16:creationId xmlns:a16="http://schemas.microsoft.com/office/drawing/2014/main" id="{974E1855-F081-05C9-AD79-9F1F5469C843}"/>
                    </a:ext>
                  </a:extLst>
                </p:cNvPr>
                <p:cNvSpPr/>
                <p:nvPr/>
              </p:nvSpPr>
              <p:spPr>
                <a:xfrm>
                  <a:off x="5885402" y="33980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8" name="Graphic 1443">
                <a:extLst>
                  <a:ext uri="{FF2B5EF4-FFF2-40B4-BE49-F238E27FC236}">
                    <a16:creationId xmlns:a16="http://schemas.microsoft.com/office/drawing/2014/main" id="{A12944A1-9793-4F38-2916-AA1F03594BC6}"/>
                  </a:ext>
                </a:extLst>
              </p:cNvPr>
              <p:cNvGrpSpPr/>
              <p:nvPr/>
            </p:nvGrpSpPr>
            <p:grpSpPr>
              <a:xfrm>
                <a:off x="5002625" y="3153631"/>
                <a:ext cx="61817" cy="63627"/>
                <a:chOff x="5002625" y="3153631"/>
                <a:chExt cx="61817" cy="63627"/>
              </a:xfrm>
            </p:grpSpPr>
            <p:sp>
              <p:nvSpPr>
                <p:cNvPr id="2635" name="Freeform: Shape 2634">
                  <a:extLst>
                    <a:ext uri="{FF2B5EF4-FFF2-40B4-BE49-F238E27FC236}">
                      <a16:creationId xmlns:a16="http://schemas.microsoft.com/office/drawing/2014/main" id="{C58CA3FB-59B2-FB34-C55B-7F1B49E6AB43}"/>
                    </a:ext>
                  </a:extLst>
                </p:cNvPr>
                <p:cNvSpPr/>
                <p:nvPr/>
              </p:nvSpPr>
              <p:spPr>
                <a:xfrm>
                  <a:off x="5033581" y="3153631"/>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36" name="Freeform: Shape 2635">
                  <a:extLst>
                    <a:ext uri="{FF2B5EF4-FFF2-40B4-BE49-F238E27FC236}">
                      <a16:creationId xmlns:a16="http://schemas.microsoft.com/office/drawing/2014/main" id="{F3E84E17-8035-F966-7E6B-5857F2F2901E}"/>
                    </a:ext>
                  </a:extLst>
                </p:cNvPr>
                <p:cNvSpPr/>
                <p:nvPr/>
              </p:nvSpPr>
              <p:spPr>
                <a:xfrm>
                  <a:off x="5002625" y="318544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19" name="Graphic 1443">
                <a:extLst>
                  <a:ext uri="{FF2B5EF4-FFF2-40B4-BE49-F238E27FC236}">
                    <a16:creationId xmlns:a16="http://schemas.microsoft.com/office/drawing/2014/main" id="{1B8BB2C1-2ACC-EC15-2BFE-21312DEF92B2}"/>
                  </a:ext>
                </a:extLst>
              </p:cNvPr>
              <p:cNvGrpSpPr/>
              <p:nvPr/>
            </p:nvGrpSpPr>
            <p:grpSpPr>
              <a:xfrm>
                <a:off x="6077045" y="3436714"/>
                <a:ext cx="61817" cy="63722"/>
                <a:chOff x="6077045" y="3436714"/>
                <a:chExt cx="61817" cy="63722"/>
              </a:xfrm>
            </p:grpSpPr>
            <p:sp>
              <p:nvSpPr>
                <p:cNvPr id="2633" name="Freeform: Shape 2632">
                  <a:extLst>
                    <a:ext uri="{FF2B5EF4-FFF2-40B4-BE49-F238E27FC236}">
                      <a16:creationId xmlns:a16="http://schemas.microsoft.com/office/drawing/2014/main" id="{7B53D5C6-84C0-F866-8D9C-7790C464DCE7}"/>
                    </a:ext>
                  </a:extLst>
                </p:cNvPr>
                <p:cNvSpPr/>
                <p:nvPr/>
              </p:nvSpPr>
              <p:spPr>
                <a:xfrm>
                  <a:off x="610790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34" name="Freeform: Shape 2633">
                  <a:extLst>
                    <a:ext uri="{FF2B5EF4-FFF2-40B4-BE49-F238E27FC236}">
                      <a16:creationId xmlns:a16="http://schemas.microsoft.com/office/drawing/2014/main" id="{E3557FEB-7CB6-DF9D-CD0C-8DBE5F7C705F}"/>
                    </a:ext>
                  </a:extLst>
                </p:cNvPr>
                <p:cNvSpPr/>
                <p:nvPr/>
              </p:nvSpPr>
              <p:spPr>
                <a:xfrm>
                  <a:off x="6077045"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0" name="Graphic 1443">
                <a:extLst>
                  <a:ext uri="{FF2B5EF4-FFF2-40B4-BE49-F238E27FC236}">
                    <a16:creationId xmlns:a16="http://schemas.microsoft.com/office/drawing/2014/main" id="{A33F505E-671C-A429-ED56-C110146CC98C}"/>
                  </a:ext>
                </a:extLst>
              </p:cNvPr>
              <p:cNvGrpSpPr/>
              <p:nvPr/>
            </p:nvGrpSpPr>
            <p:grpSpPr>
              <a:xfrm>
                <a:off x="6088951" y="3436714"/>
                <a:ext cx="61817" cy="63722"/>
                <a:chOff x="6088951" y="3436714"/>
                <a:chExt cx="61817" cy="63722"/>
              </a:xfrm>
            </p:grpSpPr>
            <p:sp>
              <p:nvSpPr>
                <p:cNvPr id="2631" name="Freeform: Shape 2630">
                  <a:extLst>
                    <a:ext uri="{FF2B5EF4-FFF2-40B4-BE49-F238E27FC236}">
                      <a16:creationId xmlns:a16="http://schemas.microsoft.com/office/drawing/2014/main" id="{0B9ECE00-A7D5-5FF5-7615-B76119B48A2B}"/>
                    </a:ext>
                  </a:extLst>
                </p:cNvPr>
                <p:cNvSpPr/>
                <p:nvPr/>
              </p:nvSpPr>
              <p:spPr>
                <a:xfrm>
                  <a:off x="6119812"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32" name="Freeform: Shape 2631">
                  <a:extLst>
                    <a:ext uri="{FF2B5EF4-FFF2-40B4-BE49-F238E27FC236}">
                      <a16:creationId xmlns:a16="http://schemas.microsoft.com/office/drawing/2014/main" id="{FC5B6F95-19A8-F72F-C6EC-804B832ABD62}"/>
                    </a:ext>
                  </a:extLst>
                </p:cNvPr>
                <p:cNvSpPr/>
                <p:nvPr/>
              </p:nvSpPr>
              <p:spPr>
                <a:xfrm>
                  <a:off x="6088951"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1" name="Graphic 1443">
                <a:extLst>
                  <a:ext uri="{FF2B5EF4-FFF2-40B4-BE49-F238E27FC236}">
                    <a16:creationId xmlns:a16="http://schemas.microsoft.com/office/drawing/2014/main" id="{392A938F-FC65-F8B0-2D83-64B6A6752C79}"/>
                  </a:ext>
                </a:extLst>
              </p:cNvPr>
              <p:cNvGrpSpPr/>
              <p:nvPr/>
            </p:nvGrpSpPr>
            <p:grpSpPr>
              <a:xfrm>
                <a:off x="6105429" y="3436714"/>
                <a:ext cx="61817" cy="63722"/>
                <a:chOff x="6105429" y="3436714"/>
                <a:chExt cx="61817" cy="63722"/>
              </a:xfrm>
            </p:grpSpPr>
            <p:sp>
              <p:nvSpPr>
                <p:cNvPr id="2629" name="Freeform: Shape 2628">
                  <a:extLst>
                    <a:ext uri="{FF2B5EF4-FFF2-40B4-BE49-F238E27FC236}">
                      <a16:creationId xmlns:a16="http://schemas.microsoft.com/office/drawing/2014/main" id="{F53E4025-D8F4-9ECD-73B7-12E4D59A2417}"/>
                    </a:ext>
                  </a:extLst>
                </p:cNvPr>
                <p:cNvSpPr/>
                <p:nvPr/>
              </p:nvSpPr>
              <p:spPr>
                <a:xfrm>
                  <a:off x="613638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30" name="Freeform: Shape 2629">
                  <a:extLst>
                    <a:ext uri="{FF2B5EF4-FFF2-40B4-BE49-F238E27FC236}">
                      <a16:creationId xmlns:a16="http://schemas.microsoft.com/office/drawing/2014/main" id="{41C5D077-BE8B-D9D2-B474-DDB2B8255BAB}"/>
                    </a:ext>
                  </a:extLst>
                </p:cNvPr>
                <p:cNvSpPr/>
                <p:nvPr/>
              </p:nvSpPr>
              <p:spPr>
                <a:xfrm>
                  <a:off x="610542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2" name="Graphic 1443">
                <a:extLst>
                  <a:ext uri="{FF2B5EF4-FFF2-40B4-BE49-F238E27FC236}">
                    <a16:creationId xmlns:a16="http://schemas.microsoft.com/office/drawing/2014/main" id="{8C2EF5A0-88FF-A032-8C34-96D9829EBB0A}"/>
                  </a:ext>
                </a:extLst>
              </p:cNvPr>
              <p:cNvGrpSpPr/>
              <p:nvPr/>
            </p:nvGrpSpPr>
            <p:grpSpPr>
              <a:xfrm>
                <a:off x="6123432" y="3436714"/>
                <a:ext cx="61817" cy="63722"/>
                <a:chOff x="6123432" y="3436714"/>
                <a:chExt cx="61817" cy="63722"/>
              </a:xfrm>
            </p:grpSpPr>
            <p:sp>
              <p:nvSpPr>
                <p:cNvPr id="2627" name="Freeform: Shape 2626">
                  <a:extLst>
                    <a:ext uri="{FF2B5EF4-FFF2-40B4-BE49-F238E27FC236}">
                      <a16:creationId xmlns:a16="http://schemas.microsoft.com/office/drawing/2014/main" id="{E0689041-2943-25D9-BC15-C476C6F40BFA}"/>
                    </a:ext>
                  </a:extLst>
                </p:cNvPr>
                <p:cNvSpPr/>
                <p:nvPr/>
              </p:nvSpPr>
              <p:spPr>
                <a:xfrm>
                  <a:off x="6154388"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28" name="Freeform: Shape 2627">
                  <a:extLst>
                    <a:ext uri="{FF2B5EF4-FFF2-40B4-BE49-F238E27FC236}">
                      <a16:creationId xmlns:a16="http://schemas.microsoft.com/office/drawing/2014/main" id="{EE65780E-FBAE-04A4-5CD4-02A8F0C8E5A0}"/>
                    </a:ext>
                  </a:extLst>
                </p:cNvPr>
                <p:cNvSpPr/>
                <p:nvPr/>
              </p:nvSpPr>
              <p:spPr>
                <a:xfrm>
                  <a:off x="6123432"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3" name="Graphic 1443">
                <a:extLst>
                  <a:ext uri="{FF2B5EF4-FFF2-40B4-BE49-F238E27FC236}">
                    <a16:creationId xmlns:a16="http://schemas.microsoft.com/office/drawing/2014/main" id="{E9F303D0-35A4-225D-72D1-E319161C5EA2}"/>
                  </a:ext>
                </a:extLst>
              </p:cNvPr>
              <p:cNvGrpSpPr/>
              <p:nvPr/>
            </p:nvGrpSpPr>
            <p:grpSpPr>
              <a:xfrm>
                <a:off x="6139243" y="3436714"/>
                <a:ext cx="61817" cy="63722"/>
                <a:chOff x="6139243" y="3436714"/>
                <a:chExt cx="61817" cy="63722"/>
              </a:xfrm>
            </p:grpSpPr>
            <p:sp>
              <p:nvSpPr>
                <p:cNvPr id="2625" name="Freeform: Shape 2624">
                  <a:extLst>
                    <a:ext uri="{FF2B5EF4-FFF2-40B4-BE49-F238E27FC236}">
                      <a16:creationId xmlns:a16="http://schemas.microsoft.com/office/drawing/2014/main" id="{FECB7642-4FDB-9555-3E88-FAE14372A3AE}"/>
                    </a:ext>
                  </a:extLst>
                </p:cNvPr>
                <p:cNvSpPr/>
                <p:nvPr/>
              </p:nvSpPr>
              <p:spPr>
                <a:xfrm>
                  <a:off x="617010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26" name="Freeform: Shape 2625">
                  <a:extLst>
                    <a:ext uri="{FF2B5EF4-FFF2-40B4-BE49-F238E27FC236}">
                      <a16:creationId xmlns:a16="http://schemas.microsoft.com/office/drawing/2014/main" id="{5CB60316-7ABC-C682-3E69-A9FC84FE526E}"/>
                    </a:ext>
                  </a:extLst>
                </p:cNvPr>
                <p:cNvSpPr/>
                <p:nvPr/>
              </p:nvSpPr>
              <p:spPr>
                <a:xfrm>
                  <a:off x="61392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4" name="Graphic 1443">
                <a:extLst>
                  <a:ext uri="{FF2B5EF4-FFF2-40B4-BE49-F238E27FC236}">
                    <a16:creationId xmlns:a16="http://schemas.microsoft.com/office/drawing/2014/main" id="{DC99AAF1-3565-3AC1-61C7-047BC1B0A861}"/>
                  </a:ext>
                </a:extLst>
              </p:cNvPr>
              <p:cNvGrpSpPr/>
              <p:nvPr/>
            </p:nvGrpSpPr>
            <p:grpSpPr>
              <a:xfrm>
                <a:off x="6146768" y="3436714"/>
                <a:ext cx="61817" cy="63722"/>
                <a:chOff x="6146768" y="3436714"/>
                <a:chExt cx="61817" cy="63722"/>
              </a:xfrm>
            </p:grpSpPr>
            <p:sp>
              <p:nvSpPr>
                <p:cNvPr id="2623" name="Freeform: Shape 2622">
                  <a:extLst>
                    <a:ext uri="{FF2B5EF4-FFF2-40B4-BE49-F238E27FC236}">
                      <a16:creationId xmlns:a16="http://schemas.microsoft.com/office/drawing/2014/main" id="{D28237A3-B147-1122-4EDF-D45196461A8D}"/>
                    </a:ext>
                  </a:extLst>
                </p:cNvPr>
                <p:cNvSpPr/>
                <p:nvPr/>
              </p:nvSpPr>
              <p:spPr>
                <a:xfrm>
                  <a:off x="617772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24" name="Freeform: Shape 2623">
                  <a:extLst>
                    <a:ext uri="{FF2B5EF4-FFF2-40B4-BE49-F238E27FC236}">
                      <a16:creationId xmlns:a16="http://schemas.microsoft.com/office/drawing/2014/main" id="{FE22E607-DD1B-6D3C-B539-8E7DD585987E}"/>
                    </a:ext>
                  </a:extLst>
                </p:cNvPr>
                <p:cNvSpPr/>
                <p:nvPr/>
              </p:nvSpPr>
              <p:spPr>
                <a:xfrm>
                  <a:off x="614676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5" name="Graphic 1443">
                <a:extLst>
                  <a:ext uri="{FF2B5EF4-FFF2-40B4-BE49-F238E27FC236}">
                    <a16:creationId xmlns:a16="http://schemas.microsoft.com/office/drawing/2014/main" id="{36663F91-EE45-7057-20D9-6F4F900E4E00}"/>
                  </a:ext>
                </a:extLst>
              </p:cNvPr>
              <p:cNvGrpSpPr/>
              <p:nvPr/>
            </p:nvGrpSpPr>
            <p:grpSpPr>
              <a:xfrm>
                <a:off x="6154388" y="3436714"/>
                <a:ext cx="61817" cy="63722"/>
                <a:chOff x="6154388" y="3436714"/>
                <a:chExt cx="61817" cy="63722"/>
              </a:xfrm>
            </p:grpSpPr>
            <p:sp>
              <p:nvSpPr>
                <p:cNvPr id="2621" name="Freeform: Shape 2620">
                  <a:extLst>
                    <a:ext uri="{FF2B5EF4-FFF2-40B4-BE49-F238E27FC236}">
                      <a16:creationId xmlns:a16="http://schemas.microsoft.com/office/drawing/2014/main" id="{624528BC-A626-1023-CAD7-E07B3F854437}"/>
                    </a:ext>
                  </a:extLst>
                </p:cNvPr>
                <p:cNvSpPr/>
                <p:nvPr/>
              </p:nvSpPr>
              <p:spPr>
                <a:xfrm>
                  <a:off x="618524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22" name="Freeform: Shape 2621">
                  <a:extLst>
                    <a:ext uri="{FF2B5EF4-FFF2-40B4-BE49-F238E27FC236}">
                      <a16:creationId xmlns:a16="http://schemas.microsoft.com/office/drawing/2014/main" id="{C04C8AB7-C4F0-272F-E97C-D39F1CA0F3D9}"/>
                    </a:ext>
                  </a:extLst>
                </p:cNvPr>
                <p:cNvSpPr/>
                <p:nvPr/>
              </p:nvSpPr>
              <p:spPr>
                <a:xfrm>
                  <a:off x="615438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6" name="Graphic 1443">
                <a:extLst>
                  <a:ext uri="{FF2B5EF4-FFF2-40B4-BE49-F238E27FC236}">
                    <a16:creationId xmlns:a16="http://schemas.microsoft.com/office/drawing/2014/main" id="{B5EBAAFA-E841-C196-5485-621ABAF09265}"/>
                  </a:ext>
                </a:extLst>
              </p:cNvPr>
              <p:cNvGrpSpPr/>
              <p:nvPr/>
            </p:nvGrpSpPr>
            <p:grpSpPr>
              <a:xfrm>
                <a:off x="6346793" y="3464813"/>
                <a:ext cx="61817" cy="63626"/>
                <a:chOff x="6346793" y="3464813"/>
                <a:chExt cx="61817" cy="63626"/>
              </a:xfrm>
            </p:grpSpPr>
            <p:sp>
              <p:nvSpPr>
                <p:cNvPr id="2619" name="Freeform: Shape 2618">
                  <a:extLst>
                    <a:ext uri="{FF2B5EF4-FFF2-40B4-BE49-F238E27FC236}">
                      <a16:creationId xmlns:a16="http://schemas.microsoft.com/office/drawing/2014/main" id="{E2EB19FD-6257-42CD-1793-179EEB1C3F7C}"/>
                    </a:ext>
                  </a:extLst>
                </p:cNvPr>
                <p:cNvSpPr/>
                <p:nvPr/>
              </p:nvSpPr>
              <p:spPr>
                <a:xfrm>
                  <a:off x="6377654" y="3464813"/>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20" name="Freeform: Shape 2619">
                  <a:extLst>
                    <a:ext uri="{FF2B5EF4-FFF2-40B4-BE49-F238E27FC236}">
                      <a16:creationId xmlns:a16="http://schemas.microsoft.com/office/drawing/2014/main" id="{AC1EA0B8-12D5-F313-8117-DABAE259D4A5}"/>
                    </a:ext>
                  </a:extLst>
                </p:cNvPr>
                <p:cNvSpPr/>
                <p:nvPr/>
              </p:nvSpPr>
              <p:spPr>
                <a:xfrm>
                  <a:off x="6346793" y="349662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7" name="Graphic 1443">
                <a:extLst>
                  <a:ext uri="{FF2B5EF4-FFF2-40B4-BE49-F238E27FC236}">
                    <a16:creationId xmlns:a16="http://schemas.microsoft.com/office/drawing/2014/main" id="{F00CFEB3-6D95-7356-5820-6DAF9E4AD8A1}"/>
                  </a:ext>
                </a:extLst>
              </p:cNvPr>
              <p:cNvGrpSpPr/>
              <p:nvPr/>
            </p:nvGrpSpPr>
            <p:grpSpPr>
              <a:xfrm>
                <a:off x="6578822" y="3550443"/>
                <a:ext cx="61817" cy="63722"/>
                <a:chOff x="6578822" y="3550443"/>
                <a:chExt cx="61817" cy="63722"/>
              </a:xfrm>
            </p:grpSpPr>
            <p:sp>
              <p:nvSpPr>
                <p:cNvPr id="2617" name="Freeform: Shape 2616">
                  <a:extLst>
                    <a:ext uri="{FF2B5EF4-FFF2-40B4-BE49-F238E27FC236}">
                      <a16:creationId xmlns:a16="http://schemas.microsoft.com/office/drawing/2014/main" id="{42FBA969-D284-2763-7F5A-DA887354C7EE}"/>
                    </a:ext>
                  </a:extLst>
                </p:cNvPr>
                <p:cNvSpPr/>
                <p:nvPr/>
              </p:nvSpPr>
              <p:spPr>
                <a:xfrm>
                  <a:off x="6609683"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18" name="Freeform: Shape 2617">
                  <a:extLst>
                    <a:ext uri="{FF2B5EF4-FFF2-40B4-BE49-F238E27FC236}">
                      <a16:creationId xmlns:a16="http://schemas.microsoft.com/office/drawing/2014/main" id="{CBEB81CB-2F82-2CA5-F0B6-6AF12079B986}"/>
                    </a:ext>
                  </a:extLst>
                </p:cNvPr>
                <p:cNvSpPr/>
                <p:nvPr/>
              </p:nvSpPr>
              <p:spPr>
                <a:xfrm>
                  <a:off x="6578822"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8" name="Graphic 1443">
                <a:extLst>
                  <a:ext uri="{FF2B5EF4-FFF2-40B4-BE49-F238E27FC236}">
                    <a16:creationId xmlns:a16="http://schemas.microsoft.com/office/drawing/2014/main" id="{216AF0EF-8380-19AE-F155-1B486E50DCC3}"/>
                  </a:ext>
                </a:extLst>
              </p:cNvPr>
              <p:cNvGrpSpPr/>
              <p:nvPr/>
            </p:nvGrpSpPr>
            <p:grpSpPr>
              <a:xfrm>
                <a:off x="6643211" y="3550443"/>
                <a:ext cx="61817" cy="63722"/>
                <a:chOff x="6643211" y="3550443"/>
                <a:chExt cx="61817" cy="63722"/>
              </a:xfrm>
            </p:grpSpPr>
            <p:sp>
              <p:nvSpPr>
                <p:cNvPr id="2615" name="Freeform: Shape 2614">
                  <a:extLst>
                    <a:ext uri="{FF2B5EF4-FFF2-40B4-BE49-F238E27FC236}">
                      <a16:creationId xmlns:a16="http://schemas.microsoft.com/office/drawing/2014/main" id="{06DEC7BB-BBE1-6C4E-5E1F-4CC93236619F}"/>
                    </a:ext>
                  </a:extLst>
                </p:cNvPr>
                <p:cNvSpPr/>
                <p:nvPr/>
              </p:nvSpPr>
              <p:spPr>
                <a:xfrm>
                  <a:off x="6674072"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16" name="Freeform: Shape 2615">
                  <a:extLst>
                    <a:ext uri="{FF2B5EF4-FFF2-40B4-BE49-F238E27FC236}">
                      <a16:creationId xmlns:a16="http://schemas.microsoft.com/office/drawing/2014/main" id="{BF1ABE83-CCD9-4104-6CA4-C04EA94940BD}"/>
                    </a:ext>
                  </a:extLst>
                </p:cNvPr>
                <p:cNvSpPr/>
                <p:nvPr/>
              </p:nvSpPr>
              <p:spPr>
                <a:xfrm>
                  <a:off x="664321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29" name="Graphic 1443">
                <a:extLst>
                  <a:ext uri="{FF2B5EF4-FFF2-40B4-BE49-F238E27FC236}">
                    <a16:creationId xmlns:a16="http://schemas.microsoft.com/office/drawing/2014/main" id="{F972A48A-46A6-D448-FECA-825B0F6455FC}"/>
                  </a:ext>
                </a:extLst>
              </p:cNvPr>
              <p:cNvGrpSpPr/>
              <p:nvPr/>
            </p:nvGrpSpPr>
            <p:grpSpPr>
              <a:xfrm>
                <a:off x="6560248" y="3550443"/>
                <a:ext cx="61817" cy="63722"/>
                <a:chOff x="6560248" y="3550443"/>
                <a:chExt cx="61817" cy="63722"/>
              </a:xfrm>
            </p:grpSpPr>
            <p:sp>
              <p:nvSpPr>
                <p:cNvPr id="2613" name="Freeform: Shape 2612">
                  <a:extLst>
                    <a:ext uri="{FF2B5EF4-FFF2-40B4-BE49-F238E27FC236}">
                      <a16:creationId xmlns:a16="http://schemas.microsoft.com/office/drawing/2014/main" id="{E2F64A70-207A-4792-35BB-0D4525F915D5}"/>
                    </a:ext>
                  </a:extLst>
                </p:cNvPr>
                <p:cNvSpPr/>
                <p:nvPr/>
              </p:nvSpPr>
              <p:spPr>
                <a:xfrm>
                  <a:off x="659120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14" name="Freeform: Shape 2613">
                  <a:extLst>
                    <a:ext uri="{FF2B5EF4-FFF2-40B4-BE49-F238E27FC236}">
                      <a16:creationId xmlns:a16="http://schemas.microsoft.com/office/drawing/2014/main" id="{00E5E6C1-1CF6-3E5B-6351-4F10AA06D648}"/>
                    </a:ext>
                  </a:extLst>
                </p:cNvPr>
                <p:cNvSpPr/>
                <p:nvPr/>
              </p:nvSpPr>
              <p:spPr>
                <a:xfrm>
                  <a:off x="656024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0" name="Graphic 1443">
                <a:extLst>
                  <a:ext uri="{FF2B5EF4-FFF2-40B4-BE49-F238E27FC236}">
                    <a16:creationId xmlns:a16="http://schemas.microsoft.com/office/drawing/2014/main" id="{C6D24BCF-95B3-5799-4841-A43159BED89D}"/>
                  </a:ext>
                </a:extLst>
              </p:cNvPr>
              <p:cNvGrpSpPr/>
              <p:nvPr/>
            </p:nvGrpSpPr>
            <p:grpSpPr>
              <a:xfrm>
                <a:off x="6569583" y="3550443"/>
                <a:ext cx="61817" cy="63722"/>
                <a:chOff x="6569583" y="3550443"/>
                <a:chExt cx="61817" cy="63722"/>
              </a:xfrm>
            </p:grpSpPr>
            <p:sp>
              <p:nvSpPr>
                <p:cNvPr id="2611" name="Freeform: Shape 2610">
                  <a:extLst>
                    <a:ext uri="{FF2B5EF4-FFF2-40B4-BE49-F238E27FC236}">
                      <a16:creationId xmlns:a16="http://schemas.microsoft.com/office/drawing/2014/main" id="{12799654-0A3A-48BF-CC60-873A4A4F611C}"/>
                    </a:ext>
                  </a:extLst>
                </p:cNvPr>
                <p:cNvSpPr/>
                <p:nvPr/>
              </p:nvSpPr>
              <p:spPr>
                <a:xfrm>
                  <a:off x="66004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12" name="Freeform: Shape 2611">
                  <a:extLst>
                    <a:ext uri="{FF2B5EF4-FFF2-40B4-BE49-F238E27FC236}">
                      <a16:creationId xmlns:a16="http://schemas.microsoft.com/office/drawing/2014/main" id="{924DBE96-3934-A528-7A5C-B3A5E454A973}"/>
                    </a:ext>
                  </a:extLst>
                </p:cNvPr>
                <p:cNvSpPr/>
                <p:nvPr/>
              </p:nvSpPr>
              <p:spPr>
                <a:xfrm>
                  <a:off x="656958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1" name="Graphic 1443">
                <a:extLst>
                  <a:ext uri="{FF2B5EF4-FFF2-40B4-BE49-F238E27FC236}">
                    <a16:creationId xmlns:a16="http://schemas.microsoft.com/office/drawing/2014/main" id="{8947A05E-EC15-03AD-3BD1-F5AA09C0FC6D}"/>
                  </a:ext>
                </a:extLst>
              </p:cNvPr>
              <p:cNvGrpSpPr/>
              <p:nvPr/>
            </p:nvGrpSpPr>
            <p:grpSpPr>
              <a:xfrm>
                <a:off x="6588061" y="3550443"/>
                <a:ext cx="61817" cy="63722"/>
                <a:chOff x="6588061" y="3550443"/>
                <a:chExt cx="61817" cy="63722"/>
              </a:xfrm>
            </p:grpSpPr>
            <p:sp>
              <p:nvSpPr>
                <p:cNvPr id="2609" name="Freeform: Shape 2608">
                  <a:extLst>
                    <a:ext uri="{FF2B5EF4-FFF2-40B4-BE49-F238E27FC236}">
                      <a16:creationId xmlns:a16="http://schemas.microsoft.com/office/drawing/2014/main" id="{6FF4112D-9DF9-BCD6-07A1-D7B7C31F87B5}"/>
                    </a:ext>
                  </a:extLst>
                </p:cNvPr>
                <p:cNvSpPr/>
                <p:nvPr/>
              </p:nvSpPr>
              <p:spPr>
                <a:xfrm>
                  <a:off x="661901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10" name="Freeform: Shape 2609">
                  <a:extLst>
                    <a:ext uri="{FF2B5EF4-FFF2-40B4-BE49-F238E27FC236}">
                      <a16:creationId xmlns:a16="http://schemas.microsoft.com/office/drawing/2014/main" id="{E692D5BA-98C9-0278-C575-DAD31C7A4C4A}"/>
                    </a:ext>
                  </a:extLst>
                </p:cNvPr>
                <p:cNvSpPr/>
                <p:nvPr/>
              </p:nvSpPr>
              <p:spPr>
                <a:xfrm>
                  <a:off x="658806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2" name="Graphic 1443">
                <a:extLst>
                  <a:ext uri="{FF2B5EF4-FFF2-40B4-BE49-F238E27FC236}">
                    <a16:creationId xmlns:a16="http://schemas.microsoft.com/office/drawing/2014/main" id="{24A7E579-D8F9-D08A-936E-D4CCBC292249}"/>
                  </a:ext>
                </a:extLst>
              </p:cNvPr>
              <p:cNvGrpSpPr/>
              <p:nvPr/>
            </p:nvGrpSpPr>
            <p:grpSpPr>
              <a:xfrm>
                <a:off x="6612255" y="3550443"/>
                <a:ext cx="61817" cy="63722"/>
                <a:chOff x="6612255" y="3550443"/>
                <a:chExt cx="61817" cy="63722"/>
              </a:xfrm>
            </p:grpSpPr>
            <p:sp>
              <p:nvSpPr>
                <p:cNvPr id="2607" name="Freeform: Shape 2606">
                  <a:extLst>
                    <a:ext uri="{FF2B5EF4-FFF2-40B4-BE49-F238E27FC236}">
                      <a16:creationId xmlns:a16="http://schemas.microsoft.com/office/drawing/2014/main" id="{9CDE40B3-B3D6-14D5-063E-DDFC2BD12EB8}"/>
                    </a:ext>
                  </a:extLst>
                </p:cNvPr>
                <p:cNvSpPr/>
                <p:nvPr/>
              </p:nvSpPr>
              <p:spPr>
                <a:xfrm>
                  <a:off x="664321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08" name="Freeform: Shape 2607">
                  <a:extLst>
                    <a:ext uri="{FF2B5EF4-FFF2-40B4-BE49-F238E27FC236}">
                      <a16:creationId xmlns:a16="http://schemas.microsoft.com/office/drawing/2014/main" id="{01B695CD-8D3D-3243-C0B4-2A58F1B11765}"/>
                    </a:ext>
                  </a:extLst>
                </p:cNvPr>
                <p:cNvSpPr/>
                <p:nvPr/>
              </p:nvSpPr>
              <p:spPr>
                <a:xfrm>
                  <a:off x="6612255"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3" name="Graphic 1443">
                <a:extLst>
                  <a:ext uri="{FF2B5EF4-FFF2-40B4-BE49-F238E27FC236}">
                    <a16:creationId xmlns:a16="http://schemas.microsoft.com/office/drawing/2014/main" id="{F937AEDC-551C-9E64-9396-10CA437664DA}"/>
                  </a:ext>
                </a:extLst>
              </p:cNvPr>
              <p:cNvGrpSpPr/>
              <p:nvPr/>
            </p:nvGrpSpPr>
            <p:grpSpPr>
              <a:xfrm>
                <a:off x="6627780" y="3550443"/>
                <a:ext cx="61817" cy="63722"/>
                <a:chOff x="6627780" y="3550443"/>
                <a:chExt cx="61817" cy="63722"/>
              </a:xfrm>
            </p:grpSpPr>
            <p:sp>
              <p:nvSpPr>
                <p:cNvPr id="2605" name="Freeform: Shape 2604">
                  <a:extLst>
                    <a:ext uri="{FF2B5EF4-FFF2-40B4-BE49-F238E27FC236}">
                      <a16:creationId xmlns:a16="http://schemas.microsoft.com/office/drawing/2014/main" id="{F6BCE206-0218-AD51-7023-D18802568E36}"/>
                    </a:ext>
                  </a:extLst>
                </p:cNvPr>
                <p:cNvSpPr/>
                <p:nvPr/>
              </p:nvSpPr>
              <p:spPr>
                <a:xfrm>
                  <a:off x="665873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06" name="Freeform: Shape 2605">
                  <a:extLst>
                    <a:ext uri="{FF2B5EF4-FFF2-40B4-BE49-F238E27FC236}">
                      <a16:creationId xmlns:a16="http://schemas.microsoft.com/office/drawing/2014/main" id="{CE0910BE-5780-6549-B2E0-971F3DE90F88}"/>
                    </a:ext>
                  </a:extLst>
                </p:cNvPr>
                <p:cNvSpPr/>
                <p:nvPr/>
              </p:nvSpPr>
              <p:spPr>
                <a:xfrm>
                  <a:off x="662778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4" name="Graphic 1443">
                <a:extLst>
                  <a:ext uri="{FF2B5EF4-FFF2-40B4-BE49-F238E27FC236}">
                    <a16:creationId xmlns:a16="http://schemas.microsoft.com/office/drawing/2014/main" id="{C57618AA-2F10-B23B-CE11-D7D1E1F173F0}"/>
                  </a:ext>
                </a:extLst>
              </p:cNvPr>
              <p:cNvGrpSpPr/>
              <p:nvPr/>
            </p:nvGrpSpPr>
            <p:grpSpPr>
              <a:xfrm>
                <a:off x="6603301" y="3550443"/>
                <a:ext cx="61817" cy="63722"/>
                <a:chOff x="6603301" y="3550443"/>
                <a:chExt cx="61817" cy="63722"/>
              </a:xfrm>
            </p:grpSpPr>
            <p:sp>
              <p:nvSpPr>
                <p:cNvPr id="2603" name="Freeform: Shape 2602">
                  <a:extLst>
                    <a:ext uri="{FF2B5EF4-FFF2-40B4-BE49-F238E27FC236}">
                      <a16:creationId xmlns:a16="http://schemas.microsoft.com/office/drawing/2014/main" id="{47F7238D-0CA0-4920-36A3-5A57D6EC122A}"/>
                    </a:ext>
                  </a:extLst>
                </p:cNvPr>
                <p:cNvSpPr/>
                <p:nvPr/>
              </p:nvSpPr>
              <p:spPr>
                <a:xfrm>
                  <a:off x="663425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04" name="Freeform: Shape 2603">
                  <a:extLst>
                    <a:ext uri="{FF2B5EF4-FFF2-40B4-BE49-F238E27FC236}">
                      <a16:creationId xmlns:a16="http://schemas.microsoft.com/office/drawing/2014/main" id="{62F73AB4-D915-6606-5107-57E1800D6E6B}"/>
                    </a:ext>
                  </a:extLst>
                </p:cNvPr>
                <p:cNvSpPr/>
                <p:nvPr/>
              </p:nvSpPr>
              <p:spPr>
                <a:xfrm>
                  <a:off x="660330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5" name="Graphic 1443">
                <a:extLst>
                  <a:ext uri="{FF2B5EF4-FFF2-40B4-BE49-F238E27FC236}">
                    <a16:creationId xmlns:a16="http://schemas.microsoft.com/office/drawing/2014/main" id="{2BD69933-D597-940C-79D7-C89002A96D8E}"/>
                  </a:ext>
                </a:extLst>
              </p:cNvPr>
              <p:cNvGrpSpPr/>
              <p:nvPr/>
            </p:nvGrpSpPr>
            <p:grpSpPr>
              <a:xfrm>
                <a:off x="6652164" y="3550443"/>
                <a:ext cx="61817" cy="63722"/>
                <a:chOff x="6652164" y="3550443"/>
                <a:chExt cx="61817" cy="63722"/>
              </a:xfrm>
            </p:grpSpPr>
            <p:sp>
              <p:nvSpPr>
                <p:cNvPr id="2601" name="Freeform: Shape 2600">
                  <a:extLst>
                    <a:ext uri="{FF2B5EF4-FFF2-40B4-BE49-F238E27FC236}">
                      <a16:creationId xmlns:a16="http://schemas.microsoft.com/office/drawing/2014/main" id="{341F81F7-6F8C-58BF-A98D-97D7B8EECADC}"/>
                    </a:ext>
                  </a:extLst>
                </p:cNvPr>
                <p:cNvSpPr/>
                <p:nvPr/>
              </p:nvSpPr>
              <p:spPr>
                <a:xfrm>
                  <a:off x="6683025"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02" name="Freeform: Shape 2601">
                  <a:extLst>
                    <a:ext uri="{FF2B5EF4-FFF2-40B4-BE49-F238E27FC236}">
                      <a16:creationId xmlns:a16="http://schemas.microsoft.com/office/drawing/2014/main" id="{2F1508A5-1683-104E-1BAE-4BEC393DCC05}"/>
                    </a:ext>
                  </a:extLst>
                </p:cNvPr>
                <p:cNvSpPr/>
                <p:nvPr/>
              </p:nvSpPr>
              <p:spPr>
                <a:xfrm>
                  <a:off x="6652164"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6" name="Graphic 1443">
                <a:extLst>
                  <a:ext uri="{FF2B5EF4-FFF2-40B4-BE49-F238E27FC236}">
                    <a16:creationId xmlns:a16="http://schemas.microsoft.com/office/drawing/2014/main" id="{9ED23E26-0FA1-E452-915D-DA4EAB50FD77}"/>
                  </a:ext>
                </a:extLst>
              </p:cNvPr>
              <p:cNvGrpSpPr/>
              <p:nvPr/>
            </p:nvGrpSpPr>
            <p:grpSpPr>
              <a:xfrm>
                <a:off x="6726269" y="3582352"/>
                <a:ext cx="61817" cy="63627"/>
                <a:chOff x="6726269" y="3582352"/>
                <a:chExt cx="61817" cy="63627"/>
              </a:xfrm>
            </p:grpSpPr>
            <p:sp>
              <p:nvSpPr>
                <p:cNvPr id="2599" name="Freeform: Shape 2598">
                  <a:extLst>
                    <a:ext uri="{FF2B5EF4-FFF2-40B4-BE49-F238E27FC236}">
                      <a16:creationId xmlns:a16="http://schemas.microsoft.com/office/drawing/2014/main" id="{8D4665A6-017C-9A65-DA3A-18D610446560}"/>
                    </a:ext>
                  </a:extLst>
                </p:cNvPr>
                <p:cNvSpPr/>
                <p:nvPr/>
              </p:nvSpPr>
              <p:spPr>
                <a:xfrm>
                  <a:off x="675713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00" name="Freeform: Shape 2599">
                  <a:extLst>
                    <a:ext uri="{FF2B5EF4-FFF2-40B4-BE49-F238E27FC236}">
                      <a16:creationId xmlns:a16="http://schemas.microsoft.com/office/drawing/2014/main" id="{345B01D6-59FE-52C3-6121-22F81C490E20}"/>
                    </a:ext>
                  </a:extLst>
                </p:cNvPr>
                <p:cNvSpPr/>
                <p:nvPr/>
              </p:nvSpPr>
              <p:spPr>
                <a:xfrm>
                  <a:off x="672626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7" name="Graphic 1443">
                <a:extLst>
                  <a:ext uri="{FF2B5EF4-FFF2-40B4-BE49-F238E27FC236}">
                    <a16:creationId xmlns:a16="http://schemas.microsoft.com/office/drawing/2014/main" id="{06F16817-B1C8-5825-7A5B-562B73FE7047}"/>
                  </a:ext>
                </a:extLst>
              </p:cNvPr>
              <p:cNvGrpSpPr/>
              <p:nvPr/>
            </p:nvGrpSpPr>
            <p:grpSpPr>
              <a:xfrm>
                <a:off x="6847141" y="3582352"/>
                <a:ext cx="61817" cy="63627"/>
                <a:chOff x="6847141" y="3582352"/>
                <a:chExt cx="61817" cy="63627"/>
              </a:xfrm>
            </p:grpSpPr>
            <p:sp>
              <p:nvSpPr>
                <p:cNvPr id="2597" name="Freeform: Shape 2596">
                  <a:extLst>
                    <a:ext uri="{FF2B5EF4-FFF2-40B4-BE49-F238E27FC236}">
                      <a16:creationId xmlns:a16="http://schemas.microsoft.com/office/drawing/2014/main" id="{EDD45ECE-4712-65B6-E0A3-64633E5FDC04}"/>
                    </a:ext>
                  </a:extLst>
                </p:cNvPr>
                <p:cNvSpPr/>
                <p:nvPr/>
              </p:nvSpPr>
              <p:spPr>
                <a:xfrm>
                  <a:off x="6878002"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98" name="Freeform: Shape 2597">
                  <a:extLst>
                    <a:ext uri="{FF2B5EF4-FFF2-40B4-BE49-F238E27FC236}">
                      <a16:creationId xmlns:a16="http://schemas.microsoft.com/office/drawing/2014/main" id="{6FA7D2CD-055A-C1D0-8595-4263D3D898F4}"/>
                    </a:ext>
                  </a:extLst>
                </p:cNvPr>
                <p:cNvSpPr/>
                <p:nvPr/>
              </p:nvSpPr>
              <p:spPr>
                <a:xfrm>
                  <a:off x="684714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8" name="Graphic 1443">
                <a:extLst>
                  <a:ext uri="{FF2B5EF4-FFF2-40B4-BE49-F238E27FC236}">
                    <a16:creationId xmlns:a16="http://schemas.microsoft.com/office/drawing/2014/main" id="{BF854067-3503-A786-292E-37F9AB80840B}"/>
                  </a:ext>
                </a:extLst>
              </p:cNvPr>
              <p:cNvGrpSpPr/>
              <p:nvPr/>
            </p:nvGrpSpPr>
            <p:grpSpPr>
              <a:xfrm>
                <a:off x="6819423" y="3582352"/>
                <a:ext cx="61817" cy="63627"/>
                <a:chOff x="6819423" y="3582352"/>
                <a:chExt cx="61817" cy="63627"/>
              </a:xfrm>
            </p:grpSpPr>
            <p:sp>
              <p:nvSpPr>
                <p:cNvPr id="2595" name="Freeform: Shape 2594">
                  <a:extLst>
                    <a:ext uri="{FF2B5EF4-FFF2-40B4-BE49-F238E27FC236}">
                      <a16:creationId xmlns:a16="http://schemas.microsoft.com/office/drawing/2014/main" id="{8351B811-47A6-660C-4DC3-1FA0D9FD1AE9}"/>
                    </a:ext>
                  </a:extLst>
                </p:cNvPr>
                <p:cNvSpPr/>
                <p:nvPr/>
              </p:nvSpPr>
              <p:spPr>
                <a:xfrm>
                  <a:off x="685038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96" name="Freeform: Shape 2595">
                  <a:extLst>
                    <a:ext uri="{FF2B5EF4-FFF2-40B4-BE49-F238E27FC236}">
                      <a16:creationId xmlns:a16="http://schemas.microsoft.com/office/drawing/2014/main" id="{83474526-8BA9-5AF9-043D-86DC33A54525}"/>
                    </a:ext>
                  </a:extLst>
                </p:cNvPr>
                <p:cNvSpPr/>
                <p:nvPr/>
              </p:nvSpPr>
              <p:spPr>
                <a:xfrm>
                  <a:off x="681942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39" name="Graphic 1443">
                <a:extLst>
                  <a:ext uri="{FF2B5EF4-FFF2-40B4-BE49-F238E27FC236}">
                    <a16:creationId xmlns:a16="http://schemas.microsoft.com/office/drawing/2014/main" id="{2D8329D2-78FB-C4CF-BDC3-2E4A542D9D48}"/>
                  </a:ext>
                </a:extLst>
              </p:cNvPr>
              <p:cNvGrpSpPr/>
              <p:nvPr/>
            </p:nvGrpSpPr>
            <p:grpSpPr>
              <a:xfrm>
                <a:off x="6788562" y="3582352"/>
                <a:ext cx="61817" cy="63627"/>
                <a:chOff x="6788562" y="3582352"/>
                <a:chExt cx="61817" cy="63627"/>
              </a:xfrm>
            </p:grpSpPr>
            <p:sp>
              <p:nvSpPr>
                <p:cNvPr id="2593" name="Freeform: Shape 2592">
                  <a:extLst>
                    <a:ext uri="{FF2B5EF4-FFF2-40B4-BE49-F238E27FC236}">
                      <a16:creationId xmlns:a16="http://schemas.microsoft.com/office/drawing/2014/main" id="{0A6962AA-D812-0556-6117-2496609235C9}"/>
                    </a:ext>
                  </a:extLst>
                </p:cNvPr>
                <p:cNvSpPr/>
                <p:nvPr/>
              </p:nvSpPr>
              <p:spPr>
                <a:xfrm>
                  <a:off x="6819423"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94" name="Freeform: Shape 2593">
                  <a:extLst>
                    <a:ext uri="{FF2B5EF4-FFF2-40B4-BE49-F238E27FC236}">
                      <a16:creationId xmlns:a16="http://schemas.microsoft.com/office/drawing/2014/main" id="{A9D6ED36-88C3-7FA3-BE3F-79B2FB1F2D13}"/>
                    </a:ext>
                  </a:extLst>
                </p:cNvPr>
                <p:cNvSpPr/>
                <p:nvPr/>
              </p:nvSpPr>
              <p:spPr>
                <a:xfrm>
                  <a:off x="6788562"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0" name="Graphic 1443">
                <a:extLst>
                  <a:ext uri="{FF2B5EF4-FFF2-40B4-BE49-F238E27FC236}">
                    <a16:creationId xmlns:a16="http://schemas.microsoft.com/office/drawing/2014/main" id="{DD165BF0-0009-9411-8BE4-AAA6B8B6C020}"/>
                  </a:ext>
                </a:extLst>
              </p:cNvPr>
              <p:cNvGrpSpPr/>
              <p:nvPr/>
            </p:nvGrpSpPr>
            <p:grpSpPr>
              <a:xfrm>
                <a:off x="6754939" y="3582352"/>
                <a:ext cx="61817" cy="63627"/>
                <a:chOff x="6754939" y="3582352"/>
                <a:chExt cx="61817" cy="63627"/>
              </a:xfrm>
            </p:grpSpPr>
            <p:sp>
              <p:nvSpPr>
                <p:cNvPr id="2591" name="Freeform: Shape 2590">
                  <a:extLst>
                    <a:ext uri="{FF2B5EF4-FFF2-40B4-BE49-F238E27FC236}">
                      <a16:creationId xmlns:a16="http://schemas.microsoft.com/office/drawing/2014/main" id="{312B22FB-E57E-B567-5349-768022DCBDE6}"/>
                    </a:ext>
                  </a:extLst>
                </p:cNvPr>
                <p:cNvSpPr/>
                <p:nvPr/>
              </p:nvSpPr>
              <p:spPr>
                <a:xfrm>
                  <a:off x="678580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92" name="Freeform: Shape 2591">
                  <a:extLst>
                    <a:ext uri="{FF2B5EF4-FFF2-40B4-BE49-F238E27FC236}">
                      <a16:creationId xmlns:a16="http://schemas.microsoft.com/office/drawing/2014/main" id="{8DF590AE-6838-4290-DD25-4E3486E585AD}"/>
                    </a:ext>
                  </a:extLst>
                </p:cNvPr>
                <p:cNvSpPr/>
                <p:nvPr/>
              </p:nvSpPr>
              <p:spPr>
                <a:xfrm>
                  <a:off x="675493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1" name="Graphic 1443">
                <a:extLst>
                  <a:ext uri="{FF2B5EF4-FFF2-40B4-BE49-F238E27FC236}">
                    <a16:creationId xmlns:a16="http://schemas.microsoft.com/office/drawing/2014/main" id="{5D15A1AD-7FE8-C4EB-68DA-6F956766FA48}"/>
                  </a:ext>
                </a:extLst>
              </p:cNvPr>
              <p:cNvGrpSpPr/>
              <p:nvPr/>
            </p:nvGrpSpPr>
            <p:grpSpPr>
              <a:xfrm>
                <a:off x="6765321" y="3582352"/>
                <a:ext cx="61817" cy="63627"/>
                <a:chOff x="6765321" y="3582352"/>
                <a:chExt cx="61817" cy="63627"/>
              </a:xfrm>
            </p:grpSpPr>
            <p:sp>
              <p:nvSpPr>
                <p:cNvPr id="2589" name="Freeform: Shape 2588">
                  <a:extLst>
                    <a:ext uri="{FF2B5EF4-FFF2-40B4-BE49-F238E27FC236}">
                      <a16:creationId xmlns:a16="http://schemas.microsoft.com/office/drawing/2014/main" id="{10670CC2-2CE9-B28C-576B-187785E16F4F}"/>
                    </a:ext>
                  </a:extLst>
                </p:cNvPr>
                <p:cNvSpPr/>
                <p:nvPr/>
              </p:nvSpPr>
              <p:spPr>
                <a:xfrm>
                  <a:off x="6796278"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90" name="Freeform: Shape 2589">
                  <a:extLst>
                    <a:ext uri="{FF2B5EF4-FFF2-40B4-BE49-F238E27FC236}">
                      <a16:creationId xmlns:a16="http://schemas.microsoft.com/office/drawing/2014/main" id="{9185713A-88C6-130A-CC60-25D7B4A55EE4}"/>
                    </a:ext>
                  </a:extLst>
                </p:cNvPr>
                <p:cNvSpPr/>
                <p:nvPr/>
              </p:nvSpPr>
              <p:spPr>
                <a:xfrm>
                  <a:off x="676532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2" name="Graphic 1443">
                <a:extLst>
                  <a:ext uri="{FF2B5EF4-FFF2-40B4-BE49-F238E27FC236}">
                    <a16:creationId xmlns:a16="http://schemas.microsoft.com/office/drawing/2014/main" id="{F076E78E-346D-BB27-E713-8261B5578FE8}"/>
                  </a:ext>
                </a:extLst>
              </p:cNvPr>
              <p:cNvGrpSpPr/>
              <p:nvPr/>
            </p:nvGrpSpPr>
            <p:grpSpPr>
              <a:xfrm>
                <a:off x="6775799" y="3582352"/>
                <a:ext cx="61817" cy="63627"/>
                <a:chOff x="6775799" y="3582352"/>
                <a:chExt cx="61817" cy="63627"/>
              </a:xfrm>
            </p:grpSpPr>
            <p:sp>
              <p:nvSpPr>
                <p:cNvPr id="2587" name="Freeform: Shape 2586">
                  <a:extLst>
                    <a:ext uri="{FF2B5EF4-FFF2-40B4-BE49-F238E27FC236}">
                      <a16:creationId xmlns:a16="http://schemas.microsoft.com/office/drawing/2014/main" id="{C5731FF4-E694-8C82-B974-8672C8C50B27}"/>
                    </a:ext>
                  </a:extLst>
                </p:cNvPr>
                <p:cNvSpPr/>
                <p:nvPr/>
              </p:nvSpPr>
              <p:spPr>
                <a:xfrm>
                  <a:off x="680666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88" name="Freeform: Shape 2587">
                  <a:extLst>
                    <a:ext uri="{FF2B5EF4-FFF2-40B4-BE49-F238E27FC236}">
                      <a16:creationId xmlns:a16="http://schemas.microsoft.com/office/drawing/2014/main" id="{53CA3434-88B2-0A2E-53B9-AFF9EEA37565}"/>
                    </a:ext>
                  </a:extLst>
                </p:cNvPr>
                <p:cNvSpPr/>
                <p:nvPr/>
              </p:nvSpPr>
              <p:spPr>
                <a:xfrm>
                  <a:off x="677579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3" name="Graphic 1443">
                <a:extLst>
                  <a:ext uri="{FF2B5EF4-FFF2-40B4-BE49-F238E27FC236}">
                    <a16:creationId xmlns:a16="http://schemas.microsoft.com/office/drawing/2014/main" id="{60C56AA8-121A-BD2D-4A28-6279E8393720}"/>
                  </a:ext>
                </a:extLst>
              </p:cNvPr>
              <p:cNvGrpSpPr/>
              <p:nvPr/>
            </p:nvGrpSpPr>
            <p:grpSpPr>
              <a:xfrm>
                <a:off x="6925722" y="3601211"/>
                <a:ext cx="61817" cy="63722"/>
                <a:chOff x="6925722" y="3601211"/>
                <a:chExt cx="61817" cy="63722"/>
              </a:xfrm>
            </p:grpSpPr>
            <p:sp>
              <p:nvSpPr>
                <p:cNvPr id="2585" name="Freeform: Shape 2584">
                  <a:extLst>
                    <a:ext uri="{FF2B5EF4-FFF2-40B4-BE49-F238E27FC236}">
                      <a16:creationId xmlns:a16="http://schemas.microsoft.com/office/drawing/2014/main" id="{EC914C0D-378E-120C-E305-7EDC893BF3A2}"/>
                    </a:ext>
                  </a:extLst>
                </p:cNvPr>
                <p:cNvSpPr/>
                <p:nvPr/>
              </p:nvSpPr>
              <p:spPr>
                <a:xfrm>
                  <a:off x="695658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86" name="Freeform: Shape 2585">
                  <a:extLst>
                    <a:ext uri="{FF2B5EF4-FFF2-40B4-BE49-F238E27FC236}">
                      <a16:creationId xmlns:a16="http://schemas.microsoft.com/office/drawing/2014/main" id="{406919C3-FE73-CFB6-3432-C4B93F296A34}"/>
                    </a:ext>
                  </a:extLst>
                </p:cNvPr>
                <p:cNvSpPr/>
                <p:nvPr/>
              </p:nvSpPr>
              <p:spPr>
                <a:xfrm>
                  <a:off x="692572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4" name="Graphic 1443">
                <a:extLst>
                  <a:ext uri="{FF2B5EF4-FFF2-40B4-BE49-F238E27FC236}">
                    <a16:creationId xmlns:a16="http://schemas.microsoft.com/office/drawing/2014/main" id="{A4973396-BB6A-9190-5528-18BE0AF67696}"/>
                  </a:ext>
                </a:extLst>
              </p:cNvPr>
              <p:cNvGrpSpPr/>
              <p:nvPr/>
            </p:nvGrpSpPr>
            <p:grpSpPr>
              <a:xfrm>
                <a:off x="6915816" y="3601211"/>
                <a:ext cx="61817" cy="63722"/>
                <a:chOff x="6915816" y="3601211"/>
                <a:chExt cx="61817" cy="63722"/>
              </a:xfrm>
            </p:grpSpPr>
            <p:sp>
              <p:nvSpPr>
                <p:cNvPr id="2583" name="Freeform: Shape 2582">
                  <a:extLst>
                    <a:ext uri="{FF2B5EF4-FFF2-40B4-BE49-F238E27FC236}">
                      <a16:creationId xmlns:a16="http://schemas.microsoft.com/office/drawing/2014/main" id="{8AB12BC1-E7A0-86B0-8FF9-099D7FF1BB63}"/>
                    </a:ext>
                  </a:extLst>
                </p:cNvPr>
                <p:cNvSpPr/>
                <p:nvPr/>
              </p:nvSpPr>
              <p:spPr>
                <a:xfrm>
                  <a:off x="6946677"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84" name="Freeform: Shape 2583">
                  <a:extLst>
                    <a:ext uri="{FF2B5EF4-FFF2-40B4-BE49-F238E27FC236}">
                      <a16:creationId xmlns:a16="http://schemas.microsoft.com/office/drawing/2014/main" id="{E987CAE9-AC7B-D901-7304-F2118ADAF0AE}"/>
                    </a:ext>
                  </a:extLst>
                </p:cNvPr>
                <p:cNvSpPr/>
                <p:nvPr/>
              </p:nvSpPr>
              <p:spPr>
                <a:xfrm>
                  <a:off x="6915816"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5" name="Graphic 1443">
                <a:extLst>
                  <a:ext uri="{FF2B5EF4-FFF2-40B4-BE49-F238E27FC236}">
                    <a16:creationId xmlns:a16="http://schemas.microsoft.com/office/drawing/2014/main" id="{BF67AE5B-F6F5-41C5-48A5-89A4FF67A1D4}"/>
                  </a:ext>
                </a:extLst>
              </p:cNvPr>
              <p:cNvGrpSpPr/>
              <p:nvPr/>
            </p:nvGrpSpPr>
            <p:grpSpPr>
              <a:xfrm>
                <a:off x="6905815" y="3601211"/>
                <a:ext cx="61817" cy="63722"/>
                <a:chOff x="6905815" y="3601211"/>
                <a:chExt cx="61817" cy="63722"/>
              </a:xfrm>
            </p:grpSpPr>
            <p:sp>
              <p:nvSpPr>
                <p:cNvPr id="2581" name="Freeform: Shape 2580">
                  <a:extLst>
                    <a:ext uri="{FF2B5EF4-FFF2-40B4-BE49-F238E27FC236}">
                      <a16:creationId xmlns:a16="http://schemas.microsoft.com/office/drawing/2014/main" id="{9AC17B0E-E5F6-155A-36DE-2A5D8A5CDC54}"/>
                    </a:ext>
                  </a:extLst>
                </p:cNvPr>
                <p:cNvSpPr/>
                <p:nvPr/>
              </p:nvSpPr>
              <p:spPr>
                <a:xfrm>
                  <a:off x="6936771"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82" name="Freeform: Shape 2581">
                  <a:extLst>
                    <a:ext uri="{FF2B5EF4-FFF2-40B4-BE49-F238E27FC236}">
                      <a16:creationId xmlns:a16="http://schemas.microsoft.com/office/drawing/2014/main" id="{85C7BB9A-A9D6-7915-BFC5-2D0F68E56D48}"/>
                    </a:ext>
                  </a:extLst>
                </p:cNvPr>
                <p:cNvSpPr/>
                <p:nvPr/>
              </p:nvSpPr>
              <p:spPr>
                <a:xfrm>
                  <a:off x="6905815"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6" name="Graphic 1443">
                <a:extLst>
                  <a:ext uri="{FF2B5EF4-FFF2-40B4-BE49-F238E27FC236}">
                    <a16:creationId xmlns:a16="http://schemas.microsoft.com/office/drawing/2014/main" id="{CF01528A-1320-D439-625D-611D42AE2595}"/>
                  </a:ext>
                </a:extLst>
              </p:cNvPr>
              <p:cNvGrpSpPr/>
              <p:nvPr/>
            </p:nvGrpSpPr>
            <p:grpSpPr>
              <a:xfrm>
                <a:off x="6946677" y="3601211"/>
                <a:ext cx="61817" cy="63722"/>
                <a:chOff x="6946677" y="3601211"/>
                <a:chExt cx="61817" cy="63722"/>
              </a:xfrm>
            </p:grpSpPr>
            <p:sp>
              <p:nvSpPr>
                <p:cNvPr id="2579" name="Freeform: Shape 2578">
                  <a:extLst>
                    <a:ext uri="{FF2B5EF4-FFF2-40B4-BE49-F238E27FC236}">
                      <a16:creationId xmlns:a16="http://schemas.microsoft.com/office/drawing/2014/main" id="{2F47C3C1-93AE-EBE2-DE5A-65430A81217D}"/>
                    </a:ext>
                  </a:extLst>
                </p:cNvPr>
                <p:cNvSpPr/>
                <p:nvPr/>
              </p:nvSpPr>
              <p:spPr>
                <a:xfrm>
                  <a:off x="6977634"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80" name="Freeform: Shape 2579">
                  <a:extLst>
                    <a:ext uri="{FF2B5EF4-FFF2-40B4-BE49-F238E27FC236}">
                      <a16:creationId xmlns:a16="http://schemas.microsoft.com/office/drawing/2014/main" id="{2F71F7E4-E11A-BF6D-E8FB-C5BB24C6CD2E}"/>
                    </a:ext>
                  </a:extLst>
                </p:cNvPr>
                <p:cNvSpPr/>
                <p:nvPr/>
              </p:nvSpPr>
              <p:spPr>
                <a:xfrm>
                  <a:off x="694667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7" name="Graphic 1443">
                <a:extLst>
                  <a:ext uri="{FF2B5EF4-FFF2-40B4-BE49-F238E27FC236}">
                    <a16:creationId xmlns:a16="http://schemas.microsoft.com/office/drawing/2014/main" id="{2B3DF6AD-F20A-4A8A-AA9A-8105435C6362}"/>
                  </a:ext>
                </a:extLst>
              </p:cNvPr>
              <p:cNvGrpSpPr/>
              <p:nvPr/>
            </p:nvGrpSpPr>
            <p:grpSpPr>
              <a:xfrm>
                <a:off x="6967632" y="3601211"/>
                <a:ext cx="61817" cy="63722"/>
                <a:chOff x="6967632" y="3601211"/>
                <a:chExt cx="61817" cy="63722"/>
              </a:xfrm>
            </p:grpSpPr>
            <p:sp>
              <p:nvSpPr>
                <p:cNvPr id="2577" name="Freeform: Shape 2576">
                  <a:extLst>
                    <a:ext uri="{FF2B5EF4-FFF2-40B4-BE49-F238E27FC236}">
                      <a16:creationId xmlns:a16="http://schemas.microsoft.com/office/drawing/2014/main" id="{D55C3F9A-4B2A-9A30-1576-AC613236A1F1}"/>
                    </a:ext>
                  </a:extLst>
                </p:cNvPr>
                <p:cNvSpPr/>
                <p:nvPr/>
              </p:nvSpPr>
              <p:spPr>
                <a:xfrm>
                  <a:off x="699858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78" name="Freeform: Shape 2577">
                  <a:extLst>
                    <a:ext uri="{FF2B5EF4-FFF2-40B4-BE49-F238E27FC236}">
                      <a16:creationId xmlns:a16="http://schemas.microsoft.com/office/drawing/2014/main" id="{3C90ABB3-1779-E628-A2AE-FC1D7E9743BB}"/>
                    </a:ext>
                  </a:extLst>
                </p:cNvPr>
                <p:cNvSpPr/>
                <p:nvPr/>
              </p:nvSpPr>
              <p:spPr>
                <a:xfrm>
                  <a:off x="696763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8" name="Graphic 1443">
                <a:extLst>
                  <a:ext uri="{FF2B5EF4-FFF2-40B4-BE49-F238E27FC236}">
                    <a16:creationId xmlns:a16="http://schemas.microsoft.com/office/drawing/2014/main" id="{B2E3468B-6C53-6853-89D6-17D4A29F5A41}"/>
                  </a:ext>
                </a:extLst>
              </p:cNvPr>
              <p:cNvGrpSpPr/>
              <p:nvPr/>
            </p:nvGrpSpPr>
            <p:grpSpPr>
              <a:xfrm>
                <a:off x="6956583" y="3601211"/>
                <a:ext cx="61817" cy="63722"/>
                <a:chOff x="6956583" y="3601211"/>
                <a:chExt cx="61817" cy="63722"/>
              </a:xfrm>
            </p:grpSpPr>
            <p:sp>
              <p:nvSpPr>
                <p:cNvPr id="2575" name="Freeform: Shape 2574">
                  <a:extLst>
                    <a:ext uri="{FF2B5EF4-FFF2-40B4-BE49-F238E27FC236}">
                      <a16:creationId xmlns:a16="http://schemas.microsoft.com/office/drawing/2014/main" id="{B595F592-8869-8BEC-5C77-ACFFF9496FAD}"/>
                    </a:ext>
                  </a:extLst>
                </p:cNvPr>
                <p:cNvSpPr/>
                <p:nvPr/>
              </p:nvSpPr>
              <p:spPr>
                <a:xfrm>
                  <a:off x="6987540"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76" name="Freeform: Shape 2575">
                  <a:extLst>
                    <a:ext uri="{FF2B5EF4-FFF2-40B4-BE49-F238E27FC236}">
                      <a16:creationId xmlns:a16="http://schemas.microsoft.com/office/drawing/2014/main" id="{E21206FF-F031-FEE7-15CC-9EB4594933E4}"/>
                    </a:ext>
                  </a:extLst>
                </p:cNvPr>
                <p:cNvSpPr/>
                <p:nvPr/>
              </p:nvSpPr>
              <p:spPr>
                <a:xfrm>
                  <a:off x="6956583"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49" name="Graphic 1443">
                <a:extLst>
                  <a:ext uri="{FF2B5EF4-FFF2-40B4-BE49-F238E27FC236}">
                    <a16:creationId xmlns:a16="http://schemas.microsoft.com/office/drawing/2014/main" id="{27195A28-028C-EA91-627C-1A0FC76E4A28}"/>
                  </a:ext>
                </a:extLst>
              </p:cNvPr>
              <p:cNvGrpSpPr/>
              <p:nvPr/>
            </p:nvGrpSpPr>
            <p:grpSpPr>
              <a:xfrm>
                <a:off x="7005637" y="3601211"/>
                <a:ext cx="61817" cy="63722"/>
                <a:chOff x="7005637" y="3601211"/>
                <a:chExt cx="61817" cy="63722"/>
              </a:xfrm>
            </p:grpSpPr>
            <p:sp>
              <p:nvSpPr>
                <p:cNvPr id="2573" name="Freeform: Shape 2572">
                  <a:extLst>
                    <a:ext uri="{FF2B5EF4-FFF2-40B4-BE49-F238E27FC236}">
                      <a16:creationId xmlns:a16="http://schemas.microsoft.com/office/drawing/2014/main" id="{A5D1C9B1-1E07-4D57-2085-D36B3411D444}"/>
                    </a:ext>
                  </a:extLst>
                </p:cNvPr>
                <p:cNvSpPr/>
                <p:nvPr/>
              </p:nvSpPr>
              <p:spPr>
                <a:xfrm>
                  <a:off x="703659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74" name="Freeform: Shape 2573">
                  <a:extLst>
                    <a:ext uri="{FF2B5EF4-FFF2-40B4-BE49-F238E27FC236}">
                      <a16:creationId xmlns:a16="http://schemas.microsoft.com/office/drawing/2014/main" id="{B86A71A7-0D2E-AF16-675C-80DFCF3C137B}"/>
                    </a:ext>
                  </a:extLst>
                </p:cNvPr>
                <p:cNvSpPr/>
                <p:nvPr/>
              </p:nvSpPr>
              <p:spPr>
                <a:xfrm>
                  <a:off x="700563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0" name="Graphic 1443">
                <a:extLst>
                  <a:ext uri="{FF2B5EF4-FFF2-40B4-BE49-F238E27FC236}">
                    <a16:creationId xmlns:a16="http://schemas.microsoft.com/office/drawing/2014/main" id="{A30AE7FB-D5D0-54FA-9535-07E1922655A5}"/>
                  </a:ext>
                </a:extLst>
              </p:cNvPr>
              <p:cNvGrpSpPr/>
              <p:nvPr/>
            </p:nvGrpSpPr>
            <p:grpSpPr>
              <a:xfrm>
                <a:off x="7030688" y="3601211"/>
                <a:ext cx="61817" cy="63722"/>
                <a:chOff x="7030688" y="3601211"/>
                <a:chExt cx="61817" cy="63722"/>
              </a:xfrm>
            </p:grpSpPr>
            <p:sp>
              <p:nvSpPr>
                <p:cNvPr id="2571" name="Freeform: Shape 2570">
                  <a:extLst>
                    <a:ext uri="{FF2B5EF4-FFF2-40B4-BE49-F238E27FC236}">
                      <a16:creationId xmlns:a16="http://schemas.microsoft.com/office/drawing/2014/main" id="{5948127E-7119-8B4D-90A6-6775B1CE401F}"/>
                    </a:ext>
                  </a:extLst>
                </p:cNvPr>
                <p:cNvSpPr/>
                <p:nvPr/>
              </p:nvSpPr>
              <p:spPr>
                <a:xfrm>
                  <a:off x="706154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72" name="Freeform: Shape 2571">
                  <a:extLst>
                    <a:ext uri="{FF2B5EF4-FFF2-40B4-BE49-F238E27FC236}">
                      <a16:creationId xmlns:a16="http://schemas.microsoft.com/office/drawing/2014/main" id="{79E24180-D9E1-D693-42DD-49201AF95289}"/>
                    </a:ext>
                  </a:extLst>
                </p:cNvPr>
                <p:cNvSpPr/>
                <p:nvPr/>
              </p:nvSpPr>
              <p:spPr>
                <a:xfrm>
                  <a:off x="7030688"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1" name="Graphic 1443">
                <a:extLst>
                  <a:ext uri="{FF2B5EF4-FFF2-40B4-BE49-F238E27FC236}">
                    <a16:creationId xmlns:a16="http://schemas.microsoft.com/office/drawing/2014/main" id="{38A4E842-1836-552A-E51F-0DE009A67639}"/>
                  </a:ext>
                </a:extLst>
              </p:cNvPr>
              <p:cNvGrpSpPr/>
              <p:nvPr/>
            </p:nvGrpSpPr>
            <p:grpSpPr>
              <a:xfrm>
                <a:off x="7043356" y="3617880"/>
                <a:ext cx="61817" cy="63722"/>
                <a:chOff x="7043356" y="3617880"/>
                <a:chExt cx="61817" cy="63722"/>
              </a:xfrm>
            </p:grpSpPr>
            <p:sp>
              <p:nvSpPr>
                <p:cNvPr id="2569" name="Freeform: Shape 2568">
                  <a:extLst>
                    <a:ext uri="{FF2B5EF4-FFF2-40B4-BE49-F238E27FC236}">
                      <a16:creationId xmlns:a16="http://schemas.microsoft.com/office/drawing/2014/main" id="{151B3363-E468-F3E0-4568-703E2FC25D77}"/>
                    </a:ext>
                  </a:extLst>
                </p:cNvPr>
                <p:cNvSpPr/>
                <p:nvPr/>
              </p:nvSpPr>
              <p:spPr>
                <a:xfrm>
                  <a:off x="707431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70" name="Freeform: Shape 2569">
                  <a:extLst>
                    <a:ext uri="{FF2B5EF4-FFF2-40B4-BE49-F238E27FC236}">
                      <a16:creationId xmlns:a16="http://schemas.microsoft.com/office/drawing/2014/main" id="{0F59F4D5-6DC2-4438-FAB8-25164FD78A29}"/>
                    </a:ext>
                  </a:extLst>
                </p:cNvPr>
                <p:cNvSpPr/>
                <p:nvPr/>
              </p:nvSpPr>
              <p:spPr>
                <a:xfrm>
                  <a:off x="7043356"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2" name="Graphic 1443">
                <a:extLst>
                  <a:ext uri="{FF2B5EF4-FFF2-40B4-BE49-F238E27FC236}">
                    <a16:creationId xmlns:a16="http://schemas.microsoft.com/office/drawing/2014/main" id="{EA214470-6267-ED33-1982-24A9C2B3650D}"/>
                  </a:ext>
                </a:extLst>
              </p:cNvPr>
              <p:cNvGrpSpPr/>
              <p:nvPr/>
            </p:nvGrpSpPr>
            <p:grpSpPr>
              <a:xfrm>
                <a:off x="7053072" y="3617880"/>
                <a:ext cx="61817" cy="63722"/>
                <a:chOff x="7053072" y="3617880"/>
                <a:chExt cx="61817" cy="63722"/>
              </a:xfrm>
            </p:grpSpPr>
            <p:sp>
              <p:nvSpPr>
                <p:cNvPr id="2567" name="Freeform: Shape 2566">
                  <a:extLst>
                    <a:ext uri="{FF2B5EF4-FFF2-40B4-BE49-F238E27FC236}">
                      <a16:creationId xmlns:a16="http://schemas.microsoft.com/office/drawing/2014/main" id="{B8186A67-9668-EAEE-9FFB-8641AD5ED580}"/>
                    </a:ext>
                  </a:extLst>
                </p:cNvPr>
                <p:cNvSpPr/>
                <p:nvPr/>
              </p:nvSpPr>
              <p:spPr>
                <a:xfrm>
                  <a:off x="7083933"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68" name="Freeform: Shape 2567">
                  <a:extLst>
                    <a:ext uri="{FF2B5EF4-FFF2-40B4-BE49-F238E27FC236}">
                      <a16:creationId xmlns:a16="http://schemas.microsoft.com/office/drawing/2014/main" id="{7A2BE7FD-72BA-A478-D718-8CA4A6D2774D}"/>
                    </a:ext>
                  </a:extLst>
                </p:cNvPr>
                <p:cNvSpPr/>
                <p:nvPr/>
              </p:nvSpPr>
              <p:spPr>
                <a:xfrm>
                  <a:off x="7053072"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3" name="Graphic 1443">
                <a:extLst>
                  <a:ext uri="{FF2B5EF4-FFF2-40B4-BE49-F238E27FC236}">
                    <a16:creationId xmlns:a16="http://schemas.microsoft.com/office/drawing/2014/main" id="{467ABF3C-925B-1565-4CD4-5F8F4D91F651}"/>
                  </a:ext>
                </a:extLst>
              </p:cNvPr>
              <p:cNvGrpSpPr/>
              <p:nvPr/>
            </p:nvGrpSpPr>
            <p:grpSpPr>
              <a:xfrm>
                <a:off x="7071931" y="3617880"/>
                <a:ext cx="61817" cy="63722"/>
                <a:chOff x="7071931" y="3617880"/>
                <a:chExt cx="61817" cy="63722"/>
              </a:xfrm>
            </p:grpSpPr>
            <p:sp>
              <p:nvSpPr>
                <p:cNvPr id="2565" name="Freeform: Shape 2564">
                  <a:extLst>
                    <a:ext uri="{FF2B5EF4-FFF2-40B4-BE49-F238E27FC236}">
                      <a16:creationId xmlns:a16="http://schemas.microsoft.com/office/drawing/2014/main" id="{972B144A-BAD8-C61C-133E-27EF72C30919}"/>
                    </a:ext>
                  </a:extLst>
                </p:cNvPr>
                <p:cNvSpPr/>
                <p:nvPr/>
              </p:nvSpPr>
              <p:spPr>
                <a:xfrm>
                  <a:off x="710279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66" name="Freeform: Shape 2565">
                  <a:extLst>
                    <a:ext uri="{FF2B5EF4-FFF2-40B4-BE49-F238E27FC236}">
                      <a16:creationId xmlns:a16="http://schemas.microsoft.com/office/drawing/2014/main" id="{E835BA6A-3684-08C7-D4DC-5E19B3779209}"/>
                    </a:ext>
                  </a:extLst>
                </p:cNvPr>
                <p:cNvSpPr/>
                <p:nvPr/>
              </p:nvSpPr>
              <p:spPr>
                <a:xfrm>
                  <a:off x="7071931"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4" name="Graphic 1443">
                <a:extLst>
                  <a:ext uri="{FF2B5EF4-FFF2-40B4-BE49-F238E27FC236}">
                    <a16:creationId xmlns:a16="http://schemas.microsoft.com/office/drawing/2014/main" id="{BB5C13BD-95F8-436D-B5E6-D543AA38AFA7}"/>
                  </a:ext>
                </a:extLst>
              </p:cNvPr>
              <p:cNvGrpSpPr/>
              <p:nvPr/>
            </p:nvGrpSpPr>
            <p:grpSpPr>
              <a:xfrm>
                <a:off x="7083933" y="3636073"/>
                <a:ext cx="61817" cy="63627"/>
                <a:chOff x="7083933" y="3636073"/>
                <a:chExt cx="61817" cy="63627"/>
              </a:xfrm>
            </p:grpSpPr>
            <p:sp>
              <p:nvSpPr>
                <p:cNvPr id="2563" name="Freeform: Shape 2562">
                  <a:extLst>
                    <a:ext uri="{FF2B5EF4-FFF2-40B4-BE49-F238E27FC236}">
                      <a16:creationId xmlns:a16="http://schemas.microsoft.com/office/drawing/2014/main" id="{30A53D6E-E450-35AE-D65A-9C94CD1A92FC}"/>
                    </a:ext>
                  </a:extLst>
                </p:cNvPr>
                <p:cNvSpPr/>
                <p:nvPr/>
              </p:nvSpPr>
              <p:spPr>
                <a:xfrm>
                  <a:off x="7114889"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64" name="Freeform: Shape 2563">
                  <a:extLst>
                    <a:ext uri="{FF2B5EF4-FFF2-40B4-BE49-F238E27FC236}">
                      <a16:creationId xmlns:a16="http://schemas.microsoft.com/office/drawing/2014/main" id="{4764A90F-CBD8-FE14-6525-9596098B3276}"/>
                    </a:ext>
                  </a:extLst>
                </p:cNvPr>
                <p:cNvSpPr/>
                <p:nvPr/>
              </p:nvSpPr>
              <p:spPr>
                <a:xfrm>
                  <a:off x="7083933"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5" name="Graphic 1443">
                <a:extLst>
                  <a:ext uri="{FF2B5EF4-FFF2-40B4-BE49-F238E27FC236}">
                    <a16:creationId xmlns:a16="http://schemas.microsoft.com/office/drawing/2014/main" id="{90FB4765-31E0-D2B8-6CF6-4B1667EFB2CD}"/>
                  </a:ext>
                </a:extLst>
              </p:cNvPr>
              <p:cNvGrpSpPr/>
              <p:nvPr/>
            </p:nvGrpSpPr>
            <p:grpSpPr>
              <a:xfrm>
                <a:off x="7197756" y="3711987"/>
                <a:ext cx="61817" cy="63722"/>
                <a:chOff x="7197756" y="3711987"/>
                <a:chExt cx="61817" cy="63722"/>
              </a:xfrm>
            </p:grpSpPr>
            <p:sp>
              <p:nvSpPr>
                <p:cNvPr id="2561" name="Freeform: Shape 2560">
                  <a:extLst>
                    <a:ext uri="{FF2B5EF4-FFF2-40B4-BE49-F238E27FC236}">
                      <a16:creationId xmlns:a16="http://schemas.microsoft.com/office/drawing/2014/main" id="{272DB24D-C6F3-E17D-4EFC-3E6B303213E5}"/>
                    </a:ext>
                  </a:extLst>
                </p:cNvPr>
                <p:cNvSpPr/>
                <p:nvPr/>
              </p:nvSpPr>
              <p:spPr>
                <a:xfrm>
                  <a:off x="722871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62" name="Freeform: Shape 2561">
                  <a:extLst>
                    <a:ext uri="{FF2B5EF4-FFF2-40B4-BE49-F238E27FC236}">
                      <a16:creationId xmlns:a16="http://schemas.microsoft.com/office/drawing/2014/main" id="{DEC5FE54-548F-C55D-13C2-F0AF286FE721}"/>
                    </a:ext>
                  </a:extLst>
                </p:cNvPr>
                <p:cNvSpPr/>
                <p:nvPr/>
              </p:nvSpPr>
              <p:spPr>
                <a:xfrm>
                  <a:off x="7197756"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6" name="Graphic 1443">
                <a:extLst>
                  <a:ext uri="{FF2B5EF4-FFF2-40B4-BE49-F238E27FC236}">
                    <a16:creationId xmlns:a16="http://schemas.microsoft.com/office/drawing/2014/main" id="{9F2A9E86-3DA6-03B0-436B-D9E501DC332B}"/>
                  </a:ext>
                </a:extLst>
              </p:cNvPr>
              <p:cNvGrpSpPr/>
              <p:nvPr/>
            </p:nvGrpSpPr>
            <p:grpSpPr>
              <a:xfrm>
                <a:off x="7216140" y="3711987"/>
                <a:ext cx="61817" cy="63722"/>
                <a:chOff x="7216140" y="3711987"/>
                <a:chExt cx="61817" cy="63722"/>
              </a:xfrm>
            </p:grpSpPr>
            <p:sp>
              <p:nvSpPr>
                <p:cNvPr id="2559" name="Freeform: Shape 2558">
                  <a:extLst>
                    <a:ext uri="{FF2B5EF4-FFF2-40B4-BE49-F238E27FC236}">
                      <a16:creationId xmlns:a16="http://schemas.microsoft.com/office/drawing/2014/main" id="{DBA7B569-97DC-9337-831B-F3EE682199B2}"/>
                    </a:ext>
                  </a:extLst>
                </p:cNvPr>
                <p:cNvSpPr/>
                <p:nvPr/>
              </p:nvSpPr>
              <p:spPr>
                <a:xfrm>
                  <a:off x="7247096"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60" name="Freeform: Shape 2559">
                  <a:extLst>
                    <a:ext uri="{FF2B5EF4-FFF2-40B4-BE49-F238E27FC236}">
                      <a16:creationId xmlns:a16="http://schemas.microsoft.com/office/drawing/2014/main" id="{F7E1D4BC-E69F-0EA1-74DF-FB6C9151DCB4}"/>
                    </a:ext>
                  </a:extLst>
                </p:cNvPr>
                <p:cNvSpPr/>
                <p:nvPr/>
              </p:nvSpPr>
              <p:spPr>
                <a:xfrm>
                  <a:off x="721614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7" name="Graphic 1443">
                <a:extLst>
                  <a:ext uri="{FF2B5EF4-FFF2-40B4-BE49-F238E27FC236}">
                    <a16:creationId xmlns:a16="http://schemas.microsoft.com/office/drawing/2014/main" id="{A46174D0-7633-8C65-6E79-C7C3784B2AB8}"/>
                  </a:ext>
                </a:extLst>
              </p:cNvPr>
              <p:cNvGrpSpPr/>
              <p:nvPr/>
            </p:nvGrpSpPr>
            <p:grpSpPr>
              <a:xfrm>
                <a:off x="7235571" y="3711987"/>
                <a:ext cx="61817" cy="63722"/>
                <a:chOff x="7235571" y="3711987"/>
                <a:chExt cx="61817" cy="63722"/>
              </a:xfrm>
            </p:grpSpPr>
            <p:sp>
              <p:nvSpPr>
                <p:cNvPr id="2557" name="Freeform: Shape 2556">
                  <a:extLst>
                    <a:ext uri="{FF2B5EF4-FFF2-40B4-BE49-F238E27FC236}">
                      <a16:creationId xmlns:a16="http://schemas.microsoft.com/office/drawing/2014/main" id="{7D0C829B-D859-0D60-F5A3-BD371076D343}"/>
                    </a:ext>
                  </a:extLst>
                </p:cNvPr>
                <p:cNvSpPr/>
                <p:nvPr/>
              </p:nvSpPr>
              <p:spPr>
                <a:xfrm>
                  <a:off x="7266432"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58" name="Freeform: Shape 2557">
                  <a:extLst>
                    <a:ext uri="{FF2B5EF4-FFF2-40B4-BE49-F238E27FC236}">
                      <a16:creationId xmlns:a16="http://schemas.microsoft.com/office/drawing/2014/main" id="{2A4BF86F-552A-EE59-4C9F-275F653A2DF1}"/>
                    </a:ext>
                  </a:extLst>
                </p:cNvPr>
                <p:cNvSpPr/>
                <p:nvPr/>
              </p:nvSpPr>
              <p:spPr>
                <a:xfrm>
                  <a:off x="723557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8" name="Graphic 1443">
                <a:extLst>
                  <a:ext uri="{FF2B5EF4-FFF2-40B4-BE49-F238E27FC236}">
                    <a16:creationId xmlns:a16="http://schemas.microsoft.com/office/drawing/2014/main" id="{80B660BE-AB7C-9937-6C8F-432DE43428F3}"/>
                  </a:ext>
                </a:extLst>
              </p:cNvPr>
              <p:cNvGrpSpPr/>
              <p:nvPr/>
            </p:nvGrpSpPr>
            <p:grpSpPr>
              <a:xfrm>
                <a:off x="7266432" y="3711987"/>
                <a:ext cx="61817" cy="63722"/>
                <a:chOff x="7266432" y="3711987"/>
                <a:chExt cx="61817" cy="63722"/>
              </a:xfrm>
            </p:grpSpPr>
            <p:sp>
              <p:nvSpPr>
                <p:cNvPr id="2555" name="Freeform: Shape 2554">
                  <a:extLst>
                    <a:ext uri="{FF2B5EF4-FFF2-40B4-BE49-F238E27FC236}">
                      <a16:creationId xmlns:a16="http://schemas.microsoft.com/office/drawing/2014/main" id="{F4E2B9F8-65D8-F891-B7F0-76626656C796}"/>
                    </a:ext>
                  </a:extLst>
                </p:cNvPr>
                <p:cNvSpPr/>
                <p:nvPr/>
              </p:nvSpPr>
              <p:spPr>
                <a:xfrm>
                  <a:off x="729738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56" name="Freeform: Shape 2555">
                  <a:extLst>
                    <a:ext uri="{FF2B5EF4-FFF2-40B4-BE49-F238E27FC236}">
                      <a16:creationId xmlns:a16="http://schemas.microsoft.com/office/drawing/2014/main" id="{3C1C0833-F323-AF6A-1309-1E820F426D69}"/>
                    </a:ext>
                  </a:extLst>
                </p:cNvPr>
                <p:cNvSpPr/>
                <p:nvPr/>
              </p:nvSpPr>
              <p:spPr>
                <a:xfrm>
                  <a:off x="7266432"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59" name="Graphic 1443">
                <a:extLst>
                  <a:ext uri="{FF2B5EF4-FFF2-40B4-BE49-F238E27FC236}">
                    <a16:creationId xmlns:a16="http://schemas.microsoft.com/office/drawing/2014/main" id="{DEE1FD30-CC22-5620-3368-4657D6585D3C}"/>
                  </a:ext>
                </a:extLst>
              </p:cNvPr>
              <p:cNvGrpSpPr/>
              <p:nvPr/>
            </p:nvGrpSpPr>
            <p:grpSpPr>
              <a:xfrm>
                <a:off x="7259574" y="3711987"/>
                <a:ext cx="61817" cy="63722"/>
                <a:chOff x="7259574" y="3711987"/>
                <a:chExt cx="61817" cy="63722"/>
              </a:xfrm>
            </p:grpSpPr>
            <p:sp>
              <p:nvSpPr>
                <p:cNvPr id="2553" name="Freeform: Shape 2552">
                  <a:extLst>
                    <a:ext uri="{FF2B5EF4-FFF2-40B4-BE49-F238E27FC236}">
                      <a16:creationId xmlns:a16="http://schemas.microsoft.com/office/drawing/2014/main" id="{90B9264D-A5F9-450D-6EB9-C585FE4E51D6}"/>
                    </a:ext>
                  </a:extLst>
                </p:cNvPr>
                <p:cNvSpPr/>
                <p:nvPr/>
              </p:nvSpPr>
              <p:spPr>
                <a:xfrm>
                  <a:off x="729053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54" name="Freeform: Shape 2553">
                  <a:extLst>
                    <a:ext uri="{FF2B5EF4-FFF2-40B4-BE49-F238E27FC236}">
                      <a16:creationId xmlns:a16="http://schemas.microsoft.com/office/drawing/2014/main" id="{DA9B77B2-7738-CA4B-2D4F-2C5BCFEB7C56}"/>
                    </a:ext>
                  </a:extLst>
                </p:cNvPr>
                <p:cNvSpPr/>
                <p:nvPr/>
              </p:nvSpPr>
              <p:spPr>
                <a:xfrm>
                  <a:off x="725957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0" name="Graphic 1443">
                <a:extLst>
                  <a:ext uri="{FF2B5EF4-FFF2-40B4-BE49-F238E27FC236}">
                    <a16:creationId xmlns:a16="http://schemas.microsoft.com/office/drawing/2014/main" id="{30000AC2-ECAE-1460-8737-9A39A8CE153C}"/>
                  </a:ext>
                </a:extLst>
              </p:cNvPr>
              <p:cNvGrpSpPr/>
              <p:nvPr/>
            </p:nvGrpSpPr>
            <p:grpSpPr>
              <a:xfrm>
                <a:off x="7290530" y="3711987"/>
                <a:ext cx="61817" cy="63722"/>
                <a:chOff x="7290530" y="3711987"/>
                <a:chExt cx="61817" cy="63722"/>
              </a:xfrm>
            </p:grpSpPr>
            <p:sp>
              <p:nvSpPr>
                <p:cNvPr id="2551" name="Freeform: Shape 2550">
                  <a:extLst>
                    <a:ext uri="{FF2B5EF4-FFF2-40B4-BE49-F238E27FC236}">
                      <a16:creationId xmlns:a16="http://schemas.microsoft.com/office/drawing/2014/main" id="{7F1B5C6A-D856-5B7A-EEC3-5F616244BDF0}"/>
                    </a:ext>
                  </a:extLst>
                </p:cNvPr>
                <p:cNvSpPr/>
                <p:nvPr/>
              </p:nvSpPr>
              <p:spPr>
                <a:xfrm>
                  <a:off x="732139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52" name="Freeform: Shape 2551">
                  <a:extLst>
                    <a:ext uri="{FF2B5EF4-FFF2-40B4-BE49-F238E27FC236}">
                      <a16:creationId xmlns:a16="http://schemas.microsoft.com/office/drawing/2014/main" id="{D46A52A2-C5F6-F608-FAFB-D635B3B57B5E}"/>
                    </a:ext>
                  </a:extLst>
                </p:cNvPr>
                <p:cNvSpPr/>
                <p:nvPr/>
              </p:nvSpPr>
              <p:spPr>
                <a:xfrm>
                  <a:off x="729053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1" name="Graphic 1443">
                <a:extLst>
                  <a:ext uri="{FF2B5EF4-FFF2-40B4-BE49-F238E27FC236}">
                    <a16:creationId xmlns:a16="http://schemas.microsoft.com/office/drawing/2014/main" id="{134D938B-D0FF-C096-10E8-2AB61F2E7446}"/>
                  </a:ext>
                </a:extLst>
              </p:cNvPr>
              <p:cNvGrpSpPr/>
              <p:nvPr/>
            </p:nvGrpSpPr>
            <p:grpSpPr>
              <a:xfrm>
                <a:off x="7311390" y="3711987"/>
                <a:ext cx="61817" cy="63722"/>
                <a:chOff x="7311390" y="3711987"/>
                <a:chExt cx="61817" cy="63722"/>
              </a:xfrm>
            </p:grpSpPr>
            <p:sp>
              <p:nvSpPr>
                <p:cNvPr id="2549" name="Freeform: Shape 2548">
                  <a:extLst>
                    <a:ext uri="{FF2B5EF4-FFF2-40B4-BE49-F238E27FC236}">
                      <a16:creationId xmlns:a16="http://schemas.microsoft.com/office/drawing/2014/main" id="{DE30DF81-05EA-BEE2-18F4-9D211B52120C}"/>
                    </a:ext>
                  </a:extLst>
                </p:cNvPr>
                <p:cNvSpPr/>
                <p:nvPr/>
              </p:nvSpPr>
              <p:spPr>
                <a:xfrm>
                  <a:off x="734225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50" name="Freeform: Shape 2549">
                  <a:extLst>
                    <a:ext uri="{FF2B5EF4-FFF2-40B4-BE49-F238E27FC236}">
                      <a16:creationId xmlns:a16="http://schemas.microsoft.com/office/drawing/2014/main" id="{02DCF284-3F69-DBA8-B9C5-43C295CFFE7C}"/>
                    </a:ext>
                  </a:extLst>
                </p:cNvPr>
                <p:cNvSpPr/>
                <p:nvPr/>
              </p:nvSpPr>
              <p:spPr>
                <a:xfrm>
                  <a:off x="731139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2" name="Graphic 1443">
                <a:extLst>
                  <a:ext uri="{FF2B5EF4-FFF2-40B4-BE49-F238E27FC236}">
                    <a16:creationId xmlns:a16="http://schemas.microsoft.com/office/drawing/2014/main" id="{21DD772A-851B-138E-15C2-36E70AE29D80}"/>
                  </a:ext>
                </a:extLst>
              </p:cNvPr>
              <p:cNvGrpSpPr/>
              <p:nvPr/>
            </p:nvGrpSpPr>
            <p:grpSpPr>
              <a:xfrm>
                <a:off x="7321391" y="3711987"/>
                <a:ext cx="61817" cy="63722"/>
                <a:chOff x="7321391" y="3711987"/>
                <a:chExt cx="61817" cy="63722"/>
              </a:xfrm>
            </p:grpSpPr>
            <p:sp>
              <p:nvSpPr>
                <p:cNvPr id="2547" name="Freeform: Shape 2546">
                  <a:extLst>
                    <a:ext uri="{FF2B5EF4-FFF2-40B4-BE49-F238E27FC236}">
                      <a16:creationId xmlns:a16="http://schemas.microsoft.com/office/drawing/2014/main" id="{33646FB7-5891-A8F8-3593-F1D1DC64FD58}"/>
                    </a:ext>
                  </a:extLst>
                </p:cNvPr>
                <p:cNvSpPr/>
                <p:nvPr/>
              </p:nvSpPr>
              <p:spPr>
                <a:xfrm>
                  <a:off x="7352347"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48" name="Freeform: Shape 2547">
                  <a:extLst>
                    <a:ext uri="{FF2B5EF4-FFF2-40B4-BE49-F238E27FC236}">
                      <a16:creationId xmlns:a16="http://schemas.microsoft.com/office/drawing/2014/main" id="{B1FAA0C4-5052-783D-7397-67290BA5554F}"/>
                    </a:ext>
                  </a:extLst>
                </p:cNvPr>
                <p:cNvSpPr/>
                <p:nvPr/>
              </p:nvSpPr>
              <p:spPr>
                <a:xfrm>
                  <a:off x="732139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3" name="Graphic 1443">
                <a:extLst>
                  <a:ext uri="{FF2B5EF4-FFF2-40B4-BE49-F238E27FC236}">
                    <a16:creationId xmlns:a16="http://schemas.microsoft.com/office/drawing/2014/main" id="{B10F74CA-7AF0-0F10-F1D4-6BBB09DE7797}"/>
                  </a:ext>
                </a:extLst>
              </p:cNvPr>
              <p:cNvGrpSpPr/>
              <p:nvPr/>
            </p:nvGrpSpPr>
            <p:grpSpPr>
              <a:xfrm>
                <a:off x="7335297" y="3711987"/>
                <a:ext cx="61817" cy="63722"/>
                <a:chOff x="7335297" y="3711987"/>
                <a:chExt cx="61817" cy="63722"/>
              </a:xfrm>
            </p:grpSpPr>
            <p:sp>
              <p:nvSpPr>
                <p:cNvPr id="2545" name="Freeform: Shape 2544">
                  <a:extLst>
                    <a:ext uri="{FF2B5EF4-FFF2-40B4-BE49-F238E27FC236}">
                      <a16:creationId xmlns:a16="http://schemas.microsoft.com/office/drawing/2014/main" id="{C49F01C2-2323-301B-70B3-8DFEF00B3FA7}"/>
                    </a:ext>
                  </a:extLst>
                </p:cNvPr>
                <p:cNvSpPr/>
                <p:nvPr/>
              </p:nvSpPr>
              <p:spPr>
                <a:xfrm>
                  <a:off x="736615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46" name="Freeform: Shape 2545">
                  <a:extLst>
                    <a:ext uri="{FF2B5EF4-FFF2-40B4-BE49-F238E27FC236}">
                      <a16:creationId xmlns:a16="http://schemas.microsoft.com/office/drawing/2014/main" id="{C13F95AE-EC4F-0EC2-8251-245F24BAD913}"/>
                    </a:ext>
                  </a:extLst>
                </p:cNvPr>
                <p:cNvSpPr/>
                <p:nvPr/>
              </p:nvSpPr>
              <p:spPr>
                <a:xfrm>
                  <a:off x="73352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4" name="Graphic 1443">
                <a:extLst>
                  <a:ext uri="{FF2B5EF4-FFF2-40B4-BE49-F238E27FC236}">
                    <a16:creationId xmlns:a16="http://schemas.microsoft.com/office/drawing/2014/main" id="{55311BAE-84B3-5150-16F6-3BF99FFED0B7}"/>
                  </a:ext>
                </a:extLst>
              </p:cNvPr>
              <p:cNvGrpSpPr/>
              <p:nvPr/>
            </p:nvGrpSpPr>
            <p:grpSpPr>
              <a:xfrm>
                <a:off x="7349204" y="3711987"/>
                <a:ext cx="61817" cy="63722"/>
                <a:chOff x="7349204" y="3711987"/>
                <a:chExt cx="61817" cy="63722"/>
              </a:xfrm>
            </p:grpSpPr>
            <p:sp>
              <p:nvSpPr>
                <p:cNvPr id="2543" name="Freeform: Shape 2542">
                  <a:extLst>
                    <a:ext uri="{FF2B5EF4-FFF2-40B4-BE49-F238E27FC236}">
                      <a16:creationId xmlns:a16="http://schemas.microsoft.com/office/drawing/2014/main" id="{BC793644-644E-D8FC-EEEC-F9F721DA0EC2}"/>
                    </a:ext>
                  </a:extLst>
                </p:cNvPr>
                <p:cNvSpPr/>
                <p:nvPr/>
              </p:nvSpPr>
              <p:spPr>
                <a:xfrm>
                  <a:off x="738016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44" name="Freeform: Shape 2543">
                  <a:extLst>
                    <a:ext uri="{FF2B5EF4-FFF2-40B4-BE49-F238E27FC236}">
                      <a16:creationId xmlns:a16="http://schemas.microsoft.com/office/drawing/2014/main" id="{A7DF25F3-2F93-C0F7-3253-C681AA2D3D2A}"/>
                    </a:ext>
                  </a:extLst>
                </p:cNvPr>
                <p:cNvSpPr/>
                <p:nvPr/>
              </p:nvSpPr>
              <p:spPr>
                <a:xfrm>
                  <a:off x="734920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5" name="Graphic 1443">
                <a:extLst>
                  <a:ext uri="{FF2B5EF4-FFF2-40B4-BE49-F238E27FC236}">
                    <a16:creationId xmlns:a16="http://schemas.microsoft.com/office/drawing/2014/main" id="{C80FF37F-F017-8884-574B-725AF3E88B35}"/>
                  </a:ext>
                </a:extLst>
              </p:cNvPr>
              <p:cNvGrpSpPr/>
              <p:nvPr/>
            </p:nvGrpSpPr>
            <p:grpSpPr>
              <a:xfrm>
                <a:off x="7373207" y="3764660"/>
                <a:ext cx="61817" cy="63722"/>
                <a:chOff x="7373207" y="3764660"/>
                <a:chExt cx="61817" cy="63722"/>
              </a:xfrm>
            </p:grpSpPr>
            <p:sp>
              <p:nvSpPr>
                <p:cNvPr id="2541" name="Freeform: Shape 2540">
                  <a:extLst>
                    <a:ext uri="{FF2B5EF4-FFF2-40B4-BE49-F238E27FC236}">
                      <a16:creationId xmlns:a16="http://schemas.microsoft.com/office/drawing/2014/main" id="{1476D082-88B4-421B-FA61-A3F4D096D26D}"/>
                    </a:ext>
                  </a:extLst>
                </p:cNvPr>
                <p:cNvSpPr/>
                <p:nvPr/>
              </p:nvSpPr>
              <p:spPr>
                <a:xfrm>
                  <a:off x="7404068"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42" name="Freeform: Shape 2541">
                  <a:extLst>
                    <a:ext uri="{FF2B5EF4-FFF2-40B4-BE49-F238E27FC236}">
                      <a16:creationId xmlns:a16="http://schemas.microsoft.com/office/drawing/2014/main" id="{562D307A-2094-E32C-C577-8D5D553257D2}"/>
                    </a:ext>
                  </a:extLst>
                </p:cNvPr>
                <p:cNvSpPr/>
                <p:nvPr/>
              </p:nvSpPr>
              <p:spPr>
                <a:xfrm>
                  <a:off x="7373207"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6" name="Graphic 1443">
                <a:extLst>
                  <a:ext uri="{FF2B5EF4-FFF2-40B4-BE49-F238E27FC236}">
                    <a16:creationId xmlns:a16="http://schemas.microsoft.com/office/drawing/2014/main" id="{E49E05A6-63F7-A346-52DB-2F39B7F925F5}"/>
                  </a:ext>
                </a:extLst>
              </p:cNvPr>
              <p:cNvGrpSpPr/>
              <p:nvPr/>
            </p:nvGrpSpPr>
            <p:grpSpPr>
              <a:xfrm>
                <a:off x="7503414" y="3764660"/>
                <a:ext cx="61817" cy="63722"/>
                <a:chOff x="7503414" y="3764660"/>
                <a:chExt cx="61817" cy="63722"/>
              </a:xfrm>
            </p:grpSpPr>
            <p:sp>
              <p:nvSpPr>
                <p:cNvPr id="2539" name="Freeform: Shape 2538">
                  <a:extLst>
                    <a:ext uri="{FF2B5EF4-FFF2-40B4-BE49-F238E27FC236}">
                      <a16:creationId xmlns:a16="http://schemas.microsoft.com/office/drawing/2014/main" id="{285F6E44-4EF3-1D2F-3BAB-F73A9CC8CE9D}"/>
                    </a:ext>
                  </a:extLst>
                </p:cNvPr>
                <p:cNvSpPr/>
                <p:nvPr/>
              </p:nvSpPr>
              <p:spPr>
                <a:xfrm>
                  <a:off x="7534275"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40" name="Freeform: Shape 2539">
                  <a:extLst>
                    <a:ext uri="{FF2B5EF4-FFF2-40B4-BE49-F238E27FC236}">
                      <a16:creationId xmlns:a16="http://schemas.microsoft.com/office/drawing/2014/main" id="{9F9385D2-0B15-EF0E-77CE-53DAEAA241CE}"/>
                    </a:ext>
                  </a:extLst>
                </p:cNvPr>
                <p:cNvSpPr/>
                <p:nvPr/>
              </p:nvSpPr>
              <p:spPr>
                <a:xfrm>
                  <a:off x="750341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7" name="Graphic 1443">
                <a:extLst>
                  <a:ext uri="{FF2B5EF4-FFF2-40B4-BE49-F238E27FC236}">
                    <a16:creationId xmlns:a16="http://schemas.microsoft.com/office/drawing/2014/main" id="{05CD677F-F2B1-E66C-D540-287EBD75533F}"/>
                  </a:ext>
                </a:extLst>
              </p:cNvPr>
              <p:cNvGrpSpPr/>
              <p:nvPr/>
            </p:nvGrpSpPr>
            <p:grpSpPr>
              <a:xfrm>
                <a:off x="7512843" y="3764660"/>
                <a:ext cx="61817" cy="63722"/>
                <a:chOff x="7512843" y="3764660"/>
                <a:chExt cx="61817" cy="63722"/>
              </a:xfrm>
            </p:grpSpPr>
            <p:sp>
              <p:nvSpPr>
                <p:cNvPr id="2537" name="Freeform: Shape 2536">
                  <a:extLst>
                    <a:ext uri="{FF2B5EF4-FFF2-40B4-BE49-F238E27FC236}">
                      <a16:creationId xmlns:a16="http://schemas.microsoft.com/office/drawing/2014/main" id="{ADAB095A-B265-8E84-587E-B06448992275}"/>
                    </a:ext>
                  </a:extLst>
                </p:cNvPr>
                <p:cNvSpPr/>
                <p:nvPr/>
              </p:nvSpPr>
              <p:spPr>
                <a:xfrm>
                  <a:off x="754370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38" name="Freeform: Shape 2537">
                  <a:extLst>
                    <a:ext uri="{FF2B5EF4-FFF2-40B4-BE49-F238E27FC236}">
                      <a16:creationId xmlns:a16="http://schemas.microsoft.com/office/drawing/2014/main" id="{82D06551-36AD-310D-BBC4-1FFAF9CF229B}"/>
                    </a:ext>
                  </a:extLst>
                </p:cNvPr>
                <p:cNvSpPr/>
                <p:nvPr/>
              </p:nvSpPr>
              <p:spPr>
                <a:xfrm>
                  <a:off x="751284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8" name="Graphic 1443">
                <a:extLst>
                  <a:ext uri="{FF2B5EF4-FFF2-40B4-BE49-F238E27FC236}">
                    <a16:creationId xmlns:a16="http://schemas.microsoft.com/office/drawing/2014/main" id="{5FF38304-A7DB-4B51-17E8-78BE1135658F}"/>
                  </a:ext>
                </a:extLst>
              </p:cNvPr>
              <p:cNvGrpSpPr/>
              <p:nvPr/>
            </p:nvGrpSpPr>
            <p:grpSpPr>
              <a:xfrm>
                <a:off x="7541228" y="3764660"/>
                <a:ext cx="61817" cy="63722"/>
                <a:chOff x="7541228" y="3764660"/>
                <a:chExt cx="61817" cy="63722"/>
              </a:xfrm>
            </p:grpSpPr>
            <p:sp>
              <p:nvSpPr>
                <p:cNvPr id="2535" name="Freeform: Shape 2534">
                  <a:extLst>
                    <a:ext uri="{FF2B5EF4-FFF2-40B4-BE49-F238E27FC236}">
                      <a16:creationId xmlns:a16="http://schemas.microsoft.com/office/drawing/2014/main" id="{B16C037C-10C8-C9AE-6C04-009A3BDF8F27}"/>
                    </a:ext>
                  </a:extLst>
                </p:cNvPr>
                <p:cNvSpPr/>
                <p:nvPr/>
              </p:nvSpPr>
              <p:spPr>
                <a:xfrm>
                  <a:off x="757218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36" name="Freeform: Shape 2535">
                  <a:extLst>
                    <a:ext uri="{FF2B5EF4-FFF2-40B4-BE49-F238E27FC236}">
                      <a16:creationId xmlns:a16="http://schemas.microsoft.com/office/drawing/2014/main" id="{B90F0318-8EFA-3386-D3A5-FA5593BF105C}"/>
                    </a:ext>
                  </a:extLst>
                </p:cNvPr>
                <p:cNvSpPr/>
                <p:nvPr/>
              </p:nvSpPr>
              <p:spPr>
                <a:xfrm>
                  <a:off x="754122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69" name="Graphic 1443">
                <a:extLst>
                  <a:ext uri="{FF2B5EF4-FFF2-40B4-BE49-F238E27FC236}">
                    <a16:creationId xmlns:a16="http://schemas.microsoft.com/office/drawing/2014/main" id="{80F4CA34-DAA4-5187-A03B-6B976D552EF1}"/>
                  </a:ext>
                </a:extLst>
              </p:cNvPr>
              <p:cNvGrpSpPr/>
              <p:nvPr/>
            </p:nvGrpSpPr>
            <p:grpSpPr>
              <a:xfrm>
                <a:off x="7557039" y="3764660"/>
                <a:ext cx="61817" cy="63722"/>
                <a:chOff x="7557039" y="3764660"/>
                <a:chExt cx="61817" cy="63722"/>
              </a:xfrm>
            </p:grpSpPr>
            <p:sp>
              <p:nvSpPr>
                <p:cNvPr id="2533" name="Freeform: Shape 2532">
                  <a:extLst>
                    <a:ext uri="{FF2B5EF4-FFF2-40B4-BE49-F238E27FC236}">
                      <a16:creationId xmlns:a16="http://schemas.microsoft.com/office/drawing/2014/main" id="{1E67822D-7ED6-7638-C976-F640CE79E409}"/>
                    </a:ext>
                  </a:extLst>
                </p:cNvPr>
                <p:cNvSpPr/>
                <p:nvPr/>
              </p:nvSpPr>
              <p:spPr>
                <a:xfrm>
                  <a:off x="758790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34" name="Freeform: Shape 2533">
                  <a:extLst>
                    <a:ext uri="{FF2B5EF4-FFF2-40B4-BE49-F238E27FC236}">
                      <a16:creationId xmlns:a16="http://schemas.microsoft.com/office/drawing/2014/main" id="{3788E9AD-1485-0D8B-3B8A-73C583CF67DB}"/>
                    </a:ext>
                  </a:extLst>
                </p:cNvPr>
                <p:cNvSpPr/>
                <p:nvPr/>
              </p:nvSpPr>
              <p:spPr>
                <a:xfrm>
                  <a:off x="7557039"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0" name="Graphic 1443">
                <a:extLst>
                  <a:ext uri="{FF2B5EF4-FFF2-40B4-BE49-F238E27FC236}">
                    <a16:creationId xmlns:a16="http://schemas.microsoft.com/office/drawing/2014/main" id="{3F6A6EB4-3BCD-3965-46D4-CF7486698A8D}"/>
                  </a:ext>
                </a:extLst>
              </p:cNvPr>
              <p:cNvGrpSpPr/>
              <p:nvPr/>
            </p:nvGrpSpPr>
            <p:grpSpPr>
              <a:xfrm>
                <a:off x="8074723" y="3833431"/>
                <a:ext cx="61817" cy="63722"/>
                <a:chOff x="8074723" y="3833431"/>
                <a:chExt cx="61817" cy="63722"/>
              </a:xfrm>
            </p:grpSpPr>
            <p:sp>
              <p:nvSpPr>
                <p:cNvPr id="2531" name="Freeform: Shape 2530">
                  <a:extLst>
                    <a:ext uri="{FF2B5EF4-FFF2-40B4-BE49-F238E27FC236}">
                      <a16:creationId xmlns:a16="http://schemas.microsoft.com/office/drawing/2014/main" id="{7B0C2773-93A1-BB91-CD45-9F79080260A1}"/>
                    </a:ext>
                  </a:extLst>
                </p:cNvPr>
                <p:cNvSpPr/>
                <p:nvPr/>
              </p:nvSpPr>
              <p:spPr>
                <a:xfrm>
                  <a:off x="810558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32" name="Freeform: Shape 2531">
                  <a:extLst>
                    <a:ext uri="{FF2B5EF4-FFF2-40B4-BE49-F238E27FC236}">
                      <a16:creationId xmlns:a16="http://schemas.microsoft.com/office/drawing/2014/main" id="{4943B9F8-23A3-50E1-C1C9-A3D998B69061}"/>
                    </a:ext>
                  </a:extLst>
                </p:cNvPr>
                <p:cNvSpPr/>
                <p:nvPr/>
              </p:nvSpPr>
              <p:spPr>
                <a:xfrm>
                  <a:off x="807472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1" name="Graphic 1443">
                <a:extLst>
                  <a:ext uri="{FF2B5EF4-FFF2-40B4-BE49-F238E27FC236}">
                    <a16:creationId xmlns:a16="http://schemas.microsoft.com/office/drawing/2014/main" id="{46E5A13B-A063-4945-AFD0-C759DB9E457D}"/>
                  </a:ext>
                </a:extLst>
              </p:cNvPr>
              <p:cNvGrpSpPr/>
              <p:nvPr/>
            </p:nvGrpSpPr>
            <p:grpSpPr>
              <a:xfrm>
                <a:off x="8066151" y="3833431"/>
                <a:ext cx="61817" cy="63722"/>
                <a:chOff x="8066151" y="3833431"/>
                <a:chExt cx="61817" cy="63722"/>
              </a:xfrm>
            </p:grpSpPr>
            <p:sp>
              <p:nvSpPr>
                <p:cNvPr id="2529" name="Freeform: Shape 2528">
                  <a:extLst>
                    <a:ext uri="{FF2B5EF4-FFF2-40B4-BE49-F238E27FC236}">
                      <a16:creationId xmlns:a16="http://schemas.microsoft.com/office/drawing/2014/main" id="{AD96E89C-F8D8-96E8-69BA-FFD013FC49A5}"/>
                    </a:ext>
                  </a:extLst>
                </p:cNvPr>
                <p:cNvSpPr/>
                <p:nvPr/>
              </p:nvSpPr>
              <p:spPr>
                <a:xfrm>
                  <a:off x="80970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30" name="Freeform: Shape 2529">
                  <a:extLst>
                    <a:ext uri="{FF2B5EF4-FFF2-40B4-BE49-F238E27FC236}">
                      <a16:creationId xmlns:a16="http://schemas.microsoft.com/office/drawing/2014/main" id="{D795BFBF-EC29-9108-367F-AAA70C2E562E}"/>
                    </a:ext>
                  </a:extLst>
                </p:cNvPr>
                <p:cNvSpPr/>
                <p:nvPr/>
              </p:nvSpPr>
              <p:spPr>
                <a:xfrm>
                  <a:off x="80661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2" name="Graphic 1443">
                <a:extLst>
                  <a:ext uri="{FF2B5EF4-FFF2-40B4-BE49-F238E27FC236}">
                    <a16:creationId xmlns:a16="http://schemas.microsoft.com/office/drawing/2014/main" id="{0F575181-3D4A-18F2-EB38-B738064C3BD0}"/>
                  </a:ext>
                </a:extLst>
              </p:cNvPr>
              <p:cNvGrpSpPr/>
              <p:nvPr/>
            </p:nvGrpSpPr>
            <p:grpSpPr>
              <a:xfrm>
                <a:off x="8053482" y="3833431"/>
                <a:ext cx="61817" cy="63722"/>
                <a:chOff x="8053482" y="3833431"/>
                <a:chExt cx="61817" cy="63722"/>
              </a:xfrm>
            </p:grpSpPr>
            <p:sp>
              <p:nvSpPr>
                <p:cNvPr id="2527" name="Freeform: Shape 2526">
                  <a:extLst>
                    <a:ext uri="{FF2B5EF4-FFF2-40B4-BE49-F238E27FC236}">
                      <a16:creationId xmlns:a16="http://schemas.microsoft.com/office/drawing/2014/main" id="{6C527600-A686-B9C6-C896-0EAFD0F9CD45}"/>
                    </a:ext>
                  </a:extLst>
                </p:cNvPr>
                <p:cNvSpPr/>
                <p:nvPr/>
              </p:nvSpPr>
              <p:spPr>
                <a:xfrm>
                  <a:off x="808434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28" name="Freeform: Shape 2527">
                  <a:extLst>
                    <a:ext uri="{FF2B5EF4-FFF2-40B4-BE49-F238E27FC236}">
                      <a16:creationId xmlns:a16="http://schemas.microsoft.com/office/drawing/2014/main" id="{0BBCA1CD-90E5-4800-166C-2F53FB23A6B0}"/>
                    </a:ext>
                  </a:extLst>
                </p:cNvPr>
                <p:cNvSpPr/>
                <p:nvPr/>
              </p:nvSpPr>
              <p:spPr>
                <a:xfrm>
                  <a:off x="8053482"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3" name="Graphic 1443">
                <a:extLst>
                  <a:ext uri="{FF2B5EF4-FFF2-40B4-BE49-F238E27FC236}">
                    <a16:creationId xmlns:a16="http://schemas.microsoft.com/office/drawing/2014/main" id="{9DEEF5A8-7FB8-A4AE-0F2D-4BDEBFE98F20}"/>
                  </a:ext>
                </a:extLst>
              </p:cNvPr>
              <p:cNvGrpSpPr/>
              <p:nvPr/>
            </p:nvGrpSpPr>
            <p:grpSpPr>
              <a:xfrm>
                <a:off x="8031099" y="3833431"/>
                <a:ext cx="61817" cy="63722"/>
                <a:chOff x="8031099" y="3833431"/>
                <a:chExt cx="61817" cy="63722"/>
              </a:xfrm>
            </p:grpSpPr>
            <p:sp>
              <p:nvSpPr>
                <p:cNvPr id="2525" name="Freeform: Shape 2524">
                  <a:extLst>
                    <a:ext uri="{FF2B5EF4-FFF2-40B4-BE49-F238E27FC236}">
                      <a16:creationId xmlns:a16="http://schemas.microsoft.com/office/drawing/2014/main" id="{FCED3CBA-C3B0-7F44-A60B-951BBE85CFAE}"/>
                    </a:ext>
                  </a:extLst>
                </p:cNvPr>
                <p:cNvSpPr/>
                <p:nvPr/>
              </p:nvSpPr>
              <p:spPr>
                <a:xfrm>
                  <a:off x="8062055"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26" name="Freeform: Shape 2525">
                  <a:extLst>
                    <a:ext uri="{FF2B5EF4-FFF2-40B4-BE49-F238E27FC236}">
                      <a16:creationId xmlns:a16="http://schemas.microsoft.com/office/drawing/2014/main" id="{45CA37A7-CA37-8D2B-3E94-00A05FA53FB5}"/>
                    </a:ext>
                  </a:extLst>
                </p:cNvPr>
                <p:cNvSpPr/>
                <p:nvPr/>
              </p:nvSpPr>
              <p:spPr>
                <a:xfrm>
                  <a:off x="8031099"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4" name="Graphic 1443">
                <a:extLst>
                  <a:ext uri="{FF2B5EF4-FFF2-40B4-BE49-F238E27FC236}">
                    <a16:creationId xmlns:a16="http://schemas.microsoft.com/office/drawing/2014/main" id="{8DF72EB2-3C52-E485-A8E5-FDEFC3DE6081}"/>
                  </a:ext>
                </a:extLst>
              </p:cNvPr>
              <p:cNvGrpSpPr/>
              <p:nvPr/>
            </p:nvGrpSpPr>
            <p:grpSpPr>
              <a:xfrm>
                <a:off x="8022526" y="3833431"/>
                <a:ext cx="61817" cy="63722"/>
                <a:chOff x="8022526" y="3833431"/>
                <a:chExt cx="61817" cy="63722"/>
              </a:xfrm>
            </p:grpSpPr>
            <p:sp>
              <p:nvSpPr>
                <p:cNvPr id="2523" name="Freeform: Shape 2522">
                  <a:extLst>
                    <a:ext uri="{FF2B5EF4-FFF2-40B4-BE49-F238E27FC236}">
                      <a16:creationId xmlns:a16="http://schemas.microsoft.com/office/drawing/2014/main" id="{3D80F122-B86A-0619-6FDD-C18DDC9F44B0}"/>
                    </a:ext>
                  </a:extLst>
                </p:cNvPr>
                <p:cNvSpPr/>
                <p:nvPr/>
              </p:nvSpPr>
              <p:spPr>
                <a:xfrm>
                  <a:off x="805348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24" name="Freeform: Shape 2523">
                  <a:extLst>
                    <a:ext uri="{FF2B5EF4-FFF2-40B4-BE49-F238E27FC236}">
                      <a16:creationId xmlns:a16="http://schemas.microsoft.com/office/drawing/2014/main" id="{57E7EBFA-08D6-55FF-006B-426B673B277B}"/>
                    </a:ext>
                  </a:extLst>
                </p:cNvPr>
                <p:cNvSpPr/>
                <p:nvPr/>
              </p:nvSpPr>
              <p:spPr>
                <a:xfrm>
                  <a:off x="802252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5" name="Graphic 1443">
                <a:extLst>
                  <a:ext uri="{FF2B5EF4-FFF2-40B4-BE49-F238E27FC236}">
                    <a16:creationId xmlns:a16="http://schemas.microsoft.com/office/drawing/2014/main" id="{208C3349-F05A-3749-85C7-421119D255C0}"/>
                  </a:ext>
                </a:extLst>
              </p:cNvPr>
              <p:cNvGrpSpPr/>
              <p:nvPr/>
            </p:nvGrpSpPr>
            <p:grpSpPr>
              <a:xfrm>
                <a:off x="8004524" y="3833431"/>
                <a:ext cx="61817" cy="63722"/>
                <a:chOff x="8004524" y="3833431"/>
                <a:chExt cx="61817" cy="63722"/>
              </a:xfrm>
            </p:grpSpPr>
            <p:sp>
              <p:nvSpPr>
                <p:cNvPr id="2521" name="Freeform: Shape 2520">
                  <a:extLst>
                    <a:ext uri="{FF2B5EF4-FFF2-40B4-BE49-F238E27FC236}">
                      <a16:creationId xmlns:a16="http://schemas.microsoft.com/office/drawing/2014/main" id="{6D9F3B2B-9093-DA6B-FB70-7DC8CA5A335C}"/>
                    </a:ext>
                  </a:extLst>
                </p:cNvPr>
                <p:cNvSpPr/>
                <p:nvPr/>
              </p:nvSpPr>
              <p:spPr>
                <a:xfrm>
                  <a:off x="8035480"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22" name="Freeform: Shape 2521">
                  <a:extLst>
                    <a:ext uri="{FF2B5EF4-FFF2-40B4-BE49-F238E27FC236}">
                      <a16:creationId xmlns:a16="http://schemas.microsoft.com/office/drawing/2014/main" id="{315F94B1-56D6-3318-02D5-1919C32AD0B7}"/>
                    </a:ext>
                  </a:extLst>
                </p:cNvPr>
                <p:cNvSpPr/>
                <p:nvPr/>
              </p:nvSpPr>
              <p:spPr>
                <a:xfrm>
                  <a:off x="8004524"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6" name="Graphic 1443">
                <a:extLst>
                  <a:ext uri="{FF2B5EF4-FFF2-40B4-BE49-F238E27FC236}">
                    <a16:creationId xmlns:a16="http://schemas.microsoft.com/office/drawing/2014/main" id="{86E4DE40-D58E-D72C-6D0C-F763A3DA9AA1}"/>
                  </a:ext>
                </a:extLst>
              </p:cNvPr>
              <p:cNvGrpSpPr/>
              <p:nvPr/>
            </p:nvGrpSpPr>
            <p:grpSpPr>
              <a:xfrm>
                <a:off x="7995951" y="3833431"/>
                <a:ext cx="61817" cy="63722"/>
                <a:chOff x="7995951" y="3833431"/>
                <a:chExt cx="61817" cy="63722"/>
              </a:xfrm>
            </p:grpSpPr>
            <p:sp>
              <p:nvSpPr>
                <p:cNvPr id="2519" name="Freeform: Shape 2518">
                  <a:extLst>
                    <a:ext uri="{FF2B5EF4-FFF2-40B4-BE49-F238E27FC236}">
                      <a16:creationId xmlns:a16="http://schemas.microsoft.com/office/drawing/2014/main" id="{E337B5AB-EBD6-D881-51DD-9D1AA2D43CEE}"/>
                    </a:ext>
                  </a:extLst>
                </p:cNvPr>
                <p:cNvSpPr/>
                <p:nvPr/>
              </p:nvSpPr>
              <p:spPr>
                <a:xfrm>
                  <a:off x="80268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20" name="Freeform: Shape 2519">
                  <a:extLst>
                    <a:ext uri="{FF2B5EF4-FFF2-40B4-BE49-F238E27FC236}">
                      <a16:creationId xmlns:a16="http://schemas.microsoft.com/office/drawing/2014/main" id="{129DDD53-EA54-EFF3-60F6-FEF4D992A9BF}"/>
                    </a:ext>
                  </a:extLst>
                </p:cNvPr>
                <p:cNvSpPr/>
                <p:nvPr/>
              </p:nvSpPr>
              <p:spPr>
                <a:xfrm>
                  <a:off x="79959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7" name="Graphic 1443">
                <a:extLst>
                  <a:ext uri="{FF2B5EF4-FFF2-40B4-BE49-F238E27FC236}">
                    <a16:creationId xmlns:a16="http://schemas.microsoft.com/office/drawing/2014/main" id="{B5E5156D-1887-7A3B-445C-B84D5ACEAA0A}"/>
                  </a:ext>
                </a:extLst>
              </p:cNvPr>
              <p:cNvGrpSpPr/>
              <p:nvPr/>
            </p:nvGrpSpPr>
            <p:grpSpPr>
              <a:xfrm>
                <a:off x="7702105" y="3833431"/>
                <a:ext cx="61817" cy="63722"/>
                <a:chOff x="7702105" y="3833431"/>
                <a:chExt cx="61817" cy="63722"/>
              </a:xfrm>
            </p:grpSpPr>
            <p:sp>
              <p:nvSpPr>
                <p:cNvPr id="2517" name="Freeform: Shape 2516">
                  <a:extLst>
                    <a:ext uri="{FF2B5EF4-FFF2-40B4-BE49-F238E27FC236}">
                      <a16:creationId xmlns:a16="http://schemas.microsoft.com/office/drawing/2014/main" id="{93E4FD3C-ED7D-EAF7-5F47-D20C9A9EF5DE}"/>
                    </a:ext>
                  </a:extLst>
                </p:cNvPr>
                <p:cNvSpPr/>
                <p:nvPr/>
              </p:nvSpPr>
              <p:spPr>
                <a:xfrm>
                  <a:off x="77330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18" name="Freeform: Shape 2517">
                  <a:extLst>
                    <a:ext uri="{FF2B5EF4-FFF2-40B4-BE49-F238E27FC236}">
                      <a16:creationId xmlns:a16="http://schemas.microsoft.com/office/drawing/2014/main" id="{DF94E867-8607-357D-069A-C06204173060}"/>
                    </a:ext>
                  </a:extLst>
                </p:cNvPr>
                <p:cNvSpPr/>
                <p:nvPr/>
              </p:nvSpPr>
              <p:spPr>
                <a:xfrm>
                  <a:off x="77021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8" name="Graphic 1443">
                <a:extLst>
                  <a:ext uri="{FF2B5EF4-FFF2-40B4-BE49-F238E27FC236}">
                    <a16:creationId xmlns:a16="http://schemas.microsoft.com/office/drawing/2014/main" id="{66B789A6-1274-E9D5-9054-9524D3A146BE}"/>
                  </a:ext>
                </a:extLst>
              </p:cNvPr>
              <p:cNvGrpSpPr/>
              <p:nvPr/>
            </p:nvGrpSpPr>
            <p:grpSpPr>
              <a:xfrm>
                <a:off x="7688865" y="3833431"/>
                <a:ext cx="61817" cy="63722"/>
                <a:chOff x="7688865" y="3833431"/>
                <a:chExt cx="61817" cy="63722"/>
              </a:xfrm>
            </p:grpSpPr>
            <p:sp>
              <p:nvSpPr>
                <p:cNvPr id="2515" name="Freeform: Shape 2514">
                  <a:extLst>
                    <a:ext uri="{FF2B5EF4-FFF2-40B4-BE49-F238E27FC236}">
                      <a16:creationId xmlns:a16="http://schemas.microsoft.com/office/drawing/2014/main" id="{CA311720-FAC4-813C-361B-FF1761592945}"/>
                    </a:ext>
                  </a:extLst>
                </p:cNvPr>
                <p:cNvSpPr/>
                <p:nvPr/>
              </p:nvSpPr>
              <p:spPr>
                <a:xfrm>
                  <a:off x="771972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16" name="Freeform: Shape 2515">
                  <a:extLst>
                    <a:ext uri="{FF2B5EF4-FFF2-40B4-BE49-F238E27FC236}">
                      <a16:creationId xmlns:a16="http://schemas.microsoft.com/office/drawing/2014/main" id="{DED45AF3-088B-5AEF-12C0-4FA809C554C3}"/>
                    </a:ext>
                  </a:extLst>
                </p:cNvPr>
                <p:cNvSpPr/>
                <p:nvPr/>
              </p:nvSpPr>
              <p:spPr>
                <a:xfrm>
                  <a:off x="768886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79" name="Graphic 1443">
                <a:extLst>
                  <a:ext uri="{FF2B5EF4-FFF2-40B4-BE49-F238E27FC236}">
                    <a16:creationId xmlns:a16="http://schemas.microsoft.com/office/drawing/2014/main" id="{29B253D0-8BB2-CCC6-3404-7CC4DA7CC1D6}"/>
                  </a:ext>
                </a:extLst>
              </p:cNvPr>
              <p:cNvGrpSpPr/>
              <p:nvPr/>
            </p:nvGrpSpPr>
            <p:grpSpPr>
              <a:xfrm>
                <a:off x="7795260" y="3833431"/>
                <a:ext cx="61817" cy="63722"/>
                <a:chOff x="7795260" y="3833431"/>
                <a:chExt cx="61817" cy="63722"/>
              </a:xfrm>
            </p:grpSpPr>
            <p:sp>
              <p:nvSpPr>
                <p:cNvPr id="2513" name="Freeform: Shape 2512">
                  <a:extLst>
                    <a:ext uri="{FF2B5EF4-FFF2-40B4-BE49-F238E27FC236}">
                      <a16:creationId xmlns:a16="http://schemas.microsoft.com/office/drawing/2014/main" id="{0AA5EB89-A482-145F-5892-2AEB9CD35867}"/>
                    </a:ext>
                  </a:extLst>
                </p:cNvPr>
                <p:cNvSpPr/>
                <p:nvPr/>
              </p:nvSpPr>
              <p:spPr>
                <a:xfrm>
                  <a:off x="782621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14" name="Freeform: Shape 2513">
                  <a:extLst>
                    <a:ext uri="{FF2B5EF4-FFF2-40B4-BE49-F238E27FC236}">
                      <a16:creationId xmlns:a16="http://schemas.microsoft.com/office/drawing/2014/main" id="{2683E96D-4505-EFBF-B2E4-970475F33596}"/>
                    </a:ext>
                  </a:extLst>
                </p:cNvPr>
                <p:cNvSpPr/>
                <p:nvPr/>
              </p:nvSpPr>
              <p:spPr>
                <a:xfrm>
                  <a:off x="779526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0" name="Graphic 1443">
                <a:extLst>
                  <a:ext uri="{FF2B5EF4-FFF2-40B4-BE49-F238E27FC236}">
                    <a16:creationId xmlns:a16="http://schemas.microsoft.com/office/drawing/2014/main" id="{D1092874-3D89-E3AA-650C-907987390091}"/>
                  </a:ext>
                </a:extLst>
              </p:cNvPr>
              <p:cNvGrpSpPr/>
              <p:nvPr/>
            </p:nvGrpSpPr>
            <p:grpSpPr>
              <a:xfrm>
                <a:off x="7781925" y="3833431"/>
                <a:ext cx="61817" cy="63722"/>
                <a:chOff x="7781925" y="3833431"/>
                <a:chExt cx="61817" cy="63722"/>
              </a:xfrm>
            </p:grpSpPr>
            <p:sp>
              <p:nvSpPr>
                <p:cNvPr id="2511" name="Freeform: Shape 2510">
                  <a:extLst>
                    <a:ext uri="{FF2B5EF4-FFF2-40B4-BE49-F238E27FC236}">
                      <a16:creationId xmlns:a16="http://schemas.microsoft.com/office/drawing/2014/main" id="{59E75D71-93A0-0478-74E8-B32978014DFB}"/>
                    </a:ext>
                  </a:extLst>
                </p:cNvPr>
                <p:cNvSpPr/>
                <p:nvPr/>
              </p:nvSpPr>
              <p:spPr>
                <a:xfrm>
                  <a:off x="78128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12" name="Freeform: Shape 2511">
                  <a:extLst>
                    <a:ext uri="{FF2B5EF4-FFF2-40B4-BE49-F238E27FC236}">
                      <a16:creationId xmlns:a16="http://schemas.microsoft.com/office/drawing/2014/main" id="{519407C8-D035-9156-D325-CDAAB11EA05F}"/>
                    </a:ext>
                  </a:extLst>
                </p:cNvPr>
                <p:cNvSpPr/>
                <p:nvPr/>
              </p:nvSpPr>
              <p:spPr>
                <a:xfrm>
                  <a:off x="77819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1" name="Graphic 1443">
                <a:extLst>
                  <a:ext uri="{FF2B5EF4-FFF2-40B4-BE49-F238E27FC236}">
                    <a16:creationId xmlns:a16="http://schemas.microsoft.com/office/drawing/2014/main" id="{1F67D622-C781-3394-B4CD-C95145E33A38}"/>
                  </a:ext>
                </a:extLst>
              </p:cNvPr>
              <p:cNvGrpSpPr/>
              <p:nvPr/>
            </p:nvGrpSpPr>
            <p:grpSpPr>
              <a:xfrm>
                <a:off x="7821930" y="3833431"/>
                <a:ext cx="61817" cy="63722"/>
                <a:chOff x="7821930" y="3833431"/>
                <a:chExt cx="61817" cy="63722"/>
              </a:xfrm>
            </p:grpSpPr>
            <p:sp>
              <p:nvSpPr>
                <p:cNvPr id="2509" name="Freeform: Shape 2508">
                  <a:extLst>
                    <a:ext uri="{FF2B5EF4-FFF2-40B4-BE49-F238E27FC236}">
                      <a16:creationId xmlns:a16="http://schemas.microsoft.com/office/drawing/2014/main" id="{FE32DC17-ACBE-9235-676B-26A529DB441F}"/>
                    </a:ext>
                  </a:extLst>
                </p:cNvPr>
                <p:cNvSpPr/>
                <p:nvPr/>
              </p:nvSpPr>
              <p:spPr>
                <a:xfrm>
                  <a:off x="78527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10" name="Freeform: Shape 2509">
                  <a:extLst>
                    <a:ext uri="{FF2B5EF4-FFF2-40B4-BE49-F238E27FC236}">
                      <a16:creationId xmlns:a16="http://schemas.microsoft.com/office/drawing/2014/main" id="{1D304E88-63AC-8492-13BA-B170EE9D17B6}"/>
                    </a:ext>
                  </a:extLst>
                </p:cNvPr>
                <p:cNvSpPr/>
                <p:nvPr/>
              </p:nvSpPr>
              <p:spPr>
                <a:xfrm>
                  <a:off x="78219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2" name="Graphic 1443">
                <a:extLst>
                  <a:ext uri="{FF2B5EF4-FFF2-40B4-BE49-F238E27FC236}">
                    <a16:creationId xmlns:a16="http://schemas.microsoft.com/office/drawing/2014/main" id="{00E659C4-23FF-6C60-662C-D6DCF0EE2A5B}"/>
                  </a:ext>
                </a:extLst>
              </p:cNvPr>
              <p:cNvGrpSpPr/>
              <p:nvPr/>
            </p:nvGrpSpPr>
            <p:grpSpPr>
              <a:xfrm>
                <a:off x="7808595" y="3833431"/>
                <a:ext cx="61817" cy="63722"/>
                <a:chOff x="7808595" y="3833431"/>
                <a:chExt cx="61817" cy="63722"/>
              </a:xfrm>
            </p:grpSpPr>
            <p:sp>
              <p:nvSpPr>
                <p:cNvPr id="2507" name="Freeform: Shape 2506">
                  <a:extLst>
                    <a:ext uri="{FF2B5EF4-FFF2-40B4-BE49-F238E27FC236}">
                      <a16:creationId xmlns:a16="http://schemas.microsoft.com/office/drawing/2014/main" id="{BF5373FC-645F-F124-EF25-F02E7C21ED55}"/>
                    </a:ext>
                  </a:extLst>
                </p:cNvPr>
                <p:cNvSpPr/>
                <p:nvPr/>
              </p:nvSpPr>
              <p:spPr>
                <a:xfrm>
                  <a:off x="783945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08" name="Freeform: Shape 2507">
                  <a:extLst>
                    <a:ext uri="{FF2B5EF4-FFF2-40B4-BE49-F238E27FC236}">
                      <a16:creationId xmlns:a16="http://schemas.microsoft.com/office/drawing/2014/main" id="{5B2BF739-62A9-0A67-5517-3A2287502C65}"/>
                    </a:ext>
                  </a:extLst>
                </p:cNvPr>
                <p:cNvSpPr/>
                <p:nvPr/>
              </p:nvSpPr>
              <p:spPr>
                <a:xfrm>
                  <a:off x="780859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3" name="Graphic 1443">
                <a:extLst>
                  <a:ext uri="{FF2B5EF4-FFF2-40B4-BE49-F238E27FC236}">
                    <a16:creationId xmlns:a16="http://schemas.microsoft.com/office/drawing/2014/main" id="{ED45FCBC-0959-678D-40CF-310251D6494B}"/>
                  </a:ext>
                </a:extLst>
              </p:cNvPr>
              <p:cNvGrpSpPr/>
              <p:nvPr/>
            </p:nvGrpSpPr>
            <p:grpSpPr>
              <a:xfrm>
                <a:off x="7863078" y="3833431"/>
                <a:ext cx="61817" cy="63722"/>
                <a:chOff x="7863078" y="3833431"/>
                <a:chExt cx="61817" cy="63722"/>
              </a:xfrm>
            </p:grpSpPr>
            <p:sp>
              <p:nvSpPr>
                <p:cNvPr id="2505" name="Freeform: Shape 2504">
                  <a:extLst>
                    <a:ext uri="{FF2B5EF4-FFF2-40B4-BE49-F238E27FC236}">
                      <a16:creationId xmlns:a16="http://schemas.microsoft.com/office/drawing/2014/main" id="{5D6C9B5B-DA0F-86EC-F32D-33ECC53765C5}"/>
                    </a:ext>
                  </a:extLst>
                </p:cNvPr>
                <p:cNvSpPr/>
                <p:nvPr/>
              </p:nvSpPr>
              <p:spPr>
                <a:xfrm>
                  <a:off x="789403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06" name="Freeform: Shape 2505">
                  <a:extLst>
                    <a:ext uri="{FF2B5EF4-FFF2-40B4-BE49-F238E27FC236}">
                      <a16:creationId xmlns:a16="http://schemas.microsoft.com/office/drawing/2014/main" id="{2661A5E2-EB7E-F88F-5A41-4778E7F6ABED}"/>
                    </a:ext>
                  </a:extLst>
                </p:cNvPr>
                <p:cNvSpPr/>
                <p:nvPr/>
              </p:nvSpPr>
              <p:spPr>
                <a:xfrm>
                  <a:off x="7863078"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4" name="Graphic 1443">
                <a:extLst>
                  <a:ext uri="{FF2B5EF4-FFF2-40B4-BE49-F238E27FC236}">
                    <a16:creationId xmlns:a16="http://schemas.microsoft.com/office/drawing/2014/main" id="{1BBE6078-4AF6-14CF-B967-8E4DDF0A9985}"/>
                  </a:ext>
                </a:extLst>
              </p:cNvPr>
              <p:cNvGrpSpPr/>
              <p:nvPr/>
            </p:nvGrpSpPr>
            <p:grpSpPr>
              <a:xfrm>
                <a:off x="7854505" y="3833431"/>
                <a:ext cx="61817" cy="63722"/>
                <a:chOff x="7854505" y="3833431"/>
                <a:chExt cx="61817" cy="63722"/>
              </a:xfrm>
            </p:grpSpPr>
            <p:sp>
              <p:nvSpPr>
                <p:cNvPr id="2503" name="Freeform: Shape 2502">
                  <a:extLst>
                    <a:ext uri="{FF2B5EF4-FFF2-40B4-BE49-F238E27FC236}">
                      <a16:creationId xmlns:a16="http://schemas.microsoft.com/office/drawing/2014/main" id="{5B8BDF08-81C4-71E9-E878-4D2B2FE20028}"/>
                    </a:ext>
                  </a:extLst>
                </p:cNvPr>
                <p:cNvSpPr/>
                <p:nvPr/>
              </p:nvSpPr>
              <p:spPr>
                <a:xfrm>
                  <a:off x="78854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04" name="Freeform: Shape 2503">
                  <a:extLst>
                    <a:ext uri="{FF2B5EF4-FFF2-40B4-BE49-F238E27FC236}">
                      <a16:creationId xmlns:a16="http://schemas.microsoft.com/office/drawing/2014/main" id="{801A1BE6-E847-2A3B-7FC7-0BBFC7E5A0F5}"/>
                    </a:ext>
                  </a:extLst>
                </p:cNvPr>
                <p:cNvSpPr/>
                <p:nvPr/>
              </p:nvSpPr>
              <p:spPr>
                <a:xfrm>
                  <a:off x="78545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5" name="Graphic 1443">
                <a:extLst>
                  <a:ext uri="{FF2B5EF4-FFF2-40B4-BE49-F238E27FC236}">
                    <a16:creationId xmlns:a16="http://schemas.microsoft.com/office/drawing/2014/main" id="{356F1FD1-2CB5-F4AC-3F5A-FCEF17F00E4B}"/>
                  </a:ext>
                </a:extLst>
              </p:cNvPr>
              <p:cNvGrpSpPr/>
              <p:nvPr/>
            </p:nvGrpSpPr>
            <p:grpSpPr>
              <a:xfrm>
                <a:off x="7768685" y="3833431"/>
                <a:ext cx="61817" cy="63722"/>
                <a:chOff x="7768685" y="3833431"/>
                <a:chExt cx="61817" cy="63722"/>
              </a:xfrm>
            </p:grpSpPr>
            <p:sp>
              <p:nvSpPr>
                <p:cNvPr id="2501" name="Freeform: Shape 2500">
                  <a:extLst>
                    <a:ext uri="{FF2B5EF4-FFF2-40B4-BE49-F238E27FC236}">
                      <a16:creationId xmlns:a16="http://schemas.microsoft.com/office/drawing/2014/main" id="{2FE0897A-D06B-5DD7-B299-5B80AE05FD91}"/>
                    </a:ext>
                  </a:extLst>
                </p:cNvPr>
                <p:cNvSpPr/>
                <p:nvPr/>
              </p:nvSpPr>
              <p:spPr>
                <a:xfrm>
                  <a:off x="779954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02" name="Freeform: Shape 2501">
                  <a:extLst>
                    <a:ext uri="{FF2B5EF4-FFF2-40B4-BE49-F238E27FC236}">
                      <a16:creationId xmlns:a16="http://schemas.microsoft.com/office/drawing/2014/main" id="{35A5305A-049A-FF86-A67B-91E0E5A9794A}"/>
                    </a:ext>
                  </a:extLst>
                </p:cNvPr>
                <p:cNvSpPr/>
                <p:nvPr/>
              </p:nvSpPr>
              <p:spPr>
                <a:xfrm>
                  <a:off x="776868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6" name="Graphic 1443">
                <a:extLst>
                  <a:ext uri="{FF2B5EF4-FFF2-40B4-BE49-F238E27FC236}">
                    <a16:creationId xmlns:a16="http://schemas.microsoft.com/office/drawing/2014/main" id="{FCD34301-2DD8-1E84-D56A-DC48AEACCEED}"/>
                  </a:ext>
                </a:extLst>
              </p:cNvPr>
              <p:cNvGrpSpPr/>
              <p:nvPr/>
            </p:nvGrpSpPr>
            <p:grpSpPr>
              <a:xfrm>
                <a:off x="7755350" y="3833431"/>
                <a:ext cx="61817" cy="63722"/>
                <a:chOff x="7755350" y="3833431"/>
                <a:chExt cx="61817" cy="63722"/>
              </a:xfrm>
            </p:grpSpPr>
            <p:sp>
              <p:nvSpPr>
                <p:cNvPr id="2499" name="Freeform: Shape 2498">
                  <a:extLst>
                    <a:ext uri="{FF2B5EF4-FFF2-40B4-BE49-F238E27FC236}">
                      <a16:creationId xmlns:a16="http://schemas.microsoft.com/office/drawing/2014/main" id="{F16C06B2-ABAC-B1F9-CF72-430253931A22}"/>
                    </a:ext>
                  </a:extLst>
                </p:cNvPr>
                <p:cNvSpPr/>
                <p:nvPr/>
              </p:nvSpPr>
              <p:spPr>
                <a:xfrm>
                  <a:off x="778630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00" name="Freeform: Shape 2499">
                  <a:extLst>
                    <a:ext uri="{FF2B5EF4-FFF2-40B4-BE49-F238E27FC236}">
                      <a16:creationId xmlns:a16="http://schemas.microsoft.com/office/drawing/2014/main" id="{9475EF56-F476-ABAA-8D69-0F16326C2428}"/>
                    </a:ext>
                  </a:extLst>
                </p:cNvPr>
                <p:cNvSpPr/>
                <p:nvPr/>
              </p:nvSpPr>
              <p:spPr>
                <a:xfrm>
                  <a:off x="775535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7" name="Graphic 1443">
                <a:extLst>
                  <a:ext uri="{FF2B5EF4-FFF2-40B4-BE49-F238E27FC236}">
                    <a16:creationId xmlns:a16="http://schemas.microsoft.com/office/drawing/2014/main" id="{9B143752-6A56-4BF9-0B04-EFAB51544A4F}"/>
                  </a:ext>
                </a:extLst>
              </p:cNvPr>
              <p:cNvGrpSpPr/>
              <p:nvPr/>
            </p:nvGrpSpPr>
            <p:grpSpPr>
              <a:xfrm>
                <a:off x="7742015" y="3833431"/>
                <a:ext cx="61817" cy="63722"/>
                <a:chOff x="7742015" y="3833431"/>
                <a:chExt cx="61817" cy="63722"/>
              </a:xfrm>
            </p:grpSpPr>
            <p:sp>
              <p:nvSpPr>
                <p:cNvPr id="2497" name="Freeform: Shape 2496">
                  <a:extLst>
                    <a:ext uri="{FF2B5EF4-FFF2-40B4-BE49-F238E27FC236}">
                      <a16:creationId xmlns:a16="http://schemas.microsoft.com/office/drawing/2014/main" id="{E5A99614-CA58-D962-4F61-672FC1BD76A6}"/>
                    </a:ext>
                  </a:extLst>
                </p:cNvPr>
                <p:cNvSpPr/>
                <p:nvPr/>
              </p:nvSpPr>
              <p:spPr>
                <a:xfrm>
                  <a:off x="777297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498" name="Freeform: Shape 2497">
                  <a:extLst>
                    <a:ext uri="{FF2B5EF4-FFF2-40B4-BE49-F238E27FC236}">
                      <a16:creationId xmlns:a16="http://schemas.microsoft.com/office/drawing/2014/main" id="{9814F5FE-823E-10DE-AEA5-4FE059E5A894}"/>
                    </a:ext>
                  </a:extLst>
                </p:cNvPr>
                <p:cNvSpPr/>
                <p:nvPr/>
              </p:nvSpPr>
              <p:spPr>
                <a:xfrm>
                  <a:off x="774201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8" name="Graphic 1443">
                <a:extLst>
                  <a:ext uri="{FF2B5EF4-FFF2-40B4-BE49-F238E27FC236}">
                    <a16:creationId xmlns:a16="http://schemas.microsoft.com/office/drawing/2014/main" id="{4AA4172D-422B-71FC-EA49-06BF2C2F503A}"/>
                  </a:ext>
                </a:extLst>
              </p:cNvPr>
              <p:cNvGrpSpPr/>
              <p:nvPr/>
            </p:nvGrpSpPr>
            <p:grpSpPr>
              <a:xfrm>
                <a:off x="7728775" y="3833431"/>
                <a:ext cx="61817" cy="63722"/>
                <a:chOff x="7728775" y="3833431"/>
                <a:chExt cx="61817" cy="63722"/>
              </a:xfrm>
            </p:grpSpPr>
            <p:sp>
              <p:nvSpPr>
                <p:cNvPr id="2495" name="Freeform: Shape 2494">
                  <a:extLst>
                    <a:ext uri="{FF2B5EF4-FFF2-40B4-BE49-F238E27FC236}">
                      <a16:creationId xmlns:a16="http://schemas.microsoft.com/office/drawing/2014/main" id="{47A5342D-582A-4886-E6EE-74D749CEED25}"/>
                    </a:ext>
                  </a:extLst>
                </p:cNvPr>
                <p:cNvSpPr/>
                <p:nvPr/>
              </p:nvSpPr>
              <p:spPr>
                <a:xfrm>
                  <a:off x="775963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496" name="Freeform: Shape 2495">
                  <a:extLst>
                    <a:ext uri="{FF2B5EF4-FFF2-40B4-BE49-F238E27FC236}">
                      <a16:creationId xmlns:a16="http://schemas.microsoft.com/office/drawing/2014/main" id="{C256B795-659B-0397-46B7-FCEC7C3E7A1E}"/>
                    </a:ext>
                  </a:extLst>
                </p:cNvPr>
                <p:cNvSpPr/>
                <p:nvPr/>
              </p:nvSpPr>
              <p:spPr>
                <a:xfrm>
                  <a:off x="772877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89" name="Graphic 1443">
                <a:extLst>
                  <a:ext uri="{FF2B5EF4-FFF2-40B4-BE49-F238E27FC236}">
                    <a16:creationId xmlns:a16="http://schemas.microsoft.com/office/drawing/2014/main" id="{09BC037F-7BED-AC00-0E34-C33135D54A4D}"/>
                  </a:ext>
                </a:extLst>
              </p:cNvPr>
              <p:cNvGrpSpPr/>
              <p:nvPr/>
            </p:nvGrpSpPr>
            <p:grpSpPr>
              <a:xfrm>
                <a:off x="7715440" y="3833431"/>
                <a:ext cx="61817" cy="63722"/>
                <a:chOff x="7715440" y="3833431"/>
                <a:chExt cx="61817" cy="63722"/>
              </a:xfrm>
            </p:grpSpPr>
            <p:sp>
              <p:nvSpPr>
                <p:cNvPr id="2493" name="Freeform: Shape 2492">
                  <a:extLst>
                    <a:ext uri="{FF2B5EF4-FFF2-40B4-BE49-F238E27FC236}">
                      <a16:creationId xmlns:a16="http://schemas.microsoft.com/office/drawing/2014/main" id="{0735EB10-3601-1D90-3A9D-3E74EB91BB40}"/>
                    </a:ext>
                  </a:extLst>
                </p:cNvPr>
                <p:cNvSpPr/>
                <p:nvPr/>
              </p:nvSpPr>
              <p:spPr>
                <a:xfrm>
                  <a:off x="774630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494" name="Freeform: Shape 2493">
                  <a:extLst>
                    <a:ext uri="{FF2B5EF4-FFF2-40B4-BE49-F238E27FC236}">
                      <a16:creationId xmlns:a16="http://schemas.microsoft.com/office/drawing/2014/main" id="{A57D3435-8E6C-16C9-1525-681E5922044F}"/>
                    </a:ext>
                  </a:extLst>
                </p:cNvPr>
                <p:cNvSpPr/>
                <p:nvPr/>
              </p:nvSpPr>
              <p:spPr>
                <a:xfrm>
                  <a:off x="771544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90" name="Graphic 1443">
                <a:extLst>
                  <a:ext uri="{FF2B5EF4-FFF2-40B4-BE49-F238E27FC236}">
                    <a16:creationId xmlns:a16="http://schemas.microsoft.com/office/drawing/2014/main" id="{EC624D90-2B6A-C355-0FEC-72F411D22D8B}"/>
                  </a:ext>
                </a:extLst>
              </p:cNvPr>
              <p:cNvGrpSpPr/>
              <p:nvPr/>
            </p:nvGrpSpPr>
            <p:grpSpPr>
              <a:xfrm>
                <a:off x="8131016" y="3937063"/>
                <a:ext cx="61722" cy="63722"/>
                <a:chOff x="8131016" y="3937063"/>
                <a:chExt cx="61722" cy="63722"/>
              </a:xfrm>
            </p:grpSpPr>
            <p:sp>
              <p:nvSpPr>
                <p:cNvPr id="2491" name="Freeform: Shape 2490">
                  <a:extLst>
                    <a:ext uri="{FF2B5EF4-FFF2-40B4-BE49-F238E27FC236}">
                      <a16:creationId xmlns:a16="http://schemas.microsoft.com/office/drawing/2014/main" id="{0A2E9890-FE31-F2B9-5300-2E1BAE619258}"/>
                    </a:ext>
                  </a:extLst>
                </p:cNvPr>
                <p:cNvSpPr/>
                <p:nvPr/>
              </p:nvSpPr>
              <p:spPr>
                <a:xfrm>
                  <a:off x="816187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492" name="Freeform: Shape 2491">
                  <a:extLst>
                    <a:ext uri="{FF2B5EF4-FFF2-40B4-BE49-F238E27FC236}">
                      <a16:creationId xmlns:a16="http://schemas.microsoft.com/office/drawing/2014/main" id="{98A2A5EE-499D-0A8F-2395-2D8826D8B74C}"/>
                    </a:ext>
                  </a:extLst>
                </p:cNvPr>
                <p:cNvSpPr/>
                <p:nvPr/>
              </p:nvSpPr>
              <p:spPr>
                <a:xfrm>
                  <a:off x="8131016" y="3968971"/>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2262" name="Freeform: Shape 2261">
              <a:extLst>
                <a:ext uri="{FF2B5EF4-FFF2-40B4-BE49-F238E27FC236}">
                  <a16:creationId xmlns:a16="http://schemas.microsoft.com/office/drawing/2014/main" id="{C56357B5-1B26-1CEE-0E86-2D64E8CF34D8}"/>
                </a:ext>
              </a:extLst>
            </p:cNvPr>
            <p:cNvSpPr/>
            <p:nvPr/>
          </p:nvSpPr>
          <p:spPr>
            <a:xfrm>
              <a:off x="3457575" y="2751867"/>
              <a:ext cx="5242750" cy="1329023"/>
            </a:xfrm>
            <a:custGeom>
              <a:avLst/>
              <a:gdLst>
                <a:gd name="connsiteX0" fmla="*/ 5242751 w 5242750"/>
                <a:gd name="connsiteY0" fmla="*/ 1329023 h 1329023"/>
                <a:gd name="connsiteX1" fmla="*/ 4728782 w 5242750"/>
                <a:gd name="connsiteY1" fmla="*/ 1329023 h 1329023"/>
                <a:gd name="connsiteX2" fmla="*/ 4728782 w 5242750"/>
                <a:gd name="connsiteY2" fmla="*/ 1217105 h 1329023"/>
                <a:gd name="connsiteX3" fmla="*/ 4681728 w 5242750"/>
                <a:gd name="connsiteY3" fmla="*/ 1217105 h 1329023"/>
                <a:gd name="connsiteX4" fmla="*/ 4681728 w 5242750"/>
                <a:gd name="connsiteY4" fmla="*/ 1113377 h 1329023"/>
                <a:gd name="connsiteX5" fmla="*/ 4209765 w 5242750"/>
                <a:gd name="connsiteY5" fmla="*/ 1113377 h 1329023"/>
                <a:gd name="connsiteX6" fmla="*/ 4209765 w 5242750"/>
                <a:gd name="connsiteY6" fmla="*/ 1076611 h 1329023"/>
                <a:gd name="connsiteX7" fmla="*/ 4157472 w 5242750"/>
                <a:gd name="connsiteY7" fmla="*/ 1076611 h 1329023"/>
                <a:gd name="connsiteX8" fmla="*/ 4157472 w 5242750"/>
                <a:gd name="connsiteY8" fmla="*/ 1044512 h 1329023"/>
                <a:gd name="connsiteX9" fmla="*/ 3946493 w 5242750"/>
                <a:gd name="connsiteY9" fmla="*/ 1044512 h 1329023"/>
                <a:gd name="connsiteX10" fmla="*/ 3946493 w 5242750"/>
                <a:gd name="connsiteY10" fmla="*/ 990600 h 1329023"/>
                <a:gd name="connsiteX11" fmla="*/ 3754279 w 5242750"/>
                <a:gd name="connsiteY11" fmla="*/ 990600 h 1329023"/>
                <a:gd name="connsiteX12" fmla="*/ 3754279 w 5242750"/>
                <a:gd name="connsiteY12" fmla="*/ 972312 h 1329023"/>
                <a:gd name="connsiteX13" fmla="*/ 3743039 w 5242750"/>
                <a:gd name="connsiteY13" fmla="*/ 972312 h 1329023"/>
                <a:gd name="connsiteX14" fmla="*/ 3743039 w 5242750"/>
                <a:gd name="connsiteY14" fmla="*/ 935355 h 1329023"/>
                <a:gd name="connsiteX15" fmla="*/ 3674174 w 5242750"/>
                <a:gd name="connsiteY15" fmla="*/ 935355 h 1329023"/>
                <a:gd name="connsiteX16" fmla="*/ 3674174 w 5242750"/>
                <a:gd name="connsiteY16" fmla="*/ 915543 h 1329023"/>
                <a:gd name="connsiteX17" fmla="*/ 3653028 w 5242750"/>
                <a:gd name="connsiteY17" fmla="*/ 915543 h 1329023"/>
                <a:gd name="connsiteX18" fmla="*/ 3653028 w 5242750"/>
                <a:gd name="connsiteY18" fmla="*/ 897827 h 1329023"/>
                <a:gd name="connsiteX19" fmla="*/ 3603974 w 5242750"/>
                <a:gd name="connsiteY19" fmla="*/ 897827 h 1329023"/>
                <a:gd name="connsiteX20" fmla="*/ 3603974 w 5242750"/>
                <a:gd name="connsiteY20" fmla="*/ 880777 h 1329023"/>
                <a:gd name="connsiteX21" fmla="*/ 3443097 w 5242750"/>
                <a:gd name="connsiteY21" fmla="*/ 880777 h 1329023"/>
                <a:gd name="connsiteX22" fmla="*/ 3443097 w 5242750"/>
                <a:gd name="connsiteY22" fmla="*/ 863060 h 1329023"/>
                <a:gd name="connsiteX23" fmla="*/ 3268695 w 5242750"/>
                <a:gd name="connsiteY23" fmla="*/ 863060 h 1329023"/>
                <a:gd name="connsiteX24" fmla="*/ 3268695 w 5242750"/>
                <a:gd name="connsiteY24" fmla="*/ 830961 h 1329023"/>
                <a:gd name="connsiteX25" fmla="*/ 3110770 w 5242750"/>
                <a:gd name="connsiteY25" fmla="*/ 830961 h 1329023"/>
                <a:gd name="connsiteX26" fmla="*/ 3110770 w 5242750"/>
                <a:gd name="connsiteY26" fmla="*/ 808482 h 1329023"/>
                <a:gd name="connsiteX27" fmla="*/ 3077051 w 5242750"/>
                <a:gd name="connsiteY27" fmla="*/ 808482 h 1329023"/>
                <a:gd name="connsiteX28" fmla="*/ 3077051 w 5242750"/>
                <a:gd name="connsiteY28" fmla="*/ 796195 h 1329023"/>
                <a:gd name="connsiteX29" fmla="*/ 3041904 w 5242750"/>
                <a:gd name="connsiteY29" fmla="*/ 796195 h 1329023"/>
                <a:gd name="connsiteX30" fmla="*/ 3041904 w 5242750"/>
                <a:gd name="connsiteY30" fmla="*/ 778478 h 1329023"/>
                <a:gd name="connsiteX31" fmla="*/ 3028664 w 5242750"/>
                <a:gd name="connsiteY31" fmla="*/ 778478 h 1329023"/>
                <a:gd name="connsiteX32" fmla="*/ 3028664 w 5242750"/>
                <a:gd name="connsiteY32" fmla="*/ 755237 h 1329023"/>
                <a:gd name="connsiteX33" fmla="*/ 2995613 w 5242750"/>
                <a:gd name="connsiteY33" fmla="*/ 755237 h 1329023"/>
                <a:gd name="connsiteX34" fmla="*/ 2995613 w 5242750"/>
                <a:gd name="connsiteY34" fmla="*/ 745046 h 1329023"/>
                <a:gd name="connsiteX35" fmla="*/ 2783777 w 5242750"/>
                <a:gd name="connsiteY35" fmla="*/ 745046 h 1329023"/>
                <a:gd name="connsiteX36" fmla="*/ 2783777 w 5242750"/>
                <a:gd name="connsiteY36" fmla="*/ 734092 h 1329023"/>
                <a:gd name="connsiteX37" fmla="*/ 2767870 w 5242750"/>
                <a:gd name="connsiteY37" fmla="*/ 734092 h 1329023"/>
                <a:gd name="connsiteX38" fmla="*/ 2767870 w 5242750"/>
                <a:gd name="connsiteY38" fmla="*/ 717709 h 1329023"/>
                <a:gd name="connsiteX39" fmla="*/ 2636806 w 5242750"/>
                <a:gd name="connsiteY39" fmla="*/ 717709 h 1329023"/>
                <a:gd name="connsiteX40" fmla="*/ 2636806 w 5242750"/>
                <a:gd name="connsiteY40" fmla="*/ 704088 h 1329023"/>
                <a:gd name="connsiteX41" fmla="*/ 2594420 w 5242750"/>
                <a:gd name="connsiteY41" fmla="*/ 704088 h 1329023"/>
                <a:gd name="connsiteX42" fmla="*/ 2594420 w 5242750"/>
                <a:gd name="connsiteY42" fmla="*/ 688372 h 1329023"/>
                <a:gd name="connsiteX43" fmla="*/ 2569274 w 5242750"/>
                <a:gd name="connsiteY43" fmla="*/ 688372 h 1329023"/>
                <a:gd name="connsiteX44" fmla="*/ 2569274 w 5242750"/>
                <a:gd name="connsiteY44" fmla="*/ 674751 h 1329023"/>
                <a:gd name="connsiteX45" fmla="*/ 2504408 w 5242750"/>
                <a:gd name="connsiteY45" fmla="*/ 674751 h 1329023"/>
                <a:gd name="connsiteX46" fmla="*/ 2504408 w 5242750"/>
                <a:gd name="connsiteY46" fmla="*/ 662464 h 1329023"/>
                <a:gd name="connsiteX47" fmla="*/ 2488502 w 5242750"/>
                <a:gd name="connsiteY47" fmla="*/ 662464 h 1329023"/>
                <a:gd name="connsiteX48" fmla="*/ 2488502 w 5242750"/>
                <a:gd name="connsiteY48" fmla="*/ 652939 h 1329023"/>
                <a:gd name="connsiteX49" fmla="*/ 2448782 w 5242750"/>
                <a:gd name="connsiteY49" fmla="*/ 652939 h 1329023"/>
                <a:gd name="connsiteX50" fmla="*/ 2448782 w 5242750"/>
                <a:gd name="connsiteY50" fmla="*/ 638556 h 1329023"/>
                <a:gd name="connsiteX51" fmla="*/ 2425637 w 5242750"/>
                <a:gd name="connsiteY51" fmla="*/ 638556 h 1329023"/>
                <a:gd name="connsiteX52" fmla="*/ 2425637 w 5242750"/>
                <a:gd name="connsiteY52" fmla="*/ 632460 h 1329023"/>
                <a:gd name="connsiteX53" fmla="*/ 2348198 w 5242750"/>
                <a:gd name="connsiteY53" fmla="*/ 632460 h 1329023"/>
                <a:gd name="connsiteX54" fmla="*/ 2348198 w 5242750"/>
                <a:gd name="connsiteY54" fmla="*/ 624935 h 1329023"/>
                <a:gd name="connsiteX55" fmla="*/ 2320385 w 5242750"/>
                <a:gd name="connsiteY55" fmla="*/ 624935 h 1329023"/>
                <a:gd name="connsiteX56" fmla="*/ 2320385 w 5242750"/>
                <a:gd name="connsiteY56" fmla="*/ 606552 h 1329023"/>
                <a:gd name="connsiteX57" fmla="*/ 2295906 w 5242750"/>
                <a:gd name="connsiteY57" fmla="*/ 606552 h 1329023"/>
                <a:gd name="connsiteX58" fmla="*/ 2295906 w 5242750"/>
                <a:gd name="connsiteY58" fmla="*/ 598361 h 1329023"/>
                <a:gd name="connsiteX59" fmla="*/ 2273332 w 5242750"/>
                <a:gd name="connsiteY59" fmla="*/ 598361 h 1329023"/>
                <a:gd name="connsiteX60" fmla="*/ 2273332 w 5242750"/>
                <a:gd name="connsiteY60" fmla="*/ 583311 h 1329023"/>
                <a:gd name="connsiteX61" fmla="*/ 2164080 w 5242750"/>
                <a:gd name="connsiteY61" fmla="*/ 583311 h 1329023"/>
                <a:gd name="connsiteX62" fmla="*/ 2164080 w 5242750"/>
                <a:gd name="connsiteY62" fmla="*/ 573786 h 1329023"/>
                <a:gd name="connsiteX63" fmla="*/ 2104549 w 5242750"/>
                <a:gd name="connsiteY63" fmla="*/ 573786 h 1329023"/>
                <a:gd name="connsiteX64" fmla="*/ 2104549 w 5242750"/>
                <a:gd name="connsiteY64" fmla="*/ 549878 h 1329023"/>
                <a:gd name="connsiteX65" fmla="*/ 1966817 w 5242750"/>
                <a:gd name="connsiteY65" fmla="*/ 549878 h 1329023"/>
                <a:gd name="connsiteX66" fmla="*/ 1966817 w 5242750"/>
                <a:gd name="connsiteY66" fmla="*/ 528733 h 1329023"/>
                <a:gd name="connsiteX67" fmla="*/ 1942338 w 5242750"/>
                <a:gd name="connsiteY67" fmla="*/ 528733 h 1329023"/>
                <a:gd name="connsiteX68" fmla="*/ 1942338 w 5242750"/>
                <a:gd name="connsiteY68" fmla="*/ 513112 h 1329023"/>
                <a:gd name="connsiteX69" fmla="*/ 1877473 w 5242750"/>
                <a:gd name="connsiteY69" fmla="*/ 513112 h 1329023"/>
                <a:gd name="connsiteX70" fmla="*/ 1877473 w 5242750"/>
                <a:gd name="connsiteY70" fmla="*/ 493300 h 1329023"/>
                <a:gd name="connsiteX71" fmla="*/ 1822514 w 5242750"/>
                <a:gd name="connsiteY71" fmla="*/ 493300 h 1329023"/>
                <a:gd name="connsiteX72" fmla="*/ 1822514 w 5242750"/>
                <a:gd name="connsiteY72" fmla="*/ 472821 h 1329023"/>
                <a:gd name="connsiteX73" fmla="*/ 1762982 w 5242750"/>
                <a:gd name="connsiteY73" fmla="*/ 472821 h 1329023"/>
                <a:gd name="connsiteX74" fmla="*/ 1762982 w 5242750"/>
                <a:gd name="connsiteY74" fmla="*/ 452342 h 1329023"/>
                <a:gd name="connsiteX75" fmla="*/ 1592104 w 5242750"/>
                <a:gd name="connsiteY75" fmla="*/ 452342 h 1329023"/>
                <a:gd name="connsiteX76" fmla="*/ 1592104 w 5242750"/>
                <a:gd name="connsiteY76" fmla="*/ 433292 h 1329023"/>
                <a:gd name="connsiteX77" fmla="*/ 1558385 w 5242750"/>
                <a:gd name="connsiteY77" fmla="*/ 433292 h 1329023"/>
                <a:gd name="connsiteX78" fmla="*/ 1558385 w 5242750"/>
                <a:gd name="connsiteY78" fmla="*/ 409385 h 1329023"/>
                <a:gd name="connsiteX79" fmla="*/ 1461040 w 5242750"/>
                <a:gd name="connsiteY79" fmla="*/ 409385 h 1329023"/>
                <a:gd name="connsiteX80" fmla="*/ 1461040 w 5242750"/>
                <a:gd name="connsiteY80" fmla="*/ 387572 h 1329023"/>
                <a:gd name="connsiteX81" fmla="*/ 1412748 w 5242750"/>
                <a:gd name="connsiteY81" fmla="*/ 387572 h 1329023"/>
                <a:gd name="connsiteX82" fmla="*/ 1412748 w 5242750"/>
                <a:gd name="connsiteY82" fmla="*/ 366427 h 1329023"/>
                <a:gd name="connsiteX83" fmla="*/ 1387602 w 5242750"/>
                <a:gd name="connsiteY83" fmla="*/ 366427 h 1329023"/>
                <a:gd name="connsiteX84" fmla="*/ 1387602 w 5242750"/>
                <a:gd name="connsiteY84" fmla="*/ 344519 h 1329023"/>
                <a:gd name="connsiteX85" fmla="*/ 1365028 w 5242750"/>
                <a:gd name="connsiteY85" fmla="*/ 344519 h 1329023"/>
                <a:gd name="connsiteX86" fmla="*/ 1365028 w 5242750"/>
                <a:gd name="connsiteY86" fmla="*/ 327470 h 1329023"/>
                <a:gd name="connsiteX87" fmla="*/ 1327976 w 5242750"/>
                <a:gd name="connsiteY87" fmla="*/ 327470 h 1329023"/>
                <a:gd name="connsiteX88" fmla="*/ 1327976 w 5242750"/>
                <a:gd name="connsiteY88" fmla="*/ 307086 h 1329023"/>
                <a:gd name="connsiteX89" fmla="*/ 1302830 w 5242750"/>
                <a:gd name="connsiteY89" fmla="*/ 307086 h 1329023"/>
                <a:gd name="connsiteX90" fmla="*/ 1302830 w 5242750"/>
                <a:gd name="connsiteY90" fmla="*/ 295466 h 1329023"/>
                <a:gd name="connsiteX91" fmla="*/ 1267111 w 5242750"/>
                <a:gd name="connsiteY91" fmla="*/ 295466 h 1329023"/>
                <a:gd name="connsiteX92" fmla="*/ 1267111 w 5242750"/>
                <a:gd name="connsiteY92" fmla="*/ 283845 h 1329023"/>
                <a:gd name="connsiteX93" fmla="*/ 1180338 w 5242750"/>
                <a:gd name="connsiteY93" fmla="*/ 283845 h 1329023"/>
                <a:gd name="connsiteX94" fmla="*/ 1180338 w 5242750"/>
                <a:gd name="connsiteY94" fmla="*/ 255175 h 1329023"/>
                <a:gd name="connsiteX95" fmla="*/ 1110901 w 5242750"/>
                <a:gd name="connsiteY95" fmla="*/ 255175 h 1329023"/>
                <a:gd name="connsiteX96" fmla="*/ 1110901 w 5242750"/>
                <a:gd name="connsiteY96" fmla="*/ 238125 h 1329023"/>
                <a:gd name="connsiteX97" fmla="*/ 1028129 w 5242750"/>
                <a:gd name="connsiteY97" fmla="*/ 238125 h 1329023"/>
                <a:gd name="connsiteX98" fmla="*/ 1028129 w 5242750"/>
                <a:gd name="connsiteY98" fmla="*/ 229267 h 1329023"/>
                <a:gd name="connsiteX99" fmla="*/ 938689 w 5242750"/>
                <a:gd name="connsiteY99" fmla="*/ 229267 h 1329023"/>
                <a:gd name="connsiteX100" fmla="*/ 938689 w 5242750"/>
                <a:gd name="connsiteY100" fmla="*/ 219075 h 1329023"/>
                <a:gd name="connsiteX101" fmla="*/ 885158 w 5242750"/>
                <a:gd name="connsiteY101" fmla="*/ 219075 h 1329023"/>
                <a:gd name="connsiteX102" fmla="*/ 885158 w 5242750"/>
                <a:gd name="connsiteY102" fmla="*/ 200597 h 1329023"/>
                <a:gd name="connsiteX103" fmla="*/ 868585 w 5242750"/>
                <a:gd name="connsiteY103" fmla="*/ 200597 h 1329023"/>
                <a:gd name="connsiteX104" fmla="*/ 868585 w 5242750"/>
                <a:gd name="connsiteY104" fmla="*/ 180118 h 1329023"/>
                <a:gd name="connsiteX105" fmla="*/ 839438 w 5242750"/>
                <a:gd name="connsiteY105" fmla="*/ 180118 h 1329023"/>
                <a:gd name="connsiteX106" fmla="*/ 839438 w 5242750"/>
                <a:gd name="connsiteY106" fmla="*/ 171260 h 1329023"/>
                <a:gd name="connsiteX107" fmla="*/ 793718 w 5242750"/>
                <a:gd name="connsiteY107" fmla="*/ 171260 h 1329023"/>
                <a:gd name="connsiteX108" fmla="*/ 793718 w 5242750"/>
                <a:gd name="connsiteY108" fmla="*/ 158306 h 1329023"/>
                <a:gd name="connsiteX109" fmla="*/ 772573 w 5242750"/>
                <a:gd name="connsiteY109" fmla="*/ 158306 h 1329023"/>
                <a:gd name="connsiteX110" fmla="*/ 772573 w 5242750"/>
                <a:gd name="connsiteY110" fmla="*/ 147447 h 1329023"/>
                <a:gd name="connsiteX111" fmla="*/ 738188 w 5242750"/>
                <a:gd name="connsiteY111" fmla="*/ 147447 h 1329023"/>
                <a:gd name="connsiteX112" fmla="*/ 738188 w 5242750"/>
                <a:gd name="connsiteY112" fmla="*/ 138494 h 1329023"/>
                <a:gd name="connsiteX113" fmla="*/ 691801 w 5242750"/>
                <a:gd name="connsiteY113" fmla="*/ 138494 h 1329023"/>
                <a:gd name="connsiteX114" fmla="*/ 691801 w 5242750"/>
                <a:gd name="connsiteY114" fmla="*/ 126206 h 1329023"/>
                <a:gd name="connsiteX115" fmla="*/ 597789 w 5242750"/>
                <a:gd name="connsiteY115" fmla="*/ 126206 h 1329023"/>
                <a:gd name="connsiteX116" fmla="*/ 597789 w 5242750"/>
                <a:gd name="connsiteY116" fmla="*/ 114014 h 1329023"/>
                <a:gd name="connsiteX117" fmla="*/ 561404 w 5242750"/>
                <a:gd name="connsiteY117" fmla="*/ 114014 h 1329023"/>
                <a:gd name="connsiteX118" fmla="*/ 561404 w 5242750"/>
                <a:gd name="connsiteY118" fmla="*/ 105061 h 1329023"/>
                <a:gd name="connsiteX119" fmla="*/ 533591 w 5242750"/>
                <a:gd name="connsiteY119" fmla="*/ 105061 h 1329023"/>
                <a:gd name="connsiteX120" fmla="*/ 533591 w 5242750"/>
                <a:gd name="connsiteY120" fmla="*/ 83915 h 1329023"/>
                <a:gd name="connsiteX121" fmla="*/ 446818 w 5242750"/>
                <a:gd name="connsiteY121" fmla="*/ 83915 h 1329023"/>
                <a:gd name="connsiteX122" fmla="*/ 446818 w 5242750"/>
                <a:gd name="connsiteY122" fmla="*/ 77819 h 1329023"/>
                <a:gd name="connsiteX123" fmla="*/ 349568 w 5242750"/>
                <a:gd name="connsiteY123" fmla="*/ 77819 h 1329023"/>
                <a:gd name="connsiteX124" fmla="*/ 349568 w 5242750"/>
                <a:gd name="connsiteY124" fmla="*/ 70961 h 1329023"/>
                <a:gd name="connsiteX125" fmla="*/ 277368 w 5242750"/>
                <a:gd name="connsiteY125" fmla="*/ 70961 h 1329023"/>
                <a:gd name="connsiteX126" fmla="*/ 277368 w 5242750"/>
                <a:gd name="connsiteY126" fmla="*/ 66199 h 1329023"/>
                <a:gd name="connsiteX127" fmla="*/ 166211 w 5242750"/>
                <a:gd name="connsiteY127" fmla="*/ 66199 h 1329023"/>
                <a:gd name="connsiteX128" fmla="*/ 166211 w 5242750"/>
                <a:gd name="connsiteY128" fmla="*/ 52578 h 1329023"/>
                <a:gd name="connsiteX129" fmla="*/ 125825 w 5242750"/>
                <a:gd name="connsiteY129" fmla="*/ 52578 h 1329023"/>
                <a:gd name="connsiteX130" fmla="*/ 125825 w 5242750"/>
                <a:gd name="connsiteY130" fmla="*/ 43053 h 1329023"/>
                <a:gd name="connsiteX131" fmla="*/ 63151 w 5242750"/>
                <a:gd name="connsiteY131" fmla="*/ 43053 h 1329023"/>
                <a:gd name="connsiteX132" fmla="*/ 63151 w 5242750"/>
                <a:gd name="connsiteY132" fmla="*/ 23908 h 1329023"/>
                <a:gd name="connsiteX133" fmla="*/ 14573 w 5242750"/>
                <a:gd name="connsiteY133" fmla="*/ 23908 h 1329023"/>
                <a:gd name="connsiteX134" fmla="*/ 14573 w 5242750"/>
                <a:gd name="connsiteY134" fmla="*/ 0 h 1329023"/>
                <a:gd name="connsiteX135" fmla="*/ 0 w 5242750"/>
                <a:gd name="connsiteY135" fmla="*/ 0 h 13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5242750" h="1329023">
                  <a:moveTo>
                    <a:pt x="5242751" y="1329023"/>
                  </a:moveTo>
                  <a:lnTo>
                    <a:pt x="4728782" y="1329023"/>
                  </a:lnTo>
                  <a:lnTo>
                    <a:pt x="4728782" y="1217105"/>
                  </a:lnTo>
                  <a:lnTo>
                    <a:pt x="4681728" y="1217105"/>
                  </a:lnTo>
                  <a:lnTo>
                    <a:pt x="4681728" y="1113377"/>
                  </a:lnTo>
                  <a:lnTo>
                    <a:pt x="4209765" y="1113377"/>
                  </a:lnTo>
                  <a:lnTo>
                    <a:pt x="4209765" y="1076611"/>
                  </a:lnTo>
                  <a:lnTo>
                    <a:pt x="4157472" y="1076611"/>
                  </a:lnTo>
                  <a:lnTo>
                    <a:pt x="4157472" y="1044512"/>
                  </a:lnTo>
                  <a:lnTo>
                    <a:pt x="3946493" y="1044512"/>
                  </a:lnTo>
                  <a:lnTo>
                    <a:pt x="3946493" y="990600"/>
                  </a:lnTo>
                  <a:lnTo>
                    <a:pt x="3754279" y="990600"/>
                  </a:lnTo>
                  <a:lnTo>
                    <a:pt x="3754279" y="972312"/>
                  </a:lnTo>
                  <a:lnTo>
                    <a:pt x="3743039" y="972312"/>
                  </a:lnTo>
                  <a:lnTo>
                    <a:pt x="3743039" y="935355"/>
                  </a:lnTo>
                  <a:lnTo>
                    <a:pt x="3674174" y="935355"/>
                  </a:lnTo>
                  <a:lnTo>
                    <a:pt x="3674174" y="915543"/>
                  </a:lnTo>
                  <a:lnTo>
                    <a:pt x="3653028" y="915543"/>
                  </a:lnTo>
                  <a:lnTo>
                    <a:pt x="3653028" y="897827"/>
                  </a:lnTo>
                  <a:lnTo>
                    <a:pt x="3603974" y="897827"/>
                  </a:lnTo>
                  <a:lnTo>
                    <a:pt x="3603974" y="880777"/>
                  </a:lnTo>
                  <a:lnTo>
                    <a:pt x="3443097" y="880777"/>
                  </a:lnTo>
                  <a:lnTo>
                    <a:pt x="3443097" y="863060"/>
                  </a:lnTo>
                  <a:lnTo>
                    <a:pt x="3268695" y="863060"/>
                  </a:lnTo>
                  <a:lnTo>
                    <a:pt x="3268695" y="830961"/>
                  </a:lnTo>
                  <a:lnTo>
                    <a:pt x="3110770" y="830961"/>
                  </a:lnTo>
                  <a:lnTo>
                    <a:pt x="3110770" y="808482"/>
                  </a:lnTo>
                  <a:lnTo>
                    <a:pt x="3077051" y="808482"/>
                  </a:lnTo>
                  <a:lnTo>
                    <a:pt x="3077051" y="796195"/>
                  </a:lnTo>
                  <a:lnTo>
                    <a:pt x="3041904" y="796195"/>
                  </a:lnTo>
                  <a:lnTo>
                    <a:pt x="3041904" y="778478"/>
                  </a:lnTo>
                  <a:lnTo>
                    <a:pt x="3028664" y="778478"/>
                  </a:lnTo>
                  <a:lnTo>
                    <a:pt x="3028664" y="755237"/>
                  </a:lnTo>
                  <a:lnTo>
                    <a:pt x="2995613" y="755237"/>
                  </a:lnTo>
                  <a:lnTo>
                    <a:pt x="2995613" y="745046"/>
                  </a:lnTo>
                  <a:lnTo>
                    <a:pt x="2783777" y="745046"/>
                  </a:lnTo>
                  <a:lnTo>
                    <a:pt x="2783777" y="734092"/>
                  </a:lnTo>
                  <a:lnTo>
                    <a:pt x="2767870" y="734092"/>
                  </a:lnTo>
                  <a:lnTo>
                    <a:pt x="2767870" y="717709"/>
                  </a:lnTo>
                  <a:lnTo>
                    <a:pt x="2636806" y="717709"/>
                  </a:lnTo>
                  <a:lnTo>
                    <a:pt x="2636806" y="704088"/>
                  </a:lnTo>
                  <a:lnTo>
                    <a:pt x="2594420" y="704088"/>
                  </a:lnTo>
                  <a:lnTo>
                    <a:pt x="2594420" y="688372"/>
                  </a:lnTo>
                  <a:lnTo>
                    <a:pt x="2569274" y="688372"/>
                  </a:lnTo>
                  <a:lnTo>
                    <a:pt x="2569274" y="674751"/>
                  </a:lnTo>
                  <a:lnTo>
                    <a:pt x="2504408" y="674751"/>
                  </a:lnTo>
                  <a:lnTo>
                    <a:pt x="2504408" y="662464"/>
                  </a:lnTo>
                  <a:lnTo>
                    <a:pt x="2488502" y="662464"/>
                  </a:lnTo>
                  <a:lnTo>
                    <a:pt x="2488502" y="652939"/>
                  </a:lnTo>
                  <a:lnTo>
                    <a:pt x="2448782" y="652939"/>
                  </a:lnTo>
                  <a:lnTo>
                    <a:pt x="2448782" y="638556"/>
                  </a:lnTo>
                  <a:lnTo>
                    <a:pt x="2425637" y="638556"/>
                  </a:lnTo>
                  <a:lnTo>
                    <a:pt x="2425637" y="632460"/>
                  </a:lnTo>
                  <a:lnTo>
                    <a:pt x="2348198" y="632460"/>
                  </a:lnTo>
                  <a:lnTo>
                    <a:pt x="2348198" y="624935"/>
                  </a:lnTo>
                  <a:lnTo>
                    <a:pt x="2320385" y="624935"/>
                  </a:lnTo>
                  <a:lnTo>
                    <a:pt x="2320385" y="606552"/>
                  </a:lnTo>
                  <a:lnTo>
                    <a:pt x="2295906" y="606552"/>
                  </a:lnTo>
                  <a:lnTo>
                    <a:pt x="2295906" y="598361"/>
                  </a:lnTo>
                  <a:lnTo>
                    <a:pt x="2273332" y="598361"/>
                  </a:lnTo>
                  <a:lnTo>
                    <a:pt x="2273332" y="583311"/>
                  </a:lnTo>
                  <a:lnTo>
                    <a:pt x="2164080" y="583311"/>
                  </a:lnTo>
                  <a:lnTo>
                    <a:pt x="2164080" y="573786"/>
                  </a:lnTo>
                  <a:lnTo>
                    <a:pt x="2104549" y="573786"/>
                  </a:lnTo>
                  <a:lnTo>
                    <a:pt x="2104549" y="549878"/>
                  </a:lnTo>
                  <a:lnTo>
                    <a:pt x="1966817" y="549878"/>
                  </a:lnTo>
                  <a:lnTo>
                    <a:pt x="1966817" y="528733"/>
                  </a:lnTo>
                  <a:lnTo>
                    <a:pt x="1942338" y="528733"/>
                  </a:lnTo>
                  <a:lnTo>
                    <a:pt x="1942338" y="513112"/>
                  </a:lnTo>
                  <a:lnTo>
                    <a:pt x="1877473" y="513112"/>
                  </a:lnTo>
                  <a:lnTo>
                    <a:pt x="1877473" y="493300"/>
                  </a:lnTo>
                  <a:lnTo>
                    <a:pt x="1822514" y="493300"/>
                  </a:lnTo>
                  <a:lnTo>
                    <a:pt x="1822514" y="472821"/>
                  </a:lnTo>
                  <a:lnTo>
                    <a:pt x="1762982" y="472821"/>
                  </a:lnTo>
                  <a:lnTo>
                    <a:pt x="1762982" y="452342"/>
                  </a:lnTo>
                  <a:lnTo>
                    <a:pt x="1592104" y="452342"/>
                  </a:lnTo>
                  <a:lnTo>
                    <a:pt x="1592104" y="433292"/>
                  </a:lnTo>
                  <a:lnTo>
                    <a:pt x="1558385" y="433292"/>
                  </a:lnTo>
                  <a:lnTo>
                    <a:pt x="1558385" y="409385"/>
                  </a:lnTo>
                  <a:lnTo>
                    <a:pt x="1461040" y="409385"/>
                  </a:lnTo>
                  <a:lnTo>
                    <a:pt x="1461040" y="387572"/>
                  </a:lnTo>
                  <a:lnTo>
                    <a:pt x="1412748" y="387572"/>
                  </a:lnTo>
                  <a:lnTo>
                    <a:pt x="1412748" y="366427"/>
                  </a:lnTo>
                  <a:lnTo>
                    <a:pt x="1387602" y="366427"/>
                  </a:lnTo>
                  <a:lnTo>
                    <a:pt x="1387602" y="344519"/>
                  </a:lnTo>
                  <a:lnTo>
                    <a:pt x="1365028" y="344519"/>
                  </a:lnTo>
                  <a:lnTo>
                    <a:pt x="1365028" y="327470"/>
                  </a:lnTo>
                  <a:lnTo>
                    <a:pt x="1327976" y="327470"/>
                  </a:lnTo>
                  <a:lnTo>
                    <a:pt x="1327976" y="307086"/>
                  </a:lnTo>
                  <a:lnTo>
                    <a:pt x="1302830" y="307086"/>
                  </a:lnTo>
                  <a:lnTo>
                    <a:pt x="1302830" y="295466"/>
                  </a:lnTo>
                  <a:lnTo>
                    <a:pt x="1267111" y="295466"/>
                  </a:lnTo>
                  <a:lnTo>
                    <a:pt x="1267111" y="283845"/>
                  </a:lnTo>
                  <a:lnTo>
                    <a:pt x="1180338" y="283845"/>
                  </a:lnTo>
                  <a:lnTo>
                    <a:pt x="1180338" y="255175"/>
                  </a:lnTo>
                  <a:lnTo>
                    <a:pt x="1110901" y="255175"/>
                  </a:lnTo>
                  <a:lnTo>
                    <a:pt x="1110901" y="238125"/>
                  </a:lnTo>
                  <a:lnTo>
                    <a:pt x="1028129" y="238125"/>
                  </a:lnTo>
                  <a:lnTo>
                    <a:pt x="1028129" y="229267"/>
                  </a:lnTo>
                  <a:lnTo>
                    <a:pt x="938689" y="229267"/>
                  </a:lnTo>
                  <a:lnTo>
                    <a:pt x="938689" y="219075"/>
                  </a:lnTo>
                  <a:lnTo>
                    <a:pt x="885158" y="219075"/>
                  </a:lnTo>
                  <a:lnTo>
                    <a:pt x="885158" y="200597"/>
                  </a:lnTo>
                  <a:lnTo>
                    <a:pt x="868585" y="200597"/>
                  </a:lnTo>
                  <a:lnTo>
                    <a:pt x="868585" y="180118"/>
                  </a:lnTo>
                  <a:lnTo>
                    <a:pt x="839438" y="180118"/>
                  </a:lnTo>
                  <a:lnTo>
                    <a:pt x="839438" y="171260"/>
                  </a:lnTo>
                  <a:lnTo>
                    <a:pt x="793718" y="171260"/>
                  </a:lnTo>
                  <a:lnTo>
                    <a:pt x="793718" y="158306"/>
                  </a:lnTo>
                  <a:lnTo>
                    <a:pt x="772573" y="158306"/>
                  </a:lnTo>
                  <a:lnTo>
                    <a:pt x="772573" y="147447"/>
                  </a:lnTo>
                  <a:lnTo>
                    <a:pt x="738188" y="147447"/>
                  </a:lnTo>
                  <a:lnTo>
                    <a:pt x="738188" y="138494"/>
                  </a:lnTo>
                  <a:lnTo>
                    <a:pt x="691801" y="138494"/>
                  </a:lnTo>
                  <a:lnTo>
                    <a:pt x="691801" y="126206"/>
                  </a:lnTo>
                  <a:lnTo>
                    <a:pt x="597789" y="126206"/>
                  </a:lnTo>
                  <a:lnTo>
                    <a:pt x="597789" y="114014"/>
                  </a:lnTo>
                  <a:lnTo>
                    <a:pt x="561404" y="114014"/>
                  </a:lnTo>
                  <a:lnTo>
                    <a:pt x="561404" y="105061"/>
                  </a:lnTo>
                  <a:lnTo>
                    <a:pt x="533591" y="105061"/>
                  </a:lnTo>
                  <a:lnTo>
                    <a:pt x="533591" y="83915"/>
                  </a:lnTo>
                  <a:lnTo>
                    <a:pt x="446818" y="83915"/>
                  </a:lnTo>
                  <a:lnTo>
                    <a:pt x="446818" y="77819"/>
                  </a:lnTo>
                  <a:lnTo>
                    <a:pt x="349568" y="77819"/>
                  </a:lnTo>
                  <a:lnTo>
                    <a:pt x="349568" y="70961"/>
                  </a:lnTo>
                  <a:lnTo>
                    <a:pt x="277368" y="70961"/>
                  </a:lnTo>
                  <a:lnTo>
                    <a:pt x="277368" y="66199"/>
                  </a:lnTo>
                  <a:lnTo>
                    <a:pt x="166211" y="66199"/>
                  </a:lnTo>
                  <a:lnTo>
                    <a:pt x="166211" y="52578"/>
                  </a:lnTo>
                  <a:lnTo>
                    <a:pt x="125825" y="52578"/>
                  </a:lnTo>
                  <a:lnTo>
                    <a:pt x="125825" y="43053"/>
                  </a:lnTo>
                  <a:lnTo>
                    <a:pt x="63151" y="43053"/>
                  </a:lnTo>
                  <a:lnTo>
                    <a:pt x="63151" y="23908"/>
                  </a:lnTo>
                  <a:lnTo>
                    <a:pt x="14573" y="23908"/>
                  </a:lnTo>
                  <a:lnTo>
                    <a:pt x="14573"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947" name="Group 2946">
            <a:extLst>
              <a:ext uri="{FF2B5EF4-FFF2-40B4-BE49-F238E27FC236}">
                <a16:creationId xmlns:a16="http://schemas.microsoft.com/office/drawing/2014/main" id="{91C3FD31-7A07-039A-C7A4-EAE44C9E58C4}"/>
              </a:ext>
            </a:extLst>
          </p:cNvPr>
          <p:cNvGrpSpPr/>
          <p:nvPr/>
        </p:nvGrpSpPr>
        <p:grpSpPr>
          <a:xfrm>
            <a:off x="785051" y="1234942"/>
            <a:ext cx="9851780" cy="4013893"/>
            <a:chOff x="494796" y="1342517"/>
            <a:chExt cx="7294327" cy="4013893"/>
          </a:xfrm>
        </p:grpSpPr>
        <p:cxnSp>
          <p:nvCxnSpPr>
            <p:cNvPr id="2948" name="Straight Connector 2947">
              <a:extLst>
                <a:ext uri="{FF2B5EF4-FFF2-40B4-BE49-F238E27FC236}">
                  <a16:creationId xmlns:a16="http://schemas.microsoft.com/office/drawing/2014/main" id="{8AEC3405-93F7-DDD7-6BBB-0F8D34B934AF}"/>
                </a:ext>
              </a:extLst>
            </p:cNvPr>
            <p:cNvCxnSpPr>
              <a:cxnSpLocks/>
            </p:cNvCxnSpPr>
            <p:nvPr/>
          </p:nvCxnSpPr>
          <p:spPr>
            <a:xfrm>
              <a:off x="1071606" y="3134710"/>
              <a:ext cx="6591216" cy="0"/>
            </a:xfrm>
            <a:prstGeom prst="line">
              <a:avLst/>
            </a:prstGeom>
            <a:noFill/>
            <a:ln w="9525" cap="flat" cmpd="sng" algn="ctr">
              <a:solidFill>
                <a:srgbClr val="000000"/>
              </a:solidFill>
              <a:prstDash val="dash"/>
            </a:ln>
            <a:effectLst/>
          </p:spPr>
        </p:cxnSp>
        <p:cxnSp>
          <p:nvCxnSpPr>
            <p:cNvPr id="2949" name="Straight Connector 2948">
              <a:extLst>
                <a:ext uri="{FF2B5EF4-FFF2-40B4-BE49-F238E27FC236}">
                  <a16:creationId xmlns:a16="http://schemas.microsoft.com/office/drawing/2014/main" id="{877E2E75-6353-6948-3E58-37E3A2C36187}"/>
                </a:ext>
              </a:extLst>
            </p:cNvPr>
            <p:cNvCxnSpPr>
              <a:cxnSpLocks/>
            </p:cNvCxnSpPr>
            <p:nvPr/>
          </p:nvCxnSpPr>
          <p:spPr>
            <a:xfrm>
              <a:off x="1071606" y="3134710"/>
              <a:ext cx="6591216" cy="0"/>
            </a:xfrm>
            <a:prstGeom prst="line">
              <a:avLst/>
            </a:prstGeom>
            <a:noFill/>
            <a:ln w="9525" cap="flat" cmpd="sng" algn="ctr">
              <a:solidFill>
                <a:srgbClr val="000000"/>
              </a:solidFill>
              <a:prstDash val="dash"/>
            </a:ln>
            <a:effectLst/>
          </p:spPr>
        </p:cxnSp>
        <p:sp>
          <p:nvSpPr>
            <p:cNvPr id="2950" name="TextBox 2949">
              <a:extLst>
                <a:ext uri="{FF2B5EF4-FFF2-40B4-BE49-F238E27FC236}">
                  <a16:creationId xmlns:a16="http://schemas.microsoft.com/office/drawing/2014/main" id="{A4FE0F21-975F-48BA-A127-85759E2B9D72}"/>
                </a:ext>
              </a:extLst>
            </p:cNvPr>
            <p:cNvSpPr txBox="1"/>
            <p:nvPr/>
          </p:nvSpPr>
          <p:spPr>
            <a:xfrm rot="16200000">
              <a:off x="-35832" y="3009182"/>
              <a:ext cx="1289135" cy="227880"/>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robability of OS</a:t>
              </a:r>
            </a:p>
          </p:txBody>
        </p:sp>
        <p:sp>
          <p:nvSpPr>
            <p:cNvPr id="2951" name="TextBox 2950">
              <a:extLst>
                <a:ext uri="{FF2B5EF4-FFF2-40B4-BE49-F238E27FC236}">
                  <a16:creationId xmlns:a16="http://schemas.microsoft.com/office/drawing/2014/main" id="{4B00FE25-DD38-4A86-7AE0-DDE3771A90DE}"/>
                </a:ext>
              </a:extLst>
            </p:cNvPr>
            <p:cNvSpPr txBox="1"/>
            <p:nvPr/>
          </p:nvSpPr>
          <p:spPr>
            <a:xfrm>
              <a:off x="772898" y="1342517"/>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2952" name="TextBox 2951">
              <a:extLst>
                <a:ext uri="{FF2B5EF4-FFF2-40B4-BE49-F238E27FC236}">
                  <a16:creationId xmlns:a16="http://schemas.microsoft.com/office/drawing/2014/main" id="{0C20FF31-29F7-2D7F-9C5D-9B5B29200AE7}"/>
                </a:ext>
              </a:extLst>
            </p:cNvPr>
            <p:cNvSpPr txBox="1"/>
            <p:nvPr/>
          </p:nvSpPr>
          <p:spPr>
            <a:xfrm>
              <a:off x="762840" y="1999697"/>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2953" name="TextBox 2952">
              <a:extLst>
                <a:ext uri="{FF2B5EF4-FFF2-40B4-BE49-F238E27FC236}">
                  <a16:creationId xmlns:a16="http://schemas.microsoft.com/office/drawing/2014/main" id="{AE359C84-1CE2-5A74-C437-8F1C628C208B}"/>
                </a:ext>
              </a:extLst>
            </p:cNvPr>
            <p:cNvSpPr txBox="1"/>
            <p:nvPr/>
          </p:nvSpPr>
          <p:spPr>
            <a:xfrm>
              <a:off x="762840" y="2656877"/>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2954" name="TextBox 2953">
              <a:extLst>
                <a:ext uri="{FF2B5EF4-FFF2-40B4-BE49-F238E27FC236}">
                  <a16:creationId xmlns:a16="http://schemas.microsoft.com/office/drawing/2014/main" id="{774F76B0-1B54-F765-20F8-BF839225673B}"/>
                </a:ext>
              </a:extLst>
            </p:cNvPr>
            <p:cNvSpPr txBox="1"/>
            <p:nvPr/>
          </p:nvSpPr>
          <p:spPr>
            <a:xfrm>
              <a:off x="762840" y="3314057"/>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2955" name="TextBox 2954">
              <a:extLst>
                <a:ext uri="{FF2B5EF4-FFF2-40B4-BE49-F238E27FC236}">
                  <a16:creationId xmlns:a16="http://schemas.microsoft.com/office/drawing/2014/main" id="{9A0585E8-52D5-5FAB-A886-D993B570D00B}"/>
                </a:ext>
              </a:extLst>
            </p:cNvPr>
            <p:cNvSpPr txBox="1"/>
            <p:nvPr/>
          </p:nvSpPr>
          <p:spPr>
            <a:xfrm>
              <a:off x="762840" y="3971237"/>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2956" name="TextBox 2955">
              <a:extLst>
                <a:ext uri="{FF2B5EF4-FFF2-40B4-BE49-F238E27FC236}">
                  <a16:creationId xmlns:a16="http://schemas.microsoft.com/office/drawing/2014/main" id="{FA0A23BF-4B42-7253-4CA4-603F7533099C}"/>
                </a:ext>
              </a:extLst>
            </p:cNvPr>
            <p:cNvSpPr txBox="1"/>
            <p:nvPr/>
          </p:nvSpPr>
          <p:spPr>
            <a:xfrm>
              <a:off x="762840" y="4628415"/>
              <a:ext cx="288648"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sp>
          <p:nvSpPr>
            <p:cNvPr id="2957" name="Freeform: Shape 2956">
              <a:extLst>
                <a:ext uri="{FF2B5EF4-FFF2-40B4-BE49-F238E27FC236}">
                  <a16:creationId xmlns:a16="http://schemas.microsoft.com/office/drawing/2014/main" id="{F87BF54C-006B-1B68-8CBC-E82D6E26E18F}"/>
                </a:ext>
              </a:extLst>
            </p:cNvPr>
            <p:cNvSpPr/>
            <p:nvPr/>
          </p:nvSpPr>
          <p:spPr>
            <a:xfrm>
              <a:off x="1071207" y="1479549"/>
              <a:ext cx="6586585"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2958" name="Straight Connector 2957">
              <a:extLst>
                <a:ext uri="{FF2B5EF4-FFF2-40B4-BE49-F238E27FC236}">
                  <a16:creationId xmlns:a16="http://schemas.microsoft.com/office/drawing/2014/main" id="{5BF8D564-522B-24C2-0452-B8553E54EDF7}"/>
                </a:ext>
              </a:extLst>
            </p:cNvPr>
            <p:cNvCxnSpPr/>
            <p:nvPr/>
          </p:nvCxnSpPr>
          <p:spPr>
            <a:xfrm>
              <a:off x="1001477" y="1479550"/>
              <a:ext cx="66844" cy="0"/>
            </a:xfrm>
            <a:prstGeom prst="line">
              <a:avLst/>
            </a:prstGeom>
            <a:noFill/>
            <a:ln w="9525" cap="flat" cmpd="sng" algn="ctr">
              <a:solidFill>
                <a:srgbClr val="000000"/>
              </a:solidFill>
              <a:prstDash val="solid"/>
            </a:ln>
            <a:effectLst/>
          </p:spPr>
        </p:cxnSp>
        <p:cxnSp>
          <p:nvCxnSpPr>
            <p:cNvPr id="2959" name="Straight Connector 2958">
              <a:extLst>
                <a:ext uri="{FF2B5EF4-FFF2-40B4-BE49-F238E27FC236}">
                  <a16:creationId xmlns:a16="http://schemas.microsoft.com/office/drawing/2014/main" id="{90B2875F-EC99-941A-1690-E4C4625D3485}"/>
                </a:ext>
              </a:extLst>
            </p:cNvPr>
            <p:cNvCxnSpPr/>
            <p:nvPr/>
          </p:nvCxnSpPr>
          <p:spPr>
            <a:xfrm>
              <a:off x="1001477" y="2136870"/>
              <a:ext cx="66844" cy="0"/>
            </a:xfrm>
            <a:prstGeom prst="line">
              <a:avLst/>
            </a:prstGeom>
            <a:noFill/>
            <a:ln w="9525" cap="flat" cmpd="sng" algn="ctr">
              <a:solidFill>
                <a:srgbClr val="000000"/>
              </a:solidFill>
              <a:prstDash val="solid"/>
            </a:ln>
            <a:effectLst/>
          </p:spPr>
        </p:cxnSp>
        <p:cxnSp>
          <p:nvCxnSpPr>
            <p:cNvPr id="2960" name="Straight Connector 2959">
              <a:extLst>
                <a:ext uri="{FF2B5EF4-FFF2-40B4-BE49-F238E27FC236}">
                  <a16:creationId xmlns:a16="http://schemas.microsoft.com/office/drawing/2014/main" id="{8A799576-D90C-51A9-CE27-F5CABF5DF54C}"/>
                </a:ext>
              </a:extLst>
            </p:cNvPr>
            <p:cNvCxnSpPr/>
            <p:nvPr/>
          </p:nvCxnSpPr>
          <p:spPr>
            <a:xfrm>
              <a:off x="1001477" y="2794190"/>
              <a:ext cx="66844" cy="0"/>
            </a:xfrm>
            <a:prstGeom prst="line">
              <a:avLst/>
            </a:prstGeom>
            <a:noFill/>
            <a:ln w="9525" cap="flat" cmpd="sng" algn="ctr">
              <a:solidFill>
                <a:srgbClr val="000000"/>
              </a:solidFill>
              <a:prstDash val="solid"/>
            </a:ln>
            <a:effectLst/>
          </p:spPr>
        </p:cxnSp>
        <p:cxnSp>
          <p:nvCxnSpPr>
            <p:cNvPr id="2961" name="Straight Connector 2960">
              <a:extLst>
                <a:ext uri="{FF2B5EF4-FFF2-40B4-BE49-F238E27FC236}">
                  <a16:creationId xmlns:a16="http://schemas.microsoft.com/office/drawing/2014/main" id="{7160EA10-E6B3-8C44-7238-29AF6D8EE627}"/>
                </a:ext>
              </a:extLst>
            </p:cNvPr>
            <p:cNvCxnSpPr/>
            <p:nvPr/>
          </p:nvCxnSpPr>
          <p:spPr>
            <a:xfrm>
              <a:off x="1001477" y="3451510"/>
              <a:ext cx="66844" cy="0"/>
            </a:xfrm>
            <a:prstGeom prst="line">
              <a:avLst/>
            </a:prstGeom>
            <a:noFill/>
            <a:ln w="9525" cap="flat" cmpd="sng" algn="ctr">
              <a:solidFill>
                <a:srgbClr val="000000"/>
              </a:solidFill>
              <a:prstDash val="solid"/>
            </a:ln>
            <a:effectLst/>
          </p:spPr>
        </p:cxnSp>
        <p:cxnSp>
          <p:nvCxnSpPr>
            <p:cNvPr id="2962" name="Straight Connector 2961">
              <a:extLst>
                <a:ext uri="{FF2B5EF4-FFF2-40B4-BE49-F238E27FC236}">
                  <a16:creationId xmlns:a16="http://schemas.microsoft.com/office/drawing/2014/main" id="{9015FEB1-4EE7-6B3C-F3F1-A439D72F65B3}"/>
                </a:ext>
              </a:extLst>
            </p:cNvPr>
            <p:cNvCxnSpPr/>
            <p:nvPr/>
          </p:nvCxnSpPr>
          <p:spPr>
            <a:xfrm>
              <a:off x="1001477" y="4108830"/>
              <a:ext cx="66844" cy="0"/>
            </a:xfrm>
            <a:prstGeom prst="line">
              <a:avLst/>
            </a:prstGeom>
            <a:noFill/>
            <a:ln w="9525" cap="flat" cmpd="sng" algn="ctr">
              <a:solidFill>
                <a:srgbClr val="000000"/>
              </a:solidFill>
              <a:prstDash val="solid"/>
            </a:ln>
            <a:effectLst/>
          </p:spPr>
        </p:cxnSp>
        <p:cxnSp>
          <p:nvCxnSpPr>
            <p:cNvPr id="2963" name="Straight Connector 2962">
              <a:extLst>
                <a:ext uri="{FF2B5EF4-FFF2-40B4-BE49-F238E27FC236}">
                  <a16:creationId xmlns:a16="http://schemas.microsoft.com/office/drawing/2014/main" id="{271EBA55-9EB5-C6C8-A244-8316043A2868}"/>
                </a:ext>
              </a:extLst>
            </p:cNvPr>
            <p:cNvCxnSpPr>
              <a:cxnSpLocks/>
            </p:cNvCxnSpPr>
            <p:nvPr/>
          </p:nvCxnSpPr>
          <p:spPr>
            <a:xfrm>
              <a:off x="1001476" y="4766150"/>
              <a:ext cx="76037" cy="0"/>
            </a:xfrm>
            <a:prstGeom prst="line">
              <a:avLst/>
            </a:prstGeom>
            <a:noFill/>
            <a:ln w="9525" cap="flat" cmpd="sng" algn="ctr">
              <a:solidFill>
                <a:srgbClr val="000000"/>
              </a:solidFill>
              <a:prstDash val="solid"/>
            </a:ln>
            <a:effectLst/>
          </p:spPr>
        </p:cxnSp>
        <p:sp>
          <p:nvSpPr>
            <p:cNvPr id="2964" name="TextBox 2963">
              <a:extLst>
                <a:ext uri="{FF2B5EF4-FFF2-40B4-BE49-F238E27FC236}">
                  <a16:creationId xmlns:a16="http://schemas.microsoft.com/office/drawing/2014/main" id="{F7C7C313-D5F0-7A34-5996-B33B5D49C1BD}"/>
                </a:ext>
              </a:extLst>
            </p:cNvPr>
            <p:cNvSpPr txBox="1"/>
            <p:nvPr/>
          </p:nvSpPr>
          <p:spPr>
            <a:xfrm>
              <a:off x="975091" y="4802344"/>
              <a:ext cx="197259"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cxnSp>
          <p:nvCxnSpPr>
            <p:cNvPr id="2965" name="Straight Connector 2964">
              <a:extLst>
                <a:ext uri="{FF2B5EF4-FFF2-40B4-BE49-F238E27FC236}">
                  <a16:creationId xmlns:a16="http://schemas.microsoft.com/office/drawing/2014/main" id="{1DE2AD0B-5DD9-F153-9667-C3D314F35548}"/>
                </a:ext>
              </a:extLst>
            </p:cNvPr>
            <p:cNvCxnSpPr>
              <a:cxnSpLocks/>
            </p:cNvCxnSpPr>
            <p:nvPr/>
          </p:nvCxnSpPr>
          <p:spPr>
            <a:xfrm rot="16200000" flipH="1">
              <a:off x="1035207" y="4802531"/>
              <a:ext cx="72000" cy="0"/>
            </a:xfrm>
            <a:prstGeom prst="line">
              <a:avLst/>
            </a:prstGeom>
            <a:noFill/>
            <a:ln w="9525" cap="flat" cmpd="sng" algn="ctr">
              <a:solidFill>
                <a:srgbClr val="000000"/>
              </a:solidFill>
              <a:prstDash val="solid"/>
            </a:ln>
            <a:effectLst/>
          </p:spPr>
        </p:cxnSp>
        <p:sp>
          <p:nvSpPr>
            <p:cNvPr id="2966" name="TextBox 2965">
              <a:extLst>
                <a:ext uri="{FF2B5EF4-FFF2-40B4-BE49-F238E27FC236}">
                  <a16:creationId xmlns:a16="http://schemas.microsoft.com/office/drawing/2014/main" id="{45B87E38-66BE-9460-47A8-2F7FBAE5A3D9}"/>
                </a:ext>
              </a:extLst>
            </p:cNvPr>
            <p:cNvSpPr txBox="1"/>
            <p:nvPr/>
          </p:nvSpPr>
          <p:spPr>
            <a:xfrm>
              <a:off x="7119541"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2967" name="Straight Connector 2966">
              <a:extLst>
                <a:ext uri="{FF2B5EF4-FFF2-40B4-BE49-F238E27FC236}">
                  <a16:creationId xmlns:a16="http://schemas.microsoft.com/office/drawing/2014/main" id="{F80C6353-1E29-B03D-7DB6-D29E33E09C16}"/>
                </a:ext>
              </a:extLst>
            </p:cNvPr>
            <p:cNvCxnSpPr>
              <a:cxnSpLocks/>
            </p:cNvCxnSpPr>
            <p:nvPr/>
          </p:nvCxnSpPr>
          <p:spPr>
            <a:xfrm rot="16200000" flipH="1">
              <a:off x="7210059" y="4802531"/>
              <a:ext cx="72000" cy="0"/>
            </a:xfrm>
            <a:prstGeom prst="line">
              <a:avLst/>
            </a:prstGeom>
            <a:noFill/>
            <a:ln w="9525" cap="flat" cmpd="sng" algn="ctr">
              <a:solidFill>
                <a:srgbClr val="000000"/>
              </a:solidFill>
              <a:prstDash val="solid"/>
            </a:ln>
            <a:effectLst/>
          </p:spPr>
        </p:cxnSp>
        <p:sp>
          <p:nvSpPr>
            <p:cNvPr id="2968" name="TextBox 2967">
              <a:extLst>
                <a:ext uri="{FF2B5EF4-FFF2-40B4-BE49-F238E27FC236}">
                  <a16:creationId xmlns:a16="http://schemas.microsoft.com/office/drawing/2014/main" id="{5BAF36B6-31CE-0A8A-5FF1-322DC551A12A}"/>
                </a:ext>
              </a:extLst>
            </p:cNvPr>
            <p:cNvSpPr txBox="1"/>
            <p:nvPr/>
          </p:nvSpPr>
          <p:spPr>
            <a:xfrm>
              <a:off x="1383344" y="4802344"/>
              <a:ext cx="197259"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2969" name="Straight Connector 2968">
              <a:extLst>
                <a:ext uri="{FF2B5EF4-FFF2-40B4-BE49-F238E27FC236}">
                  <a16:creationId xmlns:a16="http://schemas.microsoft.com/office/drawing/2014/main" id="{9E59ABA9-800A-9442-2DB9-BDDDA5915EDA}"/>
                </a:ext>
              </a:extLst>
            </p:cNvPr>
            <p:cNvCxnSpPr>
              <a:cxnSpLocks/>
            </p:cNvCxnSpPr>
            <p:nvPr/>
          </p:nvCxnSpPr>
          <p:spPr>
            <a:xfrm rot="16200000" flipH="1">
              <a:off x="1446863" y="4802531"/>
              <a:ext cx="72000" cy="0"/>
            </a:xfrm>
            <a:prstGeom prst="line">
              <a:avLst/>
            </a:prstGeom>
            <a:noFill/>
            <a:ln w="9525" cap="flat" cmpd="sng" algn="ctr">
              <a:solidFill>
                <a:srgbClr val="000000"/>
              </a:solidFill>
              <a:prstDash val="solid"/>
            </a:ln>
            <a:effectLst/>
          </p:spPr>
        </p:cxnSp>
        <p:sp>
          <p:nvSpPr>
            <p:cNvPr id="2970" name="TextBox 2969">
              <a:extLst>
                <a:ext uri="{FF2B5EF4-FFF2-40B4-BE49-F238E27FC236}">
                  <a16:creationId xmlns:a16="http://schemas.microsoft.com/office/drawing/2014/main" id="{92AEA962-1A3F-9791-6628-0CDDBC32958B}"/>
                </a:ext>
              </a:extLst>
            </p:cNvPr>
            <p:cNvSpPr txBox="1"/>
            <p:nvPr/>
          </p:nvSpPr>
          <p:spPr>
            <a:xfrm>
              <a:off x="1796628" y="4802344"/>
              <a:ext cx="197259"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2971" name="Straight Connector 2970">
              <a:extLst>
                <a:ext uri="{FF2B5EF4-FFF2-40B4-BE49-F238E27FC236}">
                  <a16:creationId xmlns:a16="http://schemas.microsoft.com/office/drawing/2014/main" id="{4D8DAD33-D889-0F25-36DA-947EE6D9BEA8}"/>
                </a:ext>
              </a:extLst>
            </p:cNvPr>
            <p:cNvCxnSpPr>
              <a:cxnSpLocks/>
            </p:cNvCxnSpPr>
            <p:nvPr/>
          </p:nvCxnSpPr>
          <p:spPr>
            <a:xfrm rot="16200000" flipH="1">
              <a:off x="1858520" y="4802531"/>
              <a:ext cx="72000" cy="0"/>
            </a:xfrm>
            <a:prstGeom prst="line">
              <a:avLst/>
            </a:prstGeom>
            <a:noFill/>
            <a:ln w="9525" cap="flat" cmpd="sng" algn="ctr">
              <a:solidFill>
                <a:srgbClr val="000000"/>
              </a:solidFill>
              <a:prstDash val="solid"/>
            </a:ln>
            <a:effectLst/>
          </p:spPr>
        </p:cxnSp>
        <p:sp>
          <p:nvSpPr>
            <p:cNvPr id="2972" name="TextBox 2971">
              <a:extLst>
                <a:ext uri="{FF2B5EF4-FFF2-40B4-BE49-F238E27FC236}">
                  <a16:creationId xmlns:a16="http://schemas.microsoft.com/office/drawing/2014/main" id="{2DBE58EF-CAD3-AD12-EBCC-D63FC036FB7C}"/>
                </a:ext>
              </a:extLst>
            </p:cNvPr>
            <p:cNvSpPr txBox="1"/>
            <p:nvPr/>
          </p:nvSpPr>
          <p:spPr>
            <a:xfrm>
              <a:off x="2209912" y="4802344"/>
              <a:ext cx="197259"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2973" name="Straight Connector 2972">
              <a:extLst>
                <a:ext uri="{FF2B5EF4-FFF2-40B4-BE49-F238E27FC236}">
                  <a16:creationId xmlns:a16="http://schemas.microsoft.com/office/drawing/2014/main" id="{FAE163DD-3A4D-3B3B-4EEF-897733D00784}"/>
                </a:ext>
              </a:extLst>
            </p:cNvPr>
            <p:cNvCxnSpPr>
              <a:cxnSpLocks/>
            </p:cNvCxnSpPr>
            <p:nvPr/>
          </p:nvCxnSpPr>
          <p:spPr>
            <a:xfrm rot="16200000" flipH="1">
              <a:off x="2270177" y="4802531"/>
              <a:ext cx="72000" cy="0"/>
            </a:xfrm>
            <a:prstGeom prst="line">
              <a:avLst/>
            </a:prstGeom>
            <a:noFill/>
            <a:ln w="9525" cap="flat" cmpd="sng" algn="ctr">
              <a:solidFill>
                <a:srgbClr val="000000"/>
              </a:solidFill>
              <a:prstDash val="solid"/>
            </a:ln>
            <a:effectLst/>
          </p:spPr>
        </p:cxnSp>
        <p:sp>
          <p:nvSpPr>
            <p:cNvPr id="2974" name="TextBox 2973">
              <a:extLst>
                <a:ext uri="{FF2B5EF4-FFF2-40B4-BE49-F238E27FC236}">
                  <a16:creationId xmlns:a16="http://schemas.microsoft.com/office/drawing/2014/main" id="{F625A432-2CD8-DBDC-213B-93F64A37574E}"/>
                </a:ext>
              </a:extLst>
            </p:cNvPr>
            <p:cNvSpPr txBox="1"/>
            <p:nvPr/>
          </p:nvSpPr>
          <p:spPr>
            <a:xfrm>
              <a:off x="2587901"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2975" name="Straight Connector 2974">
              <a:extLst>
                <a:ext uri="{FF2B5EF4-FFF2-40B4-BE49-F238E27FC236}">
                  <a16:creationId xmlns:a16="http://schemas.microsoft.com/office/drawing/2014/main" id="{AEBD9A67-9750-2A84-932C-F49EE39B84B3}"/>
                </a:ext>
              </a:extLst>
            </p:cNvPr>
            <p:cNvCxnSpPr>
              <a:cxnSpLocks/>
            </p:cNvCxnSpPr>
            <p:nvPr/>
          </p:nvCxnSpPr>
          <p:spPr>
            <a:xfrm rot="16200000" flipH="1">
              <a:off x="2681834" y="4802531"/>
              <a:ext cx="72000" cy="0"/>
            </a:xfrm>
            <a:prstGeom prst="line">
              <a:avLst/>
            </a:prstGeom>
            <a:noFill/>
            <a:ln w="9525" cap="flat" cmpd="sng" algn="ctr">
              <a:solidFill>
                <a:srgbClr val="000000"/>
              </a:solidFill>
              <a:prstDash val="solid"/>
            </a:ln>
            <a:effectLst/>
          </p:spPr>
        </p:cxnSp>
        <p:sp>
          <p:nvSpPr>
            <p:cNvPr id="2976" name="TextBox 2975">
              <a:extLst>
                <a:ext uri="{FF2B5EF4-FFF2-40B4-BE49-F238E27FC236}">
                  <a16:creationId xmlns:a16="http://schemas.microsoft.com/office/drawing/2014/main" id="{F5C57C9B-C54B-8A66-D70B-B16FE3AA582C}"/>
                </a:ext>
              </a:extLst>
            </p:cNvPr>
            <p:cNvSpPr txBox="1"/>
            <p:nvPr/>
          </p:nvSpPr>
          <p:spPr>
            <a:xfrm>
              <a:off x="3001179"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2977" name="Straight Connector 2976">
              <a:extLst>
                <a:ext uri="{FF2B5EF4-FFF2-40B4-BE49-F238E27FC236}">
                  <a16:creationId xmlns:a16="http://schemas.microsoft.com/office/drawing/2014/main" id="{68AAFD3D-7273-A24F-36F3-EE2577A0EE1C}"/>
                </a:ext>
              </a:extLst>
            </p:cNvPr>
            <p:cNvCxnSpPr>
              <a:cxnSpLocks/>
            </p:cNvCxnSpPr>
            <p:nvPr/>
          </p:nvCxnSpPr>
          <p:spPr>
            <a:xfrm rot="16200000" flipH="1">
              <a:off x="3093491" y="4802531"/>
              <a:ext cx="72000" cy="0"/>
            </a:xfrm>
            <a:prstGeom prst="line">
              <a:avLst/>
            </a:prstGeom>
            <a:noFill/>
            <a:ln w="9525" cap="flat" cmpd="sng" algn="ctr">
              <a:solidFill>
                <a:srgbClr val="000000"/>
              </a:solidFill>
              <a:prstDash val="solid"/>
            </a:ln>
            <a:effectLst/>
          </p:spPr>
        </p:cxnSp>
        <p:sp>
          <p:nvSpPr>
            <p:cNvPr id="2978" name="TextBox 2977">
              <a:extLst>
                <a:ext uri="{FF2B5EF4-FFF2-40B4-BE49-F238E27FC236}">
                  <a16:creationId xmlns:a16="http://schemas.microsoft.com/office/drawing/2014/main" id="{6D9E9527-FFA6-C68E-8D77-DE27D164B766}"/>
                </a:ext>
              </a:extLst>
            </p:cNvPr>
            <p:cNvSpPr txBox="1"/>
            <p:nvPr/>
          </p:nvSpPr>
          <p:spPr>
            <a:xfrm>
              <a:off x="3411952"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2979" name="Straight Connector 2978">
              <a:extLst>
                <a:ext uri="{FF2B5EF4-FFF2-40B4-BE49-F238E27FC236}">
                  <a16:creationId xmlns:a16="http://schemas.microsoft.com/office/drawing/2014/main" id="{308937E1-4C5B-6213-C178-5EE51FA585DF}"/>
                </a:ext>
              </a:extLst>
            </p:cNvPr>
            <p:cNvCxnSpPr>
              <a:cxnSpLocks/>
            </p:cNvCxnSpPr>
            <p:nvPr/>
          </p:nvCxnSpPr>
          <p:spPr>
            <a:xfrm rot="16200000" flipH="1">
              <a:off x="3505147" y="4802531"/>
              <a:ext cx="72000" cy="0"/>
            </a:xfrm>
            <a:prstGeom prst="line">
              <a:avLst/>
            </a:prstGeom>
            <a:noFill/>
            <a:ln w="9525" cap="flat" cmpd="sng" algn="ctr">
              <a:solidFill>
                <a:srgbClr val="000000"/>
              </a:solidFill>
              <a:prstDash val="solid"/>
            </a:ln>
            <a:effectLst/>
          </p:spPr>
        </p:cxnSp>
        <p:sp>
          <p:nvSpPr>
            <p:cNvPr id="2980" name="TextBox 2979">
              <a:extLst>
                <a:ext uri="{FF2B5EF4-FFF2-40B4-BE49-F238E27FC236}">
                  <a16:creationId xmlns:a16="http://schemas.microsoft.com/office/drawing/2014/main" id="{3548CF2C-EC3C-C623-26BD-67783E06332B}"/>
                </a:ext>
              </a:extLst>
            </p:cNvPr>
            <p:cNvSpPr txBox="1"/>
            <p:nvPr/>
          </p:nvSpPr>
          <p:spPr>
            <a:xfrm>
              <a:off x="3825229"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2981" name="Straight Connector 2980">
              <a:extLst>
                <a:ext uri="{FF2B5EF4-FFF2-40B4-BE49-F238E27FC236}">
                  <a16:creationId xmlns:a16="http://schemas.microsoft.com/office/drawing/2014/main" id="{03CF013D-5EEF-1708-AB29-9A7A84C55AC2}"/>
                </a:ext>
              </a:extLst>
            </p:cNvPr>
            <p:cNvCxnSpPr>
              <a:cxnSpLocks/>
            </p:cNvCxnSpPr>
            <p:nvPr/>
          </p:nvCxnSpPr>
          <p:spPr>
            <a:xfrm rot="16200000" flipH="1">
              <a:off x="3916804" y="4802531"/>
              <a:ext cx="72000" cy="0"/>
            </a:xfrm>
            <a:prstGeom prst="line">
              <a:avLst/>
            </a:prstGeom>
            <a:noFill/>
            <a:ln w="9525" cap="flat" cmpd="sng" algn="ctr">
              <a:solidFill>
                <a:srgbClr val="000000"/>
              </a:solidFill>
              <a:prstDash val="solid"/>
            </a:ln>
            <a:effectLst/>
          </p:spPr>
        </p:cxnSp>
        <p:sp>
          <p:nvSpPr>
            <p:cNvPr id="2982" name="TextBox 2981">
              <a:extLst>
                <a:ext uri="{FF2B5EF4-FFF2-40B4-BE49-F238E27FC236}">
                  <a16:creationId xmlns:a16="http://schemas.microsoft.com/office/drawing/2014/main" id="{E4C7F72F-3A5A-77C3-A245-C5255B50271F}"/>
                </a:ext>
              </a:extLst>
            </p:cNvPr>
            <p:cNvSpPr txBox="1"/>
            <p:nvPr/>
          </p:nvSpPr>
          <p:spPr>
            <a:xfrm>
              <a:off x="4237020"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2983" name="Straight Connector 2982">
              <a:extLst>
                <a:ext uri="{FF2B5EF4-FFF2-40B4-BE49-F238E27FC236}">
                  <a16:creationId xmlns:a16="http://schemas.microsoft.com/office/drawing/2014/main" id="{F885A9AD-4879-3211-C20B-05A85E35CA6E}"/>
                </a:ext>
              </a:extLst>
            </p:cNvPr>
            <p:cNvCxnSpPr>
              <a:cxnSpLocks/>
            </p:cNvCxnSpPr>
            <p:nvPr/>
          </p:nvCxnSpPr>
          <p:spPr>
            <a:xfrm rot="16200000" flipH="1">
              <a:off x="4328461" y="4802531"/>
              <a:ext cx="72000" cy="0"/>
            </a:xfrm>
            <a:prstGeom prst="line">
              <a:avLst/>
            </a:prstGeom>
            <a:noFill/>
            <a:ln w="9525" cap="flat" cmpd="sng" algn="ctr">
              <a:solidFill>
                <a:srgbClr val="000000"/>
              </a:solidFill>
              <a:prstDash val="solid"/>
            </a:ln>
            <a:effectLst/>
          </p:spPr>
        </p:cxnSp>
        <p:sp>
          <p:nvSpPr>
            <p:cNvPr id="2984" name="TextBox 2983">
              <a:extLst>
                <a:ext uri="{FF2B5EF4-FFF2-40B4-BE49-F238E27FC236}">
                  <a16:creationId xmlns:a16="http://schemas.microsoft.com/office/drawing/2014/main" id="{2C830700-3A04-7DB5-ED43-AAAF7EA4187B}"/>
                </a:ext>
              </a:extLst>
            </p:cNvPr>
            <p:cNvSpPr txBox="1"/>
            <p:nvPr/>
          </p:nvSpPr>
          <p:spPr>
            <a:xfrm>
              <a:off x="4648808"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2985" name="Straight Connector 2984">
              <a:extLst>
                <a:ext uri="{FF2B5EF4-FFF2-40B4-BE49-F238E27FC236}">
                  <a16:creationId xmlns:a16="http://schemas.microsoft.com/office/drawing/2014/main" id="{66E8FD17-80E3-ACD5-658C-5BE217949A47}"/>
                </a:ext>
              </a:extLst>
            </p:cNvPr>
            <p:cNvCxnSpPr>
              <a:cxnSpLocks/>
            </p:cNvCxnSpPr>
            <p:nvPr/>
          </p:nvCxnSpPr>
          <p:spPr>
            <a:xfrm rot="16200000" flipH="1">
              <a:off x="4740118" y="4802531"/>
              <a:ext cx="72000" cy="0"/>
            </a:xfrm>
            <a:prstGeom prst="line">
              <a:avLst/>
            </a:prstGeom>
            <a:noFill/>
            <a:ln w="9525" cap="flat" cmpd="sng" algn="ctr">
              <a:solidFill>
                <a:srgbClr val="000000"/>
              </a:solidFill>
              <a:prstDash val="solid"/>
            </a:ln>
            <a:effectLst/>
          </p:spPr>
        </p:cxnSp>
        <p:sp>
          <p:nvSpPr>
            <p:cNvPr id="2986" name="TextBox 2985">
              <a:extLst>
                <a:ext uri="{FF2B5EF4-FFF2-40B4-BE49-F238E27FC236}">
                  <a16:creationId xmlns:a16="http://schemas.microsoft.com/office/drawing/2014/main" id="{99122441-B4C7-5ABB-67A3-93078CC876BA}"/>
                </a:ext>
              </a:extLst>
            </p:cNvPr>
            <p:cNvSpPr txBox="1"/>
            <p:nvPr/>
          </p:nvSpPr>
          <p:spPr>
            <a:xfrm>
              <a:off x="5060597"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2987" name="Straight Connector 2986">
              <a:extLst>
                <a:ext uri="{FF2B5EF4-FFF2-40B4-BE49-F238E27FC236}">
                  <a16:creationId xmlns:a16="http://schemas.microsoft.com/office/drawing/2014/main" id="{DEB8DB6B-7C83-3682-3C59-6C0050292A4F}"/>
                </a:ext>
              </a:extLst>
            </p:cNvPr>
            <p:cNvCxnSpPr>
              <a:cxnSpLocks/>
            </p:cNvCxnSpPr>
            <p:nvPr/>
          </p:nvCxnSpPr>
          <p:spPr>
            <a:xfrm rot="16200000" flipH="1">
              <a:off x="5151775" y="4802531"/>
              <a:ext cx="72000" cy="0"/>
            </a:xfrm>
            <a:prstGeom prst="line">
              <a:avLst/>
            </a:prstGeom>
            <a:noFill/>
            <a:ln w="9525" cap="flat" cmpd="sng" algn="ctr">
              <a:solidFill>
                <a:srgbClr val="000000"/>
              </a:solidFill>
              <a:prstDash val="solid"/>
            </a:ln>
            <a:effectLst/>
          </p:spPr>
        </p:cxnSp>
        <p:sp>
          <p:nvSpPr>
            <p:cNvPr id="2988" name="TextBox 2987">
              <a:extLst>
                <a:ext uri="{FF2B5EF4-FFF2-40B4-BE49-F238E27FC236}">
                  <a16:creationId xmlns:a16="http://schemas.microsoft.com/office/drawing/2014/main" id="{9E4BC8CD-716F-9778-A487-AE37AE824540}"/>
                </a:ext>
              </a:extLst>
            </p:cNvPr>
            <p:cNvSpPr txBox="1"/>
            <p:nvPr/>
          </p:nvSpPr>
          <p:spPr>
            <a:xfrm>
              <a:off x="5472385"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2989" name="Straight Connector 2988">
              <a:extLst>
                <a:ext uri="{FF2B5EF4-FFF2-40B4-BE49-F238E27FC236}">
                  <a16:creationId xmlns:a16="http://schemas.microsoft.com/office/drawing/2014/main" id="{3D8F0E27-82A7-D96F-0848-4160A7C7F5FB}"/>
                </a:ext>
              </a:extLst>
            </p:cNvPr>
            <p:cNvCxnSpPr>
              <a:cxnSpLocks/>
            </p:cNvCxnSpPr>
            <p:nvPr/>
          </p:nvCxnSpPr>
          <p:spPr>
            <a:xfrm rot="16200000" flipH="1">
              <a:off x="5563431" y="4802531"/>
              <a:ext cx="72000" cy="0"/>
            </a:xfrm>
            <a:prstGeom prst="line">
              <a:avLst/>
            </a:prstGeom>
            <a:noFill/>
            <a:ln w="9525" cap="flat" cmpd="sng" algn="ctr">
              <a:solidFill>
                <a:srgbClr val="000000"/>
              </a:solidFill>
              <a:prstDash val="solid"/>
            </a:ln>
            <a:effectLst/>
          </p:spPr>
        </p:cxnSp>
        <p:sp>
          <p:nvSpPr>
            <p:cNvPr id="2990" name="TextBox 2989">
              <a:extLst>
                <a:ext uri="{FF2B5EF4-FFF2-40B4-BE49-F238E27FC236}">
                  <a16:creationId xmlns:a16="http://schemas.microsoft.com/office/drawing/2014/main" id="{6C98A116-3F6A-C836-B400-5DD4FFA4D12F}"/>
                </a:ext>
              </a:extLst>
            </p:cNvPr>
            <p:cNvSpPr txBox="1"/>
            <p:nvPr/>
          </p:nvSpPr>
          <p:spPr>
            <a:xfrm>
              <a:off x="5884174"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2991" name="Straight Connector 2990">
              <a:extLst>
                <a:ext uri="{FF2B5EF4-FFF2-40B4-BE49-F238E27FC236}">
                  <a16:creationId xmlns:a16="http://schemas.microsoft.com/office/drawing/2014/main" id="{111B707A-2331-112F-7135-2661A82C1245}"/>
                </a:ext>
              </a:extLst>
            </p:cNvPr>
            <p:cNvCxnSpPr>
              <a:cxnSpLocks/>
            </p:cNvCxnSpPr>
            <p:nvPr/>
          </p:nvCxnSpPr>
          <p:spPr>
            <a:xfrm rot="16200000" flipH="1">
              <a:off x="5975088" y="4802531"/>
              <a:ext cx="72000" cy="0"/>
            </a:xfrm>
            <a:prstGeom prst="line">
              <a:avLst/>
            </a:prstGeom>
            <a:noFill/>
            <a:ln w="9525" cap="flat" cmpd="sng" algn="ctr">
              <a:solidFill>
                <a:srgbClr val="000000"/>
              </a:solidFill>
              <a:prstDash val="solid"/>
            </a:ln>
            <a:effectLst/>
          </p:spPr>
        </p:cxnSp>
        <p:sp>
          <p:nvSpPr>
            <p:cNvPr id="2992" name="TextBox 2991">
              <a:extLst>
                <a:ext uri="{FF2B5EF4-FFF2-40B4-BE49-F238E27FC236}">
                  <a16:creationId xmlns:a16="http://schemas.microsoft.com/office/drawing/2014/main" id="{6ADC0675-B181-2229-396B-9EE4FAC35AD3}"/>
                </a:ext>
              </a:extLst>
            </p:cNvPr>
            <p:cNvSpPr txBox="1"/>
            <p:nvPr/>
          </p:nvSpPr>
          <p:spPr>
            <a:xfrm>
              <a:off x="6295963"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2993" name="Straight Connector 2992">
              <a:extLst>
                <a:ext uri="{FF2B5EF4-FFF2-40B4-BE49-F238E27FC236}">
                  <a16:creationId xmlns:a16="http://schemas.microsoft.com/office/drawing/2014/main" id="{1CDAD956-F779-1F0A-4BD6-D1825C0CDF96}"/>
                </a:ext>
              </a:extLst>
            </p:cNvPr>
            <p:cNvCxnSpPr>
              <a:cxnSpLocks/>
            </p:cNvCxnSpPr>
            <p:nvPr/>
          </p:nvCxnSpPr>
          <p:spPr>
            <a:xfrm rot="16200000" flipH="1">
              <a:off x="6386745" y="4802531"/>
              <a:ext cx="72000" cy="0"/>
            </a:xfrm>
            <a:prstGeom prst="line">
              <a:avLst/>
            </a:prstGeom>
            <a:noFill/>
            <a:ln w="9525" cap="flat" cmpd="sng" algn="ctr">
              <a:solidFill>
                <a:srgbClr val="000000"/>
              </a:solidFill>
              <a:prstDash val="solid"/>
            </a:ln>
            <a:effectLst/>
          </p:spPr>
        </p:cxnSp>
        <p:sp>
          <p:nvSpPr>
            <p:cNvPr id="2994" name="TextBox 2993">
              <a:extLst>
                <a:ext uri="{FF2B5EF4-FFF2-40B4-BE49-F238E27FC236}">
                  <a16:creationId xmlns:a16="http://schemas.microsoft.com/office/drawing/2014/main" id="{E620EB7C-BECF-E6FD-E912-2C849211203C}"/>
                </a:ext>
              </a:extLst>
            </p:cNvPr>
            <p:cNvSpPr txBox="1"/>
            <p:nvPr/>
          </p:nvSpPr>
          <p:spPr>
            <a:xfrm>
              <a:off x="6707751"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2995" name="Straight Connector 2994">
              <a:extLst>
                <a:ext uri="{FF2B5EF4-FFF2-40B4-BE49-F238E27FC236}">
                  <a16:creationId xmlns:a16="http://schemas.microsoft.com/office/drawing/2014/main" id="{6BCC77E7-9BAB-60AC-6A5A-41778B69128E}"/>
                </a:ext>
              </a:extLst>
            </p:cNvPr>
            <p:cNvCxnSpPr>
              <a:cxnSpLocks/>
            </p:cNvCxnSpPr>
            <p:nvPr/>
          </p:nvCxnSpPr>
          <p:spPr>
            <a:xfrm rot="16200000" flipH="1">
              <a:off x="6798402" y="4802531"/>
              <a:ext cx="72000" cy="0"/>
            </a:xfrm>
            <a:prstGeom prst="line">
              <a:avLst/>
            </a:prstGeom>
            <a:noFill/>
            <a:ln w="9525" cap="flat" cmpd="sng" algn="ctr">
              <a:solidFill>
                <a:srgbClr val="000000"/>
              </a:solidFill>
              <a:prstDash val="solid"/>
            </a:ln>
            <a:effectLst/>
          </p:spPr>
        </p:cxnSp>
        <p:grpSp>
          <p:nvGrpSpPr>
            <p:cNvPr id="2996" name="Group 2995">
              <a:extLst>
                <a:ext uri="{FF2B5EF4-FFF2-40B4-BE49-F238E27FC236}">
                  <a16:creationId xmlns:a16="http://schemas.microsoft.com/office/drawing/2014/main" id="{39E0BD7C-E2A9-19CC-5E1F-C838072907BF}"/>
                </a:ext>
              </a:extLst>
            </p:cNvPr>
            <p:cNvGrpSpPr/>
            <p:nvPr/>
          </p:nvGrpSpPr>
          <p:grpSpPr>
            <a:xfrm>
              <a:off x="1303759" y="4176996"/>
              <a:ext cx="1920431" cy="461665"/>
              <a:chOff x="2454285" y="3524913"/>
              <a:chExt cx="1818466" cy="461665"/>
            </a:xfrm>
          </p:grpSpPr>
          <p:sp>
            <p:nvSpPr>
              <p:cNvPr id="3000" name="TextBox 2999">
                <a:extLst>
                  <a:ext uri="{FF2B5EF4-FFF2-40B4-BE49-F238E27FC236}">
                    <a16:creationId xmlns:a16="http://schemas.microsoft.com/office/drawing/2014/main" id="{28B09989-5FA9-242F-3500-7358E88166D1}"/>
                  </a:ext>
                </a:extLst>
              </p:cNvPr>
              <p:cNvSpPr txBox="1"/>
              <p:nvPr/>
            </p:nvSpPr>
            <p:spPr>
              <a:xfrm>
                <a:off x="2745203" y="3524913"/>
                <a:ext cx="1527548" cy="461665"/>
              </a:xfrm>
              <a:prstGeom prst="rect">
                <a:avLst/>
              </a:prstGeom>
              <a:noFill/>
            </p:spPr>
            <p:txBody>
              <a:bodyPr wrap="non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 (N=507)</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 (N=505)</a:t>
                </a:r>
              </a:p>
            </p:txBody>
          </p:sp>
          <p:grpSp>
            <p:nvGrpSpPr>
              <p:cNvPr id="3001" name="Group 3000">
                <a:extLst>
                  <a:ext uri="{FF2B5EF4-FFF2-40B4-BE49-F238E27FC236}">
                    <a16:creationId xmlns:a16="http://schemas.microsoft.com/office/drawing/2014/main" id="{BD793F3F-A279-C213-F54C-19606789C426}"/>
                  </a:ext>
                </a:extLst>
              </p:cNvPr>
              <p:cNvGrpSpPr/>
              <p:nvPr/>
            </p:nvGrpSpPr>
            <p:grpSpPr>
              <a:xfrm>
                <a:off x="2459420" y="3626363"/>
                <a:ext cx="313728" cy="72000"/>
                <a:chOff x="2459420" y="3626363"/>
                <a:chExt cx="313728" cy="72000"/>
              </a:xfrm>
            </p:grpSpPr>
            <p:cxnSp>
              <p:nvCxnSpPr>
                <p:cNvPr id="3007" name="Straight Connector 3006">
                  <a:extLst>
                    <a:ext uri="{FF2B5EF4-FFF2-40B4-BE49-F238E27FC236}">
                      <a16:creationId xmlns:a16="http://schemas.microsoft.com/office/drawing/2014/main" id="{D5872064-B7B7-C92D-9892-B4C1424A0D19}"/>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3009" name="Straight Connector 3008">
                  <a:extLst>
                    <a:ext uri="{FF2B5EF4-FFF2-40B4-BE49-F238E27FC236}">
                      <a16:creationId xmlns:a16="http://schemas.microsoft.com/office/drawing/2014/main" id="{D5C2ADE3-92E5-6781-1600-3BA454649B0E}"/>
                    </a:ext>
                  </a:extLst>
                </p:cNvPr>
                <p:cNvCxnSpPr>
                  <a:cxnSpLocks/>
                </p:cNvCxnSpPr>
                <p:nvPr/>
              </p:nvCxnSpPr>
              <p:spPr>
                <a:xfrm rot="16200000" flipH="1">
                  <a:off x="2580286" y="3662363"/>
                  <a:ext cx="72000" cy="0"/>
                </a:xfrm>
                <a:prstGeom prst="line">
                  <a:avLst/>
                </a:prstGeom>
                <a:noFill/>
                <a:ln w="19050" cap="flat" cmpd="sng" algn="ctr">
                  <a:solidFill>
                    <a:schemeClr val="tx2">
                      <a:lumMod val="75000"/>
                      <a:lumOff val="25000"/>
                    </a:schemeClr>
                  </a:solidFill>
                  <a:prstDash val="solid"/>
                </a:ln>
                <a:effectLst/>
              </p:spPr>
            </p:cxnSp>
          </p:grpSp>
          <p:grpSp>
            <p:nvGrpSpPr>
              <p:cNvPr id="3002" name="Group 3001">
                <a:extLst>
                  <a:ext uri="{FF2B5EF4-FFF2-40B4-BE49-F238E27FC236}">
                    <a16:creationId xmlns:a16="http://schemas.microsoft.com/office/drawing/2014/main" id="{0451C221-9830-0A38-F18D-E1F70C585D25}"/>
                  </a:ext>
                </a:extLst>
              </p:cNvPr>
              <p:cNvGrpSpPr/>
              <p:nvPr/>
            </p:nvGrpSpPr>
            <p:grpSpPr>
              <a:xfrm>
                <a:off x="2454285" y="3812100"/>
                <a:ext cx="324000" cy="72000"/>
                <a:chOff x="2454285" y="3812100"/>
                <a:chExt cx="324000" cy="72000"/>
              </a:xfrm>
            </p:grpSpPr>
            <p:cxnSp>
              <p:nvCxnSpPr>
                <p:cNvPr id="3003" name="Straight Connector 3002">
                  <a:extLst>
                    <a:ext uri="{FF2B5EF4-FFF2-40B4-BE49-F238E27FC236}">
                      <a16:creationId xmlns:a16="http://schemas.microsoft.com/office/drawing/2014/main" id="{8E824A26-552A-1961-202B-4E336CE156C7}"/>
                    </a:ext>
                  </a:extLst>
                </p:cNvPr>
                <p:cNvCxnSpPr>
                  <a:cxnSpLocks/>
                </p:cNvCxnSpPr>
                <p:nvPr/>
              </p:nvCxnSpPr>
              <p:spPr>
                <a:xfrm>
                  <a:off x="2454285" y="3848100"/>
                  <a:ext cx="324000" cy="0"/>
                </a:xfrm>
                <a:prstGeom prst="line">
                  <a:avLst/>
                </a:prstGeom>
                <a:noFill/>
                <a:ln w="19050" cap="flat" cmpd="sng" algn="ctr">
                  <a:solidFill>
                    <a:schemeClr val="accent3"/>
                  </a:solidFill>
                  <a:prstDash val="solid"/>
                </a:ln>
                <a:effectLst/>
              </p:spPr>
            </p:cxnSp>
            <p:cxnSp>
              <p:nvCxnSpPr>
                <p:cNvPr id="3005" name="Straight Connector 3004">
                  <a:extLst>
                    <a:ext uri="{FF2B5EF4-FFF2-40B4-BE49-F238E27FC236}">
                      <a16:creationId xmlns:a16="http://schemas.microsoft.com/office/drawing/2014/main" id="{C3C8ED1D-E0C3-744C-504C-59A0CD4B797F}"/>
                    </a:ext>
                  </a:extLst>
                </p:cNvPr>
                <p:cNvCxnSpPr>
                  <a:cxnSpLocks/>
                </p:cNvCxnSpPr>
                <p:nvPr/>
              </p:nvCxnSpPr>
              <p:spPr>
                <a:xfrm rot="16200000" flipH="1">
                  <a:off x="2580285" y="3848100"/>
                  <a:ext cx="72000" cy="0"/>
                </a:xfrm>
                <a:prstGeom prst="line">
                  <a:avLst/>
                </a:prstGeom>
                <a:noFill/>
                <a:ln w="19050" cap="flat" cmpd="sng" algn="ctr">
                  <a:solidFill>
                    <a:schemeClr val="accent3"/>
                  </a:solidFill>
                  <a:prstDash val="solid"/>
                </a:ln>
                <a:effectLst/>
              </p:spPr>
            </p:cxnSp>
          </p:grpSp>
        </p:grpSp>
        <p:sp>
          <p:nvSpPr>
            <p:cNvPr id="2997" name="TextBox 2996">
              <a:extLst>
                <a:ext uri="{FF2B5EF4-FFF2-40B4-BE49-F238E27FC236}">
                  <a16:creationId xmlns:a16="http://schemas.microsoft.com/office/drawing/2014/main" id="{BD5AFBB8-964B-14BD-5AAB-29FCDC5D2A32}"/>
                </a:ext>
              </a:extLst>
            </p:cNvPr>
            <p:cNvSpPr txBox="1"/>
            <p:nvPr/>
          </p:nvSpPr>
          <p:spPr>
            <a:xfrm>
              <a:off x="7531333" y="4802344"/>
              <a:ext cx="25779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8</a:t>
              </a:r>
            </a:p>
          </p:txBody>
        </p:sp>
        <p:cxnSp>
          <p:nvCxnSpPr>
            <p:cNvPr id="2998" name="Straight Connector 2997">
              <a:extLst>
                <a:ext uri="{FF2B5EF4-FFF2-40B4-BE49-F238E27FC236}">
                  <a16:creationId xmlns:a16="http://schemas.microsoft.com/office/drawing/2014/main" id="{CC6604FA-4987-4584-CBE2-7F3333430F24}"/>
                </a:ext>
              </a:extLst>
            </p:cNvPr>
            <p:cNvCxnSpPr>
              <a:cxnSpLocks/>
            </p:cNvCxnSpPr>
            <p:nvPr/>
          </p:nvCxnSpPr>
          <p:spPr>
            <a:xfrm rot="16200000" flipH="1">
              <a:off x="7621715" y="4802531"/>
              <a:ext cx="72000" cy="0"/>
            </a:xfrm>
            <a:prstGeom prst="line">
              <a:avLst/>
            </a:prstGeom>
            <a:noFill/>
            <a:ln w="9525" cap="flat" cmpd="sng" algn="ctr">
              <a:solidFill>
                <a:srgbClr val="000000"/>
              </a:solidFill>
              <a:prstDash val="solid"/>
            </a:ln>
            <a:effectLst/>
          </p:spPr>
        </p:cxnSp>
        <p:sp>
          <p:nvSpPr>
            <p:cNvPr id="2999" name="TextBox 2998">
              <a:extLst>
                <a:ext uri="{FF2B5EF4-FFF2-40B4-BE49-F238E27FC236}">
                  <a16:creationId xmlns:a16="http://schemas.microsoft.com/office/drawing/2014/main" id="{B742CC6D-4D23-C17B-523B-04690FC3D1B7}"/>
                </a:ext>
              </a:extLst>
            </p:cNvPr>
            <p:cNvSpPr txBox="1"/>
            <p:nvPr/>
          </p:nvSpPr>
          <p:spPr>
            <a:xfrm>
              <a:off x="3460574" y="5048633"/>
              <a:ext cx="1807848"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grpSp>
      <p:sp>
        <p:nvSpPr>
          <p:cNvPr id="3011" name="Subtitle 7">
            <a:extLst>
              <a:ext uri="{FF2B5EF4-FFF2-40B4-BE49-F238E27FC236}">
                <a16:creationId xmlns:a16="http://schemas.microsoft.com/office/drawing/2014/main" id="{02934411-6597-139E-D1A3-3344156E7EF4}"/>
              </a:ext>
            </a:extLst>
          </p:cNvPr>
          <p:cNvSpPr txBox="1">
            <a:spLocks/>
          </p:cNvSpPr>
          <p:nvPr/>
        </p:nvSpPr>
        <p:spPr>
          <a:xfrm>
            <a:off x="489668" y="668217"/>
            <a:ext cx="11325814" cy="600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pPr marL="0" marR="0" lvl="0" indent="0" algn="l" defTabSz="914446" rtl="0" eaLnBrk="1" fontAlgn="auto" latinLnBrk="0" hangingPunct="1">
              <a:lnSpc>
                <a:spcPct val="100000"/>
              </a:lnSpc>
              <a:spcBef>
                <a:spcPts val="533"/>
              </a:spcBef>
              <a:spcAft>
                <a:spcPts val="0"/>
              </a:spcAft>
              <a:buClr>
                <a:srgbClr val="05416B"/>
              </a:buClr>
              <a:buSzPts val="700"/>
              <a:buFont typeface="Noto Sans Symbols"/>
              <a:buNone/>
              <a:tabLst/>
              <a:defRPr/>
            </a:pPr>
            <a:r>
              <a:rPr kumimoji="0" lang="en-US" sz="2000" b="0" i="0" u="none" strike="noStrike" kern="0" cap="none" spc="0" normalizeH="0" baseline="0" noProof="0" dirty="0">
                <a:ln>
                  <a:noFill/>
                </a:ln>
                <a:solidFill>
                  <a:srgbClr val="002060"/>
                </a:solidFill>
                <a:effectLst/>
                <a:uLnTx/>
                <a:uFillTx/>
                <a:latin typeface="Arial Narrow"/>
                <a:cs typeface="Arial Narrow"/>
                <a:sym typeface="Arial Narrow"/>
              </a:rPr>
              <a:t>OS analysis was conducted at 26% maturity, further follow-up is planned</a:t>
            </a:r>
          </a:p>
        </p:txBody>
      </p:sp>
      <p:sp>
        <p:nvSpPr>
          <p:cNvPr id="3012" name="Title 1">
            <a:extLst>
              <a:ext uri="{FF2B5EF4-FFF2-40B4-BE49-F238E27FC236}">
                <a16:creationId xmlns:a16="http://schemas.microsoft.com/office/drawing/2014/main" id="{9DE71764-7870-2056-9111-A27D8763CE56}"/>
              </a:ext>
            </a:extLst>
          </p:cNvPr>
          <p:cNvSpPr txBox="1">
            <a:spLocks/>
          </p:cNvSpPr>
          <p:nvPr/>
        </p:nvSpPr>
        <p:spPr>
          <a:xfrm>
            <a:off x="489634" y="357717"/>
            <a:ext cx="10827654"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46"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Interim OS</a:t>
            </a:r>
          </a:p>
        </p:txBody>
      </p:sp>
      <p:graphicFrame>
        <p:nvGraphicFramePr>
          <p:cNvPr id="3013" name="Table 3012">
            <a:extLst>
              <a:ext uri="{FF2B5EF4-FFF2-40B4-BE49-F238E27FC236}">
                <a16:creationId xmlns:a16="http://schemas.microsoft.com/office/drawing/2014/main" id="{50391108-6BDA-A70C-04E8-7EB8D8176A9C}"/>
              </a:ext>
            </a:extLst>
          </p:cNvPr>
          <p:cNvGraphicFramePr>
            <a:graphicFrameLocks noGrp="1"/>
          </p:cNvGraphicFramePr>
          <p:nvPr/>
        </p:nvGraphicFramePr>
        <p:xfrm>
          <a:off x="375237" y="5248834"/>
          <a:ext cx="10365138" cy="548640"/>
        </p:xfrm>
        <a:graphic>
          <a:graphicData uri="http://schemas.openxmlformats.org/drawingml/2006/table">
            <a:tbl>
              <a:tblPr firstRow="1" firstCol="1" bandRow="1"/>
              <a:tblGrid>
                <a:gridCol w="880889">
                  <a:extLst>
                    <a:ext uri="{9D8B030D-6E8A-4147-A177-3AD203B41FA5}">
                      <a16:colId xmlns:a16="http://schemas.microsoft.com/office/drawing/2014/main" val="275263577"/>
                    </a:ext>
                  </a:extLst>
                </a:gridCol>
                <a:gridCol w="557897">
                  <a:extLst>
                    <a:ext uri="{9D8B030D-6E8A-4147-A177-3AD203B41FA5}">
                      <a16:colId xmlns:a16="http://schemas.microsoft.com/office/drawing/2014/main" val="930621322"/>
                    </a:ext>
                  </a:extLst>
                </a:gridCol>
                <a:gridCol w="557897">
                  <a:extLst>
                    <a:ext uri="{9D8B030D-6E8A-4147-A177-3AD203B41FA5}">
                      <a16:colId xmlns:a16="http://schemas.microsoft.com/office/drawing/2014/main" val="1787202177"/>
                    </a:ext>
                  </a:extLst>
                </a:gridCol>
                <a:gridCol w="557897">
                  <a:extLst>
                    <a:ext uri="{9D8B030D-6E8A-4147-A177-3AD203B41FA5}">
                      <a16:colId xmlns:a16="http://schemas.microsoft.com/office/drawing/2014/main" val="4212611929"/>
                    </a:ext>
                  </a:extLst>
                </a:gridCol>
                <a:gridCol w="557897">
                  <a:extLst>
                    <a:ext uri="{9D8B030D-6E8A-4147-A177-3AD203B41FA5}">
                      <a16:colId xmlns:a16="http://schemas.microsoft.com/office/drawing/2014/main" val="4094995161"/>
                    </a:ext>
                  </a:extLst>
                </a:gridCol>
                <a:gridCol w="557897">
                  <a:extLst>
                    <a:ext uri="{9D8B030D-6E8A-4147-A177-3AD203B41FA5}">
                      <a16:colId xmlns:a16="http://schemas.microsoft.com/office/drawing/2014/main" val="1171412445"/>
                    </a:ext>
                  </a:extLst>
                </a:gridCol>
                <a:gridCol w="557897">
                  <a:extLst>
                    <a:ext uri="{9D8B030D-6E8A-4147-A177-3AD203B41FA5}">
                      <a16:colId xmlns:a16="http://schemas.microsoft.com/office/drawing/2014/main" val="3463120197"/>
                    </a:ext>
                  </a:extLst>
                </a:gridCol>
                <a:gridCol w="557897">
                  <a:extLst>
                    <a:ext uri="{9D8B030D-6E8A-4147-A177-3AD203B41FA5}">
                      <a16:colId xmlns:a16="http://schemas.microsoft.com/office/drawing/2014/main" val="676029926"/>
                    </a:ext>
                  </a:extLst>
                </a:gridCol>
                <a:gridCol w="557897">
                  <a:extLst>
                    <a:ext uri="{9D8B030D-6E8A-4147-A177-3AD203B41FA5}">
                      <a16:colId xmlns:a16="http://schemas.microsoft.com/office/drawing/2014/main" val="3446215395"/>
                    </a:ext>
                  </a:extLst>
                </a:gridCol>
                <a:gridCol w="557897">
                  <a:extLst>
                    <a:ext uri="{9D8B030D-6E8A-4147-A177-3AD203B41FA5}">
                      <a16:colId xmlns:a16="http://schemas.microsoft.com/office/drawing/2014/main" val="218313714"/>
                    </a:ext>
                  </a:extLst>
                </a:gridCol>
                <a:gridCol w="557897">
                  <a:extLst>
                    <a:ext uri="{9D8B030D-6E8A-4147-A177-3AD203B41FA5}">
                      <a16:colId xmlns:a16="http://schemas.microsoft.com/office/drawing/2014/main" val="756470874"/>
                    </a:ext>
                  </a:extLst>
                </a:gridCol>
                <a:gridCol w="557897">
                  <a:extLst>
                    <a:ext uri="{9D8B030D-6E8A-4147-A177-3AD203B41FA5}">
                      <a16:colId xmlns:a16="http://schemas.microsoft.com/office/drawing/2014/main" val="1607062919"/>
                    </a:ext>
                  </a:extLst>
                </a:gridCol>
                <a:gridCol w="557897">
                  <a:extLst>
                    <a:ext uri="{9D8B030D-6E8A-4147-A177-3AD203B41FA5}">
                      <a16:colId xmlns:a16="http://schemas.microsoft.com/office/drawing/2014/main" val="1037410751"/>
                    </a:ext>
                  </a:extLst>
                </a:gridCol>
                <a:gridCol w="557897">
                  <a:extLst>
                    <a:ext uri="{9D8B030D-6E8A-4147-A177-3AD203B41FA5}">
                      <a16:colId xmlns:a16="http://schemas.microsoft.com/office/drawing/2014/main" val="4000495381"/>
                    </a:ext>
                  </a:extLst>
                </a:gridCol>
                <a:gridCol w="557897">
                  <a:extLst>
                    <a:ext uri="{9D8B030D-6E8A-4147-A177-3AD203B41FA5}">
                      <a16:colId xmlns:a16="http://schemas.microsoft.com/office/drawing/2014/main" val="3805554009"/>
                    </a:ext>
                  </a:extLst>
                </a:gridCol>
                <a:gridCol w="557897">
                  <a:extLst>
                    <a:ext uri="{9D8B030D-6E8A-4147-A177-3AD203B41FA5}">
                      <a16:colId xmlns:a16="http://schemas.microsoft.com/office/drawing/2014/main" val="2902074778"/>
                    </a:ext>
                  </a:extLst>
                </a:gridCol>
                <a:gridCol w="557897">
                  <a:extLst>
                    <a:ext uri="{9D8B030D-6E8A-4147-A177-3AD203B41FA5}">
                      <a16:colId xmlns:a16="http://schemas.microsoft.com/office/drawing/2014/main" val="3275083197"/>
                    </a:ext>
                  </a:extLst>
                </a:gridCol>
                <a:gridCol w="557897">
                  <a:extLst>
                    <a:ext uri="{9D8B030D-6E8A-4147-A177-3AD203B41FA5}">
                      <a16:colId xmlns:a16="http://schemas.microsoft.com/office/drawing/2014/main" val="2091502586"/>
                    </a:ext>
                  </a:extLst>
                </a:gridCol>
              </a:tblGrid>
              <a:tr h="27432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noProof="0" dirty="0">
                          <a:effectLst/>
                          <a:latin typeface="Arial Narrow" panose="020B0606020202030204" pitchFamily="34" charset="0"/>
                        </a:rPr>
                        <a:t>Capi + </a:t>
                      </a:r>
                      <a:r>
                        <a:rPr lang="en-US" sz="1200" noProof="0" dirty="0" err="1">
                          <a:effectLst/>
                          <a:latin typeface="Arial Narrow" panose="020B0606020202030204" pitchFamily="34" charset="0"/>
                        </a:rPr>
                        <a:t>abi</a:t>
                      </a:r>
                      <a:endParaRPr lang="en-US" sz="1200" noProof="0" dirty="0">
                        <a:effectLst/>
                        <a:latin typeface="Arial Narrow" panose="020B0606020202030204" pitchFamily="34" charset="0"/>
                        <a:ea typeface="MS Mincho" panose="02020609040205080304" pitchFamily="49" charset="-128"/>
                      </a:endParaRPr>
                    </a:p>
                  </a:txBody>
                  <a:tcPr marL="45720" marR="4572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0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8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76</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4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00</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335</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86</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4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99</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64</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28</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96</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0</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2</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7</a:t>
                      </a:r>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45720" marR="4572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extLst>
                  <a:ext uri="{0D108BD9-81ED-4DB2-BD59-A6C34878D82A}">
                    <a16:rowId xmlns:a16="http://schemas.microsoft.com/office/drawing/2014/main" val="3654420743"/>
                  </a:ext>
                </a:extLst>
              </a:tr>
              <a:tr h="27432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Pbo</a:t>
                      </a:r>
                      <a:r>
                        <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 </a:t>
                      </a:r>
                      <a:r>
                        <a:rPr kumimoji="0" lang="en-US" sz="1200" b="1" i="0" u="none" strike="noStrike" kern="1200" cap="none" spc="0" normalizeH="0" baseline="0" noProof="0" dirty="0" err="1">
                          <a:ln>
                            <a:noFill/>
                          </a:ln>
                          <a:solidFill>
                            <a:srgbClr val="FFFFFF"/>
                          </a:solidFill>
                          <a:effectLst/>
                          <a:uLnTx/>
                          <a:uFillTx/>
                          <a:latin typeface="Arial Narrow" panose="020B0606020202030204" pitchFamily="34" charset="0"/>
                          <a:ea typeface="+mn-ea"/>
                          <a:cs typeface="+mn-cs"/>
                        </a:rPr>
                        <a:t>abi</a:t>
                      </a:r>
                      <a:endParaRPr kumimoji="0" lang="en-US" sz="1200" b="1" i="0" u="none" strike="noStrike" kern="1200" cap="none" spc="0" normalizeH="0" baseline="0" noProof="0" dirty="0">
                        <a:ln>
                          <a:noFill/>
                        </a:ln>
                        <a:solidFill>
                          <a:srgbClr val="FFFFFF"/>
                        </a:solidFill>
                        <a:effectLst/>
                        <a:uLnTx/>
                        <a:uFillTx/>
                        <a:latin typeface="Arial Narrow" panose="020B0606020202030204" pitchFamily="34" charset="0"/>
                        <a:ea typeface="MS Mincho" panose="02020609040205080304" pitchFamily="49" charset="-128"/>
                        <a:cs typeface="+mn-cs"/>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505</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494</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47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44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38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33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27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227</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8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5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1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88</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56</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33</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19</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7</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p>
                      <a:pPr algn="ctr">
                        <a:lnSpc>
                          <a:spcPct val="100000"/>
                        </a:lnSpc>
                        <a:spcAft>
                          <a:spcPts val="0"/>
                        </a:spcAft>
                      </a:pPr>
                      <a:r>
                        <a:rPr lang="en-US" sz="120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3284079475"/>
                  </a:ext>
                </a:extLst>
              </a:tr>
            </a:tbl>
          </a:graphicData>
        </a:graphic>
      </p:graphicFrame>
      <p:sp>
        <p:nvSpPr>
          <p:cNvPr id="3014" name="TextBox 3013">
            <a:extLst>
              <a:ext uri="{FF2B5EF4-FFF2-40B4-BE49-F238E27FC236}">
                <a16:creationId xmlns:a16="http://schemas.microsoft.com/office/drawing/2014/main" id="{1E35B7CB-F9C0-894F-1B5A-D4F783BB396A}"/>
              </a:ext>
            </a:extLst>
          </p:cNvPr>
          <p:cNvSpPr txBox="1"/>
          <p:nvPr/>
        </p:nvSpPr>
        <p:spPr>
          <a:xfrm>
            <a:off x="375237" y="4985646"/>
            <a:ext cx="2083192" cy="276999"/>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umber of patients at risk</a:t>
            </a:r>
          </a:p>
        </p:txBody>
      </p:sp>
    </p:spTree>
    <p:extLst>
      <p:ext uri="{BB962C8B-B14F-4D97-AF65-F5344CB8AC3E}">
        <p14:creationId xmlns:p14="http://schemas.microsoft.com/office/powerpoint/2010/main" val="36484622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8D6C6-7A63-133B-1996-A9F70986B80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BD6AD1-A617-8536-58F8-58E6567893FC}"/>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16403" name="Subtitle 8">
            <a:extLst>
              <a:ext uri="{FF2B5EF4-FFF2-40B4-BE49-F238E27FC236}">
                <a16:creationId xmlns:a16="http://schemas.microsoft.com/office/drawing/2014/main" id="{45535163-C01B-A1C6-CDF8-4972396B5C6B}"/>
              </a:ext>
            </a:extLst>
          </p:cNvPr>
          <p:cNvSpPr txBox="1">
            <a:spLocks/>
          </p:cNvSpPr>
          <p:nvPr/>
        </p:nvSpPr>
        <p:spPr>
          <a:xfrm>
            <a:off x="489668" y="670035"/>
            <a:ext cx="11702332" cy="600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pPr marL="0" marR="0" lvl="0" indent="0" algn="l" defTabSz="914446" rtl="0" eaLnBrk="1" fontAlgn="auto" latinLnBrk="0" hangingPunct="1">
              <a:lnSpc>
                <a:spcPct val="100000"/>
              </a:lnSpc>
              <a:spcBef>
                <a:spcPts val="533"/>
              </a:spcBef>
              <a:spcAft>
                <a:spcPts val="0"/>
              </a:spcAft>
              <a:buClr>
                <a:srgbClr val="05416B"/>
              </a:buClr>
              <a:buSzPts val="700"/>
              <a:buFont typeface="Noto Sans Symbols"/>
              <a:buNone/>
              <a:tabLst/>
              <a:defRPr/>
            </a:pPr>
            <a:r>
              <a:rPr kumimoji="0" lang="en-US" sz="2000" b="0" i="0" u="none" strike="noStrike" kern="0" cap="none" spc="0" normalizeH="0" baseline="0" noProof="0" dirty="0">
                <a:ln>
                  <a:noFill/>
                </a:ln>
                <a:solidFill>
                  <a:srgbClr val="002060"/>
                </a:solidFill>
                <a:effectLst/>
                <a:uLnTx/>
                <a:uFillTx/>
                <a:latin typeface="Arial Narrow"/>
                <a:cs typeface="Arial Narrow"/>
                <a:sym typeface="Arial Narrow"/>
              </a:rPr>
              <a:t>Composite endpoint of pathological fracture, spinal cord compression, use of radiation, surgical intervention, and death</a:t>
            </a:r>
          </a:p>
        </p:txBody>
      </p:sp>
      <p:sp>
        <p:nvSpPr>
          <p:cNvPr id="16404" name="Title 1">
            <a:extLst>
              <a:ext uri="{FF2B5EF4-FFF2-40B4-BE49-F238E27FC236}">
                <a16:creationId xmlns:a16="http://schemas.microsoft.com/office/drawing/2014/main" id="{B978866C-3F04-893D-812B-5FF4C51C9365}"/>
              </a:ext>
            </a:extLst>
          </p:cNvPr>
          <p:cNvSpPr txBox="1">
            <a:spLocks/>
          </p:cNvSpPr>
          <p:nvPr/>
        </p:nvSpPr>
        <p:spPr>
          <a:xfrm>
            <a:off x="466726" y="357717"/>
            <a:ext cx="11725275"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46"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Symptomatic skeletal event-free survival</a:t>
            </a:r>
          </a:p>
        </p:txBody>
      </p:sp>
      <p:sp>
        <p:nvSpPr>
          <p:cNvPr id="16405" name="TextBox 16404">
            <a:extLst>
              <a:ext uri="{FF2B5EF4-FFF2-40B4-BE49-F238E27FC236}">
                <a16:creationId xmlns:a16="http://schemas.microsoft.com/office/drawing/2014/main" id="{DDCB42E6-C6D8-613F-DAE3-098836C6823C}"/>
              </a:ext>
            </a:extLst>
          </p:cNvPr>
          <p:cNvSpPr txBox="1"/>
          <p:nvPr/>
        </p:nvSpPr>
        <p:spPr>
          <a:xfrm>
            <a:off x="421342" y="6061487"/>
            <a:ext cx="11478947" cy="246221"/>
          </a:xfrm>
          <a:prstGeom prst="rect">
            <a:avLst/>
          </a:prstGeom>
          <a:noFill/>
        </p:spPr>
        <p:txBody>
          <a:bodyPr wrap="square" anchor="b">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CI, confidence interval; HR, hazard ratio; NC, not calculabl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 SSE-FS, symptomatic skeletal event-free survival</a:t>
            </a:r>
          </a:p>
        </p:txBody>
      </p:sp>
      <p:graphicFrame>
        <p:nvGraphicFramePr>
          <p:cNvPr id="16475" name="Table 16474">
            <a:extLst>
              <a:ext uri="{FF2B5EF4-FFF2-40B4-BE49-F238E27FC236}">
                <a16:creationId xmlns:a16="http://schemas.microsoft.com/office/drawing/2014/main" id="{17021851-12A5-4A97-4816-2AD0B4624759}"/>
              </a:ext>
            </a:extLst>
          </p:cNvPr>
          <p:cNvGraphicFramePr>
            <a:graphicFrameLocks noGrp="1"/>
          </p:cNvGraphicFramePr>
          <p:nvPr/>
        </p:nvGraphicFramePr>
        <p:xfrm>
          <a:off x="287078" y="5347756"/>
          <a:ext cx="10891912" cy="515250"/>
        </p:xfrm>
        <a:graphic>
          <a:graphicData uri="http://schemas.openxmlformats.org/drawingml/2006/table">
            <a:tbl>
              <a:tblPr firstRow="1" firstCol="1" bandRow="1"/>
              <a:tblGrid>
                <a:gridCol w="967006">
                  <a:extLst>
                    <a:ext uri="{9D8B030D-6E8A-4147-A177-3AD203B41FA5}">
                      <a16:colId xmlns:a16="http://schemas.microsoft.com/office/drawing/2014/main" val="4045982771"/>
                    </a:ext>
                  </a:extLst>
                </a:gridCol>
                <a:gridCol w="583818">
                  <a:extLst>
                    <a:ext uri="{9D8B030D-6E8A-4147-A177-3AD203B41FA5}">
                      <a16:colId xmlns:a16="http://schemas.microsoft.com/office/drawing/2014/main" val="930621322"/>
                    </a:ext>
                  </a:extLst>
                </a:gridCol>
                <a:gridCol w="583818">
                  <a:extLst>
                    <a:ext uri="{9D8B030D-6E8A-4147-A177-3AD203B41FA5}">
                      <a16:colId xmlns:a16="http://schemas.microsoft.com/office/drawing/2014/main" val="1787202177"/>
                    </a:ext>
                  </a:extLst>
                </a:gridCol>
                <a:gridCol w="583818">
                  <a:extLst>
                    <a:ext uri="{9D8B030D-6E8A-4147-A177-3AD203B41FA5}">
                      <a16:colId xmlns:a16="http://schemas.microsoft.com/office/drawing/2014/main" val="4212611929"/>
                    </a:ext>
                  </a:extLst>
                </a:gridCol>
                <a:gridCol w="583818">
                  <a:extLst>
                    <a:ext uri="{9D8B030D-6E8A-4147-A177-3AD203B41FA5}">
                      <a16:colId xmlns:a16="http://schemas.microsoft.com/office/drawing/2014/main" val="4094995161"/>
                    </a:ext>
                  </a:extLst>
                </a:gridCol>
                <a:gridCol w="583818">
                  <a:extLst>
                    <a:ext uri="{9D8B030D-6E8A-4147-A177-3AD203B41FA5}">
                      <a16:colId xmlns:a16="http://schemas.microsoft.com/office/drawing/2014/main" val="1171412445"/>
                    </a:ext>
                  </a:extLst>
                </a:gridCol>
                <a:gridCol w="583818">
                  <a:extLst>
                    <a:ext uri="{9D8B030D-6E8A-4147-A177-3AD203B41FA5}">
                      <a16:colId xmlns:a16="http://schemas.microsoft.com/office/drawing/2014/main" val="3463120197"/>
                    </a:ext>
                  </a:extLst>
                </a:gridCol>
                <a:gridCol w="583818">
                  <a:extLst>
                    <a:ext uri="{9D8B030D-6E8A-4147-A177-3AD203B41FA5}">
                      <a16:colId xmlns:a16="http://schemas.microsoft.com/office/drawing/2014/main" val="676029926"/>
                    </a:ext>
                  </a:extLst>
                </a:gridCol>
                <a:gridCol w="583818">
                  <a:extLst>
                    <a:ext uri="{9D8B030D-6E8A-4147-A177-3AD203B41FA5}">
                      <a16:colId xmlns:a16="http://schemas.microsoft.com/office/drawing/2014/main" val="3446215395"/>
                    </a:ext>
                  </a:extLst>
                </a:gridCol>
                <a:gridCol w="583818">
                  <a:extLst>
                    <a:ext uri="{9D8B030D-6E8A-4147-A177-3AD203B41FA5}">
                      <a16:colId xmlns:a16="http://schemas.microsoft.com/office/drawing/2014/main" val="218313714"/>
                    </a:ext>
                  </a:extLst>
                </a:gridCol>
                <a:gridCol w="583818">
                  <a:extLst>
                    <a:ext uri="{9D8B030D-6E8A-4147-A177-3AD203B41FA5}">
                      <a16:colId xmlns:a16="http://schemas.microsoft.com/office/drawing/2014/main" val="756470874"/>
                    </a:ext>
                  </a:extLst>
                </a:gridCol>
                <a:gridCol w="583818">
                  <a:extLst>
                    <a:ext uri="{9D8B030D-6E8A-4147-A177-3AD203B41FA5}">
                      <a16:colId xmlns:a16="http://schemas.microsoft.com/office/drawing/2014/main" val="1607062919"/>
                    </a:ext>
                  </a:extLst>
                </a:gridCol>
                <a:gridCol w="583818">
                  <a:extLst>
                    <a:ext uri="{9D8B030D-6E8A-4147-A177-3AD203B41FA5}">
                      <a16:colId xmlns:a16="http://schemas.microsoft.com/office/drawing/2014/main" val="1037410751"/>
                    </a:ext>
                  </a:extLst>
                </a:gridCol>
                <a:gridCol w="583818">
                  <a:extLst>
                    <a:ext uri="{9D8B030D-6E8A-4147-A177-3AD203B41FA5}">
                      <a16:colId xmlns:a16="http://schemas.microsoft.com/office/drawing/2014/main" val="4000495381"/>
                    </a:ext>
                  </a:extLst>
                </a:gridCol>
                <a:gridCol w="583818">
                  <a:extLst>
                    <a:ext uri="{9D8B030D-6E8A-4147-A177-3AD203B41FA5}">
                      <a16:colId xmlns:a16="http://schemas.microsoft.com/office/drawing/2014/main" val="3805554009"/>
                    </a:ext>
                  </a:extLst>
                </a:gridCol>
                <a:gridCol w="583818">
                  <a:extLst>
                    <a:ext uri="{9D8B030D-6E8A-4147-A177-3AD203B41FA5}">
                      <a16:colId xmlns:a16="http://schemas.microsoft.com/office/drawing/2014/main" val="2902074778"/>
                    </a:ext>
                  </a:extLst>
                </a:gridCol>
                <a:gridCol w="583818">
                  <a:extLst>
                    <a:ext uri="{9D8B030D-6E8A-4147-A177-3AD203B41FA5}">
                      <a16:colId xmlns:a16="http://schemas.microsoft.com/office/drawing/2014/main" val="3275083197"/>
                    </a:ext>
                  </a:extLst>
                </a:gridCol>
                <a:gridCol w="583818">
                  <a:extLst>
                    <a:ext uri="{9D8B030D-6E8A-4147-A177-3AD203B41FA5}">
                      <a16:colId xmlns:a16="http://schemas.microsoft.com/office/drawing/2014/main" val="2366738362"/>
                    </a:ext>
                  </a:extLst>
                </a:gridCol>
              </a:tblGrid>
              <a:tr h="257625">
                <a:tc>
                  <a:txBody>
                    <a:bodyPr/>
                    <a:lstStyle/>
                    <a:p>
                      <a:pPr algn="ctr">
                        <a:lnSpc>
                          <a:spcPct val="100000"/>
                        </a:lnSpc>
                        <a:spcAft>
                          <a:spcPts val="0"/>
                        </a:spcAft>
                      </a:pPr>
                      <a:r>
                        <a:rPr lang="en-US" sz="1200" b="1" noProof="0" dirty="0">
                          <a:solidFill>
                            <a:schemeClr val="bg1"/>
                          </a:solidFill>
                          <a:effectLst/>
                          <a:latin typeface="Arial Narrow" panose="020B0606020202030204" pitchFamily="34" charset="0"/>
                          <a:ea typeface="MS Mincho" panose="02020609040205080304" pitchFamily="49" charset="-128"/>
                        </a:rPr>
                        <a:t>Capi + </a:t>
                      </a:r>
                      <a:r>
                        <a:rPr lang="en-US" sz="1200" b="1" noProof="0" dirty="0" err="1">
                          <a:solidFill>
                            <a:schemeClr val="bg1"/>
                          </a:solidFill>
                          <a:effectLst/>
                          <a:latin typeface="Arial Narrow" panose="020B0606020202030204" pitchFamily="34" charset="0"/>
                          <a:ea typeface="MS Mincho" panose="02020609040205080304" pitchFamily="49" charset="-128"/>
                        </a:rPr>
                        <a:t>abi</a:t>
                      </a:r>
                      <a:endParaRPr lang="en-US" sz="1200" b="1" noProof="0" dirty="0">
                        <a:solidFill>
                          <a:schemeClr val="bg1"/>
                        </a:solidFill>
                        <a:effectLst/>
                        <a:latin typeface="Arial Narrow" panose="020B0606020202030204" pitchFamily="34" charset="0"/>
                        <a:ea typeface="MS Mincho" panose="02020609040205080304" pitchFamily="49" charset="-12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0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5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3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0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34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9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4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0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6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2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0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extLst>
                  <a:ext uri="{0D108BD9-81ED-4DB2-BD59-A6C34878D82A}">
                    <a16:rowId xmlns:a16="http://schemas.microsoft.com/office/drawing/2014/main" val="3654420743"/>
                  </a:ext>
                </a:extLst>
              </a:tr>
              <a:tr h="257625">
                <a:tc>
                  <a:txBody>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noProof="0" dirty="0" err="1">
                          <a:solidFill>
                            <a:schemeClr val="bg1"/>
                          </a:solidFill>
                          <a:effectLst/>
                          <a:latin typeface="Arial Narrow" panose="020B0606020202030204" pitchFamily="34" charset="0"/>
                          <a:ea typeface="MS Mincho" panose="02020609040205080304" pitchFamily="49" charset="-128"/>
                        </a:rPr>
                        <a:t>Pbo</a:t>
                      </a:r>
                      <a:r>
                        <a:rPr lang="en-US" sz="1200" b="1" noProof="0" dirty="0">
                          <a:solidFill>
                            <a:schemeClr val="bg1"/>
                          </a:solidFill>
                          <a:effectLst/>
                          <a:latin typeface="Arial Narrow" panose="020B0606020202030204" pitchFamily="34" charset="0"/>
                          <a:ea typeface="MS Mincho" panose="02020609040205080304" pitchFamily="49" charset="-128"/>
                        </a:rPr>
                        <a:t> + </a:t>
                      </a:r>
                      <a:r>
                        <a:rPr lang="en-US" sz="1200" b="1" noProof="0" dirty="0" err="1">
                          <a:solidFill>
                            <a:schemeClr val="bg1"/>
                          </a:solidFill>
                          <a:effectLst/>
                          <a:latin typeface="Arial Narrow" panose="020B0606020202030204" pitchFamily="34" charset="0"/>
                          <a:ea typeface="MS Mincho" panose="02020609040205080304" pitchFamily="49" charset="-128"/>
                        </a:rPr>
                        <a:t>abi</a:t>
                      </a:r>
                      <a:endParaRPr lang="en-US" sz="1200" b="1" noProof="0" dirty="0">
                        <a:solidFill>
                          <a:schemeClr val="bg1"/>
                        </a:solidFill>
                        <a:effectLst/>
                        <a:latin typeface="Arial Narrow" panose="020B0606020202030204" pitchFamily="34" charset="0"/>
                        <a:ea typeface="MS Mincho" panose="02020609040205080304" pitchFamily="49" charset="-128"/>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0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7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5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4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3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8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2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9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4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1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8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5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3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2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1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200" b="0" noProof="0" dirty="0">
                          <a:solidFill>
                            <a:schemeClr val="tx1">
                              <a:lumMod val="50000"/>
                            </a:schemeClr>
                          </a:solidFill>
                          <a:effectLst/>
                          <a:latin typeface="Arial Narrow" panose="020B0606020202030204" pitchFamily="34" charset="0"/>
                          <a:ea typeface="MS Mincho" panose="02020609040205080304" pitchFamily="49" charset="-128"/>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3284079475"/>
                  </a:ext>
                </a:extLst>
              </a:tr>
            </a:tbl>
          </a:graphicData>
        </a:graphic>
      </p:graphicFrame>
      <p:sp>
        <p:nvSpPr>
          <p:cNvPr id="16408" name="TextBox 16407">
            <a:extLst>
              <a:ext uri="{FF2B5EF4-FFF2-40B4-BE49-F238E27FC236}">
                <a16:creationId xmlns:a16="http://schemas.microsoft.com/office/drawing/2014/main" id="{82F29828-CFE2-97D9-3454-272590A46295}"/>
              </a:ext>
            </a:extLst>
          </p:cNvPr>
          <p:cNvSpPr txBox="1"/>
          <p:nvPr/>
        </p:nvSpPr>
        <p:spPr>
          <a:xfrm>
            <a:off x="238994" y="5054436"/>
            <a:ext cx="1883934" cy="276999"/>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umber of patients at risk</a:t>
            </a:r>
          </a:p>
        </p:txBody>
      </p:sp>
      <p:sp>
        <p:nvSpPr>
          <p:cNvPr id="16410" name="TextBox 2">
            <a:extLst>
              <a:ext uri="{FF2B5EF4-FFF2-40B4-BE49-F238E27FC236}">
                <a16:creationId xmlns:a16="http://schemas.microsoft.com/office/drawing/2014/main" id="{5D5178FD-0237-971A-AFB2-6F84504B7D0E}"/>
              </a:ext>
            </a:extLst>
          </p:cNvPr>
          <p:cNvSpPr txBox="1"/>
          <p:nvPr/>
        </p:nvSpPr>
        <p:spPr>
          <a:xfrm rot="16200000">
            <a:off x="-235009" y="3006374"/>
            <a:ext cx="2215671"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bability of SSE-free survival</a:t>
            </a:r>
          </a:p>
        </p:txBody>
      </p:sp>
      <p:grpSp>
        <p:nvGrpSpPr>
          <p:cNvPr id="8" name="Group 7">
            <a:extLst>
              <a:ext uri="{FF2B5EF4-FFF2-40B4-BE49-F238E27FC236}">
                <a16:creationId xmlns:a16="http://schemas.microsoft.com/office/drawing/2014/main" id="{D830D372-EAAA-3748-FC50-1921455C58CF}"/>
              </a:ext>
            </a:extLst>
          </p:cNvPr>
          <p:cNvGrpSpPr/>
          <p:nvPr/>
        </p:nvGrpSpPr>
        <p:grpSpPr>
          <a:xfrm>
            <a:off x="1121829" y="1436691"/>
            <a:ext cx="9948348" cy="3861620"/>
            <a:chOff x="1227041" y="1436691"/>
            <a:chExt cx="9948348" cy="3861620"/>
          </a:xfrm>
        </p:grpSpPr>
        <p:sp>
          <p:nvSpPr>
            <p:cNvPr id="16411" name="TextBox 9">
              <a:extLst>
                <a:ext uri="{FF2B5EF4-FFF2-40B4-BE49-F238E27FC236}">
                  <a16:creationId xmlns:a16="http://schemas.microsoft.com/office/drawing/2014/main" id="{71BC4741-EDBC-A60A-367B-0486D3229BEB}"/>
                </a:ext>
              </a:extLst>
            </p:cNvPr>
            <p:cNvSpPr txBox="1"/>
            <p:nvPr/>
          </p:nvSpPr>
          <p:spPr>
            <a:xfrm>
              <a:off x="1240611" y="1436691"/>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16412" name="TextBox 10">
              <a:extLst>
                <a:ext uri="{FF2B5EF4-FFF2-40B4-BE49-F238E27FC236}">
                  <a16:creationId xmlns:a16="http://schemas.microsoft.com/office/drawing/2014/main" id="{ABDC9392-35D8-771A-F290-25025907E56A}"/>
                </a:ext>
              </a:extLst>
            </p:cNvPr>
            <p:cNvSpPr txBox="1"/>
            <p:nvPr/>
          </p:nvSpPr>
          <p:spPr>
            <a:xfrm>
              <a:off x="1227041" y="2050470"/>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16413" name="TextBox 12">
              <a:extLst>
                <a:ext uri="{FF2B5EF4-FFF2-40B4-BE49-F238E27FC236}">
                  <a16:creationId xmlns:a16="http://schemas.microsoft.com/office/drawing/2014/main" id="{D5146919-0A83-9E3E-6092-429E74EC01EA}"/>
                </a:ext>
              </a:extLst>
            </p:cNvPr>
            <p:cNvSpPr txBox="1"/>
            <p:nvPr/>
          </p:nvSpPr>
          <p:spPr>
            <a:xfrm>
              <a:off x="1227041" y="2664248"/>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16414" name="TextBox 13">
              <a:extLst>
                <a:ext uri="{FF2B5EF4-FFF2-40B4-BE49-F238E27FC236}">
                  <a16:creationId xmlns:a16="http://schemas.microsoft.com/office/drawing/2014/main" id="{3FC7FC5B-8AC1-6FA5-BAD4-5727EE62214C}"/>
                </a:ext>
              </a:extLst>
            </p:cNvPr>
            <p:cNvSpPr txBox="1"/>
            <p:nvPr/>
          </p:nvSpPr>
          <p:spPr>
            <a:xfrm>
              <a:off x="1227041" y="3278024"/>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16415" name="TextBox 14">
              <a:extLst>
                <a:ext uri="{FF2B5EF4-FFF2-40B4-BE49-F238E27FC236}">
                  <a16:creationId xmlns:a16="http://schemas.microsoft.com/office/drawing/2014/main" id="{4CDA4397-8063-4A7A-6B5B-8FC5921F0141}"/>
                </a:ext>
              </a:extLst>
            </p:cNvPr>
            <p:cNvSpPr txBox="1"/>
            <p:nvPr/>
          </p:nvSpPr>
          <p:spPr>
            <a:xfrm>
              <a:off x="1227041" y="3891802"/>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16416" name="TextBox 18">
              <a:extLst>
                <a:ext uri="{FF2B5EF4-FFF2-40B4-BE49-F238E27FC236}">
                  <a16:creationId xmlns:a16="http://schemas.microsoft.com/office/drawing/2014/main" id="{5918FD12-2578-6392-C2D1-07925A843132}"/>
                </a:ext>
              </a:extLst>
            </p:cNvPr>
            <p:cNvSpPr txBox="1"/>
            <p:nvPr/>
          </p:nvSpPr>
          <p:spPr>
            <a:xfrm>
              <a:off x="1227041" y="4505578"/>
              <a:ext cx="389850"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sp>
          <p:nvSpPr>
            <p:cNvPr id="16417" name="TextBox 19">
              <a:extLst>
                <a:ext uri="{FF2B5EF4-FFF2-40B4-BE49-F238E27FC236}">
                  <a16:creationId xmlns:a16="http://schemas.microsoft.com/office/drawing/2014/main" id="{E2B81498-97F5-126F-B411-398C6F29F48F}"/>
                </a:ext>
              </a:extLst>
            </p:cNvPr>
            <p:cNvSpPr txBox="1"/>
            <p:nvPr/>
          </p:nvSpPr>
          <p:spPr>
            <a:xfrm>
              <a:off x="5101488" y="4990534"/>
              <a:ext cx="2438424"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sp>
          <p:nvSpPr>
            <p:cNvPr id="16418" name="Freeform: Shape 16417">
              <a:extLst>
                <a:ext uri="{FF2B5EF4-FFF2-40B4-BE49-F238E27FC236}">
                  <a16:creationId xmlns:a16="http://schemas.microsoft.com/office/drawing/2014/main" id="{A50C16A6-341E-1341-70C8-E206BC45BEDF}"/>
                </a:ext>
              </a:extLst>
            </p:cNvPr>
            <p:cNvSpPr/>
            <p:nvPr/>
          </p:nvSpPr>
          <p:spPr>
            <a:xfrm>
              <a:off x="1643491" y="1589209"/>
              <a:ext cx="9354419" cy="3069543"/>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endParaRPr>
            </a:p>
          </p:txBody>
        </p:sp>
        <p:grpSp>
          <p:nvGrpSpPr>
            <p:cNvPr id="16419" name="Group 16418">
              <a:extLst>
                <a:ext uri="{FF2B5EF4-FFF2-40B4-BE49-F238E27FC236}">
                  <a16:creationId xmlns:a16="http://schemas.microsoft.com/office/drawing/2014/main" id="{E8712720-80CC-5747-B16D-7616C168A2F6}"/>
                </a:ext>
              </a:extLst>
            </p:cNvPr>
            <p:cNvGrpSpPr/>
            <p:nvPr/>
          </p:nvGrpSpPr>
          <p:grpSpPr>
            <a:xfrm>
              <a:off x="1549424" y="1589210"/>
              <a:ext cx="102574" cy="3069543"/>
              <a:chOff x="898132" y="2055373"/>
              <a:chExt cx="57551" cy="2627022"/>
            </a:xfrm>
          </p:grpSpPr>
          <p:cxnSp>
            <p:nvCxnSpPr>
              <p:cNvPr id="16420" name="Straight Connector 16419">
                <a:extLst>
                  <a:ext uri="{FF2B5EF4-FFF2-40B4-BE49-F238E27FC236}">
                    <a16:creationId xmlns:a16="http://schemas.microsoft.com/office/drawing/2014/main" id="{A7D5E3CF-0AAF-56F7-1EC3-0FC75398B857}"/>
                  </a:ext>
                </a:extLst>
              </p:cNvPr>
              <p:cNvCxnSpPr/>
              <p:nvPr/>
            </p:nvCxnSpPr>
            <p:spPr>
              <a:xfrm>
                <a:off x="898133" y="2055373"/>
                <a:ext cx="50593" cy="0"/>
              </a:xfrm>
              <a:prstGeom prst="line">
                <a:avLst/>
              </a:prstGeom>
              <a:noFill/>
              <a:ln w="9525" cap="flat" cmpd="sng" algn="ctr">
                <a:solidFill>
                  <a:srgbClr val="000000"/>
                </a:solidFill>
                <a:prstDash val="solid"/>
              </a:ln>
              <a:effectLst/>
            </p:spPr>
          </p:cxnSp>
          <p:cxnSp>
            <p:nvCxnSpPr>
              <p:cNvPr id="16421" name="Straight Connector 16420">
                <a:extLst>
                  <a:ext uri="{FF2B5EF4-FFF2-40B4-BE49-F238E27FC236}">
                    <a16:creationId xmlns:a16="http://schemas.microsoft.com/office/drawing/2014/main" id="{455D0F33-A1B1-E023-536D-E2A059BB6159}"/>
                  </a:ext>
                </a:extLst>
              </p:cNvPr>
              <p:cNvCxnSpPr/>
              <p:nvPr/>
            </p:nvCxnSpPr>
            <p:spPr>
              <a:xfrm>
                <a:off x="898133" y="2580777"/>
                <a:ext cx="50593" cy="0"/>
              </a:xfrm>
              <a:prstGeom prst="line">
                <a:avLst/>
              </a:prstGeom>
              <a:noFill/>
              <a:ln w="9525" cap="flat" cmpd="sng" algn="ctr">
                <a:solidFill>
                  <a:srgbClr val="000000"/>
                </a:solidFill>
                <a:prstDash val="solid"/>
              </a:ln>
              <a:effectLst/>
            </p:spPr>
          </p:cxnSp>
          <p:cxnSp>
            <p:nvCxnSpPr>
              <p:cNvPr id="16422" name="Straight Connector 16421">
                <a:extLst>
                  <a:ext uri="{FF2B5EF4-FFF2-40B4-BE49-F238E27FC236}">
                    <a16:creationId xmlns:a16="http://schemas.microsoft.com/office/drawing/2014/main" id="{EC5F9B5A-1F4C-A56F-D3EB-BF24F12A162E}"/>
                  </a:ext>
                </a:extLst>
              </p:cNvPr>
              <p:cNvCxnSpPr/>
              <p:nvPr/>
            </p:nvCxnSpPr>
            <p:spPr>
              <a:xfrm>
                <a:off x="898133" y="3106181"/>
                <a:ext cx="50593" cy="0"/>
              </a:xfrm>
              <a:prstGeom prst="line">
                <a:avLst/>
              </a:prstGeom>
              <a:noFill/>
              <a:ln w="9525" cap="flat" cmpd="sng" algn="ctr">
                <a:solidFill>
                  <a:srgbClr val="000000"/>
                </a:solidFill>
                <a:prstDash val="solid"/>
              </a:ln>
              <a:effectLst/>
            </p:spPr>
          </p:cxnSp>
          <p:cxnSp>
            <p:nvCxnSpPr>
              <p:cNvPr id="16423" name="Straight Connector 16422">
                <a:extLst>
                  <a:ext uri="{FF2B5EF4-FFF2-40B4-BE49-F238E27FC236}">
                    <a16:creationId xmlns:a16="http://schemas.microsoft.com/office/drawing/2014/main" id="{933302EC-EEB6-6A77-59BB-B84D99FD6443}"/>
                  </a:ext>
                </a:extLst>
              </p:cNvPr>
              <p:cNvCxnSpPr/>
              <p:nvPr/>
            </p:nvCxnSpPr>
            <p:spPr>
              <a:xfrm>
                <a:off x="898133" y="3631585"/>
                <a:ext cx="50593" cy="0"/>
              </a:xfrm>
              <a:prstGeom prst="line">
                <a:avLst/>
              </a:prstGeom>
              <a:noFill/>
              <a:ln w="9525" cap="flat" cmpd="sng" algn="ctr">
                <a:solidFill>
                  <a:srgbClr val="000000"/>
                </a:solidFill>
                <a:prstDash val="solid"/>
              </a:ln>
              <a:effectLst/>
            </p:spPr>
          </p:cxnSp>
          <p:cxnSp>
            <p:nvCxnSpPr>
              <p:cNvPr id="16424" name="Straight Connector 16423">
                <a:extLst>
                  <a:ext uri="{FF2B5EF4-FFF2-40B4-BE49-F238E27FC236}">
                    <a16:creationId xmlns:a16="http://schemas.microsoft.com/office/drawing/2014/main" id="{1DDA42C0-D395-49A1-124B-866F737D9F86}"/>
                  </a:ext>
                </a:extLst>
              </p:cNvPr>
              <p:cNvCxnSpPr/>
              <p:nvPr/>
            </p:nvCxnSpPr>
            <p:spPr>
              <a:xfrm>
                <a:off x="898133" y="4156989"/>
                <a:ext cx="50593" cy="0"/>
              </a:xfrm>
              <a:prstGeom prst="line">
                <a:avLst/>
              </a:prstGeom>
              <a:noFill/>
              <a:ln w="9525" cap="flat" cmpd="sng" algn="ctr">
                <a:solidFill>
                  <a:srgbClr val="000000"/>
                </a:solidFill>
                <a:prstDash val="solid"/>
              </a:ln>
              <a:effectLst/>
            </p:spPr>
          </p:cxnSp>
          <p:cxnSp>
            <p:nvCxnSpPr>
              <p:cNvPr id="16425" name="Straight Connector 16424">
                <a:extLst>
                  <a:ext uri="{FF2B5EF4-FFF2-40B4-BE49-F238E27FC236}">
                    <a16:creationId xmlns:a16="http://schemas.microsoft.com/office/drawing/2014/main" id="{F3D25EC8-AF67-1FBF-9CB9-7C8F80F04737}"/>
                  </a:ext>
                </a:extLst>
              </p:cNvPr>
              <p:cNvCxnSpPr>
                <a:cxnSpLocks/>
              </p:cNvCxnSpPr>
              <p:nvPr/>
            </p:nvCxnSpPr>
            <p:spPr>
              <a:xfrm>
                <a:off x="898132" y="4682395"/>
                <a:ext cx="57551" cy="0"/>
              </a:xfrm>
              <a:prstGeom prst="line">
                <a:avLst/>
              </a:prstGeom>
              <a:noFill/>
              <a:ln w="9525" cap="flat" cmpd="sng" algn="ctr">
                <a:solidFill>
                  <a:srgbClr val="000000"/>
                </a:solidFill>
                <a:prstDash val="solid"/>
              </a:ln>
              <a:effectLst/>
            </p:spPr>
          </p:cxnSp>
        </p:grpSp>
        <p:cxnSp>
          <p:nvCxnSpPr>
            <p:cNvPr id="16426" name="Straight Connector 16425">
              <a:extLst>
                <a:ext uri="{FF2B5EF4-FFF2-40B4-BE49-F238E27FC236}">
                  <a16:creationId xmlns:a16="http://schemas.microsoft.com/office/drawing/2014/main" id="{F351A056-127D-1C2A-9997-8BDCFA28BC2B}"/>
                </a:ext>
              </a:extLst>
            </p:cNvPr>
            <p:cNvCxnSpPr>
              <a:cxnSpLocks/>
            </p:cNvCxnSpPr>
            <p:nvPr/>
          </p:nvCxnSpPr>
          <p:spPr>
            <a:xfrm>
              <a:off x="1644028" y="3135058"/>
              <a:ext cx="9355000" cy="0"/>
            </a:xfrm>
            <a:prstGeom prst="line">
              <a:avLst/>
            </a:prstGeom>
            <a:noFill/>
            <a:ln w="12700" cap="flat" cmpd="sng" algn="ctr">
              <a:solidFill>
                <a:srgbClr val="000000"/>
              </a:solidFill>
              <a:prstDash val="dash"/>
            </a:ln>
            <a:effectLst/>
          </p:spPr>
        </p:cxnSp>
        <p:grpSp>
          <p:nvGrpSpPr>
            <p:cNvPr id="16427" name="Group 16426">
              <a:extLst>
                <a:ext uri="{FF2B5EF4-FFF2-40B4-BE49-F238E27FC236}">
                  <a16:creationId xmlns:a16="http://schemas.microsoft.com/office/drawing/2014/main" id="{6EE85C14-DC87-0273-413B-7B6E4EA0B259}"/>
                </a:ext>
              </a:extLst>
            </p:cNvPr>
            <p:cNvGrpSpPr/>
            <p:nvPr/>
          </p:nvGrpSpPr>
          <p:grpSpPr>
            <a:xfrm>
              <a:off x="1721551" y="4125140"/>
              <a:ext cx="2586327" cy="461665"/>
              <a:chOff x="2454284" y="3508590"/>
              <a:chExt cx="1815443" cy="494310"/>
            </a:xfrm>
          </p:grpSpPr>
          <p:sp>
            <p:nvSpPr>
              <p:cNvPr id="16428" name="TextBox 98">
                <a:extLst>
                  <a:ext uri="{FF2B5EF4-FFF2-40B4-BE49-F238E27FC236}">
                    <a16:creationId xmlns:a16="http://schemas.microsoft.com/office/drawing/2014/main" id="{AD551752-D34C-1161-B172-8FE211D240B6}"/>
                  </a:ext>
                </a:extLst>
              </p:cNvPr>
              <p:cNvSpPr txBox="1"/>
              <p:nvPr/>
            </p:nvSpPr>
            <p:spPr>
              <a:xfrm>
                <a:off x="2745203" y="3508590"/>
                <a:ext cx="1524524" cy="494310"/>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 (N=507)</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lacebo + Abiraterone (N=505)</a:t>
                </a:r>
              </a:p>
            </p:txBody>
          </p:sp>
          <p:grpSp>
            <p:nvGrpSpPr>
              <p:cNvPr id="16429" name="Group 16428">
                <a:extLst>
                  <a:ext uri="{FF2B5EF4-FFF2-40B4-BE49-F238E27FC236}">
                    <a16:creationId xmlns:a16="http://schemas.microsoft.com/office/drawing/2014/main" id="{A440EB48-D1DC-2867-CA0D-D79D5AA869A2}"/>
                  </a:ext>
                </a:extLst>
              </p:cNvPr>
              <p:cNvGrpSpPr/>
              <p:nvPr/>
            </p:nvGrpSpPr>
            <p:grpSpPr>
              <a:xfrm>
                <a:off x="2459420" y="3626364"/>
                <a:ext cx="313728" cy="72000"/>
                <a:chOff x="2459420" y="3626364"/>
                <a:chExt cx="313728" cy="72000"/>
              </a:xfrm>
            </p:grpSpPr>
            <p:cxnSp>
              <p:nvCxnSpPr>
                <p:cNvPr id="16435" name="Straight Connector 16434">
                  <a:extLst>
                    <a:ext uri="{FF2B5EF4-FFF2-40B4-BE49-F238E27FC236}">
                      <a16:creationId xmlns:a16="http://schemas.microsoft.com/office/drawing/2014/main" id="{AD800607-2707-E88E-0940-8DE94AA1E68A}"/>
                    </a:ext>
                  </a:extLst>
                </p:cNvPr>
                <p:cNvCxnSpPr>
                  <a:cxnSpLocks/>
                </p:cNvCxnSpPr>
                <p:nvPr/>
              </p:nvCxnSpPr>
              <p:spPr>
                <a:xfrm>
                  <a:off x="2459420" y="3662363"/>
                  <a:ext cx="313728" cy="0"/>
                </a:xfrm>
                <a:prstGeom prst="line">
                  <a:avLst/>
                </a:prstGeom>
                <a:noFill/>
                <a:ln w="12700" cap="flat" cmpd="sng" algn="ctr">
                  <a:solidFill>
                    <a:schemeClr val="tx2">
                      <a:lumMod val="75000"/>
                      <a:lumOff val="25000"/>
                    </a:schemeClr>
                  </a:solidFill>
                  <a:prstDash val="solid"/>
                </a:ln>
                <a:effectLst/>
              </p:spPr>
            </p:cxnSp>
            <p:cxnSp>
              <p:nvCxnSpPr>
                <p:cNvPr id="16437" name="Straight Connector 16436">
                  <a:extLst>
                    <a:ext uri="{FF2B5EF4-FFF2-40B4-BE49-F238E27FC236}">
                      <a16:creationId xmlns:a16="http://schemas.microsoft.com/office/drawing/2014/main" id="{F3E8F07C-15AF-2067-091E-0C6BB6343114}"/>
                    </a:ext>
                  </a:extLst>
                </p:cNvPr>
                <p:cNvCxnSpPr>
                  <a:cxnSpLocks/>
                </p:cNvCxnSpPr>
                <p:nvPr/>
              </p:nvCxnSpPr>
              <p:spPr>
                <a:xfrm rot="16200000" flipH="1">
                  <a:off x="2580284" y="3662364"/>
                  <a:ext cx="72000" cy="0"/>
                </a:xfrm>
                <a:prstGeom prst="line">
                  <a:avLst/>
                </a:prstGeom>
                <a:noFill/>
                <a:ln w="9525" cap="flat" cmpd="sng" algn="ctr">
                  <a:solidFill>
                    <a:schemeClr val="tx2">
                      <a:lumMod val="75000"/>
                      <a:lumOff val="25000"/>
                    </a:schemeClr>
                  </a:solidFill>
                  <a:prstDash val="solid"/>
                </a:ln>
                <a:effectLst/>
              </p:spPr>
            </p:cxnSp>
          </p:grpSp>
          <p:grpSp>
            <p:nvGrpSpPr>
              <p:cNvPr id="16430" name="Group 16429">
                <a:extLst>
                  <a:ext uri="{FF2B5EF4-FFF2-40B4-BE49-F238E27FC236}">
                    <a16:creationId xmlns:a16="http://schemas.microsoft.com/office/drawing/2014/main" id="{2EEB6750-67A1-8645-D8DA-1B316EC21695}"/>
                  </a:ext>
                </a:extLst>
              </p:cNvPr>
              <p:cNvGrpSpPr/>
              <p:nvPr/>
            </p:nvGrpSpPr>
            <p:grpSpPr>
              <a:xfrm>
                <a:off x="2454284" y="3812101"/>
                <a:ext cx="324000" cy="72000"/>
                <a:chOff x="2454284" y="3812101"/>
                <a:chExt cx="324000" cy="72000"/>
              </a:xfrm>
            </p:grpSpPr>
            <p:cxnSp>
              <p:nvCxnSpPr>
                <p:cNvPr id="16431" name="Straight Connector 16430">
                  <a:extLst>
                    <a:ext uri="{FF2B5EF4-FFF2-40B4-BE49-F238E27FC236}">
                      <a16:creationId xmlns:a16="http://schemas.microsoft.com/office/drawing/2014/main" id="{B6BEE742-5F02-7A0E-6B24-DA1C88AEB4F9}"/>
                    </a:ext>
                  </a:extLst>
                </p:cNvPr>
                <p:cNvCxnSpPr>
                  <a:cxnSpLocks/>
                </p:cNvCxnSpPr>
                <p:nvPr/>
              </p:nvCxnSpPr>
              <p:spPr>
                <a:xfrm>
                  <a:off x="2454284" y="3848100"/>
                  <a:ext cx="324000" cy="0"/>
                </a:xfrm>
                <a:prstGeom prst="line">
                  <a:avLst/>
                </a:prstGeom>
                <a:noFill/>
                <a:ln w="12700" cap="flat" cmpd="sng" algn="ctr">
                  <a:solidFill>
                    <a:schemeClr val="accent3"/>
                  </a:solidFill>
                  <a:prstDash val="solid"/>
                </a:ln>
                <a:effectLst/>
              </p:spPr>
            </p:cxnSp>
            <p:cxnSp>
              <p:nvCxnSpPr>
                <p:cNvPr id="16433" name="Straight Connector 16432">
                  <a:extLst>
                    <a:ext uri="{FF2B5EF4-FFF2-40B4-BE49-F238E27FC236}">
                      <a16:creationId xmlns:a16="http://schemas.microsoft.com/office/drawing/2014/main" id="{4CAAF824-2054-987D-E989-15DF1E6D2BA5}"/>
                    </a:ext>
                  </a:extLst>
                </p:cNvPr>
                <p:cNvCxnSpPr>
                  <a:cxnSpLocks/>
                </p:cNvCxnSpPr>
                <p:nvPr/>
              </p:nvCxnSpPr>
              <p:spPr>
                <a:xfrm rot="16200000" flipH="1">
                  <a:off x="2580284" y="3848101"/>
                  <a:ext cx="72000" cy="0"/>
                </a:xfrm>
                <a:prstGeom prst="line">
                  <a:avLst/>
                </a:prstGeom>
                <a:noFill/>
                <a:ln w="9525" cap="flat" cmpd="sng" algn="ctr">
                  <a:solidFill>
                    <a:schemeClr val="accent3"/>
                  </a:solidFill>
                  <a:prstDash val="solid"/>
                </a:ln>
                <a:effectLst/>
              </p:spPr>
            </p:cxnSp>
          </p:grpSp>
        </p:grpSp>
        <p:grpSp>
          <p:nvGrpSpPr>
            <p:cNvPr id="16439" name="Group 16438">
              <a:extLst>
                <a:ext uri="{FF2B5EF4-FFF2-40B4-BE49-F238E27FC236}">
                  <a16:creationId xmlns:a16="http://schemas.microsoft.com/office/drawing/2014/main" id="{D08E6EA9-ADE6-B934-76E6-21CA7A3D04C8}"/>
                </a:ext>
              </a:extLst>
            </p:cNvPr>
            <p:cNvGrpSpPr/>
            <p:nvPr/>
          </p:nvGrpSpPr>
          <p:grpSpPr>
            <a:xfrm>
              <a:off x="1643491" y="4659108"/>
              <a:ext cx="9354424" cy="67247"/>
              <a:chOff x="6694201" y="4766779"/>
              <a:chExt cx="5248477" cy="57552"/>
            </a:xfrm>
          </p:grpSpPr>
          <p:cxnSp>
            <p:nvCxnSpPr>
              <p:cNvPr id="16440" name="Straight Connector 16439">
                <a:extLst>
                  <a:ext uri="{FF2B5EF4-FFF2-40B4-BE49-F238E27FC236}">
                    <a16:creationId xmlns:a16="http://schemas.microsoft.com/office/drawing/2014/main" id="{6A878B8D-B5D8-D526-1AB2-6CAF645E4BED}"/>
                  </a:ext>
                </a:extLst>
              </p:cNvPr>
              <p:cNvCxnSpPr>
                <a:cxnSpLocks/>
              </p:cNvCxnSpPr>
              <p:nvPr/>
            </p:nvCxnSpPr>
            <p:spPr>
              <a:xfrm rot="16200000" flipH="1">
                <a:off x="6665425" y="4795555"/>
                <a:ext cx="57551" cy="0"/>
              </a:xfrm>
              <a:prstGeom prst="line">
                <a:avLst/>
              </a:prstGeom>
              <a:noFill/>
              <a:ln w="9525" cap="flat" cmpd="sng" algn="ctr">
                <a:solidFill>
                  <a:srgbClr val="000000"/>
                </a:solidFill>
                <a:prstDash val="solid"/>
              </a:ln>
              <a:effectLst/>
            </p:spPr>
          </p:cxnSp>
          <p:cxnSp>
            <p:nvCxnSpPr>
              <p:cNvPr id="16441" name="Straight Connector 16440">
                <a:extLst>
                  <a:ext uri="{FF2B5EF4-FFF2-40B4-BE49-F238E27FC236}">
                    <a16:creationId xmlns:a16="http://schemas.microsoft.com/office/drawing/2014/main" id="{2949528D-DD75-20AF-B10D-49078AF2869A}"/>
                  </a:ext>
                </a:extLst>
              </p:cNvPr>
              <p:cNvCxnSpPr>
                <a:cxnSpLocks/>
              </p:cNvCxnSpPr>
              <p:nvPr/>
            </p:nvCxnSpPr>
            <p:spPr>
              <a:xfrm rot="16200000" flipH="1">
                <a:off x="11585867" y="4795555"/>
                <a:ext cx="57551" cy="0"/>
              </a:xfrm>
              <a:prstGeom prst="line">
                <a:avLst/>
              </a:prstGeom>
              <a:noFill/>
              <a:ln w="9525" cap="flat" cmpd="sng" algn="ctr">
                <a:solidFill>
                  <a:srgbClr val="000000"/>
                </a:solidFill>
                <a:prstDash val="solid"/>
              </a:ln>
              <a:effectLst/>
            </p:spPr>
          </p:cxnSp>
          <p:cxnSp>
            <p:nvCxnSpPr>
              <p:cNvPr id="16442" name="Straight Connector 16441">
                <a:extLst>
                  <a:ext uri="{FF2B5EF4-FFF2-40B4-BE49-F238E27FC236}">
                    <a16:creationId xmlns:a16="http://schemas.microsoft.com/office/drawing/2014/main" id="{58A3CCB2-92DE-B057-FFD5-DE847E6E0FB2}"/>
                  </a:ext>
                </a:extLst>
              </p:cNvPr>
              <p:cNvCxnSpPr>
                <a:cxnSpLocks/>
              </p:cNvCxnSpPr>
              <p:nvPr/>
            </p:nvCxnSpPr>
            <p:spPr>
              <a:xfrm rot="16200000" flipH="1">
                <a:off x="6993454" y="4795555"/>
                <a:ext cx="57551" cy="0"/>
              </a:xfrm>
              <a:prstGeom prst="line">
                <a:avLst/>
              </a:prstGeom>
              <a:noFill/>
              <a:ln w="9525" cap="flat" cmpd="sng" algn="ctr">
                <a:solidFill>
                  <a:srgbClr val="000000"/>
                </a:solidFill>
                <a:prstDash val="solid"/>
              </a:ln>
              <a:effectLst/>
            </p:spPr>
          </p:cxnSp>
          <p:cxnSp>
            <p:nvCxnSpPr>
              <p:cNvPr id="16443" name="Straight Connector 16442">
                <a:extLst>
                  <a:ext uri="{FF2B5EF4-FFF2-40B4-BE49-F238E27FC236}">
                    <a16:creationId xmlns:a16="http://schemas.microsoft.com/office/drawing/2014/main" id="{17105226-819E-BAF8-5A00-3C72D957A306}"/>
                  </a:ext>
                </a:extLst>
              </p:cNvPr>
              <p:cNvCxnSpPr>
                <a:cxnSpLocks/>
              </p:cNvCxnSpPr>
              <p:nvPr/>
            </p:nvCxnSpPr>
            <p:spPr>
              <a:xfrm rot="16200000" flipH="1">
                <a:off x="7321483" y="4795555"/>
                <a:ext cx="57551" cy="0"/>
              </a:xfrm>
              <a:prstGeom prst="line">
                <a:avLst/>
              </a:prstGeom>
              <a:noFill/>
              <a:ln w="9525" cap="flat" cmpd="sng" algn="ctr">
                <a:solidFill>
                  <a:srgbClr val="000000"/>
                </a:solidFill>
                <a:prstDash val="solid"/>
              </a:ln>
              <a:effectLst/>
            </p:spPr>
          </p:cxnSp>
          <p:cxnSp>
            <p:nvCxnSpPr>
              <p:cNvPr id="16444" name="Straight Connector 16443">
                <a:extLst>
                  <a:ext uri="{FF2B5EF4-FFF2-40B4-BE49-F238E27FC236}">
                    <a16:creationId xmlns:a16="http://schemas.microsoft.com/office/drawing/2014/main" id="{42525CA0-1770-38A8-CD31-EED84ABA420D}"/>
                  </a:ext>
                </a:extLst>
              </p:cNvPr>
              <p:cNvCxnSpPr>
                <a:cxnSpLocks/>
              </p:cNvCxnSpPr>
              <p:nvPr/>
            </p:nvCxnSpPr>
            <p:spPr>
              <a:xfrm rot="16200000" flipH="1">
                <a:off x="7649512" y="4795555"/>
                <a:ext cx="57551" cy="0"/>
              </a:xfrm>
              <a:prstGeom prst="line">
                <a:avLst/>
              </a:prstGeom>
              <a:noFill/>
              <a:ln w="9525" cap="flat" cmpd="sng" algn="ctr">
                <a:solidFill>
                  <a:srgbClr val="000000"/>
                </a:solidFill>
                <a:prstDash val="solid"/>
              </a:ln>
              <a:effectLst/>
            </p:spPr>
          </p:cxnSp>
          <p:cxnSp>
            <p:nvCxnSpPr>
              <p:cNvPr id="16445" name="Straight Connector 16444">
                <a:extLst>
                  <a:ext uri="{FF2B5EF4-FFF2-40B4-BE49-F238E27FC236}">
                    <a16:creationId xmlns:a16="http://schemas.microsoft.com/office/drawing/2014/main" id="{6646061B-6598-581A-0A6B-471637DD7B44}"/>
                  </a:ext>
                </a:extLst>
              </p:cNvPr>
              <p:cNvCxnSpPr>
                <a:cxnSpLocks/>
              </p:cNvCxnSpPr>
              <p:nvPr/>
            </p:nvCxnSpPr>
            <p:spPr>
              <a:xfrm rot="16200000" flipH="1">
                <a:off x="7977541" y="4795555"/>
                <a:ext cx="57551" cy="0"/>
              </a:xfrm>
              <a:prstGeom prst="line">
                <a:avLst/>
              </a:prstGeom>
              <a:noFill/>
              <a:ln w="9525" cap="flat" cmpd="sng" algn="ctr">
                <a:solidFill>
                  <a:srgbClr val="000000"/>
                </a:solidFill>
                <a:prstDash val="solid"/>
              </a:ln>
              <a:effectLst/>
            </p:spPr>
          </p:cxnSp>
          <p:cxnSp>
            <p:nvCxnSpPr>
              <p:cNvPr id="16446" name="Straight Connector 16445">
                <a:extLst>
                  <a:ext uri="{FF2B5EF4-FFF2-40B4-BE49-F238E27FC236}">
                    <a16:creationId xmlns:a16="http://schemas.microsoft.com/office/drawing/2014/main" id="{2389067C-466E-7B96-F47B-31649513FB71}"/>
                  </a:ext>
                </a:extLst>
              </p:cNvPr>
              <p:cNvCxnSpPr>
                <a:cxnSpLocks/>
              </p:cNvCxnSpPr>
              <p:nvPr/>
            </p:nvCxnSpPr>
            <p:spPr>
              <a:xfrm rot="16200000" flipH="1">
                <a:off x="8305570" y="4795555"/>
                <a:ext cx="57551" cy="0"/>
              </a:xfrm>
              <a:prstGeom prst="line">
                <a:avLst/>
              </a:prstGeom>
              <a:noFill/>
              <a:ln w="9525" cap="flat" cmpd="sng" algn="ctr">
                <a:solidFill>
                  <a:srgbClr val="000000"/>
                </a:solidFill>
                <a:prstDash val="solid"/>
              </a:ln>
              <a:effectLst/>
            </p:spPr>
          </p:cxnSp>
          <p:cxnSp>
            <p:nvCxnSpPr>
              <p:cNvPr id="16447" name="Straight Connector 16446">
                <a:extLst>
                  <a:ext uri="{FF2B5EF4-FFF2-40B4-BE49-F238E27FC236}">
                    <a16:creationId xmlns:a16="http://schemas.microsoft.com/office/drawing/2014/main" id="{9914E84C-8566-FC4D-9713-6C499B1C830A}"/>
                  </a:ext>
                </a:extLst>
              </p:cNvPr>
              <p:cNvCxnSpPr>
                <a:cxnSpLocks/>
              </p:cNvCxnSpPr>
              <p:nvPr/>
            </p:nvCxnSpPr>
            <p:spPr>
              <a:xfrm rot="16200000" flipH="1">
                <a:off x="8633599" y="4795555"/>
                <a:ext cx="57551" cy="0"/>
              </a:xfrm>
              <a:prstGeom prst="line">
                <a:avLst/>
              </a:prstGeom>
              <a:noFill/>
              <a:ln w="9525" cap="flat" cmpd="sng" algn="ctr">
                <a:solidFill>
                  <a:srgbClr val="000000"/>
                </a:solidFill>
                <a:prstDash val="solid"/>
              </a:ln>
              <a:effectLst/>
            </p:spPr>
          </p:cxnSp>
          <p:cxnSp>
            <p:nvCxnSpPr>
              <p:cNvPr id="16448" name="Straight Connector 16447">
                <a:extLst>
                  <a:ext uri="{FF2B5EF4-FFF2-40B4-BE49-F238E27FC236}">
                    <a16:creationId xmlns:a16="http://schemas.microsoft.com/office/drawing/2014/main" id="{C15FB2A9-0CD9-5DB1-C992-94F956E70D19}"/>
                  </a:ext>
                </a:extLst>
              </p:cNvPr>
              <p:cNvCxnSpPr>
                <a:cxnSpLocks/>
              </p:cNvCxnSpPr>
              <p:nvPr/>
            </p:nvCxnSpPr>
            <p:spPr>
              <a:xfrm rot="16200000" flipH="1">
                <a:off x="8961628" y="4795555"/>
                <a:ext cx="57551" cy="0"/>
              </a:xfrm>
              <a:prstGeom prst="line">
                <a:avLst/>
              </a:prstGeom>
              <a:noFill/>
              <a:ln w="9525" cap="flat" cmpd="sng" algn="ctr">
                <a:solidFill>
                  <a:srgbClr val="000000"/>
                </a:solidFill>
                <a:prstDash val="solid"/>
              </a:ln>
              <a:effectLst/>
            </p:spPr>
          </p:cxnSp>
          <p:cxnSp>
            <p:nvCxnSpPr>
              <p:cNvPr id="16449" name="Straight Connector 16448">
                <a:extLst>
                  <a:ext uri="{FF2B5EF4-FFF2-40B4-BE49-F238E27FC236}">
                    <a16:creationId xmlns:a16="http://schemas.microsoft.com/office/drawing/2014/main" id="{CA33C585-5682-2274-E7CD-9793B2BF5135}"/>
                  </a:ext>
                </a:extLst>
              </p:cNvPr>
              <p:cNvCxnSpPr>
                <a:cxnSpLocks/>
              </p:cNvCxnSpPr>
              <p:nvPr/>
            </p:nvCxnSpPr>
            <p:spPr>
              <a:xfrm rot="16200000" flipH="1">
                <a:off x="9289657" y="4795555"/>
                <a:ext cx="57551" cy="0"/>
              </a:xfrm>
              <a:prstGeom prst="line">
                <a:avLst/>
              </a:prstGeom>
              <a:noFill/>
              <a:ln w="9525" cap="flat" cmpd="sng" algn="ctr">
                <a:solidFill>
                  <a:srgbClr val="000000"/>
                </a:solidFill>
                <a:prstDash val="solid"/>
              </a:ln>
              <a:effectLst/>
            </p:spPr>
          </p:cxnSp>
          <p:cxnSp>
            <p:nvCxnSpPr>
              <p:cNvPr id="16450" name="Straight Connector 16449">
                <a:extLst>
                  <a:ext uri="{FF2B5EF4-FFF2-40B4-BE49-F238E27FC236}">
                    <a16:creationId xmlns:a16="http://schemas.microsoft.com/office/drawing/2014/main" id="{C04BA20D-0FF7-32E3-4B2A-1F1DDD276848}"/>
                  </a:ext>
                </a:extLst>
              </p:cNvPr>
              <p:cNvCxnSpPr>
                <a:cxnSpLocks/>
              </p:cNvCxnSpPr>
              <p:nvPr/>
            </p:nvCxnSpPr>
            <p:spPr>
              <a:xfrm rot="16200000" flipH="1">
                <a:off x="9617686" y="4795555"/>
                <a:ext cx="57551" cy="0"/>
              </a:xfrm>
              <a:prstGeom prst="line">
                <a:avLst/>
              </a:prstGeom>
              <a:noFill/>
              <a:ln w="9525" cap="flat" cmpd="sng" algn="ctr">
                <a:solidFill>
                  <a:srgbClr val="000000"/>
                </a:solidFill>
                <a:prstDash val="solid"/>
              </a:ln>
              <a:effectLst/>
            </p:spPr>
          </p:cxnSp>
          <p:cxnSp>
            <p:nvCxnSpPr>
              <p:cNvPr id="16451" name="Straight Connector 16450">
                <a:extLst>
                  <a:ext uri="{FF2B5EF4-FFF2-40B4-BE49-F238E27FC236}">
                    <a16:creationId xmlns:a16="http://schemas.microsoft.com/office/drawing/2014/main" id="{CF3CEDBB-5AA2-0DE5-C9C9-E8BF8F857491}"/>
                  </a:ext>
                </a:extLst>
              </p:cNvPr>
              <p:cNvCxnSpPr>
                <a:cxnSpLocks/>
              </p:cNvCxnSpPr>
              <p:nvPr/>
            </p:nvCxnSpPr>
            <p:spPr>
              <a:xfrm rot="16200000" flipH="1">
                <a:off x="9945715" y="4795555"/>
                <a:ext cx="57551" cy="0"/>
              </a:xfrm>
              <a:prstGeom prst="line">
                <a:avLst/>
              </a:prstGeom>
              <a:noFill/>
              <a:ln w="9525" cap="flat" cmpd="sng" algn="ctr">
                <a:solidFill>
                  <a:srgbClr val="000000"/>
                </a:solidFill>
                <a:prstDash val="solid"/>
              </a:ln>
              <a:effectLst/>
            </p:spPr>
          </p:cxnSp>
          <p:cxnSp>
            <p:nvCxnSpPr>
              <p:cNvPr id="16452" name="Straight Connector 16451">
                <a:extLst>
                  <a:ext uri="{FF2B5EF4-FFF2-40B4-BE49-F238E27FC236}">
                    <a16:creationId xmlns:a16="http://schemas.microsoft.com/office/drawing/2014/main" id="{0F9FD467-07C9-1F16-47AF-9FEB6B43349C}"/>
                  </a:ext>
                </a:extLst>
              </p:cNvPr>
              <p:cNvCxnSpPr>
                <a:cxnSpLocks/>
              </p:cNvCxnSpPr>
              <p:nvPr/>
            </p:nvCxnSpPr>
            <p:spPr>
              <a:xfrm rot="16200000" flipH="1">
                <a:off x="10273744" y="4795555"/>
                <a:ext cx="57551" cy="0"/>
              </a:xfrm>
              <a:prstGeom prst="line">
                <a:avLst/>
              </a:prstGeom>
              <a:noFill/>
              <a:ln w="9525" cap="flat" cmpd="sng" algn="ctr">
                <a:solidFill>
                  <a:srgbClr val="000000"/>
                </a:solidFill>
                <a:prstDash val="solid"/>
              </a:ln>
              <a:effectLst/>
            </p:spPr>
          </p:cxnSp>
          <p:cxnSp>
            <p:nvCxnSpPr>
              <p:cNvPr id="16453" name="Straight Connector 16452">
                <a:extLst>
                  <a:ext uri="{FF2B5EF4-FFF2-40B4-BE49-F238E27FC236}">
                    <a16:creationId xmlns:a16="http://schemas.microsoft.com/office/drawing/2014/main" id="{C0ADBA22-A737-F68F-F111-AA449F34D8DB}"/>
                  </a:ext>
                </a:extLst>
              </p:cNvPr>
              <p:cNvCxnSpPr>
                <a:cxnSpLocks/>
              </p:cNvCxnSpPr>
              <p:nvPr/>
            </p:nvCxnSpPr>
            <p:spPr>
              <a:xfrm rot="16200000" flipH="1">
                <a:off x="10601773" y="4795555"/>
                <a:ext cx="57551" cy="0"/>
              </a:xfrm>
              <a:prstGeom prst="line">
                <a:avLst/>
              </a:prstGeom>
              <a:noFill/>
              <a:ln w="9525" cap="flat" cmpd="sng" algn="ctr">
                <a:solidFill>
                  <a:srgbClr val="000000"/>
                </a:solidFill>
                <a:prstDash val="solid"/>
              </a:ln>
              <a:effectLst/>
            </p:spPr>
          </p:cxnSp>
          <p:cxnSp>
            <p:nvCxnSpPr>
              <p:cNvPr id="16454" name="Straight Connector 16453">
                <a:extLst>
                  <a:ext uri="{FF2B5EF4-FFF2-40B4-BE49-F238E27FC236}">
                    <a16:creationId xmlns:a16="http://schemas.microsoft.com/office/drawing/2014/main" id="{72A4C9F4-BEC0-1D4B-25B2-D613F9128493}"/>
                  </a:ext>
                </a:extLst>
              </p:cNvPr>
              <p:cNvCxnSpPr>
                <a:cxnSpLocks/>
              </p:cNvCxnSpPr>
              <p:nvPr/>
            </p:nvCxnSpPr>
            <p:spPr>
              <a:xfrm rot="16200000" flipH="1">
                <a:off x="10929802" y="4795555"/>
                <a:ext cx="57551" cy="0"/>
              </a:xfrm>
              <a:prstGeom prst="line">
                <a:avLst/>
              </a:prstGeom>
              <a:noFill/>
              <a:ln w="9525" cap="flat" cmpd="sng" algn="ctr">
                <a:solidFill>
                  <a:srgbClr val="000000"/>
                </a:solidFill>
                <a:prstDash val="solid"/>
              </a:ln>
              <a:effectLst/>
            </p:spPr>
          </p:cxnSp>
          <p:cxnSp>
            <p:nvCxnSpPr>
              <p:cNvPr id="16455" name="Straight Connector 16454">
                <a:extLst>
                  <a:ext uri="{FF2B5EF4-FFF2-40B4-BE49-F238E27FC236}">
                    <a16:creationId xmlns:a16="http://schemas.microsoft.com/office/drawing/2014/main" id="{8EEF373E-FBF4-FB0A-41DB-899AA0481E9A}"/>
                  </a:ext>
                </a:extLst>
              </p:cNvPr>
              <p:cNvCxnSpPr>
                <a:cxnSpLocks/>
              </p:cNvCxnSpPr>
              <p:nvPr/>
            </p:nvCxnSpPr>
            <p:spPr>
              <a:xfrm rot="16200000" flipH="1">
                <a:off x="11257831" y="4795555"/>
                <a:ext cx="57551" cy="0"/>
              </a:xfrm>
              <a:prstGeom prst="line">
                <a:avLst/>
              </a:prstGeom>
              <a:noFill/>
              <a:ln w="9525" cap="flat" cmpd="sng" algn="ctr">
                <a:solidFill>
                  <a:srgbClr val="000000"/>
                </a:solidFill>
                <a:prstDash val="solid"/>
              </a:ln>
              <a:effectLst/>
            </p:spPr>
          </p:cxnSp>
          <p:cxnSp>
            <p:nvCxnSpPr>
              <p:cNvPr id="16456" name="Straight Connector 16455">
                <a:extLst>
                  <a:ext uri="{FF2B5EF4-FFF2-40B4-BE49-F238E27FC236}">
                    <a16:creationId xmlns:a16="http://schemas.microsoft.com/office/drawing/2014/main" id="{FC26F521-16ED-B81C-34D9-96AB11CD16B2}"/>
                  </a:ext>
                </a:extLst>
              </p:cNvPr>
              <p:cNvCxnSpPr>
                <a:cxnSpLocks/>
              </p:cNvCxnSpPr>
              <p:nvPr/>
            </p:nvCxnSpPr>
            <p:spPr>
              <a:xfrm rot="16200000" flipH="1">
                <a:off x="11913902" y="4795556"/>
                <a:ext cx="57551" cy="0"/>
              </a:xfrm>
              <a:prstGeom prst="line">
                <a:avLst/>
              </a:prstGeom>
              <a:noFill/>
              <a:ln w="9525" cap="flat" cmpd="sng" algn="ctr">
                <a:solidFill>
                  <a:srgbClr val="000000"/>
                </a:solidFill>
                <a:prstDash val="solid"/>
              </a:ln>
              <a:effectLst/>
            </p:spPr>
          </p:cxnSp>
        </p:grpSp>
        <p:grpSp>
          <p:nvGrpSpPr>
            <p:cNvPr id="16457" name="Group 16456">
              <a:extLst>
                <a:ext uri="{FF2B5EF4-FFF2-40B4-BE49-F238E27FC236}">
                  <a16:creationId xmlns:a16="http://schemas.microsoft.com/office/drawing/2014/main" id="{67103E6F-C083-A811-68C5-8A1E902A67CD}"/>
                </a:ext>
              </a:extLst>
            </p:cNvPr>
            <p:cNvGrpSpPr/>
            <p:nvPr/>
          </p:nvGrpSpPr>
          <p:grpSpPr>
            <a:xfrm>
              <a:off x="1513677" y="4700519"/>
              <a:ext cx="9661712" cy="307778"/>
              <a:chOff x="6621364" y="4802202"/>
              <a:chExt cx="5420886" cy="263406"/>
            </a:xfrm>
          </p:grpSpPr>
          <p:sp>
            <p:nvSpPr>
              <p:cNvPr id="16458" name="TextBox 20">
                <a:extLst>
                  <a:ext uri="{FF2B5EF4-FFF2-40B4-BE49-F238E27FC236}">
                    <a16:creationId xmlns:a16="http://schemas.microsoft.com/office/drawing/2014/main" id="{E267F60E-A50C-207D-C613-6ED2E9CC6CEE}"/>
                  </a:ext>
                </a:extLst>
              </p:cNvPr>
              <p:cNvSpPr txBox="1"/>
              <p:nvPr/>
            </p:nvSpPr>
            <p:spPr>
              <a:xfrm>
                <a:off x="6621364" y="4802202"/>
                <a:ext cx="149480" cy="26340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a:t>
                </a:r>
              </a:p>
            </p:txBody>
          </p:sp>
          <p:sp>
            <p:nvSpPr>
              <p:cNvPr id="16459" name="TextBox 40">
                <a:extLst>
                  <a:ext uri="{FF2B5EF4-FFF2-40B4-BE49-F238E27FC236}">
                    <a16:creationId xmlns:a16="http://schemas.microsoft.com/office/drawing/2014/main" id="{FBDAA4B9-04D4-7A14-9D3E-B24831E1AB59}"/>
                  </a:ext>
                </a:extLst>
              </p:cNvPr>
              <p:cNvSpPr txBox="1"/>
              <p:nvPr/>
            </p:nvSpPr>
            <p:spPr>
              <a:xfrm>
                <a:off x="11518871"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sp>
            <p:nvSpPr>
              <p:cNvPr id="16460" name="TextBox 46">
                <a:extLst>
                  <a:ext uri="{FF2B5EF4-FFF2-40B4-BE49-F238E27FC236}">
                    <a16:creationId xmlns:a16="http://schemas.microsoft.com/office/drawing/2014/main" id="{0F53F1C8-B945-E518-B8FA-99DB6543CA1E}"/>
                  </a:ext>
                </a:extLst>
              </p:cNvPr>
              <p:cNvSpPr txBox="1"/>
              <p:nvPr/>
            </p:nvSpPr>
            <p:spPr>
              <a:xfrm>
                <a:off x="7277423" y="4802202"/>
                <a:ext cx="149480"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6</a:t>
                </a:r>
              </a:p>
            </p:txBody>
          </p:sp>
          <p:sp>
            <p:nvSpPr>
              <p:cNvPr id="16461" name="TextBox 49">
                <a:extLst>
                  <a:ext uri="{FF2B5EF4-FFF2-40B4-BE49-F238E27FC236}">
                    <a16:creationId xmlns:a16="http://schemas.microsoft.com/office/drawing/2014/main" id="{8951EA9C-2B6A-B3D2-B040-518892552902}"/>
                  </a:ext>
                </a:extLst>
              </p:cNvPr>
              <p:cNvSpPr txBox="1"/>
              <p:nvPr/>
            </p:nvSpPr>
            <p:spPr>
              <a:xfrm>
                <a:off x="7605453" y="4802202"/>
                <a:ext cx="149480"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9</a:t>
                </a:r>
              </a:p>
            </p:txBody>
          </p:sp>
          <p:sp>
            <p:nvSpPr>
              <p:cNvPr id="16462" name="TextBox 52">
                <a:extLst>
                  <a:ext uri="{FF2B5EF4-FFF2-40B4-BE49-F238E27FC236}">
                    <a16:creationId xmlns:a16="http://schemas.microsoft.com/office/drawing/2014/main" id="{B9172E4F-DA29-1BF7-8DA8-1D8B17D20CEA}"/>
                  </a:ext>
                </a:extLst>
              </p:cNvPr>
              <p:cNvSpPr txBox="1"/>
              <p:nvPr/>
            </p:nvSpPr>
            <p:spPr>
              <a:xfrm>
                <a:off x="7910550"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sp>
            <p:nvSpPr>
              <p:cNvPr id="16463" name="TextBox 55">
                <a:extLst>
                  <a:ext uri="{FF2B5EF4-FFF2-40B4-BE49-F238E27FC236}">
                    <a16:creationId xmlns:a16="http://schemas.microsoft.com/office/drawing/2014/main" id="{755386B6-8ADC-3D6A-5C6A-31A2D52666A0}"/>
                  </a:ext>
                </a:extLst>
              </p:cNvPr>
              <p:cNvSpPr txBox="1"/>
              <p:nvPr/>
            </p:nvSpPr>
            <p:spPr>
              <a:xfrm>
                <a:off x="8238579"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sp>
            <p:nvSpPr>
              <p:cNvPr id="16464" name="TextBox 58">
                <a:extLst>
                  <a:ext uri="{FF2B5EF4-FFF2-40B4-BE49-F238E27FC236}">
                    <a16:creationId xmlns:a16="http://schemas.microsoft.com/office/drawing/2014/main" id="{1770F3BC-39C9-68A1-3789-1893055FDFF6}"/>
                  </a:ext>
                </a:extLst>
              </p:cNvPr>
              <p:cNvSpPr txBox="1"/>
              <p:nvPr/>
            </p:nvSpPr>
            <p:spPr>
              <a:xfrm>
                <a:off x="8566609"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sp>
            <p:nvSpPr>
              <p:cNvPr id="16465" name="TextBox 61">
                <a:extLst>
                  <a:ext uri="{FF2B5EF4-FFF2-40B4-BE49-F238E27FC236}">
                    <a16:creationId xmlns:a16="http://schemas.microsoft.com/office/drawing/2014/main" id="{C4D8888D-F209-86CB-92C1-B0BC00A78944}"/>
                  </a:ext>
                </a:extLst>
              </p:cNvPr>
              <p:cNvSpPr txBox="1"/>
              <p:nvPr/>
            </p:nvSpPr>
            <p:spPr>
              <a:xfrm>
                <a:off x="8894638"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sp>
            <p:nvSpPr>
              <p:cNvPr id="16466" name="TextBox 64">
                <a:extLst>
                  <a:ext uri="{FF2B5EF4-FFF2-40B4-BE49-F238E27FC236}">
                    <a16:creationId xmlns:a16="http://schemas.microsoft.com/office/drawing/2014/main" id="{C69ACD83-B846-FA53-9FD0-A600A7394E3E}"/>
                  </a:ext>
                </a:extLst>
              </p:cNvPr>
              <p:cNvSpPr txBox="1"/>
              <p:nvPr/>
            </p:nvSpPr>
            <p:spPr>
              <a:xfrm>
                <a:off x="9222668"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sp>
            <p:nvSpPr>
              <p:cNvPr id="16467" name="TextBox 67">
                <a:extLst>
                  <a:ext uri="{FF2B5EF4-FFF2-40B4-BE49-F238E27FC236}">
                    <a16:creationId xmlns:a16="http://schemas.microsoft.com/office/drawing/2014/main" id="{78DA9581-091A-7D72-A78E-63981A8AAA09}"/>
                  </a:ext>
                </a:extLst>
              </p:cNvPr>
              <p:cNvSpPr txBox="1"/>
              <p:nvPr/>
            </p:nvSpPr>
            <p:spPr>
              <a:xfrm>
                <a:off x="9550697"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sp>
            <p:nvSpPr>
              <p:cNvPr id="16468" name="TextBox 70">
                <a:extLst>
                  <a:ext uri="{FF2B5EF4-FFF2-40B4-BE49-F238E27FC236}">
                    <a16:creationId xmlns:a16="http://schemas.microsoft.com/office/drawing/2014/main" id="{86FDE99D-1191-0BA0-CAA9-6A38AEBDC21A}"/>
                  </a:ext>
                </a:extLst>
              </p:cNvPr>
              <p:cNvSpPr txBox="1"/>
              <p:nvPr/>
            </p:nvSpPr>
            <p:spPr>
              <a:xfrm>
                <a:off x="9878726"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sp>
            <p:nvSpPr>
              <p:cNvPr id="16469" name="TextBox 73">
                <a:extLst>
                  <a:ext uri="{FF2B5EF4-FFF2-40B4-BE49-F238E27FC236}">
                    <a16:creationId xmlns:a16="http://schemas.microsoft.com/office/drawing/2014/main" id="{E678AC87-6722-28F9-C25A-9F39DE45634E}"/>
                  </a:ext>
                </a:extLst>
              </p:cNvPr>
              <p:cNvSpPr txBox="1"/>
              <p:nvPr/>
            </p:nvSpPr>
            <p:spPr>
              <a:xfrm>
                <a:off x="10206756"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sp>
            <p:nvSpPr>
              <p:cNvPr id="16470" name="TextBox 76">
                <a:extLst>
                  <a:ext uri="{FF2B5EF4-FFF2-40B4-BE49-F238E27FC236}">
                    <a16:creationId xmlns:a16="http://schemas.microsoft.com/office/drawing/2014/main" id="{4D5B8D36-5B02-B6F9-6353-5C9D1B2D50C5}"/>
                  </a:ext>
                </a:extLst>
              </p:cNvPr>
              <p:cNvSpPr txBox="1"/>
              <p:nvPr/>
            </p:nvSpPr>
            <p:spPr>
              <a:xfrm>
                <a:off x="10534785"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sp>
            <p:nvSpPr>
              <p:cNvPr id="16471" name="TextBox 79">
                <a:extLst>
                  <a:ext uri="{FF2B5EF4-FFF2-40B4-BE49-F238E27FC236}">
                    <a16:creationId xmlns:a16="http://schemas.microsoft.com/office/drawing/2014/main" id="{5642F12D-3BEF-6E1D-536D-11B5E4213471}"/>
                  </a:ext>
                </a:extLst>
              </p:cNvPr>
              <p:cNvSpPr txBox="1"/>
              <p:nvPr/>
            </p:nvSpPr>
            <p:spPr>
              <a:xfrm>
                <a:off x="10862813"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sp>
            <p:nvSpPr>
              <p:cNvPr id="16472" name="TextBox 82">
                <a:extLst>
                  <a:ext uri="{FF2B5EF4-FFF2-40B4-BE49-F238E27FC236}">
                    <a16:creationId xmlns:a16="http://schemas.microsoft.com/office/drawing/2014/main" id="{9745F318-517E-BD08-AC18-8BFC0DAAA698}"/>
                  </a:ext>
                </a:extLst>
              </p:cNvPr>
              <p:cNvSpPr txBox="1"/>
              <p:nvPr/>
            </p:nvSpPr>
            <p:spPr>
              <a:xfrm>
                <a:off x="11190844"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sp>
            <p:nvSpPr>
              <p:cNvPr id="16473" name="TextBox 46">
                <a:extLst>
                  <a:ext uri="{FF2B5EF4-FFF2-40B4-BE49-F238E27FC236}">
                    <a16:creationId xmlns:a16="http://schemas.microsoft.com/office/drawing/2014/main" id="{8311BE0C-C39D-B7C3-A618-689683F5EA86}"/>
                  </a:ext>
                </a:extLst>
              </p:cNvPr>
              <p:cNvSpPr txBox="1"/>
              <p:nvPr/>
            </p:nvSpPr>
            <p:spPr>
              <a:xfrm>
                <a:off x="6949394" y="4802202"/>
                <a:ext cx="149480"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3</a:t>
                </a:r>
              </a:p>
            </p:txBody>
          </p:sp>
          <p:sp>
            <p:nvSpPr>
              <p:cNvPr id="16474" name="TextBox 40">
                <a:extLst>
                  <a:ext uri="{FF2B5EF4-FFF2-40B4-BE49-F238E27FC236}">
                    <a16:creationId xmlns:a16="http://schemas.microsoft.com/office/drawing/2014/main" id="{FCCE3EF6-052D-5B3A-1B78-77B3F02D252B}"/>
                  </a:ext>
                </a:extLst>
              </p:cNvPr>
              <p:cNvSpPr txBox="1"/>
              <p:nvPr/>
            </p:nvSpPr>
            <p:spPr>
              <a:xfrm>
                <a:off x="11846901" y="4802202"/>
                <a:ext cx="195349" cy="26340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48</a:t>
                </a:r>
              </a:p>
            </p:txBody>
          </p:sp>
        </p:grpSp>
        <p:grpSp>
          <p:nvGrpSpPr>
            <p:cNvPr id="3" name="Group 2">
              <a:extLst>
                <a:ext uri="{FF2B5EF4-FFF2-40B4-BE49-F238E27FC236}">
                  <a16:creationId xmlns:a16="http://schemas.microsoft.com/office/drawing/2014/main" id="{A22BB363-1C7C-25C5-1466-4F92C6B998C3}"/>
                </a:ext>
              </a:extLst>
            </p:cNvPr>
            <p:cNvGrpSpPr/>
            <p:nvPr/>
          </p:nvGrpSpPr>
          <p:grpSpPr>
            <a:xfrm>
              <a:off x="1619742" y="1563017"/>
              <a:ext cx="9209419" cy="1635357"/>
              <a:chOff x="908787" y="2103752"/>
              <a:chExt cx="5167119" cy="1399596"/>
            </a:xfrm>
          </p:grpSpPr>
          <p:sp>
            <p:nvSpPr>
              <p:cNvPr id="17481" name="Freeform: Shape 17480">
                <a:extLst>
                  <a:ext uri="{FF2B5EF4-FFF2-40B4-BE49-F238E27FC236}">
                    <a16:creationId xmlns:a16="http://schemas.microsoft.com/office/drawing/2014/main" id="{4C956EF1-0CF4-3629-0F7A-3CCE3600ED6C}"/>
                  </a:ext>
                </a:extLst>
              </p:cNvPr>
              <p:cNvSpPr/>
              <p:nvPr/>
            </p:nvSpPr>
            <p:spPr>
              <a:xfrm>
                <a:off x="943072" y="2111358"/>
                <a:ext cx="5098448" cy="1354026"/>
              </a:xfrm>
              <a:custGeom>
                <a:avLst/>
                <a:gdLst>
                  <a:gd name="connsiteX0" fmla="*/ 0 w 5098448"/>
                  <a:gd name="connsiteY0" fmla="*/ 0 h 1339215"/>
                  <a:gd name="connsiteX1" fmla="*/ 0 w 5098448"/>
                  <a:gd name="connsiteY1" fmla="*/ 30265 h 1339215"/>
                  <a:gd name="connsiteX2" fmla="*/ 36028 w 5098448"/>
                  <a:gd name="connsiteY2" fmla="*/ 30265 h 1339215"/>
                  <a:gd name="connsiteX3" fmla="*/ 36028 w 5098448"/>
                  <a:gd name="connsiteY3" fmla="*/ 64086 h 1339215"/>
                  <a:gd name="connsiteX4" fmla="*/ 88196 w 5098448"/>
                  <a:gd name="connsiteY4" fmla="*/ 64086 h 1339215"/>
                  <a:gd name="connsiteX5" fmla="*/ 88196 w 5098448"/>
                  <a:gd name="connsiteY5" fmla="*/ 74754 h 1339215"/>
                  <a:gd name="connsiteX6" fmla="*/ 300539 w 5098448"/>
                  <a:gd name="connsiteY6" fmla="*/ 74754 h 1339215"/>
                  <a:gd name="connsiteX7" fmla="*/ 300539 w 5098448"/>
                  <a:gd name="connsiteY7" fmla="*/ 87238 h 1339215"/>
                  <a:gd name="connsiteX8" fmla="*/ 347352 w 5098448"/>
                  <a:gd name="connsiteY8" fmla="*/ 87238 h 1339215"/>
                  <a:gd name="connsiteX9" fmla="*/ 347352 w 5098448"/>
                  <a:gd name="connsiteY9" fmla="*/ 129079 h 1339215"/>
                  <a:gd name="connsiteX10" fmla="*/ 477848 w 5098448"/>
                  <a:gd name="connsiteY10" fmla="*/ 129079 h 1339215"/>
                  <a:gd name="connsiteX11" fmla="*/ 477848 w 5098448"/>
                  <a:gd name="connsiteY11" fmla="*/ 150416 h 1339215"/>
                  <a:gd name="connsiteX12" fmla="*/ 538124 w 5098448"/>
                  <a:gd name="connsiteY12" fmla="*/ 150416 h 1339215"/>
                  <a:gd name="connsiteX13" fmla="*/ 538124 w 5098448"/>
                  <a:gd name="connsiteY13" fmla="*/ 163581 h 1339215"/>
                  <a:gd name="connsiteX14" fmla="*/ 598477 w 5098448"/>
                  <a:gd name="connsiteY14" fmla="*/ 163581 h 1339215"/>
                  <a:gd name="connsiteX15" fmla="*/ 598477 w 5098448"/>
                  <a:gd name="connsiteY15" fmla="*/ 194905 h 1339215"/>
                  <a:gd name="connsiteX16" fmla="*/ 694704 w 5098448"/>
                  <a:gd name="connsiteY16" fmla="*/ 194905 h 1339215"/>
                  <a:gd name="connsiteX17" fmla="*/ 694704 w 5098448"/>
                  <a:gd name="connsiteY17" fmla="*/ 232358 h 1339215"/>
                  <a:gd name="connsiteX18" fmla="*/ 726219 w 5098448"/>
                  <a:gd name="connsiteY18" fmla="*/ 232358 h 1339215"/>
                  <a:gd name="connsiteX19" fmla="*/ 726219 w 5098448"/>
                  <a:gd name="connsiteY19" fmla="*/ 251046 h 1339215"/>
                  <a:gd name="connsiteX20" fmla="*/ 778846 w 5098448"/>
                  <a:gd name="connsiteY20" fmla="*/ 251046 h 1339215"/>
                  <a:gd name="connsiteX21" fmla="*/ 778846 w 5098448"/>
                  <a:gd name="connsiteY21" fmla="*/ 273745 h 1339215"/>
                  <a:gd name="connsiteX22" fmla="*/ 795062 w 5098448"/>
                  <a:gd name="connsiteY22" fmla="*/ 273745 h 1339215"/>
                  <a:gd name="connsiteX23" fmla="*/ 795062 w 5098448"/>
                  <a:gd name="connsiteY23" fmla="*/ 289709 h 1339215"/>
                  <a:gd name="connsiteX24" fmla="*/ 842334 w 5098448"/>
                  <a:gd name="connsiteY24" fmla="*/ 289709 h 1339215"/>
                  <a:gd name="connsiteX25" fmla="*/ 842334 w 5098448"/>
                  <a:gd name="connsiteY25" fmla="*/ 315132 h 1339215"/>
                  <a:gd name="connsiteX26" fmla="*/ 989429 w 5098448"/>
                  <a:gd name="connsiteY26" fmla="*/ 315132 h 1339215"/>
                  <a:gd name="connsiteX27" fmla="*/ 989429 w 5098448"/>
                  <a:gd name="connsiteY27" fmla="*/ 353795 h 1339215"/>
                  <a:gd name="connsiteX28" fmla="*/ 1052918 w 5098448"/>
                  <a:gd name="connsiteY28" fmla="*/ 353795 h 1339215"/>
                  <a:gd name="connsiteX29" fmla="*/ 1052918 w 5098448"/>
                  <a:gd name="connsiteY29" fmla="*/ 385876 h 1339215"/>
                  <a:gd name="connsiteX30" fmla="*/ 1104168 w 5098448"/>
                  <a:gd name="connsiteY30" fmla="*/ 385876 h 1339215"/>
                  <a:gd name="connsiteX31" fmla="*/ 1104168 w 5098448"/>
                  <a:gd name="connsiteY31" fmla="*/ 407212 h 1339215"/>
                  <a:gd name="connsiteX32" fmla="*/ 1166280 w 5098448"/>
                  <a:gd name="connsiteY32" fmla="*/ 407212 h 1339215"/>
                  <a:gd name="connsiteX33" fmla="*/ 1166280 w 5098448"/>
                  <a:gd name="connsiteY33" fmla="*/ 449961 h 1339215"/>
                  <a:gd name="connsiteX34" fmla="*/ 1271610 w 5098448"/>
                  <a:gd name="connsiteY34" fmla="*/ 449961 h 1339215"/>
                  <a:gd name="connsiteX35" fmla="*/ 1271610 w 5098448"/>
                  <a:gd name="connsiteY35" fmla="*/ 474022 h 1339215"/>
                  <a:gd name="connsiteX36" fmla="*/ 1391703 w 5098448"/>
                  <a:gd name="connsiteY36" fmla="*/ 474022 h 1339215"/>
                  <a:gd name="connsiteX37" fmla="*/ 1391703 w 5098448"/>
                  <a:gd name="connsiteY37" fmla="*/ 527439 h 1339215"/>
                  <a:gd name="connsiteX38" fmla="*/ 1457869 w 5098448"/>
                  <a:gd name="connsiteY38" fmla="*/ 527439 h 1339215"/>
                  <a:gd name="connsiteX39" fmla="*/ 1457869 w 5098448"/>
                  <a:gd name="connsiteY39" fmla="*/ 578133 h 1339215"/>
                  <a:gd name="connsiteX40" fmla="*/ 1498333 w 5098448"/>
                  <a:gd name="connsiteY40" fmla="*/ 578133 h 1339215"/>
                  <a:gd name="connsiteX41" fmla="*/ 1498333 w 5098448"/>
                  <a:gd name="connsiteY41" fmla="*/ 595535 h 1339215"/>
                  <a:gd name="connsiteX42" fmla="*/ 1526712 w 5098448"/>
                  <a:gd name="connsiteY42" fmla="*/ 595535 h 1339215"/>
                  <a:gd name="connsiteX43" fmla="*/ 1526712 w 5098448"/>
                  <a:gd name="connsiteY43" fmla="*/ 623530 h 1339215"/>
                  <a:gd name="connsiteX44" fmla="*/ 1561822 w 5098448"/>
                  <a:gd name="connsiteY44" fmla="*/ 623530 h 1339215"/>
                  <a:gd name="connsiteX45" fmla="*/ 1561822 w 5098448"/>
                  <a:gd name="connsiteY45" fmla="*/ 642218 h 1339215"/>
                  <a:gd name="connsiteX46" fmla="*/ 1621180 w 5098448"/>
                  <a:gd name="connsiteY46" fmla="*/ 642218 h 1339215"/>
                  <a:gd name="connsiteX47" fmla="*/ 1621180 w 5098448"/>
                  <a:gd name="connsiteY47" fmla="*/ 671575 h 1339215"/>
                  <a:gd name="connsiteX48" fmla="*/ 1694077 w 5098448"/>
                  <a:gd name="connsiteY48" fmla="*/ 671575 h 1339215"/>
                  <a:gd name="connsiteX49" fmla="*/ 1694077 w 5098448"/>
                  <a:gd name="connsiteY49" fmla="*/ 716972 h 1339215"/>
                  <a:gd name="connsiteX50" fmla="*/ 1729187 w 5098448"/>
                  <a:gd name="connsiteY50" fmla="*/ 716972 h 1339215"/>
                  <a:gd name="connsiteX51" fmla="*/ 1729187 w 5098448"/>
                  <a:gd name="connsiteY51" fmla="*/ 747691 h 1339215"/>
                  <a:gd name="connsiteX52" fmla="*/ 1776460 w 5098448"/>
                  <a:gd name="connsiteY52" fmla="*/ 747691 h 1339215"/>
                  <a:gd name="connsiteX53" fmla="*/ 1776460 w 5098448"/>
                  <a:gd name="connsiteY53" fmla="*/ 766379 h 1339215"/>
                  <a:gd name="connsiteX54" fmla="*/ 1864196 w 5098448"/>
                  <a:gd name="connsiteY54" fmla="*/ 766379 h 1339215"/>
                  <a:gd name="connsiteX55" fmla="*/ 1864196 w 5098448"/>
                  <a:gd name="connsiteY55" fmla="*/ 799822 h 1339215"/>
                  <a:gd name="connsiteX56" fmla="*/ 1927609 w 5098448"/>
                  <a:gd name="connsiteY56" fmla="*/ 799822 h 1339215"/>
                  <a:gd name="connsiteX57" fmla="*/ 1927609 w 5098448"/>
                  <a:gd name="connsiteY57" fmla="*/ 815333 h 1339215"/>
                  <a:gd name="connsiteX58" fmla="*/ 1991021 w 5098448"/>
                  <a:gd name="connsiteY58" fmla="*/ 815333 h 1339215"/>
                  <a:gd name="connsiteX59" fmla="*/ 1991021 w 5098448"/>
                  <a:gd name="connsiteY59" fmla="*/ 837199 h 1339215"/>
                  <a:gd name="connsiteX60" fmla="*/ 2132761 w 5098448"/>
                  <a:gd name="connsiteY60" fmla="*/ 837199 h 1339215"/>
                  <a:gd name="connsiteX61" fmla="*/ 2132761 w 5098448"/>
                  <a:gd name="connsiteY61" fmla="*/ 845219 h 1339215"/>
                  <a:gd name="connsiteX62" fmla="*/ 2229983 w 5098448"/>
                  <a:gd name="connsiteY62" fmla="*/ 845219 h 1339215"/>
                  <a:gd name="connsiteX63" fmla="*/ 2229983 w 5098448"/>
                  <a:gd name="connsiteY63" fmla="*/ 882596 h 1339215"/>
                  <a:gd name="connsiteX64" fmla="*/ 2275878 w 5098448"/>
                  <a:gd name="connsiteY64" fmla="*/ 882596 h 1339215"/>
                  <a:gd name="connsiteX65" fmla="*/ 2275878 w 5098448"/>
                  <a:gd name="connsiteY65" fmla="*/ 901284 h 1339215"/>
                  <a:gd name="connsiteX66" fmla="*/ 2336613 w 5098448"/>
                  <a:gd name="connsiteY66" fmla="*/ 901284 h 1339215"/>
                  <a:gd name="connsiteX67" fmla="*/ 2336613 w 5098448"/>
                  <a:gd name="connsiteY67" fmla="*/ 926631 h 1339215"/>
                  <a:gd name="connsiteX68" fmla="*/ 2406833 w 5098448"/>
                  <a:gd name="connsiteY68" fmla="*/ 926631 h 1339215"/>
                  <a:gd name="connsiteX69" fmla="*/ 2406833 w 5098448"/>
                  <a:gd name="connsiteY69" fmla="*/ 964008 h 1339215"/>
                  <a:gd name="connsiteX70" fmla="*/ 2464891 w 5098448"/>
                  <a:gd name="connsiteY70" fmla="*/ 964008 h 1339215"/>
                  <a:gd name="connsiteX71" fmla="*/ 2464891 w 5098448"/>
                  <a:gd name="connsiteY71" fmla="*/ 1004109 h 1339215"/>
                  <a:gd name="connsiteX72" fmla="*/ 2601201 w 5098448"/>
                  <a:gd name="connsiteY72" fmla="*/ 1004109 h 1339215"/>
                  <a:gd name="connsiteX73" fmla="*/ 2601201 w 5098448"/>
                  <a:gd name="connsiteY73" fmla="*/ 1046782 h 1339215"/>
                  <a:gd name="connsiteX74" fmla="*/ 2688937 w 5098448"/>
                  <a:gd name="connsiteY74" fmla="*/ 1046782 h 1339215"/>
                  <a:gd name="connsiteX75" fmla="*/ 2688937 w 5098448"/>
                  <a:gd name="connsiteY75" fmla="*/ 1070843 h 1339215"/>
                  <a:gd name="connsiteX76" fmla="*/ 2761835 w 5098448"/>
                  <a:gd name="connsiteY76" fmla="*/ 1070843 h 1339215"/>
                  <a:gd name="connsiteX77" fmla="*/ 2761835 w 5098448"/>
                  <a:gd name="connsiteY77" fmla="*/ 1085521 h 1339215"/>
                  <a:gd name="connsiteX78" fmla="*/ 2832055 w 5098448"/>
                  <a:gd name="connsiteY78" fmla="*/ 1085521 h 1339215"/>
                  <a:gd name="connsiteX79" fmla="*/ 2832055 w 5098448"/>
                  <a:gd name="connsiteY79" fmla="*/ 1104210 h 1339215"/>
                  <a:gd name="connsiteX80" fmla="*/ 2948094 w 5098448"/>
                  <a:gd name="connsiteY80" fmla="*/ 1104210 h 1339215"/>
                  <a:gd name="connsiteX81" fmla="*/ 2948094 w 5098448"/>
                  <a:gd name="connsiteY81" fmla="*/ 1130918 h 1339215"/>
                  <a:gd name="connsiteX82" fmla="*/ 3052047 w 5098448"/>
                  <a:gd name="connsiteY82" fmla="*/ 1130918 h 1339215"/>
                  <a:gd name="connsiteX83" fmla="*/ 3052047 w 5098448"/>
                  <a:gd name="connsiteY83" fmla="*/ 1164285 h 1339215"/>
                  <a:gd name="connsiteX84" fmla="*/ 3079049 w 5098448"/>
                  <a:gd name="connsiteY84" fmla="*/ 1164285 h 1339215"/>
                  <a:gd name="connsiteX85" fmla="*/ 3079049 w 5098448"/>
                  <a:gd name="connsiteY85" fmla="*/ 1192356 h 1339215"/>
                  <a:gd name="connsiteX86" fmla="*/ 3269362 w 5098448"/>
                  <a:gd name="connsiteY86" fmla="*/ 1192356 h 1339215"/>
                  <a:gd name="connsiteX87" fmla="*/ 3269362 w 5098448"/>
                  <a:gd name="connsiteY87" fmla="*/ 1205672 h 1339215"/>
                  <a:gd name="connsiteX88" fmla="*/ 3362529 w 5098448"/>
                  <a:gd name="connsiteY88" fmla="*/ 1205672 h 1339215"/>
                  <a:gd name="connsiteX89" fmla="*/ 3362529 w 5098448"/>
                  <a:gd name="connsiteY89" fmla="*/ 1225723 h 1339215"/>
                  <a:gd name="connsiteX90" fmla="*/ 3593307 w 5098448"/>
                  <a:gd name="connsiteY90" fmla="*/ 1225723 h 1339215"/>
                  <a:gd name="connsiteX91" fmla="*/ 3593307 w 5098448"/>
                  <a:gd name="connsiteY91" fmla="*/ 1249783 h 1339215"/>
                  <a:gd name="connsiteX92" fmla="*/ 3673012 w 5098448"/>
                  <a:gd name="connsiteY92" fmla="*/ 1249783 h 1339215"/>
                  <a:gd name="connsiteX93" fmla="*/ 3673012 w 5098448"/>
                  <a:gd name="connsiteY93" fmla="*/ 1275130 h 1339215"/>
                  <a:gd name="connsiteX94" fmla="*/ 3864702 w 5098448"/>
                  <a:gd name="connsiteY94" fmla="*/ 1275130 h 1339215"/>
                  <a:gd name="connsiteX95" fmla="*/ 3864702 w 5098448"/>
                  <a:gd name="connsiteY95" fmla="*/ 1305849 h 1339215"/>
                  <a:gd name="connsiteX96" fmla="*/ 4053638 w 5098448"/>
                  <a:gd name="connsiteY96" fmla="*/ 1305849 h 1339215"/>
                  <a:gd name="connsiteX97" fmla="*/ 4053638 w 5098448"/>
                  <a:gd name="connsiteY97" fmla="*/ 1339215 h 1339215"/>
                  <a:gd name="connsiteX98" fmla="*/ 5098448 w 5098448"/>
                  <a:gd name="connsiteY98" fmla="*/ 1339215 h 133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098448" h="1339215">
                    <a:moveTo>
                      <a:pt x="0" y="0"/>
                    </a:moveTo>
                    <a:lnTo>
                      <a:pt x="0" y="30265"/>
                    </a:lnTo>
                    <a:lnTo>
                      <a:pt x="36028" y="30265"/>
                    </a:lnTo>
                    <a:lnTo>
                      <a:pt x="36028" y="64086"/>
                    </a:lnTo>
                    <a:lnTo>
                      <a:pt x="88196" y="64086"/>
                    </a:lnTo>
                    <a:lnTo>
                      <a:pt x="88196" y="74754"/>
                    </a:lnTo>
                    <a:lnTo>
                      <a:pt x="300539" y="74754"/>
                    </a:lnTo>
                    <a:lnTo>
                      <a:pt x="300539" y="87238"/>
                    </a:lnTo>
                    <a:lnTo>
                      <a:pt x="347352" y="87238"/>
                    </a:lnTo>
                    <a:lnTo>
                      <a:pt x="347352" y="129079"/>
                    </a:lnTo>
                    <a:lnTo>
                      <a:pt x="477848" y="129079"/>
                    </a:lnTo>
                    <a:lnTo>
                      <a:pt x="477848" y="150416"/>
                    </a:lnTo>
                    <a:lnTo>
                      <a:pt x="538124" y="150416"/>
                    </a:lnTo>
                    <a:lnTo>
                      <a:pt x="538124" y="163581"/>
                    </a:lnTo>
                    <a:lnTo>
                      <a:pt x="598477" y="163581"/>
                    </a:lnTo>
                    <a:lnTo>
                      <a:pt x="598477" y="194905"/>
                    </a:lnTo>
                    <a:lnTo>
                      <a:pt x="694704" y="194905"/>
                    </a:lnTo>
                    <a:lnTo>
                      <a:pt x="694704" y="232358"/>
                    </a:lnTo>
                    <a:lnTo>
                      <a:pt x="726219" y="232358"/>
                    </a:lnTo>
                    <a:lnTo>
                      <a:pt x="726219" y="251046"/>
                    </a:lnTo>
                    <a:lnTo>
                      <a:pt x="778846" y="251046"/>
                    </a:lnTo>
                    <a:lnTo>
                      <a:pt x="778846" y="273745"/>
                    </a:lnTo>
                    <a:lnTo>
                      <a:pt x="795062" y="273745"/>
                    </a:lnTo>
                    <a:lnTo>
                      <a:pt x="795062" y="289709"/>
                    </a:lnTo>
                    <a:lnTo>
                      <a:pt x="842334" y="289709"/>
                    </a:lnTo>
                    <a:lnTo>
                      <a:pt x="842334" y="315132"/>
                    </a:lnTo>
                    <a:lnTo>
                      <a:pt x="989429" y="315132"/>
                    </a:lnTo>
                    <a:lnTo>
                      <a:pt x="989429" y="353795"/>
                    </a:lnTo>
                    <a:lnTo>
                      <a:pt x="1052918" y="353795"/>
                    </a:lnTo>
                    <a:lnTo>
                      <a:pt x="1052918" y="385876"/>
                    </a:lnTo>
                    <a:lnTo>
                      <a:pt x="1104168" y="385876"/>
                    </a:lnTo>
                    <a:lnTo>
                      <a:pt x="1104168" y="407212"/>
                    </a:lnTo>
                    <a:lnTo>
                      <a:pt x="1166280" y="407212"/>
                    </a:lnTo>
                    <a:lnTo>
                      <a:pt x="1166280" y="449961"/>
                    </a:lnTo>
                    <a:lnTo>
                      <a:pt x="1271610" y="449961"/>
                    </a:lnTo>
                    <a:lnTo>
                      <a:pt x="1271610" y="474022"/>
                    </a:lnTo>
                    <a:lnTo>
                      <a:pt x="1391703" y="474022"/>
                    </a:lnTo>
                    <a:lnTo>
                      <a:pt x="1391703" y="527439"/>
                    </a:lnTo>
                    <a:lnTo>
                      <a:pt x="1457869" y="527439"/>
                    </a:lnTo>
                    <a:lnTo>
                      <a:pt x="1457869" y="578133"/>
                    </a:lnTo>
                    <a:lnTo>
                      <a:pt x="1498333" y="578133"/>
                    </a:lnTo>
                    <a:lnTo>
                      <a:pt x="1498333" y="595535"/>
                    </a:lnTo>
                    <a:lnTo>
                      <a:pt x="1526712" y="595535"/>
                    </a:lnTo>
                    <a:lnTo>
                      <a:pt x="1526712" y="623530"/>
                    </a:lnTo>
                    <a:lnTo>
                      <a:pt x="1561822" y="623530"/>
                    </a:lnTo>
                    <a:lnTo>
                      <a:pt x="1561822" y="642218"/>
                    </a:lnTo>
                    <a:lnTo>
                      <a:pt x="1621180" y="642218"/>
                    </a:lnTo>
                    <a:lnTo>
                      <a:pt x="1621180" y="671575"/>
                    </a:lnTo>
                    <a:lnTo>
                      <a:pt x="1694077" y="671575"/>
                    </a:lnTo>
                    <a:lnTo>
                      <a:pt x="1694077" y="716972"/>
                    </a:lnTo>
                    <a:lnTo>
                      <a:pt x="1729187" y="716972"/>
                    </a:lnTo>
                    <a:lnTo>
                      <a:pt x="1729187" y="747691"/>
                    </a:lnTo>
                    <a:lnTo>
                      <a:pt x="1776460" y="747691"/>
                    </a:lnTo>
                    <a:lnTo>
                      <a:pt x="1776460" y="766379"/>
                    </a:lnTo>
                    <a:lnTo>
                      <a:pt x="1864196" y="766379"/>
                    </a:lnTo>
                    <a:lnTo>
                      <a:pt x="1864196" y="799822"/>
                    </a:lnTo>
                    <a:lnTo>
                      <a:pt x="1927609" y="799822"/>
                    </a:lnTo>
                    <a:lnTo>
                      <a:pt x="1927609" y="815333"/>
                    </a:lnTo>
                    <a:lnTo>
                      <a:pt x="1991021" y="815333"/>
                    </a:lnTo>
                    <a:lnTo>
                      <a:pt x="1991021" y="837199"/>
                    </a:lnTo>
                    <a:lnTo>
                      <a:pt x="2132761" y="837199"/>
                    </a:lnTo>
                    <a:lnTo>
                      <a:pt x="2132761" y="845219"/>
                    </a:lnTo>
                    <a:lnTo>
                      <a:pt x="2229983" y="845219"/>
                    </a:lnTo>
                    <a:lnTo>
                      <a:pt x="2229983" y="882596"/>
                    </a:lnTo>
                    <a:lnTo>
                      <a:pt x="2275878" y="882596"/>
                    </a:lnTo>
                    <a:lnTo>
                      <a:pt x="2275878" y="901284"/>
                    </a:lnTo>
                    <a:lnTo>
                      <a:pt x="2336613" y="901284"/>
                    </a:lnTo>
                    <a:lnTo>
                      <a:pt x="2336613" y="926631"/>
                    </a:lnTo>
                    <a:lnTo>
                      <a:pt x="2406833" y="926631"/>
                    </a:lnTo>
                    <a:lnTo>
                      <a:pt x="2406833" y="964008"/>
                    </a:lnTo>
                    <a:lnTo>
                      <a:pt x="2464891" y="964008"/>
                    </a:lnTo>
                    <a:lnTo>
                      <a:pt x="2464891" y="1004109"/>
                    </a:lnTo>
                    <a:lnTo>
                      <a:pt x="2601201" y="1004109"/>
                    </a:lnTo>
                    <a:lnTo>
                      <a:pt x="2601201" y="1046782"/>
                    </a:lnTo>
                    <a:lnTo>
                      <a:pt x="2688937" y="1046782"/>
                    </a:lnTo>
                    <a:lnTo>
                      <a:pt x="2688937" y="1070843"/>
                    </a:lnTo>
                    <a:lnTo>
                      <a:pt x="2761835" y="1070843"/>
                    </a:lnTo>
                    <a:lnTo>
                      <a:pt x="2761835" y="1085521"/>
                    </a:lnTo>
                    <a:lnTo>
                      <a:pt x="2832055" y="1085521"/>
                    </a:lnTo>
                    <a:lnTo>
                      <a:pt x="2832055" y="1104210"/>
                    </a:lnTo>
                    <a:lnTo>
                      <a:pt x="2948094" y="1104210"/>
                    </a:lnTo>
                    <a:lnTo>
                      <a:pt x="2948094" y="1130918"/>
                    </a:lnTo>
                    <a:lnTo>
                      <a:pt x="3052047" y="1130918"/>
                    </a:lnTo>
                    <a:lnTo>
                      <a:pt x="3052047" y="1164285"/>
                    </a:lnTo>
                    <a:lnTo>
                      <a:pt x="3079049" y="1164285"/>
                    </a:lnTo>
                    <a:lnTo>
                      <a:pt x="3079049" y="1192356"/>
                    </a:lnTo>
                    <a:lnTo>
                      <a:pt x="3269362" y="1192356"/>
                    </a:lnTo>
                    <a:lnTo>
                      <a:pt x="3269362" y="1205672"/>
                    </a:lnTo>
                    <a:lnTo>
                      <a:pt x="3362529" y="1205672"/>
                    </a:lnTo>
                    <a:lnTo>
                      <a:pt x="3362529" y="1225723"/>
                    </a:lnTo>
                    <a:lnTo>
                      <a:pt x="3593307" y="1225723"/>
                    </a:lnTo>
                    <a:lnTo>
                      <a:pt x="3593307" y="1249783"/>
                    </a:lnTo>
                    <a:lnTo>
                      <a:pt x="3673012" y="1249783"/>
                    </a:lnTo>
                    <a:lnTo>
                      <a:pt x="3673012" y="1275130"/>
                    </a:lnTo>
                    <a:lnTo>
                      <a:pt x="3864702" y="1275130"/>
                    </a:lnTo>
                    <a:lnTo>
                      <a:pt x="3864702" y="1305849"/>
                    </a:lnTo>
                    <a:lnTo>
                      <a:pt x="4053638" y="1305849"/>
                    </a:lnTo>
                    <a:lnTo>
                      <a:pt x="4053638" y="1339215"/>
                    </a:lnTo>
                    <a:lnTo>
                      <a:pt x="5098448" y="1339215"/>
                    </a:lnTo>
                  </a:path>
                </a:pathLst>
              </a:custGeom>
              <a:noFill/>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7485" name="Group 17484">
                <a:extLst>
                  <a:ext uri="{FF2B5EF4-FFF2-40B4-BE49-F238E27FC236}">
                    <a16:creationId xmlns:a16="http://schemas.microsoft.com/office/drawing/2014/main" id="{D623E05A-520A-2919-80E3-22F6F1AA6BD7}"/>
                  </a:ext>
                </a:extLst>
              </p:cNvPr>
              <p:cNvGrpSpPr/>
              <p:nvPr/>
            </p:nvGrpSpPr>
            <p:grpSpPr>
              <a:xfrm>
                <a:off x="908787" y="2103752"/>
                <a:ext cx="5167119" cy="1399596"/>
                <a:chOff x="6680876" y="2117036"/>
                <a:chExt cx="5167119" cy="1399596"/>
              </a:xfrm>
            </p:grpSpPr>
            <p:grpSp>
              <p:nvGrpSpPr>
                <p:cNvPr id="17486" name="Group 17485">
                  <a:extLst>
                    <a:ext uri="{FF2B5EF4-FFF2-40B4-BE49-F238E27FC236}">
                      <a16:creationId xmlns:a16="http://schemas.microsoft.com/office/drawing/2014/main" id="{AD91A245-588F-2E6D-FC3F-0DDD5AAD7FFB}"/>
                    </a:ext>
                  </a:extLst>
                </p:cNvPr>
                <p:cNvGrpSpPr/>
                <p:nvPr/>
              </p:nvGrpSpPr>
              <p:grpSpPr>
                <a:xfrm>
                  <a:off x="6680876" y="2117036"/>
                  <a:ext cx="71148" cy="71238"/>
                  <a:chOff x="6005114" y="3701354"/>
                  <a:chExt cx="71148" cy="71238"/>
                </a:xfrm>
              </p:grpSpPr>
              <p:sp>
                <p:nvSpPr>
                  <p:cNvPr id="17892" name="Freeform: Shape 17891">
                    <a:extLst>
                      <a:ext uri="{FF2B5EF4-FFF2-40B4-BE49-F238E27FC236}">
                        <a16:creationId xmlns:a16="http://schemas.microsoft.com/office/drawing/2014/main" id="{11BE3FB1-C2AE-DAA0-8F5E-5F137728DC3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93" name="Freeform: Shape 17892">
                    <a:extLst>
                      <a:ext uri="{FF2B5EF4-FFF2-40B4-BE49-F238E27FC236}">
                        <a16:creationId xmlns:a16="http://schemas.microsoft.com/office/drawing/2014/main" id="{4A914679-70D5-4101-D4F8-3C926F89F2E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87" name="Group 17486">
                  <a:extLst>
                    <a:ext uri="{FF2B5EF4-FFF2-40B4-BE49-F238E27FC236}">
                      <a16:creationId xmlns:a16="http://schemas.microsoft.com/office/drawing/2014/main" id="{B1D1832E-8AC9-893D-6CDC-D1E86F14FA0D}"/>
                    </a:ext>
                  </a:extLst>
                </p:cNvPr>
                <p:cNvGrpSpPr/>
                <p:nvPr/>
              </p:nvGrpSpPr>
              <p:grpSpPr>
                <a:xfrm>
                  <a:off x="6744259" y="2165685"/>
                  <a:ext cx="71148" cy="71238"/>
                  <a:chOff x="6005114" y="3701354"/>
                  <a:chExt cx="71148" cy="71238"/>
                </a:xfrm>
              </p:grpSpPr>
              <p:sp>
                <p:nvSpPr>
                  <p:cNvPr id="17890" name="Freeform: Shape 17889">
                    <a:extLst>
                      <a:ext uri="{FF2B5EF4-FFF2-40B4-BE49-F238E27FC236}">
                        <a16:creationId xmlns:a16="http://schemas.microsoft.com/office/drawing/2014/main" id="{E8E148C2-38A8-57D3-41E1-E657868ACF5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91" name="Freeform: Shape 17890">
                    <a:extLst>
                      <a:ext uri="{FF2B5EF4-FFF2-40B4-BE49-F238E27FC236}">
                        <a16:creationId xmlns:a16="http://schemas.microsoft.com/office/drawing/2014/main" id="{BCD3D81A-7706-B5A2-6A0B-705FD30ECCA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88" name="Group 17487">
                  <a:extLst>
                    <a:ext uri="{FF2B5EF4-FFF2-40B4-BE49-F238E27FC236}">
                      <a16:creationId xmlns:a16="http://schemas.microsoft.com/office/drawing/2014/main" id="{EDE41F2F-08DE-4412-159F-ECC649D54183}"/>
                    </a:ext>
                  </a:extLst>
                </p:cNvPr>
                <p:cNvGrpSpPr/>
                <p:nvPr/>
              </p:nvGrpSpPr>
              <p:grpSpPr>
                <a:xfrm>
                  <a:off x="6873757" y="2165685"/>
                  <a:ext cx="71148" cy="71238"/>
                  <a:chOff x="6005114" y="3701354"/>
                  <a:chExt cx="71148" cy="71238"/>
                </a:xfrm>
              </p:grpSpPr>
              <p:sp>
                <p:nvSpPr>
                  <p:cNvPr id="17888" name="Freeform: Shape 17887">
                    <a:extLst>
                      <a:ext uri="{FF2B5EF4-FFF2-40B4-BE49-F238E27FC236}">
                        <a16:creationId xmlns:a16="http://schemas.microsoft.com/office/drawing/2014/main" id="{3098B009-4F8B-816C-822C-F3A658CB3D8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89" name="Freeform: Shape 17888">
                    <a:extLst>
                      <a:ext uri="{FF2B5EF4-FFF2-40B4-BE49-F238E27FC236}">
                        <a16:creationId xmlns:a16="http://schemas.microsoft.com/office/drawing/2014/main" id="{4ADCF8CF-E730-3235-D483-402B44529D6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89" name="Group 17488">
                  <a:extLst>
                    <a:ext uri="{FF2B5EF4-FFF2-40B4-BE49-F238E27FC236}">
                      <a16:creationId xmlns:a16="http://schemas.microsoft.com/office/drawing/2014/main" id="{BB7C78B9-BFA2-DFFB-5E14-36AF93D93729}"/>
                    </a:ext>
                  </a:extLst>
                </p:cNvPr>
                <p:cNvGrpSpPr/>
                <p:nvPr/>
              </p:nvGrpSpPr>
              <p:grpSpPr>
                <a:xfrm>
                  <a:off x="6947455" y="2163304"/>
                  <a:ext cx="71148" cy="71238"/>
                  <a:chOff x="6005114" y="3701354"/>
                  <a:chExt cx="71148" cy="71238"/>
                </a:xfrm>
              </p:grpSpPr>
              <p:sp>
                <p:nvSpPr>
                  <p:cNvPr id="17886" name="Freeform: Shape 17885">
                    <a:extLst>
                      <a:ext uri="{FF2B5EF4-FFF2-40B4-BE49-F238E27FC236}">
                        <a16:creationId xmlns:a16="http://schemas.microsoft.com/office/drawing/2014/main" id="{0F22383F-789F-E239-816E-D52C60C9F6F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87" name="Freeform: Shape 17886">
                    <a:extLst>
                      <a:ext uri="{FF2B5EF4-FFF2-40B4-BE49-F238E27FC236}">
                        <a16:creationId xmlns:a16="http://schemas.microsoft.com/office/drawing/2014/main" id="{4DC49305-A4A5-8008-FE3C-7862A543F8E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0" name="Group 17489">
                  <a:extLst>
                    <a:ext uri="{FF2B5EF4-FFF2-40B4-BE49-F238E27FC236}">
                      <a16:creationId xmlns:a16="http://schemas.microsoft.com/office/drawing/2014/main" id="{E3FD3AAB-D4A3-391E-F572-DD641A3B2776}"/>
                    </a:ext>
                  </a:extLst>
                </p:cNvPr>
                <p:cNvGrpSpPr/>
                <p:nvPr/>
              </p:nvGrpSpPr>
              <p:grpSpPr>
                <a:xfrm>
                  <a:off x="6997315" y="2178328"/>
                  <a:ext cx="71148" cy="71238"/>
                  <a:chOff x="6005114" y="3701354"/>
                  <a:chExt cx="71148" cy="71238"/>
                </a:xfrm>
              </p:grpSpPr>
              <p:sp>
                <p:nvSpPr>
                  <p:cNvPr id="17884" name="Freeform: Shape 17883">
                    <a:extLst>
                      <a:ext uri="{FF2B5EF4-FFF2-40B4-BE49-F238E27FC236}">
                        <a16:creationId xmlns:a16="http://schemas.microsoft.com/office/drawing/2014/main" id="{F1898F7F-8973-6E18-3EA6-3CB83B98BC7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85" name="Freeform: Shape 17884">
                    <a:extLst>
                      <a:ext uri="{FF2B5EF4-FFF2-40B4-BE49-F238E27FC236}">
                        <a16:creationId xmlns:a16="http://schemas.microsoft.com/office/drawing/2014/main" id="{A9A219B0-811A-5D67-84B3-1B7D62BB8C2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1" name="Group 17490">
                  <a:extLst>
                    <a:ext uri="{FF2B5EF4-FFF2-40B4-BE49-F238E27FC236}">
                      <a16:creationId xmlns:a16="http://schemas.microsoft.com/office/drawing/2014/main" id="{917BB883-945C-8317-4083-9E3C633B8B87}"/>
                    </a:ext>
                  </a:extLst>
                </p:cNvPr>
                <p:cNvGrpSpPr/>
                <p:nvPr/>
              </p:nvGrpSpPr>
              <p:grpSpPr>
                <a:xfrm>
                  <a:off x="7073515" y="2221090"/>
                  <a:ext cx="71148" cy="71238"/>
                  <a:chOff x="6005114" y="3701354"/>
                  <a:chExt cx="71148" cy="71238"/>
                </a:xfrm>
              </p:grpSpPr>
              <p:sp>
                <p:nvSpPr>
                  <p:cNvPr id="17882" name="Freeform: Shape 17881">
                    <a:extLst>
                      <a:ext uri="{FF2B5EF4-FFF2-40B4-BE49-F238E27FC236}">
                        <a16:creationId xmlns:a16="http://schemas.microsoft.com/office/drawing/2014/main" id="{2EE04850-F2B8-ED68-C106-599E8A58D6A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83" name="Freeform: Shape 17882">
                    <a:extLst>
                      <a:ext uri="{FF2B5EF4-FFF2-40B4-BE49-F238E27FC236}">
                        <a16:creationId xmlns:a16="http://schemas.microsoft.com/office/drawing/2014/main" id="{CB515162-4DFD-E28E-2616-5E76D713EA9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2" name="Group 17491">
                  <a:extLst>
                    <a:ext uri="{FF2B5EF4-FFF2-40B4-BE49-F238E27FC236}">
                      <a16:creationId xmlns:a16="http://schemas.microsoft.com/office/drawing/2014/main" id="{2762030D-0069-3FD1-0104-5BDAD0B3E15C}"/>
                    </a:ext>
                  </a:extLst>
                </p:cNvPr>
                <p:cNvGrpSpPr/>
                <p:nvPr/>
              </p:nvGrpSpPr>
              <p:grpSpPr>
                <a:xfrm>
                  <a:off x="7087802" y="2221090"/>
                  <a:ext cx="71148" cy="71238"/>
                  <a:chOff x="6005114" y="3701354"/>
                  <a:chExt cx="71148" cy="71238"/>
                </a:xfrm>
              </p:grpSpPr>
              <p:sp>
                <p:nvSpPr>
                  <p:cNvPr id="17880" name="Freeform: Shape 17879">
                    <a:extLst>
                      <a:ext uri="{FF2B5EF4-FFF2-40B4-BE49-F238E27FC236}">
                        <a16:creationId xmlns:a16="http://schemas.microsoft.com/office/drawing/2014/main" id="{A26C6F60-BCB9-10FC-472F-49EFCEF945A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81" name="Freeform: Shape 17880">
                    <a:extLst>
                      <a:ext uri="{FF2B5EF4-FFF2-40B4-BE49-F238E27FC236}">
                        <a16:creationId xmlns:a16="http://schemas.microsoft.com/office/drawing/2014/main" id="{8358BCF2-B64B-2936-93D3-4584EACB69A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3" name="Group 17492">
                  <a:extLst>
                    <a:ext uri="{FF2B5EF4-FFF2-40B4-BE49-F238E27FC236}">
                      <a16:creationId xmlns:a16="http://schemas.microsoft.com/office/drawing/2014/main" id="{3BC95086-D371-A300-5793-C7B03C1BFF1C}"/>
                    </a:ext>
                  </a:extLst>
                </p:cNvPr>
                <p:cNvGrpSpPr/>
                <p:nvPr/>
              </p:nvGrpSpPr>
              <p:grpSpPr>
                <a:xfrm>
                  <a:off x="7146160" y="2218920"/>
                  <a:ext cx="71148" cy="71238"/>
                  <a:chOff x="6005114" y="3701354"/>
                  <a:chExt cx="71148" cy="71238"/>
                </a:xfrm>
              </p:grpSpPr>
              <p:sp>
                <p:nvSpPr>
                  <p:cNvPr id="17878" name="Freeform: Shape 17877">
                    <a:extLst>
                      <a:ext uri="{FF2B5EF4-FFF2-40B4-BE49-F238E27FC236}">
                        <a16:creationId xmlns:a16="http://schemas.microsoft.com/office/drawing/2014/main" id="{6A1A0D94-98C1-2D54-9D28-7BB2D60D41C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79" name="Freeform: Shape 17878">
                    <a:extLst>
                      <a:ext uri="{FF2B5EF4-FFF2-40B4-BE49-F238E27FC236}">
                        <a16:creationId xmlns:a16="http://schemas.microsoft.com/office/drawing/2014/main" id="{5CD68355-969C-218D-05DD-511AAE1000D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4" name="Group 17493">
                  <a:extLst>
                    <a:ext uri="{FF2B5EF4-FFF2-40B4-BE49-F238E27FC236}">
                      <a16:creationId xmlns:a16="http://schemas.microsoft.com/office/drawing/2014/main" id="{47AEA103-61E0-B5C0-1DE9-9FABAF11278D}"/>
                    </a:ext>
                  </a:extLst>
                </p:cNvPr>
                <p:cNvGrpSpPr/>
                <p:nvPr/>
              </p:nvGrpSpPr>
              <p:grpSpPr>
                <a:xfrm>
                  <a:off x="7160447" y="2234119"/>
                  <a:ext cx="71148" cy="71238"/>
                  <a:chOff x="6005114" y="3701354"/>
                  <a:chExt cx="71148" cy="71238"/>
                </a:xfrm>
              </p:grpSpPr>
              <p:sp>
                <p:nvSpPr>
                  <p:cNvPr id="17876" name="Freeform: Shape 17875">
                    <a:extLst>
                      <a:ext uri="{FF2B5EF4-FFF2-40B4-BE49-F238E27FC236}">
                        <a16:creationId xmlns:a16="http://schemas.microsoft.com/office/drawing/2014/main" id="{8562F1CE-809C-03E1-165E-059F00C3F0F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77" name="Freeform: Shape 17876">
                    <a:extLst>
                      <a:ext uri="{FF2B5EF4-FFF2-40B4-BE49-F238E27FC236}">
                        <a16:creationId xmlns:a16="http://schemas.microsoft.com/office/drawing/2014/main" id="{E69DF42E-6C65-8688-C9E6-01C28E7622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5" name="Group 17494">
                  <a:extLst>
                    <a:ext uri="{FF2B5EF4-FFF2-40B4-BE49-F238E27FC236}">
                      <a16:creationId xmlns:a16="http://schemas.microsoft.com/office/drawing/2014/main" id="{B7E67083-7331-77B0-1FE4-38CC5E14A9D9}"/>
                    </a:ext>
                  </a:extLst>
                </p:cNvPr>
                <p:cNvGrpSpPr/>
                <p:nvPr/>
              </p:nvGrpSpPr>
              <p:grpSpPr>
                <a:xfrm>
                  <a:off x="7190495" y="2240218"/>
                  <a:ext cx="71148" cy="71238"/>
                  <a:chOff x="6005114" y="3701354"/>
                  <a:chExt cx="71148" cy="71238"/>
                </a:xfrm>
              </p:grpSpPr>
              <p:sp>
                <p:nvSpPr>
                  <p:cNvPr id="17874" name="Freeform: Shape 17873">
                    <a:extLst>
                      <a:ext uri="{FF2B5EF4-FFF2-40B4-BE49-F238E27FC236}">
                        <a16:creationId xmlns:a16="http://schemas.microsoft.com/office/drawing/2014/main" id="{8FD73ACA-5A89-6060-039D-9028DF0398D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75" name="Freeform: Shape 17874">
                    <a:extLst>
                      <a:ext uri="{FF2B5EF4-FFF2-40B4-BE49-F238E27FC236}">
                        <a16:creationId xmlns:a16="http://schemas.microsoft.com/office/drawing/2014/main" id="{780D8006-0A1D-0EEB-67E7-F2C68883DD7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6" name="Group 17495">
                  <a:extLst>
                    <a:ext uri="{FF2B5EF4-FFF2-40B4-BE49-F238E27FC236}">
                      <a16:creationId xmlns:a16="http://schemas.microsoft.com/office/drawing/2014/main" id="{7AC29D4B-9083-7542-2103-CCE99E6FDCF7}"/>
                    </a:ext>
                  </a:extLst>
                </p:cNvPr>
                <p:cNvGrpSpPr/>
                <p:nvPr/>
              </p:nvGrpSpPr>
              <p:grpSpPr>
                <a:xfrm>
                  <a:off x="7280684" y="2275837"/>
                  <a:ext cx="71148" cy="71238"/>
                  <a:chOff x="6005114" y="3701354"/>
                  <a:chExt cx="71148" cy="71238"/>
                </a:xfrm>
              </p:grpSpPr>
              <p:sp>
                <p:nvSpPr>
                  <p:cNvPr id="17872" name="Freeform: Shape 17871">
                    <a:extLst>
                      <a:ext uri="{FF2B5EF4-FFF2-40B4-BE49-F238E27FC236}">
                        <a16:creationId xmlns:a16="http://schemas.microsoft.com/office/drawing/2014/main" id="{D23A1545-7AA4-A172-79EE-9618FE2E163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73" name="Freeform: Shape 17872">
                    <a:extLst>
                      <a:ext uri="{FF2B5EF4-FFF2-40B4-BE49-F238E27FC236}">
                        <a16:creationId xmlns:a16="http://schemas.microsoft.com/office/drawing/2014/main" id="{F2CAFBF1-715A-CC18-C157-DA95DC82408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7" name="Group 17496">
                  <a:extLst>
                    <a:ext uri="{FF2B5EF4-FFF2-40B4-BE49-F238E27FC236}">
                      <a16:creationId xmlns:a16="http://schemas.microsoft.com/office/drawing/2014/main" id="{9716F947-78DE-839D-CAC4-E4104D43AA2D}"/>
                    </a:ext>
                  </a:extLst>
                </p:cNvPr>
                <p:cNvGrpSpPr/>
                <p:nvPr/>
              </p:nvGrpSpPr>
              <p:grpSpPr>
                <a:xfrm>
                  <a:off x="7378315" y="2326017"/>
                  <a:ext cx="71148" cy="71238"/>
                  <a:chOff x="6005114" y="3701354"/>
                  <a:chExt cx="71148" cy="71238"/>
                </a:xfrm>
              </p:grpSpPr>
              <p:sp>
                <p:nvSpPr>
                  <p:cNvPr id="17870" name="Freeform: Shape 17869">
                    <a:extLst>
                      <a:ext uri="{FF2B5EF4-FFF2-40B4-BE49-F238E27FC236}">
                        <a16:creationId xmlns:a16="http://schemas.microsoft.com/office/drawing/2014/main" id="{B5AA69C6-A16D-1E9B-2F3F-FA26BE6C839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71" name="Freeform: Shape 17870">
                    <a:extLst>
                      <a:ext uri="{FF2B5EF4-FFF2-40B4-BE49-F238E27FC236}">
                        <a16:creationId xmlns:a16="http://schemas.microsoft.com/office/drawing/2014/main" id="{292E7938-5C9C-4904-97B9-302382A6477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8" name="Group 17497">
                  <a:extLst>
                    <a:ext uri="{FF2B5EF4-FFF2-40B4-BE49-F238E27FC236}">
                      <a16:creationId xmlns:a16="http://schemas.microsoft.com/office/drawing/2014/main" id="{EA8D1F9D-2D57-92C4-C1A2-A97DA6CF566C}"/>
                    </a:ext>
                  </a:extLst>
                </p:cNvPr>
                <p:cNvGrpSpPr/>
                <p:nvPr/>
              </p:nvGrpSpPr>
              <p:grpSpPr>
                <a:xfrm>
                  <a:off x="7428321" y="2349159"/>
                  <a:ext cx="71148" cy="71238"/>
                  <a:chOff x="6005114" y="3701354"/>
                  <a:chExt cx="71148" cy="71238"/>
                </a:xfrm>
              </p:grpSpPr>
              <p:sp>
                <p:nvSpPr>
                  <p:cNvPr id="17868" name="Freeform: Shape 17867">
                    <a:extLst>
                      <a:ext uri="{FF2B5EF4-FFF2-40B4-BE49-F238E27FC236}">
                        <a16:creationId xmlns:a16="http://schemas.microsoft.com/office/drawing/2014/main" id="{40EEBC3A-B52D-507C-9269-3B2038F1761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69" name="Freeform: Shape 17868">
                    <a:extLst>
                      <a:ext uri="{FF2B5EF4-FFF2-40B4-BE49-F238E27FC236}">
                        <a16:creationId xmlns:a16="http://schemas.microsoft.com/office/drawing/2014/main" id="{578115FF-14D7-AEE2-DB14-3CC7C418FEC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499" name="Group 17498">
                  <a:extLst>
                    <a:ext uri="{FF2B5EF4-FFF2-40B4-BE49-F238E27FC236}">
                      <a16:creationId xmlns:a16="http://schemas.microsoft.com/office/drawing/2014/main" id="{D47986F2-6ABF-6E4C-43DA-0F8D70D4B0A4}"/>
                    </a:ext>
                  </a:extLst>
                </p:cNvPr>
                <p:cNvGrpSpPr/>
                <p:nvPr/>
              </p:nvGrpSpPr>
              <p:grpSpPr>
                <a:xfrm>
                  <a:off x="7471184" y="2384778"/>
                  <a:ext cx="71148" cy="71238"/>
                  <a:chOff x="6005114" y="3701354"/>
                  <a:chExt cx="71148" cy="71238"/>
                </a:xfrm>
              </p:grpSpPr>
              <p:sp>
                <p:nvSpPr>
                  <p:cNvPr id="17866" name="Freeform: Shape 17865">
                    <a:extLst>
                      <a:ext uri="{FF2B5EF4-FFF2-40B4-BE49-F238E27FC236}">
                        <a16:creationId xmlns:a16="http://schemas.microsoft.com/office/drawing/2014/main" id="{49C93B35-A7CD-D059-B645-1F298B4DAF9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67" name="Freeform: Shape 17866">
                    <a:extLst>
                      <a:ext uri="{FF2B5EF4-FFF2-40B4-BE49-F238E27FC236}">
                        <a16:creationId xmlns:a16="http://schemas.microsoft.com/office/drawing/2014/main" id="{4AF3A6CF-0AD7-4037-BE97-E3F82899697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0" name="Group 17499">
                  <a:extLst>
                    <a:ext uri="{FF2B5EF4-FFF2-40B4-BE49-F238E27FC236}">
                      <a16:creationId xmlns:a16="http://schemas.microsoft.com/office/drawing/2014/main" id="{930A82ED-58C7-F646-BB1E-764DBB36BE61}"/>
                    </a:ext>
                  </a:extLst>
                </p:cNvPr>
                <p:cNvGrpSpPr/>
                <p:nvPr/>
              </p:nvGrpSpPr>
              <p:grpSpPr>
                <a:xfrm>
                  <a:off x="7487853" y="2384778"/>
                  <a:ext cx="71148" cy="71238"/>
                  <a:chOff x="6005114" y="3701354"/>
                  <a:chExt cx="71148" cy="71238"/>
                </a:xfrm>
              </p:grpSpPr>
              <p:sp>
                <p:nvSpPr>
                  <p:cNvPr id="17864" name="Freeform: Shape 17863">
                    <a:extLst>
                      <a:ext uri="{FF2B5EF4-FFF2-40B4-BE49-F238E27FC236}">
                        <a16:creationId xmlns:a16="http://schemas.microsoft.com/office/drawing/2014/main" id="{43A82851-6C36-6537-CE5C-CD89C1E0F89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65" name="Freeform: Shape 17864">
                    <a:extLst>
                      <a:ext uri="{FF2B5EF4-FFF2-40B4-BE49-F238E27FC236}">
                        <a16:creationId xmlns:a16="http://schemas.microsoft.com/office/drawing/2014/main" id="{4CC4E593-F0E3-7845-42CB-2D43BE9A4ED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1" name="Group 17500">
                  <a:extLst>
                    <a:ext uri="{FF2B5EF4-FFF2-40B4-BE49-F238E27FC236}">
                      <a16:creationId xmlns:a16="http://schemas.microsoft.com/office/drawing/2014/main" id="{CFFFB201-12D0-49D2-F5F6-D657703FE26A}"/>
                    </a:ext>
                  </a:extLst>
                </p:cNvPr>
                <p:cNvGrpSpPr/>
                <p:nvPr/>
              </p:nvGrpSpPr>
              <p:grpSpPr>
                <a:xfrm>
                  <a:off x="7568816" y="2409284"/>
                  <a:ext cx="71148" cy="71238"/>
                  <a:chOff x="6005114" y="3701354"/>
                  <a:chExt cx="71148" cy="71238"/>
                </a:xfrm>
              </p:grpSpPr>
              <p:sp>
                <p:nvSpPr>
                  <p:cNvPr id="17862" name="Freeform: Shape 17861">
                    <a:extLst>
                      <a:ext uri="{FF2B5EF4-FFF2-40B4-BE49-F238E27FC236}">
                        <a16:creationId xmlns:a16="http://schemas.microsoft.com/office/drawing/2014/main" id="{30C622BA-F1CD-07CE-BCF7-7DDB7CC25A2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63" name="Freeform: Shape 17862">
                    <a:extLst>
                      <a:ext uri="{FF2B5EF4-FFF2-40B4-BE49-F238E27FC236}">
                        <a16:creationId xmlns:a16="http://schemas.microsoft.com/office/drawing/2014/main" id="{434D413A-09E2-3776-0F21-2134488CEC2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2" name="Group 17501">
                  <a:extLst>
                    <a:ext uri="{FF2B5EF4-FFF2-40B4-BE49-F238E27FC236}">
                      <a16:creationId xmlns:a16="http://schemas.microsoft.com/office/drawing/2014/main" id="{B6241C46-064A-A90B-A799-FAC9D9C8B13A}"/>
                    </a:ext>
                  </a:extLst>
                </p:cNvPr>
                <p:cNvGrpSpPr/>
                <p:nvPr/>
              </p:nvGrpSpPr>
              <p:grpSpPr>
                <a:xfrm>
                  <a:off x="7580722" y="2409284"/>
                  <a:ext cx="71148" cy="71238"/>
                  <a:chOff x="6005114" y="3701354"/>
                  <a:chExt cx="71148" cy="71238"/>
                </a:xfrm>
              </p:grpSpPr>
              <p:sp>
                <p:nvSpPr>
                  <p:cNvPr id="17860" name="Freeform: Shape 17859">
                    <a:extLst>
                      <a:ext uri="{FF2B5EF4-FFF2-40B4-BE49-F238E27FC236}">
                        <a16:creationId xmlns:a16="http://schemas.microsoft.com/office/drawing/2014/main" id="{0E231368-ECFE-30A8-0C32-C48B475E4C3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61" name="Freeform: Shape 17860">
                    <a:extLst>
                      <a:ext uri="{FF2B5EF4-FFF2-40B4-BE49-F238E27FC236}">
                        <a16:creationId xmlns:a16="http://schemas.microsoft.com/office/drawing/2014/main" id="{83DE80B4-CD8D-2A25-DD2B-6558037D6D6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3" name="Group 17502">
                  <a:extLst>
                    <a:ext uri="{FF2B5EF4-FFF2-40B4-BE49-F238E27FC236}">
                      <a16:creationId xmlns:a16="http://schemas.microsoft.com/office/drawing/2014/main" id="{CA334958-1D5D-C27C-F948-805A9A9F70DD}"/>
                    </a:ext>
                  </a:extLst>
                </p:cNvPr>
                <p:cNvGrpSpPr/>
                <p:nvPr/>
              </p:nvGrpSpPr>
              <p:grpSpPr>
                <a:xfrm>
                  <a:off x="7637871" y="2421189"/>
                  <a:ext cx="71148" cy="71238"/>
                  <a:chOff x="6005114" y="3701354"/>
                  <a:chExt cx="71148" cy="71238"/>
                </a:xfrm>
              </p:grpSpPr>
              <p:sp>
                <p:nvSpPr>
                  <p:cNvPr id="17858" name="Freeform: Shape 17857">
                    <a:extLst>
                      <a:ext uri="{FF2B5EF4-FFF2-40B4-BE49-F238E27FC236}">
                        <a16:creationId xmlns:a16="http://schemas.microsoft.com/office/drawing/2014/main" id="{57C766F1-F75F-536F-FE9E-E17FA740F32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59" name="Freeform: Shape 17858">
                    <a:extLst>
                      <a:ext uri="{FF2B5EF4-FFF2-40B4-BE49-F238E27FC236}">
                        <a16:creationId xmlns:a16="http://schemas.microsoft.com/office/drawing/2014/main" id="{8938847C-7BAA-7AB9-C85D-295A18ACEC7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4" name="Group 17503">
                  <a:extLst>
                    <a:ext uri="{FF2B5EF4-FFF2-40B4-BE49-F238E27FC236}">
                      <a16:creationId xmlns:a16="http://schemas.microsoft.com/office/drawing/2014/main" id="{4D819173-3F2A-F876-18F4-BE9EC5382EF5}"/>
                    </a:ext>
                  </a:extLst>
                </p:cNvPr>
                <p:cNvGrpSpPr/>
                <p:nvPr/>
              </p:nvGrpSpPr>
              <p:grpSpPr>
                <a:xfrm>
                  <a:off x="7675971" y="2456180"/>
                  <a:ext cx="71148" cy="71238"/>
                  <a:chOff x="6005114" y="3701354"/>
                  <a:chExt cx="71148" cy="71238"/>
                </a:xfrm>
              </p:grpSpPr>
              <p:sp>
                <p:nvSpPr>
                  <p:cNvPr id="17856" name="Freeform: Shape 17855">
                    <a:extLst>
                      <a:ext uri="{FF2B5EF4-FFF2-40B4-BE49-F238E27FC236}">
                        <a16:creationId xmlns:a16="http://schemas.microsoft.com/office/drawing/2014/main" id="{25E904BF-2D07-CABE-680F-FD21881BE96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57" name="Freeform: Shape 17856">
                    <a:extLst>
                      <a:ext uri="{FF2B5EF4-FFF2-40B4-BE49-F238E27FC236}">
                        <a16:creationId xmlns:a16="http://schemas.microsoft.com/office/drawing/2014/main" id="{CFCF8BFE-5998-6CAF-6A39-0A597D73C0D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5" name="Group 17504">
                  <a:extLst>
                    <a:ext uri="{FF2B5EF4-FFF2-40B4-BE49-F238E27FC236}">
                      <a16:creationId xmlns:a16="http://schemas.microsoft.com/office/drawing/2014/main" id="{92393F31-0577-5F99-6FB9-C4236F5C7301}"/>
                    </a:ext>
                  </a:extLst>
                </p:cNvPr>
                <p:cNvGrpSpPr/>
                <p:nvPr/>
              </p:nvGrpSpPr>
              <p:grpSpPr>
                <a:xfrm>
                  <a:off x="7733122" y="2468929"/>
                  <a:ext cx="71148" cy="71238"/>
                  <a:chOff x="6005114" y="3701354"/>
                  <a:chExt cx="71148" cy="71238"/>
                </a:xfrm>
              </p:grpSpPr>
              <p:sp>
                <p:nvSpPr>
                  <p:cNvPr id="17854" name="Freeform: Shape 17853">
                    <a:extLst>
                      <a:ext uri="{FF2B5EF4-FFF2-40B4-BE49-F238E27FC236}">
                        <a16:creationId xmlns:a16="http://schemas.microsoft.com/office/drawing/2014/main" id="{598A5154-4B15-A48E-E7DD-6856F5FE80F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55" name="Freeform: Shape 17854">
                    <a:extLst>
                      <a:ext uri="{FF2B5EF4-FFF2-40B4-BE49-F238E27FC236}">
                        <a16:creationId xmlns:a16="http://schemas.microsoft.com/office/drawing/2014/main" id="{6D5E7778-7225-CCA6-70FA-7EE99A7E2BD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6" name="Group 17505">
                  <a:extLst>
                    <a:ext uri="{FF2B5EF4-FFF2-40B4-BE49-F238E27FC236}">
                      <a16:creationId xmlns:a16="http://schemas.microsoft.com/office/drawing/2014/main" id="{CE8D521F-015D-FB45-5E52-124D37BBBC30}"/>
                    </a:ext>
                  </a:extLst>
                </p:cNvPr>
                <p:cNvGrpSpPr/>
                <p:nvPr/>
              </p:nvGrpSpPr>
              <p:grpSpPr>
                <a:xfrm>
                  <a:off x="7718834" y="2467566"/>
                  <a:ext cx="71148" cy="71238"/>
                  <a:chOff x="6005114" y="3701354"/>
                  <a:chExt cx="71148" cy="71238"/>
                </a:xfrm>
              </p:grpSpPr>
              <p:sp>
                <p:nvSpPr>
                  <p:cNvPr id="17852" name="Freeform: Shape 17851">
                    <a:extLst>
                      <a:ext uri="{FF2B5EF4-FFF2-40B4-BE49-F238E27FC236}">
                        <a16:creationId xmlns:a16="http://schemas.microsoft.com/office/drawing/2014/main" id="{206FE63A-A1E4-AB85-2DAC-074C573BE02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53" name="Freeform: Shape 17852">
                    <a:extLst>
                      <a:ext uri="{FF2B5EF4-FFF2-40B4-BE49-F238E27FC236}">
                        <a16:creationId xmlns:a16="http://schemas.microsoft.com/office/drawing/2014/main" id="{52B8AB8F-7112-FEB0-CA95-D2A7FBB9D4C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7" name="Group 17506">
                  <a:extLst>
                    <a:ext uri="{FF2B5EF4-FFF2-40B4-BE49-F238E27FC236}">
                      <a16:creationId xmlns:a16="http://schemas.microsoft.com/office/drawing/2014/main" id="{52296E7E-EFE5-E176-1A4D-FCBD265FEE44}"/>
                    </a:ext>
                  </a:extLst>
                </p:cNvPr>
                <p:cNvGrpSpPr/>
                <p:nvPr/>
              </p:nvGrpSpPr>
              <p:grpSpPr>
                <a:xfrm>
                  <a:off x="7766459" y="2487556"/>
                  <a:ext cx="71148" cy="71238"/>
                  <a:chOff x="6005114" y="3701354"/>
                  <a:chExt cx="71148" cy="71238"/>
                </a:xfrm>
              </p:grpSpPr>
              <p:sp>
                <p:nvSpPr>
                  <p:cNvPr id="17850" name="Freeform: Shape 17849">
                    <a:extLst>
                      <a:ext uri="{FF2B5EF4-FFF2-40B4-BE49-F238E27FC236}">
                        <a16:creationId xmlns:a16="http://schemas.microsoft.com/office/drawing/2014/main" id="{8EC2E223-6022-BDF4-48B9-6D35CE58D26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51" name="Freeform: Shape 17850">
                    <a:extLst>
                      <a:ext uri="{FF2B5EF4-FFF2-40B4-BE49-F238E27FC236}">
                        <a16:creationId xmlns:a16="http://schemas.microsoft.com/office/drawing/2014/main" id="{9E53613D-9160-47FB-DF95-26FCFE8072C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8" name="Group 17507">
                  <a:extLst>
                    <a:ext uri="{FF2B5EF4-FFF2-40B4-BE49-F238E27FC236}">
                      <a16:creationId xmlns:a16="http://schemas.microsoft.com/office/drawing/2014/main" id="{C4CC1A39-CFD8-93C6-6053-8F7FE0D19009}"/>
                    </a:ext>
                  </a:extLst>
                </p:cNvPr>
                <p:cNvGrpSpPr/>
                <p:nvPr/>
              </p:nvGrpSpPr>
              <p:grpSpPr>
                <a:xfrm>
                  <a:off x="7778365" y="2492427"/>
                  <a:ext cx="71148" cy="71238"/>
                  <a:chOff x="6005114" y="3701354"/>
                  <a:chExt cx="71148" cy="71238"/>
                </a:xfrm>
              </p:grpSpPr>
              <p:sp>
                <p:nvSpPr>
                  <p:cNvPr id="17848" name="Freeform: Shape 17847">
                    <a:extLst>
                      <a:ext uri="{FF2B5EF4-FFF2-40B4-BE49-F238E27FC236}">
                        <a16:creationId xmlns:a16="http://schemas.microsoft.com/office/drawing/2014/main" id="{C9857330-CD37-CB31-74F2-FA12F869C9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49" name="Freeform: Shape 17848">
                    <a:extLst>
                      <a:ext uri="{FF2B5EF4-FFF2-40B4-BE49-F238E27FC236}">
                        <a16:creationId xmlns:a16="http://schemas.microsoft.com/office/drawing/2014/main" id="{3114F8DB-A784-FBC2-D121-7ED1E4F9C0B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09" name="Group 17508">
                  <a:extLst>
                    <a:ext uri="{FF2B5EF4-FFF2-40B4-BE49-F238E27FC236}">
                      <a16:creationId xmlns:a16="http://schemas.microsoft.com/office/drawing/2014/main" id="{B44096BE-F668-C13D-A86E-C2ED1EFF3684}"/>
                    </a:ext>
                  </a:extLst>
                </p:cNvPr>
                <p:cNvGrpSpPr/>
                <p:nvPr/>
              </p:nvGrpSpPr>
              <p:grpSpPr>
                <a:xfrm>
                  <a:off x="7799796" y="2503185"/>
                  <a:ext cx="71148" cy="71238"/>
                  <a:chOff x="6005114" y="3701354"/>
                  <a:chExt cx="71148" cy="71238"/>
                </a:xfrm>
              </p:grpSpPr>
              <p:sp>
                <p:nvSpPr>
                  <p:cNvPr id="17846" name="Freeform: Shape 17845">
                    <a:extLst>
                      <a:ext uri="{FF2B5EF4-FFF2-40B4-BE49-F238E27FC236}">
                        <a16:creationId xmlns:a16="http://schemas.microsoft.com/office/drawing/2014/main" id="{C4190808-5CC1-EDD0-4DB1-5FB7ADA1EB7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47" name="Freeform: Shape 17846">
                    <a:extLst>
                      <a:ext uri="{FF2B5EF4-FFF2-40B4-BE49-F238E27FC236}">
                        <a16:creationId xmlns:a16="http://schemas.microsoft.com/office/drawing/2014/main" id="{50D95DA7-A33E-5D63-3EAE-8C7305B46DD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0" name="Group 17509">
                  <a:extLst>
                    <a:ext uri="{FF2B5EF4-FFF2-40B4-BE49-F238E27FC236}">
                      <a16:creationId xmlns:a16="http://schemas.microsoft.com/office/drawing/2014/main" id="{2E5FBBBE-D505-150B-7B2C-4F31BB5ADF98}"/>
                    </a:ext>
                  </a:extLst>
                </p:cNvPr>
                <p:cNvGrpSpPr/>
                <p:nvPr/>
              </p:nvGrpSpPr>
              <p:grpSpPr>
                <a:xfrm>
                  <a:off x="7806940" y="2504548"/>
                  <a:ext cx="71148" cy="71238"/>
                  <a:chOff x="6005114" y="3701354"/>
                  <a:chExt cx="71148" cy="71238"/>
                </a:xfrm>
              </p:grpSpPr>
              <p:sp>
                <p:nvSpPr>
                  <p:cNvPr id="17844" name="Freeform: Shape 17843">
                    <a:extLst>
                      <a:ext uri="{FF2B5EF4-FFF2-40B4-BE49-F238E27FC236}">
                        <a16:creationId xmlns:a16="http://schemas.microsoft.com/office/drawing/2014/main" id="{CFF853C7-36F7-FEAC-F6EF-D028503EB50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45" name="Freeform: Shape 17844">
                    <a:extLst>
                      <a:ext uri="{FF2B5EF4-FFF2-40B4-BE49-F238E27FC236}">
                        <a16:creationId xmlns:a16="http://schemas.microsoft.com/office/drawing/2014/main" id="{A739A169-17F5-FC3F-DE50-3BD614D74CF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1" name="Group 17510">
                  <a:extLst>
                    <a:ext uri="{FF2B5EF4-FFF2-40B4-BE49-F238E27FC236}">
                      <a16:creationId xmlns:a16="http://schemas.microsoft.com/office/drawing/2014/main" id="{14349F08-211C-13B9-A407-DF36C3BB3DF8}"/>
                    </a:ext>
                  </a:extLst>
                </p:cNvPr>
                <p:cNvGrpSpPr/>
                <p:nvPr/>
              </p:nvGrpSpPr>
              <p:grpSpPr>
                <a:xfrm>
                  <a:off x="7856947" y="2541185"/>
                  <a:ext cx="71148" cy="71238"/>
                  <a:chOff x="6005114" y="3701354"/>
                  <a:chExt cx="71148" cy="71238"/>
                </a:xfrm>
              </p:grpSpPr>
              <p:sp>
                <p:nvSpPr>
                  <p:cNvPr id="17842" name="Freeform: Shape 17841">
                    <a:extLst>
                      <a:ext uri="{FF2B5EF4-FFF2-40B4-BE49-F238E27FC236}">
                        <a16:creationId xmlns:a16="http://schemas.microsoft.com/office/drawing/2014/main" id="{E16CDC6B-8D30-6967-882A-B8823000531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43" name="Freeform: Shape 17842">
                    <a:extLst>
                      <a:ext uri="{FF2B5EF4-FFF2-40B4-BE49-F238E27FC236}">
                        <a16:creationId xmlns:a16="http://schemas.microsoft.com/office/drawing/2014/main" id="{F0BB12CC-344E-1780-F2A9-9B80D85CBEF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2" name="Group 17511">
                  <a:extLst>
                    <a:ext uri="{FF2B5EF4-FFF2-40B4-BE49-F238E27FC236}">
                      <a16:creationId xmlns:a16="http://schemas.microsoft.com/office/drawing/2014/main" id="{91895920-7985-6C98-EE21-9E9695A311CD}"/>
                    </a:ext>
                  </a:extLst>
                </p:cNvPr>
                <p:cNvGrpSpPr/>
                <p:nvPr/>
              </p:nvGrpSpPr>
              <p:grpSpPr>
                <a:xfrm>
                  <a:off x="7878377" y="2541185"/>
                  <a:ext cx="71148" cy="71238"/>
                  <a:chOff x="6005114" y="3701354"/>
                  <a:chExt cx="71148" cy="71238"/>
                </a:xfrm>
              </p:grpSpPr>
              <p:sp>
                <p:nvSpPr>
                  <p:cNvPr id="17840" name="Freeform: Shape 17839">
                    <a:extLst>
                      <a:ext uri="{FF2B5EF4-FFF2-40B4-BE49-F238E27FC236}">
                        <a16:creationId xmlns:a16="http://schemas.microsoft.com/office/drawing/2014/main" id="{E5F5A748-325D-245B-DD7A-E821BA8E4DA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41" name="Freeform: Shape 17840">
                    <a:extLst>
                      <a:ext uri="{FF2B5EF4-FFF2-40B4-BE49-F238E27FC236}">
                        <a16:creationId xmlns:a16="http://schemas.microsoft.com/office/drawing/2014/main" id="{1B5FAC47-D4C7-0DF2-D989-B19B275AE59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3" name="Group 17512">
                  <a:extLst>
                    <a:ext uri="{FF2B5EF4-FFF2-40B4-BE49-F238E27FC236}">
                      <a16:creationId xmlns:a16="http://schemas.microsoft.com/office/drawing/2014/main" id="{1238F4D4-7AE6-0720-5A46-63E530C8129B}"/>
                    </a:ext>
                  </a:extLst>
                </p:cNvPr>
                <p:cNvGrpSpPr/>
                <p:nvPr/>
              </p:nvGrpSpPr>
              <p:grpSpPr>
                <a:xfrm>
                  <a:off x="7892665" y="2541185"/>
                  <a:ext cx="71148" cy="71238"/>
                  <a:chOff x="6005114" y="3701354"/>
                  <a:chExt cx="71148" cy="71238"/>
                </a:xfrm>
              </p:grpSpPr>
              <p:sp>
                <p:nvSpPr>
                  <p:cNvPr id="17838" name="Freeform: Shape 17837">
                    <a:extLst>
                      <a:ext uri="{FF2B5EF4-FFF2-40B4-BE49-F238E27FC236}">
                        <a16:creationId xmlns:a16="http://schemas.microsoft.com/office/drawing/2014/main" id="{08F9994C-2D82-521D-1E0F-F35DB9F712F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39" name="Freeform: Shape 17838">
                    <a:extLst>
                      <a:ext uri="{FF2B5EF4-FFF2-40B4-BE49-F238E27FC236}">
                        <a16:creationId xmlns:a16="http://schemas.microsoft.com/office/drawing/2014/main" id="{062D02BA-5B33-4F38-76E8-C591F58FC33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4" name="Group 17513">
                  <a:extLst>
                    <a:ext uri="{FF2B5EF4-FFF2-40B4-BE49-F238E27FC236}">
                      <a16:creationId xmlns:a16="http://schemas.microsoft.com/office/drawing/2014/main" id="{F02CA971-9DCD-6737-FF86-CD919353BD77}"/>
                    </a:ext>
                  </a:extLst>
                </p:cNvPr>
                <p:cNvGrpSpPr/>
                <p:nvPr/>
              </p:nvGrpSpPr>
              <p:grpSpPr>
                <a:xfrm>
                  <a:off x="7984268" y="2570172"/>
                  <a:ext cx="71148" cy="71238"/>
                  <a:chOff x="6005114" y="3701354"/>
                  <a:chExt cx="71148" cy="71238"/>
                </a:xfrm>
              </p:grpSpPr>
              <p:sp>
                <p:nvSpPr>
                  <p:cNvPr id="17836" name="Freeform: Shape 17835">
                    <a:extLst>
                      <a:ext uri="{FF2B5EF4-FFF2-40B4-BE49-F238E27FC236}">
                        <a16:creationId xmlns:a16="http://schemas.microsoft.com/office/drawing/2014/main" id="{C8D5BC3A-0F43-AF13-8DE8-1E6BB53D481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37" name="Freeform: Shape 17836">
                    <a:extLst>
                      <a:ext uri="{FF2B5EF4-FFF2-40B4-BE49-F238E27FC236}">
                        <a16:creationId xmlns:a16="http://schemas.microsoft.com/office/drawing/2014/main" id="{E5BFBB60-1F91-4A9B-BAC8-35E55E5FB6B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5" name="Group 17514">
                  <a:extLst>
                    <a:ext uri="{FF2B5EF4-FFF2-40B4-BE49-F238E27FC236}">
                      <a16:creationId xmlns:a16="http://schemas.microsoft.com/office/drawing/2014/main" id="{8005044B-202C-25E5-53B9-A7DC5D8FE403}"/>
                    </a:ext>
                  </a:extLst>
                </p:cNvPr>
                <p:cNvGrpSpPr/>
                <p:nvPr/>
              </p:nvGrpSpPr>
              <p:grpSpPr>
                <a:xfrm>
                  <a:off x="8005698" y="2570172"/>
                  <a:ext cx="71148" cy="71238"/>
                  <a:chOff x="6005114" y="3701354"/>
                  <a:chExt cx="71148" cy="71238"/>
                </a:xfrm>
              </p:grpSpPr>
              <p:sp>
                <p:nvSpPr>
                  <p:cNvPr id="17834" name="Freeform: Shape 17833">
                    <a:extLst>
                      <a:ext uri="{FF2B5EF4-FFF2-40B4-BE49-F238E27FC236}">
                        <a16:creationId xmlns:a16="http://schemas.microsoft.com/office/drawing/2014/main" id="{3A997BA3-71E9-FBF9-2821-C2E5BDF066B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35" name="Freeform: Shape 17834">
                    <a:extLst>
                      <a:ext uri="{FF2B5EF4-FFF2-40B4-BE49-F238E27FC236}">
                        <a16:creationId xmlns:a16="http://schemas.microsoft.com/office/drawing/2014/main" id="{3393A325-1B7D-A189-82C0-2356B1B274F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6" name="Group 17515">
                  <a:extLst>
                    <a:ext uri="{FF2B5EF4-FFF2-40B4-BE49-F238E27FC236}">
                      <a16:creationId xmlns:a16="http://schemas.microsoft.com/office/drawing/2014/main" id="{8AD6EEF0-8B59-8C34-2F23-8E13B6ECA35A}"/>
                    </a:ext>
                  </a:extLst>
                </p:cNvPr>
                <p:cNvGrpSpPr/>
                <p:nvPr/>
              </p:nvGrpSpPr>
              <p:grpSpPr>
                <a:xfrm>
                  <a:off x="8019986" y="2570172"/>
                  <a:ext cx="71148" cy="71238"/>
                  <a:chOff x="6005114" y="3701354"/>
                  <a:chExt cx="71148" cy="71238"/>
                </a:xfrm>
              </p:grpSpPr>
              <p:sp>
                <p:nvSpPr>
                  <p:cNvPr id="17832" name="Freeform: Shape 17831">
                    <a:extLst>
                      <a:ext uri="{FF2B5EF4-FFF2-40B4-BE49-F238E27FC236}">
                        <a16:creationId xmlns:a16="http://schemas.microsoft.com/office/drawing/2014/main" id="{8D4BEA91-3A50-28EC-4FB4-3EEB0CF7EFF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33" name="Freeform: Shape 17832">
                    <a:extLst>
                      <a:ext uri="{FF2B5EF4-FFF2-40B4-BE49-F238E27FC236}">
                        <a16:creationId xmlns:a16="http://schemas.microsoft.com/office/drawing/2014/main" id="{A6ACF343-05F9-F6AD-2576-437B8DA8A21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7" name="Group 17516">
                  <a:extLst>
                    <a:ext uri="{FF2B5EF4-FFF2-40B4-BE49-F238E27FC236}">
                      <a16:creationId xmlns:a16="http://schemas.microsoft.com/office/drawing/2014/main" id="{D869489C-3005-6F6F-CD7E-2A618A11366D}"/>
                    </a:ext>
                  </a:extLst>
                </p:cNvPr>
                <p:cNvGrpSpPr/>
                <p:nvPr/>
              </p:nvGrpSpPr>
              <p:grpSpPr>
                <a:xfrm>
                  <a:off x="7911716" y="2538804"/>
                  <a:ext cx="71148" cy="71238"/>
                  <a:chOff x="6005114" y="3701354"/>
                  <a:chExt cx="71148" cy="71238"/>
                </a:xfrm>
              </p:grpSpPr>
              <p:sp>
                <p:nvSpPr>
                  <p:cNvPr id="17830" name="Freeform: Shape 17829">
                    <a:extLst>
                      <a:ext uri="{FF2B5EF4-FFF2-40B4-BE49-F238E27FC236}">
                        <a16:creationId xmlns:a16="http://schemas.microsoft.com/office/drawing/2014/main" id="{A23D4DAB-D2EF-5BFB-1258-CB4834BE36B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31" name="Freeform: Shape 17830">
                    <a:extLst>
                      <a:ext uri="{FF2B5EF4-FFF2-40B4-BE49-F238E27FC236}">
                        <a16:creationId xmlns:a16="http://schemas.microsoft.com/office/drawing/2014/main" id="{39879BE6-D80D-35A3-4705-C7E8CB52F9B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8" name="Group 17517">
                  <a:extLst>
                    <a:ext uri="{FF2B5EF4-FFF2-40B4-BE49-F238E27FC236}">
                      <a16:creationId xmlns:a16="http://schemas.microsoft.com/office/drawing/2014/main" id="{211C2865-FF83-F689-EDD0-12721B3045F5}"/>
                    </a:ext>
                  </a:extLst>
                </p:cNvPr>
                <p:cNvGrpSpPr/>
                <p:nvPr/>
              </p:nvGrpSpPr>
              <p:grpSpPr>
                <a:xfrm>
                  <a:off x="7940289" y="2545947"/>
                  <a:ext cx="71148" cy="71238"/>
                  <a:chOff x="6005114" y="3701354"/>
                  <a:chExt cx="71148" cy="71238"/>
                </a:xfrm>
              </p:grpSpPr>
              <p:sp>
                <p:nvSpPr>
                  <p:cNvPr id="17828" name="Freeform: Shape 17827">
                    <a:extLst>
                      <a:ext uri="{FF2B5EF4-FFF2-40B4-BE49-F238E27FC236}">
                        <a16:creationId xmlns:a16="http://schemas.microsoft.com/office/drawing/2014/main" id="{3B95BB49-54DF-F050-B178-7C20DAFFA28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29" name="Freeform: Shape 17828">
                    <a:extLst>
                      <a:ext uri="{FF2B5EF4-FFF2-40B4-BE49-F238E27FC236}">
                        <a16:creationId xmlns:a16="http://schemas.microsoft.com/office/drawing/2014/main" id="{243612EF-D53E-3044-43C5-8F3914F4C83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19" name="Group 17518">
                  <a:extLst>
                    <a:ext uri="{FF2B5EF4-FFF2-40B4-BE49-F238E27FC236}">
                      <a16:creationId xmlns:a16="http://schemas.microsoft.com/office/drawing/2014/main" id="{D01D82B1-9AEC-7D67-B8CA-603569CA3D98}"/>
                    </a:ext>
                  </a:extLst>
                </p:cNvPr>
                <p:cNvGrpSpPr/>
                <p:nvPr/>
              </p:nvGrpSpPr>
              <p:grpSpPr>
                <a:xfrm>
                  <a:off x="7954577" y="2564997"/>
                  <a:ext cx="71148" cy="71238"/>
                  <a:chOff x="6005114" y="3701354"/>
                  <a:chExt cx="71148" cy="71238"/>
                </a:xfrm>
              </p:grpSpPr>
              <p:sp>
                <p:nvSpPr>
                  <p:cNvPr id="17826" name="Freeform: Shape 17825">
                    <a:extLst>
                      <a:ext uri="{FF2B5EF4-FFF2-40B4-BE49-F238E27FC236}">
                        <a16:creationId xmlns:a16="http://schemas.microsoft.com/office/drawing/2014/main" id="{9CC0DBC8-75D8-ACCF-D8BA-D40DAD5B8F1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27" name="Freeform: Shape 17826">
                    <a:extLst>
                      <a:ext uri="{FF2B5EF4-FFF2-40B4-BE49-F238E27FC236}">
                        <a16:creationId xmlns:a16="http://schemas.microsoft.com/office/drawing/2014/main" id="{5355C48E-5A0F-4F32-2FA2-D5F392FB7F9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0" name="Group 17519">
                  <a:extLst>
                    <a:ext uri="{FF2B5EF4-FFF2-40B4-BE49-F238E27FC236}">
                      <a16:creationId xmlns:a16="http://schemas.microsoft.com/office/drawing/2014/main" id="{C3A7C45A-C6A6-C33C-B6CD-E1918D895CF2}"/>
                    </a:ext>
                  </a:extLst>
                </p:cNvPr>
                <p:cNvGrpSpPr/>
                <p:nvPr/>
              </p:nvGrpSpPr>
              <p:grpSpPr>
                <a:xfrm>
                  <a:off x="8081899" y="2624282"/>
                  <a:ext cx="71148" cy="71238"/>
                  <a:chOff x="6005114" y="3701354"/>
                  <a:chExt cx="71148" cy="71238"/>
                </a:xfrm>
              </p:grpSpPr>
              <p:sp>
                <p:nvSpPr>
                  <p:cNvPr id="17824" name="Freeform: Shape 17823">
                    <a:extLst>
                      <a:ext uri="{FF2B5EF4-FFF2-40B4-BE49-F238E27FC236}">
                        <a16:creationId xmlns:a16="http://schemas.microsoft.com/office/drawing/2014/main" id="{0320BCF3-8D64-B006-7CED-43B550D3B69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25" name="Freeform: Shape 17824">
                    <a:extLst>
                      <a:ext uri="{FF2B5EF4-FFF2-40B4-BE49-F238E27FC236}">
                        <a16:creationId xmlns:a16="http://schemas.microsoft.com/office/drawing/2014/main" id="{950B5BE7-12EF-0CB4-DEE8-883D66BD804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1" name="Group 17520">
                  <a:extLst>
                    <a:ext uri="{FF2B5EF4-FFF2-40B4-BE49-F238E27FC236}">
                      <a16:creationId xmlns:a16="http://schemas.microsoft.com/office/drawing/2014/main" id="{B510F271-F76C-2B75-0F50-9F6447856278}"/>
                    </a:ext>
                  </a:extLst>
                </p:cNvPr>
                <p:cNvGrpSpPr/>
                <p:nvPr/>
              </p:nvGrpSpPr>
              <p:grpSpPr>
                <a:xfrm>
                  <a:off x="8155718" y="2673961"/>
                  <a:ext cx="71148" cy="71238"/>
                  <a:chOff x="6005114" y="3701354"/>
                  <a:chExt cx="71148" cy="71238"/>
                </a:xfrm>
              </p:grpSpPr>
              <p:sp>
                <p:nvSpPr>
                  <p:cNvPr id="17822" name="Freeform: Shape 17821">
                    <a:extLst>
                      <a:ext uri="{FF2B5EF4-FFF2-40B4-BE49-F238E27FC236}">
                        <a16:creationId xmlns:a16="http://schemas.microsoft.com/office/drawing/2014/main" id="{650AEC47-437C-C5E8-9CA6-FECF077E3AF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23" name="Freeform: Shape 17822">
                    <a:extLst>
                      <a:ext uri="{FF2B5EF4-FFF2-40B4-BE49-F238E27FC236}">
                        <a16:creationId xmlns:a16="http://schemas.microsoft.com/office/drawing/2014/main" id="{FC9D1ADB-E0BA-0D68-5B0B-DD3AB01547A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2" name="Group 17521">
                  <a:extLst>
                    <a:ext uri="{FF2B5EF4-FFF2-40B4-BE49-F238E27FC236}">
                      <a16:creationId xmlns:a16="http://schemas.microsoft.com/office/drawing/2014/main" id="{E7565E95-199B-FA12-8819-1F876AEF7025}"/>
                    </a:ext>
                  </a:extLst>
                </p:cNvPr>
                <p:cNvGrpSpPr/>
                <p:nvPr/>
              </p:nvGrpSpPr>
              <p:grpSpPr>
                <a:xfrm>
                  <a:off x="8208104" y="2719454"/>
                  <a:ext cx="71148" cy="71238"/>
                  <a:chOff x="6005114" y="3701354"/>
                  <a:chExt cx="71148" cy="71238"/>
                </a:xfrm>
              </p:grpSpPr>
              <p:sp>
                <p:nvSpPr>
                  <p:cNvPr id="17820" name="Freeform: Shape 17819">
                    <a:extLst>
                      <a:ext uri="{FF2B5EF4-FFF2-40B4-BE49-F238E27FC236}">
                        <a16:creationId xmlns:a16="http://schemas.microsoft.com/office/drawing/2014/main" id="{5908DAB6-B229-CE30-78E9-3D01E1D0D61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21" name="Freeform: Shape 17820">
                    <a:extLst>
                      <a:ext uri="{FF2B5EF4-FFF2-40B4-BE49-F238E27FC236}">
                        <a16:creationId xmlns:a16="http://schemas.microsoft.com/office/drawing/2014/main" id="{2E63AB20-9092-C401-C88C-81FAB2FBE6F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3" name="Group 17522">
                  <a:extLst>
                    <a:ext uri="{FF2B5EF4-FFF2-40B4-BE49-F238E27FC236}">
                      <a16:creationId xmlns:a16="http://schemas.microsoft.com/office/drawing/2014/main" id="{1B4DBB61-55C9-4E6F-B000-08FBD504D177}"/>
                    </a:ext>
                  </a:extLst>
                </p:cNvPr>
                <p:cNvGrpSpPr/>
                <p:nvPr/>
              </p:nvGrpSpPr>
              <p:grpSpPr>
                <a:xfrm>
                  <a:off x="8165242" y="2681104"/>
                  <a:ext cx="71148" cy="71238"/>
                  <a:chOff x="6005114" y="3701354"/>
                  <a:chExt cx="71148" cy="71238"/>
                </a:xfrm>
              </p:grpSpPr>
              <p:sp>
                <p:nvSpPr>
                  <p:cNvPr id="17818" name="Freeform: Shape 17817">
                    <a:extLst>
                      <a:ext uri="{FF2B5EF4-FFF2-40B4-BE49-F238E27FC236}">
                        <a16:creationId xmlns:a16="http://schemas.microsoft.com/office/drawing/2014/main" id="{87FD200D-F0C8-00C9-1D73-034167AACBC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19" name="Freeform: Shape 17818">
                    <a:extLst>
                      <a:ext uri="{FF2B5EF4-FFF2-40B4-BE49-F238E27FC236}">
                        <a16:creationId xmlns:a16="http://schemas.microsoft.com/office/drawing/2014/main" id="{504CFBD5-C389-CADC-A495-F31D6581A87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4" name="Group 17523">
                  <a:extLst>
                    <a:ext uri="{FF2B5EF4-FFF2-40B4-BE49-F238E27FC236}">
                      <a16:creationId xmlns:a16="http://schemas.microsoft.com/office/drawing/2014/main" id="{B0B22771-B3A7-F92E-A284-7BC2637B2551}"/>
                    </a:ext>
                  </a:extLst>
                </p:cNvPr>
                <p:cNvGrpSpPr/>
                <p:nvPr/>
              </p:nvGrpSpPr>
              <p:grpSpPr>
                <a:xfrm>
                  <a:off x="8174768" y="2694091"/>
                  <a:ext cx="71148" cy="71238"/>
                  <a:chOff x="6005114" y="3701354"/>
                  <a:chExt cx="71148" cy="71238"/>
                </a:xfrm>
              </p:grpSpPr>
              <p:sp>
                <p:nvSpPr>
                  <p:cNvPr id="17816" name="Freeform: Shape 17815">
                    <a:extLst>
                      <a:ext uri="{FF2B5EF4-FFF2-40B4-BE49-F238E27FC236}">
                        <a16:creationId xmlns:a16="http://schemas.microsoft.com/office/drawing/2014/main" id="{70651BB0-7EE7-72DF-4CDD-AF5341DEFCD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17" name="Freeform: Shape 17816">
                    <a:extLst>
                      <a:ext uri="{FF2B5EF4-FFF2-40B4-BE49-F238E27FC236}">
                        <a16:creationId xmlns:a16="http://schemas.microsoft.com/office/drawing/2014/main" id="{5A714CAE-9C8A-EEEB-3DE6-9B4E1624C1D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5" name="Group 17524">
                  <a:extLst>
                    <a:ext uri="{FF2B5EF4-FFF2-40B4-BE49-F238E27FC236}">
                      <a16:creationId xmlns:a16="http://schemas.microsoft.com/office/drawing/2014/main" id="{97828410-F18F-7BF6-EE37-965BC95FFEE3}"/>
                    </a:ext>
                  </a:extLst>
                </p:cNvPr>
                <p:cNvGrpSpPr/>
                <p:nvPr/>
              </p:nvGrpSpPr>
              <p:grpSpPr>
                <a:xfrm>
                  <a:off x="8193817" y="2719454"/>
                  <a:ext cx="71148" cy="71238"/>
                  <a:chOff x="6005114" y="3701354"/>
                  <a:chExt cx="71148" cy="71238"/>
                </a:xfrm>
              </p:grpSpPr>
              <p:sp>
                <p:nvSpPr>
                  <p:cNvPr id="17814" name="Freeform: Shape 17813">
                    <a:extLst>
                      <a:ext uri="{FF2B5EF4-FFF2-40B4-BE49-F238E27FC236}">
                        <a16:creationId xmlns:a16="http://schemas.microsoft.com/office/drawing/2014/main" id="{48E543D8-9BB7-E9E6-75A0-856419DE124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15" name="Freeform: Shape 17814">
                    <a:extLst>
                      <a:ext uri="{FF2B5EF4-FFF2-40B4-BE49-F238E27FC236}">
                        <a16:creationId xmlns:a16="http://schemas.microsoft.com/office/drawing/2014/main" id="{AA900A3F-9659-FE3B-14B9-8815CDFBE61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6" name="Group 17525">
                  <a:extLst>
                    <a:ext uri="{FF2B5EF4-FFF2-40B4-BE49-F238E27FC236}">
                      <a16:creationId xmlns:a16="http://schemas.microsoft.com/office/drawing/2014/main" id="{0D99243C-4E1C-90D7-C284-DAE9BDE5B9A1}"/>
                    </a:ext>
                  </a:extLst>
                </p:cNvPr>
                <p:cNvGrpSpPr/>
                <p:nvPr/>
              </p:nvGrpSpPr>
              <p:grpSpPr>
                <a:xfrm>
                  <a:off x="8262872" y="2740657"/>
                  <a:ext cx="71148" cy="71238"/>
                  <a:chOff x="6005114" y="3701354"/>
                  <a:chExt cx="71148" cy="71238"/>
                </a:xfrm>
              </p:grpSpPr>
              <p:sp>
                <p:nvSpPr>
                  <p:cNvPr id="17812" name="Freeform: Shape 17811">
                    <a:extLst>
                      <a:ext uri="{FF2B5EF4-FFF2-40B4-BE49-F238E27FC236}">
                        <a16:creationId xmlns:a16="http://schemas.microsoft.com/office/drawing/2014/main" id="{AD5E67D0-5514-C158-A4E7-953C949B889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13" name="Freeform: Shape 17812">
                    <a:extLst>
                      <a:ext uri="{FF2B5EF4-FFF2-40B4-BE49-F238E27FC236}">
                        <a16:creationId xmlns:a16="http://schemas.microsoft.com/office/drawing/2014/main" id="{42CB4782-9DB7-4716-AFAA-EC8740C3875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7" name="Group 17526">
                  <a:extLst>
                    <a:ext uri="{FF2B5EF4-FFF2-40B4-BE49-F238E27FC236}">
                      <a16:creationId xmlns:a16="http://schemas.microsoft.com/office/drawing/2014/main" id="{5394DD67-F4DE-E783-49DB-D204C1674327}"/>
                    </a:ext>
                  </a:extLst>
                </p:cNvPr>
                <p:cNvGrpSpPr/>
                <p:nvPr/>
              </p:nvGrpSpPr>
              <p:grpSpPr>
                <a:xfrm>
                  <a:off x="8358009" y="2783070"/>
                  <a:ext cx="71148" cy="71238"/>
                  <a:chOff x="6005114" y="3701354"/>
                  <a:chExt cx="71148" cy="71238"/>
                </a:xfrm>
              </p:grpSpPr>
              <p:sp>
                <p:nvSpPr>
                  <p:cNvPr id="17810" name="Freeform: Shape 17809">
                    <a:extLst>
                      <a:ext uri="{FF2B5EF4-FFF2-40B4-BE49-F238E27FC236}">
                        <a16:creationId xmlns:a16="http://schemas.microsoft.com/office/drawing/2014/main" id="{00C85611-1403-2F1C-7879-34C3C7CBF1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11" name="Freeform: Shape 17810">
                    <a:extLst>
                      <a:ext uri="{FF2B5EF4-FFF2-40B4-BE49-F238E27FC236}">
                        <a16:creationId xmlns:a16="http://schemas.microsoft.com/office/drawing/2014/main" id="{DEDC6E08-7DE0-AED8-F5C4-3DC9DCA99C0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8" name="Group 17527">
                  <a:extLst>
                    <a:ext uri="{FF2B5EF4-FFF2-40B4-BE49-F238E27FC236}">
                      <a16:creationId xmlns:a16="http://schemas.microsoft.com/office/drawing/2014/main" id="{FF25E3EB-9E50-DDF3-D3D9-1E4FC4780005}"/>
                    </a:ext>
                  </a:extLst>
                </p:cNvPr>
                <p:cNvGrpSpPr/>
                <p:nvPr/>
              </p:nvGrpSpPr>
              <p:grpSpPr>
                <a:xfrm>
                  <a:off x="8410395" y="2828563"/>
                  <a:ext cx="71148" cy="71238"/>
                  <a:chOff x="6005114" y="3701354"/>
                  <a:chExt cx="71148" cy="71238"/>
                </a:xfrm>
              </p:grpSpPr>
              <p:sp>
                <p:nvSpPr>
                  <p:cNvPr id="17808" name="Freeform: Shape 17807">
                    <a:extLst>
                      <a:ext uri="{FF2B5EF4-FFF2-40B4-BE49-F238E27FC236}">
                        <a16:creationId xmlns:a16="http://schemas.microsoft.com/office/drawing/2014/main" id="{565C8905-8499-E1CD-812E-AB1F7EFD3EA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09" name="Freeform: Shape 17808">
                    <a:extLst>
                      <a:ext uri="{FF2B5EF4-FFF2-40B4-BE49-F238E27FC236}">
                        <a16:creationId xmlns:a16="http://schemas.microsoft.com/office/drawing/2014/main" id="{70861FB8-1FE9-5D82-C7AD-C10FBC6B62D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29" name="Group 17528">
                  <a:extLst>
                    <a:ext uri="{FF2B5EF4-FFF2-40B4-BE49-F238E27FC236}">
                      <a16:creationId xmlns:a16="http://schemas.microsoft.com/office/drawing/2014/main" id="{37C8B2CD-F963-FF12-8853-5EE2F59589B0}"/>
                    </a:ext>
                  </a:extLst>
                </p:cNvPr>
                <p:cNvGrpSpPr/>
                <p:nvPr/>
              </p:nvGrpSpPr>
              <p:grpSpPr>
                <a:xfrm>
                  <a:off x="8367533" y="2790213"/>
                  <a:ext cx="71148" cy="71238"/>
                  <a:chOff x="6005114" y="3701354"/>
                  <a:chExt cx="71148" cy="71238"/>
                </a:xfrm>
              </p:grpSpPr>
              <p:sp>
                <p:nvSpPr>
                  <p:cNvPr id="17806" name="Freeform: Shape 17805">
                    <a:extLst>
                      <a:ext uri="{FF2B5EF4-FFF2-40B4-BE49-F238E27FC236}">
                        <a16:creationId xmlns:a16="http://schemas.microsoft.com/office/drawing/2014/main" id="{F20227D8-BEA4-5C83-2DE9-BAC38CB9D45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07" name="Freeform: Shape 17806">
                    <a:extLst>
                      <a:ext uri="{FF2B5EF4-FFF2-40B4-BE49-F238E27FC236}">
                        <a16:creationId xmlns:a16="http://schemas.microsoft.com/office/drawing/2014/main" id="{FE4DED36-646D-C579-1366-938B0A5C882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0" name="Group 17529">
                  <a:extLst>
                    <a:ext uri="{FF2B5EF4-FFF2-40B4-BE49-F238E27FC236}">
                      <a16:creationId xmlns:a16="http://schemas.microsoft.com/office/drawing/2014/main" id="{7A925578-AA7E-D246-BA31-1CD5C02B5A02}"/>
                    </a:ext>
                  </a:extLst>
                </p:cNvPr>
                <p:cNvGrpSpPr/>
                <p:nvPr/>
              </p:nvGrpSpPr>
              <p:grpSpPr>
                <a:xfrm>
                  <a:off x="8377059" y="2803200"/>
                  <a:ext cx="71148" cy="71238"/>
                  <a:chOff x="6005114" y="3701354"/>
                  <a:chExt cx="71148" cy="71238"/>
                </a:xfrm>
              </p:grpSpPr>
              <p:sp>
                <p:nvSpPr>
                  <p:cNvPr id="17804" name="Freeform: Shape 17803">
                    <a:extLst>
                      <a:ext uri="{FF2B5EF4-FFF2-40B4-BE49-F238E27FC236}">
                        <a16:creationId xmlns:a16="http://schemas.microsoft.com/office/drawing/2014/main" id="{946B8552-5E0A-9586-5C6C-1744C050909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05" name="Freeform: Shape 17804">
                    <a:extLst>
                      <a:ext uri="{FF2B5EF4-FFF2-40B4-BE49-F238E27FC236}">
                        <a16:creationId xmlns:a16="http://schemas.microsoft.com/office/drawing/2014/main" id="{71FBCF0A-A559-447D-B05F-1D6916D916F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1" name="Group 17530">
                  <a:extLst>
                    <a:ext uri="{FF2B5EF4-FFF2-40B4-BE49-F238E27FC236}">
                      <a16:creationId xmlns:a16="http://schemas.microsoft.com/office/drawing/2014/main" id="{FBF9D193-6462-D10F-2925-D14FC333D9CA}"/>
                    </a:ext>
                  </a:extLst>
                </p:cNvPr>
                <p:cNvGrpSpPr/>
                <p:nvPr/>
              </p:nvGrpSpPr>
              <p:grpSpPr>
                <a:xfrm>
                  <a:off x="8396108" y="2828563"/>
                  <a:ext cx="71148" cy="71238"/>
                  <a:chOff x="6005114" y="3701354"/>
                  <a:chExt cx="71148" cy="71238"/>
                </a:xfrm>
              </p:grpSpPr>
              <p:sp>
                <p:nvSpPr>
                  <p:cNvPr id="17802" name="Freeform: Shape 17801">
                    <a:extLst>
                      <a:ext uri="{FF2B5EF4-FFF2-40B4-BE49-F238E27FC236}">
                        <a16:creationId xmlns:a16="http://schemas.microsoft.com/office/drawing/2014/main" id="{47C58505-94AE-EF2C-4B2E-A45B5049449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03" name="Freeform: Shape 17802">
                    <a:extLst>
                      <a:ext uri="{FF2B5EF4-FFF2-40B4-BE49-F238E27FC236}">
                        <a16:creationId xmlns:a16="http://schemas.microsoft.com/office/drawing/2014/main" id="{C3C40543-F5E6-EA5A-E303-5999BFEA318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2" name="Group 17531">
                  <a:extLst>
                    <a:ext uri="{FF2B5EF4-FFF2-40B4-BE49-F238E27FC236}">
                      <a16:creationId xmlns:a16="http://schemas.microsoft.com/office/drawing/2014/main" id="{5AD819B0-471C-BF9D-DA05-0894C5057C5C}"/>
                    </a:ext>
                  </a:extLst>
                </p:cNvPr>
                <p:cNvGrpSpPr/>
                <p:nvPr/>
              </p:nvGrpSpPr>
              <p:grpSpPr>
                <a:xfrm>
                  <a:off x="8443444" y="2862600"/>
                  <a:ext cx="71148" cy="71238"/>
                  <a:chOff x="6005114" y="3701354"/>
                  <a:chExt cx="71148" cy="71238"/>
                </a:xfrm>
              </p:grpSpPr>
              <p:sp>
                <p:nvSpPr>
                  <p:cNvPr id="17800" name="Freeform: Shape 17799">
                    <a:extLst>
                      <a:ext uri="{FF2B5EF4-FFF2-40B4-BE49-F238E27FC236}">
                        <a16:creationId xmlns:a16="http://schemas.microsoft.com/office/drawing/2014/main" id="{0DF07D7D-D66C-8E7D-0948-84E68FDCCDD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801" name="Freeform: Shape 17800">
                    <a:extLst>
                      <a:ext uri="{FF2B5EF4-FFF2-40B4-BE49-F238E27FC236}">
                        <a16:creationId xmlns:a16="http://schemas.microsoft.com/office/drawing/2014/main" id="{FE2309F8-4577-475A-D9CD-914B446950B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3" name="Group 17532">
                  <a:extLst>
                    <a:ext uri="{FF2B5EF4-FFF2-40B4-BE49-F238E27FC236}">
                      <a16:creationId xmlns:a16="http://schemas.microsoft.com/office/drawing/2014/main" id="{D35695A6-1770-5860-4F71-0AB56F770653}"/>
                    </a:ext>
                  </a:extLst>
                </p:cNvPr>
                <p:cNvGrpSpPr/>
                <p:nvPr/>
              </p:nvGrpSpPr>
              <p:grpSpPr>
                <a:xfrm>
                  <a:off x="8574411" y="2899620"/>
                  <a:ext cx="71148" cy="71238"/>
                  <a:chOff x="6005114" y="3701354"/>
                  <a:chExt cx="71148" cy="71238"/>
                </a:xfrm>
              </p:grpSpPr>
              <p:sp>
                <p:nvSpPr>
                  <p:cNvPr id="17798" name="Freeform: Shape 17797">
                    <a:extLst>
                      <a:ext uri="{FF2B5EF4-FFF2-40B4-BE49-F238E27FC236}">
                        <a16:creationId xmlns:a16="http://schemas.microsoft.com/office/drawing/2014/main" id="{6BF10F95-1CAD-E955-4473-DF548AF8295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99" name="Freeform: Shape 17798">
                    <a:extLst>
                      <a:ext uri="{FF2B5EF4-FFF2-40B4-BE49-F238E27FC236}">
                        <a16:creationId xmlns:a16="http://schemas.microsoft.com/office/drawing/2014/main" id="{C55D5384-4921-B083-1C59-42FB8A66F90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4" name="Group 17533">
                  <a:extLst>
                    <a:ext uri="{FF2B5EF4-FFF2-40B4-BE49-F238E27FC236}">
                      <a16:creationId xmlns:a16="http://schemas.microsoft.com/office/drawing/2014/main" id="{A24837EA-49AA-5A8C-7033-29E5921A211A}"/>
                    </a:ext>
                  </a:extLst>
                </p:cNvPr>
                <p:cNvGrpSpPr/>
                <p:nvPr/>
              </p:nvGrpSpPr>
              <p:grpSpPr>
                <a:xfrm>
                  <a:off x="8473930" y="2864001"/>
                  <a:ext cx="71148" cy="71238"/>
                  <a:chOff x="6005114" y="3701354"/>
                  <a:chExt cx="71148" cy="71238"/>
                </a:xfrm>
              </p:grpSpPr>
              <p:sp>
                <p:nvSpPr>
                  <p:cNvPr id="17796" name="Freeform: Shape 17795">
                    <a:extLst>
                      <a:ext uri="{FF2B5EF4-FFF2-40B4-BE49-F238E27FC236}">
                        <a16:creationId xmlns:a16="http://schemas.microsoft.com/office/drawing/2014/main" id="{060B0CB2-69BF-2B9B-81C8-DB1EC3D41B8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97" name="Freeform: Shape 17796">
                    <a:extLst>
                      <a:ext uri="{FF2B5EF4-FFF2-40B4-BE49-F238E27FC236}">
                        <a16:creationId xmlns:a16="http://schemas.microsoft.com/office/drawing/2014/main" id="{75C8B7FD-CFE1-FF69-6BF7-375B0AF50AA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5" name="Group 17534">
                  <a:extLst>
                    <a:ext uri="{FF2B5EF4-FFF2-40B4-BE49-F238E27FC236}">
                      <a16:creationId xmlns:a16="http://schemas.microsoft.com/office/drawing/2014/main" id="{2EA716F0-F6AD-BA4C-E015-488B8DEED83F}"/>
                    </a:ext>
                  </a:extLst>
                </p:cNvPr>
                <p:cNvGrpSpPr/>
                <p:nvPr/>
              </p:nvGrpSpPr>
              <p:grpSpPr>
                <a:xfrm>
                  <a:off x="8502975" y="2864001"/>
                  <a:ext cx="71148" cy="71238"/>
                  <a:chOff x="6005114" y="3701354"/>
                  <a:chExt cx="71148" cy="71238"/>
                </a:xfrm>
              </p:grpSpPr>
              <p:sp>
                <p:nvSpPr>
                  <p:cNvPr id="17794" name="Freeform: Shape 17793">
                    <a:extLst>
                      <a:ext uri="{FF2B5EF4-FFF2-40B4-BE49-F238E27FC236}">
                        <a16:creationId xmlns:a16="http://schemas.microsoft.com/office/drawing/2014/main" id="{ED9BBD41-CB54-C3C4-9AF1-B25A988B23B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95" name="Freeform: Shape 17794">
                    <a:extLst>
                      <a:ext uri="{FF2B5EF4-FFF2-40B4-BE49-F238E27FC236}">
                        <a16:creationId xmlns:a16="http://schemas.microsoft.com/office/drawing/2014/main" id="{C4E32EFD-D1EC-B3AE-F241-4F140CD5C84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6" name="Group 17535">
                  <a:extLst>
                    <a:ext uri="{FF2B5EF4-FFF2-40B4-BE49-F238E27FC236}">
                      <a16:creationId xmlns:a16="http://schemas.microsoft.com/office/drawing/2014/main" id="{F8DD6504-EC0A-B70C-2292-8FCEA6840E59}"/>
                    </a:ext>
                  </a:extLst>
                </p:cNvPr>
                <p:cNvGrpSpPr/>
                <p:nvPr/>
              </p:nvGrpSpPr>
              <p:grpSpPr>
                <a:xfrm>
                  <a:off x="8550599" y="2895742"/>
                  <a:ext cx="71148" cy="71238"/>
                  <a:chOff x="6005114" y="3701354"/>
                  <a:chExt cx="71148" cy="71238"/>
                </a:xfrm>
              </p:grpSpPr>
              <p:sp>
                <p:nvSpPr>
                  <p:cNvPr id="17792" name="Freeform: Shape 17791">
                    <a:extLst>
                      <a:ext uri="{FF2B5EF4-FFF2-40B4-BE49-F238E27FC236}">
                        <a16:creationId xmlns:a16="http://schemas.microsoft.com/office/drawing/2014/main" id="{480E1C94-3636-A01D-823F-A9E7D7FD62F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93" name="Freeform: Shape 17792">
                    <a:extLst>
                      <a:ext uri="{FF2B5EF4-FFF2-40B4-BE49-F238E27FC236}">
                        <a16:creationId xmlns:a16="http://schemas.microsoft.com/office/drawing/2014/main" id="{7E006DCC-6F4A-57FB-DD63-10FA3FB7B23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7" name="Group 17536">
                  <a:extLst>
                    <a:ext uri="{FF2B5EF4-FFF2-40B4-BE49-F238E27FC236}">
                      <a16:creationId xmlns:a16="http://schemas.microsoft.com/office/drawing/2014/main" id="{F7D5263E-EA2A-6909-9BFF-EADB14057C22}"/>
                    </a:ext>
                  </a:extLst>
                </p:cNvPr>
                <p:cNvGrpSpPr/>
                <p:nvPr/>
              </p:nvGrpSpPr>
              <p:grpSpPr>
                <a:xfrm>
                  <a:off x="8590215" y="2900987"/>
                  <a:ext cx="71148" cy="71238"/>
                  <a:chOff x="6005114" y="3701354"/>
                  <a:chExt cx="71148" cy="71238"/>
                </a:xfrm>
              </p:grpSpPr>
              <p:sp>
                <p:nvSpPr>
                  <p:cNvPr id="17790" name="Freeform: Shape 17789">
                    <a:extLst>
                      <a:ext uri="{FF2B5EF4-FFF2-40B4-BE49-F238E27FC236}">
                        <a16:creationId xmlns:a16="http://schemas.microsoft.com/office/drawing/2014/main" id="{FE998405-DB86-A898-5C9D-4202B169E32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91" name="Freeform: Shape 17790">
                    <a:extLst>
                      <a:ext uri="{FF2B5EF4-FFF2-40B4-BE49-F238E27FC236}">
                        <a16:creationId xmlns:a16="http://schemas.microsoft.com/office/drawing/2014/main" id="{E55C7083-085A-ABA3-C93A-27335C3641F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8" name="Group 17537">
                  <a:extLst>
                    <a:ext uri="{FF2B5EF4-FFF2-40B4-BE49-F238E27FC236}">
                      <a16:creationId xmlns:a16="http://schemas.microsoft.com/office/drawing/2014/main" id="{5557EB7E-6567-6B44-A899-4DC320944557}"/>
                    </a:ext>
                  </a:extLst>
                </p:cNvPr>
                <p:cNvGrpSpPr/>
                <p:nvPr/>
              </p:nvGrpSpPr>
              <p:grpSpPr>
                <a:xfrm>
                  <a:off x="8708640" y="2936606"/>
                  <a:ext cx="71148" cy="71238"/>
                  <a:chOff x="6005114" y="3701354"/>
                  <a:chExt cx="71148" cy="71238"/>
                </a:xfrm>
              </p:grpSpPr>
              <p:sp>
                <p:nvSpPr>
                  <p:cNvPr id="17788" name="Freeform: Shape 17787">
                    <a:extLst>
                      <a:ext uri="{FF2B5EF4-FFF2-40B4-BE49-F238E27FC236}">
                        <a16:creationId xmlns:a16="http://schemas.microsoft.com/office/drawing/2014/main" id="{55D89598-AD58-DAC5-5A1D-B3293F25811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89" name="Freeform: Shape 17788">
                    <a:extLst>
                      <a:ext uri="{FF2B5EF4-FFF2-40B4-BE49-F238E27FC236}">
                        <a16:creationId xmlns:a16="http://schemas.microsoft.com/office/drawing/2014/main" id="{B922263C-BE03-1995-F7BF-A855219149A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39" name="Group 17538">
                  <a:extLst>
                    <a:ext uri="{FF2B5EF4-FFF2-40B4-BE49-F238E27FC236}">
                      <a16:creationId xmlns:a16="http://schemas.microsoft.com/office/drawing/2014/main" id="{FB1254E6-27D2-71B9-8D4E-482833221C59}"/>
                    </a:ext>
                  </a:extLst>
                </p:cNvPr>
                <p:cNvGrpSpPr/>
                <p:nvPr/>
              </p:nvGrpSpPr>
              <p:grpSpPr>
                <a:xfrm>
                  <a:off x="8678465" y="2931361"/>
                  <a:ext cx="71148" cy="71238"/>
                  <a:chOff x="6005114" y="3701354"/>
                  <a:chExt cx="71148" cy="71238"/>
                </a:xfrm>
              </p:grpSpPr>
              <p:sp>
                <p:nvSpPr>
                  <p:cNvPr id="17786" name="Freeform: Shape 17785">
                    <a:extLst>
                      <a:ext uri="{FF2B5EF4-FFF2-40B4-BE49-F238E27FC236}">
                        <a16:creationId xmlns:a16="http://schemas.microsoft.com/office/drawing/2014/main" id="{1E936820-0493-0238-96FB-8F6D6A3F30D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87" name="Freeform: Shape 17786">
                    <a:extLst>
                      <a:ext uri="{FF2B5EF4-FFF2-40B4-BE49-F238E27FC236}">
                        <a16:creationId xmlns:a16="http://schemas.microsoft.com/office/drawing/2014/main" id="{25FDAB99-72B5-9A90-F3CA-73E362202AE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0" name="Group 17539">
                  <a:extLst>
                    <a:ext uri="{FF2B5EF4-FFF2-40B4-BE49-F238E27FC236}">
                      <a16:creationId xmlns:a16="http://schemas.microsoft.com/office/drawing/2014/main" id="{956D9CE7-EB1A-299E-44D6-1FCBA47AAACA}"/>
                    </a:ext>
                  </a:extLst>
                </p:cNvPr>
                <p:cNvGrpSpPr/>
                <p:nvPr/>
              </p:nvGrpSpPr>
              <p:grpSpPr>
                <a:xfrm>
                  <a:off x="8638129" y="2919084"/>
                  <a:ext cx="71148" cy="71238"/>
                  <a:chOff x="6005114" y="3701354"/>
                  <a:chExt cx="71148" cy="71238"/>
                </a:xfrm>
              </p:grpSpPr>
              <p:sp>
                <p:nvSpPr>
                  <p:cNvPr id="17784" name="Freeform: Shape 17783">
                    <a:extLst>
                      <a:ext uri="{FF2B5EF4-FFF2-40B4-BE49-F238E27FC236}">
                        <a16:creationId xmlns:a16="http://schemas.microsoft.com/office/drawing/2014/main" id="{854B3201-457D-0012-2C41-7E94D115385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85" name="Freeform: Shape 17784">
                    <a:extLst>
                      <a:ext uri="{FF2B5EF4-FFF2-40B4-BE49-F238E27FC236}">
                        <a16:creationId xmlns:a16="http://schemas.microsoft.com/office/drawing/2014/main" id="{E6EF771E-8AE8-5CF1-908B-D5D80CF2F1A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1" name="Group 17540">
                  <a:extLst>
                    <a:ext uri="{FF2B5EF4-FFF2-40B4-BE49-F238E27FC236}">
                      <a16:creationId xmlns:a16="http://schemas.microsoft.com/office/drawing/2014/main" id="{5C7AC8D2-0E6A-ECDC-561F-DB072832EE40}"/>
                    </a:ext>
                  </a:extLst>
                </p:cNvPr>
                <p:cNvGrpSpPr/>
                <p:nvPr/>
              </p:nvGrpSpPr>
              <p:grpSpPr>
                <a:xfrm>
                  <a:off x="8748976" y="2933742"/>
                  <a:ext cx="71148" cy="71238"/>
                  <a:chOff x="6005114" y="3701354"/>
                  <a:chExt cx="71148" cy="71238"/>
                </a:xfrm>
              </p:grpSpPr>
              <p:sp>
                <p:nvSpPr>
                  <p:cNvPr id="17782" name="Freeform: Shape 17781">
                    <a:extLst>
                      <a:ext uri="{FF2B5EF4-FFF2-40B4-BE49-F238E27FC236}">
                        <a16:creationId xmlns:a16="http://schemas.microsoft.com/office/drawing/2014/main" id="{CC2EE5F4-53B4-E506-AC62-515314E073A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83" name="Freeform: Shape 17782">
                    <a:extLst>
                      <a:ext uri="{FF2B5EF4-FFF2-40B4-BE49-F238E27FC236}">
                        <a16:creationId xmlns:a16="http://schemas.microsoft.com/office/drawing/2014/main" id="{82CDADC3-BD51-0A68-4922-1EA1889B410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2" name="Group 17541">
                  <a:extLst>
                    <a:ext uri="{FF2B5EF4-FFF2-40B4-BE49-F238E27FC236}">
                      <a16:creationId xmlns:a16="http://schemas.microsoft.com/office/drawing/2014/main" id="{5883C76B-D474-CBF3-4595-BC5452755369}"/>
                    </a:ext>
                  </a:extLst>
                </p:cNvPr>
                <p:cNvGrpSpPr/>
                <p:nvPr/>
              </p:nvGrpSpPr>
              <p:grpSpPr>
                <a:xfrm>
                  <a:off x="8765645" y="2933742"/>
                  <a:ext cx="71148" cy="71238"/>
                  <a:chOff x="6005114" y="3701354"/>
                  <a:chExt cx="71148" cy="71238"/>
                </a:xfrm>
              </p:grpSpPr>
              <p:sp>
                <p:nvSpPr>
                  <p:cNvPr id="17780" name="Freeform: Shape 17779">
                    <a:extLst>
                      <a:ext uri="{FF2B5EF4-FFF2-40B4-BE49-F238E27FC236}">
                        <a16:creationId xmlns:a16="http://schemas.microsoft.com/office/drawing/2014/main" id="{A7D93636-C1E2-EAF1-9C97-AC21E2E5A2C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81" name="Freeform: Shape 17780">
                    <a:extLst>
                      <a:ext uri="{FF2B5EF4-FFF2-40B4-BE49-F238E27FC236}">
                        <a16:creationId xmlns:a16="http://schemas.microsoft.com/office/drawing/2014/main" id="{105EBD0A-E143-39F2-A6C2-39DE120DCBB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3" name="Group 17542">
                  <a:extLst>
                    <a:ext uri="{FF2B5EF4-FFF2-40B4-BE49-F238E27FC236}">
                      <a16:creationId xmlns:a16="http://schemas.microsoft.com/office/drawing/2014/main" id="{62D1C29C-8ED7-415B-0FD3-43031A090446}"/>
                    </a:ext>
                  </a:extLst>
                </p:cNvPr>
                <p:cNvGrpSpPr/>
                <p:nvPr/>
              </p:nvGrpSpPr>
              <p:grpSpPr>
                <a:xfrm>
                  <a:off x="8784695" y="2933742"/>
                  <a:ext cx="71148" cy="71238"/>
                  <a:chOff x="6005114" y="3701354"/>
                  <a:chExt cx="71148" cy="71238"/>
                </a:xfrm>
              </p:grpSpPr>
              <p:sp>
                <p:nvSpPr>
                  <p:cNvPr id="17778" name="Freeform: Shape 17777">
                    <a:extLst>
                      <a:ext uri="{FF2B5EF4-FFF2-40B4-BE49-F238E27FC236}">
                        <a16:creationId xmlns:a16="http://schemas.microsoft.com/office/drawing/2014/main" id="{4D91448D-06DA-B596-13E8-592F87B1C53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79" name="Freeform: Shape 17778">
                    <a:extLst>
                      <a:ext uri="{FF2B5EF4-FFF2-40B4-BE49-F238E27FC236}">
                        <a16:creationId xmlns:a16="http://schemas.microsoft.com/office/drawing/2014/main" id="{5CF96FD2-4B27-CBEE-282E-6E537B757A8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4" name="Group 17543">
                  <a:extLst>
                    <a:ext uri="{FF2B5EF4-FFF2-40B4-BE49-F238E27FC236}">
                      <a16:creationId xmlns:a16="http://schemas.microsoft.com/office/drawing/2014/main" id="{132BCCD6-AECB-9DA7-D8EB-0A8CA4DB6FE2}"/>
                    </a:ext>
                  </a:extLst>
                </p:cNvPr>
                <p:cNvGrpSpPr/>
                <p:nvPr/>
              </p:nvGrpSpPr>
              <p:grpSpPr>
                <a:xfrm>
                  <a:off x="8825176" y="2933742"/>
                  <a:ext cx="71148" cy="71238"/>
                  <a:chOff x="6005114" y="3701354"/>
                  <a:chExt cx="71148" cy="71238"/>
                </a:xfrm>
              </p:grpSpPr>
              <p:sp>
                <p:nvSpPr>
                  <p:cNvPr id="17776" name="Freeform: Shape 17775">
                    <a:extLst>
                      <a:ext uri="{FF2B5EF4-FFF2-40B4-BE49-F238E27FC236}">
                        <a16:creationId xmlns:a16="http://schemas.microsoft.com/office/drawing/2014/main" id="{00E634EB-F55E-E820-DE62-6EBFB6EBE9D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77" name="Freeform: Shape 17776">
                    <a:extLst>
                      <a:ext uri="{FF2B5EF4-FFF2-40B4-BE49-F238E27FC236}">
                        <a16:creationId xmlns:a16="http://schemas.microsoft.com/office/drawing/2014/main" id="{94E36B69-8CC1-4B68-2C3C-DCD488D8162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5" name="Group 17544">
                  <a:extLst>
                    <a:ext uri="{FF2B5EF4-FFF2-40B4-BE49-F238E27FC236}">
                      <a16:creationId xmlns:a16="http://schemas.microsoft.com/office/drawing/2014/main" id="{2289892F-2F10-DE13-5A60-61852FEB9197}"/>
                    </a:ext>
                  </a:extLst>
                </p:cNvPr>
                <p:cNvGrpSpPr/>
                <p:nvPr/>
              </p:nvGrpSpPr>
              <p:grpSpPr>
                <a:xfrm>
                  <a:off x="8910458" y="2958035"/>
                  <a:ext cx="71148" cy="71238"/>
                  <a:chOff x="6005114" y="3701354"/>
                  <a:chExt cx="71148" cy="71238"/>
                </a:xfrm>
              </p:grpSpPr>
              <p:sp>
                <p:nvSpPr>
                  <p:cNvPr id="17774" name="Freeform: Shape 17773">
                    <a:extLst>
                      <a:ext uri="{FF2B5EF4-FFF2-40B4-BE49-F238E27FC236}">
                        <a16:creationId xmlns:a16="http://schemas.microsoft.com/office/drawing/2014/main" id="{E8D3257F-F39E-E93F-89FE-55007904C8E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75" name="Freeform: Shape 17774">
                    <a:extLst>
                      <a:ext uri="{FF2B5EF4-FFF2-40B4-BE49-F238E27FC236}">
                        <a16:creationId xmlns:a16="http://schemas.microsoft.com/office/drawing/2014/main" id="{88D83904-379E-B554-C92C-164123E35B2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6" name="Group 17545">
                  <a:extLst>
                    <a:ext uri="{FF2B5EF4-FFF2-40B4-BE49-F238E27FC236}">
                      <a16:creationId xmlns:a16="http://schemas.microsoft.com/office/drawing/2014/main" id="{A7AEB1EC-4CF1-6176-2442-9C2FC5D3EA53}"/>
                    </a:ext>
                  </a:extLst>
                </p:cNvPr>
                <p:cNvGrpSpPr/>
                <p:nvPr/>
              </p:nvGrpSpPr>
              <p:grpSpPr>
                <a:xfrm>
                  <a:off x="9086670" y="3038921"/>
                  <a:ext cx="71148" cy="71238"/>
                  <a:chOff x="6005114" y="3701354"/>
                  <a:chExt cx="71148" cy="71238"/>
                </a:xfrm>
              </p:grpSpPr>
              <p:sp>
                <p:nvSpPr>
                  <p:cNvPr id="17772" name="Freeform: Shape 17771">
                    <a:extLst>
                      <a:ext uri="{FF2B5EF4-FFF2-40B4-BE49-F238E27FC236}">
                        <a16:creationId xmlns:a16="http://schemas.microsoft.com/office/drawing/2014/main" id="{CF7A3385-0CB6-BB42-B7E3-DD697A169D8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73" name="Freeform: Shape 17772">
                    <a:extLst>
                      <a:ext uri="{FF2B5EF4-FFF2-40B4-BE49-F238E27FC236}">
                        <a16:creationId xmlns:a16="http://schemas.microsoft.com/office/drawing/2014/main" id="{1D1F8363-F060-B54B-D543-FAFE5AFF249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7" name="Group 17546">
                  <a:extLst>
                    <a:ext uri="{FF2B5EF4-FFF2-40B4-BE49-F238E27FC236}">
                      <a16:creationId xmlns:a16="http://schemas.microsoft.com/office/drawing/2014/main" id="{3B11549A-D9C5-3DA7-3CC1-CEF1DFC63490}"/>
                    </a:ext>
                  </a:extLst>
                </p:cNvPr>
                <p:cNvGrpSpPr/>
                <p:nvPr/>
              </p:nvGrpSpPr>
              <p:grpSpPr>
                <a:xfrm>
                  <a:off x="8975236" y="3003302"/>
                  <a:ext cx="71148" cy="71238"/>
                  <a:chOff x="6005114" y="3701354"/>
                  <a:chExt cx="71148" cy="71238"/>
                </a:xfrm>
              </p:grpSpPr>
              <p:sp>
                <p:nvSpPr>
                  <p:cNvPr id="17770" name="Freeform: Shape 17769">
                    <a:extLst>
                      <a:ext uri="{FF2B5EF4-FFF2-40B4-BE49-F238E27FC236}">
                        <a16:creationId xmlns:a16="http://schemas.microsoft.com/office/drawing/2014/main" id="{4BD99C27-D6C5-6AAE-D859-6227D88DE06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71" name="Freeform: Shape 17770">
                    <a:extLst>
                      <a:ext uri="{FF2B5EF4-FFF2-40B4-BE49-F238E27FC236}">
                        <a16:creationId xmlns:a16="http://schemas.microsoft.com/office/drawing/2014/main" id="{7D3C065F-5A64-5E3A-CCDB-42866ACF787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8" name="Group 17547">
                  <a:extLst>
                    <a:ext uri="{FF2B5EF4-FFF2-40B4-BE49-F238E27FC236}">
                      <a16:creationId xmlns:a16="http://schemas.microsoft.com/office/drawing/2014/main" id="{B69E4847-2570-F4EE-BB44-C5E07FF2DD57}"/>
                    </a:ext>
                  </a:extLst>
                </p:cNvPr>
                <p:cNvGrpSpPr/>
                <p:nvPr/>
              </p:nvGrpSpPr>
              <p:grpSpPr>
                <a:xfrm>
                  <a:off x="8987142" y="3002332"/>
                  <a:ext cx="71148" cy="71238"/>
                  <a:chOff x="6005114" y="3701354"/>
                  <a:chExt cx="71148" cy="71238"/>
                </a:xfrm>
              </p:grpSpPr>
              <p:sp>
                <p:nvSpPr>
                  <p:cNvPr id="17768" name="Freeform: Shape 17767">
                    <a:extLst>
                      <a:ext uri="{FF2B5EF4-FFF2-40B4-BE49-F238E27FC236}">
                        <a16:creationId xmlns:a16="http://schemas.microsoft.com/office/drawing/2014/main" id="{8EA24B19-F200-B9E8-91A6-84B8F7ACF6A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69" name="Freeform: Shape 17768">
                    <a:extLst>
                      <a:ext uri="{FF2B5EF4-FFF2-40B4-BE49-F238E27FC236}">
                        <a16:creationId xmlns:a16="http://schemas.microsoft.com/office/drawing/2014/main" id="{E264DAC9-DDD5-87B8-BDBF-2F05A6AB6E1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49" name="Group 17548">
                  <a:extLst>
                    <a:ext uri="{FF2B5EF4-FFF2-40B4-BE49-F238E27FC236}">
                      <a16:creationId xmlns:a16="http://schemas.microsoft.com/office/drawing/2014/main" id="{B574612C-4CFF-B72E-AFDB-A5AFA55B4A59}"/>
                    </a:ext>
                  </a:extLst>
                </p:cNvPr>
                <p:cNvGrpSpPr/>
                <p:nvPr/>
              </p:nvGrpSpPr>
              <p:grpSpPr>
                <a:xfrm>
                  <a:off x="9022716" y="3028477"/>
                  <a:ext cx="71148" cy="71238"/>
                  <a:chOff x="6005114" y="3701354"/>
                  <a:chExt cx="71148" cy="71238"/>
                </a:xfrm>
              </p:grpSpPr>
              <p:sp>
                <p:nvSpPr>
                  <p:cNvPr id="17766" name="Freeform: Shape 17765">
                    <a:extLst>
                      <a:ext uri="{FF2B5EF4-FFF2-40B4-BE49-F238E27FC236}">
                        <a16:creationId xmlns:a16="http://schemas.microsoft.com/office/drawing/2014/main" id="{BD8597DB-A7D0-0D40-0CD8-22F92EB8C62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67" name="Freeform: Shape 17766">
                    <a:extLst>
                      <a:ext uri="{FF2B5EF4-FFF2-40B4-BE49-F238E27FC236}">
                        <a16:creationId xmlns:a16="http://schemas.microsoft.com/office/drawing/2014/main" id="{7AEEFD91-F068-3C14-709F-8C914164CE2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0" name="Group 17549">
                  <a:extLst>
                    <a:ext uri="{FF2B5EF4-FFF2-40B4-BE49-F238E27FC236}">
                      <a16:creationId xmlns:a16="http://schemas.microsoft.com/office/drawing/2014/main" id="{5E21375B-82FD-4EF9-3937-EA1E99F14650}"/>
                    </a:ext>
                  </a:extLst>
                </p:cNvPr>
                <p:cNvGrpSpPr/>
                <p:nvPr/>
              </p:nvGrpSpPr>
              <p:grpSpPr>
                <a:xfrm>
                  <a:off x="9100669" y="3064096"/>
                  <a:ext cx="71148" cy="71238"/>
                  <a:chOff x="6005114" y="3701354"/>
                  <a:chExt cx="71148" cy="71238"/>
                </a:xfrm>
              </p:grpSpPr>
              <p:sp>
                <p:nvSpPr>
                  <p:cNvPr id="17764" name="Freeform: Shape 17763">
                    <a:extLst>
                      <a:ext uri="{FF2B5EF4-FFF2-40B4-BE49-F238E27FC236}">
                        <a16:creationId xmlns:a16="http://schemas.microsoft.com/office/drawing/2014/main" id="{DE97EE98-7AF3-8E3D-44C9-F7B4506722B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65" name="Freeform: Shape 17764">
                    <a:extLst>
                      <a:ext uri="{FF2B5EF4-FFF2-40B4-BE49-F238E27FC236}">
                        <a16:creationId xmlns:a16="http://schemas.microsoft.com/office/drawing/2014/main" id="{426B1C80-5647-224B-B0D8-F43CFB8A6D0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1" name="Group 17550">
                  <a:extLst>
                    <a:ext uri="{FF2B5EF4-FFF2-40B4-BE49-F238E27FC236}">
                      <a16:creationId xmlns:a16="http://schemas.microsoft.com/office/drawing/2014/main" id="{E94C3EB4-442A-B711-0C72-595E642B470A}"/>
                    </a:ext>
                  </a:extLst>
                </p:cNvPr>
                <p:cNvGrpSpPr/>
                <p:nvPr/>
              </p:nvGrpSpPr>
              <p:grpSpPr>
                <a:xfrm>
                  <a:off x="9178779" y="3107652"/>
                  <a:ext cx="71148" cy="71238"/>
                  <a:chOff x="6005114" y="3701354"/>
                  <a:chExt cx="71148" cy="71238"/>
                </a:xfrm>
              </p:grpSpPr>
              <p:sp>
                <p:nvSpPr>
                  <p:cNvPr id="17762" name="Freeform: Shape 17761">
                    <a:extLst>
                      <a:ext uri="{FF2B5EF4-FFF2-40B4-BE49-F238E27FC236}">
                        <a16:creationId xmlns:a16="http://schemas.microsoft.com/office/drawing/2014/main" id="{98DF57EB-2BAB-AF4B-DCC1-60F206E5AEB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63" name="Freeform: Shape 17762">
                    <a:extLst>
                      <a:ext uri="{FF2B5EF4-FFF2-40B4-BE49-F238E27FC236}">
                        <a16:creationId xmlns:a16="http://schemas.microsoft.com/office/drawing/2014/main" id="{3241688E-6F41-E6FC-64D0-78E2DFAEC32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2" name="Group 17551">
                  <a:extLst>
                    <a:ext uri="{FF2B5EF4-FFF2-40B4-BE49-F238E27FC236}">
                      <a16:creationId xmlns:a16="http://schemas.microsoft.com/office/drawing/2014/main" id="{9062793D-60A1-69BA-DDF5-AB387877FB40}"/>
                    </a:ext>
                  </a:extLst>
                </p:cNvPr>
                <p:cNvGrpSpPr/>
                <p:nvPr/>
              </p:nvGrpSpPr>
              <p:grpSpPr>
                <a:xfrm>
                  <a:off x="9191156" y="3107652"/>
                  <a:ext cx="71148" cy="71238"/>
                  <a:chOff x="6005114" y="3701354"/>
                  <a:chExt cx="71148" cy="71238"/>
                </a:xfrm>
              </p:grpSpPr>
              <p:sp>
                <p:nvSpPr>
                  <p:cNvPr id="17760" name="Freeform: Shape 17759">
                    <a:extLst>
                      <a:ext uri="{FF2B5EF4-FFF2-40B4-BE49-F238E27FC236}">
                        <a16:creationId xmlns:a16="http://schemas.microsoft.com/office/drawing/2014/main" id="{E23803BB-E2F6-4036-79DD-2141933187C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61" name="Freeform: Shape 17760">
                    <a:extLst>
                      <a:ext uri="{FF2B5EF4-FFF2-40B4-BE49-F238E27FC236}">
                        <a16:creationId xmlns:a16="http://schemas.microsoft.com/office/drawing/2014/main" id="{04E03D34-690E-37AC-F5D1-596AF149D9D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3" name="Group 17552">
                  <a:extLst>
                    <a:ext uri="{FF2B5EF4-FFF2-40B4-BE49-F238E27FC236}">
                      <a16:creationId xmlns:a16="http://schemas.microsoft.com/office/drawing/2014/main" id="{BCCFCA78-3367-D94F-FCE4-726D272242EB}"/>
                    </a:ext>
                  </a:extLst>
                </p:cNvPr>
                <p:cNvGrpSpPr/>
                <p:nvPr/>
              </p:nvGrpSpPr>
              <p:grpSpPr>
                <a:xfrm>
                  <a:off x="9112575" y="3064096"/>
                  <a:ext cx="71148" cy="71238"/>
                  <a:chOff x="6005114" y="3701354"/>
                  <a:chExt cx="71148" cy="71238"/>
                </a:xfrm>
              </p:grpSpPr>
              <p:sp>
                <p:nvSpPr>
                  <p:cNvPr id="17758" name="Freeform: Shape 17757">
                    <a:extLst>
                      <a:ext uri="{FF2B5EF4-FFF2-40B4-BE49-F238E27FC236}">
                        <a16:creationId xmlns:a16="http://schemas.microsoft.com/office/drawing/2014/main" id="{C0030C8A-AD99-BBD8-4935-689B8BCE2AB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59" name="Freeform: Shape 17758">
                    <a:extLst>
                      <a:ext uri="{FF2B5EF4-FFF2-40B4-BE49-F238E27FC236}">
                        <a16:creationId xmlns:a16="http://schemas.microsoft.com/office/drawing/2014/main" id="{E84C18F7-6B78-3803-EE53-92822525676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4" name="Group 17553">
                  <a:extLst>
                    <a:ext uri="{FF2B5EF4-FFF2-40B4-BE49-F238E27FC236}">
                      <a16:creationId xmlns:a16="http://schemas.microsoft.com/office/drawing/2014/main" id="{50ACD5A9-2C3B-EAC2-39A6-B532FD0275B8}"/>
                    </a:ext>
                  </a:extLst>
                </p:cNvPr>
                <p:cNvGrpSpPr/>
                <p:nvPr/>
              </p:nvGrpSpPr>
              <p:grpSpPr>
                <a:xfrm>
                  <a:off x="9143532" y="3088602"/>
                  <a:ext cx="71148" cy="71238"/>
                  <a:chOff x="6005114" y="3701354"/>
                  <a:chExt cx="71148" cy="71238"/>
                </a:xfrm>
              </p:grpSpPr>
              <p:sp>
                <p:nvSpPr>
                  <p:cNvPr id="17756" name="Freeform: Shape 17755">
                    <a:extLst>
                      <a:ext uri="{FF2B5EF4-FFF2-40B4-BE49-F238E27FC236}">
                        <a16:creationId xmlns:a16="http://schemas.microsoft.com/office/drawing/2014/main" id="{C26C57C1-5C8E-6971-2543-1053450CEFA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57" name="Freeform: Shape 17756">
                    <a:extLst>
                      <a:ext uri="{FF2B5EF4-FFF2-40B4-BE49-F238E27FC236}">
                        <a16:creationId xmlns:a16="http://schemas.microsoft.com/office/drawing/2014/main" id="{A2BD6AE8-5F8C-1210-F502-EB0DA146526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5" name="Group 17554">
                  <a:extLst>
                    <a:ext uri="{FF2B5EF4-FFF2-40B4-BE49-F238E27FC236}">
                      <a16:creationId xmlns:a16="http://schemas.microsoft.com/office/drawing/2014/main" id="{60E5C21E-097A-8369-AF72-75CD2FAFE2C1}"/>
                    </a:ext>
                  </a:extLst>
                </p:cNvPr>
                <p:cNvGrpSpPr/>
                <p:nvPr/>
              </p:nvGrpSpPr>
              <p:grpSpPr>
                <a:xfrm>
                  <a:off x="9283328" y="3149573"/>
                  <a:ext cx="71148" cy="71238"/>
                  <a:chOff x="6005114" y="3701354"/>
                  <a:chExt cx="71148" cy="71238"/>
                </a:xfrm>
              </p:grpSpPr>
              <p:sp>
                <p:nvSpPr>
                  <p:cNvPr id="17754" name="Freeform: Shape 17753">
                    <a:extLst>
                      <a:ext uri="{FF2B5EF4-FFF2-40B4-BE49-F238E27FC236}">
                        <a16:creationId xmlns:a16="http://schemas.microsoft.com/office/drawing/2014/main" id="{9C915438-8353-101C-B305-A5460DC661F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55" name="Freeform: Shape 17754">
                    <a:extLst>
                      <a:ext uri="{FF2B5EF4-FFF2-40B4-BE49-F238E27FC236}">
                        <a16:creationId xmlns:a16="http://schemas.microsoft.com/office/drawing/2014/main" id="{41F6908E-0F08-EF4B-FAC0-B263074540C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6" name="Group 17555">
                  <a:extLst>
                    <a:ext uri="{FF2B5EF4-FFF2-40B4-BE49-F238E27FC236}">
                      <a16:creationId xmlns:a16="http://schemas.microsoft.com/office/drawing/2014/main" id="{EBF6BF4B-25CC-768F-7DF3-175DF9C49BA4}"/>
                    </a:ext>
                  </a:extLst>
                </p:cNvPr>
                <p:cNvGrpSpPr/>
                <p:nvPr/>
              </p:nvGrpSpPr>
              <p:grpSpPr>
                <a:xfrm>
                  <a:off x="9318902" y="3155591"/>
                  <a:ext cx="71148" cy="71238"/>
                  <a:chOff x="6005114" y="3701354"/>
                  <a:chExt cx="71148" cy="71238"/>
                </a:xfrm>
              </p:grpSpPr>
              <p:sp>
                <p:nvSpPr>
                  <p:cNvPr id="17752" name="Freeform: Shape 17751">
                    <a:extLst>
                      <a:ext uri="{FF2B5EF4-FFF2-40B4-BE49-F238E27FC236}">
                        <a16:creationId xmlns:a16="http://schemas.microsoft.com/office/drawing/2014/main" id="{86679F73-CB13-B882-7ED1-D0B6A504B11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53" name="Freeform: Shape 17752">
                    <a:extLst>
                      <a:ext uri="{FF2B5EF4-FFF2-40B4-BE49-F238E27FC236}">
                        <a16:creationId xmlns:a16="http://schemas.microsoft.com/office/drawing/2014/main" id="{F22A67DA-05B9-ACBA-D590-8938015034B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7" name="Group 17556">
                  <a:extLst>
                    <a:ext uri="{FF2B5EF4-FFF2-40B4-BE49-F238E27FC236}">
                      <a16:creationId xmlns:a16="http://schemas.microsoft.com/office/drawing/2014/main" id="{E2D9F370-C467-45B9-35AB-A897AB767CF6}"/>
                    </a:ext>
                  </a:extLst>
                </p:cNvPr>
                <p:cNvGrpSpPr/>
                <p:nvPr/>
              </p:nvGrpSpPr>
              <p:grpSpPr>
                <a:xfrm>
                  <a:off x="9341175" y="3155591"/>
                  <a:ext cx="71148" cy="71238"/>
                  <a:chOff x="6005114" y="3701354"/>
                  <a:chExt cx="71148" cy="71238"/>
                </a:xfrm>
              </p:grpSpPr>
              <p:sp>
                <p:nvSpPr>
                  <p:cNvPr id="17750" name="Freeform: Shape 17749">
                    <a:extLst>
                      <a:ext uri="{FF2B5EF4-FFF2-40B4-BE49-F238E27FC236}">
                        <a16:creationId xmlns:a16="http://schemas.microsoft.com/office/drawing/2014/main" id="{08C869A8-5F05-6CCE-88F6-8108DC12208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51" name="Freeform: Shape 17750">
                    <a:extLst>
                      <a:ext uri="{FF2B5EF4-FFF2-40B4-BE49-F238E27FC236}">
                        <a16:creationId xmlns:a16="http://schemas.microsoft.com/office/drawing/2014/main" id="{D4A6B60B-46B3-C87F-3A95-634459E7F57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8" name="Group 17557">
                  <a:extLst>
                    <a:ext uri="{FF2B5EF4-FFF2-40B4-BE49-F238E27FC236}">
                      <a16:creationId xmlns:a16="http://schemas.microsoft.com/office/drawing/2014/main" id="{1F7C8C35-FBCC-6104-E508-8BC1F1FFC652}"/>
                    </a:ext>
                  </a:extLst>
                </p:cNvPr>
                <p:cNvGrpSpPr/>
                <p:nvPr/>
              </p:nvGrpSpPr>
              <p:grpSpPr>
                <a:xfrm>
                  <a:off x="9379275" y="3175190"/>
                  <a:ext cx="71148" cy="71238"/>
                  <a:chOff x="6005114" y="3701354"/>
                  <a:chExt cx="71148" cy="71238"/>
                </a:xfrm>
              </p:grpSpPr>
              <p:sp>
                <p:nvSpPr>
                  <p:cNvPr id="17748" name="Freeform: Shape 17747">
                    <a:extLst>
                      <a:ext uri="{FF2B5EF4-FFF2-40B4-BE49-F238E27FC236}">
                        <a16:creationId xmlns:a16="http://schemas.microsoft.com/office/drawing/2014/main" id="{191CBA2C-D686-7AC7-FDDF-12F55EE9BF1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49" name="Freeform: Shape 17748">
                    <a:extLst>
                      <a:ext uri="{FF2B5EF4-FFF2-40B4-BE49-F238E27FC236}">
                        <a16:creationId xmlns:a16="http://schemas.microsoft.com/office/drawing/2014/main" id="{9ECE88DC-5F26-1DD1-18C6-04C070AB001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59" name="Group 17558">
                  <a:extLst>
                    <a:ext uri="{FF2B5EF4-FFF2-40B4-BE49-F238E27FC236}">
                      <a16:creationId xmlns:a16="http://schemas.microsoft.com/office/drawing/2014/main" id="{5F8BFA8B-2FE9-49BC-B9FC-1C2C99300DF8}"/>
                    </a:ext>
                  </a:extLst>
                </p:cNvPr>
                <p:cNvGrpSpPr/>
                <p:nvPr/>
              </p:nvGrpSpPr>
              <p:grpSpPr>
                <a:xfrm>
                  <a:off x="9388800" y="3175190"/>
                  <a:ext cx="71148" cy="71238"/>
                  <a:chOff x="6005114" y="3701354"/>
                  <a:chExt cx="71148" cy="71238"/>
                </a:xfrm>
              </p:grpSpPr>
              <p:sp>
                <p:nvSpPr>
                  <p:cNvPr id="17746" name="Freeform: Shape 17745">
                    <a:extLst>
                      <a:ext uri="{FF2B5EF4-FFF2-40B4-BE49-F238E27FC236}">
                        <a16:creationId xmlns:a16="http://schemas.microsoft.com/office/drawing/2014/main" id="{3377C06C-70B6-962E-5998-07E27F37EAD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47" name="Freeform: Shape 17746">
                    <a:extLst>
                      <a:ext uri="{FF2B5EF4-FFF2-40B4-BE49-F238E27FC236}">
                        <a16:creationId xmlns:a16="http://schemas.microsoft.com/office/drawing/2014/main" id="{1B6FA49A-D2A6-B239-087E-88A2EA45D32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0" name="Group 17559">
                  <a:extLst>
                    <a:ext uri="{FF2B5EF4-FFF2-40B4-BE49-F238E27FC236}">
                      <a16:creationId xmlns:a16="http://schemas.microsoft.com/office/drawing/2014/main" id="{1FB3142E-3553-FB6E-F1E0-1515362C0840}"/>
                    </a:ext>
                  </a:extLst>
                </p:cNvPr>
                <p:cNvGrpSpPr/>
                <p:nvPr/>
              </p:nvGrpSpPr>
              <p:grpSpPr>
                <a:xfrm>
                  <a:off x="9412613" y="3187172"/>
                  <a:ext cx="71148" cy="71238"/>
                  <a:chOff x="6005114" y="3701354"/>
                  <a:chExt cx="71148" cy="71238"/>
                </a:xfrm>
              </p:grpSpPr>
              <p:sp>
                <p:nvSpPr>
                  <p:cNvPr id="17744" name="Freeform: Shape 17743">
                    <a:extLst>
                      <a:ext uri="{FF2B5EF4-FFF2-40B4-BE49-F238E27FC236}">
                        <a16:creationId xmlns:a16="http://schemas.microsoft.com/office/drawing/2014/main" id="{067FFF70-31C5-0EF8-E1A6-1294EF8478D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45" name="Freeform: Shape 17744">
                    <a:extLst>
                      <a:ext uri="{FF2B5EF4-FFF2-40B4-BE49-F238E27FC236}">
                        <a16:creationId xmlns:a16="http://schemas.microsoft.com/office/drawing/2014/main" id="{3581575D-8526-1F38-53B5-08E47BCFE97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1" name="Group 17560">
                  <a:extLst>
                    <a:ext uri="{FF2B5EF4-FFF2-40B4-BE49-F238E27FC236}">
                      <a16:creationId xmlns:a16="http://schemas.microsoft.com/office/drawing/2014/main" id="{E161C5E7-61EC-88C6-8E4B-45E0764DD745}"/>
                    </a:ext>
                  </a:extLst>
                </p:cNvPr>
                <p:cNvGrpSpPr/>
                <p:nvPr/>
              </p:nvGrpSpPr>
              <p:grpSpPr>
                <a:xfrm>
                  <a:off x="9481669" y="3191210"/>
                  <a:ext cx="71148" cy="71238"/>
                  <a:chOff x="6005114" y="3701354"/>
                  <a:chExt cx="71148" cy="71238"/>
                </a:xfrm>
              </p:grpSpPr>
              <p:sp>
                <p:nvSpPr>
                  <p:cNvPr id="17742" name="Freeform: Shape 17741">
                    <a:extLst>
                      <a:ext uri="{FF2B5EF4-FFF2-40B4-BE49-F238E27FC236}">
                        <a16:creationId xmlns:a16="http://schemas.microsoft.com/office/drawing/2014/main" id="{6C686B69-A064-21AC-4836-37E66CDA97E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43" name="Freeform: Shape 17742">
                    <a:extLst>
                      <a:ext uri="{FF2B5EF4-FFF2-40B4-BE49-F238E27FC236}">
                        <a16:creationId xmlns:a16="http://schemas.microsoft.com/office/drawing/2014/main" id="{F6170E53-4C32-C5F9-6A5F-3B749F0D143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2" name="Group 17561">
                  <a:extLst>
                    <a:ext uri="{FF2B5EF4-FFF2-40B4-BE49-F238E27FC236}">
                      <a16:creationId xmlns:a16="http://schemas.microsoft.com/office/drawing/2014/main" id="{A907786D-3881-ACF8-4EC5-0A10E97B45D6}"/>
                    </a:ext>
                  </a:extLst>
                </p:cNvPr>
                <p:cNvGrpSpPr/>
                <p:nvPr/>
              </p:nvGrpSpPr>
              <p:grpSpPr>
                <a:xfrm>
                  <a:off x="9563890" y="3204118"/>
                  <a:ext cx="71148" cy="71238"/>
                  <a:chOff x="6005114" y="3701354"/>
                  <a:chExt cx="71148" cy="71238"/>
                </a:xfrm>
              </p:grpSpPr>
              <p:sp>
                <p:nvSpPr>
                  <p:cNvPr id="17740" name="Freeform: Shape 17739">
                    <a:extLst>
                      <a:ext uri="{FF2B5EF4-FFF2-40B4-BE49-F238E27FC236}">
                        <a16:creationId xmlns:a16="http://schemas.microsoft.com/office/drawing/2014/main" id="{08122ECE-BBDD-90B2-37D0-393EE1B9401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41" name="Freeform: Shape 17740">
                    <a:extLst>
                      <a:ext uri="{FF2B5EF4-FFF2-40B4-BE49-F238E27FC236}">
                        <a16:creationId xmlns:a16="http://schemas.microsoft.com/office/drawing/2014/main" id="{A9E89630-0B33-AF0F-A012-55E640F9BE2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3" name="Group 17562">
                  <a:extLst>
                    <a:ext uri="{FF2B5EF4-FFF2-40B4-BE49-F238E27FC236}">
                      <a16:creationId xmlns:a16="http://schemas.microsoft.com/office/drawing/2014/main" id="{3AED9DFC-FDBA-D0B5-8C46-423145567870}"/>
                    </a:ext>
                  </a:extLst>
                </p:cNvPr>
                <p:cNvGrpSpPr/>
                <p:nvPr/>
              </p:nvGrpSpPr>
              <p:grpSpPr>
                <a:xfrm>
                  <a:off x="9581681" y="3204118"/>
                  <a:ext cx="71148" cy="71238"/>
                  <a:chOff x="6005114" y="3701354"/>
                  <a:chExt cx="71148" cy="71238"/>
                </a:xfrm>
              </p:grpSpPr>
              <p:sp>
                <p:nvSpPr>
                  <p:cNvPr id="17738" name="Freeform: Shape 17737">
                    <a:extLst>
                      <a:ext uri="{FF2B5EF4-FFF2-40B4-BE49-F238E27FC236}">
                        <a16:creationId xmlns:a16="http://schemas.microsoft.com/office/drawing/2014/main" id="{75505E68-2DEE-6524-6BC7-4A2004012AF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39" name="Freeform: Shape 17738">
                    <a:extLst>
                      <a:ext uri="{FF2B5EF4-FFF2-40B4-BE49-F238E27FC236}">
                        <a16:creationId xmlns:a16="http://schemas.microsoft.com/office/drawing/2014/main" id="{51E54843-4DD7-1760-CB7C-C9EC0AD1B72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4" name="Group 17563">
                  <a:extLst>
                    <a:ext uri="{FF2B5EF4-FFF2-40B4-BE49-F238E27FC236}">
                      <a16:creationId xmlns:a16="http://schemas.microsoft.com/office/drawing/2014/main" id="{C72732D0-247D-7C4C-62B4-8EA28FEDF4FC}"/>
                    </a:ext>
                  </a:extLst>
                </p:cNvPr>
                <p:cNvGrpSpPr/>
                <p:nvPr/>
              </p:nvGrpSpPr>
              <p:grpSpPr>
                <a:xfrm>
                  <a:off x="9623278" y="3206293"/>
                  <a:ext cx="71148" cy="71238"/>
                  <a:chOff x="6005114" y="3701354"/>
                  <a:chExt cx="71148" cy="71238"/>
                </a:xfrm>
              </p:grpSpPr>
              <p:sp>
                <p:nvSpPr>
                  <p:cNvPr id="17736" name="Freeform: Shape 17735">
                    <a:extLst>
                      <a:ext uri="{FF2B5EF4-FFF2-40B4-BE49-F238E27FC236}">
                        <a16:creationId xmlns:a16="http://schemas.microsoft.com/office/drawing/2014/main" id="{C8EBF967-35EE-3DD2-D808-A049234FF76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37" name="Freeform: Shape 17736">
                    <a:extLst>
                      <a:ext uri="{FF2B5EF4-FFF2-40B4-BE49-F238E27FC236}">
                        <a16:creationId xmlns:a16="http://schemas.microsoft.com/office/drawing/2014/main" id="{019CEF13-5928-D26A-841A-5C4207D7924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5" name="Group 17564">
                  <a:extLst>
                    <a:ext uri="{FF2B5EF4-FFF2-40B4-BE49-F238E27FC236}">
                      <a16:creationId xmlns:a16="http://schemas.microsoft.com/office/drawing/2014/main" id="{8F8A6F71-C14C-4FA8-DC02-21892D4B4BD7}"/>
                    </a:ext>
                  </a:extLst>
                </p:cNvPr>
                <p:cNvGrpSpPr/>
                <p:nvPr/>
              </p:nvGrpSpPr>
              <p:grpSpPr>
                <a:xfrm>
                  <a:off x="9635038" y="3232916"/>
                  <a:ext cx="71148" cy="71238"/>
                  <a:chOff x="6005114" y="3701354"/>
                  <a:chExt cx="71148" cy="71238"/>
                </a:xfrm>
              </p:grpSpPr>
              <p:sp>
                <p:nvSpPr>
                  <p:cNvPr id="17734" name="Freeform: Shape 17733">
                    <a:extLst>
                      <a:ext uri="{FF2B5EF4-FFF2-40B4-BE49-F238E27FC236}">
                        <a16:creationId xmlns:a16="http://schemas.microsoft.com/office/drawing/2014/main" id="{62E16F2B-9CB1-BD04-07B2-FB4ED295C3B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35" name="Freeform: Shape 17734">
                    <a:extLst>
                      <a:ext uri="{FF2B5EF4-FFF2-40B4-BE49-F238E27FC236}">
                        <a16:creationId xmlns:a16="http://schemas.microsoft.com/office/drawing/2014/main" id="{B5353535-1DA1-3C50-4CFC-3050F670150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6" name="Group 17565">
                  <a:extLst>
                    <a:ext uri="{FF2B5EF4-FFF2-40B4-BE49-F238E27FC236}">
                      <a16:creationId xmlns:a16="http://schemas.microsoft.com/office/drawing/2014/main" id="{4FBF6799-760C-6770-191E-94A240E370D0}"/>
                    </a:ext>
                  </a:extLst>
                </p:cNvPr>
                <p:cNvGrpSpPr/>
                <p:nvPr/>
              </p:nvGrpSpPr>
              <p:grpSpPr>
                <a:xfrm>
                  <a:off x="9707826" y="3232916"/>
                  <a:ext cx="71148" cy="71238"/>
                  <a:chOff x="6005114" y="3701354"/>
                  <a:chExt cx="71148" cy="71238"/>
                </a:xfrm>
              </p:grpSpPr>
              <p:sp>
                <p:nvSpPr>
                  <p:cNvPr id="17732" name="Freeform: Shape 17731">
                    <a:extLst>
                      <a:ext uri="{FF2B5EF4-FFF2-40B4-BE49-F238E27FC236}">
                        <a16:creationId xmlns:a16="http://schemas.microsoft.com/office/drawing/2014/main" id="{6B962222-97AD-06DC-446E-C1CC792724E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33" name="Freeform: Shape 17732">
                    <a:extLst>
                      <a:ext uri="{FF2B5EF4-FFF2-40B4-BE49-F238E27FC236}">
                        <a16:creationId xmlns:a16="http://schemas.microsoft.com/office/drawing/2014/main" id="{4D79C5F4-48D3-B540-C3BE-D130000ACAC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7" name="Group 17566">
                  <a:extLst>
                    <a:ext uri="{FF2B5EF4-FFF2-40B4-BE49-F238E27FC236}">
                      <a16:creationId xmlns:a16="http://schemas.microsoft.com/office/drawing/2014/main" id="{E1B341C1-F3CD-66FF-44E7-4E9070C455B4}"/>
                    </a:ext>
                  </a:extLst>
                </p:cNvPr>
                <p:cNvGrpSpPr/>
                <p:nvPr/>
              </p:nvGrpSpPr>
              <p:grpSpPr>
                <a:xfrm>
                  <a:off x="9729114" y="3246097"/>
                  <a:ext cx="71148" cy="71238"/>
                  <a:chOff x="6005114" y="3701354"/>
                  <a:chExt cx="71148" cy="71238"/>
                </a:xfrm>
              </p:grpSpPr>
              <p:sp>
                <p:nvSpPr>
                  <p:cNvPr id="17730" name="Freeform: Shape 17729">
                    <a:extLst>
                      <a:ext uri="{FF2B5EF4-FFF2-40B4-BE49-F238E27FC236}">
                        <a16:creationId xmlns:a16="http://schemas.microsoft.com/office/drawing/2014/main" id="{E2F1E0C6-3AAF-C5F0-6968-E905A44B018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31" name="Freeform: Shape 17730">
                    <a:extLst>
                      <a:ext uri="{FF2B5EF4-FFF2-40B4-BE49-F238E27FC236}">
                        <a16:creationId xmlns:a16="http://schemas.microsoft.com/office/drawing/2014/main" id="{43A56EFD-0433-7A7F-5683-4ED6222BDDD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8" name="Group 17567">
                  <a:extLst>
                    <a:ext uri="{FF2B5EF4-FFF2-40B4-BE49-F238E27FC236}">
                      <a16:creationId xmlns:a16="http://schemas.microsoft.com/office/drawing/2014/main" id="{B483C1BE-CCCF-8C81-CF9E-9972D12A2BED}"/>
                    </a:ext>
                  </a:extLst>
                </p:cNvPr>
                <p:cNvGrpSpPr/>
                <p:nvPr/>
              </p:nvGrpSpPr>
              <p:grpSpPr>
                <a:xfrm>
                  <a:off x="9745988" y="3263696"/>
                  <a:ext cx="71148" cy="71238"/>
                  <a:chOff x="6005114" y="3701354"/>
                  <a:chExt cx="71148" cy="71238"/>
                </a:xfrm>
              </p:grpSpPr>
              <p:sp>
                <p:nvSpPr>
                  <p:cNvPr id="17728" name="Freeform: Shape 17727">
                    <a:extLst>
                      <a:ext uri="{FF2B5EF4-FFF2-40B4-BE49-F238E27FC236}">
                        <a16:creationId xmlns:a16="http://schemas.microsoft.com/office/drawing/2014/main" id="{3FF3573D-5967-0A43-97E8-456710DA518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29" name="Freeform: Shape 17728">
                    <a:extLst>
                      <a:ext uri="{FF2B5EF4-FFF2-40B4-BE49-F238E27FC236}">
                        <a16:creationId xmlns:a16="http://schemas.microsoft.com/office/drawing/2014/main" id="{4C5AD6F2-A4AA-1274-2E0E-4BBFEC98A2A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69" name="Group 17568">
                  <a:extLst>
                    <a:ext uri="{FF2B5EF4-FFF2-40B4-BE49-F238E27FC236}">
                      <a16:creationId xmlns:a16="http://schemas.microsoft.com/office/drawing/2014/main" id="{76C97BB6-721E-A7FA-FB36-6CD61961CC50}"/>
                    </a:ext>
                  </a:extLst>
                </p:cNvPr>
                <p:cNvGrpSpPr/>
                <p:nvPr/>
              </p:nvGrpSpPr>
              <p:grpSpPr>
                <a:xfrm>
                  <a:off x="9750402" y="3297662"/>
                  <a:ext cx="71148" cy="71238"/>
                  <a:chOff x="6005114" y="3701354"/>
                  <a:chExt cx="71148" cy="71238"/>
                </a:xfrm>
              </p:grpSpPr>
              <p:sp>
                <p:nvSpPr>
                  <p:cNvPr id="17726" name="Freeform: Shape 17725">
                    <a:extLst>
                      <a:ext uri="{FF2B5EF4-FFF2-40B4-BE49-F238E27FC236}">
                        <a16:creationId xmlns:a16="http://schemas.microsoft.com/office/drawing/2014/main" id="{5F3BDBCD-8F8E-EE66-561F-8D4FB77E3FF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27" name="Freeform: Shape 17726">
                    <a:extLst>
                      <a:ext uri="{FF2B5EF4-FFF2-40B4-BE49-F238E27FC236}">
                        <a16:creationId xmlns:a16="http://schemas.microsoft.com/office/drawing/2014/main" id="{B565D3DD-CA7C-B541-9B3B-78A00C7F69B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0" name="Group 17569">
                  <a:extLst>
                    <a:ext uri="{FF2B5EF4-FFF2-40B4-BE49-F238E27FC236}">
                      <a16:creationId xmlns:a16="http://schemas.microsoft.com/office/drawing/2014/main" id="{9D176876-3E88-0289-B700-7B16A1250F32}"/>
                    </a:ext>
                  </a:extLst>
                </p:cNvPr>
                <p:cNvGrpSpPr/>
                <p:nvPr/>
              </p:nvGrpSpPr>
              <p:grpSpPr>
                <a:xfrm>
                  <a:off x="9764688" y="3297662"/>
                  <a:ext cx="71148" cy="71238"/>
                  <a:chOff x="6005114" y="3701354"/>
                  <a:chExt cx="71148" cy="71238"/>
                </a:xfrm>
              </p:grpSpPr>
              <p:sp>
                <p:nvSpPr>
                  <p:cNvPr id="17724" name="Freeform: Shape 17723">
                    <a:extLst>
                      <a:ext uri="{FF2B5EF4-FFF2-40B4-BE49-F238E27FC236}">
                        <a16:creationId xmlns:a16="http://schemas.microsoft.com/office/drawing/2014/main" id="{10D3E6E3-8FB4-5142-D9AC-4893054EF1B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25" name="Freeform: Shape 17724">
                    <a:extLst>
                      <a:ext uri="{FF2B5EF4-FFF2-40B4-BE49-F238E27FC236}">
                        <a16:creationId xmlns:a16="http://schemas.microsoft.com/office/drawing/2014/main" id="{3C181861-880C-7C87-1CFF-7FE1FF118CC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1" name="Group 17570">
                  <a:extLst>
                    <a:ext uri="{FF2B5EF4-FFF2-40B4-BE49-F238E27FC236}">
                      <a16:creationId xmlns:a16="http://schemas.microsoft.com/office/drawing/2014/main" id="{12398D87-8550-E09F-50B5-E6A46C411AF3}"/>
                    </a:ext>
                  </a:extLst>
                </p:cNvPr>
                <p:cNvGrpSpPr/>
                <p:nvPr/>
              </p:nvGrpSpPr>
              <p:grpSpPr>
                <a:xfrm>
                  <a:off x="9793265" y="3297662"/>
                  <a:ext cx="71148" cy="71238"/>
                  <a:chOff x="6005114" y="3701354"/>
                  <a:chExt cx="71148" cy="71238"/>
                </a:xfrm>
              </p:grpSpPr>
              <p:sp>
                <p:nvSpPr>
                  <p:cNvPr id="17722" name="Freeform: Shape 17721">
                    <a:extLst>
                      <a:ext uri="{FF2B5EF4-FFF2-40B4-BE49-F238E27FC236}">
                        <a16:creationId xmlns:a16="http://schemas.microsoft.com/office/drawing/2014/main" id="{55DC1FF4-1ED9-0E84-775A-B0175AC6870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23" name="Freeform: Shape 17722">
                    <a:extLst>
                      <a:ext uri="{FF2B5EF4-FFF2-40B4-BE49-F238E27FC236}">
                        <a16:creationId xmlns:a16="http://schemas.microsoft.com/office/drawing/2014/main" id="{AE60C192-B7C4-E2FD-3737-EE2A934E6E2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2" name="Group 17571">
                  <a:extLst>
                    <a:ext uri="{FF2B5EF4-FFF2-40B4-BE49-F238E27FC236}">
                      <a16:creationId xmlns:a16="http://schemas.microsoft.com/office/drawing/2014/main" id="{167A2397-8FCE-BD11-BAB6-408058DC8F1E}"/>
                    </a:ext>
                  </a:extLst>
                </p:cNvPr>
                <p:cNvGrpSpPr/>
                <p:nvPr/>
              </p:nvGrpSpPr>
              <p:grpSpPr>
                <a:xfrm>
                  <a:off x="9874227" y="3297662"/>
                  <a:ext cx="71148" cy="71238"/>
                  <a:chOff x="6005114" y="3701354"/>
                  <a:chExt cx="71148" cy="71238"/>
                </a:xfrm>
              </p:grpSpPr>
              <p:sp>
                <p:nvSpPr>
                  <p:cNvPr id="17720" name="Freeform: Shape 17719">
                    <a:extLst>
                      <a:ext uri="{FF2B5EF4-FFF2-40B4-BE49-F238E27FC236}">
                        <a16:creationId xmlns:a16="http://schemas.microsoft.com/office/drawing/2014/main" id="{B94861FF-3CC1-A01C-3BAE-3B4EDA55B28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21" name="Freeform: Shape 17720">
                    <a:extLst>
                      <a:ext uri="{FF2B5EF4-FFF2-40B4-BE49-F238E27FC236}">
                        <a16:creationId xmlns:a16="http://schemas.microsoft.com/office/drawing/2014/main" id="{C7D66306-7172-AF2C-BF73-4DEEEF35835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3" name="Group 17572">
                  <a:extLst>
                    <a:ext uri="{FF2B5EF4-FFF2-40B4-BE49-F238E27FC236}">
                      <a16:creationId xmlns:a16="http://schemas.microsoft.com/office/drawing/2014/main" id="{2FC6C8B9-470D-7116-335E-9349F92C0C2E}"/>
                    </a:ext>
                  </a:extLst>
                </p:cNvPr>
                <p:cNvGrpSpPr/>
                <p:nvPr/>
              </p:nvGrpSpPr>
              <p:grpSpPr>
                <a:xfrm>
                  <a:off x="9883752" y="3297662"/>
                  <a:ext cx="71148" cy="71238"/>
                  <a:chOff x="6005114" y="3701354"/>
                  <a:chExt cx="71148" cy="71238"/>
                </a:xfrm>
              </p:grpSpPr>
              <p:sp>
                <p:nvSpPr>
                  <p:cNvPr id="17718" name="Freeform: Shape 17717">
                    <a:extLst>
                      <a:ext uri="{FF2B5EF4-FFF2-40B4-BE49-F238E27FC236}">
                        <a16:creationId xmlns:a16="http://schemas.microsoft.com/office/drawing/2014/main" id="{56C1361E-744C-1C6F-7221-0F515390877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19" name="Freeform: Shape 17718">
                    <a:extLst>
                      <a:ext uri="{FF2B5EF4-FFF2-40B4-BE49-F238E27FC236}">
                        <a16:creationId xmlns:a16="http://schemas.microsoft.com/office/drawing/2014/main" id="{026542D3-E055-8023-B681-1162A6C0358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4" name="Group 17573">
                  <a:extLst>
                    <a:ext uri="{FF2B5EF4-FFF2-40B4-BE49-F238E27FC236}">
                      <a16:creationId xmlns:a16="http://schemas.microsoft.com/office/drawing/2014/main" id="{92CC2CB0-521C-CD01-C241-F75F0DE46173}"/>
                    </a:ext>
                  </a:extLst>
                </p:cNvPr>
                <p:cNvGrpSpPr/>
                <p:nvPr/>
              </p:nvGrpSpPr>
              <p:grpSpPr>
                <a:xfrm>
                  <a:off x="9964715" y="3297662"/>
                  <a:ext cx="71148" cy="71238"/>
                  <a:chOff x="6005114" y="3701354"/>
                  <a:chExt cx="71148" cy="71238"/>
                </a:xfrm>
              </p:grpSpPr>
              <p:sp>
                <p:nvSpPr>
                  <p:cNvPr id="17716" name="Freeform: Shape 17715">
                    <a:extLst>
                      <a:ext uri="{FF2B5EF4-FFF2-40B4-BE49-F238E27FC236}">
                        <a16:creationId xmlns:a16="http://schemas.microsoft.com/office/drawing/2014/main" id="{4FF3943F-AE5D-2680-DBA7-1BEDC3ACD14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17" name="Freeform: Shape 17716">
                    <a:extLst>
                      <a:ext uri="{FF2B5EF4-FFF2-40B4-BE49-F238E27FC236}">
                        <a16:creationId xmlns:a16="http://schemas.microsoft.com/office/drawing/2014/main" id="{5332801F-CC96-1053-4744-73A17FE43F8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5" name="Group 17574">
                  <a:extLst>
                    <a:ext uri="{FF2B5EF4-FFF2-40B4-BE49-F238E27FC236}">
                      <a16:creationId xmlns:a16="http://schemas.microsoft.com/office/drawing/2014/main" id="{47C7F3EF-753D-B7D7-7409-11DE769AF848}"/>
                    </a:ext>
                  </a:extLst>
                </p:cNvPr>
                <p:cNvGrpSpPr/>
                <p:nvPr/>
              </p:nvGrpSpPr>
              <p:grpSpPr>
                <a:xfrm>
                  <a:off x="9979002" y="3297662"/>
                  <a:ext cx="71148" cy="71238"/>
                  <a:chOff x="6005114" y="3701354"/>
                  <a:chExt cx="71148" cy="71238"/>
                </a:xfrm>
              </p:grpSpPr>
              <p:sp>
                <p:nvSpPr>
                  <p:cNvPr id="17714" name="Freeform: Shape 17713">
                    <a:extLst>
                      <a:ext uri="{FF2B5EF4-FFF2-40B4-BE49-F238E27FC236}">
                        <a16:creationId xmlns:a16="http://schemas.microsoft.com/office/drawing/2014/main" id="{C18A9C5E-CE6B-04E4-30E8-AB9A6E85DAE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15" name="Freeform: Shape 17714">
                    <a:extLst>
                      <a:ext uri="{FF2B5EF4-FFF2-40B4-BE49-F238E27FC236}">
                        <a16:creationId xmlns:a16="http://schemas.microsoft.com/office/drawing/2014/main" id="{D24177F6-0F22-7BE2-FF0A-8B27DD1B4FF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6" name="Group 17575">
                  <a:extLst>
                    <a:ext uri="{FF2B5EF4-FFF2-40B4-BE49-F238E27FC236}">
                      <a16:creationId xmlns:a16="http://schemas.microsoft.com/office/drawing/2014/main" id="{F043E2CA-9120-B50F-C7FA-1A4CA91C5485}"/>
                    </a:ext>
                  </a:extLst>
                </p:cNvPr>
                <p:cNvGrpSpPr/>
                <p:nvPr/>
              </p:nvGrpSpPr>
              <p:grpSpPr>
                <a:xfrm>
                  <a:off x="10012336" y="3297662"/>
                  <a:ext cx="71148" cy="71238"/>
                  <a:chOff x="6005114" y="3701354"/>
                  <a:chExt cx="71148" cy="71238"/>
                </a:xfrm>
              </p:grpSpPr>
              <p:sp>
                <p:nvSpPr>
                  <p:cNvPr id="17712" name="Freeform: Shape 17711">
                    <a:extLst>
                      <a:ext uri="{FF2B5EF4-FFF2-40B4-BE49-F238E27FC236}">
                        <a16:creationId xmlns:a16="http://schemas.microsoft.com/office/drawing/2014/main" id="{20011995-EC12-A802-9FA2-91A96EAF816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13" name="Freeform: Shape 17712">
                    <a:extLst>
                      <a:ext uri="{FF2B5EF4-FFF2-40B4-BE49-F238E27FC236}">
                        <a16:creationId xmlns:a16="http://schemas.microsoft.com/office/drawing/2014/main" id="{056C5DBB-F3F6-EA55-6183-97C5E9653C8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7" name="Group 17576">
                  <a:extLst>
                    <a:ext uri="{FF2B5EF4-FFF2-40B4-BE49-F238E27FC236}">
                      <a16:creationId xmlns:a16="http://schemas.microsoft.com/office/drawing/2014/main" id="{6093C1FB-D592-0C16-140B-C16E03A60552}"/>
                    </a:ext>
                  </a:extLst>
                </p:cNvPr>
                <p:cNvGrpSpPr/>
                <p:nvPr/>
              </p:nvGrpSpPr>
              <p:grpSpPr>
                <a:xfrm>
                  <a:off x="10029008" y="3297662"/>
                  <a:ext cx="71148" cy="71238"/>
                  <a:chOff x="6005114" y="3701354"/>
                  <a:chExt cx="71148" cy="71238"/>
                </a:xfrm>
              </p:grpSpPr>
              <p:sp>
                <p:nvSpPr>
                  <p:cNvPr id="17710" name="Freeform: Shape 17709">
                    <a:extLst>
                      <a:ext uri="{FF2B5EF4-FFF2-40B4-BE49-F238E27FC236}">
                        <a16:creationId xmlns:a16="http://schemas.microsoft.com/office/drawing/2014/main" id="{915727A6-7A26-ED8E-7DF9-DFFD7328BFE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11" name="Freeform: Shape 17710">
                    <a:extLst>
                      <a:ext uri="{FF2B5EF4-FFF2-40B4-BE49-F238E27FC236}">
                        <a16:creationId xmlns:a16="http://schemas.microsoft.com/office/drawing/2014/main" id="{67F3D1F2-7E13-8E66-01F5-5CD561EEE3D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8" name="Group 17577">
                  <a:extLst>
                    <a:ext uri="{FF2B5EF4-FFF2-40B4-BE49-F238E27FC236}">
                      <a16:creationId xmlns:a16="http://schemas.microsoft.com/office/drawing/2014/main" id="{7E3A5C28-891B-1B62-CA0D-60B9C189852D}"/>
                    </a:ext>
                  </a:extLst>
                </p:cNvPr>
                <p:cNvGrpSpPr/>
                <p:nvPr/>
              </p:nvGrpSpPr>
              <p:grpSpPr>
                <a:xfrm>
                  <a:off x="10121880" y="3328257"/>
                  <a:ext cx="71148" cy="71238"/>
                  <a:chOff x="6005114" y="3701354"/>
                  <a:chExt cx="71148" cy="71238"/>
                </a:xfrm>
              </p:grpSpPr>
              <p:sp>
                <p:nvSpPr>
                  <p:cNvPr id="17708" name="Freeform: Shape 17707">
                    <a:extLst>
                      <a:ext uri="{FF2B5EF4-FFF2-40B4-BE49-F238E27FC236}">
                        <a16:creationId xmlns:a16="http://schemas.microsoft.com/office/drawing/2014/main" id="{E98A1852-6CFA-EDEF-FC6C-7E4378AEA80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09" name="Freeform: Shape 17708">
                    <a:extLst>
                      <a:ext uri="{FF2B5EF4-FFF2-40B4-BE49-F238E27FC236}">
                        <a16:creationId xmlns:a16="http://schemas.microsoft.com/office/drawing/2014/main" id="{3C6B890E-B659-4DD1-97AB-39B554765CD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79" name="Group 17578">
                  <a:extLst>
                    <a:ext uri="{FF2B5EF4-FFF2-40B4-BE49-F238E27FC236}">
                      <a16:creationId xmlns:a16="http://schemas.microsoft.com/office/drawing/2014/main" id="{019E7C01-2960-6FE7-437C-A1A3DCD3913F}"/>
                    </a:ext>
                  </a:extLst>
                </p:cNvPr>
                <p:cNvGrpSpPr/>
                <p:nvPr/>
              </p:nvGrpSpPr>
              <p:grpSpPr>
                <a:xfrm>
                  <a:off x="10083484" y="3328257"/>
                  <a:ext cx="71148" cy="71238"/>
                  <a:chOff x="6005114" y="3701354"/>
                  <a:chExt cx="71148" cy="71238"/>
                </a:xfrm>
              </p:grpSpPr>
              <p:sp>
                <p:nvSpPr>
                  <p:cNvPr id="17706" name="Freeform: Shape 17705">
                    <a:extLst>
                      <a:ext uri="{FF2B5EF4-FFF2-40B4-BE49-F238E27FC236}">
                        <a16:creationId xmlns:a16="http://schemas.microsoft.com/office/drawing/2014/main" id="{C5A6C440-5081-DBA8-03D9-F0B73D490AB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07" name="Freeform: Shape 17706">
                    <a:extLst>
                      <a:ext uri="{FF2B5EF4-FFF2-40B4-BE49-F238E27FC236}">
                        <a16:creationId xmlns:a16="http://schemas.microsoft.com/office/drawing/2014/main" id="{9B5389CA-8442-CDD4-D8CE-5C1D2B50138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0" name="Group 17579">
                  <a:extLst>
                    <a:ext uri="{FF2B5EF4-FFF2-40B4-BE49-F238E27FC236}">
                      <a16:creationId xmlns:a16="http://schemas.microsoft.com/office/drawing/2014/main" id="{F778E8E1-872E-1E0B-E0B6-DFF88E832C55}"/>
                    </a:ext>
                  </a:extLst>
                </p:cNvPr>
                <p:cNvGrpSpPr/>
                <p:nvPr/>
              </p:nvGrpSpPr>
              <p:grpSpPr>
                <a:xfrm>
                  <a:off x="10205224" y="3328257"/>
                  <a:ext cx="71148" cy="71238"/>
                  <a:chOff x="6005114" y="3701354"/>
                  <a:chExt cx="71148" cy="71238"/>
                </a:xfrm>
              </p:grpSpPr>
              <p:sp>
                <p:nvSpPr>
                  <p:cNvPr id="17704" name="Freeform: Shape 17703">
                    <a:extLst>
                      <a:ext uri="{FF2B5EF4-FFF2-40B4-BE49-F238E27FC236}">
                        <a16:creationId xmlns:a16="http://schemas.microsoft.com/office/drawing/2014/main" id="{C4C2E590-8918-E94C-D226-1C647D337A5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05" name="Freeform: Shape 17704">
                    <a:extLst>
                      <a:ext uri="{FF2B5EF4-FFF2-40B4-BE49-F238E27FC236}">
                        <a16:creationId xmlns:a16="http://schemas.microsoft.com/office/drawing/2014/main" id="{51C6AFA8-71A1-DA50-09B7-924D5CE20A6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1" name="Group 17580">
                  <a:extLst>
                    <a:ext uri="{FF2B5EF4-FFF2-40B4-BE49-F238E27FC236}">
                      <a16:creationId xmlns:a16="http://schemas.microsoft.com/office/drawing/2014/main" id="{CBF61856-5832-8852-B09E-E1B497343E36}"/>
                    </a:ext>
                  </a:extLst>
                </p:cNvPr>
                <p:cNvGrpSpPr/>
                <p:nvPr/>
              </p:nvGrpSpPr>
              <p:grpSpPr>
                <a:xfrm>
                  <a:off x="10344118" y="3378426"/>
                  <a:ext cx="71148" cy="71238"/>
                  <a:chOff x="6005114" y="3701354"/>
                  <a:chExt cx="71148" cy="71238"/>
                </a:xfrm>
              </p:grpSpPr>
              <p:sp>
                <p:nvSpPr>
                  <p:cNvPr id="17702" name="Freeform: Shape 17701">
                    <a:extLst>
                      <a:ext uri="{FF2B5EF4-FFF2-40B4-BE49-F238E27FC236}">
                        <a16:creationId xmlns:a16="http://schemas.microsoft.com/office/drawing/2014/main" id="{32C469E5-8169-5057-E1D6-8C1F4E0E575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03" name="Freeform: Shape 17702">
                    <a:extLst>
                      <a:ext uri="{FF2B5EF4-FFF2-40B4-BE49-F238E27FC236}">
                        <a16:creationId xmlns:a16="http://schemas.microsoft.com/office/drawing/2014/main" id="{C3D27663-654A-C60A-9C48-53A9CFA7244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2" name="Group 17581">
                  <a:extLst>
                    <a:ext uri="{FF2B5EF4-FFF2-40B4-BE49-F238E27FC236}">
                      <a16:creationId xmlns:a16="http://schemas.microsoft.com/office/drawing/2014/main" id="{CC74DA0D-A7F2-BB3E-077D-0FA061270B42}"/>
                    </a:ext>
                  </a:extLst>
                </p:cNvPr>
                <p:cNvGrpSpPr/>
                <p:nvPr/>
              </p:nvGrpSpPr>
              <p:grpSpPr>
                <a:xfrm>
                  <a:off x="10263446" y="3328257"/>
                  <a:ext cx="71148" cy="71238"/>
                  <a:chOff x="6005114" y="3701354"/>
                  <a:chExt cx="71148" cy="71238"/>
                </a:xfrm>
              </p:grpSpPr>
              <p:sp>
                <p:nvSpPr>
                  <p:cNvPr id="17700" name="Freeform: Shape 17699">
                    <a:extLst>
                      <a:ext uri="{FF2B5EF4-FFF2-40B4-BE49-F238E27FC236}">
                        <a16:creationId xmlns:a16="http://schemas.microsoft.com/office/drawing/2014/main" id="{1D8E1C2C-4018-06D6-A27F-B7B924101BB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701" name="Freeform: Shape 17700">
                    <a:extLst>
                      <a:ext uri="{FF2B5EF4-FFF2-40B4-BE49-F238E27FC236}">
                        <a16:creationId xmlns:a16="http://schemas.microsoft.com/office/drawing/2014/main" id="{390EE913-DF22-ACC9-06CD-2016D61D3BD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3" name="Group 17582">
                  <a:extLst>
                    <a:ext uri="{FF2B5EF4-FFF2-40B4-BE49-F238E27FC236}">
                      <a16:creationId xmlns:a16="http://schemas.microsoft.com/office/drawing/2014/main" id="{9F3FEB6F-B063-2490-E2EA-8B448F0CCD2D}"/>
                    </a:ext>
                  </a:extLst>
                </p:cNvPr>
                <p:cNvGrpSpPr/>
                <p:nvPr/>
              </p:nvGrpSpPr>
              <p:grpSpPr>
                <a:xfrm>
                  <a:off x="10976798" y="3445394"/>
                  <a:ext cx="71148" cy="71238"/>
                  <a:chOff x="6005114" y="3701354"/>
                  <a:chExt cx="71148" cy="71238"/>
                </a:xfrm>
              </p:grpSpPr>
              <p:sp>
                <p:nvSpPr>
                  <p:cNvPr id="17698" name="Freeform: Shape 17697">
                    <a:extLst>
                      <a:ext uri="{FF2B5EF4-FFF2-40B4-BE49-F238E27FC236}">
                        <a16:creationId xmlns:a16="http://schemas.microsoft.com/office/drawing/2014/main" id="{D073CB9D-EDCE-63F5-53AD-0CB338FBEB3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99" name="Freeform: Shape 17698">
                    <a:extLst>
                      <a:ext uri="{FF2B5EF4-FFF2-40B4-BE49-F238E27FC236}">
                        <a16:creationId xmlns:a16="http://schemas.microsoft.com/office/drawing/2014/main" id="{A1884DEB-CE81-166E-1250-E75AC56680A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4" name="Group 17583">
                  <a:extLst>
                    <a:ext uri="{FF2B5EF4-FFF2-40B4-BE49-F238E27FC236}">
                      <a16:creationId xmlns:a16="http://schemas.microsoft.com/office/drawing/2014/main" id="{99CE9A81-E845-3CD1-0F03-0565BA641363}"/>
                    </a:ext>
                  </a:extLst>
                </p:cNvPr>
                <p:cNvGrpSpPr/>
                <p:nvPr/>
              </p:nvGrpSpPr>
              <p:grpSpPr>
                <a:xfrm>
                  <a:off x="11014901" y="3445394"/>
                  <a:ext cx="71148" cy="71238"/>
                  <a:chOff x="6005114" y="3701354"/>
                  <a:chExt cx="71148" cy="71238"/>
                </a:xfrm>
              </p:grpSpPr>
              <p:sp>
                <p:nvSpPr>
                  <p:cNvPr id="17696" name="Freeform: Shape 17695">
                    <a:extLst>
                      <a:ext uri="{FF2B5EF4-FFF2-40B4-BE49-F238E27FC236}">
                        <a16:creationId xmlns:a16="http://schemas.microsoft.com/office/drawing/2014/main" id="{07DFB25A-D02B-CE8C-17D6-D8344C7C959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97" name="Freeform: Shape 17696">
                    <a:extLst>
                      <a:ext uri="{FF2B5EF4-FFF2-40B4-BE49-F238E27FC236}">
                        <a16:creationId xmlns:a16="http://schemas.microsoft.com/office/drawing/2014/main" id="{A5CBACBA-72CE-FB68-C657-CF955579A54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5" name="Group 17584">
                  <a:extLst>
                    <a:ext uri="{FF2B5EF4-FFF2-40B4-BE49-F238E27FC236}">
                      <a16:creationId xmlns:a16="http://schemas.microsoft.com/office/drawing/2014/main" id="{DF8F799E-2EFF-7877-E608-3A165791D7DC}"/>
                    </a:ext>
                  </a:extLst>
                </p:cNvPr>
                <p:cNvGrpSpPr/>
                <p:nvPr/>
              </p:nvGrpSpPr>
              <p:grpSpPr>
                <a:xfrm>
                  <a:off x="10159980" y="3328257"/>
                  <a:ext cx="71148" cy="71238"/>
                  <a:chOff x="6005114" y="3701354"/>
                  <a:chExt cx="71148" cy="71238"/>
                </a:xfrm>
              </p:grpSpPr>
              <p:sp>
                <p:nvSpPr>
                  <p:cNvPr id="17694" name="Freeform: Shape 17693">
                    <a:extLst>
                      <a:ext uri="{FF2B5EF4-FFF2-40B4-BE49-F238E27FC236}">
                        <a16:creationId xmlns:a16="http://schemas.microsoft.com/office/drawing/2014/main" id="{70D9C32D-4F00-3971-1F93-05927AFB5FF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95" name="Freeform: Shape 17694">
                    <a:extLst>
                      <a:ext uri="{FF2B5EF4-FFF2-40B4-BE49-F238E27FC236}">
                        <a16:creationId xmlns:a16="http://schemas.microsoft.com/office/drawing/2014/main" id="{E1054DD3-243A-6B27-F8C9-21C81426775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6" name="Group 17585">
                  <a:extLst>
                    <a:ext uri="{FF2B5EF4-FFF2-40B4-BE49-F238E27FC236}">
                      <a16:creationId xmlns:a16="http://schemas.microsoft.com/office/drawing/2014/main" id="{8B8EC59D-C012-6599-6BC5-A58D75F9D18C}"/>
                    </a:ext>
                  </a:extLst>
                </p:cNvPr>
                <p:cNvGrpSpPr/>
                <p:nvPr/>
              </p:nvGrpSpPr>
              <p:grpSpPr>
                <a:xfrm>
                  <a:off x="10169505" y="3328257"/>
                  <a:ext cx="71148" cy="71238"/>
                  <a:chOff x="6005114" y="3701354"/>
                  <a:chExt cx="71148" cy="71238"/>
                </a:xfrm>
              </p:grpSpPr>
              <p:sp>
                <p:nvSpPr>
                  <p:cNvPr id="17692" name="Freeform: Shape 17691">
                    <a:extLst>
                      <a:ext uri="{FF2B5EF4-FFF2-40B4-BE49-F238E27FC236}">
                        <a16:creationId xmlns:a16="http://schemas.microsoft.com/office/drawing/2014/main" id="{990E865A-6EB3-4DD0-F84E-7199556C8A5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93" name="Freeform: Shape 17692">
                    <a:extLst>
                      <a:ext uri="{FF2B5EF4-FFF2-40B4-BE49-F238E27FC236}">
                        <a16:creationId xmlns:a16="http://schemas.microsoft.com/office/drawing/2014/main" id="{1CFFAD9D-CA52-FA9D-09F8-67671588A30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7" name="Group 17586">
                  <a:extLst>
                    <a:ext uri="{FF2B5EF4-FFF2-40B4-BE49-F238E27FC236}">
                      <a16:creationId xmlns:a16="http://schemas.microsoft.com/office/drawing/2014/main" id="{8641B659-6D22-AF03-4835-870195E5EDA7}"/>
                    </a:ext>
                  </a:extLst>
                </p:cNvPr>
                <p:cNvGrpSpPr/>
                <p:nvPr/>
              </p:nvGrpSpPr>
              <p:grpSpPr>
                <a:xfrm>
                  <a:off x="10150455" y="3328257"/>
                  <a:ext cx="71148" cy="71238"/>
                  <a:chOff x="6005114" y="3701354"/>
                  <a:chExt cx="71148" cy="71238"/>
                </a:xfrm>
              </p:grpSpPr>
              <p:sp>
                <p:nvSpPr>
                  <p:cNvPr id="17690" name="Freeform: Shape 17689">
                    <a:extLst>
                      <a:ext uri="{FF2B5EF4-FFF2-40B4-BE49-F238E27FC236}">
                        <a16:creationId xmlns:a16="http://schemas.microsoft.com/office/drawing/2014/main" id="{EBB60F46-1308-13B6-E577-965F82DBC17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91" name="Freeform: Shape 17690">
                    <a:extLst>
                      <a:ext uri="{FF2B5EF4-FFF2-40B4-BE49-F238E27FC236}">
                        <a16:creationId xmlns:a16="http://schemas.microsoft.com/office/drawing/2014/main" id="{C5B25ED3-7DAB-805C-C13C-EBE0EB56A8E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8" name="Group 17587">
                  <a:extLst>
                    <a:ext uri="{FF2B5EF4-FFF2-40B4-BE49-F238E27FC236}">
                      <a16:creationId xmlns:a16="http://schemas.microsoft.com/office/drawing/2014/main" id="{14D53B3C-9430-FBBB-B9C8-A945535EC90A}"/>
                    </a:ext>
                  </a:extLst>
                </p:cNvPr>
                <p:cNvGrpSpPr/>
                <p:nvPr/>
              </p:nvGrpSpPr>
              <p:grpSpPr>
                <a:xfrm>
                  <a:off x="10159980" y="3328257"/>
                  <a:ext cx="71148" cy="71238"/>
                  <a:chOff x="6005114" y="3701354"/>
                  <a:chExt cx="71148" cy="71238"/>
                </a:xfrm>
              </p:grpSpPr>
              <p:sp>
                <p:nvSpPr>
                  <p:cNvPr id="17688" name="Freeform: Shape 17687">
                    <a:extLst>
                      <a:ext uri="{FF2B5EF4-FFF2-40B4-BE49-F238E27FC236}">
                        <a16:creationId xmlns:a16="http://schemas.microsoft.com/office/drawing/2014/main" id="{0D42C811-C7BB-8890-A286-3C0AAE03EE5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89" name="Freeform: Shape 17688">
                    <a:extLst>
                      <a:ext uri="{FF2B5EF4-FFF2-40B4-BE49-F238E27FC236}">
                        <a16:creationId xmlns:a16="http://schemas.microsoft.com/office/drawing/2014/main" id="{5C06AE0D-2204-33B4-34BB-30C25EC04D5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89" name="Group 17588">
                  <a:extLst>
                    <a:ext uri="{FF2B5EF4-FFF2-40B4-BE49-F238E27FC236}">
                      <a16:creationId xmlns:a16="http://schemas.microsoft.com/office/drawing/2014/main" id="{295F155E-A36E-6A4D-A6A0-452A0CC0325D}"/>
                    </a:ext>
                  </a:extLst>
                </p:cNvPr>
                <p:cNvGrpSpPr/>
                <p:nvPr/>
              </p:nvGrpSpPr>
              <p:grpSpPr>
                <a:xfrm>
                  <a:off x="10183792" y="3328257"/>
                  <a:ext cx="71148" cy="71238"/>
                  <a:chOff x="6005114" y="3701354"/>
                  <a:chExt cx="71148" cy="71238"/>
                </a:xfrm>
              </p:grpSpPr>
              <p:sp>
                <p:nvSpPr>
                  <p:cNvPr id="17686" name="Freeform: Shape 17685">
                    <a:extLst>
                      <a:ext uri="{FF2B5EF4-FFF2-40B4-BE49-F238E27FC236}">
                        <a16:creationId xmlns:a16="http://schemas.microsoft.com/office/drawing/2014/main" id="{B523F11A-9B99-1E63-D008-D0C8527851A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87" name="Freeform: Shape 17686">
                    <a:extLst>
                      <a:ext uri="{FF2B5EF4-FFF2-40B4-BE49-F238E27FC236}">
                        <a16:creationId xmlns:a16="http://schemas.microsoft.com/office/drawing/2014/main" id="{AC7161E0-E348-B742-10DB-883755A0319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0" name="Group 17589">
                  <a:extLst>
                    <a:ext uri="{FF2B5EF4-FFF2-40B4-BE49-F238E27FC236}">
                      <a16:creationId xmlns:a16="http://schemas.microsoft.com/office/drawing/2014/main" id="{EBADD4DA-DBE7-80D9-7E39-768D03963422}"/>
                    </a:ext>
                  </a:extLst>
                </p:cNvPr>
                <p:cNvGrpSpPr/>
                <p:nvPr/>
              </p:nvGrpSpPr>
              <p:grpSpPr>
                <a:xfrm>
                  <a:off x="10193317" y="3328257"/>
                  <a:ext cx="71148" cy="71238"/>
                  <a:chOff x="6005114" y="3701354"/>
                  <a:chExt cx="71148" cy="71238"/>
                </a:xfrm>
              </p:grpSpPr>
              <p:sp>
                <p:nvSpPr>
                  <p:cNvPr id="17684" name="Freeform: Shape 17683">
                    <a:extLst>
                      <a:ext uri="{FF2B5EF4-FFF2-40B4-BE49-F238E27FC236}">
                        <a16:creationId xmlns:a16="http://schemas.microsoft.com/office/drawing/2014/main" id="{12774207-D3ED-F59F-A176-A75351EDFAF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85" name="Freeform: Shape 17684">
                    <a:extLst>
                      <a:ext uri="{FF2B5EF4-FFF2-40B4-BE49-F238E27FC236}">
                        <a16:creationId xmlns:a16="http://schemas.microsoft.com/office/drawing/2014/main" id="{F8113A79-A3A8-5AFF-24E3-A4F7944BA73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1" name="Group 17590">
                  <a:extLst>
                    <a:ext uri="{FF2B5EF4-FFF2-40B4-BE49-F238E27FC236}">
                      <a16:creationId xmlns:a16="http://schemas.microsoft.com/office/drawing/2014/main" id="{0CCAF691-9098-2D3F-BB0D-F3FB47078121}"/>
                    </a:ext>
                  </a:extLst>
                </p:cNvPr>
                <p:cNvGrpSpPr/>
                <p:nvPr/>
              </p:nvGrpSpPr>
              <p:grpSpPr>
                <a:xfrm>
                  <a:off x="10374292" y="3378426"/>
                  <a:ext cx="71148" cy="71238"/>
                  <a:chOff x="6005114" y="3701354"/>
                  <a:chExt cx="71148" cy="71238"/>
                </a:xfrm>
              </p:grpSpPr>
              <p:sp>
                <p:nvSpPr>
                  <p:cNvPr id="17682" name="Freeform: Shape 17681">
                    <a:extLst>
                      <a:ext uri="{FF2B5EF4-FFF2-40B4-BE49-F238E27FC236}">
                        <a16:creationId xmlns:a16="http://schemas.microsoft.com/office/drawing/2014/main" id="{25FAD869-5C63-BE08-A095-7CFDC7589EE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83" name="Freeform: Shape 17682">
                    <a:extLst>
                      <a:ext uri="{FF2B5EF4-FFF2-40B4-BE49-F238E27FC236}">
                        <a16:creationId xmlns:a16="http://schemas.microsoft.com/office/drawing/2014/main" id="{0907ABB1-9564-7C57-AADB-7C7D843DE51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2" name="Group 17591">
                  <a:extLst>
                    <a:ext uri="{FF2B5EF4-FFF2-40B4-BE49-F238E27FC236}">
                      <a16:creationId xmlns:a16="http://schemas.microsoft.com/office/drawing/2014/main" id="{A925E1BB-3C46-3B00-9B18-73EFEA4DF848}"/>
                    </a:ext>
                  </a:extLst>
                </p:cNvPr>
                <p:cNvGrpSpPr/>
                <p:nvPr/>
              </p:nvGrpSpPr>
              <p:grpSpPr>
                <a:xfrm>
                  <a:off x="10383817" y="3378426"/>
                  <a:ext cx="71148" cy="71238"/>
                  <a:chOff x="6005114" y="3701354"/>
                  <a:chExt cx="71148" cy="71238"/>
                </a:xfrm>
              </p:grpSpPr>
              <p:sp>
                <p:nvSpPr>
                  <p:cNvPr id="17680" name="Freeform: Shape 17679">
                    <a:extLst>
                      <a:ext uri="{FF2B5EF4-FFF2-40B4-BE49-F238E27FC236}">
                        <a16:creationId xmlns:a16="http://schemas.microsoft.com/office/drawing/2014/main" id="{04CE81BA-E11D-6ED3-DBD0-037BC9EDB82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81" name="Freeform: Shape 17680">
                    <a:extLst>
                      <a:ext uri="{FF2B5EF4-FFF2-40B4-BE49-F238E27FC236}">
                        <a16:creationId xmlns:a16="http://schemas.microsoft.com/office/drawing/2014/main" id="{925C7898-9E38-59EA-DBED-DF962DA5B89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3" name="Group 17592">
                  <a:extLst>
                    <a:ext uri="{FF2B5EF4-FFF2-40B4-BE49-F238E27FC236}">
                      <a16:creationId xmlns:a16="http://schemas.microsoft.com/office/drawing/2014/main" id="{5DBC516A-F63E-D491-C097-550F27FDB8F3}"/>
                    </a:ext>
                  </a:extLst>
                </p:cNvPr>
                <p:cNvGrpSpPr/>
                <p:nvPr/>
              </p:nvGrpSpPr>
              <p:grpSpPr>
                <a:xfrm>
                  <a:off x="10475087" y="3381725"/>
                  <a:ext cx="71148" cy="71238"/>
                  <a:chOff x="6005114" y="3701354"/>
                  <a:chExt cx="71148" cy="71238"/>
                </a:xfrm>
              </p:grpSpPr>
              <p:sp>
                <p:nvSpPr>
                  <p:cNvPr id="17678" name="Freeform: Shape 17677">
                    <a:extLst>
                      <a:ext uri="{FF2B5EF4-FFF2-40B4-BE49-F238E27FC236}">
                        <a16:creationId xmlns:a16="http://schemas.microsoft.com/office/drawing/2014/main" id="{CAB6438A-2B57-87D7-4D22-B53DC4AB5AA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79" name="Freeform: Shape 17678">
                    <a:extLst>
                      <a:ext uri="{FF2B5EF4-FFF2-40B4-BE49-F238E27FC236}">
                        <a16:creationId xmlns:a16="http://schemas.microsoft.com/office/drawing/2014/main" id="{534C8108-A7D3-89B4-2A4B-7F9A843FD0B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4" name="Group 17593">
                  <a:extLst>
                    <a:ext uri="{FF2B5EF4-FFF2-40B4-BE49-F238E27FC236}">
                      <a16:creationId xmlns:a16="http://schemas.microsoft.com/office/drawing/2014/main" id="{8D88551D-1FF9-8C13-3353-7780F7853AAD}"/>
                    </a:ext>
                  </a:extLst>
                </p:cNvPr>
                <p:cNvGrpSpPr/>
                <p:nvPr/>
              </p:nvGrpSpPr>
              <p:grpSpPr>
                <a:xfrm>
                  <a:off x="10529855" y="3378426"/>
                  <a:ext cx="71148" cy="71238"/>
                  <a:chOff x="6005114" y="3701354"/>
                  <a:chExt cx="71148" cy="71238"/>
                </a:xfrm>
              </p:grpSpPr>
              <p:sp>
                <p:nvSpPr>
                  <p:cNvPr id="17676" name="Freeform: Shape 17675">
                    <a:extLst>
                      <a:ext uri="{FF2B5EF4-FFF2-40B4-BE49-F238E27FC236}">
                        <a16:creationId xmlns:a16="http://schemas.microsoft.com/office/drawing/2014/main" id="{2973289F-3E57-602C-9FA8-0FCDB136F22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77" name="Freeform: Shape 17676">
                    <a:extLst>
                      <a:ext uri="{FF2B5EF4-FFF2-40B4-BE49-F238E27FC236}">
                        <a16:creationId xmlns:a16="http://schemas.microsoft.com/office/drawing/2014/main" id="{341C4209-49D9-CEC0-263B-0E2284043B4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5" name="Group 17594">
                  <a:extLst>
                    <a:ext uri="{FF2B5EF4-FFF2-40B4-BE49-F238E27FC236}">
                      <a16:creationId xmlns:a16="http://schemas.microsoft.com/office/drawing/2014/main" id="{7A894F9A-FE62-4578-096A-F96EFA82928D}"/>
                    </a:ext>
                  </a:extLst>
                </p:cNvPr>
                <p:cNvGrpSpPr/>
                <p:nvPr/>
              </p:nvGrpSpPr>
              <p:grpSpPr>
                <a:xfrm>
                  <a:off x="10536217" y="3409775"/>
                  <a:ext cx="71148" cy="71238"/>
                  <a:chOff x="6005114" y="3701354"/>
                  <a:chExt cx="71148" cy="71238"/>
                </a:xfrm>
              </p:grpSpPr>
              <p:sp>
                <p:nvSpPr>
                  <p:cNvPr id="17674" name="Freeform: Shape 17673">
                    <a:extLst>
                      <a:ext uri="{FF2B5EF4-FFF2-40B4-BE49-F238E27FC236}">
                        <a16:creationId xmlns:a16="http://schemas.microsoft.com/office/drawing/2014/main" id="{B1DC19BB-1240-B096-6FF2-DC91508A1E0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75" name="Freeform: Shape 17674">
                    <a:extLst>
                      <a:ext uri="{FF2B5EF4-FFF2-40B4-BE49-F238E27FC236}">
                        <a16:creationId xmlns:a16="http://schemas.microsoft.com/office/drawing/2014/main" id="{15ECFBAE-10EF-4EF0-514B-86C83A51FD1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6" name="Group 17595">
                  <a:extLst>
                    <a:ext uri="{FF2B5EF4-FFF2-40B4-BE49-F238E27FC236}">
                      <a16:creationId xmlns:a16="http://schemas.microsoft.com/office/drawing/2014/main" id="{5C97F298-46E2-15B5-AD4A-4E2907631F1D}"/>
                    </a:ext>
                  </a:extLst>
                </p:cNvPr>
                <p:cNvGrpSpPr/>
                <p:nvPr/>
              </p:nvGrpSpPr>
              <p:grpSpPr>
                <a:xfrm>
                  <a:off x="10545742" y="3409775"/>
                  <a:ext cx="71148" cy="71238"/>
                  <a:chOff x="6005114" y="3701354"/>
                  <a:chExt cx="71148" cy="71238"/>
                </a:xfrm>
              </p:grpSpPr>
              <p:sp>
                <p:nvSpPr>
                  <p:cNvPr id="17672" name="Freeform: Shape 17671">
                    <a:extLst>
                      <a:ext uri="{FF2B5EF4-FFF2-40B4-BE49-F238E27FC236}">
                        <a16:creationId xmlns:a16="http://schemas.microsoft.com/office/drawing/2014/main" id="{5069ED60-FC75-AEE9-9BD5-A6E3373D80B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73" name="Freeform: Shape 17672">
                    <a:extLst>
                      <a:ext uri="{FF2B5EF4-FFF2-40B4-BE49-F238E27FC236}">
                        <a16:creationId xmlns:a16="http://schemas.microsoft.com/office/drawing/2014/main" id="{1E4E37B8-F80F-B815-200A-427596EAF15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7" name="Group 17596">
                  <a:extLst>
                    <a:ext uri="{FF2B5EF4-FFF2-40B4-BE49-F238E27FC236}">
                      <a16:creationId xmlns:a16="http://schemas.microsoft.com/office/drawing/2014/main" id="{39E40201-6747-6349-020F-0E7A0838216B}"/>
                    </a:ext>
                  </a:extLst>
                </p:cNvPr>
                <p:cNvGrpSpPr/>
                <p:nvPr/>
              </p:nvGrpSpPr>
              <p:grpSpPr>
                <a:xfrm>
                  <a:off x="10588605" y="3409775"/>
                  <a:ext cx="71148" cy="71238"/>
                  <a:chOff x="6005114" y="3701354"/>
                  <a:chExt cx="71148" cy="71238"/>
                </a:xfrm>
              </p:grpSpPr>
              <p:sp>
                <p:nvSpPr>
                  <p:cNvPr id="17670" name="Freeform: Shape 17669">
                    <a:extLst>
                      <a:ext uri="{FF2B5EF4-FFF2-40B4-BE49-F238E27FC236}">
                        <a16:creationId xmlns:a16="http://schemas.microsoft.com/office/drawing/2014/main" id="{F737CBEB-395F-9FA0-94F6-EE6391C4A57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71" name="Freeform: Shape 17670">
                    <a:extLst>
                      <a:ext uri="{FF2B5EF4-FFF2-40B4-BE49-F238E27FC236}">
                        <a16:creationId xmlns:a16="http://schemas.microsoft.com/office/drawing/2014/main" id="{EFDDD790-F40D-222B-27FD-E46643F986B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8" name="Group 17597">
                  <a:extLst>
                    <a:ext uri="{FF2B5EF4-FFF2-40B4-BE49-F238E27FC236}">
                      <a16:creationId xmlns:a16="http://schemas.microsoft.com/office/drawing/2014/main" id="{0B3CFBFC-0F8F-9BD1-7F1B-89B8CDE2B91B}"/>
                    </a:ext>
                  </a:extLst>
                </p:cNvPr>
                <p:cNvGrpSpPr/>
                <p:nvPr/>
              </p:nvGrpSpPr>
              <p:grpSpPr>
                <a:xfrm>
                  <a:off x="10598130" y="3409775"/>
                  <a:ext cx="71148" cy="71238"/>
                  <a:chOff x="6005114" y="3701354"/>
                  <a:chExt cx="71148" cy="71238"/>
                </a:xfrm>
              </p:grpSpPr>
              <p:sp>
                <p:nvSpPr>
                  <p:cNvPr id="17668" name="Freeform: Shape 17667">
                    <a:extLst>
                      <a:ext uri="{FF2B5EF4-FFF2-40B4-BE49-F238E27FC236}">
                        <a16:creationId xmlns:a16="http://schemas.microsoft.com/office/drawing/2014/main" id="{3CA4F43D-3CA0-320A-79B2-173BBBBC99E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69" name="Freeform: Shape 17668">
                    <a:extLst>
                      <a:ext uri="{FF2B5EF4-FFF2-40B4-BE49-F238E27FC236}">
                        <a16:creationId xmlns:a16="http://schemas.microsoft.com/office/drawing/2014/main" id="{901E64D1-F14D-2EFA-C42F-D61C987CCEA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599" name="Group 17598">
                  <a:extLst>
                    <a:ext uri="{FF2B5EF4-FFF2-40B4-BE49-F238E27FC236}">
                      <a16:creationId xmlns:a16="http://schemas.microsoft.com/office/drawing/2014/main" id="{1D5FB54D-AED7-F378-2304-5BC290365575}"/>
                    </a:ext>
                  </a:extLst>
                </p:cNvPr>
                <p:cNvGrpSpPr/>
                <p:nvPr/>
              </p:nvGrpSpPr>
              <p:grpSpPr>
                <a:xfrm>
                  <a:off x="11483953" y="3445394"/>
                  <a:ext cx="71148" cy="71238"/>
                  <a:chOff x="6005114" y="3701354"/>
                  <a:chExt cx="71148" cy="71238"/>
                </a:xfrm>
              </p:grpSpPr>
              <p:sp>
                <p:nvSpPr>
                  <p:cNvPr id="17666" name="Freeform: Shape 17665">
                    <a:extLst>
                      <a:ext uri="{FF2B5EF4-FFF2-40B4-BE49-F238E27FC236}">
                        <a16:creationId xmlns:a16="http://schemas.microsoft.com/office/drawing/2014/main" id="{C9DF3F39-2153-675D-6A73-62208D8482B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67" name="Freeform: Shape 17666">
                    <a:extLst>
                      <a:ext uri="{FF2B5EF4-FFF2-40B4-BE49-F238E27FC236}">
                        <a16:creationId xmlns:a16="http://schemas.microsoft.com/office/drawing/2014/main" id="{F164C2FE-3431-7D0A-306E-D8F79F843A4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0" name="Group 17599">
                  <a:extLst>
                    <a:ext uri="{FF2B5EF4-FFF2-40B4-BE49-F238E27FC236}">
                      <a16:creationId xmlns:a16="http://schemas.microsoft.com/office/drawing/2014/main" id="{0408FA97-770D-37C8-CA89-D1AAA98DFD00}"/>
                    </a:ext>
                  </a:extLst>
                </p:cNvPr>
                <p:cNvGrpSpPr/>
                <p:nvPr/>
              </p:nvGrpSpPr>
              <p:grpSpPr>
                <a:xfrm>
                  <a:off x="11231541" y="3445394"/>
                  <a:ext cx="71148" cy="71238"/>
                  <a:chOff x="6005114" y="3701354"/>
                  <a:chExt cx="71148" cy="71238"/>
                </a:xfrm>
              </p:grpSpPr>
              <p:sp>
                <p:nvSpPr>
                  <p:cNvPr id="17664" name="Freeform: Shape 17663">
                    <a:extLst>
                      <a:ext uri="{FF2B5EF4-FFF2-40B4-BE49-F238E27FC236}">
                        <a16:creationId xmlns:a16="http://schemas.microsoft.com/office/drawing/2014/main" id="{6FE7F53E-B5F1-9650-8420-894813D9937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65" name="Freeform: Shape 17664">
                    <a:extLst>
                      <a:ext uri="{FF2B5EF4-FFF2-40B4-BE49-F238E27FC236}">
                        <a16:creationId xmlns:a16="http://schemas.microsoft.com/office/drawing/2014/main" id="{D791CE82-18CD-B3E9-BF81-4FE1C5E13E2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1" name="Group 17600">
                  <a:extLst>
                    <a:ext uri="{FF2B5EF4-FFF2-40B4-BE49-F238E27FC236}">
                      <a16:creationId xmlns:a16="http://schemas.microsoft.com/office/drawing/2014/main" id="{A6B92886-5CD1-CCAB-66A1-FDF2F11B6858}"/>
                    </a:ext>
                  </a:extLst>
                </p:cNvPr>
                <p:cNvGrpSpPr/>
                <p:nvPr/>
              </p:nvGrpSpPr>
              <p:grpSpPr>
                <a:xfrm>
                  <a:off x="10623156" y="3409775"/>
                  <a:ext cx="71148" cy="71238"/>
                  <a:chOff x="6005114" y="3701354"/>
                  <a:chExt cx="71148" cy="71238"/>
                </a:xfrm>
              </p:grpSpPr>
              <p:sp>
                <p:nvSpPr>
                  <p:cNvPr id="17662" name="Freeform: Shape 17661">
                    <a:extLst>
                      <a:ext uri="{FF2B5EF4-FFF2-40B4-BE49-F238E27FC236}">
                        <a16:creationId xmlns:a16="http://schemas.microsoft.com/office/drawing/2014/main" id="{4E7FE448-8DBA-4295-5C53-24C09473EB6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63" name="Freeform: Shape 17662">
                    <a:extLst>
                      <a:ext uri="{FF2B5EF4-FFF2-40B4-BE49-F238E27FC236}">
                        <a16:creationId xmlns:a16="http://schemas.microsoft.com/office/drawing/2014/main" id="{93633AFA-2530-0B04-AF16-10DE4102BBF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2" name="Group 17601">
                  <a:extLst>
                    <a:ext uri="{FF2B5EF4-FFF2-40B4-BE49-F238E27FC236}">
                      <a16:creationId xmlns:a16="http://schemas.microsoft.com/office/drawing/2014/main" id="{9EC77B9F-F4BF-AF2B-6AC6-C86FA9A8C2F3}"/>
                    </a:ext>
                  </a:extLst>
                </p:cNvPr>
                <p:cNvGrpSpPr/>
                <p:nvPr/>
              </p:nvGrpSpPr>
              <p:grpSpPr>
                <a:xfrm>
                  <a:off x="10639828" y="3409775"/>
                  <a:ext cx="71148" cy="71238"/>
                  <a:chOff x="6005114" y="3701354"/>
                  <a:chExt cx="71148" cy="71238"/>
                </a:xfrm>
              </p:grpSpPr>
              <p:sp>
                <p:nvSpPr>
                  <p:cNvPr id="17660" name="Freeform: Shape 17659">
                    <a:extLst>
                      <a:ext uri="{FF2B5EF4-FFF2-40B4-BE49-F238E27FC236}">
                        <a16:creationId xmlns:a16="http://schemas.microsoft.com/office/drawing/2014/main" id="{8AFEEDFF-0757-35EE-18AA-0C23C423FA4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61" name="Freeform: Shape 17660">
                    <a:extLst>
                      <a:ext uri="{FF2B5EF4-FFF2-40B4-BE49-F238E27FC236}">
                        <a16:creationId xmlns:a16="http://schemas.microsoft.com/office/drawing/2014/main" id="{B6C664A5-7E4A-E3F9-7A66-98AF90AC1F9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3" name="Group 17602">
                  <a:extLst>
                    <a:ext uri="{FF2B5EF4-FFF2-40B4-BE49-F238E27FC236}">
                      <a16:creationId xmlns:a16="http://schemas.microsoft.com/office/drawing/2014/main" id="{9FC56081-FF29-7E7B-9FCF-8E35E2A6AEB7}"/>
                    </a:ext>
                  </a:extLst>
                </p:cNvPr>
                <p:cNvGrpSpPr/>
                <p:nvPr/>
              </p:nvGrpSpPr>
              <p:grpSpPr>
                <a:xfrm>
                  <a:off x="10665873" y="3409775"/>
                  <a:ext cx="71148" cy="71238"/>
                  <a:chOff x="6005114" y="3701354"/>
                  <a:chExt cx="71148" cy="71238"/>
                </a:xfrm>
              </p:grpSpPr>
              <p:sp>
                <p:nvSpPr>
                  <p:cNvPr id="17658" name="Freeform: Shape 17657">
                    <a:extLst>
                      <a:ext uri="{FF2B5EF4-FFF2-40B4-BE49-F238E27FC236}">
                        <a16:creationId xmlns:a16="http://schemas.microsoft.com/office/drawing/2014/main" id="{0E453E7A-D08D-CA63-8F9B-04421A27F89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59" name="Freeform: Shape 17658">
                    <a:extLst>
                      <a:ext uri="{FF2B5EF4-FFF2-40B4-BE49-F238E27FC236}">
                        <a16:creationId xmlns:a16="http://schemas.microsoft.com/office/drawing/2014/main" id="{FA66AADB-E218-CDEC-CD29-6684D03158C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4" name="Group 17603">
                  <a:extLst>
                    <a:ext uri="{FF2B5EF4-FFF2-40B4-BE49-F238E27FC236}">
                      <a16:creationId xmlns:a16="http://schemas.microsoft.com/office/drawing/2014/main" id="{30F5719B-8449-DA05-C049-791E3820EB18}"/>
                    </a:ext>
                  </a:extLst>
                </p:cNvPr>
                <p:cNvGrpSpPr/>
                <p:nvPr/>
              </p:nvGrpSpPr>
              <p:grpSpPr>
                <a:xfrm>
                  <a:off x="10710976" y="3409775"/>
                  <a:ext cx="71148" cy="71238"/>
                  <a:chOff x="6005114" y="3701354"/>
                  <a:chExt cx="71148" cy="71238"/>
                </a:xfrm>
              </p:grpSpPr>
              <p:sp>
                <p:nvSpPr>
                  <p:cNvPr id="17656" name="Freeform: Shape 17655">
                    <a:extLst>
                      <a:ext uri="{FF2B5EF4-FFF2-40B4-BE49-F238E27FC236}">
                        <a16:creationId xmlns:a16="http://schemas.microsoft.com/office/drawing/2014/main" id="{C202C731-27E8-184E-7418-6428CCF7BA7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57" name="Freeform: Shape 17656">
                    <a:extLst>
                      <a:ext uri="{FF2B5EF4-FFF2-40B4-BE49-F238E27FC236}">
                        <a16:creationId xmlns:a16="http://schemas.microsoft.com/office/drawing/2014/main" id="{AAFF4E3C-45D1-70BF-9E89-E27DC9AC3D2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5" name="Group 17604">
                  <a:extLst>
                    <a:ext uri="{FF2B5EF4-FFF2-40B4-BE49-F238E27FC236}">
                      <a16:creationId xmlns:a16="http://schemas.microsoft.com/office/drawing/2014/main" id="{E1585813-7F60-DFAB-0F0B-53BA376628D6}"/>
                    </a:ext>
                  </a:extLst>
                </p:cNvPr>
                <p:cNvGrpSpPr/>
                <p:nvPr/>
              </p:nvGrpSpPr>
              <p:grpSpPr>
                <a:xfrm>
                  <a:off x="10733861" y="3445394"/>
                  <a:ext cx="71148" cy="71238"/>
                  <a:chOff x="6005114" y="3701354"/>
                  <a:chExt cx="71148" cy="71238"/>
                </a:xfrm>
              </p:grpSpPr>
              <p:sp>
                <p:nvSpPr>
                  <p:cNvPr id="17654" name="Freeform: Shape 17653">
                    <a:extLst>
                      <a:ext uri="{FF2B5EF4-FFF2-40B4-BE49-F238E27FC236}">
                        <a16:creationId xmlns:a16="http://schemas.microsoft.com/office/drawing/2014/main" id="{C07290B3-65A0-3C5B-3B35-BE32B76962B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55" name="Freeform: Shape 17654">
                    <a:extLst>
                      <a:ext uri="{FF2B5EF4-FFF2-40B4-BE49-F238E27FC236}">
                        <a16:creationId xmlns:a16="http://schemas.microsoft.com/office/drawing/2014/main" id="{F3E6C608-8860-D67C-7C64-FA1A5F2B7A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6" name="Group 17605">
                  <a:extLst>
                    <a:ext uri="{FF2B5EF4-FFF2-40B4-BE49-F238E27FC236}">
                      <a16:creationId xmlns:a16="http://schemas.microsoft.com/office/drawing/2014/main" id="{8BB4BC7C-8352-CFE1-159C-792AFC53D9AD}"/>
                    </a:ext>
                  </a:extLst>
                </p:cNvPr>
                <p:cNvGrpSpPr/>
                <p:nvPr/>
              </p:nvGrpSpPr>
              <p:grpSpPr>
                <a:xfrm>
                  <a:off x="10758887" y="3445394"/>
                  <a:ext cx="71148" cy="71238"/>
                  <a:chOff x="6005114" y="3701354"/>
                  <a:chExt cx="71148" cy="71238"/>
                </a:xfrm>
              </p:grpSpPr>
              <p:sp>
                <p:nvSpPr>
                  <p:cNvPr id="17652" name="Freeform: Shape 17651">
                    <a:extLst>
                      <a:ext uri="{FF2B5EF4-FFF2-40B4-BE49-F238E27FC236}">
                        <a16:creationId xmlns:a16="http://schemas.microsoft.com/office/drawing/2014/main" id="{CA31F050-078B-BA47-2146-F79A35724BA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53" name="Freeform: Shape 17652">
                    <a:extLst>
                      <a:ext uri="{FF2B5EF4-FFF2-40B4-BE49-F238E27FC236}">
                        <a16:creationId xmlns:a16="http://schemas.microsoft.com/office/drawing/2014/main" id="{94263E8C-6927-6191-B423-95D120E556B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7" name="Group 17606">
                  <a:extLst>
                    <a:ext uri="{FF2B5EF4-FFF2-40B4-BE49-F238E27FC236}">
                      <a16:creationId xmlns:a16="http://schemas.microsoft.com/office/drawing/2014/main" id="{21C16E76-4D77-4CAF-03D7-09D5CF0D218E}"/>
                    </a:ext>
                  </a:extLst>
                </p:cNvPr>
                <p:cNvGrpSpPr/>
                <p:nvPr/>
              </p:nvGrpSpPr>
              <p:grpSpPr>
                <a:xfrm>
                  <a:off x="10775559" y="3445394"/>
                  <a:ext cx="71148" cy="71238"/>
                  <a:chOff x="6005114" y="3701354"/>
                  <a:chExt cx="71148" cy="71238"/>
                </a:xfrm>
              </p:grpSpPr>
              <p:sp>
                <p:nvSpPr>
                  <p:cNvPr id="17650" name="Freeform: Shape 17649">
                    <a:extLst>
                      <a:ext uri="{FF2B5EF4-FFF2-40B4-BE49-F238E27FC236}">
                        <a16:creationId xmlns:a16="http://schemas.microsoft.com/office/drawing/2014/main" id="{6A40D872-0BE7-F5DA-5E1A-18F43013A47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51" name="Freeform: Shape 17650">
                    <a:extLst>
                      <a:ext uri="{FF2B5EF4-FFF2-40B4-BE49-F238E27FC236}">
                        <a16:creationId xmlns:a16="http://schemas.microsoft.com/office/drawing/2014/main" id="{EDC20309-866A-BA58-BBC3-4FE4699A629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8" name="Group 17607">
                  <a:extLst>
                    <a:ext uri="{FF2B5EF4-FFF2-40B4-BE49-F238E27FC236}">
                      <a16:creationId xmlns:a16="http://schemas.microsoft.com/office/drawing/2014/main" id="{82E09AF1-0AAF-C47F-E7C9-5591E5FDCEB2}"/>
                    </a:ext>
                  </a:extLst>
                </p:cNvPr>
                <p:cNvGrpSpPr/>
                <p:nvPr/>
              </p:nvGrpSpPr>
              <p:grpSpPr>
                <a:xfrm>
                  <a:off x="10801604" y="3445394"/>
                  <a:ext cx="71148" cy="71238"/>
                  <a:chOff x="6005114" y="3701354"/>
                  <a:chExt cx="71148" cy="71238"/>
                </a:xfrm>
              </p:grpSpPr>
              <p:sp>
                <p:nvSpPr>
                  <p:cNvPr id="17648" name="Freeform: Shape 17647">
                    <a:extLst>
                      <a:ext uri="{FF2B5EF4-FFF2-40B4-BE49-F238E27FC236}">
                        <a16:creationId xmlns:a16="http://schemas.microsoft.com/office/drawing/2014/main" id="{B6B2B717-2AA0-3566-6050-4E025121410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49" name="Freeform: Shape 17648">
                    <a:extLst>
                      <a:ext uri="{FF2B5EF4-FFF2-40B4-BE49-F238E27FC236}">
                        <a16:creationId xmlns:a16="http://schemas.microsoft.com/office/drawing/2014/main" id="{F1B637F9-3FFC-028F-7E7D-338D8814FFB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09" name="Group 17608">
                  <a:extLst>
                    <a:ext uri="{FF2B5EF4-FFF2-40B4-BE49-F238E27FC236}">
                      <a16:creationId xmlns:a16="http://schemas.microsoft.com/office/drawing/2014/main" id="{8FF80111-4E61-2CE5-4FCC-39F7C56EC046}"/>
                    </a:ext>
                  </a:extLst>
                </p:cNvPr>
                <p:cNvGrpSpPr/>
                <p:nvPr/>
              </p:nvGrpSpPr>
              <p:grpSpPr>
                <a:xfrm>
                  <a:off x="10834801" y="3445394"/>
                  <a:ext cx="71148" cy="71238"/>
                  <a:chOff x="6005114" y="3701354"/>
                  <a:chExt cx="71148" cy="71238"/>
                </a:xfrm>
              </p:grpSpPr>
              <p:sp>
                <p:nvSpPr>
                  <p:cNvPr id="17646" name="Freeform: Shape 17645">
                    <a:extLst>
                      <a:ext uri="{FF2B5EF4-FFF2-40B4-BE49-F238E27FC236}">
                        <a16:creationId xmlns:a16="http://schemas.microsoft.com/office/drawing/2014/main" id="{FFF2411E-92B2-918A-C0F1-A56AC026860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47" name="Freeform: Shape 17646">
                    <a:extLst>
                      <a:ext uri="{FF2B5EF4-FFF2-40B4-BE49-F238E27FC236}">
                        <a16:creationId xmlns:a16="http://schemas.microsoft.com/office/drawing/2014/main" id="{9D6484ED-187B-9E8C-05DF-0009799D233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0" name="Group 17609">
                  <a:extLst>
                    <a:ext uri="{FF2B5EF4-FFF2-40B4-BE49-F238E27FC236}">
                      <a16:creationId xmlns:a16="http://schemas.microsoft.com/office/drawing/2014/main" id="{BE5FCDAB-5A36-B736-FB33-8C4260F2F5C8}"/>
                    </a:ext>
                  </a:extLst>
                </p:cNvPr>
                <p:cNvGrpSpPr/>
                <p:nvPr/>
              </p:nvGrpSpPr>
              <p:grpSpPr>
                <a:xfrm>
                  <a:off x="11050620" y="3445394"/>
                  <a:ext cx="71148" cy="71238"/>
                  <a:chOff x="6005114" y="3701354"/>
                  <a:chExt cx="71148" cy="71238"/>
                </a:xfrm>
              </p:grpSpPr>
              <p:sp>
                <p:nvSpPr>
                  <p:cNvPr id="17644" name="Freeform: Shape 17643">
                    <a:extLst>
                      <a:ext uri="{FF2B5EF4-FFF2-40B4-BE49-F238E27FC236}">
                        <a16:creationId xmlns:a16="http://schemas.microsoft.com/office/drawing/2014/main" id="{2310B2D4-441F-120B-1EAC-BE129B3975C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45" name="Freeform: Shape 17644">
                    <a:extLst>
                      <a:ext uri="{FF2B5EF4-FFF2-40B4-BE49-F238E27FC236}">
                        <a16:creationId xmlns:a16="http://schemas.microsoft.com/office/drawing/2014/main" id="{25250695-C348-1517-A64F-556B4C38CBA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1" name="Group 17610">
                  <a:extLst>
                    <a:ext uri="{FF2B5EF4-FFF2-40B4-BE49-F238E27FC236}">
                      <a16:creationId xmlns:a16="http://schemas.microsoft.com/office/drawing/2014/main" id="{30871A10-1783-6E08-9173-D01877A672DD}"/>
                    </a:ext>
                  </a:extLst>
                </p:cNvPr>
                <p:cNvGrpSpPr/>
                <p:nvPr/>
              </p:nvGrpSpPr>
              <p:grpSpPr>
                <a:xfrm>
                  <a:off x="11181536" y="3445394"/>
                  <a:ext cx="71148" cy="71238"/>
                  <a:chOff x="6005114" y="3701354"/>
                  <a:chExt cx="71148" cy="71238"/>
                </a:xfrm>
              </p:grpSpPr>
              <p:sp>
                <p:nvSpPr>
                  <p:cNvPr id="17642" name="Freeform: Shape 17641">
                    <a:extLst>
                      <a:ext uri="{FF2B5EF4-FFF2-40B4-BE49-F238E27FC236}">
                        <a16:creationId xmlns:a16="http://schemas.microsoft.com/office/drawing/2014/main" id="{B857BF7E-49D0-D017-47E8-33C3914316E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43" name="Freeform: Shape 17642">
                    <a:extLst>
                      <a:ext uri="{FF2B5EF4-FFF2-40B4-BE49-F238E27FC236}">
                        <a16:creationId xmlns:a16="http://schemas.microsoft.com/office/drawing/2014/main" id="{BBEC0952-C15D-1867-A940-E7E1FA78ED6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2" name="Group 17611">
                  <a:extLst>
                    <a:ext uri="{FF2B5EF4-FFF2-40B4-BE49-F238E27FC236}">
                      <a16:creationId xmlns:a16="http://schemas.microsoft.com/office/drawing/2014/main" id="{89FCB649-5B25-06C6-01B6-6785B03285BE}"/>
                    </a:ext>
                  </a:extLst>
                </p:cNvPr>
                <p:cNvGrpSpPr/>
                <p:nvPr/>
              </p:nvGrpSpPr>
              <p:grpSpPr>
                <a:xfrm>
                  <a:off x="11191061" y="3445394"/>
                  <a:ext cx="71148" cy="71238"/>
                  <a:chOff x="6005114" y="3701354"/>
                  <a:chExt cx="71148" cy="71238"/>
                </a:xfrm>
              </p:grpSpPr>
              <p:sp>
                <p:nvSpPr>
                  <p:cNvPr id="17640" name="Freeform: Shape 17639">
                    <a:extLst>
                      <a:ext uri="{FF2B5EF4-FFF2-40B4-BE49-F238E27FC236}">
                        <a16:creationId xmlns:a16="http://schemas.microsoft.com/office/drawing/2014/main" id="{6D4CE2F1-D3C8-D594-8F7B-36CA532215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41" name="Freeform: Shape 17640">
                    <a:extLst>
                      <a:ext uri="{FF2B5EF4-FFF2-40B4-BE49-F238E27FC236}">
                        <a16:creationId xmlns:a16="http://schemas.microsoft.com/office/drawing/2014/main" id="{B7A8A1A5-F60D-F289-ADB3-7D6FF87BA66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3" name="Group 17612">
                  <a:extLst>
                    <a:ext uri="{FF2B5EF4-FFF2-40B4-BE49-F238E27FC236}">
                      <a16:creationId xmlns:a16="http://schemas.microsoft.com/office/drawing/2014/main" id="{03A88ECE-BEDD-5CE1-5AC2-469D66E7781D}"/>
                    </a:ext>
                  </a:extLst>
                </p:cNvPr>
                <p:cNvGrpSpPr/>
                <p:nvPr/>
              </p:nvGrpSpPr>
              <p:grpSpPr>
                <a:xfrm>
                  <a:off x="11276784" y="3445394"/>
                  <a:ext cx="71148" cy="71238"/>
                  <a:chOff x="6005114" y="3701354"/>
                  <a:chExt cx="71148" cy="71238"/>
                </a:xfrm>
              </p:grpSpPr>
              <p:sp>
                <p:nvSpPr>
                  <p:cNvPr id="17638" name="Freeform: Shape 17637">
                    <a:extLst>
                      <a:ext uri="{FF2B5EF4-FFF2-40B4-BE49-F238E27FC236}">
                        <a16:creationId xmlns:a16="http://schemas.microsoft.com/office/drawing/2014/main" id="{3CA4E4DA-E6E8-1D3B-BBDC-72DA933F93F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39" name="Freeform: Shape 17638">
                    <a:extLst>
                      <a:ext uri="{FF2B5EF4-FFF2-40B4-BE49-F238E27FC236}">
                        <a16:creationId xmlns:a16="http://schemas.microsoft.com/office/drawing/2014/main" id="{42142528-B83C-AAFE-8ECF-C48132A8D25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4" name="Group 17613">
                  <a:extLst>
                    <a:ext uri="{FF2B5EF4-FFF2-40B4-BE49-F238E27FC236}">
                      <a16:creationId xmlns:a16="http://schemas.microsoft.com/office/drawing/2014/main" id="{C2DF6E69-68C4-462A-1F9E-6C6C4060E4FA}"/>
                    </a:ext>
                  </a:extLst>
                </p:cNvPr>
                <p:cNvGrpSpPr/>
                <p:nvPr/>
              </p:nvGrpSpPr>
              <p:grpSpPr>
                <a:xfrm>
                  <a:off x="11379180" y="3445394"/>
                  <a:ext cx="71148" cy="71238"/>
                  <a:chOff x="6005114" y="3701354"/>
                  <a:chExt cx="71148" cy="71238"/>
                </a:xfrm>
              </p:grpSpPr>
              <p:sp>
                <p:nvSpPr>
                  <p:cNvPr id="17636" name="Freeform: Shape 17635">
                    <a:extLst>
                      <a:ext uri="{FF2B5EF4-FFF2-40B4-BE49-F238E27FC236}">
                        <a16:creationId xmlns:a16="http://schemas.microsoft.com/office/drawing/2014/main" id="{00C90404-9636-764A-F89F-EE45D227779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37" name="Freeform: Shape 17636">
                    <a:extLst>
                      <a:ext uri="{FF2B5EF4-FFF2-40B4-BE49-F238E27FC236}">
                        <a16:creationId xmlns:a16="http://schemas.microsoft.com/office/drawing/2014/main" id="{2D7BD89D-F188-C467-6877-CB7F7DDC55E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5" name="Group 17614">
                  <a:extLst>
                    <a:ext uri="{FF2B5EF4-FFF2-40B4-BE49-F238E27FC236}">
                      <a16:creationId xmlns:a16="http://schemas.microsoft.com/office/drawing/2014/main" id="{53827ED6-8127-2FFC-F0EB-AF69B003B96F}"/>
                    </a:ext>
                  </a:extLst>
                </p:cNvPr>
                <p:cNvGrpSpPr/>
                <p:nvPr/>
              </p:nvGrpSpPr>
              <p:grpSpPr>
                <a:xfrm>
                  <a:off x="11388705" y="3445394"/>
                  <a:ext cx="71148" cy="71238"/>
                  <a:chOff x="6005114" y="3701354"/>
                  <a:chExt cx="71148" cy="71238"/>
                </a:xfrm>
              </p:grpSpPr>
              <p:sp>
                <p:nvSpPr>
                  <p:cNvPr id="17634" name="Freeform: Shape 17633">
                    <a:extLst>
                      <a:ext uri="{FF2B5EF4-FFF2-40B4-BE49-F238E27FC236}">
                        <a16:creationId xmlns:a16="http://schemas.microsoft.com/office/drawing/2014/main" id="{9C983353-062A-93F0-B6AB-EC450610C6C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35" name="Freeform: Shape 17634">
                    <a:extLst>
                      <a:ext uri="{FF2B5EF4-FFF2-40B4-BE49-F238E27FC236}">
                        <a16:creationId xmlns:a16="http://schemas.microsoft.com/office/drawing/2014/main" id="{0A2687F1-847F-4DE5-5E63-50B8517B0DF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6" name="Group 17615">
                  <a:extLst>
                    <a:ext uri="{FF2B5EF4-FFF2-40B4-BE49-F238E27FC236}">
                      <a16:creationId xmlns:a16="http://schemas.microsoft.com/office/drawing/2014/main" id="{AC46A557-FF28-BC29-1688-B7D7A23BF7A0}"/>
                    </a:ext>
                  </a:extLst>
                </p:cNvPr>
                <p:cNvGrpSpPr/>
                <p:nvPr/>
              </p:nvGrpSpPr>
              <p:grpSpPr>
                <a:xfrm>
                  <a:off x="11605399" y="3445394"/>
                  <a:ext cx="71148" cy="71238"/>
                  <a:chOff x="6005114" y="3701354"/>
                  <a:chExt cx="71148" cy="71238"/>
                </a:xfrm>
              </p:grpSpPr>
              <p:sp>
                <p:nvSpPr>
                  <p:cNvPr id="17632" name="Freeform: Shape 17631">
                    <a:extLst>
                      <a:ext uri="{FF2B5EF4-FFF2-40B4-BE49-F238E27FC236}">
                        <a16:creationId xmlns:a16="http://schemas.microsoft.com/office/drawing/2014/main" id="{7BA66650-DF29-78E7-C047-346F3345D92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33" name="Freeform: Shape 17632">
                    <a:extLst>
                      <a:ext uri="{FF2B5EF4-FFF2-40B4-BE49-F238E27FC236}">
                        <a16:creationId xmlns:a16="http://schemas.microsoft.com/office/drawing/2014/main" id="{9CD6333C-796A-CDDA-3592-0AC8BED942B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7" name="Group 17616">
                  <a:extLst>
                    <a:ext uri="{FF2B5EF4-FFF2-40B4-BE49-F238E27FC236}">
                      <a16:creationId xmlns:a16="http://schemas.microsoft.com/office/drawing/2014/main" id="{C2F0AE17-B03B-811C-B81F-46B76A48A379}"/>
                    </a:ext>
                  </a:extLst>
                </p:cNvPr>
                <p:cNvGrpSpPr/>
                <p:nvPr/>
              </p:nvGrpSpPr>
              <p:grpSpPr>
                <a:xfrm>
                  <a:off x="11614924" y="3445394"/>
                  <a:ext cx="71148" cy="71238"/>
                  <a:chOff x="6005114" y="3701354"/>
                  <a:chExt cx="71148" cy="71238"/>
                </a:xfrm>
              </p:grpSpPr>
              <p:sp>
                <p:nvSpPr>
                  <p:cNvPr id="17630" name="Freeform: Shape 17629">
                    <a:extLst>
                      <a:ext uri="{FF2B5EF4-FFF2-40B4-BE49-F238E27FC236}">
                        <a16:creationId xmlns:a16="http://schemas.microsoft.com/office/drawing/2014/main" id="{688F945C-77A9-FB31-F170-30BEB3ED521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31" name="Freeform: Shape 17630">
                    <a:extLst>
                      <a:ext uri="{FF2B5EF4-FFF2-40B4-BE49-F238E27FC236}">
                        <a16:creationId xmlns:a16="http://schemas.microsoft.com/office/drawing/2014/main" id="{9BC1D377-9E3E-20A8-F500-D4495DDD6C5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8" name="Group 17617">
                  <a:extLst>
                    <a:ext uri="{FF2B5EF4-FFF2-40B4-BE49-F238E27FC236}">
                      <a16:creationId xmlns:a16="http://schemas.microsoft.com/office/drawing/2014/main" id="{1DB50F1B-F3D5-4B7F-6048-54287915BE78}"/>
                    </a:ext>
                  </a:extLst>
                </p:cNvPr>
                <p:cNvGrpSpPr/>
                <p:nvPr/>
              </p:nvGrpSpPr>
              <p:grpSpPr>
                <a:xfrm>
                  <a:off x="11576822" y="3445394"/>
                  <a:ext cx="71148" cy="71238"/>
                  <a:chOff x="6005114" y="3701354"/>
                  <a:chExt cx="71148" cy="71238"/>
                </a:xfrm>
              </p:grpSpPr>
              <p:sp>
                <p:nvSpPr>
                  <p:cNvPr id="17628" name="Freeform: Shape 17627">
                    <a:extLst>
                      <a:ext uri="{FF2B5EF4-FFF2-40B4-BE49-F238E27FC236}">
                        <a16:creationId xmlns:a16="http://schemas.microsoft.com/office/drawing/2014/main" id="{4B8A5350-CE7C-0868-3298-77AD6CB1ED4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29" name="Freeform: Shape 17628">
                    <a:extLst>
                      <a:ext uri="{FF2B5EF4-FFF2-40B4-BE49-F238E27FC236}">
                        <a16:creationId xmlns:a16="http://schemas.microsoft.com/office/drawing/2014/main" id="{6AF5634C-6F9E-76E9-36F4-86564FFA3F8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19" name="Group 17618">
                  <a:extLst>
                    <a:ext uri="{FF2B5EF4-FFF2-40B4-BE49-F238E27FC236}">
                      <a16:creationId xmlns:a16="http://schemas.microsoft.com/office/drawing/2014/main" id="{6AC5D078-C4AB-7082-D056-01FB1823E86A}"/>
                    </a:ext>
                  </a:extLst>
                </p:cNvPr>
                <p:cNvGrpSpPr/>
                <p:nvPr/>
              </p:nvGrpSpPr>
              <p:grpSpPr>
                <a:xfrm>
                  <a:off x="11729222" y="3445394"/>
                  <a:ext cx="71148" cy="71238"/>
                  <a:chOff x="6005114" y="3701354"/>
                  <a:chExt cx="71148" cy="71238"/>
                </a:xfrm>
              </p:grpSpPr>
              <p:sp>
                <p:nvSpPr>
                  <p:cNvPr id="17626" name="Freeform: Shape 17625">
                    <a:extLst>
                      <a:ext uri="{FF2B5EF4-FFF2-40B4-BE49-F238E27FC236}">
                        <a16:creationId xmlns:a16="http://schemas.microsoft.com/office/drawing/2014/main" id="{CAB9F33D-8991-F67B-9335-9A4CAC37983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27" name="Freeform: Shape 17626">
                    <a:extLst>
                      <a:ext uri="{FF2B5EF4-FFF2-40B4-BE49-F238E27FC236}">
                        <a16:creationId xmlns:a16="http://schemas.microsoft.com/office/drawing/2014/main" id="{0164FA66-2FA1-50BD-40F2-8D3447D49F4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20" name="Group 17619">
                  <a:extLst>
                    <a:ext uri="{FF2B5EF4-FFF2-40B4-BE49-F238E27FC236}">
                      <a16:creationId xmlns:a16="http://schemas.microsoft.com/office/drawing/2014/main" id="{0044CB08-10EF-47BD-772A-4DE5A4CA279C}"/>
                    </a:ext>
                  </a:extLst>
                </p:cNvPr>
                <p:cNvGrpSpPr/>
                <p:nvPr/>
              </p:nvGrpSpPr>
              <p:grpSpPr>
                <a:xfrm>
                  <a:off x="11760178" y="3445394"/>
                  <a:ext cx="71148" cy="71238"/>
                  <a:chOff x="6005114" y="3701354"/>
                  <a:chExt cx="71148" cy="71238"/>
                </a:xfrm>
              </p:grpSpPr>
              <p:sp>
                <p:nvSpPr>
                  <p:cNvPr id="17624" name="Freeform: Shape 17623">
                    <a:extLst>
                      <a:ext uri="{FF2B5EF4-FFF2-40B4-BE49-F238E27FC236}">
                        <a16:creationId xmlns:a16="http://schemas.microsoft.com/office/drawing/2014/main" id="{1F00759F-873E-65A0-B5E0-37788D72124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25" name="Freeform: Shape 17624">
                    <a:extLst>
                      <a:ext uri="{FF2B5EF4-FFF2-40B4-BE49-F238E27FC236}">
                        <a16:creationId xmlns:a16="http://schemas.microsoft.com/office/drawing/2014/main" id="{E5E8C985-6A88-7C6A-3847-4C1F9CA2615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621" name="Group 17620">
                  <a:extLst>
                    <a:ext uri="{FF2B5EF4-FFF2-40B4-BE49-F238E27FC236}">
                      <a16:creationId xmlns:a16="http://schemas.microsoft.com/office/drawing/2014/main" id="{BB20A977-C8CE-5D64-77A9-D1FFF8AB9976}"/>
                    </a:ext>
                  </a:extLst>
                </p:cNvPr>
                <p:cNvGrpSpPr/>
                <p:nvPr/>
              </p:nvGrpSpPr>
              <p:grpSpPr>
                <a:xfrm>
                  <a:off x="11776847" y="3445394"/>
                  <a:ext cx="71148" cy="71238"/>
                  <a:chOff x="6005114" y="3701354"/>
                  <a:chExt cx="71148" cy="71238"/>
                </a:xfrm>
              </p:grpSpPr>
              <p:sp>
                <p:nvSpPr>
                  <p:cNvPr id="17622" name="Freeform: Shape 17621">
                    <a:extLst>
                      <a:ext uri="{FF2B5EF4-FFF2-40B4-BE49-F238E27FC236}">
                        <a16:creationId xmlns:a16="http://schemas.microsoft.com/office/drawing/2014/main" id="{572E0C61-E359-C2F9-13CA-C22944F8B1D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623" name="Freeform: Shape 17622">
                    <a:extLst>
                      <a:ext uri="{FF2B5EF4-FFF2-40B4-BE49-F238E27FC236}">
                        <a16:creationId xmlns:a16="http://schemas.microsoft.com/office/drawing/2014/main" id="{60DC37BE-C45C-3025-8AF5-3569B1F8D3F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grpSp>
          <p:nvGrpSpPr>
            <p:cNvPr id="6" name="Group 5">
              <a:extLst>
                <a:ext uri="{FF2B5EF4-FFF2-40B4-BE49-F238E27FC236}">
                  <a16:creationId xmlns:a16="http://schemas.microsoft.com/office/drawing/2014/main" id="{8DF07386-9A05-6DE5-CB4B-D0917D2A9C2E}"/>
                </a:ext>
              </a:extLst>
            </p:cNvPr>
            <p:cNvGrpSpPr/>
            <p:nvPr/>
          </p:nvGrpSpPr>
          <p:grpSpPr>
            <a:xfrm>
              <a:off x="1657060" y="1571903"/>
              <a:ext cx="8880912" cy="1785650"/>
              <a:chOff x="929725" y="2111357"/>
              <a:chExt cx="4982804" cy="1528222"/>
            </a:xfrm>
          </p:grpSpPr>
          <p:sp>
            <p:nvSpPr>
              <p:cNvPr id="17482" name="Freeform: Shape 17481">
                <a:extLst>
                  <a:ext uri="{FF2B5EF4-FFF2-40B4-BE49-F238E27FC236}">
                    <a16:creationId xmlns:a16="http://schemas.microsoft.com/office/drawing/2014/main" id="{B3131CBE-90AA-C1CE-F57B-86EF2E0410E6}"/>
                  </a:ext>
                </a:extLst>
              </p:cNvPr>
              <p:cNvSpPr/>
              <p:nvPr/>
            </p:nvSpPr>
            <p:spPr>
              <a:xfrm>
                <a:off x="943072" y="2111357"/>
                <a:ext cx="4940491" cy="1491579"/>
              </a:xfrm>
              <a:custGeom>
                <a:avLst/>
                <a:gdLst>
                  <a:gd name="connsiteX0" fmla="*/ 0 w 4940491"/>
                  <a:gd name="connsiteY0" fmla="*/ 0 h 1476768"/>
                  <a:gd name="connsiteX1" fmla="*/ 0 w 4940491"/>
                  <a:gd name="connsiteY1" fmla="*/ 41387 h 1476768"/>
                  <a:gd name="connsiteX2" fmla="*/ 22948 w 4940491"/>
                  <a:gd name="connsiteY2" fmla="*/ 41387 h 1476768"/>
                  <a:gd name="connsiteX3" fmla="*/ 22948 w 4940491"/>
                  <a:gd name="connsiteY3" fmla="*/ 77478 h 1476768"/>
                  <a:gd name="connsiteX4" fmla="*/ 75574 w 4940491"/>
                  <a:gd name="connsiteY4" fmla="*/ 77478 h 1476768"/>
                  <a:gd name="connsiteX5" fmla="*/ 75574 w 4940491"/>
                  <a:gd name="connsiteY5" fmla="*/ 92156 h 1476768"/>
                  <a:gd name="connsiteX6" fmla="*/ 184959 w 4940491"/>
                  <a:gd name="connsiteY6" fmla="*/ 92156 h 1476768"/>
                  <a:gd name="connsiteX7" fmla="*/ 184959 w 4940491"/>
                  <a:gd name="connsiteY7" fmla="*/ 102825 h 1476768"/>
                  <a:gd name="connsiteX8" fmla="*/ 302374 w 4940491"/>
                  <a:gd name="connsiteY8" fmla="*/ 102825 h 1476768"/>
                  <a:gd name="connsiteX9" fmla="*/ 302374 w 4940491"/>
                  <a:gd name="connsiteY9" fmla="*/ 129533 h 1476768"/>
                  <a:gd name="connsiteX10" fmla="*/ 394165 w 4940491"/>
                  <a:gd name="connsiteY10" fmla="*/ 129533 h 1476768"/>
                  <a:gd name="connsiteX11" fmla="*/ 394165 w 4940491"/>
                  <a:gd name="connsiteY11" fmla="*/ 138840 h 1476768"/>
                  <a:gd name="connsiteX12" fmla="*/ 477848 w 4940491"/>
                  <a:gd name="connsiteY12" fmla="*/ 138840 h 1476768"/>
                  <a:gd name="connsiteX13" fmla="*/ 477848 w 4940491"/>
                  <a:gd name="connsiteY13" fmla="*/ 157528 h 1476768"/>
                  <a:gd name="connsiteX14" fmla="*/ 562908 w 4940491"/>
                  <a:gd name="connsiteY14" fmla="*/ 157528 h 1476768"/>
                  <a:gd name="connsiteX15" fmla="*/ 562908 w 4940491"/>
                  <a:gd name="connsiteY15" fmla="*/ 176217 h 1476768"/>
                  <a:gd name="connsiteX16" fmla="*/ 598477 w 4940491"/>
                  <a:gd name="connsiteY16" fmla="*/ 176217 h 1476768"/>
                  <a:gd name="connsiteX17" fmla="*/ 598477 w 4940491"/>
                  <a:gd name="connsiteY17" fmla="*/ 194905 h 1476768"/>
                  <a:gd name="connsiteX18" fmla="*/ 707325 w 4940491"/>
                  <a:gd name="connsiteY18" fmla="*/ 194905 h 1476768"/>
                  <a:gd name="connsiteX19" fmla="*/ 707325 w 4940491"/>
                  <a:gd name="connsiteY19" fmla="*/ 217604 h 1476768"/>
                  <a:gd name="connsiteX20" fmla="*/ 770737 w 4940491"/>
                  <a:gd name="connsiteY20" fmla="*/ 217604 h 1476768"/>
                  <a:gd name="connsiteX21" fmla="*/ 770737 w 4940491"/>
                  <a:gd name="connsiteY21" fmla="*/ 232358 h 1476768"/>
                  <a:gd name="connsiteX22" fmla="*/ 832849 w 4940491"/>
                  <a:gd name="connsiteY22" fmla="*/ 232358 h 1476768"/>
                  <a:gd name="connsiteX23" fmla="*/ 832849 w 4940491"/>
                  <a:gd name="connsiteY23" fmla="*/ 244312 h 1476768"/>
                  <a:gd name="connsiteX24" fmla="*/ 884176 w 4940491"/>
                  <a:gd name="connsiteY24" fmla="*/ 244312 h 1476768"/>
                  <a:gd name="connsiteX25" fmla="*/ 884176 w 4940491"/>
                  <a:gd name="connsiteY25" fmla="*/ 276393 h 1476768"/>
                  <a:gd name="connsiteX26" fmla="*/ 973289 w 4940491"/>
                  <a:gd name="connsiteY26" fmla="*/ 276393 h 1476768"/>
                  <a:gd name="connsiteX27" fmla="*/ 973289 w 4940491"/>
                  <a:gd name="connsiteY27" fmla="*/ 289709 h 1476768"/>
                  <a:gd name="connsiteX28" fmla="*/ 1032647 w 4940491"/>
                  <a:gd name="connsiteY28" fmla="*/ 289709 h 1476768"/>
                  <a:gd name="connsiteX29" fmla="*/ 1032647 w 4940491"/>
                  <a:gd name="connsiteY29" fmla="*/ 304463 h 1476768"/>
                  <a:gd name="connsiteX30" fmla="*/ 1096060 w 4940491"/>
                  <a:gd name="connsiteY30" fmla="*/ 304463 h 1476768"/>
                  <a:gd name="connsiteX31" fmla="*/ 1096060 w 4940491"/>
                  <a:gd name="connsiteY31" fmla="*/ 327162 h 1476768"/>
                  <a:gd name="connsiteX32" fmla="*/ 1143332 w 4940491"/>
                  <a:gd name="connsiteY32" fmla="*/ 327162 h 1476768"/>
                  <a:gd name="connsiteX33" fmla="*/ 1143332 w 4940491"/>
                  <a:gd name="connsiteY33" fmla="*/ 348499 h 1476768"/>
                  <a:gd name="connsiteX34" fmla="*/ 1178442 w 4940491"/>
                  <a:gd name="connsiteY34" fmla="*/ 348499 h 1476768"/>
                  <a:gd name="connsiteX35" fmla="*/ 1178442 w 4940491"/>
                  <a:gd name="connsiteY35" fmla="*/ 367187 h 1476768"/>
                  <a:gd name="connsiteX36" fmla="*/ 1222961 w 4940491"/>
                  <a:gd name="connsiteY36" fmla="*/ 367187 h 1476768"/>
                  <a:gd name="connsiteX37" fmla="*/ 1222961 w 4940491"/>
                  <a:gd name="connsiteY37" fmla="*/ 384514 h 1476768"/>
                  <a:gd name="connsiteX38" fmla="*/ 1281018 w 4940491"/>
                  <a:gd name="connsiteY38" fmla="*/ 384514 h 1476768"/>
                  <a:gd name="connsiteX39" fmla="*/ 1281018 w 4940491"/>
                  <a:gd name="connsiteY39" fmla="*/ 399192 h 1476768"/>
                  <a:gd name="connsiteX40" fmla="*/ 1313451 w 4940491"/>
                  <a:gd name="connsiteY40" fmla="*/ 399192 h 1476768"/>
                  <a:gd name="connsiteX41" fmla="*/ 1313451 w 4940491"/>
                  <a:gd name="connsiteY41" fmla="*/ 429911 h 1476768"/>
                  <a:gd name="connsiteX42" fmla="*/ 1344430 w 4940491"/>
                  <a:gd name="connsiteY42" fmla="*/ 429911 h 1476768"/>
                  <a:gd name="connsiteX43" fmla="*/ 1344430 w 4940491"/>
                  <a:gd name="connsiteY43" fmla="*/ 444589 h 1476768"/>
                  <a:gd name="connsiteX44" fmla="*/ 1384971 w 4940491"/>
                  <a:gd name="connsiteY44" fmla="*/ 444589 h 1476768"/>
                  <a:gd name="connsiteX45" fmla="*/ 1384971 w 4940491"/>
                  <a:gd name="connsiteY45" fmla="*/ 461992 h 1476768"/>
                  <a:gd name="connsiteX46" fmla="*/ 1414651 w 4940491"/>
                  <a:gd name="connsiteY46" fmla="*/ 461992 h 1476768"/>
                  <a:gd name="connsiteX47" fmla="*/ 1414651 w 4940491"/>
                  <a:gd name="connsiteY47" fmla="*/ 488700 h 1476768"/>
                  <a:gd name="connsiteX48" fmla="*/ 1459169 w 4940491"/>
                  <a:gd name="connsiteY48" fmla="*/ 488700 h 1476768"/>
                  <a:gd name="connsiteX49" fmla="*/ 1459169 w 4940491"/>
                  <a:gd name="connsiteY49" fmla="*/ 518057 h 1476768"/>
                  <a:gd name="connsiteX50" fmla="*/ 1525335 w 4940491"/>
                  <a:gd name="connsiteY50" fmla="*/ 518057 h 1476768"/>
                  <a:gd name="connsiteX51" fmla="*/ 1525335 w 4940491"/>
                  <a:gd name="connsiteY51" fmla="*/ 560806 h 1476768"/>
                  <a:gd name="connsiteX52" fmla="*/ 1684669 w 4940491"/>
                  <a:gd name="connsiteY52" fmla="*/ 560806 h 1476768"/>
                  <a:gd name="connsiteX53" fmla="*/ 1684669 w 4940491"/>
                  <a:gd name="connsiteY53" fmla="*/ 575484 h 1476768"/>
                  <a:gd name="connsiteX54" fmla="*/ 1730564 w 4940491"/>
                  <a:gd name="connsiteY54" fmla="*/ 575484 h 1476768"/>
                  <a:gd name="connsiteX55" fmla="*/ 1730564 w 4940491"/>
                  <a:gd name="connsiteY55" fmla="*/ 599545 h 1476768"/>
                  <a:gd name="connsiteX56" fmla="*/ 1766974 w 4940491"/>
                  <a:gd name="connsiteY56" fmla="*/ 599545 h 1476768"/>
                  <a:gd name="connsiteX57" fmla="*/ 1766974 w 4940491"/>
                  <a:gd name="connsiteY57" fmla="*/ 612861 h 1476768"/>
                  <a:gd name="connsiteX58" fmla="*/ 1802084 w 4940491"/>
                  <a:gd name="connsiteY58" fmla="*/ 612861 h 1476768"/>
                  <a:gd name="connsiteX59" fmla="*/ 1802084 w 4940491"/>
                  <a:gd name="connsiteY59" fmla="*/ 631550 h 1476768"/>
                  <a:gd name="connsiteX60" fmla="*/ 1864196 w 4940491"/>
                  <a:gd name="connsiteY60" fmla="*/ 631550 h 1476768"/>
                  <a:gd name="connsiteX61" fmla="*/ 1864196 w 4940491"/>
                  <a:gd name="connsiteY61" fmla="*/ 639570 h 1476768"/>
                  <a:gd name="connsiteX62" fmla="*/ 1914146 w 4940491"/>
                  <a:gd name="connsiteY62" fmla="*/ 639570 h 1476768"/>
                  <a:gd name="connsiteX63" fmla="*/ 1914146 w 4940491"/>
                  <a:gd name="connsiteY63" fmla="*/ 669608 h 1476768"/>
                  <a:gd name="connsiteX64" fmla="*/ 1955987 w 4940491"/>
                  <a:gd name="connsiteY64" fmla="*/ 669608 h 1476768"/>
                  <a:gd name="connsiteX65" fmla="*/ 1955987 w 4940491"/>
                  <a:gd name="connsiteY65" fmla="*/ 680957 h 1476768"/>
                  <a:gd name="connsiteX66" fmla="*/ 2019399 w 4940491"/>
                  <a:gd name="connsiteY66" fmla="*/ 680957 h 1476768"/>
                  <a:gd name="connsiteX67" fmla="*/ 2019399 w 4940491"/>
                  <a:gd name="connsiteY67" fmla="*/ 699646 h 1476768"/>
                  <a:gd name="connsiteX68" fmla="*/ 2061241 w 4940491"/>
                  <a:gd name="connsiteY68" fmla="*/ 699646 h 1476768"/>
                  <a:gd name="connsiteX69" fmla="*/ 2061241 w 4940491"/>
                  <a:gd name="connsiteY69" fmla="*/ 716972 h 1476768"/>
                  <a:gd name="connsiteX70" fmla="*/ 2113868 w 4940491"/>
                  <a:gd name="connsiteY70" fmla="*/ 716972 h 1476768"/>
                  <a:gd name="connsiteX71" fmla="*/ 2113868 w 4940491"/>
                  <a:gd name="connsiteY71" fmla="*/ 738384 h 1476768"/>
                  <a:gd name="connsiteX72" fmla="*/ 2283069 w 4940491"/>
                  <a:gd name="connsiteY72" fmla="*/ 738384 h 1476768"/>
                  <a:gd name="connsiteX73" fmla="*/ 2283069 w 4940491"/>
                  <a:gd name="connsiteY73" fmla="*/ 762369 h 1476768"/>
                  <a:gd name="connsiteX74" fmla="*/ 2346098 w 4940491"/>
                  <a:gd name="connsiteY74" fmla="*/ 762369 h 1476768"/>
                  <a:gd name="connsiteX75" fmla="*/ 2346098 w 4940491"/>
                  <a:gd name="connsiteY75" fmla="*/ 781133 h 1476768"/>
                  <a:gd name="connsiteX76" fmla="*/ 2424350 w 4940491"/>
                  <a:gd name="connsiteY76" fmla="*/ 781133 h 1476768"/>
                  <a:gd name="connsiteX77" fmla="*/ 2424350 w 4940491"/>
                  <a:gd name="connsiteY77" fmla="*/ 799822 h 1476768"/>
                  <a:gd name="connsiteX78" fmla="*/ 2476977 w 4940491"/>
                  <a:gd name="connsiteY78" fmla="*/ 799822 h 1476768"/>
                  <a:gd name="connsiteX79" fmla="*/ 2476977 w 4940491"/>
                  <a:gd name="connsiteY79" fmla="*/ 827817 h 1476768"/>
                  <a:gd name="connsiteX80" fmla="*/ 2586361 w 4940491"/>
                  <a:gd name="connsiteY80" fmla="*/ 827817 h 1476768"/>
                  <a:gd name="connsiteX81" fmla="*/ 2586361 w 4940491"/>
                  <a:gd name="connsiteY81" fmla="*/ 843857 h 1476768"/>
                  <a:gd name="connsiteX82" fmla="*/ 2618717 w 4940491"/>
                  <a:gd name="connsiteY82" fmla="*/ 843857 h 1476768"/>
                  <a:gd name="connsiteX83" fmla="*/ 2618717 w 4940491"/>
                  <a:gd name="connsiteY83" fmla="*/ 863907 h 1476768"/>
                  <a:gd name="connsiteX84" fmla="*/ 2728101 w 4940491"/>
                  <a:gd name="connsiteY84" fmla="*/ 863907 h 1476768"/>
                  <a:gd name="connsiteX85" fmla="*/ 2728101 w 4940491"/>
                  <a:gd name="connsiteY85" fmla="*/ 878586 h 1476768"/>
                  <a:gd name="connsiteX86" fmla="*/ 2761835 w 4940491"/>
                  <a:gd name="connsiteY86" fmla="*/ 878586 h 1476768"/>
                  <a:gd name="connsiteX87" fmla="*/ 2761835 w 4940491"/>
                  <a:gd name="connsiteY87" fmla="*/ 889254 h 1476768"/>
                  <a:gd name="connsiteX88" fmla="*/ 2873896 w 4940491"/>
                  <a:gd name="connsiteY88" fmla="*/ 889254 h 1476768"/>
                  <a:gd name="connsiteX89" fmla="*/ 2873896 w 4940491"/>
                  <a:gd name="connsiteY89" fmla="*/ 901284 h 1476768"/>
                  <a:gd name="connsiteX90" fmla="*/ 3007528 w 4940491"/>
                  <a:gd name="connsiteY90" fmla="*/ 901284 h 1476768"/>
                  <a:gd name="connsiteX91" fmla="*/ 3007528 w 4940491"/>
                  <a:gd name="connsiteY91" fmla="*/ 927993 h 1476768"/>
                  <a:gd name="connsiteX92" fmla="*/ 3068263 w 4940491"/>
                  <a:gd name="connsiteY92" fmla="*/ 927993 h 1476768"/>
                  <a:gd name="connsiteX93" fmla="*/ 3068263 w 4940491"/>
                  <a:gd name="connsiteY93" fmla="*/ 951978 h 1476768"/>
                  <a:gd name="connsiteX94" fmla="*/ 3242360 w 4940491"/>
                  <a:gd name="connsiteY94" fmla="*/ 951978 h 1476768"/>
                  <a:gd name="connsiteX95" fmla="*/ 3242360 w 4940491"/>
                  <a:gd name="connsiteY95" fmla="*/ 982697 h 1476768"/>
                  <a:gd name="connsiteX96" fmla="*/ 3409725 w 4940491"/>
                  <a:gd name="connsiteY96" fmla="*/ 982697 h 1476768"/>
                  <a:gd name="connsiteX97" fmla="*/ 3409725 w 4940491"/>
                  <a:gd name="connsiteY97" fmla="*/ 1004109 h 1476768"/>
                  <a:gd name="connsiteX98" fmla="*/ 3436727 w 4940491"/>
                  <a:gd name="connsiteY98" fmla="*/ 1004109 h 1476768"/>
                  <a:gd name="connsiteX99" fmla="*/ 3436727 w 4940491"/>
                  <a:gd name="connsiteY99" fmla="*/ 1020074 h 1476768"/>
                  <a:gd name="connsiteX100" fmla="*/ 3646010 w 4940491"/>
                  <a:gd name="connsiteY100" fmla="*/ 1020074 h 1476768"/>
                  <a:gd name="connsiteX101" fmla="*/ 3646010 w 4940491"/>
                  <a:gd name="connsiteY101" fmla="*/ 1046782 h 1476768"/>
                  <a:gd name="connsiteX102" fmla="*/ 3709423 w 4940491"/>
                  <a:gd name="connsiteY102" fmla="*/ 1046782 h 1476768"/>
                  <a:gd name="connsiteX103" fmla="*/ 3709423 w 4940491"/>
                  <a:gd name="connsiteY103" fmla="*/ 1072205 h 1476768"/>
                  <a:gd name="connsiteX104" fmla="*/ 3725639 w 4940491"/>
                  <a:gd name="connsiteY104" fmla="*/ 1072205 h 1476768"/>
                  <a:gd name="connsiteX105" fmla="*/ 3725639 w 4940491"/>
                  <a:gd name="connsiteY105" fmla="*/ 1102848 h 1476768"/>
                  <a:gd name="connsiteX106" fmla="*/ 3884896 w 4940491"/>
                  <a:gd name="connsiteY106" fmla="*/ 1102848 h 1476768"/>
                  <a:gd name="connsiteX107" fmla="*/ 3884896 w 4940491"/>
                  <a:gd name="connsiteY107" fmla="*/ 1134928 h 1476768"/>
                  <a:gd name="connsiteX108" fmla="*/ 3906543 w 4940491"/>
                  <a:gd name="connsiteY108" fmla="*/ 1134928 h 1476768"/>
                  <a:gd name="connsiteX109" fmla="*/ 3906543 w 4940491"/>
                  <a:gd name="connsiteY109" fmla="*/ 1190994 h 1476768"/>
                  <a:gd name="connsiteX110" fmla="*/ 4111696 w 4940491"/>
                  <a:gd name="connsiteY110" fmla="*/ 1190994 h 1476768"/>
                  <a:gd name="connsiteX111" fmla="*/ 4111696 w 4940491"/>
                  <a:gd name="connsiteY111" fmla="*/ 1235105 h 1476768"/>
                  <a:gd name="connsiteX112" fmla="*/ 4631385 w 4940491"/>
                  <a:gd name="connsiteY112" fmla="*/ 1235105 h 1476768"/>
                  <a:gd name="connsiteX113" fmla="*/ 4631385 w 4940491"/>
                  <a:gd name="connsiteY113" fmla="*/ 1352532 h 1476768"/>
                  <a:gd name="connsiteX114" fmla="*/ 4675904 w 4940491"/>
                  <a:gd name="connsiteY114" fmla="*/ 1352532 h 1476768"/>
                  <a:gd name="connsiteX115" fmla="*/ 4675904 w 4940491"/>
                  <a:gd name="connsiteY115" fmla="*/ 1476769 h 1476768"/>
                  <a:gd name="connsiteX116" fmla="*/ 4940491 w 4940491"/>
                  <a:gd name="connsiteY116" fmla="*/ 1476769 h 147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940491" h="1476768">
                    <a:moveTo>
                      <a:pt x="0" y="0"/>
                    </a:moveTo>
                    <a:lnTo>
                      <a:pt x="0" y="41387"/>
                    </a:lnTo>
                    <a:lnTo>
                      <a:pt x="22948" y="41387"/>
                    </a:lnTo>
                    <a:lnTo>
                      <a:pt x="22948" y="77478"/>
                    </a:lnTo>
                    <a:lnTo>
                      <a:pt x="75574" y="77478"/>
                    </a:lnTo>
                    <a:lnTo>
                      <a:pt x="75574" y="92156"/>
                    </a:lnTo>
                    <a:lnTo>
                      <a:pt x="184959" y="92156"/>
                    </a:lnTo>
                    <a:lnTo>
                      <a:pt x="184959" y="102825"/>
                    </a:lnTo>
                    <a:lnTo>
                      <a:pt x="302374" y="102825"/>
                    </a:lnTo>
                    <a:lnTo>
                      <a:pt x="302374" y="129533"/>
                    </a:lnTo>
                    <a:lnTo>
                      <a:pt x="394165" y="129533"/>
                    </a:lnTo>
                    <a:lnTo>
                      <a:pt x="394165" y="138840"/>
                    </a:lnTo>
                    <a:lnTo>
                      <a:pt x="477848" y="138840"/>
                    </a:lnTo>
                    <a:lnTo>
                      <a:pt x="477848" y="157528"/>
                    </a:lnTo>
                    <a:lnTo>
                      <a:pt x="562908" y="157528"/>
                    </a:lnTo>
                    <a:lnTo>
                      <a:pt x="562908" y="176217"/>
                    </a:lnTo>
                    <a:lnTo>
                      <a:pt x="598477" y="176217"/>
                    </a:lnTo>
                    <a:lnTo>
                      <a:pt x="598477" y="194905"/>
                    </a:lnTo>
                    <a:lnTo>
                      <a:pt x="707325" y="194905"/>
                    </a:lnTo>
                    <a:lnTo>
                      <a:pt x="707325" y="217604"/>
                    </a:lnTo>
                    <a:lnTo>
                      <a:pt x="770737" y="217604"/>
                    </a:lnTo>
                    <a:lnTo>
                      <a:pt x="770737" y="232358"/>
                    </a:lnTo>
                    <a:lnTo>
                      <a:pt x="832849" y="232358"/>
                    </a:lnTo>
                    <a:lnTo>
                      <a:pt x="832849" y="244312"/>
                    </a:lnTo>
                    <a:lnTo>
                      <a:pt x="884176" y="244312"/>
                    </a:lnTo>
                    <a:lnTo>
                      <a:pt x="884176" y="276393"/>
                    </a:lnTo>
                    <a:lnTo>
                      <a:pt x="973289" y="276393"/>
                    </a:lnTo>
                    <a:lnTo>
                      <a:pt x="973289" y="289709"/>
                    </a:lnTo>
                    <a:lnTo>
                      <a:pt x="1032647" y="289709"/>
                    </a:lnTo>
                    <a:lnTo>
                      <a:pt x="1032647" y="304463"/>
                    </a:lnTo>
                    <a:lnTo>
                      <a:pt x="1096060" y="304463"/>
                    </a:lnTo>
                    <a:lnTo>
                      <a:pt x="1096060" y="327162"/>
                    </a:lnTo>
                    <a:lnTo>
                      <a:pt x="1143332" y="327162"/>
                    </a:lnTo>
                    <a:lnTo>
                      <a:pt x="1143332" y="348499"/>
                    </a:lnTo>
                    <a:lnTo>
                      <a:pt x="1178442" y="348499"/>
                    </a:lnTo>
                    <a:lnTo>
                      <a:pt x="1178442" y="367187"/>
                    </a:lnTo>
                    <a:lnTo>
                      <a:pt x="1222961" y="367187"/>
                    </a:lnTo>
                    <a:lnTo>
                      <a:pt x="1222961" y="384514"/>
                    </a:lnTo>
                    <a:lnTo>
                      <a:pt x="1281018" y="384514"/>
                    </a:lnTo>
                    <a:lnTo>
                      <a:pt x="1281018" y="399192"/>
                    </a:lnTo>
                    <a:lnTo>
                      <a:pt x="1313451" y="399192"/>
                    </a:lnTo>
                    <a:lnTo>
                      <a:pt x="1313451" y="429911"/>
                    </a:lnTo>
                    <a:lnTo>
                      <a:pt x="1344430" y="429911"/>
                    </a:lnTo>
                    <a:lnTo>
                      <a:pt x="1344430" y="444589"/>
                    </a:lnTo>
                    <a:lnTo>
                      <a:pt x="1384971" y="444589"/>
                    </a:lnTo>
                    <a:lnTo>
                      <a:pt x="1384971" y="461992"/>
                    </a:lnTo>
                    <a:lnTo>
                      <a:pt x="1414651" y="461992"/>
                    </a:lnTo>
                    <a:lnTo>
                      <a:pt x="1414651" y="488700"/>
                    </a:lnTo>
                    <a:lnTo>
                      <a:pt x="1459169" y="488700"/>
                    </a:lnTo>
                    <a:lnTo>
                      <a:pt x="1459169" y="518057"/>
                    </a:lnTo>
                    <a:lnTo>
                      <a:pt x="1525335" y="518057"/>
                    </a:lnTo>
                    <a:lnTo>
                      <a:pt x="1525335" y="560806"/>
                    </a:lnTo>
                    <a:lnTo>
                      <a:pt x="1684669" y="560806"/>
                    </a:lnTo>
                    <a:lnTo>
                      <a:pt x="1684669" y="575484"/>
                    </a:lnTo>
                    <a:lnTo>
                      <a:pt x="1730564" y="575484"/>
                    </a:lnTo>
                    <a:lnTo>
                      <a:pt x="1730564" y="599545"/>
                    </a:lnTo>
                    <a:lnTo>
                      <a:pt x="1766974" y="599545"/>
                    </a:lnTo>
                    <a:lnTo>
                      <a:pt x="1766974" y="612861"/>
                    </a:lnTo>
                    <a:lnTo>
                      <a:pt x="1802084" y="612861"/>
                    </a:lnTo>
                    <a:lnTo>
                      <a:pt x="1802084" y="631550"/>
                    </a:lnTo>
                    <a:lnTo>
                      <a:pt x="1864196" y="631550"/>
                    </a:lnTo>
                    <a:lnTo>
                      <a:pt x="1864196" y="639570"/>
                    </a:lnTo>
                    <a:lnTo>
                      <a:pt x="1914146" y="639570"/>
                    </a:lnTo>
                    <a:lnTo>
                      <a:pt x="1914146" y="669608"/>
                    </a:lnTo>
                    <a:lnTo>
                      <a:pt x="1955987" y="669608"/>
                    </a:lnTo>
                    <a:lnTo>
                      <a:pt x="1955987" y="680957"/>
                    </a:lnTo>
                    <a:lnTo>
                      <a:pt x="2019399" y="680957"/>
                    </a:lnTo>
                    <a:lnTo>
                      <a:pt x="2019399" y="699646"/>
                    </a:lnTo>
                    <a:lnTo>
                      <a:pt x="2061241" y="699646"/>
                    </a:lnTo>
                    <a:lnTo>
                      <a:pt x="2061241" y="716972"/>
                    </a:lnTo>
                    <a:lnTo>
                      <a:pt x="2113868" y="716972"/>
                    </a:lnTo>
                    <a:lnTo>
                      <a:pt x="2113868" y="738384"/>
                    </a:lnTo>
                    <a:lnTo>
                      <a:pt x="2283069" y="738384"/>
                    </a:lnTo>
                    <a:lnTo>
                      <a:pt x="2283069" y="762369"/>
                    </a:lnTo>
                    <a:lnTo>
                      <a:pt x="2346098" y="762369"/>
                    </a:lnTo>
                    <a:lnTo>
                      <a:pt x="2346098" y="781133"/>
                    </a:lnTo>
                    <a:lnTo>
                      <a:pt x="2424350" y="781133"/>
                    </a:lnTo>
                    <a:lnTo>
                      <a:pt x="2424350" y="799822"/>
                    </a:lnTo>
                    <a:lnTo>
                      <a:pt x="2476977" y="799822"/>
                    </a:lnTo>
                    <a:lnTo>
                      <a:pt x="2476977" y="827817"/>
                    </a:lnTo>
                    <a:lnTo>
                      <a:pt x="2586361" y="827817"/>
                    </a:lnTo>
                    <a:lnTo>
                      <a:pt x="2586361" y="843857"/>
                    </a:lnTo>
                    <a:lnTo>
                      <a:pt x="2618717" y="843857"/>
                    </a:lnTo>
                    <a:lnTo>
                      <a:pt x="2618717" y="863907"/>
                    </a:lnTo>
                    <a:lnTo>
                      <a:pt x="2728101" y="863907"/>
                    </a:lnTo>
                    <a:lnTo>
                      <a:pt x="2728101" y="878586"/>
                    </a:lnTo>
                    <a:lnTo>
                      <a:pt x="2761835" y="878586"/>
                    </a:lnTo>
                    <a:lnTo>
                      <a:pt x="2761835" y="889254"/>
                    </a:lnTo>
                    <a:lnTo>
                      <a:pt x="2873896" y="889254"/>
                    </a:lnTo>
                    <a:lnTo>
                      <a:pt x="2873896" y="901284"/>
                    </a:lnTo>
                    <a:lnTo>
                      <a:pt x="3007528" y="901284"/>
                    </a:lnTo>
                    <a:lnTo>
                      <a:pt x="3007528" y="927993"/>
                    </a:lnTo>
                    <a:lnTo>
                      <a:pt x="3068263" y="927993"/>
                    </a:lnTo>
                    <a:lnTo>
                      <a:pt x="3068263" y="951978"/>
                    </a:lnTo>
                    <a:lnTo>
                      <a:pt x="3242360" y="951978"/>
                    </a:lnTo>
                    <a:lnTo>
                      <a:pt x="3242360" y="982697"/>
                    </a:lnTo>
                    <a:lnTo>
                      <a:pt x="3409725" y="982697"/>
                    </a:lnTo>
                    <a:lnTo>
                      <a:pt x="3409725" y="1004109"/>
                    </a:lnTo>
                    <a:lnTo>
                      <a:pt x="3436727" y="1004109"/>
                    </a:lnTo>
                    <a:lnTo>
                      <a:pt x="3436727" y="1020074"/>
                    </a:lnTo>
                    <a:lnTo>
                      <a:pt x="3646010" y="1020074"/>
                    </a:lnTo>
                    <a:lnTo>
                      <a:pt x="3646010" y="1046782"/>
                    </a:lnTo>
                    <a:lnTo>
                      <a:pt x="3709423" y="1046782"/>
                    </a:lnTo>
                    <a:lnTo>
                      <a:pt x="3709423" y="1072205"/>
                    </a:lnTo>
                    <a:lnTo>
                      <a:pt x="3725639" y="1072205"/>
                    </a:lnTo>
                    <a:lnTo>
                      <a:pt x="3725639" y="1102848"/>
                    </a:lnTo>
                    <a:lnTo>
                      <a:pt x="3884896" y="1102848"/>
                    </a:lnTo>
                    <a:lnTo>
                      <a:pt x="3884896" y="1134928"/>
                    </a:lnTo>
                    <a:lnTo>
                      <a:pt x="3906543" y="1134928"/>
                    </a:lnTo>
                    <a:lnTo>
                      <a:pt x="3906543" y="1190994"/>
                    </a:lnTo>
                    <a:lnTo>
                      <a:pt x="4111696" y="1190994"/>
                    </a:lnTo>
                    <a:lnTo>
                      <a:pt x="4111696" y="1235105"/>
                    </a:lnTo>
                    <a:lnTo>
                      <a:pt x="4631385" y="1235105"/>
                    </a:lnTo>
                    <a:lnTo>
                      <a:pt x="4631385" y="1352532"/>
                    </a:lnTo>
                    <a:lnTo>
                      <a:pt x="4675904" y="1352532"/>
                    </a:lnTo>
                    <a:lnTo>
                      <a:pt x="4675904" y="1476769"/>
                    </a:lnTo>
                    <a:lnTo>
                      <a:pt x="4940491" y="1476769"/>
                    </a:lnTo>
                  </a:path>
                </a:pathLst>
              </a:custGeom>
              <a:noFill/>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nvGrpSpPr>
              <p:cNvPr id="17894" name="Group 17893">
                <a:extLst>
                  <a:ext uri="{FF2B5EF4-FFF2-40B4-BE49-F238E27FC236}">
                    <a16:creationId xmlns:a16="http://schemas.microsoft.com/office/drawing/2014/main" id="{52F15205-8F0E-3418-86E3-33C877E7FA43}"/>
                  </a:ext>
                </a:extLst>
              </p:cNvPr>
              <p:cNvGrpSpPr/>
              <p:nvPr/>
            </p:nvGrpSpPr>
            <p:grpSpPr>
              <a:xfrm>
                <a:off x="929725" y="2134247"/>
                <a:ext cx="4982804" cy="1505332"/>
                <a:chOff x="6701814" y="2147531"/>
                <a:chExt cx="4982804" cy="1505332"/>
              </a:xfrm>
            </p:grpSpPr>
            <p:grpSp>
              <p:nvGrpSpPr>
                <p:cNvPr id="17895" name="Group 17894">
                  <a:extLst>
                    <a:ext uri="{FF2B5EF4-FFF2-40B4-BE49-F238E27FC236}">
                      <a16:creationId xmlns:a16="http://schemas.microsoft.com/office/drawing/2014/main" id="{C56658C3-FEBF-6EC7-8A23-D7EB543D8919}"/>
                    </a:ext>
                  </a:extLst>
                </p:cNvPr>
                <p:cNvGrpSpPr/>
                <p:nvPr/>
              </p:nvGrpSpPr>
              <p:grpSpPr>
                <a:xfrm>
                  <a:off x="6701814" y="2147531"/>
                  <a:ext cx="71148" cy="71238"/>
                  <a:chOff x="6005114" y="3701354"/>
                  <a:chExt cx="71148" cy="71238"/>
                </a:xfrm>
              </p:grpSpPr>
              <p:sp>
                <p:nvSpPr>
                  <p:cNvPr id="18256" name="Freeform: Shape 18255">
                    <a:extLst>
                      <a:ext uri="{FF2B5EF4-FFF2-40B4-BE49-F238E27FC236}">
                        <a16:creationId xmlns:a16="http://schemas.microsoft.com/office/drawing/2014/main" id="{399BC148-6D1B-9ED1-F931-48636815579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57" name="Freeform: Shape 18256">
                    <a:extLst>
                      <a:ext uri="{FF2B5EF4-FFF2-40B4-BE49-F238E27FC236}">
                        <a16:creationId xmlns:a16="http://schemas.microsoft.com/office/drawing/2014/main" id="{D9A9E4CC-5FDF-FB3E-FA80-3DF2AD32508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896" name="Group 17895">
                  <a:extLst>
                    <a:ext uri="{FF2B5EF4-FFF2-40B4-BE49-F238E27FC236}">
                      <a16:creationId xmlns:a16="http://schemas.microsoft.com/office/drawing/2014/main" id="{5B2FC6CF-67B5-3748-D23A-5304F37606BB}"/>
                    </a:ext>
                  </a:extLst>
                </p:cNvPr>
                <p:cNvGrpSpPr/>
                <p:nvPr/>
              </p:nvGrpSpPr>
              <p:grpSpPr>
                <a:xfrm>
                  <a:off x="6734878" y="2158415"/>
                  <a:ext cx="71148" cy="71238"/>
                  <a:chOff x="6005114" y="3701354"/>
                  <a:chExt cx="71148" cy="71238"/>
                </a:xfrm>
              </p:grpSpPr>
              <p:sp>
                <p:nvSpPr>
                  <p:cNvPr id="18254" name="Freeform: Shape 18253">
                    <a:extLst>
                      <a:ext uri="{FF2B5EF4-FFF2-40B4-BE49-F238E27FC236}">
                        <a16:creationId xmlns:a16="http://schemas.microsoft.com/office/drawing/2014/main" id="{A5AD9989-AD5A-E2C1-8203-E8A65069EBF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55" name="Freeform: Shape 18254">
                    <a:extLst>
                      <a:ext uri="{FF2B5EF4-FFF2-40B4-BE49-F238E27FC236}">
                        <a16:creationId xmlns:a16="http://schemas.microsoft.com/office/drawing/2014/main" id="{AA34DDA0-98E0-A8F2-8A0E-50838173F28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897" name="Group 17896">
                  <a:extLst>
                    <a:ext uri="{FF2B5EF4-FFF2-40B4-BE49-F238E27FC236}">
                      <a16:creationId xmlns:a16="http://schemas.microsoft.com/office/drawing/2014/main" id="{7E75D5F6-E2DE-7EB4-8F5D-EF7E2B108A4B}"/>
                    </a:ext>
                  </a:extLst>
                </p:cNvPr>
                <p:cNvGrpSpPr/>
                <p:nvPr/>
              </p:nvGrpSpPr>
              <p:grpSpPr>
                <a:xfrm>
                  <a:off x="6786976" y="2183090"/>
                  <a:ext cx="71148" cy="71238"/>
                  <a:chOff x="6005114" y="3701354"/>
                  <a:chExt cx="71148" cy="71238"/>
                </a:xfrm>
              </p:grpSpPr>
              <p:sp>
                <p:nvSpPr>
                  <p:cNvPr id="18252" name="Freeform: Shape 18251">
                    <a:extLst>
                      <a:ext uri="{FF2B5EF4-FFF2-40B4-BE49-F238E27FC236}">
                        <a16:creationId xmlns:a16="http://schemas.microsoft.com/office/drawing/2014/main" id="{472DBE45-3E1B-710F-A648-396358AF835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53" name="Freeform: Shape 18252">
                    <a:extLst>
                      <a:ext uri="{FF2B5EF4-FFF2-40B4-BE49-F238E27FC236}">
                        <a16:creationId xmlns:a16="http://schemas.microsoft.com/office/drawing/2014/main" id="{3F784B9F-6B17-3462-F943-A0C26A832E5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898" name="Group 17897">
                  <a:extLst>
                    <a:ext uri="{FF2B5EF4-FFF2-40B4-BE49-F238E27FC236}">
                      <a16:creationId xmlns:a16="http://schemas.microsoft.com/office/drawing/2014/main" id="{5FBAC268-EB44-71BE-3AE5-E3ADABBCB4E5}"/>
                    </a:ext>
                  </a:extLst>
                </p:cNvPr>
                <p:cNvGrpSpPr/>
                <p:nvPr/>
              </p:nvGrpSpPr>
              <p:grpSpPr>
                <a:xfrm>
                  <a:off x="6782936" y="2183264"/>
                  <a:ext cx="71148" cy="71238"/>
                  <a:chOff x="6005114" y="3701354"/>
                  <a:chExt cx="71148" cy="71238"/>
                </a:xfrm>
              </p:grpSpPr>
              <p:sp>
                <p:nvSpPr>
                  <p:cNvPr id="18250" name="Freeform: Shape 18249">
                    <a:extLst>
                      <a:ext uri="{FF2B5EF4-FFF2-40B4-BE49-F238E27FC236}">
                        <a16:creationId xmlns:a16="http://schemas.microsoft.com/office/drawing/2014/main" id="{60D6DC33-E91E-8AB6-653D-A7D205E121D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51" name="Freeform: Shape 18250">
                    <a:extLst>
                      <a:ext uri="{FF2B5EF4-FFF2-40B4-BE49-F238E27FC236}">
                        <a16:creationId xmlns:a16="http://schemas.microsoft.com/office/drawing/2014/main" id="{5DA94692-BF0A-4032-27E2-2894349D50F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899" name="Group 17898">
                  <a:extLst>
                    <a:ext uri="{FF2B5EF4-FFF2-40B4-BE49-F238E27FC236}">
                      <a16:creationId xmlns:a16="http://schemas.microsoft.com/office/drawing/2014/main" id="{81B08B8C-F734-2012-CD61-317B3BB69792}"/>
                    </a:ext>
                  </a:extLst>
                </p:cNvPr>
                <p:cNvGrpSpPr/>
                <p:nvPr/>
              </p:nvGrpSpPr>
              <p:grpSpPr>
                <a:xfrm>
                  <a:off x="6856465" y="2185471"/>
                  <a:ext cx="71148" cy="71238"/>
                  <a:chOff x="6005114" y="3701354"/>
                  <a:chExt cx="71148" cy="71238"/>
                </a:xfrm>
              </p:grpSpPr>
              <p:sp>
                <p:nvSpPr>
                  <p:cNvPr id="18248" name="Freeform: Shape 18247">
                    <a:extLst>
                      <a:ext uri="{FF2B5EF4-FFF2-40B4-BE49-F238E27FC236}">
                        <a16:creationId xmlns:a16="http://schemas.microsoft.com/office/drawing/2014/main" id="{1ACFD679-E00D-FCB7-C456-61F4F037441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49" name="Freeform: Shape 18248">
                    <a:extLst>
                      <a:ext uri="{FF2B5EF4-FFF2-40B4-BE49-F238E27FC236}">
                        <a16:creationId xmlns:a16="http://schemas.microsoft.com/office/drawing/2014/main" id="{58FE8327-57AB-2F11-8F2F-BD5E18F1E4C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0" name="Group 17899">
                  <a:extLst>
                    <a:ext uri="{FF2B5EF4-FFF2-40B4-BE49-F238E27FC236}">
                      <a16:creationId xmlns:a16="http://schemas.microsoft.com/office/drawing/2014/main" id="{DD27D80B-5D05-D545-817C-93B12C24A0AA}"/>
                    </a:ext>
                  </a:extLst>
                </p:cNvPr>
                <p:cNvGrpSpPr/>
                <p:nvPr/>
              </p:nvGrpSpPr>
              <p:grpSpPr>
                <a:xfrm>
                  <a:off x="6882226" y="2194161"/>
                  <a:ext cx="71148" cy="71238"/>
                  <a:chOff x="6005114" y="3701354"/>
                  <a:chExt cx="71148" cy="71238"/>
                </a:xfrm>
              </p:grpSpPr>
              <p:sp>
                <p:nvSpPr>
                  <p:cNvPr id="18246" name="Freeform: Shape 18245">
                    <a:extLst>
                      <a:ext uri="{FF2B5EF4-FFF2-40B4-BE49-F238E27FC236}">
                        <a16:creationId xmlns:a16="http://schemas.microsoft.com/office/drawing/2014/main" id="{66095A89-1F7C-1571-C4E4-5090F55E328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47" name="Freeform: Shape 18246">
                    <a:extLst>
                      <a:ext uri="{FF2B5EF4-FFF2-40B4-BE49-F238E27FC236}">
                        <a16:creationId xmlns:a16="http://schemas.microsoft.com/office/drawing/2014/main" id="{1B834D53-5840-678D-5234-9133BBAC474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1" name="Group 17900">
                  <a:extLst>
                    <a:ext uri="{FF2B5EF4-FFF2-40B4-BE49-F238E27FC236}">
                      <a16:creationId xmlns:a16="http://schemas.microsoft.com/office/drawing/2014/main" id="{F8F9BFB7-3536-99F7-D5CD-37EB5AF5AD64}"/>
                    </a:ext>
                  </a:extLst>
                </p:cNvPr>
                <p:cNvGrpSpPr/>
                <p:nvPr/>
              </p:nvGrpSpPr>
              <p:grpSpPr>
                <a:xfrm>
                  <a:off x="6911881" y="2193526"/>
                  <a:ext cx="71148" cy="71238"/>
                  <a:chOff x="6005114" y="3701354"/>
                  <a:chExt cx="71148" cy="71238"/>
                </a:xfrm>
              </p:grpSpPr>
              <p:sp>
                <p:nvSpPr>
                  <p:cNvPr id="18244" name="Freeform: Shape 18243">
                    <a:extLst>
                      <a:ext uri="{FF2B5EF4-FFF2-40B4-BE49-F238E27FC236}">
                        <a16:creationId xmlns:a16="http://schemas.microsoft.com/office/drawing/2014/main" id="{2253563F-C91B-1722-FE4E-FA5DF92812D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45" name="Freeform: Shape 18244">
                    <a:extLst>
                      <a:ext uri="{FF2B5EF4-FFF2-40B4-BE49-F238E27FC236}">
                        <a16:creationId xmlns:a16="http://schemas.microsoft.com/office/drawing/2014/main" id="{88B3C129-5E48-D2B3-17DD-354225D733F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2" name="Group 17901">
                  <a:extLst>
                    <a:ext uri="{FF2B5EF4-FFF2-40B4-BE49-F238E27FC236}">
                      <a16:creationId xmlns:a16="http://schemas.microsoft.com/office/drawing/2014/main" id="{F46C3D7A-6C5D-037E-79DA-F6C657CBD5CD}"/>
                    </a:ext>
                  </a:extLst>
                </p:cNvPr>
                <p:cNvGrpSpPr/>
                <p:nvPr/>
              </p:nvGrpSpPr>
              <p:grpSpPr>
                <a:xfrm>
                  <a:off x="6972578" y="2208448"/>
                  <a:ext cx="71148" cy="71238"/>
                  <a:chOff x="6005114" y="3701354"/>
                  <a:chExt cx="71148" cy="71238"/>
                </a:xfrm>
              </p:grpSpPr>
              <p:sp>
                <p:nvSpPr>
                  <p:cNvPr id="18242" name="Freeform: Shape 18241">
                    <a:extLst>
                      <a:ext uri="{FF2B5EF4-FFF2-40B4-BE49-F238E27FC236}">
                        <a16:creationId xmlns:a16="http://schemas.microsoft.com/office/drawing/2014/main" id="{77BD3CC2-3410-4487-6746-1E1640C8F9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43" name="Freeform: Shape 18242">
                    <a:extLst>
                      <a:ext uri="{FF2B5EF4-FFF2-40B4-BE49-F238E27FC236}">
                        <a16:creationId xmlns:a16="http://schemas.microsoft.com/office/drawing/2014/main" id="{BD099286-513E-7F47-5EA3-3C7B848B0A2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3" name="Group 17902">
                  <a:extLst>
                    <a:ext uri="{FF2B5EF4-FFF2-40B4-BE49-F238E27FC236}">
                      <a16:creationId xmlns:a16="http://schemas.microsoft.com/office/drawing/2014/main" id="{97BF7206-D429-1AC8-913B-33DF77E8857A}"/>
                    </a:ext>
                  </a:extLst>
                </p:cNvPr>
                <p:cNvGrpSpPr/>
                <p:nvPr/>
              </p:nvGrpSpPr>
              <p:grpSpPr>
                <a:xfrm>
                  <a:off x="7077489" y="2225842"/>
                  <a:ext cx="71148" cy="71238"/>
                  <a:chOff x="6005114" y="3701354"/>
                  <a:chExt cx="71148" cy="71238"/>
                </a:xfrm>
              </p:grpSpPr>
              <p:sp>
                <p:nvSpPr>
                  <p:cNvPr id="18240" name="Freeform: Shape 18239">
                    <a:extLst>
                      <a:ext uri="{FF2B5EF4-FFF2-40B4-BE49-F238E27FC236}">
                        <a16:creationId xmlns:a16="http://schemas.microsoft.com/office/drawing/2014/main" id="{520B9987-DDB8-936D-BD77-C2AB8B4A385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41" name="Freeform: Shape 18240">
                    <a:extLst>
                      <a:ext uri="{FF2B5EF4-FFF2-40B4-BE49-F238E27FC236}">
                        <a16:creationId xmlns:a16="http://schemas.microsoft.com/office/drawing/2014/main" id="{D2A9BCA1-0A5A-A2AB-6190-89E6E28E3DB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4" name="Group 17903">
                  <a:extLst>
                    <a:ext uri="{FF2B5EF4-FFF2-40B4-BE49-F238E27FC236}">
                      <a16:creationId xmlns:a16="http://schemas.microsoft.com/office/drawing/2014/main" id="{3237121C-AD8B-A20D-85E8-CA705A1DD95E}"/>
                    </a:ext>
                  </a:extLst>
                </p:cNvPr>
                <p:cNvGrpSpPr/>
                <p:nvPr/>
              </p:nvGrpSpPr>
              <p:grpSpPr>
                <a:xfrm>
                  <a:off x="7092499" y="2226016"/>
                  <a:ext cx="71148" cy="71238"/>
                  <a:chOff x="6005114" y="3701354"/>
                  <a:chExt cx="71148" cy="71238"/>
                </a:xfrm>
              </p:grpSpPr>
              <p:sp>
                <p:nvSpPr>
                  <p:cNvPr id="18238" name="Freeform: Shape 18237">
                    <a:extLst>
                      <a:ext uri="{FF2B5EF4-FFF2-40B4-BE49-F238E27FC236}">
                        <a16:creationId xmlns:a16="http://schemas.microsoft.com/office/drawing/2014/main" id="{DA33A3BC-B080-0C04-47BC-CC17B1DB30C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39" name="Freeform: Shape 18238">
                    <a:extLst>
                      <a:ext uri="{FF2B5EF4-FFF2-40B4-BE49-F238E27FC236}">
                        <a16:creationId xmlns:a16="http://schemas.microsoft.com/office/drawing/2014/main" id="{130C033C-E7FF-0DA2-4BA3-5FD49F3D6F3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5" name="Group 17904">
                  <a:extLst>
                    <a:ext uri="{FF2B5EF4-FFF2-40B4-BE49-F238E27FC236}">
                      <a16:creationId xmlns:a16="http://schemas.microsoft.com/office/drawing/2014/main" id="{F6DC47E4-1FA0-8BEE-CD75-C5E95DD7E336}"/>
                    </a:ext>
                  </a:extLst>
                </p:cNvPr>
                <p:cNvGrpSpPr/>
                <p:nvPr/>
              </p:nvGrpSpPr>
              <p:grpSpPr>
                <a:xfrm>
                  <a:off x="7239633" y="2254154"/>
                  <a:ext cx="71148" cy="71238"/>
                  <a:chOff x="6005114" y="3701354"/>
                  <a:chExt cx="71148" cy="71238"/>
                </a:xfrm>
              </p:grpSpPr>
              <p:sp>
                <p:nvSpPr>
                  <p:cNvPr id="18236" name="Freeform: Shape 18235">
                    <a:extLst>
                      <a:ext uri="{FF2B5EF4-FFF2-40B4-BE49-F238E27FC236}">
                        <a16:creationId xmlns:a16="http://schemas.microsoft.com/office/drawing/2014/main" id="{60FD3534-D9E9-43FE-AEBC-186371FBDA7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37" name="Freeform: Shape 18236">
                    <a:extLst>
                      <a:ext uri="{FF2B5EF4-FFF2-40B4-BE49-F238E27FC236}">
                        <a16:creationId xmlns:a16="http://schemas.microsoft.com/office/drawing/2014/main" id="{4398F82F-2D9B-B6D1-941B-27B6ECC827A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6" name="Group 17905">
                  <a:extLst>
                    <a:ext uri="{FF2B5EF4-FFF2-40B4-BE49-F238E27FC236}">
                      <a16:creationId xmlns:a16="http://schemas.microsoft.com/office/drawing/2014/main" id="{7B96526D-436C-C84C-2369-100F1AE36C15}"/>
                    </a:ext>
                  </a:extLst>
                </p:cNvPr>
                <p:cNvGrpSpPr/>
                <p:nvPr/>
              </p:nvGrpSpPr>
              <p:grpSpPr>
                <a:xfrm>
                  <a:off x="7233212" y="2254328"/>
                  <a:ext cx="71148" cy="71238"/>
                  <a:chOff x="6005114" y="3701354"/>
                  <a:chExt cx="71148" cy="71238"/>
                </a:xfrm>
              </p:grpSpPr>
              <p:sp>
                <p:nvSpPr>
                  <p:cNvPr id="18234" name="Freeform: Shape 18233">
                    <a:extLst>
                      <a:ext uri="{FF2B5EF4-FFF2-40B4-BE49-F238E27FC236}">
                        <a16:creationId xmlns:a16="http://schemas.microsoft.com/office/drawing/2014/main" id="{789B815B-A257-261F-7D25-171203A02B8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35" name="Freeform: Shape 18234">
                    <a:extLst>
                      <a:ext uri="{FF2B5EF4-FFF2-40B4-BE49-F238E27FC236}">
                        <a16:creationId xmlns:a16="http://schemas.microsoft.com/office/drawing/2014/main" id="{2862D1D0-FA7F-833F-B07B-67C1B5132C6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7" name="Group 17906">
                  <a:extLst>
                    <a:ext uri="{FF2B5EF4-FFF2-40B4-BE49-F238E27FC236}">
                      <a16:creationId xmlns:a16="http://schemas.microsoft.com/office/drawing/2014/main" id="{F32501D1-3DDD-2146-DA2E-4B2617D68F8C}"/>
                    </a:ext>
                  </a:extLst>
                </p:cNvPr>
                <p:cNvGrpSpPr/>
                <p:nvPr/>
              </p:nvGrpSpPr>
              <p:grpSpPr>
                <a:xfrm>
                  <a:off x="7477828" y="2317335"/>
                  <a:ext cx="71148" cy="71238"/>
                  <a:chOff x="6005114" y="3701354"/>
                  <a:chExt cx="71148" cy="71238"/>
                </a:xfrm>
              </p:grpSpPr>
              <p:sp>
                <p:nvSpPr>
                  <p:cNvPr id="18232" name="Freeform: Shape 18231">
                    <a:extLst>
                      <a:ext uri="{FF2B5EF4-FFF2-40B4-BE49-F238E27FC236}">
                        <a16:creationId xmlns:a16="http://schemas.microsoft.com/office/drawing/2014/main" id="{2B63800A-1FE6-9CEB-BAC6-2832D23FCD8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33" name="Freeform: Shape 18232">
                    <a:extLst>
                      <a:ext uri="{FF2B5EF4-FFF2-40B4-BE49-F238E27FC236}">
                        <a16:creationId xmlns:a16="http://schemas.microsoft.com/office/drawing/2014/main" id="{20D4B4ED-EC5C-88F7-FA79-66FFE1C3E5B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8" name="Group 17907">
                  <a:extLst>
                    <a:ext uri="{FF2B5EF4-FFF2-40B4-BE49-F238E27FC236}">
                      <a16:creationId xmlns:a16="http://schemas.microsoft.com/office/drawing/2014/main" id="{27F39057-9C04-B517-2636-9B6258A00A44}"/>
                    </a:ext>
                  </a:extLst>
                </p:cNvPr>
                <p:cNvGrpSpPr/>
                <p:nvPr/>
              </p:nvGrpSpPr>
              <p:grpSpPr>
                <a:xfrm>
                  <a:off x="7575170" y="2367348"/>
                  <a:ext cx="71148" cy="71238"/>
                  <a:chOff x="6005114" y="3701354"/>
                  <a:chExt cx="71148" cy="71238"/>
                </a:xfrm>
              </p:grpSpPr>
              <p:sp>
                <p:nvSpPr>
                  <p:cNvPr id="18230" name="Freeform: Shape 18229">
                    <a:extLst>
                      <a:ext uri="{FF2B5EF4-FFF2-40B4-BE49-F238E27FC236}">
                        <a16:creationId xmlns:a16="http://schemas.microsoft.com/office/drawing/2014/main" id="{FA522BD4-1FC3-7C96-A0A1-9177966A8D7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31" name="Freeform: Shape 18230">
                    <a:extLst>
                      <a:ext uri="{FF2B5EF4-FFF2-40B4-BE49-F238E27FC236}">
                        <a16:creationId xmlns:a16="http://schemas.microsoft.com/office/drawing/2014/main" id="{9FBE455D-B8A7-1C91-79B3-EDE58B67B6A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09" name="Group 17908">
                  <a:extLst>
                    <a:ext uri="{FF2B5EF4-FFF2-40B4-BE49-F238E27FC236}">
                      <a16:creationId xmlns:a16="http://schemas.microsoft.com/office/drawing/2014/main" id="{E6377388-99BF-8F6D-FC5C-45A0382DA961}"/>
                    </a:ext>
                  </a:extLst>
                </p:cNvPr>
                <p:cNvGrpSpPr/>
                <p:nvPr/>
              </p:nvGrpSpPr>
              <p:grpSpPr>
                <a:xfrm>
                  <a:off x="7518742" y="2334110"/>
                  <a:ext cx="71148" cy="71238"/>
                  <a:chOff x="6005114" y="3701354"/>
                  <a:chExt cx="71148" cy="71238"/>
                </a:xfrm>
              </p:grpSpPr>
              <p:sp>
                <p:nvSpPr>
                  <p:cNvPr id="18228" name="Freeform: Shape 18227">
                    <a:extLst>
                      <a:ext uri="{FF2B5EF4-FFF2-40B4-BE49-F238E27FC236}">
                        <a16:creationId xmlns:a16="http://schemas.microsoft.com/office/drawing/2014/main" id="{A41F86FE-5000-965F-C4EB-C4FB721B178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29" name="Freeform: Shape 18228">
                    <a:extLst>
                      <a:ext uri="{FF2B5EF4-FFF2-40B4-BE49-F238E27FC236}">
                        <a16:creationId xmlns:a16="http://schemas.microsoft.com/office/drawing/2014/main" id="{C0382490-5EAA-F47A-A213-75458A6364C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0" name="Group 17909">
                  <a:extLst>
                    <a:ext uri="{FF2B5EF4-FFF2-40B4-BE49-F238E27FC236}">
                      <a16:creationId xmlns:a16="http://schemas.microsoft.com/office/drawing/2014/main" id="{52F3593D-28FB-A6B9-B783-DEC04BF31E2B}"/>
                    </a:ext>
                  </a:extLst>
                </p:cNvPr>
                <p:cNvGrpSpPr/>
                <p:nvPr/>
              </p:nvGrpSpPr>
              <p:grpSpPr>
                <a:xfrm>
                  <a:off x="7623227" y="2369729"/>
                  <a:ext cx="71148" cy="71238"/>
                  <a:chOff x="6005114" y="3701354"/>
                  <a:chExt cx="71148" cy="71238"/>
                </a:xfrm>
              </p:grpSpPr>
              <p:sp>
                <p:nvSpPr>
                  <p:cNvPr id="18226" name="Freeform: Shape 18225">
                    <a:extLst>
                      <a:ext uri="{FF2B5EF4-FFF2-40B4-BE49-F238E27FC236}">
                        <a16:creationId xmlns:a16="http://schemas.microsoft.com/office/drawing/2014/main" id="{EC90C49B-E7ED-B457-41A6-C55540D03C8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27" name="Freeform: Shape 18226">
                    <a:extLst>
                      <a:ext uri="{FF2B5EF4-FFF2-40B4-BE49-F238E27FC236}">
                        <a16:creationId xmlns:a16="http://schemas.microsoft.com/office/drawing/2014/main" id="{C643BAD8-7989-DDE8-26CE-4678B3F2DB9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1" name="Group 17910">
                  <a:extLst>
                    <a:ext uri="{FF2B5EF4-FFF2-40B4-BE49-F238E27FC236}">
                      <a16:creationId xmlns:a16="http://schemas.microsoft.com/office/drawing/2014/main" id="{F83CA282-C126-5733-F15B-6E2A7932CDB9}"/>
                    </a:ext>
                  </a:extLst>
                </p:cNvPr>
                <p:cNvGrpSpPr/>
                <p:nvPr/>
              </p:nvGrpSpPr>
              <p:grpSpPr>
                <a:xfrm>
                  <a:off x="7677564" y="2379253"/>
                  <a:ext cx="71148" cy="71238"/>
                  <a:chOff x="6005114" y="3701354"/>
                  <a:chExt cx="71148" cy="71238"/>
                </a:xfrm>
              </p:grpSpPr>
              <p:sp>
                <p:nvSpPr>
                  <p:cNvPr id="18224" name="Freeform: Shape 18223">
                    <a:extLst>
                      <a:ext uri="{FF2B5EF4-FFF2-40B4-BE49-F238E27FC236}">
                        <a16:creationId xmlns:a16="http://schemas.microsoft.com/office/drawing/2014/main" id="{2D03A9C8-9C29-D244-9590-024F7A1A5E4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25" name="Freeform: Shape 18224">
                    <a:extLst>
                      <a:ext uri="{FF2B5EF4-FFF2-40B4-BE49-F238E27FC236}">
                        <a16:creationId xmlns:a16="http://schemas.microsoft.com/office/drawing/2014/main" id="{D654B29C-69AB-B2A3-D93A-054CD9EB263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2" name="Group 17911">
                  <a:extLst>
                    <a:ext uri="{FF2B5EF4-FFF2-40B4-BE49-F238E27FC236}">
                      <a16:creationId xmlns:a16="http://schemas.microsoft.com/office/drawing/2014/main" id="{932468B3-CC8E-E40A-65EF-66E192EE50E3}"/>
                    </a:ext>
                  </a:extLst>
                </p:cNvPr>
                <p:cNvGrpSpPr/>
                <p:nvPr/>
              </p:nvGrpSpPr>
              <p:grpSpPr>
                <a:xfrm>
                  <a:off x="7704837" y="2389540"/>
                  <a:ext cx="71148" cy="71238"/>
                  <a:chOff x="6005114" y="3701354"/>
                  <a:chExt cx="71148" cy="71238"/>
                </a:xfrm>
              </p:grpSpPr>
              <p:sp>
                <p:nvSpPr>
                  <p:cNvPr id="18222" name="Freeform: Shape 18221">
                    <a:extLst>
                      <a:ext uri="{FF2B5EF4-FFF2-40B4-BE49-F238E27FC236}">
                        <a16:creationId xmlns:a16="http://schemas.microsoft.com/office/drawing/2014/main" id="{4A9C1246-E5E4-02A8-6293-AE5638EEA0A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23" name="Freeform: Shape 18222">
                    <a:extLst>
                      <a:ext uri="{FF2B5EF4-FFF2-40B4-BE49-F238E27FC236}">
                        <a16:creationId xmlns:a16="http://schemas.microsoft.com/office/drawing/2014/main" id="{6176F0A3-ACC5-4B6C-9586-544CD0A33A5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3" name="Group 17912">
                  <a:extLst>
                    <a:ext uri="{FF2B5EF4-FFF2-40B4-BE49-F238E27FC236}">
                      <a16:creationId xmlns:a16="http://schemas.microsoft.com/office/drawing/2014/main" id="{5CFEF29E-3945-828A-C783-B48B8F5D7F61}"/>
                    </a:ext>
                  </a:extLst>
                </p:cNvPr>
                <p:cNvGrpSpPr/>
                <p:nvPr/>
              </p:nvGrpSpPr>
              <p:grpSpPr>
                <a:xfrm>
                  <a:off x="7765534" y="2406903"/>
                  <a:ext cx="71148" cy="71238"/>
                  <a:chOff x="6005114" y="3701354"/>
                  <a:chExt cx="71148" cy="71238"/>
                </a:xfrm>
              </p:grpSpPr>
              <p:sp>
                <p:nvSpPr>
                  <p:cNvPr id="18220" name="Freeform: Shape 18219">
                    <a:extLst>
                      <a:ext uri="{FF2B5EF4-FFF2-40B4-BE49-F238E27FC236}">
                        <a16:creationId xmlns:a16="http://schemas.microsoft.com/office/drawing/2014/main" id="{34BCF456-8262-3DC1-0810-A902D06B737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21" name="Freeform: Shape 18220">
                    <a:extLst>
                      <a:ext uri="{FF2B5EF4-FFF2-40B4-BE49-F238E27FC236}">
                        <a16:creationId xmlns:a16="http://schemas.microsoft.com/office/drawing/2014/main" id="{4CB9E35F-F153-A106-6066-1EF3D3210B5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4" name="Group 17913">
                  <a:extLst>
                    <a:ext uri="{FF2B5EF4-FFF2-40B4-BE49-F238E27FC236}">
                      <a16:creationId xmlns:a16="http://schemas.microsoft.com/office/drawing/2014/main" id="{0D35F9F7-55A9-F3C2-718C-D7F016034E32}"/>
                    </a:ext>
                  </a:extLst>
                </p:cNvPr>
                <p:cNvGrpSpPr/>
                <p:nvPr/>
              </p:nvGrpSpPr>
              <p:grpSpPr>
                <a:xfrm>
                  <a:off x="7965984" y="2491799"/>
                  <a:ext cx="71148" cy="71238"/>
                  <a:chOff x="6005114" y="3701354"/>
                  <a:chExt cx="71148" cy="71238"/>
                </a:xfrm>
              </p:grpSpPr>
              <p:sp>
                <p:nvSpPr>
                  <p:cNvPr id="18218" name="Freeform: Shape 18217">
                    <a:extLst>
                      <a:ext uri="{FF2B5EF4-FFF2-40B4-BE49-F238E27FC236}">
                        <a16:creationId xmlns:a16="http://schemas.microsoft.com/office/drawing/2014/main" id="{B9A9EAF6-2F95-5CEB-9F34-B29F9B6308D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19" name="Freeform: Shape 18218">
                    <a:extLst>
                      <a:ext uri="{FF2B5EF4-FFF2-40B4-BE49-F238E27FC236}">
                        <a16:creationId xmlns:a16="http://schemas.microsoft.com/office/drawing/2014/main" id="{2B45D4B2-1D03-2303-BFFE-02B92C58BAB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5" name="Group 17914">
                  <a:extLst>
                    <a:ext uri="{FF2B5EF4-FFF2-40B4-BE49-F238E27FC236}">
                      <a16:creationId xmlns:a16="http://schemas.microsoft.com/office/drawing/2014/main" id="{DA55965E-853C-9E96-C4E8-B708EC427547}"/>
                    </a:ext>
                  </a:extLst>
                </p:cNvPr>
                <p:cNvGrpSpPr/>
                <p:nvPr/>
              </p:nvGrpSpPr>
              <p:grpSpPr>
                <a:xfrm>
                  <a:off x="7915688" y="2468929"/>
                  <a:ext cx="71148" cy="71238"/>
                  <a:chOff x="6005114" y="3701354"/>
                  <a:chExt cx="71148" cy="71238"/>
                </a:xfrm>
              </p:grpSpPr>
              <p:sp>
                <p:nvSpPr>
                  <p:cNvPr id="18216" name="Freeform: Shape 18215">
                    <a:extLst>
                      <a:ext uri="{FF2B5EF4-FFF2-40B4-BE49-F238E27FC236}">
                        <a16:creationId xmlns:a16="http://schemas.microsoft.com/office/drawing/2014/main" id="{495E8B3D-DBFB-BCAD-27CA-827D58F9834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17" name="Freeform: Shape 18216">
                    <a:extLst>
                      <a:ext uri="{FF2B5EF4-FFF2-40B4-BE49-F238E27FC236}">
                        <a16:creationId xmlns:a16="http://schemas.microsoft.com/office/drawing/2014/main" id="{CF479D0E-2B9D-A5E9-29DF-AF71501280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6" name="Group 17915">
                  <a:extLst>
                    <a:ext uri="{FF2B5EF4-FFF2-40B4-BE49-F238E27FC236}">
                      <a16:creationId xmlns:a16="http://schemas.microsoft.com/office/drawing/2014/main" id="{B5D7A1DF-14BF-C9D1-9734-FEE5E2CB58EE}"/>
                    </a:ext>
                  </a:extLst>
                </p:cNvPr>
                <p:cNvGrpSpPr/>
                <p:nvPr/>
              </p:nvGrpSpPr>
              <p:grpSpPr>
                <a:xfrm>
                  <a:off x="7887836" y="2468929"/>
                  <a:ext cx="71148" cy="71238"/>
                  <a:chOff x="6005114" y="3701354"/>
                  <a:chExt cx="71148" cy="71238"/>
                </a:xfrm>
              </p:grpSpPr>
              <p:sp>
                <p:nvSpPr>
                  <p:cNvPr id="18214" name="Freeform: Shape 18213">
                    <a:extLst>
                      <a:ext uri="{FF2B5EF4-FFF2-40B4-BE49-F238E27FC236}">
                        <a16:creationId xmlns:a16="http://schemas.microsoft.com/office/drawing/2014/main" id="{55982C73-6FF9-E66C-A497-434AAD0637E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15" name="Freeform: Shape 18214">
                    <a:extLst>
                      <a:ext uri="{FF2B5EF4-FFF2-40B4-BE49-F238E27FC236}">
                        <a16:creationId xmlns:a16="http://schemas.microsoft.com/office/drawing/2014/main" id="{33D035C9-DB69-1B76-4522-3A2592AF352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7" name="Group 17916">
                  <a:extLst>
                    <a:ext uri="{FF2B5EF4-FFF2-40B4-BE49-F238E27FC236}">
                      <a16:creationId xmlns:a16="http://schemas.microsoft.com/office/drawing/2014/main" id="{A5C46EC2-58CB-77DC-E3C7-748C3CE5155D}"/>
                    </a:ext>
                  </a:extLst>
                </p:cNvPr>
                <p:cNvGrpSpPr/>
                <p:nvPr/>
              </p:nvGrpSpPr>
              <p:grpSpPr>
                <a:xfrm>
                  <a:off x="7856590" y="2456180"/>
                  <a:ext cx="71148" cy="71238"/>
                  <a:chOff x="6005114" y="3701354"/>
                  <a:chExt cx="71148" cy="71238"/>
                </a:xfrm>
              </p:grpSpPr>
              <p:sp>
                <p:nvSpPr>
                  <p:cNvPr id="18212" name="Freeform: Shape 18211">
                    <a:extLst>
                      <a:ext uri="{FF2B5EF4-FFF2-40B4-BE49-F238E27FC236}">
                        <a16:creationId xmlns:a16="http://schemas.microsoft.com/office/drawing/2014/main" id="{7B4E5637-758C-C946-3724-4A0059B13E1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13" name="Freeform: Shape 18212">
                    <a:extLst>
                      <a:ext uri="{FF2B5EF4-FFF2-40B4-BE49-F238E27FC236}">
                        <a16:creationId xmlns:a16="http://schemas.microsoft.com/office/drawing/2014/main" id="{EE6088C1-537B-4B14-12B8-C359FFFDD9B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8" name="Group 17917">
                  <a:extLst>
                    <a:ext uri="{FF2B5EF4-FFF2-40B4-BE49-F238E27FC236}">
                      <a16:creationId xmlns:a16="http://schemas.microsoft.com/office/drawing/2014/main" id="{1CFFFE41-8743-1C6A-BE5F-862897EE5B32}"/>
                    </a:ext>
                  </a:extLst>
                </p:cNvPr>
                <p:cNvGrpSpPr/>
                <p:nvPr/>
              </p:nvGrpSpPr>
              <p:grpSpPr>
                <a:xfrm>
                  <a:off x="7803769" y="2425159"/>
                  <a:ext cx="71148" cy="71238"/>
                  <a:chOff x="6005114" y="3701354"/>
                  <a:chExt cx="71148" cy="71238"/>
                </a:xfrm>
              </p:grpSpPr>
              <p:sp>
                <p:nvSpPr>
                  <p:cNvPr id="18210" name="Freeform: Shape 18209">
                    <a:extLst>
                      <a:ext uri="{FF2B5EF4-FFF2-40B4-BE49-F238E27FC236}">
                        <a16:creationId xmlns:a16="http://schemas.microsoft.com/office/drawing/2014/main" id="{C9B15B73-4E41-5E18-0131-2C896A5F9FD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11" name="Freeform: Shape 18210">
                    <a:extLst>
                      <a:ext uri="{FF2B5EF4-FFF2-40B4-BE49-F238E27FC236}">
                        <a16:creationId xmlns:a16="http://schemas.microsoft.com/office/drawing/2014/main" id="{7F144F8E-88AA-6450-7F82-655F96102FD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19" name="Group 17918">
                  <a:extLst>
                    <a:ext uri="{FF2B5EF4-FFF2-40B4-BE49-F238E27FC236}">
                      <a16:creationId xmlns:a16="http://schemas.microsoft.com/office/drawing/2014/main" id="{484B1B9E-E843-634C-1AEC-7EC41104F1DD}"/>
                    </a:ext>
                  </a:extLst>
                </p:cNvPr>
                <p:cNvGrpSpPr/>
                <p:nvPr/>
              </p:nvGrpSpPr>
              <p:grpSpPr>
                <a:xfrm>
                  <a:off x="7409562" y="2311456"/>
                  <a:ext cx="71148" cy="71238"/>
                  <a:chOff x="6005114" y="3701354"/>
                  <a:chExt cx="71148" cy="71238"/>
                </a:xfrm>
              </p:grpSpPr>
              <p:sp>
                <p:nvSpPr>
                  <p:cNvPr id="18208" name="Freeform: Shape 18207">
                    <a:extLst>
                      <a:ext uri="{FF2B5EF4-FFF2-40B4-BE49-F238E27FC236}">
                        <a16:creationId xmlns:a16="http://schemas.microsoft.com/office/drawing/2014/main" id="{8139CA34-B50D-E718-06E0-F5AE279CD2D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09" name="Freeform: Shape 18208">
                    <a:extLst>
                      <a:ext uri="{FF2B5EF4-FFF2-40B4-BE49-F238E27FC236}">
                        <a16:creationId xmlns:a16="http://schemas.microsoft.com/office/drawing/2014/main" id="{8B43A0BE-03FD-BA59-7DA4-D2E5CB19541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0" name="Group 17919">
                  <a:extLst>
                    <a:ext uri="{FF2B5EF4-FFF2-40B4-BE49-F238E27FC236}">
                      <a16:creationId xmlns:a16="http://schemas.microsoft.com/office/drawing/2014/main" id="{2EE37C97-0D27-E98D-0CC1-9E042059DECA}"/>
                    </a:ext>
                  </a:extLst>
                </p:cNvPr>
                <p:cNvGrpSpPr/>
                <p:nvPr/>
              </p:nvGrpSpPr>
              <p:grpSpPr>
                <a:xfrm>
                  <a:off x="7372627" y="2290158"/>
                  <a:ext cx="71148" cy="71238"/>
                  <a:chOff x="6005114" y="3701354"/>
                  <a:chExt cx="71148" cy="71238"/>
                </a:xfrm>
              </p:grpSpPr>
              <p:sp>
                <p:nvSpPr>
                  <p:cNvPr id="18206" name="Freeform: Shape 18205">
                    <a:extLst>
                      <a:ext uri="{FF2B5EF4-FFF2-40B4-BE49-F238E27FC236}">
                        <a16:creationId xmlns:a16="http://schemas.microsoft.com/office/drawing/2014/main" id="{9385091A-EE8F-EC98-C4BB-9E671E3AF41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07" name="Freeform: Shape 18206">
                    <a:extLst>
                      <a:ext uri="{FF2B5EF4-FFF2-40B4-BE49-F238E27FC236}">
                        <a16:creationId xmlns:a16="http://schemas.microsoft.com/office/drawing/2014/main" id="{8F5215AE-2BB1-2774-87C6-2FAD217C05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1" name="Group 17920">
                  <a:extLst>
                    <a:ext uri="{FF2B5EF4-FFF2-40B4-BE49-F238E27FC236}">
                      <a16:creationId xmlns:a16="http://schemas.microsoft.com/office/drawing/2014/main" id="{8D7A8407-D9C1-7A48-0039-3D00C559F739}"/>
                    </a:ext>
                  </a:extLst>
                </p:cNvPr>
                <p:cNvGrpSpPr/>
                <p:nvPr/>
              </p:nvGrpSpPr>
              <p:grpSpPr>
                <a:xfrm>
                  <a:off x="7979650" y="2491799"/>
                  <a:ext cx="71148" cy="71238"/>
                  <a:chOff x="6005114" y="3701354"/>
                  <a:chExt cx="71148" cy="71238"/>
                </a:xfrm>
              </p:grpSpPr>
              <p:sp>
                <p:nvSpPr>
                  <p:cNvPr id="18204" name="Freeform: Shape 18203">
                    <a:extLst>
                      <a:ext uri="{FF2B5EF4-FFF2-40B4-BE49-F238E27FC236}">
                        <a16:creationId xmlns:a16="http://schemas.microsoft.com/office/drawing/2014/main" id="{94C44E58-A3DE-58C5-562A-73C4E7CEE52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05" name="Freeform: Shape 18204">
                    <a:extLst>
                      <a:ext uri="{FF2B5EF4-FFF2-40B4-BE49-F238E27FC236}">
                        <a16:creationId xmlns:a16="http://schemas.microsoft.com/office/drawing/2014/main" id="{D84B5EE0-1399-E1C9-F763-9DAAFA15244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2" name="Group 17921">
                  <a:extLst>
                    <a:ext uri="{FF2B5EF4-FFF2-40B4-BE49-F238E27FC236}">
                      <a16:creationId xmlns:a16="http://schemas.microsoft.com/office/drawing/2014/main" id="{C1BE748E-DE6D-E51F-55B4-1ADDA54A57AF}"/>
                    </a:ext>
                  </a:extLst>
                </p:cNvPr>
                <p:cNvGrpSpPr/>
                <p:nvPr/>
              </p:nvGrpSpPr>
              <p:grpSpPr>
                <a:xfrm>
                  <a:off x="8086806" y="2563029"/>
                  <a:ext cx="71148" cy="71238"/>
                  <a:chOff x="6005114" y="3701354"/>
                  <a:chExt cx="71148" cy="71238"/>
                </a:xfrm>
              </p:grpSpPr>
              <p:sp>
                <p:nvSpPr>
                  <p:cNvPr id="18202" name="Freeform: Shape 18201">
                    <a:extLst>
                      <a:ext uri="{FF2B5EF4-FFF2-40B4-BE49-F238E27FC236}">
                        <a16:creationId xmlns:a16="http://schemas.microsoft.com/office/drawing/2014/main" id="{4954A0DC-B4A0-8BBB-6224-B6445289DFE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03" name="Freeform: Shape 18202">
                    <a:extLst>
                      <a:ext uri="{FF2B5EF4-FFF2-40B4-BE49-F238E27FC236}">
                        <a16:creationId xmlns:a16="http://schemas.microsoft.com/office/drawing/2014/main" id="{7F6484EB-4BD1-3D39-5DB8-50A8F4471C5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3" name="Group 17922">
                  <a:extLst>
                    <a:ext uri="{FF2B5EF4-FFF2-40B4-BE49-F238E27FC236}">
                      <a16:creationId xmlns:a16="http://schemas.microsoft.com/office/drawing/2014/main" id="{C843A200-5DFE-4188-8E32-36C747F8BBBD}"/>
                    </a:ext>
                  </a:extLst>
                </p:cNvPr>
                <p:cNvGrpSpPr/>
                <p:nvPr/>
              </p:nvGrpSpPr>
              <p:grpSpPr>
                <a:xfrm>
                  <a:off x="8365609" y="2658260"/>
                  <a:ext cx="71148" cy="71238"/>
                  <a:chOff x="6005114" y="3701354"/>
                  <a:chExt cx="71148" cy="71238"/>
                </a:xfrm>
              </p:grpSpPr>
              <p:sp>
                <p:nvSpPr>
                  <p:cNvPr id="18200" name="Freeform: Shape 18199">
                    <a:extLst>
                      <a:ext uri="{FF2B5EF4-FFF2-40B4-BE49-F238E27FC236}">
                        <a16:creationId xmlns:a16="http://schemas.microsoft.com/office/drawing/2014/main" id="{7767E859-045C-1A00-F25B-5E4D4C4ED31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201" name="Freeform: Shape 18200">
                    <a:extLst>
                      <a:ext uri="{FF2B5EF4-FFF2-40B4-BE49-F238E27FC236}">
                        <a16:creationId xmlns:a16="http://schemas.microsoft.com/office/drawing/2014/main" id="{AFA86121-DE54-ED65-174C-53215AE05E1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4" name="Group 17923">
                  <a:extLst>
                    <a:ext uri="{FF2B5EF4-FFF2-40B4-BE49-F238E27FC236}">
                      <a16:creationId xmlns:a16="http://schemas.microsoft.com/office/drawing/2014/main" id="{CAAAEC25-6605-D582-B1E2-8EF70AB735B2}"/>
                    </a:ext>
                  </a:extLst>
                </p:cNvPr>
                <p:cNvGrpSpPr/>
                <p:nvPr/>
              </p:nvGrpSpPr>
              <p:grpSpPr>
                <a:xfrm>
                  <a:off x="8566059" y="2745325"/>
                  <a:ext cx="71148" cy="71238"/>
                  <a:chOff x="6005114" y="3701354"/>
                  <a:chExt cx="71148" cy="71238"/>
                </a:xfrm>
              </p:grpSpPr>
              <p:sp>
                <p:nvSpPr>
                  <p:cNvPr id="18198" name="Freeform: Shape 18197">
                    <a:extLst>
                      <a:ext uri="{FF2B5EF4-FFF2-40B4-BE49-F238E27FC236}">
                        <a16:creationId xmlns:a16="http://schemas.microsoft.com/office/drawing/2014/main" id="{819D1A63-D453-EC5C-4C74-C380F021F12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99" name="Freeform: Shape 18198">
                    <a:extLst>
                      <a:ext uri="{FF2B5EF4-FFF2-40B4-BE49-F238E27FC236}">
                        <a16:creationId xmlns:a16="http://schemas.microsoft.com/office/drawing/2014/main" id="{B53D67A9-7E36-41BE-A1F9-6200C4B48D1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5" name="Group 17924">
                  <a:extLst>
                    <a:ext uri="{FF2B5EF4-FFF2-40B4-BE49-F238E27FC236}">
                      <a16:creationId xmlns:a16="http://schemas.microsoft.com/office/drawing/2014/main" id="{BD656281-420F-04FA-1DAA-B35A5F8479BD}"/>
                    </a:ext>
                  </a:extLst>
                </p:cNvPr>
                <p:cNvGrpSpPr/>
                <p:nvPr/>
              </p:nvGrpSpPr>
              <p:grpSpPr>
                <a:xfrm>
                  <a:off x="8351312" y="2658260"/>
                  <a:ext cx="71148" cy="71238"/>
                  <a:chOff x="6005114" y="3701354"/>
                  <a:chExt cx="71148" cy="71238"/>
                </a:xfrm>
              </p:grpSpPr>
              <p:sp>
                <p:nvSpPr>
                  <p:cNvPr id="18196" name="Freeform: Shape 18195">
                    <a:extLst>
                      <a:ext uri="{FF2B5EF4-FFF2-40B4-BE49-F238E27FC236}">
                        <a16:creationId xmlns:a16="http://schemas.microsoft.com/office/drawing/2014/main" id="{4FF67F77-181E-B3EE-4C9D-9A1C8AC1F07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97" name="Freeform: Shape 18196">
                    <a:extLst>
                      <a:ext uri="{FF2B5EF4-FFF2-40B4-BE49-F238E27FC236}">
                        <a16:creationId xmlns:a16="http://schemas.microsoft.com/office/drawing/2014/main" id="{B8C554EA-3D39-EB6B-F07A-123D1508F06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6" name="Group 17925">
                  <a:extLst>
                    <a:ext uri="{FF2B5EF4-FFF2-40B4-BE49-F238E27FC236}">
                      <a16:creationId xmlns:a16="http://schemas.microsoft.com/office/drawing/2014/main" id="{73EF27B4-8B48-F90A-6B69-F4D070F413AC}"/>
                    </a:ext>
                  </a:extLst>
                </p:cNvPr>
                <p:cNvGrpSpPr/>
                <p:nvPr/>
              </p:nvGrpSpPr>
              <p:grpSpPr>
                <a:xfrm>
                  <a:off x="8492675" y="2722455"/>
                  <a:ext cx="71148" cy="71238"/>
                  <a:chOff x="6005114" y="3701354"/>
                  <a:chExt cx="71148" cy="71238"/>
                </a:xfrm>
              </p:grpSpPr>
              <p:sp>
                <p:nvSpPr>
                  <p:cNvPr id="18194" name="Freeform: Shape 18193">
                    <a:extLst>
                      <a:ext uri="{FF2B5EF4-FFF2-40B4-BE49-F238E27FC236}">
                        <a16:creationId xmlns:a16="http://schemas.microsoft.com/office/drawing/2014/main" id="{15267B54-67E8-C6F5-2A63-EF37DD33A52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95" name="Freeform: Shape 18194">
                    <a:extLst>
                      <a:ext uri="{FF2B5EF4-FFF2-40B4-BE49-F238E27FC236}">
                        <a16:creationId xmlns:a16="http://schemas.microsoft.com/office/drawing/2014/main" id="{E70E8061-EEFA-5DD8-9BAF-4B1E1827663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7" name="Group 17926">
                  <a:extLst>
                    <a:ext uri="{FF2B5EF4-FFF2-40B4-BE49-F238E27FC236}">
                      <a16:creationId xmlns:a16="http://schemas.microsoft.com/office/drawing/2014/main" id="{63981497-8353-525E-B102-AD5E99F305C7}"/>
                    </a:ext>
                  </a:extLst>
                </p:cNvPr>
                <p:cNvGrpSpPr/>
                <p:nvPr/>
              </p:nvGrpSpPr>
              <p:grpSpPr>
                <a:xfrm>
                  <a:off x="8456665" y="2709706"/>
                  <a:ext cx="71148" cy="71238"/>
                  <a:chOff x="6005114" y="3701354"/>
                  <a:chExt cx="71148" cy="71238"/>
                </a:xfrm>
              </p:grpSpPr>
              <p:sp>
                <p:nvSpPr>
                  <p:cNvPr id="18192" name="Freeform: Shape 18191">
                    <a:extLst>
                      <a:ext uri="{FF2B5EF4-FFF2-40B4-BE49-F238E27FC236}">
                        <a16:creationId xmlns:a16="http://schemas.microsoft.com/office/drawing/2014/main" id="{46CABC93-DE1E-B501-E4BC-A523748E987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93" name="Freeform: Shape 18192">
                    <a:extLst>
                      <a:ext uri="{FF2B5EF4-FFF2-40B4-BE49-F238E27FC236}">
                        <a16:creationId xmlns:a16="http://schemas.microsoft.com/office/drawing/2014/main" id="{F93A79F7-4FA0-0CB2-0768-8FE6EDA094B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8" name="Group 17927">
                  <a:extLst>
                    <a:ext uri="{FF2B5EF4-FFF2-40B4-BE49-F238E27FC236}">
                      <a16:creationId xmlns:a16="http://schemas.microsoft.com/office/drawing/2014/main" id="{0FB81444-8766-3633-298C-307782A0CD88}"/>
                    </a:ext>
                  </a:extLst>
                </p:cNvPr>
                <p:cNvGrpSpPr/>
                <p:nvPr/>
              </p:nvGrpSpPr>
              <p:grpSpPr>
                <a:xfrm>
                  <a:off x="8403844" y="2683835"/>
                  <a:ext cx="71148" cy="71238"/>
                  <a:chOff x="6005114" y="3701354"/>
                  <a:chExt cx="71148" cy="71238"/>
                </a:xfrm>
              </p:grpSpPr>
              <p:sp>
                <p:nvSpPr>
                  <p:cNvPr id="18190" name="Freeform: Shape 18189">
                    <a:extLst>
                      <a:ext uri="{FF2B5EF4-FFF2-40B4-BE49-F238E27FC236}">
                        <a16:creationId xmlns:a16="http://schemas.microsoft.com/office/drawing/2014/main" id="{1AE20806-70F7-9301-5EE1-384D53BB406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91" name="Freeform: Shape 18190">
                    <a:extLst>
                      <a:ext uri="{FF2B5EF4-FFF2-40B4-BE49-F238E27FC236}">
                        <a16:creationId xmlns:a16="http://schemas.microsoft.com/office/drawing/2014/main" id="{4FCF57D0-170C-9AF6-0ACE-E87EFE62127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29" name="Group 17928">
                  <a:extLst>
                    <a:ext uri="{FF2B5EF4-FFF2-40B4-BE49-F238E27FC236}">
                      <a16:creationId xmlns:a16="http://schemas.microsoft.com/office/drawing/2014/main" id="{8325617A-5BFC-07B5-A3A6-1610E848EC71}"/>
                    </a:ext>
                  </a:extLst>
                </p:cNvPr>
                <p:cNvGrpSpPr/>
                <p:nvPr/>
              </p:nvGrpSpPr>
              <p:grpSpPr>
                <a:xfrm>
                  <a:off x="8579725" y="2745325"/>
                  <a:ext cx="71148" cy="71238"/>
                  <a:chOff x="6005114" y="3701354"/>
                  <a:chExt cx="71148" cy="71238"/>
                </a:xfrm>
              </p:grpSpPr>
              <p:sp>
                <p:nvSpPr>
                  <p:cNvPr id="18188" name="Freeform: Shape 18187">
                    <a:extLst>
                      <a:ext uri="{FF2B5EF4-FFF2-40B4-BE49-F238E27FC236}">
                        <a16:creationId xmlns:a16="http://schemas.microsoft.com/office/drawing/2014/main" id="{828382A3-5563-308B-BC43-DD8079D5626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89" name="Freeform: Shape 18188">
                    <a:extLst>
                      <a:ext uri="{FF2B5EF4-FFF2-40B4-BE49-F238E27FC236}">
                        <a16:creationId xmlns:a16="http://schemas.microsoft.com/office/drawing/2014/main" id="{3B05B7DC-B538-AC1C-E129-7BF625A56FC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0" name="Group 17929">
                  <a:extLst>
                    <a:ext uri="{FF2B5EF4-FFF2-40B4-BE49-F238E27FC236}">
                      <a16:creationId xmlns:a16="http://schemas.microsoft.com/office/drawing/2014/main" id="{CC458B14-BB46-39CF-019A-B347E310661B}"/>
                    </a:ext>
                  </a:extLst>
                </p:cNvPr>
                <p:cNvGrpSpPr/>
                <p:nvPr/>
              </p:nvGrpSpPr>
              <p:grpSpPr>
                <a:xfrm>
                  <a:off x="8260824" y="2658260"/>
                  <a:ext cx="71148" cy="71238"/>
                  <a:chOff x="6005114" y="3701354"/>
                  <a:chExt cx="71148" cy="71238"/>
                </a:xfrm>
              </p:grpSpPr>
              <p:sp>
                <p:nvSpPr>
                  <p:cNvPr id="18186" name="Freeform: Shape 18185">
                    <a:extLst>
                      <a:ext uri="{FF2B5EF4-FFF2-40B4-BE49-F238E27FC236}">
                        <a16:creationId xmlns:a16="http://schemas.microsoft.com/office/drawing/2014/main" id="{480DC3D5-B316-737D-5E29-0AA24FD6B45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87" name="Freeform: Shape 18186">
                    <a:extLst>
                      <a:ext uri="{FF2B5EF4-FFF2-40B4-BE49-F238E27FC236}">
                        <a16:creationId xmlns:a16="http://schemas.microsoft.com/office/drawing/2014/main" id="{C2C7C6F5-75D4-BE14-BBDD-6CCD9E2A917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1" name="Group 17930">
                  <a:extLst>
                    <a:ext uri="{FF2B5EF4-FFF2-40B4-BE49-F238E27FC236}">
                      <a16:creationId xmlns:a16="http://schemas.microsoft.com/office/drawing/2014/main" id="{2E8300F2-77B2-E114-5A8B-CBD1B7959811}"/>
                    </a:ext>
                  </a:extLst>
                </p:cNvPr>
                <p:cNvGrpSpPr/>
                <p:nvPr/>
              </p:nvGrpSpPr>
              <p:grpSpPr>
                <a:xfrm>
                  <a:off x="8298925" y="2658260"/>
                  <a:ext cx="71148" cy="71238"/>
                  <a:chOff x="6005114" y="3701354"/>
                  <a:chExt cx="71148" cy="71238"/>
                </a:xfrm>
              </p:grpSpPr>
              <p:sp>
                <p:nvSpPr>
                  <p:cNvPr id="18184" name="Freeform: Shape 18183">
                    <a:extLst>
                      <a:ext uri="{FF2B5EF4-FFF2-40B4-BE49-F238E27FC236}">
                        <a16:creationId xmlns:a16="http://schemas.microsoft.com/office/drawing/2014/main" id="{24C56A51-CF13-7377-D857-9380A4848C4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85" name="Freeform: Shape 18184">
                    <a:extLst>
                      <a:ext uri="{FF2B5EF4-FFF2-40B4-BE49-F238E27FC236}">
                        <a16:creationId xmlns:a16="http://schemas.microsoft.com/office/drawing/2014/main" id="{C422CDF8-E12E-01F7-A3BB-6F70A38FA33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2" name="Group 17931">
                  <a:extLst>
                    <a:ext uri="{FF2B5EF4-FFF2-40B4-BE49-F238E27FC236}">
                      <a16:creationId xmlns:a16="http://schemas.microsoft.com/office/drawing/2014/main" id="{551B0107-6A9F-B7F3-51CD-BB1D82C88A53}"/>
                    </a:ext>
                  </a:extLst>
                </p:cNvPr>
                <p:cNvGrpSpPr/>
                <p:nvPr/>
              </p:nvGrpSpPr>
              <p:grpSpPr>
                <a:xfrm>
                  <a:off x="8320500" y="2658260"/>
                  <a:ext cx="71148" cy="71238"/>
                  <a:chOff x="6005114" y="3701354"/>
                  <a:chExt cx="71148" cy="71238"/>
                </a:xfrm>
              </p:grpSpPr>
              <p:sp>
                <p:nvSpPr>
                  <p:cNvPr id="18182" name="Freeform: Shape 18181">
                    <a:extLst>
                      <a:ext uri="{FF2B5EF4-FFF2-40B4-BE49-F238E27FC236}">
                        <a16:creationId xmlns:a16="http://schemas.microsoft.com/office/drawing/2014/main" id="{054C8875-5215-BDD0-E409-3B93CDCF684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83" name="Freeform: Shape 18182">
                    <a:extLst>
                      <a:ext uri="{FF2B5EF4-FFF2-40B4-BE49-F238E27FC236}">
                        <a16:creationId xmlns:a16="http://schemas.microsoft.com/office/drawing/2014/main" id="{F08880D8-EDB8-40A1-F915-9A6106C955E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3" name="Group 17932">
                  <a:extLst>
                    <a:ext uri="{FF2B5EF4-FFF2-40B4-BE49-F238E27FC236}">
                      <a16:creationId xmlns:a16="http://schemas.microsoft.com/office/drawing/2014/main" id="{61B48718-836D-57AB-44ED-7B07A100E7B8}"/>
                    </a:ext>
                  </a:extLst>
                </p:cNvPr>
                <p:cNvGrpSpPr/>
                <p:nvPr/>
              </p:nvGrpSpPr>
              <p:grpSpPr>
                <a:xfrm>
                  <a:off x="8227487" y="2641410"/>
                  <a:ext cx="71148" cy="71238"/>
                  <a:chOff x="6005114" y="3701354"/>
                  <a:chExt cx="71148" cy="71238"/>
                </a:xfrm>
              </p:grpSpPr>
              <p:sp>
                <p:nvSpPr>
                  <p:cNvPr id="18180" name="Freeform: Shape 18179">
                    <a:extLst>
                      <a:ext uri="{FF2B5EF4-FFF2-40B4-BE49-F238E27FC236}">
                        <a16:creationId xmlns:a16="http://schemas.microsoft.com/office/drawing/2014/main" id="{B9DBE84D-E9FB-0875-ACEE-BDC9038B7A1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81" name="Freeform: Shape 18180">
                    <a:extLst>
                      <a:ext uri="{FF2B5EF4-FFF2-40B4-BE49-F238E27FC236}">
                        <a16:creationId xmlns:a16="http://schemas.microsoft.com/office/drawing/2014/main" id="{781AC568-EE01-276A-0F99-726CC4CB3F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4" name="Group 17933">
                  <a:extLst>
                    <a:ext uri="{FF2B5EF4-FFF2-40B4-BE49-F238E27FC236}">
                      <a16:creationId xmlns:a16="http://schemas.microsoft.com/office/drawing/2014/main" id="{728F2791-7C1C-44BC-4641-06EB3428EC33}"/>
                    </a:ext>
                  </a:extLst>
                </p:cNvPr>
                <p:cNvGrpSpPr/>
                <p:nvPr/>
              </p:nvGrpSpPr>
              <p:grpSpPr>
                <a:xfrm>
                  <a:off x="8194149" y="2614758"/>
                  <a:ext cx="71148" cy="71238"/>
                  <a:chOff x="6005114" y="3701354"/>
                  <a:chExt cx="71148" cy="71238"/>
                </a:xfrm>
              </p:grpSpPr>
              <p:sp>
                <p:nvSpPr>
                  <p:cNvPr id="18178" name="Freeform: Shape 18177">
                    <a:extLst>
                      <a:ext uri="{FF2B5EF4-FFF2-40B4-BE49-F238E27FC236}">
                        <a16:creationId xmlns:a16="http://schemas.microsoft.com/office/drawing/2014/main" id="{80842467-3BBE-FB8D-7861-8EF2C30122D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79" name="Freeform: Shape 18178">
                    <a:extLst>
                      <a:ext uri="{FF2B5EF4-FFF2-40B4-BE49-F238E27FC236}">
                        <a16:creationId xmlns:a16="http://schemas.microsoft.com/office/drawing/2014/main" id="{3F4B6D1B-E957-2630-90E3-82810F51890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5" name="Group 17934">
                  <a:extLst>
                    <a:ext uri="{FF2B5EF4-FFF2-40B4-BE49-F238E27FC236}">
                      <a16:creationId xmlns:a16="http://schemas.microsoft.com/office/drawing/2014/main" id="{C501E36D-9FCA-A4BD-933D-E779761995CE}"/>
                    </a:ext>
                  </a:extLst>
                </p:cNvPr>
                <p:cNvGrpSpPr/>
                <p:nvPr/>
              </p:nvGrpSpPr>
              <p:grpSpPr>
                <a:xfrm>
                  <a:off x="8156050" y="2609866"/>
                  <a:ext cx="71148" cy="71238"/>
                  <a:chOff x="6005114" y="3701354"/>
                  <a:chExt cx="71148" cy="71238"/>
                </a:xfrm>
              </p:grpSpPr>
              <p:sp>
                <p:nvSpPr>
                  <p:cNvPr id="18176" name="Freeform: Shape 18175">
                    <a:extLst>
                      <a:ext uri="{FF2B5EF4-FFF2-40B4-BE49-F238E27FC236}">
                        <a16:creationId xmlns:a16="http://schemas.microsoft.com/office/drawing/2014/main" id="{5476E3E5-6B12-1CED-4A25-9E588B53BEE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77" name="Freeform: Shape 18176">
                    <a:extLst>
                      <a:ext uri="{FF2B5EF4-FFF2-40B4-BE49-F238E27FC236}">
                        <a16:creationId xmlns:a16="http://schemas.microsoft.com/office/drawing/2014/main" id="{ED244879-0BA2-2E79-3891-E124C990FD9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6" name="Group 17935">
                  <a:extLst>
                    <a:ext uri="{FF2B5EF4-FFF2-40B4-BE49-F238E27FC236}">
                      <a16:creationId xmlns:a16="http://schemas.microsoft.com/office/drawing/2014/main" id="{4C786787-99F1-0412-418E-7C326F38AA80}"/>
                    </a:ext>
                  </a:extLst>
                </p:cNvPr>
                <p:cNvGrpSpPr/>
                <p:nvPr/>
              </p:nvGrpSpPr>
              <p:grpSpPr>
                <a:xfrm>
                  <a:off x="8748976" y="2811895"/>
                  <a:ext cx="71148" cy="71238"/>
                  <a:chOff x="6005114" y="3701354"/>
                  <a:chExt cx="71148" cy="71238"/>
                </a:xfrm>
              </p:grpSpPr>
              <p:sp>
                <p:nvSpPr>
                  <p:cNvPr id="18174" name="Freeform: Shape 18173">
                    <a:extLst>
                      <a:ext uri="{FF2B5EF4-FFF2-40B4-BE49-F238E27FC236}">
                        <a16:creationId xmlns:a16="http://schemas.microsoft.com/office/drawing/2014/main" id="{4FEC9277-E34F-84C9-79CD-6AEAAB97C9C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75" name="Freeform: Shape 18174">
                    <a:extLst>
                      <a:ext uri="{FF2B5EF4-FFF2-40B4-BE49-F238E27FC236}">
                        <a16:creationId xmlns:a16="http://schemas.microsoft.com/office/drawing/2014/main" id="{44E46AEC-8C93-E1E7-872F-03552B72F1B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7" name="Group 17936">
                  <a:extLst>
                    <a:ext uri="{FF2B5EF4-FFF2-40B4-BE49-F238E27FC236}">
                      <a16:creationId xmlns:a16="http://schemas.microsoft.com/office/drawing/2014/main" id="{50474C67-9C12-0938-A8BB-DCDDFA4E1B50}"/>
                    </a:ext>
                  </a:extLst>
                </p:cNvPr>
                <p:cNvGrpSpPr/>
                <p:nvPr/>
              </p:nvGrpSpPr>
              <p:grpSpPr>
                <a:xfrm>
                  <a:off x="8692378" y="2794916"/>
                  <a:ext cx="71148" cy="71238"/>
                  <a:chOff x="6005114" y="3701354"/>
                  <a:chExt cx="71148" cy="71238"/>
                </a:xfrm>
              </p:grpSpPr>
              <p:sp>
                <p:nvSpPr>
                  <p:cNvPr id="18172" name="Freeform: Shape 18171">
                    <a:extLst>
                      <a:ext uri="{FF2B5EF4-FFF2-40B4-BE49-F238E27FC236}">
                        <a16:creationId xmlns:a16="http://schemas.microsoft.com/office/drawing/2014/main" id="{772CAAFC-62F1-607C-A656-ECCB2A17B32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73" name="Freeform: Shape 18172">
                    <a:extLst>
                      <a:ext uri="{FF2B5EF4-FFF2-40B4-BE49-F238E27FC236}">
                        <a16:creationId xmlns:a16="http://schemas.microsoft.com/office/drawing/2014/main" id="{C1E79844-D1A3-A4F3-6BA3-7411CAF6E17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8" name="Group 17937">
                  <a:extLst>
                    <a:ext uri="{FF2B5EF4-FFF2-40B4-BE49-F238E27FC236}">
                      <a16:creationId xmlns:a16="http://schemas.microsoft.com/office/drawing/2014/main" id="{A25B6E24-0AAD-623A-6C58-3DAF229239C2}"/>
                    </a:ext>
                  </a:extLst>
                </p:cNvPr>
                <p:cNvGrpSpPr/>
                <p:nvPr/>
              </p:nvGrpSpPr>
              <p:grpSpPr>
                <a:xfrm>
                  <a:off x="8670986" y="2772201"/>
                  <a:ext cx="71148" cy="71238"/>
                  <a:chOff x="6005114" y="3701354"/>
                  <a:chExt cx="71148" cy="71238"/>
                </a:xfrm>
              </p:grpSpPr>
              <p:sp>
                <p:nvSpPr>
                  <p:cNvPr id="18170" name="Freeform: Shape 18169">
                    <a:extLst>
                      <a:ext uri="{FF2B5EF4-FFF2-40B4-BE49-F238E27FC236}">
                        <a16:creationId xmlns:a16="http://schemas.microsoft.com/office/drawing/2014/main" id="{B33E6244-AF4B-A255-9A36-10626BB0ECD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71" name="Freeform: Shape 18170">
                    <a:extLst>
                      <a:ext uri="{FF2B5EF4-FFF2-40B4-BE49-F238E27FC236}">
                        <a16:creationId xmlns:a16="http://schemas.microsoft.com/office/drawing/2014/main" id="{55DA5F4B-B333-C39E-E0B5-9679EDCD724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39" name="Group 17938">
                  <a:extLst>
                    <a:ext uri="{FF2B5EF4-FFF2-40B4-BE49-F238E27FC236}">
                      <a16:creationId xmlns:a16="http://schemas.microsoft.com/office/drawing/2014/main" id="{B45E5461-72C6-055C-F7C6-713A7F0D92E2}"/>
                    </a:ext>
                  </a:extLst>
                </p:cNvPr>
                <p:cNvGrpSpPr/>
                <p:nvPr/>
              </p:nvGrpSpPr>
              <p:grpSpPr>
                <a:xfrm>
                  <a:off x="8618156" y="2759074"/>
                  <a:ext cx="71148" cy="71238"/>
                  <a:chOff x="6005114" y="3701354"/>
                  <a:chExt cx="71148" cy="71238"/>
                </a:xfrm>
              </p:grpSpPr>
              <p:sp>
                <p:nvSpPr>
                  <p:cNvPr id="18168" name="Freeform: Shape 18167">
                    <a:extLst>
                      <a:ext uri="{FF2B5EF4-FFF2-40B4-BE49-F238E27FC236}">
                        <a16:creationId xmlns:a16="http://schemas.microsoft.com/office/drawing/2014/main" id="{8FB01442-154D-6867-339F-BA479D0D0C2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69" name="Freeform: Shape 18168">
                    <a:extLst>
                      <a:ext uri="{FF2B5EF4-FFF2-40B4-BE49-F238E27FC236}">
                        <a16:creationId xmlns:a16="http://schemas.microsoft.com/office/drawing/2014/main" id="{E61A137F-CA2F-1F52-2040-9CDB2DEA9D1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0" name="Group 17939">
                  <a:extLst>
                    <a:ext uri="{FF2B5EF4-FFF2-40B4-BE49-F238E27FC236}">
                      <a16:creationId xmlns:a16="http://schemas.microsoft.com/office/drawing/2014/main" id="{F861576A-4C33-478E-EB98-768EB0884AE1}"/>
                    </a:ext>
                  </a:extLst>
                </p:cNvPr>
                <p:cNvGrpSpPr/>
                <p:nvPr/>
              </p:nvGrpSpPr>
              <p:grpSpPr>
                <a:xfrm>
                  <a:off x="8762642" y="2811895"/>
                  <a:ext cx="71148" cy="71238"/>
                  <a:chOff x="6005114" y="3701354"/>
                  <a:chExt cx="71148" cy="71238"/>
                </a:xfrm>
              </p:grpSpPr>
              <p:sp>
                <p:nvSpPr>
                  <p:cNvPr id="18166" name="Freeform: Shape 18165">
                    <a:extLst>
                      <a:ext uri="{FF2B5EF4-FFF2-40B4-BE49-F238E27FC236}">
                        <a16:creationId xmlns:a16="http://schemas.microsoft.com/office/drawing/2014/main" id="{CE0CE320-614B-2719-B8A5-03DF2C7383B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67" name="Freeform: Shape 18166">
                    <a:extLst>
                      <a:ext uri="{FF2B5EF4-FFF2-40B4-BE49-F238E27FC236}">
                        <a16:creationId xmlns:a16="http://schemas.microsoft.com/office/drawing/2014/main" id="{AB3A8901-8FC9-4725-D4D8-CBF0122418C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1" name="Group 17940">
                  <a:extLst>
                    <a:ext uri="{FF2B5EF4-FFF2-40B4-BE49-F238E27FC236}">
                      <a16:creationId xmlns:a16="http://schemas.microsoft.com/office/drawing/2014/main" id="{CB396E6C-1C42-2719-C6C8-C506EBDC8739}"/>
                    </a:ext>
                  </a:extLst>
                </p:cNvPr>
                <p:cNvGrpSpPr/>
                <p:nvPr/>
              </p:nvGrpSpPr>
              <p:grpSpPr>
                <a:xfrm>
                  <a:off x="8789457" y="2823392"/>
                  <a:ext cx="71148" cy="71238"/>
                  <a:chOff x="6005114" y="3701354"/>
                  <a:chExt cx="71148" cy="71238"/>
                </a:xfrm>
              </p:grpSpPr>
              <p:sp>
                <p:nvSpPr>
                  <p:cNvPr id="18164" name="Freeform: Shape 18163">
                    <a:extLst>
                      <a:ext uri="{FF2B5EF4-FFF2-40B4-BE49-F238E27FC236}">
                        <a16:creationId xmlns:a16="http://schemas.microsoft.com/office/drawing/2014/main" id="{E2100EF8-4C27-5ED3-7115-0E16431C770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65" name="Freeform: Shape 18164">
                    <a:extLst>
                      <a:ext uri="{FF2B5EF4-FFF2-40B4-BE49-F238E27FC236}">
                        <a16:creationId xmlns:a16="http://schemas.microsoft.com/office/drawing/2014/main" id="{627EC851-E7F9-78EA-9603-27512543FE7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2" name="Group 17941">
                  <a:extLst>
                    <a:ext uri="{FF2B5EF4-FFF2-40B4-BE49-F238E27FC236}">
                      <a16:creationId xmlns:a16="http://schemas.microsoft.com/office/drawing/2014/main" id="{C00D39AB-73E2-F103-5ED3-3B4BEA334B79}"/>
                    </a:ext>
                  </a:extLst>
                </p:cNvPr>
                <p:cNvGrpSpPr/>
                <p:nvPr/>
              </p:nvGrpSpPr>
              <p:grpSpPr>
                <a:xfrm>
                  <a:off x="8803123" y="2823392"/>
                  <a:ext cx="71148" cy="71238"/>
                  <a:chOff x="6005114" y="3701354"/>
                  <a:chExt cx="71148" cy="71238"/>
                </a:xfrm>
              </p:grpSpPr>
              <p:sp>
                <p:nvSpPr>
                  <p:cNvPr id="18162" name="Freeform: Shape 18161">
                    <a:extLst>
                      <a:ext uri="{FF2B5EF4-FFF2-40B4-BE49-F238E27FC236}">
                        <a16:creationId xmlns:a16="http://schemas.microsoft.com/office/drawing/2014/main" id="{FFE0D947-6901-27DC-BB1E-BDB8509F3B7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63" name="Freeform: Shape 18162">
                    <a:extLst>
                      <a:ext uri="{FF2B5EF4-FFF2-40B4-BE49-F238E27FC236}">
                        <a16:creationId xmlns:a16="http://schemas.microsoft.com/office/drawing/2014/main" id="{DCC549A3-5A08-B626-9426-CC45260D9F7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3" name="Group 17942">
                  <a:extLst>
                    <a:ext uri="{FF2B5EF4-FFF2-40B4-BE49-F238E27FC236}">
                      <a16:creationId xmlns:a16="http://schemas.microsoft.com/office/drawing/2014/main" id="{D60B0DE1-33A2-AE6F-A134-46BE80222647}"/>
                    </a:ext>
                  </a:extLst>
                </p:cNvPr>
                <p:cNvGrpSpPr/>
                <p:nvPr/>
              </p:nvGrpSpPr>
              <p:grpSpPr>
                <a:xfrm>
                  <a:off x="8834080" y="2833144"/>
                  <a:ext cx="71148" cy="71238"/>
                  <a:chOff x="6005114" y="3701354"/>
                  <a:chExt cx="71148" cy="71238"/>
                </a:xfrm>
              </p:grpSpPr>
              <p:sp>
                <p:nvSpPr>
                  <p:cNvPr id="18160" name="Freeform: Shape 18159">
                    <a:extLst>
                      <a:ext uri="{FF2B5EF4-FFF2-40B4-BE49-F238E27FC236}">
                        <a16:creationId xmlns:a16="http://schemas.microsoft.com/office/drawing/2014/main" id="{78EB6F8A-711E-C890-8FD2-822DC505B85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61" name="Freeform: Shape 18160">
                    <a:extLst>
                      <a:ext uri="{FF2B5EF4-FFF2-40B4-BE49-F238E27FC236}">
                        <a16:creationId xmlns:a16="http://schemas.microsoft.com/office/drawing/2014/main" id="{BA5BFDDC-BC0D-3C7B-AC87-19A8E6C54F9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4" name="Group 17943">
                  <a:extLst>
                    <a:ext uri="{FF2B5EF4-FFF2-40B4-BE49-F238E27FC236}">
                      <a16:creationId xmlns:a16="http://schemas.microsoft.com/office/drawing/2014/main" id="{91B531CE-B37D-8FEC-F1D9-CB4655D29A70}"/>
                    </a:ext>
                  </a:extLst>
                </p:cNvPr>
                <p:cNvGrpSpPr/>
                <p:nvPr/>
              </p:nvGrpSpPr>
              <p:grpSpPr>
                <a:xfrm>
                  <a:off x="9013299" y="2873525"/>
                  <a:ext cx="71148" cy="71238"/>
                  <a:chOff x="6005114" y="3701354"/>
                  <a:chExt cx="71148" cy="71238"/>
                </a:xfrm>
              </p:grpSpPr>
              <p:sp>
                <p:nvSpPr>
                  <p:cNvPr id="18158" name="Freeform: Shape 18157">
                    <a:extLst>
                      <a:ext uri="{FF2B5EF4-FFF2-40B4-BE49-F238E27FC236}">
                        <a16:creationId xmlns:a16="http://schemas.microsoft.com/office/drawing/2014/main" id="{7D0CF0B5-0567-36C7-F95A-5A046FF8FCB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59" name="Freeform: Shape 18158">
                    <a:extLst>
                      <a:ext uri="{FF2B5EF4-FFF2-40B4-BE49-F238E27FC236}">
                        <a16:creationId xmlns:a16="http://schemas.microsoft.com/office/drawing/2014/main" id="{AC20B7F0-97F1-4957-1A12-6C25ED635F4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5" name="Group 17944">
                  <a:extLst>
                    <a:ext uri="{FF2B5EF4-FFF2-40B4-BE49-F238E27FC236}">
                      <a16:creationId xmlns:a16="http://schemas.microsoft.com/office/drawing/2014/main" id="{F701728F-1FC9-4D51-204B-0B0D8230BE00}"/>
                    </a:ext>
                  </a:extLst>
                </p:cNvPr>
                <p:cNvGrpSpPr/>
                <p:nvPr/>
              </p:nvGrpSpPr>
              <p:grpSpPr>
                <a:xfrm>
                  <a:off x="8979962" y="2866615"/>
                  <a:ext cx="71148" cy="71238"/>
                  <a:chOff x="6005114" y="3701354"/>
                  <a:chExt cx="71148" cy="71238"/>
                </a:xfrm>
              </p:grpSpPr>
              <p:sp>
                <p:nvSpPr>
                  <p:cNvPr id="18156" name="Freeform: Shape 18155">
                    <a:extLst>
                      <a:ext uri="{FF2B5EF4-FFF2-40B4-BE49-F238E27FC236}">
                        <a16:creationId xmlns:a16="http://schemas.microsoft.com/office/drawing/2014/main" id="{E2EAFC4E-5797-EE5C-8A34-26CD4D4FBDF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57" name="Freeform: Shape 18156">
                    <a:extLst>
                      <a:ext uri="{FF2B5EF4-FFF2-40B4-BE49-F238E27FC236}">
                        <a16:creationId xmlns:a16="http://schemas.microsoft.com/office/drawing/2014/main" id="{61F7EBA5-27CE-3634-7B33-51762DFA841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6" name="Group 17945">
                  <a:extLst>
                    <a:ext uri="{FF2B5EF4-FFF2-40B4-BE49-F238E27FC236}">
                      <a16:creationId xmlns:a16="http://schemas.microsoft.com/office/drawing/2014/main" id="{D6C4A3E7-7D03-DC6E-709A-176803FD8183}"/>
                    </a:ext>
                  </a:extLst>
                </p:cNvPr>
                <p:cNvGrpSpPr/>
                <p:nvPr/>
              </p:nvGrpSpPr>
              <p:grpSpPr>
                <a:xfrm>
                  <a:off x="8946624" y="2839963"/>
                  <a:ext cx="71148" cy="71238"/>
                  <a:chOff x="6005114" y="3701354"/>
                  <a:chExt cx="71148" cy="71238"/>
                </a:xfrm>
              </p:grpSpPr>
              <p:sp>
                <p:nvSpPr>
                  <p:cNvPr id="18154" name="Freeform: Shape 18153">
                    <a:extLst>
                      <a:ext uri="{FF2B5EF4-FFF2-40B4-BE49-F238E27FC236}">
                        <a16:creationId xmlns:a16="http://schemas.microsoft.com/office/drawing/2014/main" id="{296FFAE7-BE5D-3B3F-084C-0717AECE44C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55" name="Freeform: Shape 18154">
                    <a:extLst>
                      <a:ext uri="{FF2B5EF4-FFF2-40B4-BE49-F238E27FC236}">
                        <a16:creationId xmlns:a16="http://schemas.microsoft.com/office/drawing/2014/main" id="{A5C3D0C7-D947-8F0B-07A7-63F66384AA3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7" name="Group 17946">
                  <a:extLst>
                    <a:ext uri="{FF2B5EF4-FFF2-40B4-BE49-F238E27FC236}">
                      <a16:creationId xmlns:a16="http://schemas.microsoft.com/office/drawing/2014/main" id="{09144AF7-725F-5C5D-E63C-D126EEEE1EB1}"/>
                    </a:ext>
                  </a:extLst>
                </p:cNvPr>
                <p:cNvGrpSpPr/>
                <p:nvPr/>
              </p:nvGrpSpPr>
              <p:grpSpPr>
                <a:xfrm>
                  <a:off x="9179986" y="2920821"/>
                  <a:ext cx="71148" cy="71238"/>
                  <a:chOff x="6005114" y="3701354"/>
                  <a:chExt cx="71148" cy="71238"/>
                </a:xfrm>
              </p:grpSpPr>
              <p:sp>
                <p:nvSpPr>
                  <p:cNvPr id="18152" name="Freeform: Shape 18151">
                    <a:extLst>
                      <a:ext uri="{FF2B5EF4-FFF2-40B4-BE49-F238E27FC236}">
                        <a16:creationId xmlns:a16="http://schemas.microsoft.com/office/drawing/2014/main" id="{9F6BA9D0-4D4B-BF4B-194D-7936542693E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53" name="Freeform: Shape 18152">
                    <a:extLst>
                      <a:ext uri="{FF2B5EF4-FFF2-40B4-BE49-F238E27FC236}">
                        <a16:creationId xmlns:a16="http://schemas.microsoft.com/office/drawing/2014/main" id="{C282F102-FC52-325E-7A5C-8165110B040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8" name="Group 17947">
                  <a:extLst>
                    <a:ext uri="{FF2B5EF4-FFF2-40B4-BE49-F238E27FC236}">
                      <a16:creationId xmlns:a16="http://schemas.microsoft.com/office/drawing/2014/main" id="{80B2A457-F791-7C76-C42C-07ECF2488286}"/>
                    </a:ext>
                  </a:extLst>
                </p:cNvPr>
                <p:cNvGrpSpPr/>
                <p:nvPr/>
              </p:nvGrpSpPr>
              <p:grpSpPr>
                <a:xfrm>
                  <a:off x="9156174" y="2920821"/>
                  <a:ext cx="71148" cy="71238"/>
                  <a:chOff x="6005114" y="3701354"/>
                  <a:chExt cx="71148" cy="71238"/>
                </a:xfrm>
              </p:grpSpPr>
              <p:sp>
                <p:nvSpPr>
                  <p:cNvPr id="18150" name="Freeform: Shape 18149">
                    <a:extLst>
                      <a:ext uri="{FF2B5EF4-FFF2-40B4-BE49-F238E27FC236}">
                        <a16:creationId xmlns:a16="http://schemas.microsoft.com/office/drawing/2014/main" id="{8DC99E10-BDBA-63FD-E8C6-2384448C4F6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51" name="Freeform: Shape 18150">
                    <a:extLst>
                      <a:ext uri="{FF2B5EF4-FFF2-40B4-BE49-F238E27FC236}">
                        <a16:creationId xmlns:a16="http://schemas.microsoft.com/office/drawing/2014/main" id="{CEB24BE1-59A4-2A73-50B8-42B34479BC7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49" name="Group 17948">
                  <a:extLst>
                    <a:ext uri="{FF2B5EF4-FFF2-40B4-BE49-F238E27FC236}">
                      <a16:creationId xmlns:a16="http://schemas.microsoft.com/office/drawing/2014/main" id="{3F1FD76F-D989-9F88-4D98-97324143DA8E}"/>
                    </a:ext>
                  </a:extLst>
                </p:cNvPr>
                <p:cNvGrpSpPr/>
                <p:nvPr/>
              </p:nvGrpSpPr>
              <p:grpSpPr>
                <a:xfrm>
                  <a:off x="9122836" y="2894169"/>
                  <a:ext cx="71148" cy="71238"/>
                  <a:chOff x="6005114" y="3701354"/>
                  <a:chExt cx="71148" cy="71238"/>
                </a:xfrm>
              </p:grpSpPr>
              <p:sp>
                <p:nvSpPr>
                  <p:cNvPr id="18148" name="Freeform: Shape 18147">
                    <a:extLst>
                      <a:ext uri="{FF2B5EF4-FFF2-40B4-BE49-F238E27FC236}">
                        <a16:creationId xmlns:a16="http://schemas.microsoft.com/office/drawing/2014/main" id="{D5997964-6108-0FA0-EFB6-7917C3AA575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49" name="Freeform: Shape 18148">
                    <a:extLst>
                      <a:ext uri="{FF2B5EF4-FFF2-40B4-BE49-F238E27FC236}">
                        <a16:creationId xmlns:a16="http://schemas.microsoft.com/office/drawing/2014/main" id="{204FBE06-E85E-E446-02DB-034A44E925E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0" name="Group 17949">
                  <a:extLst>
                    <a:ext uri="{FF2B5EF4-FFF2-40B4-BE49-F238E27FC236}">
                      <a16:creationId xmlns:a16="http://schemas.microsoft.com/office/drawing/2014/main" id="{4CA3D0D7-C545-82CE-CA90-C62CDCB6D45F}"/>
                    </a:ext>
                  </a:extLst>
                </p:cNvPr>
                <p:cNvGrpSpPr/>
                <p:nvPr/>
              </p:nvGrpSpPr>
              <p:grpSpPr>
                <a:xfrm>
                  <a:off x="9064741" y="2873525"/>
                  <a:ext cx="71148" cy="71238"/>
                  <a:chOff x="6005114" y="3701354"/>
                  <a:chExt cx="71148" cy="71238"/>
                </a:xfrm>
              </p:grpSpPr>
              <p:sp>
                <p:nvSpPr>
                  <p:cNvPr id="18146" name="Freeform: Shape 18145">
                    <a:extLst>
                      <a:ext uri="{FF2B5EF4-FFF2-40B4-BE49-F238E27FC236}">
                        <a16:creationId xmlns:a16="http://schemas.microsoft.com/office/drawing/2014/main" id="{B3B07633-3631-4085-19B6-3838ADD91A49}"/>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47" name="Freeform: Shape 18146">
                    <a:extLst>
                      <a:ext uri="{FF2B5EF4-FFF2-40B4-BE49-F238E27FC236}">
                        <a16:creationId xmlns:a16="http://schemas.microsoft.com/office/drawing/2014/main" id="{C41A6CC6-8C28-9A38-BD95-A7331B8418A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1" name="Group 17950">
                  <a:extLst>
                    <a:ext uri="{FF2B5EF4-FFF2-40B4-BE49-F238E27FC236}">
                      <a16:creationId xmlns:a16="http://schemas.microsoft.com/office/drawing/2014/main" id="{D8A0864E-B900-B292-FB61-025983664554}"/>
                    </a:ext>
                  </a:extLst>
                </p:cNvPr>
                <p:cNvGrpSpPr/>
                <p:nvPr/>
              </p:nvGrpSpPr>
              <p:grpSpPr>
                <a:xfrm>
                  <a:off x="9213319" y="2924860"/>
                  <a:ext cx="71148" cy="71238"/>
                  <a:chOff x="6005114" y="3701354"/>
                  <a:chExt cx="71148" cy="71238"/>
                </a:xfrm>
              </p:grpSpPr>
              <p:sp>
                <p:nvSpPr>
                  <p:cNvPr id="18144" name="Freeform: Shape 18143">
                    <a:extLst>
                      <a:ext uri="{FF2B5EF4-FFF2-40B4-BE49-F238E27FC236}">
                        <a16:creationId xmlns:a16="http://schemas.microsoft.com/office/drawing/2014/main" id="{A309DB36-75AB-F688-BB78-254271D4A4F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45" name="Freeform: Shape 18144">
                    <a:extLst>
                      <a:ext uri="{FF2B5EF4-FFF2-40B4-BE49-F238E27FC236}">
                        <a16:creationId xmlns:a16="http://schemas.microsoft.com/office/drawing/2014/main" id="{0D7FC412-F41B-665E-07AE-398F09999AC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2" name="Group 17951">
                  <a:extLst>
                    <a:ext uri="{FF2B5EF4-FFF2-40B4-BE49-F238E27FC236}">
                      <a16:creationId xmlns:a16="http://schemas.microsoft.com/office/drawing/2014/main" id="{AEE0E3B9-484D-4D18-1CEF-3AD6038E1429}"/>
                    </a:ext>
                  </a:extLst>
                </p:cNvPr>
                <p:cNvGrpSpPr/>
                <p:nvPr/>
              </p:nvGrpSpPr>
              <p:grpSpPr>
                <a:xfrm>
                  <a:off x="9226985" y="2924860"/>
                  <a:ext cx="71148" cy="71238"/>
                  <a:chOff x="6005114" y="3701354"/>
                  <a:chExt cx="71148" cy="71238"/>
                </a:xfrm>
              </p:grpSpPr>
              <p:sp>
                <p:nvSpPr>
                  <p:cNvPr id="18142" name="Freeform: Shape 18141">
                    <a:extLst>
                      <a:ext uri="{FF2B5EF4-FFF2-40B4-BE49-F238E27FC236}">
                        <a16:creationId xmlns:a16="http://schemas.microsoft.com/office/drawing/2014/main" id="{3D9A6E48-9A59-BF24-3494-7FF8E930CD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43" name="Freeform: Shape 18142">
                    <a:extLst>
                      <a:ext uri="{FF2B5EF4-FFF2-40B4-BE49-F238E27FC236}">
                        <a16:creationId xmlns:a16="http://schemas.microsoft.com/office/drawing/2014/main" id="{A5043D59-C5EF-562B-E058-E3022188CE2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3" name="Group 17952">
                  <a:extLst>
                    <a:ext uri="{FF2B5EF4-FFF2-40B4-BE49-F238E27FC236}">
                      <a16:creationId xmlns:a16="http://schemas.microsoft.com/office/drawing/2014/main" id="{15FBBF17-20CF-9F32-BD38-A8C34046AA75}"/>
                    </a:ext>
                  </a:extLst>
                </p:cNvPr>
                <p:cNvGrpSpPr/>
                <p:nvPr/>
              </p:nvGrpSpPr>
              <p:grpSpPr>
                <a:xfrm>
                  <a:off x="9253800" y="2936357"/>
                  <a:ext cx="71148" cy="71238"/>
                  <a:chOff x="6005114" y="3701354"/>
                  <a:chExt cx="71148" cy="71238"/>
                </a:xfrm>
              </p:grpSpPr>
              <p:sp>
                <p:nvSpPr>
                  <p:cNvPr id="18140" name="Freeform: Shape 18139">
                    <a:extLst>
                      <a:ext uri="{FF2B5EF4-FFF2-40B4-BE49-F238E27FC236}">
                        <a16:creationId xmlns:a16="http://schemas.microsoft.com/office/drawing/2014/main" id="{AC268B7E-01EE-D1D5-3131-F6BACE15A5F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41" name="Freeform: Shape 18140">
                    <a:extLst>
                      <a:ext uri="{FF2B5EF4-FFF2-40B4-BE49-F238E27FC236}">
                        <a16:creationId xmlns:a16="http://schemas.microsoft.com/office/drawing/2014/main" id="{774BC14B-0EF6-446F-1F49-8DEAAA54E45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4" name="Group 17953">
                  <a:extLst>
                    <a:ext uri="{FF2B5EF4-FFF2-40B4-BE49-F238E27FC236}">
                      <a16:creationId xmlns:a16="http://schemas.microsoft.com/office/drawing/2014/main" id="{DAB29A01-DB6C-D8FA-C38D-443996DCB22F}"/>
                    </a:ext>
                  </a:extLst>
                </p:cNvPr>
                <p:cNvGrpSpPr/>
                <p:nvPr/>
              </p:nvGrpSpPr>
              <p:grpSpPr>
                <a:xfrm>
                  <a:off x="9267466" y="2936357"/>
                  <a:ext cx="71148" cy="71238"/>
                  <a:chOff x="6005114" y="3701354"/>
                  <a:chExt cx="71148" cy="71238"/>
                </a:xfrm>
              </p:grpSpPr>
              <p:sp>
                <p:nvSpPr>
                  <p:cNvPr id="18138" name="Freeform: Shape 18137">
                    <a:extLst>
                      <a:ext uri="{FF2B5EF4-FFF2-40B4-BE49-F238E27FC236}">
                        <a16:creationId xmlns:a16="http://schemas.microsoft.com/office/drawing/2014/main" id="{26DDDBC5-D159-087A-A9A8-4F0357C8157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39" name="Freeform: Shape 18138">
                    <a:extLst>
                      <a:ext uri="{FF2B5EF4-FFF2-40B4-BE49-F238E27FC236}">
                        <a16:creationId xmlns:a16="http://schemas.microsoft.com/office/drawing/2014/main" id="{E075CC44-5539-F698-CE1B-E9CFA8A12E5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5" name="Group 17954">
                  <a:extLst>
                    <a:ext uri="{FF2B5EF4-FFF2-40B4-BE49-F238E27FC236}">
                      <a16:creationId xmlns:a16="http://schemas.microsoft.com/office/drawing/2014/main" id="{7709ECEF-1C36-6035-9698-2EF8C9659C67}"/>
                    </a:ext>
                  </a:extLst>
                </p:cNvPr>
                <p:cNvGrpSpPr/>
                <p:nvPr/>
              </p:nvGrpSpPr>
              <p:grpSpPr>
                <a:xfrm>
                  <a:off x="9293661" y="2959422"/>
                  <a:ext cx="71148" cy="71238"/>
                  <a:chOff x="6005114" y="3701354"/>
                  <a:chExt cx="71148" cy="71238"/>
                </a:xfrm>
              </p:grpSpPr>
              <p:sp>
                <p:nvSpPr>
                  <p:cNvPr id="18136" name="Freeform: Shape 18135">
                    <a:extLst>
                      <a:ext uri="{FF2B5EF4-FFF2-40B4-BE49-F238E27FC236}">
                        <a16:creationId xmlns:a16="http://schemas.microsoft.com/office/drawing/2014/main" id="{01D2F112-52BB-0B3D-EF3B-F4782CB9D8F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37" name="Freeform: Shape 18136">
                    <a:extLst>
                      <a:ext uri="{FF2B5EF4-FFF2-40B4-BE49-F238E27FC236}">
                        <a16:creationId xmlns:a16="http://schemas.microsoft.com/office/drawing/2014/main" id="{579D31C3-80CC-7A36-3915-E385FA22249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6" name="Group 17955">
                  <a:extLst>
                    <a:ext uri="{FF2B5EF4-FFF2-40B4-BE49-F238E27FC236}">
                      <a16:creationId xmlns:a16="http://schemas.microsoft.com/office/drawing/2014/main" id="{CC6460EA-A04A-355B-45E0-ACCB7C693727}"/>
                    </a:ext>
                  </a:extLst>
                </p:cNvPr>
                <p:cNvGrpSpPr/>
                <p:nvPr/>
              </p:nvGrpSpPr>
              <p:grpSpPr>
                <a:xfrm>
                  <a:off x="9325242" y="2960507"/>
                  <a:ext cx="71148" cy="71238"/>
                  <a:chOff x="6005114" y="3701354"/>
                  <a:chExt cx="71148" cy="71238"/>
                </a:xfrm>
              </p:grpSpPr>
              <p:sp>
                <p:nvSpPr>
                  <p:cNvPr id="18134" name="Freeform: Shape 18133">
                    <a:extLst>
                      <a:ext uri="{FF2B5EF4-FFF2-40B4-BE49-F238E27FC236}">
                        <a16:creationId xmlns:a16="http://schemas.microsoft.com/office/drawing/2014/main" id="{4C194325-8E96-FF32-5666-BD9DC0F6980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35" name="Freeform: Shape 18134">
                    <a:extLst>
                      <a:ext uri="{FF2B5EF4-FFF2-40B4-BE49-F238E27FC236}">
                        <a16:creationId xmlns:a16="http://schemas.microsoft.com/office/drawing/2014/main" id="{B7E336B5-7510-F01E-1727-99FC47A5486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7" name="Group 17956">
                  <a:extLst>
                    <a:ext uri="{FF2B5EF4-FFF2-40B4-BE49-F238E27FC236}">
                      <a16:creationId xmlns:a16="http://schemas.microsoft.com/office/drawing/2014/main" id="{88CFCEBA-6A13-82B8-AA58-F48B47F9130B}"/>
                    </a:ext>
                  </a:extLst>
                </p:cNvPr>
                <p:cNvGrpSpPr/>
                <p:nvPr/>
              </p:nvGrpSpPr>
              <p:grpSpPr>
                <a:xfrm>
                  <a:off x="9341908" y="2960507"/>
                  <a:ext cx="71148" cy="71238"/>
                  <a:chOff x="6005114" y="3701354"/>
                  <a:chExt cx="71148" cy="71238"/>
                </a:xfrm>
              </p:grpSpPr>
              <p:sp>
                <p:nvSpPr>
                  <p:cNvPr id="18132" name="Freeform: Shape 18131">
                    <a:extLst>
                      <a:ext uri="{FF2B5EF4-FFF2-40B4-BE49-F238E27FC236}">
                        <a16:creationId xmlns:a16="http://schemas.microsoft.com/office/drawing/2014/main" id="{78EE64F5-C348-2305-D21D-07D1457552D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33" name="Freeform: Shape 18132">
                    <a:extLst>
                      <a:ext uri="{FF2B5EF4-FFF2-40B4-BE49-F238E27FC236}">
                        <a16:creationId xmlns:a16="http://schemas.microsoft.com/office/drawing/2014/main" id="{45CA56CE-05D3-8512-617E-C47F3C1F4CD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8" name="Group 17957">
                  <a:extLst>
                    <a:ext uri="{FF2B5EF4-FFF2-40B4-BE49-F238E27FC236}">
                      <a16:creationId xmlns:a16="http://schemas.microsoft.com/office/drawing/2014/main" id="{881D64D0-21B8-D039-BD3D-63EC77D326FD}"/>
                    </a:ext>
                  </a:extLst>
                </p:cNvPr>
                <p:cNvGrpSpPr/>
                <p:nvPr/>
              </p:nvGrpSpPr>
              <p:grpSpPr>
                <a:xfrm>
                  <a:off x="9388909" y="2960507"/>
                  <a:ext cx="71148" cy="71238"/>
                  <a:chOff x="6005114" y="3701354"/>
                  <a:chExt cx="71148" cy="71238"/>
                </a:xfrm>
              </p:grpSpPr>
              <p:sp>
                <p:nvSpPr>
                  <p:cNvPr id="18130" name="Freeform: Shape 18129">
                    <a:extLst>
                      <a:ext uri="{FF2B5EF4-FFF2-40B4-BE49-F238E27FC236}">
                        <a16:creationId xmlns:a16="http://schemas.microsoft.com/office/drawing/2014/main" id="{DA5D3DBD-4FB6-2396-78B8-86DCB49BD89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31" name="Freeform: Shape 18130">
                    <a:extLst>
                      <a:ext uri="{FF2B5EF4-FFF2-40B4-BE49-F238E27FC236}">
                        <a16:creationId xmlns:a16="http://schemas.microsoft.com/office/drawing/2014/main" id="{FDDBB83A-F329-8AB0-0EF5-CBE269BB8FC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59" name="Group 17958">
                  <a:extLst>
                    <a:ext uri="{FF2B5EF4-FFF2-40B4-BE49-F238E27FC236}">
                      <a16:creationId xmlns:a16="http://schemas.microsoft.com/office/drawing/2014/main" id="{62A29F46-8D10-3462-EF1A-E616746E214E}"/>
                    </a:ext>
                  </a:extLst>
                </p:cNvPr>
                <p:cNvGrpSpPr/>
                <p:nvPr/>
              </p:nvGrpSpPr>
              <p:grpSpPr>
                <a:xfrm>
                  <a:off x="9764688" y="3052711"/>
                  <a:ext cx="71148" cy="71238"/>
                  <a:chOff x="6005114" y="3701354"/>
                  <a:chExt cx="71148" cy="71238"/>
                </a:xfrm>
              </p:grpSpPr>
              <p:sp>
                <p:nvSpPr>
                  <p:cNvPr id="18128" name="Freeform: Shape 18127">
                    <a:extLst>
                      <a:ext uri="{FF2B5EF4-FFF2-40B4-BE49-F238E27FC236}">
                        <a16:creationId xmlns:a16="http://schemas.microsoft.com/office/drawing/2014/main" id="{BEA17D94-5487-4967-4E79-56DEEAD2182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29" name="Freeform: Shape 18128">
                    <a:extLst>
                      <a:ext uri="{FF2B5EF4-FFF2-40B4-BE49-F238E27FC236}">
                        <a16:creationId xmlns:a16="http://schemas.microsoft.com/office/drawing/2014/main" id="{BBF8DC08-11E5-C01D-83F9-E6A5E41B4CD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0" name="Group 17959">
                  <a:extLst>
                    <a:ext uri="{FF2B5EF4-FFF2-40B4-BE49-F238E27FC236}">
                      <a16:creationId xmlns:a16="http://schemas.microsoft.com/office/drawing/2014/main" id="{F7F64B79-912E-8C22-04D7-7EE060F127E4}"/>
                    </a:ext>
                  </a:extLst>
                </p:cNvPr>
                <p:cNvGrpSpPr/>
                <p:nvPr/>
              </p:nvGrpSpPr>
              <p:grpSpPr>
                <a:xfrm>
                  <a:off x="9781354" y="3052711"/>
                  <a:ext cx="71148" cy="71238"/>
                  <a:chOff x="6005114" y="3701354"/>
                  <a:chExt cx="71148" cy="71238"/>
                </a:xfrm>
              </p:grpSpPr>
              <p:sp>
                <p:nvSpPr>
                  <p:cNvPr id="18126" name="Freeform: Shape 18125">
                    <a:extLst>
                      <a:ext uri="{FF2B5EF4-FFF2-40B4-BE49-F238E27FC236}">
                        <a16:creationId xmlns:a16="http://schemas.microsoft.com/office/drawing/2014/main" id="{7BD66EBE-C446-7650-8AED-1FA1D78E12B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27" name="Freeform: Shape 18126">
                    <a:extLst>
                      <a:ext uri="{FF2B5EF4-FFF2-40B4-BE49-F238E27FC236}">
                        <a16:creationId xmlns:a16="http://schemas.microsoft.com/office/drawing/2014/main" id="{41180983-92A1-7F67-9ECC-689CCD055AD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1" name="Group 17960">
                  <a:extLst>
                    <a:ext uri="{FF2B5EF4-FFF2-40B4-BE49-F238E27FC236}">
                      <a16:creationId xmlns:a16="http://schemas.microsoft.com/office/drawing/2014/main" id="{B7559089-A3C0-8E42-7C0A-0EFDFB10DE05}"/>
                    </a:ext>
                  </a:extLst>
                </p:cNvPr>
                <p:cNvGrpSpPr/>
                <p:nvPr/>
              </p:nvGrpSpPr>
              <p:grpSpPr>
                <a:xfrm>
                  <a:off x="9828355" y="3052711"/>
                  <a:ext cx="71148" cy="71238"/>
                  <a:chOff x="6005114" y="3701354"/>
                  <a:chExt cx="71148" cy="71238"/>
                </a:xfrm>
              </p:grpSpPr>
              <p:sp>
                <p:nvSpPr>
                  <p:cNvPr id="18124" name="Freeform: Shape 18123">
                    <a:extLst>
                      <a:ext uri="{FF2B5EF4-FFF2-40B4-BE49-F238E27FC236}">
                        <a16:creationId xmlns:a16="http://schemas.microsoft.com/office/drawing/2014/main" id="{BB09ED9F-E8F8-661E-8FB2-8D03D3A8ABF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25" name="Freeform: Shape 18124">
                    <a:extLst>
                      <a:ext uri="{FF2B5EF4-FFF2-40B4-BE49-F238E27FC236}">
                        <a16:creationId xmlns:a16="http://schemas.microsoft.com/office/drawing/2014/main" id="{016E8701-99C9-74D2-1066-5AF3ECA9A8E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2" name="Group 17961">
                  <a:extLst>
                    <a:ext uri="{FF2B5EF4-FFF2-40B4-BE49-F238E27FC236}">
                      <a16:creationId xmlns:a16="http://schemas.microsoft.com/office/drawing/2014/main" id="{BE4C5ACC-DC2A-6EAB-C9E2-5A3BADFE7E1A}"/>
                    </a:ext>
                  </a:extLst>
                </p:cNvPr>
                <p:cNvGrpSpPr/>
                <p:nvPr/>
              </p:nvGrpSpPr>
              <p:grpSpPr>
                <a:xfrm>
                  <a:off x="9407959" y="2981473"/>
                  <a:ext cx="71148" cy="71238"/>
                  <a:chOff x="6005114" y="3701354"/>
                  <a:chExt cx="71148" cy="71238"/>
                </a:xfrm>
              </p:grpSpPr>
              <p:sp>
                <p:nvSpPr>
                  <p:cNvPr id="18122" name="Freeform: Shape 18121">
                    <a:extLst>
                      <a:ext uri="{FF2B5EF4-FFF2-40B4-BE49-F238E27FC236}">
                        <a16:creationId xmlns:a16="http://schemas.microsoft.com/office/drawing/2014/main" id="{A7714CBF-26B6-FADD-7710-A8420BFF1BF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23" name="Freeform: Shape 18122">
                    <a:extLst>
                      <a:ext uri="{FF2B5EF4-FFF2-40B4-BE49-F238E27FC236}">
                        <a16:creationId xmlns:a16="http://schemas.microsoft.com/office/drawing/2014/main" id="{DC2F99F8-C6F8-03FA-7127-465D39236BA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3" name="Group 17962">
                  <a:extLst>
                    <a:ext uri="{FF2B5EF4-FFF2-40B4-BE49-F238E27FC236}">
                      <a16:creationId xmlns:a16="http://schemas.microsoft.com/office/drawing/2014/main" id="{BA09CFF3-2A4A-68FE-447D-1FD032957B3E}"/>
                    </a:ext>
                  </a:extLst>
                </p:cNvPr>
                <p:cNvGrpSpPr/>
                <p:nvPr/>
              </p:nvGrpSpPr>
              <p:grpSpPr>
                <a:xfrm>
                  <a:off x="9460347" y="2988096"/>
                  <a:ext cx="71148" cy="71238"/>
                  <a:chOff x="6005114" y="3701354"/>
                  <a:chExt cx="71148" cy="71238"/>
                </a:xfrm>
              </p:grpSpPr>
              <p:sp>
                <p:nvSpPr>
                  <p:cNvPr id="18120" name="Freeform: Shape 18119">
                    <a:extLst>
                      <a:ext uri="{FF2B5EF4-FFF2-40B4-BE49-F238E27FC236}">
                        <a16:creationId xmlns:a16="http://schemas.microsoft.com/office/drawing/2014/main" id="{6B9B2AB7-02D1-8E05-10AC-7EF065C1E30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21" name="Freeform: Shape 18120">
                    <a:extLst>
                      <a:ext uri="{FF2B5EF4-FFF2-40B4-BE49-F238E27FC236}">
                        <a16:creationId xmlns:a16="http://schemas.microsoft.com/office/drawing/2014/main" id="{C0912A2B-8076-1979-FF37-535E31A9359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4" name="Group 17963">
                  <a:extLst>
                    <a:ext uri="{FF2B5EF4-FFF2-40B4-BE49-F238E27FC236}">
                      <a16:creationId xmlns:a16="http://schemas.microsoft.com/office/drawing/2014/main" id="{41DB751D-9A7B-E9FF-9542-C67F84C8B77B}"/>
                    </a:ext>
                  </a:extLst>
                </p:cNvPr>
                <p:cNvGrpSpPr/>
                <p:nvPr/>
              </p:nvGrpSpPr>
              <p:grpSpPr>
                <a:xfrm>
                  <a:off x="9517497" y="2988096"/>
                  <a:ext cx="71148" cy="71238"/>
                  <a:chOff x="6005114" y="3701354"/>
                  <a:chExt cx="71148" cy="71238"/>
                </a:xfrm>
              </p:grpSpPr>
              <p:sp>
                <p:nvSpPr>
                  <p:cNvPr id="18118" name="Freeform: Shape 18117">
                    <a:extLst>
                      <a:ext uri="{FF2B5EF4-FFF2-40B4-BE49-F238E27FC236}">
                        <a16:creationId xmlns:a16="http://schemas.microsoft.com/office/drawing/2014/main" id="{2B2B20A1-8D95-301D-FF9E-0442EC420A8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19" name="Freeform: Shape 18118">
                    <a:extLst>
                      <a:ext uri="{FF2B5EF4-FFF2-40B4-BE49-F238E27FC236}">
                        <a16:creationId xmlns:a16="http://schemas.microsoft.com/office/drawing/2014/main" id="{E4AD2F99-4C49-637C-43CA-FB70DC48650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5" name="Group 17964">
                  <a:extLst>
                    <a:ext uri="{FF2B5EF4-FFF2-40B4-BE49-F238E27FC236}">
                      <a16:creationId xmlns:a16="http://schemas.microsoft.com/office/drawing/2014/main" id="{8FF50FBB-593C-BF1D-6727-87C7332BC470}"/>
                    </a:ext>
                  </a:extLst>
                </p:cNvPr>
                <p:cNvGrpSpPr/>
                <p:nvPr/>
              </p:nvGrpSpPr>
              <p:grpSpPr>
                <a:xfrm>
                  <a:off x="9575655" y="2997422"/>
                  <a:ext cx="71148" cy="71238"/>
                  <a:chOff x="6005114" y="3701354"/>
                  <a:chExt cx="71148" cy="71238"/>
                </a:xfrm>
              </p:grpSpPr>
              <p:sp>
                <p:nvSpPr>
                  <p:cNvPr id="18116" name="Freeform: Shape 18115">
                    <a:extLst>
                      <a:ext uri="{FF2B5EF4-FFF2-40B4-BE49-F238E27FC236}">
                        <a16:creationId xmlns:a16="http://schemas.microsoft.com/office/drawing/2014/main" id="{EFE3ED12-FA3E-84AC-A0B4-58C4B5E1305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17" name="Freeform: Shape 18116">
                    <a:extLst>
                      <a:ext uri="{FF2B5EF4-FFF2-40B4-BE49-F238E27FC236}">
                        <a16:creationId xmlns:a16="http://schemas.microsoft.com/office/drawing/2014/main" id="{45CC8767-E39D-C13E-0822-60DF354E07C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6" name="Group 17965">
                  <a:extLst>
                    <a:ext uri="{FF2B5EF4-FFF2-40B4-BE49-F238E27FC236}">
                      <a16:creationId xmlns:a16="http://schemas.microsoft.com/office/drawing/2014/main" id="{C295D935-A682-5062-6290-56B7A4C1AF54}"/>
                    </a:ext>
                  </a:extLst>
                </p:cNvPr>
                <p:cNvGrpSpPr/>
                <p:nvPr/>
              </p:nvGrpSpPr>
              <p:grpSpPr>
                <a:xfrm>
                  <a:off x="9592321" y="2997422"/>
                  <a:ext cx="71148" cy="71238"/>
                  <a:chOff x="6005114" y="3701354"/>
                  <a:chExt cx="71148" cy="71238"/>
                </a:xfrm>
              </p:grpSpPr>
              <p:sp>
                <p:nvSpPr>
                  <p:cNvPr id="18114" name="Freeform: Shape 18113">
                    <a:extLst>
                      <a:ext uri="{FF2B5EF4-FFF2-40B4-BE49-F238E27FC236}">
                        <a16:creationId xmlns:a16="http://schemas.microsoft.com/office/drawing/2014/main" id="{4C7A6EE7-3824-8CAF-7B48-683E63F6AFE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15" name="Freeform: Shape 18114">
                    <a:extLst>
                      <a:ext uri="{FF2B5EF4-FFF2-40B4-BE49-F238E27FC236}">
                        <a16:creationId xmlns:a16="http://schemas.microsoft.com/office/drawing/2014/main" id="{FEAC3C4F-BC53-AA9B-0685-2E78B1B1FF1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7" name="Group 17966">
                  <a:extLst>
                    <a:ext uri="{FF2B5EF4-FFF2-40B4-BE49-F238E27FC236}">
                      <a16:creationId xmlns:a16="http://schemas.microsoft.com/office/drawing/2014/main" id="{286A7977-40DB-E034-A5D9-218E38410ACE}"/>
                    </a:ext>
                  </a:extLst>
                </p:cNvPr>
                <p:cNvGrpSpPr/>
                <p:nvPr/>
              </p:nvGrpSpPr>
              <p:grpSpPr>
                <a:xfrm>
                  <a:off x="9618372" y="2997422"/>
                  <a:ext cx="71148" cy="71238"/>
                  <a:chOff x="6005114" y="3701354"/>
                  <a:chExt cx="71148" cy="71238"/>
                </a:xfrm>
              </p:grpSpPr>
              <p:sp>
                <p:nvSpPr>
                  <p:cNvPr id="18112" name="Freeform: Shape 18111">
                    <a:extLst>
                      <a:ext uri="{FF2B5EF4-FFF2-40B4-BE49-F238E27FC236}">
                        <a16:creationId xmlns:a16="http://schemas.microsoft.com/office/drawing/2014/main" id="{CD9A2A4E-E826-8655-F3C4-E6753D6B746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13" name="Freeform: Shape 18112">
                    <a:extLst>
                      <a:ext uri="{FF2B5EF4-FFF2-40B4-BE49-F238E27FC236}">
                        <a16:creationId xmlns:a16="http://schemas.microsoft.com/office/drawing/2014/main" id="{EA0D5834-9B94-76D5-B8AF-2F5B7668EFD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8" name="Group 17967">
                  <a:extLst>
                    <a:ext uri="{FF2B5EF4-FFF2-40B4-BE49-F238E27FC236}">
                      <a16:creationId xmlns:a16="http://schemas.microsoft.com/office/drawing/2014/main" id="{2E4E8C8D-4293-226E-DFC4-763B957B2C98}"/>
                    </a:ext>
                  </a:extLst>
                </p:cNvPr>
                <p:cNvGrpSpPr/>
                <p:nvPr/>
              </p:nvGrpSpPr>
              <p:grpSpPr>
                <a:xfrm>
                  <a:off x="9675519" y="2997422"/>
                  <a:ext cx="71148" cy="71238"/>
                  <a:chOff x="6005114" y="3701354"/>
                  <a:chExt cx="71148" cy="71238"/>
                </a:xfrm>
              </p:grpSpPr>
              <p:sp>
                <p:nvSpPr>
                  <p:cNvPr id="18110" name="Freeform: Shape 18109">
                    <a:extLst>
                      <a:ext uri="{FF2B5EF4-FFF2-40B4-BE49-F238E27FC236}">
                        <a16:creationId xmlns:a16="http://schemas.microsoft.com/office/drawing/2014/main" id="{BA34E3FD-8B08-3AB1-63E9-9E850B00479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11" name="Freeform: Shape 18110">
                    <a:extLst>
                      <a:ext uri="{FF2B5EF4-FFF2-40B4-BE49-F238E27FC236}">
                        <a16:creationId xmlns:a16="http://schemas.microsoft.com/office/drawing/2014/main" id="{51450654-0E3B-2A80-AE12-A6F795201A8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69" name="Group 17968">
                  <a:extLst>
                    <a:ext uri="{FF2B5EF4-FFF2-40B4-BE49-F238E27FC236}">
                      <a16:creationId xmlns:a16="http://schemas.microsoft.com/office/drawing/2014/main" id="{5FC125FC-E4FE-7E8A-AE9D-52392B7D8BE1}"/>
                    </a:ext>
                  </a:extLst>
                </p:cNvPr>
                <p:cNvGrpSpPr/>
                <p:nvPr/>
              </p:nvGrpSpPr>
              <p:grpSpPr>
                <a:xfrm>
                  <a:off x="9693540" y="3028477"/>
                  <a:ext cx="71148" cy="71238"/>
                  <a:chOff x="6005114" y="3701354"/>
                  <a:chExt cx="71148" cy="71238"/>
                </a:xfrm>
              </p:grpSpPr>
              <p:sp>
                <p:nvSpPr>
                  <p:cNvPr id="18108" name="Freeform: Shape 18107">
                    <a:extLst>
                      <a:ext uri="{FF2B5EF4-FFF2-40B4-BE49-F238E27FC236}">
                        <a16:creationId xmlns:a16="http://schemas.microsoft.com/office/drawing/2014/main" id="{7EC50712-FF07-BA61-75E4-58D089588EA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09" name="Freeform: Shape 18108">
                    <a:extLst>
                      <a:ext uri="{FF2B5EF4-FFF2-40B4-BE49-F238E27FC236}">
                        <a16:creationId xmlns:a16="http://schemas.microsoft.com/office/drawing/2014/main" id="{ECD6FFE9-1CB2-0CA5-58D5-13BDD534484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0" name="Group 17969">
                  <a:extLst>
                    <a:ext uri="{FF2B5EF4-FFF2-40B4-BE49-F238E27FC236}">
                      <a16:creationId xmlns:a16="http://schemas.microsoft.com/office/drawing/2014/main" id="{CA3E3F39-968A-E400-5D2D-BC0FACD9F067}"/>
                    </a:ext>
                  </a:extLst>
                </p:cNvPr>
                <p:cNvGrpSpPr/>
                <p:nvPr/>
              </p:nvGrpSpPr>
              <p:grpSpPr>
                <a:xfrm>
                  <a:off x="9892213" y="3052711"/>
                  <a:ext cx="71148" cy="71238"/>
                  <a:chOff x="6005114" y="3701354"/>
                  <a:chExt cx="71148" cy="71238"/>
                </a:xfrm>
              </p:grpSpPr>
              <p:sp>
                <p:nvSpPr>
                  <p:cNvPr id="18106" name="Freeform: Shape 18105">
                    <a:extLst>
                      <a:ext uri="{FF2B5EF4-FFF2-40B4-BE49-F238E27FC236}">
                        <a16:creationId xmlns:a16="http://schemas.microsoft.com/office/drawing/2014/main" id="{D07856D1-D4C5-1863-DA99-A8A1F805092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07" name="Freeform: Shape 18106">
                    <a:extLst>
                      <a:ext uri="{FF2B5EF4-FFF2-40B4-BE49-F238E27FC236}">
                        <a16:creationId xmlns:a16="http://schemas.microsoft.com/office/drawing/2014/main" id="{1C827853-70DA-B84D-FCE6-EB2AF1476E2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1" name="Group 17970">
                  <a:extLst>
                    <a:ext uri="{FF2B5EF4-FFF2-40B4-BE49-F238E27FC236}">
                      <a16:creationId xmlns:a16="http://schemas.microsoft.com/office/drawing/2014/main" id="{56215A96-F0A2-D6A6-6983-13361E59324C}"/>
                    </a:ext>
                  </a:extLst>
                </p:cNvPr>
                <p:cNvGrpSpPr/>
                <p:nvPr/>
              </p:nvGrpSpPr>
              <p:grpSpPr>
                <a:xfrm>
                  <a:off x="9957569" y="3083636"/>
                  <a:ext cx="71148" cy="71238"/>
                  <a:chOff x="6005114" y="3701354"/>
                  <a:chExt cx="71148" cy="71238"/>
                </a:xfrm>
              </p:grpSpPr>
              <p:sp>
                <p:nvSpPr>
                  <p:cNvPr id="18104" name="Freeform: Shape 18103">
                    <a:extLst>
                      <a:ext uri="{FF2B5EF4-FFF2-40B4-BE49-F238E27FC236}">
                        <a16:creationId xmlns:a16="http://schemas.microsoft.com/office/drawing/2014/main" id="{2BA4A0F2-81E3-1FA6-A684-B2F1243E41B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05" name="Freeform: Shape 18104">
                    <a:extLst>
                      <a:ext uri="{FF2B5EF4-FFF2-40B4-BE49-F238E27FC236}">
                        <a16:creationId xmlns:a16="http://schemas.microsoft.com/office/drawing/2014/main" id="{B33C5AF8-56D0-344E-887D-DC413880248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2" name="Group 17971">
                  <a:extLst>
                    <a:ext uri="{FF2B5EF4-FFF2-40B4-BE49-F238E27FC236}">
                      <a16:creationId xmlns:a16="http://schemas.microsoft.com/office/drawing/2014/main" id="{4E7F32AB-CBEC-A09A-B918-49BBCE2D543E}"/>
                    </a:ext>
                  </a:extLst>
                </p:cNvPr>
                <p:cNvGrpSpPr/>
                <p:nvPr/>
              </p:nvGrpSpPr>
              <p:grpSpPr>
                <a:xfrm>
                  <a:off x="9974235" y="3083636"/>
                  <a:ext cx="71148" cy="71238"/>
                  <a:chOff x="6005114" y="3701354"/>
                  <a:chExt cx="71148" cy="71238"/>
                </a:xfrm>
              </p:grpSpPr>
              <p:sp>
                <p:nvSpPr>
                  <p:cNvPr id="18102" name="Freeform: Shape 18101">
                    <a:extLst>
                      <a:ext uri="{FF2B5EF4-FFF2-40B4-BE49-F238E27FC236}">
                        <a16:creationId xmlns:a16="http://schemas.microsoft.com/office/drawing/2014/main" id="{A4B69322-95D6-90A3-7EA5-022BA8893228}"/>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03" name="Freeform: Shape 18102">
                    <a:extLst>
                      <a:ext uri="{FF2B5EF4-FFF2-40B4-BE49-F238E27FC236}">
                        <a16:creationId xmlns:a16="http://schemas.microsoft.com/office/drawing/2014/main" id="{1E97669D-A1F8-D292-F4D1-C1BA86BFEB9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3" name="Group 17972">
                  <a:extLst>
                    <a:ext uri="{FF2B5EF4-FFF2-40B4-BE49-F238E27FC236}">
                      <a16:creationId xmlns:a16="http://schemas.microsoft.com/office/drawing/2014/main" id="{F0BAA955-673E-9326-579C-67F3C82A565E}"/>
                    </a:ext>
                  </a:extLst>
                </p:cNvPr>
                <p:cNvGrpSpPr/>
                <p:nvPr/>
              </p:nvGrpSpPr>
              <p:grpSpPr>
                <a:xfrm>
                  <a:off x="9983765" y="3083636"/>
                  <a:ext cx="71148" cy="71238"/>
                  <a:chOff x="6005114" y="3701354"/>
                  <a:chExt cx="71148" cy="71238"/>
                </a:xfrm>
              </p:grpSpPr>
              <p:sp>
                <p:nvSpPr>
                  <p:cNvPr id="18100" name="Freeform: Shape 18099">
                    <a:extLst>
                      <a:ext uri="{FF2B5EF4-FFF2-40B4-BE49-F238E27FC236}">
                        <a16:creationId xmlns:a16="http://schemas.microsoft.com/office/drawing/2014/main" id="{18229C40-666B-1C19-4D42-A619C22254D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101" name="Freeform: Shape 18100">
                    <a:extLst>
                      <a:ext uri="{FF2B5EF4-FFF2-40B4-BE49-F238E27FC236}">
                        <a16:creationId xmlns:a16="http://schemas.microsoft.com/office/drawing/2014/main" id="{20E0C636-F0AC-5082-10B5-437F5812656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4" name="Group 17973">
                  <a:extLst>
                    <a:ext uri="{FF2B5EF4-FFF2-40B4-BE49-F238E27FC236}">
                      <a16:creationId xmlns:a16="http://schemas.microsoft.com/office/drawing/2014/main" id="{2073FBCE-9667-B098-00D6-74FFCA6CA666}"/>
                    </a:ext>
                  </a:extLst>
                </p:cNvPr>
                <p:cNvGrpSpPr/>
                <p:nvPr/>
              </p:nvGrpSpPr>
              <p:grpSpPr>
                <a:xfrm>
                  <a:off x="10047910" y="3083636"/>
                  <a:ext cx="71148" cy="71238"/>
                  <a:chOff x="6005114" y="3701354"/>
                  <a:chExt cx="71148" cy="71238"/>
                </a:xfrm>
              </p:grpSpPr>
              <p:sp>
                <p:nvSpPr>
                  <p:cNvPr id="18098" name="Freeform: Shape 18097">
                    <a:extLst>
                      <a:ext uri="{FF2B5EF4-FFF2-40B4-BE49-F238E27FC236}">
                        <a16:creationId xmlns:a16="http://schemas.microsoft.com/office/drawing/2014/main" id="{AB0EDC16-20BA-F298-FCB9-1C00ECC080A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99" name="Freeform: Shape 18098">
                    <a:extLst>
                      <a:ext uri="{FF2B5EF4-FFF2-40B4-BE49-F238E27FC236}">
                        <a16:creationId xmlns:a16="http://schemas.microsoft.com/office/drawing/2014/main" id="{38BD87A0-5B19-878F-6EE5-5DF99E8BA5F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5" name="Group 17974">
                  <a:extLst>
                    <a:ext uri="{FF2B5EF4-FFF2-40B4-BE49-F238E27FC236}">
                      <a16:creationId xmlns:a16="http://schemas.microsoft.com/office/drawing/2014/main" id="{1BEDE3F2-DDEE-67FE-DA41-C4A45460BF42}"/>
                    </a:ext>
                  </a:extLst>
                </p:cNvPr>
                <p:cNvGrpSpPr/>
                <p:nvPr/>
              </p:nvGrpSpPr>
              <p:grpSpPr>
                <a:xfrm>
                  <a:off x="10071579" y="3083636"/>
                  <a:ext cx="71148" cy="71238"/>
                  <a:chOff x="6005114" y="3701354"/>
                  <a:chExt cx="71148" cy="71238"/>
                </a:xfrm>
              </p:grpSpPr>
              <p:sp>
                <p:nvSpPr>
                  <p:cNvPr id="18096" name="Freeform: Shape 18095">
                    <a:extLst>
                      <a:ext uri="{FF2B5EF4-FFF2-40B4-BE49-F238E27FC236}">
                        <a16:creationId xmlns:a16="http://schemas.microsoft.com/office/drawing/2014/main" id="{27B0E8D4-C242-2F43-6FA9-74F4E530AC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97" name="Freeform: Shape 18096">
                    <a:extLst>
                      <a:ext uri="{FF2B5EF4-FFF2-40B4-BE49-F238E27FC236}">
                        <a16:creationId xmlns:a16="http://schemas.microsoft.com/office/drawing/2014/main" id="{AEFCC5AE-C841-CB17-05C5-21E42D9C72C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6" name="Group 17975">
                  <a:extLst>
                    <a:ext uri="{FF2B5EF4-FFF2-40B4-BE49-F238E27FC236}">
                      <a16:creationId xmlns:a16="http://schemas.microsoft.com/office/drawing/2014/main" id="{2758AD09-6D2F-D5E8-DEAF-3D1E5CF55003}"/>
                    </a:ext>
                  </a:extLst>
                </p:cNvPr>
                <p:cNvGrpSpPr/>
                <p:nvPr/>
              </p:nvGrpSpPr>
              <p:grpSpPr>
                <a:xfrm>
                  <a:off x="10095536" y="3105066"/>
                  <a:ext cx="71148" cy="71238"/>
                  <a:chOff x="6005114" y="3701354"/>
                  <a:chExt cx="71148" cy="71238"/>
                </a:xfrm>
              </p:grpSpPr>
              <p:sp>
                <p:nvSpPr>
                  <p:cNvPr id="18094" name="Freeform: Shape 18093">
                    <a:extLst>
                      <a:ext uri="{FF2B5EF4-FFF2-40B4-BE49-F238E27FC236}">
                        <a16:creationId xmlns:a16="http://schemas.microsoft.com/office/drawing/2014/main" id="{5AC0AD0B-11A1-52D0-CC23-A95E618E8053}"/>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95" name="Freeform: Shape 18094">
                    <a:extLst>
                      <a:ext uri="{FF2B5EF4-FFF2-40B4-BE49-F238E27FC236}">
                        <a16:creationId xmlns:a16="http://schemas.microsoft.com/office/drawing/2014/main" id="{7B4F70BD-F2C5-C377-B5BC-34E6C3C1D33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7" name="Group 17976">
                  <a:extLst>
                    <a:ext uri="{FF2B5EF4-FFF2-40B4-BE49-F238E27FC236}">
                      <a16:creationId xmlns:a16="http://schemas.microsoft.com/office/drawing/2014/main" id="{1E1D14ED-E99F-E298-2F54-F4A2D18E10BB}"/>
                    </a:ext>
                  </a:extLst>
                </p:cNvPr>
                <p:cNvGrpSpPr/>
                <p:nvPr/>
              </p:nvGrpSpPr>
              <p:grpSpPr>
                <a:xfrm>
                  <a:off x="10114585" y="3121636"/>
                  <a:ext cx="71148" cy="71238"/>
                  <a:chOff x="6005114" y="3701354"/>
                  <a:chExt cx="71148" cy="71238"/>
                </a:xfrm>
              </p:grpSpPr>
              <p:sp>
                <p:nvSpPr>
                  <p:cNvPr id="18092" name="Freeform: Shape 18091">
                    <a:extLst>
                      <a:ext uri="{FF2B5EF4-FFF2-40B4-BE49-F238E27FC236}">
                        <a16:creationId xmlns:a16="http://schemas.microsoft.com/office/drawing/2014/main" id="{9955E978-3152-ACA7-1AA3-66FE938AAA60}"/>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93" name="Freeform: Shape 18092">
                    <a:extLst>
                      <a:ext uri="{FF2B5EF4-FFF2-40B4-BE49-F238E27FC236}">
                        <a16:creationId xmlns:a16="http://schemas.microsoft.com/office/drawing/2014/main" id="{5364F86A-9A1B-AF02-A0BF-412310206B4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8" name="Group 17977">
                  <a:extLst>
                    <a:ext uri="{FF2B5EF4-FFF2-40B4-BE49-F238E27FC236}">
                      <a16:creationId xmlns:a16="http://schemas.microsoft.com/office/drawing/2014/main" id="{5682AC5B-0920-F36B-45A3-AF9FE441BBAD}"/>
                    </a:ext>
                  </a:extLst>
                </p:cNvPr>
                <p:cNvGrpSpPr/>
                <p:nvPr/>
              </p:nvGrpSpPr>
              <p:grpSpPr>
                <a:xfrm>
                  <a:off x="10159829" y="3121636"/>
                  <a:ext cx="71148" cy="71238"/>
                  <a:chOff x="6005114" y="3701354"/>
                  <a:chExt cx="71148" cy="71238"/>
                </a:xfrm>
              </p:grpSpPr>
              <p:sp>
                <p:nvSpPr>
                  <p:cNvPr id="18090" name="Freeform: Shape 18089">
                    <a:extLst>
                      <a:ext uri="{FF2B5EF4-FFF2-40B4-BE49-F238E27FC236}">
                        <a16:creationId xmlns:a16="http://schemas.microsoft.com/office/drawing/2014/main" id="{AD52BB87-B01E-8031-2359-B2FB5F0465D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91" name="Freeform: Shape 18090">
                    <a:extLst>
                      <a:ext uri="{FF2B5EF4-FFF2-40B4-BE49-F238E27FC236}">
                        <a16:creationId xmlns:a16="http://schemas.microsoft.com/office/drawing/2014/main" id="{A0F232E9-9433-CE58-3B69-4F2CAE76321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79" name="Group 17978">
                  <a:extLst>
                    <a:ext uri="{FF2B5EF4-FFF2-40B4-BE49-F238E27FC236}">
                      <a16:creationId xmlns:a16="http://schemas.microsoft.com/office/drawing/2014/main" id="{2B144C9F-6993-5060-D1C0-816CDA79CC03}"/>
                    </a:ext>
                  </a:extLst>
                </p:cNvPr>
                <p:cNvGrpSpPr/>
                <p:nvPr/>
              </p:nvGrpSpPr>
              <p:grpSpPr>
                <a:xfrm>
                  <a:off x="10183641" y="3121636"/>
                  <a:ext cx="71148" cy="71238"/>
                  <a:chOff x="6005114" y="3701354"/>
                  <a:chExt cx="71148" cy="71238"/>
                </a:xfrm>
              </p:grpSpPr>
              <p:sp>
                <p:nvSpPr>
                  <p:cNvPr id="18088" name="Freeform: Shape 18087">
                    <a:extLst>
                      <a:ext uri="{FF2B5EF4-FFF2-40B4-BE49-F238E27FC236}">
                        <a16:creationId xmlns:a16="http://schemas.microsoft.com/office/drawing/2014/main" id="{B0AB7875-EB10-5E31-EDAA-2E61E63ADCF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89" name="Freeform: Shape 18088">
                    <a:extLst>
                      <a:ext uri="{FF2B5EF4-FFF2-40B4-BE49-F238E27FC236}">
                        <a16:creationId xmlns:a16="http://schemas.microsoft.com/office/drawing/2014/main" id="{903E22D7-E588-598F-EEFF-6195DFAD1F7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0" name="Group 17979">
                  <a:extLst>
                    <a:ext uri="{FF2B5EF4-FFF2-40B4-BE49-F238E27FC236}">
                      <a16:creationId xmlns:a16="http://schemas.microsoft.com/office/drawing/2014/main" id="{42AC8FBF-891B-5F8C-A4A0-F9876583B03E}"/>
                    </a:ext>
                  </a:extLst>
                </p:cNvPr>
                <p:cNvGrpSpPr/>
                <p:nvPr/>
              </p:nvGrpSpPr>
              <p:grpSpPr>
                <a:xfrm>
                  <a:off x="10226504" y="3121636"/>
                  <a:ext cx="71148" cy="71238"/>
                  <a:chOff x="6005114" y="3701354"/>
                  <a:chExt cx="71148" cy="71238"/>
                </a:xfrm>
              </p:grpSpPr>
              <p:sp>
                <p:nvSpPr>
                  <p:cNvPr id="18086" name="Freeform: Shape 18085">
                    <a:extLst>
                      <a:ext uri="{FF2B5EF4-FFF2-40B4-BE49-F238E27FC236}">
                        <a16:creationId xmlns:a16="http://schemas.microsoft.com/office/drawing/2014/main" id="{364FBA4C-F67A-79C0-4068-8BC989036E6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87" name="Freeform: Shape 18086">
                    <a:extLst>
                      <a:ext uri="{FF2B5EF4-FFF2-40B4-BE49-F238E27FC236}">
                        <a16:creationId xmlns:a16="http://schemas.microsoft.com/office/drawing/2014/main" id="{87318D21-89A9-7F41-4739-5E8B6678227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1" name="Group 17980">
                  <a:extLst>
                    <a:ext uri="{FF2B5EF4-FFF2-40B4-BE49-F238E27FC236}">
                      <a16:creationId xmlns:a16="http://schemas.microsoft.com/office/drawing/2014/main" id="{62AC4113-111C-B96C-CD5C-F9A19AB524C3}"/>
                    </a:ext>
                  </a:extLst>
                </p:cNvPr>
                <p:cNvGrpSpPr/>
                <p:nvPr/>
              </p:nvGrpSpPr>
              <p:grpSpPr>
                <a:xfrm>
                  <a:off x="10238410" y="3121636"/>
                  <a:ext cx="71148" cy="71238"/>
                  <a:chOff x="6005114" y="3701354"/>
                  <a:chExt cx="71148" cy="71238"/>
                </a:xfrm>
              </p:grpSpPr>
              <p:sp>
                <p:nvSpPr>
                  <p:cNvPr id="18084" name="Freeform: Shape 18083">
                    <a:extLst>
                      <a:ext uri="{FF2B5EF4-FFF2-40B4-BE49-F238E27FC236}">
                        <a16:creationId xmlns:a16="http://schemas.microsoft.com/office/drawing/2014/main" id="{A3DD27AE-2923-7EDA-B020-B6BD498390A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85" name="Freeform: Shape 18084">
                    <a:extLst>
                      <a:ext uri="{FF2B5EF4-FFF2-40B4-BE49-F238E27FC236}">
                        <a16:creationId xmlns:a16="http://schemas.microsoft.com/office/drawing/2014/main" id="{7F0DDC2F-27E8-5F82-A421-DAB06D7E5FF6}"/>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2" name="Group 17981">
                  <a:extLst>
                    <a:ext uri="{FF2B5EF4-FFF2-40B4-BE49-F238E27FC236}">
                      <a16:creationId xmlns:a16="http://schemas.microsoft.com/office/drawing/2014/main" id="{8DA9A142-ADCF-5673-DD9A-6AF386BBB372}"/>
                    </a:ext>
                  </a:extLst>
                </p:cNvPr>
                <p:cNvGrpSpPr/>
                <p:nvPr/>
              </p:nvGrpSpPr>
              <p:grpSpPr>
                <a:xfrm>
                  <a:off x="10308544" y="3119972"/>
                  <a:ext cx="71148" cy="71238"/>
                  <a:chOff x="6005114" y="3701354"/>
                  <a:chExt cx="71148" cy="71238"/>
                </a:xfrm>
              </p:grpSpPr>
              <p:sp>
                <p:nvSpPr>
                  <p:cNvPr id="18082" name="Freeform: Shape 18081">
                    <a:extLst>
                      <a:ext uri="{FF2B5EF4-FFF2-40B4-BE49-F238E27FC236}">
                        <a16:creationId xmlns:a16="http://schemas.microsoft.com/office/drawing/2014/main" id="{E5A126C7-AA2C-E7DE-0C6A-400188B04F01}"/>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83" name="Freeform: Shape 18082">
                    <a:extLst>
                      <a:ext uri="{FF2B5EF4-FFF2-40B4-BE49-F238E27FC236}">
                        <a16:creationId xmlns:a16="http://schemas.microsoft.com/office/drawing/2014/main" id="{7CD07610-01F2-7DE1-C7E1-973C5887264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3" name="Group 17982">
                  <a:extLst>
                    <a:ext uri="{FF2B5EF4-FFF2-40B4-BE49-F238E27FC236}">
                      <a16:creationId xmlns:a16="http://schemas.microsoft.com/office/drawing/2014/main" id="{0ADBFF84-1D2B-D818-AF63-99D8C65106F0}"/>
                    </a:ext>
                  </a:extLst>
                </p:cNvPr>
                <p:cNvGrpSpPr/>
                <p:nvPr/>
              </p:nvGrpSpPr>
              <p:grpSpPr>
                <a:xfrm>
                  <a:off x="10171735" y="3119972"/>
                  <a:ext cx="71148" cy="71238"/>
                  <a:chOff x="6005114" y="3701354"/>
                  <a:chExt cx="71148" cy="71238"/>
                </a:xfrm>
              </p:grpSpPr>
              <p:sp>
                <p:nvSpPr>
                  <p:cNvPr id="18080" name="Freeform: Shape 18079">
                    <a:extLst>
                      <a:ext uri="{FF2B5EF4-FFF2-40B4-BE49-F238E27FC236}">
                        <a16:creationId xmlns:a16="http://schemas.microsoft.com/office/drawing/2014/main" id="{405C56BD-258E-F876-5181-C937C865B37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81" name="Freeform: Shape 18080">
                    <a:extLst>
                      <a:ext uri="{FF2B5EF4-FFF2-40B4-BE49-F238E27FC236}">
                        <a16:creationId xmlns:a16="http://schemas.microsoft.com/office/drawing/2014/main" id="{5CDB7FAF-444E-4969-AE8D-95EC48A6EB0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4" name="Group 17983">
                  <a:extLst>
                    <a:ext uri="{FF2B5EF4-FFF2-40B4-BE49-F238E27FC236}">
                      <a16:creationId xmlns:a16="http://schemas.microsoft.com/office/drawing/2014/main" id="{0C36FE56-5E22-B1CB-D281-33521CB6F06A}"/>
                    </a:ext>
                  </a:extLst>
                </p:cNvPr>
                <p:cNvGrpSpPr/>
                <p:nvPr/>
              </p:nvGrpSpPr>
              <p:grpSpPr>
                <a:xfrm>
                  <a:off x="10357473" y="3149573"/>
                  <a:ext cx="71148" cy="71238"/>
                  <a:chOff x="6005114" y="3701354"/>
                  <a:chExt cx="71148" cy="71238"/>
                </a:xfrm>
              </p:grpSpPr>
              <p:sp>
                <p:nvSpPr>
                  <p:cNvPr id="18078" name="Freeform: Shape 18077">
                    <a:extLst>
                      <a:ext uri="{FF2B5EF4-FFF2-40B4-BE49-F238E27FC236}">
                        <a16:creationId xmlns:a16="http://schemas.microsoft.com/office/drawing/2014/main" id="{97CDF66F-7D6D-FD83-9699-FCFFC2C7A53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79" name="Freeform: Shape 18078">
                    <a:extLst>
                      <a:ext uri="{FF2B5EF4-FFF2-40B4-BE49-F238E27FC236}">
                        <a16:creationId xmlns:a16="http://schemas.microsoft.com/office/drawing/2014/main" id="{9BB915B3-30A0-DACD-5333-DADB13ABA5D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5" name="Group 17984">
                  <a:extLst>
                    <a:ext uri="{FF2B5EF4-FFF2-40B4-BE49-F238E27FC236}">
                      <a16:creationId xmlns:a16="http://schemas.microsoft.com/office/drawing/2014/main" id="{F8D3390A-C603-4DC2-05B1-1ADDEE92ED28}"/>
                    </a:ext>
                  </a:extLst>
                </p:cNvPr>
                <p:cNvGrpSpPr/>
                <p:nvPr/>
              </p:nvGrpSpPr>
              <p:grpSpPr>
                <a:xfrm>
                  <a:off x="10378904" y="3175190"/>
                  <a:ext cx="71148" cy="71238"/>
                  <a:chOff x="6005114" y="3701354"/>
                  <a:chExt cx="71148" cy="71238"/>
                </a:xfrm>
              </p:grpSpPr>
              <p:sp>
                <p:nvSpPr>
                  <p:cNvPr id="18076" name="Freeform: Shape 18075">
                    <a:extLst>
                      <a:ext uri="{FF2B5EF4-FFF2-40B4-BE49-F238E27FC236}">
                        <a16:creationId xmlns:a16="http://schemas.microsoft.com/office/drawing/2014/main" id="{9F3C4D4D-BC44-DBBC-2938-5749E29841F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77" name="Freeform: Shape 18076">
                    <a:extLst>
                      <a:ext uri="{FF2B5EF4-FFF2-40B4-BE49-F238E27FC236}">
                        <a16:creationId xmlns:a16="http://schemas.microsoft.com/office/drawing/2014/main" id="{9712E5EE-9342-1787-1662-3691443E74A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6" name="Group 17985">
                  <a:extLst>
                    <a:ext uri="{FF2B5EF4-FFF2-40B4-BE49-F238E27FC236}">
                      <a16:creationId xmlns:a16="http://schemas.microsoft.com/office/drawing/2014/main" id="{52E86DB2-5DC5-3ED2-0959-C31D72DF1E89}"/>
                    </a:ext>
                  </a:extLst>
                </p:cNvPr>
                <p:cNvGrpSpPr/>
                <p:nvPr/>
              </p:nvGrpSpPr>
              <p:grpSpPr>
                <a:xfrm>
                  <a:off x="10376522" y="3159098"/>
                  <a:ext cx="71148" cy="71238"/>
                  <a:chOff x="6005114" y="3701354"/>
                  <a:chExt cx="71148" cy="71238"/>
                </a:xfrm>
              </p:grpSpPr>
              <p:sp>
                <p:nvSpPr>
                  <p:cNvPr id="18074" name="Freeform: Shape 18073">
                    <a:extLst>
                      <a:ext uri="{FF2B5EF4-FFF2-40B4-BE49-F238E27FC236}">
                        <a16:creationId xmlns:a16="http://schemas.microsoft.com/office/drawing/2014/main" id="{B19EAA65-EC29-AC4E-A8A5-CE88111D0D9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75" name="Freeform: Shape 18074">
                    <a:extLst>
                      <a:ext uri="{FF2B5EF4-FFF2-40B4-BE49-F238E27FC236}">
                        <a16:creationId xmlns:a16="http://schemas.microsoft.com/office/drawing/2014/main" id="{8783252C-6B8C-58C2-68A1-8E0C22E31B2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7" name="Group 17986">
                  <a:extLst>
                    <a:ext uri="{FF2B5EF4-FFF2-40B4-BE49-F238E27FC236}">
                      <a16:creationId xmlns:a16="http://schemas.microsoft.com/office/drawing/2014/main" id="{40902337-B362-707F-0FCF-BB60A539A8C3}"/>
                    </a:ext>
                  </a:extLst>
                </p:cNvPr>
                <p:cNvGrpSpPr/>
                <p:nvPr/>
              </p:nvGrpSpPr>
              <p:grpSpPr>
                <a:xfrm>
                  <a:off x="10412241" y="3204118"/>
                  <a:ext cx="71148" cy="71238"/>
                  <a:chOff x="6005114" y="3701354"/>
                  <a:chExt cx="71148" cy="71238"/>
                </a:xfrm>
              </p:grpSpPr>
              <p:sp>
                <p:nvSpPr>
                  <p:cNvPr id="18072" name="Freeform: Shape 18071">
                    <a:extLst>
                      <a:ext uri="{FF2B5EF4-FFF2-40B4-BE49-F238E27FC236}">
                        <a16:creationId xmlns:a16="http://schemas.microsoft.com/office/drawing/2014/main" id="{9A43D2AC-A368-4FA5-A15A-C46362D60C9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73" name="Freeform: Shape 18072">
                    <a:extLst>
                      <a:ext uri="{FF2B5EF4-FFF2-40B4-BE49-F238E27FC236}">
                        <a16:creationId xmlns:a16="http://schemas.microsoft.com/office/drawing/2014/main" id="{5DB030AC-7398-223B-77B3-30E1514E39D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8" name="Group 17987">
                  <a:extLst>
                    <a:ext uri="{FF2B5EF4-FFF2-40B4-BE49-F238E27FC236}">
                      <a16:creationId xmlns:a16="http://schemas.microsoft.com/office/drawing/2014/main" id="{CB647042-AEF2-5C0D-C20A-1D7D2A89E9E3}"/>
                    </a:ext>
                  </a:extLst>
                </p:cNvPr>
                <p:cNvGrpSpPr/>
                <p:nvPr/>
              </p:nvGrpSpPr>
              <p:grpSpPr>
                <a:xfrm>
                  <a:off x="10564716" y="3204118"/>
                  <a:ext cx="71148" cy="71238"/>
                  <a:chOff x="6005114" y="3701354"/>
                  <a:chExt cx="71148" cy="71238"/>
                </a:xfrm>
              </p:grpSpPr>
              <p:sp>
                <p:nvSpPr>
                  <p:cNvPr id="18070" name="Freeform: Shape 18069">
                    <a:extLst>
                      <a:ext uri="{FF2B5EF4-FFF2-40B4-BE49-F238E27FC236}">
                        <a16:creationId xmlns:a16="http://schemas.microsoft.com/office/drawing/2014/main" id="{E159B6E6-B495-EAC7-EB57-3E3865F4D98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71" name="Freeform: Shape 18070">
                    <a:extLst>
                      <a:ext uri="{FF2B5EF4-FFF2-40B4-BE49-F238E27FC236}">
                        <a16:creationId xmlns:a16="http://schemas.microsoft.com/office/drawing/2014/main" id="{F4F7D551-E7A8-08A5-D78F-29C58412AF8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89" name="Group 17988">
                  <a:extLst>
                    <a:ext uri="{FF2B5EF4-FFF2-40B4-BE49-F238E27FC236}">
                      <a16:creationId xmlns:a16="http://schemas.microsoft.com/office/drawing/2014/main" id="{14B57980-F27B-91F0-267C-A2D54D40FDB0}"/>
                    </a:ext>
                  </a:extLst>
                </p:cNvPr>
                <p:cNvGrpSpPr/>
                <p:nvPr/>
              </p:nvGrpSpPr>
              <p:grpSpPr>
                <a:xfrm>
                  <a:off x="10564716" y="3235590"/>
                  <a:ext cx="71148" cy="71238"/>
                  <a:chOff x="6005114" y="3701354"/>
                  <a:chExt cx="71148" cy="71238"/>
                </a:xfrm>
              </p:grpSpPr>
              <p:sp>
                <p:nvSpPr>
                  <p:cNvPr id="18068" name="Freeform: Shape 18067">
                    <a:extLst>
                      <a:ext uri="{FF2B5EF4-FFF2-40B4-BE49-F238E27FC236}">
                        <a16:creationId xmlns:a16="http://schemas.microsoft.com/office/drawing/2014/main" id="{9ACB79F5-F3AB-034B-0470-93F42936EE0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69" name="Freeform: Shape 18068">
                    <a:extLst>
                      <a:ext uri="{FF2B5EF4-FFF2-40B4-BE49-F238E27FC236}">
                        <a16:creationId xmlns:a16="http://schemas.microsoft.com/office/drawing/2014/main" id="{5E451EB6-86D2-F4A3-2D9D-ACEF741082F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0" name="Group 17989">
                  <a:extLst>
                    <a:ext uri="{FF2B5EF4-FFF2-40B4-BE49-F238E27FC236}">
                      <a16:creationId xmlns:a16="http://schemas.microsoft.com/office/drawing/2014/main" id="{65E86947-EC99-5004-E32F-E0BDE8289E0A}"/>
                    </a:ext>
                  </a:extLst>
                </p:cNvPr>
                <p:cNvGrpSpPr/>
                <p:nvPr/>
              </p:nvGrpSpPr>
              <p:grpSpPr>
                <a:xfrm>
                  <a:off x="10625252" y="3294924"/>
                  <a:ext cx="71148" cy="71238"/>
                  <a:chOff x="6005114" y="3701354"/>
                  <a:chExt cx="71148" cy="71238"/>
                </a:xfrm>
              </p:grpSpPr>
              <p:sp>
                <p:nvSpPr>
                  <p:cNvPr id="18066" name="Freeform: Shape 18065">
                    <a:extLst>
                      <a:ext uri="{FF2B5EF4-FFF2-40B4-BE49-F238E27FC236}">
                        <a16:creationId xmlns:a16="http://schemas.microsoft.com/office/drawing/2014/main" id="{1C6EDE25-779A-7EDF-BC13-92A86BD324F4}"/>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67" name="Freeform: Shape 18066">
                    <a:extLst>
                      <a:ext uri="{FF2B5EF4-FFF2-40B4-BE49-F238E27FC236}">
                        <a16:creationId xmlns:a16="http://schemas.microsoft.com/office/drawing/2014/main" id="{C2C53367-6F76-8F5A-EFDD-2704769CDC0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1" name="Group 17990">
                  <a:extLst>
                    <a:ext uri="{FF2B5EF4-FFF2-40B4-BE49-F238E27FC236}">
                      <a16:creationId xmlns:a16="http://schemas.microsoft.com/office/drawing/2014/main" id="{E461B1B1-9A56-1B68-B3E0-AC65AE85238B}"/>
                    </a:ext>
                  </a:extLst>
                </p:cNvPr>
                <p:cNvGrpSpPr/>
                <p:nvPr/>
              </p:nvGrpSpPr>
              <p:grpSpPr>
                <a:xfrm>
                  <a:off x="10791939" y="3294924"/>
                  <a:ext cx="71148" cy="71238"/>
                  <a:chOff x="6005114" y="3701354"/>
                  <a:chExt cx="71148" cy="71238"/>
                </a:xfrm>
              </p:grpSpPr>
              <p:sp>
                <p:nvSpPr>
                  <p:cNvPr id="18064" name="Freeform: Shape 18063">
                    <a:extLst>
                      <a:ext uri="{FF2B5EF4-FFF2-40B4-BE49-F238E27FC236}">
                        <a16:creationId xmlns:a16="http://schemas.microsoft.com/office/drawing/2014/main" id="{949B10EA-D620-5049-8EDF-611AC6E649DF}"/>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65" name="Freeform: Shape 18064">
                    <a:extLst>
                      <a:ext uri="{FF2B5EF4-FFF2-40B4-BE49-F238E27FC236}">
                        <a16:creationId xmlns:a16="http://schemas.microsoft.com/office/drawing/2014/main" id="{6193CE11-47B5-F11D-22A3-724CCD65638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2" name="Group 17991">
                  <a:extLst>
                    <a:ext uri="{FF2B5EF4-FFF2-40B4-BE49-F238E27FC236}">
                      <a16:creationId xmlns:a16="http://schemas.microsoft.com/office/drawing/2014/main" id="{806B250A-2DD9-9DC2-F55A-2DD34AED8204}"/>
                    </a:ext>
                  </a:extLst>
                </p:cNvPr>
                <p:cNvGrpSpPr/>
                <p:nvPr/>
              </p:nvGrpSpPr>
              <p:grpSpPr>
                <a:xfrm>
                  <a:off x="10703833" y="3294924"/>
                  <a:ext cx="71148" cy="71238"/>
                  <a:chOff x="6005114" y="3701354"/>
                  <a:chExt cx="71148" cy="71238"/>
                </a:xfrm>
              </p:grpSpPr>
              <p:sp>
                <p:nvSpPr>
                  <p:cNvPr id="18062" name="Freeform: Shape 18061">
                    <a:extLst>
                      <a:ext uri="{FF2B5EF4-FFF2-40B4-BE49-F238E27FC236}">
                        <a16:creationId xmlns:a16="http://schemas.microsoft.com/office/drawing/2014/main" id="{5475168F-7FE8-DA7F-1660-1F03E013ED6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63" name="Freeform: Shape 18062">
                    <a:extLst>
                      <a:ext uri="{FF2B5EF4-FFF2-40B4-BE49-F238E27FC236}">
                        <a16:creationId xmlns:a16="http://schemas.microsoft.com/office/drawing/2014/main" id="{E730E0F7-0D01-F1FB-13CC-7CBE802F6D7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3" name="Group 17992">
                  <a:extLst>
                    <a:ext uri="{FF2B5EF4-FFF2-40B4-BE49-F238E27FC236}">
                      <a16:creationId xmlns:a16="http://schemas.microsoft.com/office/drawing/2014/main" id="{713CEB13-B489-97B6-AE47-DD60F48EBFFF}"/>
                    </a:ext>
                  </a:extLst>
                </p:cNvPr>
                <p:cNvGrpSpPr/>
                <p:nvPr/>
              </p:nvGrpSpPr>
              <p:grpSpPr>
                <a:xfrm>
                  <a:off x="10715739" y="3294924"/>
                  <a:ext cx="71148" cy="71238"/>
                  <a:chOff x="6005114" y="3701354"/>
                  <a:chExt cx="71148" cy="71238"/>
                </a:xfrm>
              </p:grpSpPr>
              <p:sp>
                <p:nvSpPr>
                  <p:cNvPr id="18060" name="Freeform: Shape 18059">
                    <a:extLst>
                      <a:ext uri="{FF2B5EF4-FFF2-40B4-BE49-F238E27FC236}">
                        <a16:creationId xmlns:a16="http://schemas.microsoft.com/office/drawing/2014/main" id="{4ADC718D-1579-4FCC-940B-5A648E1343D6}"/>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61" name="Freeform: Shape 18060">
                    <a:extLst>
                      <a:ext uri="{FF2B5EF4-FFF2-40B4-BE49-F238E27FC236}">
                        <a16:creationId xmlns:a16="http://schemas.microsoft.com/office/drawing/2014/main" id="{5CC7C3C0-F825-4153-2A63-3CC754F3613A}"/>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4" name="Group 17993">
                  <a:extLst>
                    <a:ext uri="{FF2B5EF4-FFF2-40B4-BE49-F238E27FC236}">
                      <a16:creationId xmlns:a16="http://schemas.microsoft.com/office/drawing/2014/main" id="{50542234-624E-AFD7-B072-BD492706398F}"/>
                    </a:ext>
                  </a:extLst>
                </p:cNvPr>
                <p:cNvGrpSpPr/>
                <p:nvPr/>
              </p:nvGrpSpPr>
              <p:grpSpPr>
                <a:xfrm>
                  <a:off x="10637158" y="3294924"/>
                  <a:ext cx="71148" cy="71238"/>
                  <a:chOff x="6005114" y="3701354"/>
                  <a:chExt cx="71148" cy="71238"/>
                </a:xfrm>
              </p:grpSpPr>
              <p:sp>
                <p:nvSpPr>
                  <p:cNvPr id="18058" name="Freeform: Shape 18057">
                    <a:extLst>
                      <a:ext uri="{FF2B5EF4-FFF2-40B4-BE49-F238E27FC236}">
                        <a16:creationId xmlns:a16="http://schemas.microsoft.com/office/drawing/2014/main" id="{C7786DAE-ADF6-489A-6504-91F34208AED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59" name="Freeform: Shape 18058">
                    <a:extLst>
                      <a:ext uri="{FF2B5EF4-FFF2-40B4-BE49-F238E27FC236}">
                        <a16:creationId xmlns:a16="http://schemas.microsoft.com/office/drawing/2014/main" id="{80B421D3-8024-B15B-58B5-857D35CECF6D}"/>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5" name="Group 17994">
                  <a:extLst>
                    <a:ext uri="{FF2B5EF4-FFF2-40B4-BE49-F238E27FC236}">
                      <a16:creationId xmlns:a16="http://schemas.microsoft.com/office/drawing/2014/main" id="{CB851338-4743-9037-0727-1071B6C85D34}"/>
                    </a:ext>
                  </a:extLst>
                </p:cNvPr>
                <p:cNvGrpSpPr/>
                <p:nvPr/>
              </p:nvGrpSpPr>
              <p:grpSpPr>
                <a:xfrm>
                  <a:off x="10765746" y="3294924"/>
                  <a:ext cx="71148" cy="71238"/>
                  <a:chOff x="6005114" y="3701354"/>
                  <a:chExt cx="71148" cy="71238"/>
                </a:xfrm>
              </p:grpSpPr>
              <p:sp>
                <p:nvSpPr>
                  <p:cNvPr id="18056" name="Freeform: Shape 18055">
                    <a:extLst>
                      <a:ext uri="{FF2B5EF4-FFF2-40B4-BE49-F238E27FC236}">
                        <a16:creationId xmlns:a16="http://schemas.microsoft.com/office/drawing/2014/main" id="{B592BBE7-3602-6163-1CF6-E6F88D79416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57" name="Freeform: Shape 18056">
                    <a:extLst>
                      <a:ext uri="{FF2B5EF4-FFF2-40B4-BE49-F238E27FC236}">
                        <a16:creationId xmlns:a16="http://schemas.microsoft.com/office/drawing/2014/main" id="{0A905FD7-932D-DC07-A585-05AA3649683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6" name="Group 17995">
                  <a:extLst>
                    <a:ext uri="{FF2B5EF4-FFF2-40B4-BE49-F238E27FC236}">
                      <a16:creationId xmlns:a16="http://schemas.microsoft.com/office/drawing/2014/main" id="{AE9871B4-063D-B57E-4705-B4ED0869372A}"/>
                    </a:ext>
                  </a:extLst>
                </p:cNvPr>
                <p:cNvGrpSpPr/>
                <p:nvPr/>
              </p:nvGrpSpPr>
              <p:grpSpPr>
                <a:xfrm>
                  <a:off x="10777652" y="3294924"/>
                  <a:ext cx="71148" cy="71238"/>
                  <a:chOff x="6005114" y="3701354"/>
                  <a:chExt cx="71148" cy="71238"/>
                </a:xfrm>
              </p:grpSpPr>
              <p:sp>
                <p:nvSpPr>
                  <p:cNvPr id="18054" name="Freeform: Shape 18053">
                    <a:extLst>
                      <a:ext uri="{FF2B5EF4-FFF2-40B4-BE49-F238E27FC236}">
                        <a16:creationId xmlns:a16="http://schemas.microsoft.com/office/drawing/2014/main" id="{FDB1BF8E-230E-6F49-F8B9-C7F7FA9CED6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55" name="Freeform: Shape 18054">
                    <a:extLst>
                      <a:ext uri="{FF2B5EF4-FFF2-40B4-BE49-F238E27FC236}">
                        <a16:creationId xmlns:a16="http://schemas.microsoft.com/office/drawing/2014/main" id="{CCF2894F-6AA3-1C45-E9D9-19BBE94D46E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7" name="Group 17996">
                  <a:extLst>
                    <a:ext uri="{FF2B5EF4-FFF2-40B4-BE49-F238E27FC236}">
                      <a16:creationId xmlns:a16="http://schemas.microsoft.com/office/drawing/2014/main" id="{53AFC46D-9630-A1EF-2DBA-C7F59C16ECC0}"/>
                    </a:ext>
                  </a:extLst>
                </p:cNvPr>
                <p:cNvGrpSpPr/>
                <p:nvPr/>
              </p:nvGrpSpPr>
              <p:grpSpPr>
                <a:xfrm>
                  <a:off x="10799082" y="3333281"/>
                  <a:ext cx="71148" cy="71238"/>
                  <a:chOff x="6005114" y="3701354"/>
                  <a:chExt cx="71148" cy="71238"/>
                </a:xfrm>
              </p:grpSpPr>
              <p:sp>
                <p:nvSpPr>
                  <p:cNvPr id="18052" name="Freeform: Shape 18051">
                    <a:extLst>
                      <a:ext uri="{FF2B5EF4-FFF2-40B4-BE49-F238E27FC236}">
                        <a16:creationId xmlns:a16="http://schemas.microsoft.com/office/drawing/2014/main" id="{DF19189E-DA4E-37C0-45EC-F89B90E6428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53" name="Freeform: Shape 18052">
                    <a:extLst>
                      <a:ext uri="{FF2B5EF4-FFF2-40B4-BE49-F238E27FC236}">
                        <a16:creationId xmlns:a16="http://schemas.microsoft.com/office/drawing/2014/main" id="{ADE963E7-E576-421C-FA26-B3DAE161F5D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8" name="Group 17997">
                  <a:extLst>
                    <a:ext uri="{FF2B5EF4-FFF2-40B4-BE49-F238E27FC236}">
                      <a16:creationId xmlns:a16="http://schemas.microsoft.com/office/drawing/2014/main" id="{02F9CBF5-6A02-E3F0-04AB-473C5E18CDBB}"/>
                    </a:ext>
                  </a:extLst>
                </p:cNvPr>
                <p:cNvGrpSpPr/>
                <p:nvPr/>
              </p:nvGrpSpPr>
              <p:grpSpPr>
                <a:xfrm>
                  <a:off x="10949102" y="3338043"/>
                  <a:ext cx="71148" cy="71238"/>
                  <a:chOff x="6005114" y="3701354"/>
                  <a:chExt cx="71148" cy="71238"/>
                </a:xfrm>
              </p:grpSpPr>
              <p:sp>
                <p:nvSpPr>
                  <p:cNvPr id="18050" name="Freeform: Shape 18049">
                    <a:extLst>
                      <a:ext uri="{FF2B5EF4-FFF2-40B4-BE49-F238E27FC236}">
                        <a16:creationId xmlns:a16="http://schemas.microsoft.com/office/drawing/2014/main" id="{B94BEE84-AB72-C796-DC74-1A9D2D360C5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51" name="Freeform: Shape 18050">
                    <a:extLst>
                      <a:ext uri="{FF2B5EF4-FFF2-40B4-BE49-F238E27FC236}">
                        <a16:creationId xmlns:a16="http://schemas.microsoft.com/office/drawing/2014/main" id="{849FC2AC-9B10-0E9B-403B-CDC5E02D4A3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7999" name="Group 17998">
                  <a:extLst>
                    <a:ext uri="{FF2B5EF4-FFF2-40B4-BE49-F238E27FC236}">
                      <a16:creationId xmlns:a16="http://schemas.microsoft.com/office/drawing/2014/main" id="{2E4A156A-7ACB-8698-2126-6EBB0677F1E3}"/>
                    </a:ext>
                  </a:extLst>
                </p:cNvPr>
                <p:cNvGrpSpPr/>
                <p:nvPr/>
              </p:nvGrpSpPr>
              <p:grpSpPr>
                <a:xfrm>
                  <a:off x="10872901" y="3338043"/>
                  <a:ext cx="71148" cy="71238"/>
                  <a:chOff x="6005114" y="3701354"/>
                  <a:chExt cx="71148" cy="71238"/>
                </a:xfrm>
              </p:grpSpPr>
              <p:sp>
                <p:nvSpPr>
                  <p:cNvPr id="18048" name="Freeform: Shape 18047">
                    <a:extLst>
                      <a:ext uri="{FF2B5EF4-FFF2-40B4-BE49-F238E27FC236}">
                        <a16:creationId xmlns:a16="http://schemas.microsoft.com/office/drawing/2014/main" id="{7D98A1E0-D274-D30F-31AE-1CBD560DD66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49" name="Freeform: Shape 18048">
                    <a:extLst>
                      <a:ext uri="{FF2B5EF4-FFF2-40B4-BE49-F238E27FC236}">
                        <a16:creationId xmlns:a16="http://schemas.microsoft.com/office/drawing/2014/main" id="{36F25031-9971-22E5-9C43-BF67FC331BF3}"/>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0" name="Group 17999">
                  <a:extLst>
                    <a:ext uri="{FF2B5EF4-FFF2-40B4-BE49-F238E27FC236}">
                      <a16:creationId xmlns:a16="http://schemas.microsoft.com/office/drawing/2014/main" id="{1DF32F2D-4A3E-6E7A-10FC-8A2E4D2E5559}"/>
                    </a:ext>
                  </a:extLst>
                </p:cNvPr>
                <p:cNvGrpSpPr/>
                <p:nvPr/>
              </p:nvGrpSpPr>
              <p:grpSpPr>
                <a:xfrm>
                  <a:off x="10977676" y="3338043"/>
                  <a:ext cx="71148" cy="71238"/>
                  <a:chOff x="6005114" y="3701354"/>
                  <a:chExt cx="71148" cy="71238"/>
                </a:xfrm>
              </p:grpSpPr>
              <p:sp>
                <p:nvSpPr>
                  <p:cNvPr id="18046" name="Freeform: Shape 18045">
                    <a:extLst>
                      <a:ext uri="{FF2B5EF4-FFF2-40B4-BE49-F238E27FC236}">
                        <a16:creationId xmlns:a16="http://schemas.microsoft.com/office/drawing/2014/main" id="{853A0D99-F39D-F65A-B78B-1540BDAD62A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47" name="Freeform: Shape 18046">
                    <a:extLst>
                      <a:ext uri="{FF2B5EF4-FFF2-40B4-BE49-F238E27FC236}">
                        <a16:creationId xmlns:a16="http://schemas.microsoft.com/office/drawing/2014/main" id="{7F0282C0-120A-2BD6-DCFB-9FE9E3C16AC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1" name="Group 18000">
                  <a:extLst>
                    <a:ext uri="{FF2B5EF4-FFF2-40B4-BE49-F238E27FC236}">
                      <a16:creationId xmlns:a16="http://schemas.microsoft.com/office/drawing/2014/main" id="{1E346938-65B1-74A6-9BE3-F4BAFC0F3FB3}"/>
                    </a:ext>
                  </a:extLst>
                </p:cNvPr>
                <p:cNvGrpSpPr/>
                <p:nvPr/>
              </p:nvGrpSpPr>
              <p:grpSpPr>
                <a:xfrm>
                  <a:off x="10832420" y="3338043"/>
                  <a:ext cx="71148" cy="71238"/>
                  <a:chOff x="6005114" y="3701354"/>
                  <a:chExt cx="71148" cy="71238"/>
                </a:xfrm>
              </p:grpSpPr>
              <p:sp>
                <p:nvSpPr>
                  <p:cNvPr id="18044" name="Freeform: Shape 18043">
                    <a:extLst>
                      <a:ext uri="{FF2B5EF4-FFF2-40B4-BE49-F238E27FC236}">
                        <a16:creationId xmlns:a16="http://schemas.microsoft.com/office/drawing/2014/main" id="{4359D144-3F8D-FC2B-2B43-9E08FDE28F6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45" name="Freeform: Shape 18044">
                    <a:extLst>
                      <a:ext uri="{FF2B5EF4-FFF2-40B4-BE49-F238E27FC236}">
                        <a16:creationId xmlns:a16="http://schemas.microsoft.com/office/drawing/2014/main" id="{9788F77B-4B97-4DB1-7998-B79BCD7F898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2" name="Group 18001">
                  <a:extLst>
                    <a:ext uri="{FF2B5EF4-FFF2-40B4-BE49-F238E27FC236}">
                      <a16:creationId xmlns:a16="http://schemas.microsoft.com/office/drawing/2014/main" id="{09BFA610-232A-12A4-ADB4-1C5E788C9A48}"/>
                    </a:ext>
                  </a:extLst>
                </p:cNvPr>
                <p:cNvGrpSpPr/>
                <p:nvPr/>
              </p:nvGrpSpPr>
              <p:grpSpPr>
                <a:xfrm>
                  <a:off x="10884808" y="3338043"/>
                  <a:ext cx="71148" cy="71238"/>
                  <a:chOff x="6005114" y="3701354"/>
                  <a:chExt cx="71148" cy="71238"/>
                </a:xfrm>
              </p:grpSpPr>
              <p:sp>
                <p:nvSpPr>
                  <p:cNvPr id="18042" name="Freeform: Shape 18041">
                    <a:extLst>
                      <a:ext uri="{FF2B5EF4-FFF2-40B4-BE49-F238E27FC236}">
                        <a16:creationId xmlns:a16="http://schemas.microsoft.com/office/drawing/2014/main" id="{CE73AFF5-8FEB-8A46-BCAC-446090D8107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43" name="Freeform: Shape 18042">
                    <a:extLst>
                      <a:ext uri="{FF2B5EF4-FFF2-40B4-BE49-F238E27FC236}">
                        <a16:creationId xmlns:a16="http://schemas.microsoft.com/office/drawing/2014/main" id="{F0C4EB0D-563E-0108-3BFE-9773D53AAC7E}"/>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3" name="Group 18002">
                  <a:extLst>
                    <a:ext uri="{FF2B5EF4-FFF2-40B4-BE49-F238E27FC236}">
                      <a16:creationId xmlns:a16="http://schemas.microsoft.com/office/drawing/2014/main" id="{D6610DC8-875A-AD41-FB1C-74C899CDF8E7}"/>
                    </a:ext>
                  </a:extLst>
                </p:cNvPr>
                <p:cNvGrpSpPr/>
                <p:nvPr/>
              </p:nvGrpSpPr>
              <p:grpSpPr>
                <a:xfrm>
                  <a:off x="10937196" y="3338043"/>
                  <a:ext cx="71148" cy="71238"/>
                  <a:chOff x="6005114" y="3701354"/>
                  <a:chExt cx="71148" cy="71238"/>
                </a:xfrm>
              </p:grpSpPr>
              <p:sp>
                <p:nvSpPr>
                  <p:cNvPr id="18040" name="Freeform: Shape 18039">
                    <a:extLst>
                      <a:ext uri="{FF2B5EF4-FFF2-40B4-BE49-F238E27FC236}">
                        <a16:creationId xmlns:a16="http://schemas.microsoft.com/office/drawing/2014/main" id="{BE0E31FB-0045-2FAC-64F0-EE76898CFDE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41" name="Freeform: Shape 18040">
                    <a:extLst>
                      <a:ext uri="{FF2B5EF4-FFF2-40B4-BE49-F238E27FC236}">
                        <a16:creationId xmlns:a16="http://schemas.microsoft.com/office/drawing/2014/main" id="{336FBFA4-BF48-3B87-510C-E160F3E742C5}"/>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4" name="Group 18003">
                  <a:extLst>
                    <a:ext uri="{FF2B5EF4-FFF2-40B4-BE49-F238E27FC236}">
                      <a16:creationId xmlns:a16="http://schemas.microsoft.com/office/drawing/2014/main" id="{ED7E23EA-6B3F-DADA-D9CC-84DC731D35A8}"/>
                    </a:ext>
                  </a:extLst>
                </p:cNvPr>
                <p:cNvGrpSpPr/>
                <p:nvPr/>
              </p:nvGrpSpPr>
              <p:grpSpPr>
                <a:xfrm>
                  <a:off x="11080071" y="3338043"/>
                  <a:ext cx="71148" cy="71238"/>
                  <a:chOff x="6005114" y="3701354"/>
                  <a:chExt cx="71148" cy="71238"/>
                </a:xfrm>
              </p:grpSpPr>
              <p:sp>
                <p:nvSpPr>
                  <p:cNvPr id="18038" name="Freeform: Shape 18037">
                    <a:extLst>
                      <a:ext uri="{FF2B5EF4-FFF2-40B4-BE49-F238E27FC236}">
                        <a16:creationId xmlns:a16="http://schemas.microsoft.com/office/drawing/2014/main" id="{75CFF938-36F8-BD36-179B-9F854CD770B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39" name="Freeform: Shape 18038">
                    <a:extLst>
                      <a:ext uri="{FF2B5EF4-FFF2-40B4-BE49-F238E27FC236}">
                        <a16:creationId xmlns:a16="http://schemas.microsoft.com/office/drawing/2014/main" id="{315033A3-6F11-B8B5-57C2-BA1C13ED827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5" name="Group 18004">
                  <a:extLst>
                    <a:ext uri="{FF2B5EF4-FFF2-40B4-BE49-F238E27FC236}">
                      <a16:creationId xmlns:a16="http://schemas.microsoft.com/office/drawing/2014/main" id="{DF134B57-8981-56B5-CF27-B904B5368817}"/>
                    </a:ext>
                  </a:extLst>
                </p:cNvPr>
                <p:cNvGrpSpPr/>
                <p:nvPr/>
              </p:nvGrpSpPr>
              <p:grpSpPr>
                <a:xfrm>
                  <a:off x="11113407" y="3338043"/>
                  <a:ext cx="71148" cy="71238"/>
                  <a:chOff x="6005114" y="3701354"/>
                  <a:chExt cx="71148" cy="71238"/>
                </a:xfrm>
              </p:grpSpPr>
              <p:sp>
                <p:nvSpPr>
                  <p:cNvPr id="18036" name="Freeform: Shape 18035">
                    <a:extLst>
                      <a:ext uri="{FF2B5EF4-FFF2-40B4-BE49-F238E27FC236}">
                        <a16:creationId xmlns:a16="http://schemas.microsoft.com/office/drawing/2014/main" id="{146EC5CA-41F9-7736-8131-DB43752FD1A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37" name="Freeform: Shape 18036">
                    <a:extLst>
                      <a:ext uri="{FF2B5EF4-FFF2-40B4-BE49-F238E27FC236}">
                        <a16:creationId xmlns:a16="http://schemas.microsoft.com/office/drawing/2014/main" id="{3C190AF2-0B9E-DD1A-CA8E-6EB2AEA132CF}"/>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6" name="Group 18005">
                  <a:extLst>
                    <a:ext uri="{FF2B5EF4-FFF2-40B4-BE49-F238E27FC236}">
                      <a16:creationId xmlns:a16="http://schemas.microsoft.com/office/drawing/2014/main" id="{3EC05DCD-328B-AD15-5298-DA0085EF62AD}"/>
                    </a:ext>
                  </a:extLst>
                </p:cNvPr>
                <p:cNvGrpSpPr/>
                <p:nvPr/>
              </p:nvGrpSpPr>
              <p:grpSpPr>
                <a:xfrm>
                  <a:off x="11182463" y="3338043"/>
                  <a:ext cx="71148" cy="71238"/>
                  <a:chOff x="6005114" y="3701354"/>
                  <a:chExt cx="71148" cy="71238"/>
                </a:xfrm>
              </p:grpSpPr>
              <p:sp>
                <p:nvSpPr>
                  <p:cNvPr id="18034" name="Freeform: Shape 18033">
                    <a:extLst>
                      <a:ext uri="{FF2B5EF4-FFF2-40B4-BE49-F238E27FC236}">
                        <a16:creationId xmlns:a16="http://schemas.microsoft.com/office/drawing/2014/main" id="{6767660B-C3A3-21CB-181A-EBAA12AC03F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35" name="Freeform: Shape 18034">
                    <a:extLst>
                      <a:ext uri="{FF2B5EF4-FFF2-40B4-BE49-F238E27FC236}">
                        <a16:creationId xmlns:a16="http://schemas.microsoft.com/office/drawing/2014/main" id="{A5BBBBE8-2AEF-434A-026C-65BD18D42C1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7" name="Group 18006">
                  <a:extLst>
                    <a:ext uri="{FF2B5EF4-FFF2-40B4-BE49-F238E27FC236}">
                      <a16:creationId xmlns:a16="http://schemas.microsoft.com/office/drawing/2014/main" id="{AB4D1FB6-FBF9-CF50-4FC7-155A101D4369}"/>
                    </a:ext>
                  </a:extLst>
                </p:cNvPr>
                <p:cNvGrpSpPr/>
                <p:nvPr/>
              </p:nvGrpSpPr>
              <p:grpSpPr>
                <a:xfrm>
                  <a:off x="11194370" y="3338043"/>
                  <a:ext cx="71148" cy="71238"/>
                  <a:chOff x="6005114" y="3701354"/>
                  <a:chExt cx="71148" cy="71238"/>
                </a:xfrm>
              </p:grpSpPr>
              <p:sp>
                <p:nvSpPr>
                  <p:cNvPr id="18032" name="Freeform: Shape 18031">
                    <a:extLst>
                      <a:ext uri="{FF2B5EF4-FFF2-40B4-BE49-F238E27FC236}">
                        <a16:creationId xmlns:a16="http://schemas.microsoft.com/office/drawing/2014/main" id="{A97D9C71-2446-FE89-90A7-C9D5096B511E}"/>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33" name="Freeform: Shape 18032">
                    <a:extLst>
                      <a:ext uri="{FF2B5EF4-FFF2-40B4-BE49-F238E27FC236}">
                        <a16:creationId xmlns:a16="http://schemas.microsoft.com/office/drawing/2014/main" id="{57C2C848-C2BF-9843-4E19-832F45643EB9}"/>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8" name="Group 18007">
                  <a:extLst>
                    <a:ext uri="{FF2B5EF4-FFF2-40B4-BE49-F238E27FC236}">
                      <a16:creationId xmlns:a16="http://schemas.microsoft.com/office/drawing/2014/main" id="{387E4207-39C5-7546-FA09-5BB7EF2FCC13}"/>
                    </a:ext>
                  </a:extLst>
                </p:cNvPr>
                <p:cNvGrpSpPr/>
                <p:nvPr/>
              </p:nvGrpSpPr>
              <p:grpSpPr>
                <a:xfrm>
                  <a:off x="11206276" y="3338043"/>
                  <a:ext cx="71148" cy="71238"/>
                  <a:chOff x="6005114" y="3701354"/>
                  <a:chExt cx="71148" cy="71238"/>
                </a:xfrm>
              </p:grpSpPr>
              <p:sp>
                <p:nvSpPr>
                  <p:cNvPr id="18030" name="Freeform: Shape 18029">
                    <a:extLst>
                      <a:ext uri="{FF2B5EF4-FFF2-40B4-BE49-F238E27FC236}">
                        <a16:creationId xmlns:a16="http://schemas.microsoft.com/office/drawing/2014/main" id="{E65ECE8C-090E-66D0-EE0D-1773B7EC53AC}"/>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31" name="Freeform: Shape 18030">
                    <a:extLst>
                      <a:ext uri="{FF2B5EF4-FFF2-40B4-BE49-F238E27FC236}">
                        <a16:creationId xmlns:a16="http://schemas.microsoft.com/office/drawing/2014/main" id="{6BCD148E-2423-B047-CFDE-8E9B0B1669D4}"/>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09" name="Group 18008">
                  <a:extLst>
                    <a:ext uri="{FF2B5EF4-FFF2-40B4-BE49-F238E27FC236}">
                      <a16:creationId xmlns:a16="http://schemas.microsoft.com/office/drawing/2014/main" id="{30B082FE-D0E4-C0DC-274B-001FC059A6B2}"/>
                    </a:ext>
                  </a:extLst>
                </p:cNvPr>
                <p:cNvGrpSpPr/>
                <p:nvPr/>
              </p:nvGrpSpPr>
              <p:grpSpPr>
                <a:xfrm>
                  <a:off x="11275333" y="3338043"/>
                  <a:ext cx="71148" cy="71238"/>
                  <a:chOff x="6005114" y="3701354"/>
                  <a:chExt cx="71148" cy="71238"/>
                </a:xfrm>
              </p:grpSpPr>
              <p:sp>
                <p:nvSpPr>
                  <p:cNvPr id="18028" name="Freeform: Shape 18027">
                    <a:extLst>
                      <a:ext uri="{FF2B5EF4-FFF2-40B4-BE49-F238E27FC236}">
                        <a16:creationId xmlns:a16="http://schemas.microsoft.com/office/drawing/2014/main" id="{BBB84EC3-94B1-F3AF-05D2-90A8AE087AC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29" name="Freeform: Shape 18028">
                    <a:extLst>
                      <a:ext uri="{FF2B5EF4-FFF2-40B4-BE49-F238E27FC236}">
                        <a16:creationId xmlns:a16="http://schemas.microsoft.com/office/drawing/2014/main" id="{C606E02F-069D-B1AA-2558-AA9391A418B8}"/>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0" name="Group 18009">
                  <a:extLst>
                    <a:ext uri="{FF2B5EF4-FFF2-40B4-BE49-F238E27FC236}">
                      <a16:creationId xmlns:a16="http://schemas.microsoft.com/office/drawing/2014/main" id="{26FB586A-2DAA-913C-11E3-5A40C810F0FA}"/>
                    </a:ext>
                  </a:extLst>
                </p:cNvPr>
                <p:cNvGrpSpPr/>
                <p:nvPr/>
              </p:nvGrpSpPr>
              <p:grpSpPr>
                <a:xfrm>
                  <a:off x="11356295" y="3581625"/>
                  <a:ext cx="71148" cy="71238"/>
                  <a:chOff x="6005114" y="3701354"/>
                  <a:chExt cx="71148" cy="71238"/>
                </a:xfrm>
              </p:grpSpPr>
              <p:sp>
                <p:nvSpPr>
                  <p:cNvPr id="18026" name="Freeform: Shape 18025">
                    <a:extLst>
                      <a:ext uri="{FF2B5EF4-FFF2-40B4-BE49-F238E27FC236}">
                        <a16:creationId xmlns:a16="http://schemas.microsoft.com/office/drawing/2014/main" id="{914F9E71-6E2F-D213-51F4-F422A40FEB6A}"/>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27" name="Freeform: Shape 18026">
                    <a:extLst>
                      <a:ext uri="{FF2B5EF4-FFF2-40B4-BE49-F238E27FC236}">
                        <a16:creationId xmlns:a16="http://schemas.microsoft.com/office/drawing/2014/main" id="{9DF088CB-874E-0CF3-2C59-3AFE3C1FCD57}"/>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1" name="Group 18010">
                  <a:extLst>
                    <a:ext uri="{FF2B5EF4-FFF2-40B4-BE49-F238E27FC236}">
                      <a16:creationId xmlns:a16="http://schemas.microsoft.com/office/drawing/2014/main" id="{FFF44544-267B-1435-A344-09C037BF037B}"/>
                    </a:ext>
                  </a:extLst>
                </p:cNvPr>
                <p:cNvGrpSpPr/>
                <p:nvPr/>
              </p:nvGrpSpPr>
              <p:grpSpPr>
                <a:xfrm>
                  <a:off x="11389632" y="3581625"/>
                  <a:ext cx="71148" cy="71238"/>
                  <a:chOff x="6005114" y="3701354"/>
                  <a:chExt cx="71148" cy="71238"/>
                </a:xfrm>
              </p:grpSpPr>
              <p:sp>
                <p:nvSpPr>
                  <p:cNvPr id="18024" name="Freeform: Shape 18023">
                    <a:extLst>
                      <a:ext uri="{FF2B5EF4-FFF2-40B4-BE49-F238E27FC236}">
                        <a16:creationId xmlns:a16="http://schemas.microsoft.com/office/drawing/2014/main" id="{233ADDD4-8F1A-BEE5-6463-4BE7D1AB44BD}"/>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25" name="Freeform: Shape 18024">
                    <a:extLst>
                      <a:ext uri="{FF2B5EF4-FFF2-40B4-BE49-F238E27FC236}">
                        <a16:creationId xmlns:a16="http://schemas.microsoft.com/office/drawing/2014/main" id="{4372D9AB-C265-33E6-DD5C-CF5428184EE0}"/>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2" name="Group 18011">
                  <a:extLst>
                    <a:ext uri="{FF2B5EF4-FFF2-40B4-BE49-F238E27FC236}">
                      <a16:creationId xmlns:a16="http://schemas.microsoft.com/office/drawing/2014/main" id="{8E633DA7-C7E9-5DB0-2C5B-8941FC046AFF}"/>
                    </a:ext>
                  </a:extLst>
                </p:cNvPr>
                <p:cNvGrpSpPr/>
                <p:nvPr/>
              </p:nvGrpSpPr>
              <p:grpSpPr>
                <a:xfrm>
                  <a:off x="11460941" y="3581625"/>
                  <a:ext cx="71148" cy="71238"/>
                  <a:chOff x="6005114" y="3701354"/>
                  <a:chExt cx="71148" cy="71238"/>
                </a:xfrm>
              </p:grpSpPr>
              <p:sp>
                <p:nvSpPr>
                  <p:cNvPr id="18022" name="Freeform: Shape 18021">
                    <a:extLst>
                      <a:ext uri="{FF2B5EF4-FFF2-40B4-BE49-F238E27FC236}">
                        <a16:creationId xmlns:a16="http://schemas.microsoft.com/office/drawing/2014/main" id="{5F3F5975-D255-44CC-A294-2CC472292C52}"/>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23" name="Freeform: Shape 18022">
                    <a:extLst>
                      <a:ext uri="{FF2B5EF4-FFF2-40B4-BE49-F238E27FC236}">
                        <a16:creationId xmlns:a16="http://schemas.microsoft.com/office/drawing/2014/main" id="{AEB6F874-CC68-32F5-885C-A2FD620839B1}"/>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3" name="Group 18012">
                  <a:extLst>
                    <a:ext uri="{FF2B5EF4-FFF2-40B4-BE49-F238E27FC236}">
                      <a16:creationId xmlns:a16="http://schemas.microsoft.com/office/drawing/2014/main" id="{8D23D79F-76A1-F8B3-36A3-4FEF1E50D364}"/>
                    </a:ext>
                  </a:extLst>
                </p:cNvPr>
                <p:cNvGrpSpPr/>
                <p:nvPr/>
              </p:nvGrpSpPr>
              <p:grpSpPr>
                <a:xfrm>
                  <a:off x="11575370" y="3581625"/>
                  <a:ext cx="71148" cy="71238"/>
                  <a:chOff x="6005114" y="3701354"/>
                  <a:chExt cx="71148" cy="71238"/>
                </a:xfrm>
              </p:grpSpPr>
              <p:sp>
                <p:nvSpPr>
                  <p:cNvPr id="18020" name="Freeform: Shape 18019">
                    <a:extLst>
                      <a:ext uri="{FF2B5EF4-FFF2-40B4-BE49-F238E27FC236}">
                        <a16:creationId xmlns:a16="http://schemas.microsoft.com/office/drawing/2014/main" id="{F53789C7-EBEE-4C0C-4ABD-827284DDE4F5}"/>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21" name="Freeform: Shape 18020">
                    <a:extLst>
                      <a:ext uri="{FF2B5EF4-FFF2-40B4-BE49-F238E27FC236}">
                        <a16:creationId xmlns:a16="http://schemas.microsoft.com/office/drawing/2014/main" id="{45861027-90DB-5CA8-3B4C-67D1C72D2702}"/>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4" name="Group 18013">
                  <a:extLst>
                    <a:ext uri="{FF2B5EF4-FFF2-40B4-BE49-F238E27FC236}">
                      <a16:creationId xmlns:a16="http://schemas.microsoft.com/office/drawing/2014/main" id="{5B5216C9-B581-C13A-B3C1-B36CFB60B820}"/>
                    </a:ext>
                  </a:extLst>
                </p:cNvPr>
                <p:cNvGrpSpPr/>
                <p:nvPr/>
              </p:nvGrpSpPr>
              <p:grpSpPr>
                <a:xfrm>
                  <a:off x="11584895" y="3581625"/>
                  <a:ext cx="71148" cy="71238"/>
                  <a:chOff x="6005114" y="3701354"/>
                  <a:chExt cx="71148" cy="71238"/>
                </a:xfrm>
              </p:grpSpPr>
              <p:sp>
                <p:nvSpPr>
                  <p:cNvPr id="18018" name="Freeform: Shape 18017">
                    <a:extLst>
                      <a:ext uri="{FF2B5EF4-FFF2-40B4-BE49-F238E27FC236}">
                        <a16:creationId xmlns:a16="http://schemas.microsoft.com/office/drawing/2014/main" id="{B4DBC26B-4773-B761-563A-056D2261FECB}"/>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19" name="Freeform: Shape 18018">
                    <a:extLst>
                      <a:ext uri="{FF2B5EF4-FFF2-40B4-BE49-F238E27FC236}">
                        <a16:creationId xmlns:a16="http://schemas.microsoft.com/office/drawing/2014/main" id="{0180BD2A-32A3-5895-114E-755EC0F4C61B}"/>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nvGrpSpPr>
                <p:cNvPr id="18015" name="Group 18014">
                  <a:extLst>
                    <a:ext uri="{FF2B5EF4-FFF2-40B4-BE49-F238E27FC236}">
                      <a16:creationId xmlns:a16="http://schemas.microsoft.com/office/drawing/2014/main" id="{0E98C388-EE26-EDD4-C4F9-CE7F1488A2B0}"/>
                    </a:ext>
                  </a:extLst>
                </p:cNvPr>
                <p:cNvGrpSpPr/>
                <p:nvPr/>
              </p:nvGrpSpPr>
              <p:grpSpPr>
                <a:xfrm>
                  <a:off x="11613470" y="3581625"/>
                  <a:ext cx="71148" cy="71238"/>
                  <a:chOff x="6005114" y="3701354"/>
                  <a:chExt cx="71148" cy="71238"/>
                </a:xfrm>
              </p:grpSpPr>
              <p:sp>
                <p:nvSpPr>
                  <p:cNvPr id="18016" name="Freeform: Shape 18015">
                    <a:extLst>
                      <a:ext uri="{FF2B5EF4-FFF2-40B4-BE49-F238E27FC236}">
                        <a16:creationId xmlns:a16="http://schemas.microsoft.com/office/drawing/2014/main" id="{A5A21821-E801-7C6A-1ABB-1AC0E04112D7}"/>
                      </a:ext>
                    </a:extLst>
                  </p:cNvPr>
                  <p:cNvSpPr/>
                  <p:nvPr/>
                </p:nvSpPr>
                <p:spPr>
                  <a:xfrm>
                    <a:off x="6040688" y="3701354"/>
                    <a:ext cx="8961" cy="71238"/>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8017" name="Freeform: Shape 18016">
                    <a:extLst>
                      <a:ext uri="{FF2B5EF4-FFF2-40B4-BE49-F238E27FC236}">
                        <a16:creationId xmlns:a16="http://schemas.microsoft.com/office/drawing/2014/main" id="{ECAA8FB4-45B8-A691-6BDF-121132B2E5AC}"/>
                      </a:ext>
                    </a:extLst>
                  </p:cNvPr>
                  <p:cNvSpPr/>
                  <p:nvPr/>
                </p:nvSpPr>
                <p:spPr>
                  <a:xfrm>
                    <a:off x="6005114" y="3736929"/>
                    <a:ext cx="71148" cy="8961"/>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grpSp>
        </p:grpSp>
      </p:grpSp>
      <p:cxnSp>
        <p:nvCxnSpPr>
          <p:cNvPr id="4" name="Straight Connector 3">
            <a:extLst>
              <a:ext uri="{FF2B5EF4-FFF2-40B4-BE49-F238E27FC236}">
                <a16:creationId xmlns:a16="http://schemas.microsoft.com/office/drawing/2014/main" id="{B3F1EA62-F7D4-BF2D-9EED-DE212C1E209A}"/>
              </a:ext>
            </a:extLst>
          </p:cNvPr>
          <p:cNvCxnSpPr>
            <a:cxnSpLocks/>
          </p:cNvCxnSpPr>
          <p:nvPr/>
        </p:nvCxnSpPr>
        <p:spPr>
          <a:xfrm>
            <a:off x="8770207" y="3131323"/>
            <a:ext cx="0" cy="152164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4FB881A-B37E-9FC1-1211-6EA8D96D3606}"/>
              </a:ext>
            </a:extLst>
          </p:cNvPr>
          <p:cNvCxnSpPr>
            <a:cxnSpLocks/>
          </p:cNvCxnSpPr>
          <p:nvPr/>
        </p:nvCxnSpPr>
        <p:spPr>
          <a:xfrm>
            <a:off x="9830975" y="3138309"/>
            <a:ext cx="0" cy="151465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F838264-CCA8-27B1-CEBA-800698C91CEA}"/>
              </a:ext>
            </a:extLst>
          </p:cNvPr>
          <p:cNvSpPr txBox="1"/>
          <p:nvPr/>
        </p:nvSpPr>
        <p:spPr>
          <a:xfrm>
            <a:off x="6937724" y="3659421"/>
            <a:ext cx="1805882" cy="338554"/>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0006F"/>
                </a:solidFill>
                <a:effectLst/>
                <a:uLnTx/>
                <a:uFillTx/>
                <a:latin typeface="Arial Narrow" panose="020B0606020202030204" pitchFamily="34" charset="0"/>
                <a:ea typeface="+mn-ea"/>
                <a:cs typeface="+mn-cs"/>
              </a:rPr>
              <a:t>37.3 months</a:t>
            </a:r>
          </a:p>
        </p:txBody>
      </p:sp>
      <p:sp>
        <p:nvSpPr>
          <p:cNvPr id="9" name="TextBox 8">
            <a:extLst>
              <a:ext uri="{FF2B5EF4-FFF2-40B4-BE49-F238E27FC236}">
                <a16:creationId xmlns:a16="http://schemas.microsoft.com/office/drawing/2014/main" id="{8DE0F3F8-2508-9D27-D835-0CE6214C27A7}"/>
              </a:ext>
            </a:extLst>
          </p:cNvPr>
          <p:cNvSpPr txBox="1"/>
          <p:nvPr/>
        </p:nvSpPr>
        <p:spPr>
          <a:xfrm>
            <a:off x="9656668" y="3659421"/>
            <a:ext cx="1328663" cy="360000"/>
          </a:xfrm>
          <a:prstGeom prst="rect">
            <a:avLst/>
          </a:prstGeom>
          <a:noFill/>
        </p:spPr>
        <p:txBody>
          <a:bodyPr wrap="square" rtlCol="0">
            <a:no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42.5 months</a:t>
            </a:r>
          </a:p>
        </p:txBody>
      </p:sp>
      <p:cxnSp>
        <p:nvCxnSpPr>
          <p:cNvPr id="10" name="Straight Arrow Connector 9">
            <a:extLst>
              <a:ext uri="{FF2B5EF4-FFF2-40B4-BE49-F238E27FC236}">
                <a16:creationId xmlns:a16="http://schemas.microsoft.com/office/drawing/2014/main" id="{9065BF6E-22C8-5FEA-75C1-C14DCDD3BADE}"/>
              </a:ext>
            </a:extLst>
          </p:cNvPr>
          <p:cNvCxnSpPr>
            <a:cxnSpLocks/>
          </p:cNvCxnSpPr>
          <p:nvPr/>
        </p:nvCxnSpPr>
        <p:spPr>
          <a:xfrm>
            <a:off x="8769849" y="3964541"/>
            <a:ext cx="106112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C46233C-9F20-883C-1E85-C1B1F89FB5E5}"/>
              </a:ext>
            </a:extLst>
          </p:cNvPr>
          <p:cNvSpPr txBox="1"/>
          <p:nvPr/>
        </p:nvSpPr>
        <p:spPr>
          <a:xfrm>
            <a:off x="8766316" y="3665189"/>
            <a:ext cx="1520483" cy="338554"/>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5.2 months</a:t>
            </a:r>
          </a:p>
        </p:txBody>
      </p:sp>
      <p:graphicFrame>
        <p:nvGraphicFramePr>
          <p:cNvPr id="12" name="Table 11">
            <a:extLst>
              <a:ext uri="{FF2B5EF4-FFF2-40B4-BE49-F238E27FC236}">
                <a16:creationId xmlns:a16="http://schemas.microsoft.com/office/drawing/2014/main" id="{D9BBC711-759F-D299-C572-9ED76811BDA7}"/>
              </a:ext>
            </a:extLst>
          </p:cNvPr>
          <p:cNvGraphicFramePr>
            <a:graphicFrameLocks noGrp="1"/>
          </p:cNvGraphicFramePr>
          <p:nvPr/>
        </p:nvGraphicFramePr>
        <p:xfrm>
          <a:off x="6565138" y="1126277"/>
          <a:ext cx="5076000" cy="1646717"/>
        </p:xfrm>
        <a:graphic>
          <a:graphicData uri="http://schemas.openxmlformats.org/drawingml/2006/table">
            <a:tbl>
              <a:tblPr firstRow="1" firstCol="1" bandRow="1"/>
              <a:tblGrid>
                <a:gridCol w="2340000">
                  <a:extLst>
                    <a:ext uri="{9D8B030D-6E8A-4147-A177-3AD203B41FA5}">
                      <a16:colId xmlns:a16="http://schemas.microsoft.com/office/drawing/2014/main" val="2891963951"/>
                    </a:ext>
                  </a:extLst>
                </a:gridCol>
                <a:gridCol w="1368000">
                  <a:extLst>
                    <a:ext uri="{9D8B030D-6E8A-4147-A177-3AD203B41FA5}">
                      <a16:colId xmlns:a16="http://schemas.microsoft.com/office/drawing/2014/main" val="275263577"/>
                    </a:ext>
                  </a:extLst>
                </a:gridCol>
                <a:gridCol w="1368000">
                  <a:extLst>
                    <a:ext uri="{9D8B030D-6E8A-4147-A177-3AD203B41FA5}">
                      <a16:colId xmlns:a16="http://schemas.microsoft.com/office/drawing/2014/main" val="930621322"/>
                    </a:ext>
                  </a:extLst>
                </a:gridCol>
              </a:tblGrid>
              <a:tr h="30252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just">
                        <a:lnSpc>
                          <a:spcPct val="100000"/>
                        </a:lnSpc>
                        <a:spcAft>
                          <a:spcPts val="0"/>
                        </a:spcAft>
                      </a:pPr>
                      <a:r>
                        <a:rPr lang="en-US" sz="1400" noProof="0" dirty="0">
                          <a:effectLst/>
                          <a:latin typeface="Arial Narrow" panose="020B0606020202030204" pitchFamily="34" charset="0"/>
                        </a:rPr>
                        <a:t> </a:t>
                      </a:r>
                      <a:endParaRPr lang="en-US" sz="1400" noProof="0" dirty="0">
                        <a:effectLst/>
                        <a:latin typeface="Arial Narrow" panose="020B0606020202030204" pitchFamily="34" charset="0"/>
                        <a:ea typeface="MS Mincho" panose="02020609040205080304" pitchFamily="49" charset="-128"/>
                      </a:endParaRPr>
                    </a:p>
                  </a:txBody>
                  <a:tcPr marL="45720" marR="45720" marT="0" marB="0"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no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noProof="0" dirty="0">
                          <a:effectLst/>
                          <a:latin typeface="Arial Narrow" panose="020B0606020202030204" pitchFamily="34" charset="0"/>
                        </a:rPr>
                        <a:t>Capi + </a:t>
                      </a:r>
                      <a:r>
                        <a:rPr lang="en-US" sz="1400" noProof="0" dirty="0" err="1">
                          <a:effectLst/>
                          <a:latin typeface="Arial Narrow" panose="020B0606020202030204" pitchFamily="34" charset="0"/>
                        </a:rPr>
                        <a:t>abi</a:t>
                      </a:r>
                      <a:r>
                        <a:rPr lang="en-US" sz="1400" noProof="0" dirty="0">
                          <a:effectLst/>
                          <a:latin typeface="Arial Narrow" panose="020B0606020202030204" pitchFamily="34" charset="0"/>
                        </a:rPr>
                        <a:t> (N=507)</a:t>
                      </a:r>
                      <a:endParaRPr lang="en-US" sz="1400" noProof="0" dirty="0">
                        <a:effectLst/>
                        <a:latin typeface="Arial Narrow" panose="020B0606020202030204" pitchFamily="34" charset="0"/>
                        <a:ea typeface="MS Mincho" panose="02020609040205080304" pitchFamily="49" charset="-128"/>
                      </a:endParaRPr>
                    </a:p>
                  </a:txBody>
                  <a:tcPr marL="45720" marR="45720" marT="0" marB="0"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chemeClr val="tx2">
                        <a:lumMod val="75000"/>
                        <a:lumOff val="25000"/>
                      </a:scheme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400" noProof="0" dirty="0" err="1">
                          <a:effectLst/>
                          <a:latin typeface="Arial Narrow" panose="020B0606020202030204" pitchFamily="34" charset="0"/>
                        </a:rPr>
                        <a:t>Pbo</a:t>
                      </a:r>
                      <a:r>
                        <a:rPr lang="en-US" sz="1400" noProof="0" dirty="0">
                          <a:effectLst/>
                          <a:latin typeface="Arial Narrow" panose="020B0606020202030204" pitchFamily="34" charset="0"/>
                        </a:rPr>
                        <a:t> + </a:t>
                      </a:r>
                      <a:r>
                        <a:rPr lang="en-US" sz="1400" noProof="0" dirty="0" err="1">
                          <a:effectLst/>
                          <a:latin typeface="Arial Narrow" panose="020B0606020202030204" pitchFamily="34" charset="0"/>
                        </a:rPr>
                        <a:t>abi</a:t>
                      </a:r>
                      <a:r>
                        <a:rPr lang="en-US" sz="1400" noProof="0" dirty="0">
                          <a:effectLst/>
                          <a:latin typeface="Arial Narrow" panose="020B0606020202030204" pitchFamily="34" charset="0"/>
                        </a:rPr>
                        <a:t> (N=505)</a:t>
                      </a:r>
                      <a:endParaRPr lang="en-US" sz="1400" noProof="0" dirty="0">
                        <a:effectLst/>
                        <a:latin typeface="Arial Narrow" panose="020B0606020202030204" pitchFamily="34" charset="0"/>
                        <a:ea typeface="MS Mincho" panose="02020609040205080304" pitchFamily="49" charset="-128"/>
                      </a:endParaRPr>
                    </a:p>
                  </a:txBody>
                  <a:tcPr marL="45720" marR="45720" marT="0" marB="0"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4420743"/>
                  </a:ext>
                </a:extLst>
              </a:tr>
              <a:tr h="28959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Events, n (%)</a:t>
                      </a:r>
                    </a:p>
                  </a:txBody>
                  <a:tcPr marL="45720" marR="45720" marT="0" marB="0" anchor="ctr">
                    <a:lnL w="12700" cmpd="sng">
                      <a:noFill/>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150 (29.6)</a:t>
                      </a:r>
                    </a:p>
                  </a:txBody>
                  <a:tcPr marL="45720" marR="457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176 (34.9)</a:t>
                      </a:r>
                    </a:p>
                  </a:txBody>
                  <a:tcPr marL="45720" marR="45720" marT="0" marB="0" anchor="ctr">
                    <a:lnL w="12700" cap="flat" cmpd="sng" algn="ctr">
                      <a:solidFill>
                        <a:srgbClr val="FFFFFF"/>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tint val="20000"/>
                        <a:alpha val="20000"/>
                      </a:srgbClr>
                    </a:solidFill>
                  </a:tcPr>
                </a:tc>
                <a:extLst>
                  <a:ext uri="{0D108BD9-81ED-4DB2-BD59-A6C34878D82A}">
                    <a16:rowId xmlns:a16="http://schemas.microsoft.com/office/drawing/2014/main" val="3284079475"/>
                  </a:ext>
                </a:extLst>
              </a:tr>
              <a:tr h="475399">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indent="0" algn="r">
                        <a:lnSpc>
                          <a:spcPct val="100000"/>
                        </a:lnSpc>
                        <a:spcAft>
                          <a:spcPts val="0"/>
                        </a:spcAft>
                      </a:pPr>
                      <a:r>
                        <a:rPr lang="en-US" sz="1400" b="0" noProof="0" dirty="0">
                          <a:solidFill>
                            <a:schemeClr val="tx1">
                              <a:lumMod val="50000"/>
                            </a:schemeClr>
                          </a:solidFill>
                          <a:effectLst/>
                          <a:latin typeface="Arial Narrow" panose="020B0606020202030204" pitchFamily="34" charset="0"/>
                          <a:ea typeface="MS Mincho" panose="02020609040205080304" pitchFamily="49" charset="-128"/>
                        </a:rPr>
                        <a:t>Median SSE-FS, months (95% CI)</a:t>
                      </a:r>
                    </a:p>
                  </a:txBody>
                  <a:tcPr marL="45720" marR="45720" marT="0" marB="0" anchor="ctr">
                    <a:lnL w="12700" cmpd="sng">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42.5</a:t>
                      </a: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 </a:t>
                      </a:r>
                      <a:br>
                        <a:rPr lang="en-US" sz="1400" noProof="0" dirty="0">
                          <a:solidFill>
                            <a:schemeClr val="tx1">
                              <a:lumMod val="50000"/>
                            </a:schemeClr>
                          </a:solidFill>
                          <a:effectLst/>
                          <a:latin typeface="Arial Narrow" panose="020B0606020202030204" pitchFamily="34" charset="0"/>
                          <a:ea typeface="MS Mincho" panose="02020609040205080304" pitchFamily="49" charset="-128"/>
                        </a:rPr>
                      </a:b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35.9, NC)</a:t>
                      </a:r>
                    </a:p>
                  </a:txBody>
                  <a:tcPr marL="45720" marR="457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E325F">
                        <a:alpha val="2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37.3 </a:t>
                      </a:r>
                      <a:br>
                        <a:rPr lang="en-US" sz="1400" noProof="0" dirty="0">
                          <a:solidFill>
                            <a:schemeClr val="tx1">
                              <a:lumMod val="50000"/>
                            </a:schemeClr>
                          </a:solidFill>
                          <a:effectLst/>
                          <a:latin typeface="Arial Narrow" panose="020B0606020202030204" pitchFamily="34" charset="0"/>
                          <a:ea typeface="MS Mincho" panose="02020609040205080304" pitchFamily="49" charset="-128"/>
                        </a:rPr>
                      </a:b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28.3, NC)</a:t>
                      </a:r>
                    </a:p>
                  </a:txBody>
                  <a:tcPr marL="45720" marR="45720" marT="0" marB="0" anchor="ctr">
                    <a:lnL w="12700" cap="flat" cmpd="sng" algn="ctr">
                      <a:solidFill>
                        <a:srgbClr val="FFFFFF"/>
                      </a:solidFill>
                      <a:prstDash val="solid"/>
                      <a:round/>
                      <a:headEnd type="none" w="med" len="med"/>
                      <a:tailEnd type="none" w="med" len="med"/>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1E50">
                        <a:alpha val="20000"/>
                      </a:srgbClr>
                    </a:solidFill>
                  </a:tcPr>
                </a:tc>
                <a:extLst>
                  <a:ext uri="{0D108BD9-81ED-4DB2-BD59-A6C34878D82A}">
                    <a16:rowId xmlns:a16="http://schemas.microsoft.com/office/drawing/2014/main" val="1854622382"/>
                  </a:ext>
                </a:extLst>
              </a:tr>
              <a:tr h="28959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noProof="0" dirty="0">
                          <a:solidFill>
                            <a:schemeClr val="tx1">
                              <a:lumMod val="50000"/>
                            </a:schemeClr>
                          </a:solidFill>
                          <a:effectLst/>
                          <a:latin typeface="Arial Narrow" panose="020B0606020202030204" pitchFamily="34" charset="0"/>
                        </a:rPr>
                        <a:t>HR (95% CI)</a:t>
                      </a:r>
                    </a:p>
                  </a:txBody>
                  <a:tcPr marL="45720" marR="45720" marT="0" marB="0" anchor="ctr">
                    <a:lnL w="12700" cmpd="sng">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b="1" noProof="0" dirty="0">
                          <a:solidFill>
                            <a:schemeClr val="tx1">
                              <a:lumMod val="50000"/>
                            </a:schemeClr>
                          </a:solidFill>
                          <a:effectLst/>
                          <a:latin typeface="Arial Narrow" panose="020B0606020202030204" pitchFamily="34" charset="0"/>
                          <a:ea typeface="MS Mincho" panose="02020609040205080304" pitchFamily="49" charset="-128"/>
                        </a:rPr>
                        <a:t>0.82 (0.66, 1.02)</a:t>
                      </a:r>
                    </a:p>
                  </a:txBody>
                  <a:tcPr marL="45720" marR="45720" marT="0" marB="0" anchor="ctr">
                    <a:lnL w="12700" cap="flat" cmpd="sng" algn="ctr">
                      <a:solidFill>
                        <a:srgbClr val="FFFFFF"/>
                      </a:solidFill>
                      <a:prstDash val="solid"/>
                      <a:round/>
                      <a:headEnd type="none" w="med" len="med"/>
                      <a:tailEnd type="none" w="med" len="med"/>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tint val="20000"/>
                        <a:alpha val="20000"/>
                      </a:schemeClr>
                    </a:solidFill>
                  </a:tcPr>
                </a:tc>
                <a:extLst>
                  <a:ext uri="{0D108BD9-81ED-4DB2-BD59-A6C34878D82A}">
                    <a16:rowId xmlns:a16="http://schemas.microsoft.com/office/drawing/2014/main" val="2304385734"/>
                  </a:ext>
                </a:extLst>
              </a:tr>
              <a:tr h="289597">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r">
                        <a:lnSpc>
                          <a:spcPct val="100000"/>
                        </a:lnSpc>
                        <a:spcAft>
                          <a:spcPts val="0"/>
                        </a:spcAft>
                      </a:pPr>
                      <a:r>
                        <a:rPr lang="en-US" sz="1400" b="0" i="1" noProof="0" dirty="0">
                          <a:solidFill>
                            <a:schemeClr val="tx1">
                              <a:lumMod val="50000"/>
                            </a:schemeClr>
                          </a:solidFill>
                          <a:effectLst/>
                          <a:latin typeface="Arial Narrow" panose="020B0606020202030204" pitchFamily="34" charset="0"/>
                        </a:rPr>
                        <a:t>Nominal P</a:t>
                      </a:r>
                      <a:r>
                        <a:rPr lang="en-US" sz="1400" b="0" noProof="0" dirty="0">
                          <a:solidFill>
                            <a:schemeClr val="tx1">
                              <a:lumMod val="50000"/>
                            </a:schemeClr>
                          </a:solidFill>
                          <a:effectLst/>
                          <a:latin typeface="Arial Narrow" panose="020B0606020202030204" pitchFamily="34" charset="0"/>
                        </a:rPr>
                        <a:t>-value</a:t>
                      </a:r>
                    </a:p>
                  </a:txBody>
                  <a:tcPr marL="45720" marR="45720" marT="0" marB="0" anchor="ctr">
                    <a:lnL w="12700" cmpd="sng">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r>
                        <a:rPr lang="en-US" sz="1400" noProof="0" dirty="0">
                          <a:solidFill>
                            <a:schemeClr val="tx1">
                              <a:lumMod val="50000"/>
                            </a:schemeClr>
                          </a:solidFill>
                          <a:effectLst/>
                          <a:latin typeface="Arial Narrow" panose="020B0606020202030204" pitchFamily="34" charset="0"/>
                          <a:ea typeface="MS Mincho" panose="02020609040205080304" pitchFamily="49" charset="-128"/>
                        </a:rPr>
                        <a:t>0.079</a:t>
                      </a:r>
                    </a:p>
                  </a:txBody>
                  <a:tcPr marL="45720" marR="45720" marT="0" marB="0" anchor="ctr">
                    <a:lnL w="12700" cap="flat" cmpd="sng" algn="ctr">
                      <a:solidFill>
                        <a:srgbClr val="FFFFFF"/>
                      </a:solidFill>
                      <a:prstDash val="solid"/>
                      <a:round/>
                      <a:headEnd type="none" w="med" len="med"/>
                      <a:tailEnd type="none" w="med" len="med"/>
                    </a:lnL>
                    <a:lnR w="12700" cmpd="sng">
                      <a:noFill/>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lnSpc>
                          <a:spcPct val="100000"/>
                        </a:lnSpc>
                        <a:spcAft>
                          <a:spcPts val="0"/>
                        </a:spcAft>
                      </a:pPr>
                      <a:endParaRPr lang="en-GB" sz="1200">
                        <a:solidFill>
                          <a:schemeClr val="tx1"/>
                        </a:solidFill>
                        <a:effectLst/>
                        <a:latin typeface="Arial" panose="020B0604020202020204" pitchFamily="34" charset="0"/>
                        <a:ea typeface="MS Mincho" panose="02020609040205080304" pitchFamily="49" charset="-128"/>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20000"/>
                      </a:schemeClr>
                    </a:solidFill>
                  </a:tcPr>
                </a:tc>
                <a:extLst>
                  <a:ext uri="{0D108BD9-81ED-4DB2-BD59-A6C34878D82A}">
                    <a16:rowId xmlns:a16="http://schemas.microsoft.com/office/drawing/2014/main" val="2987664283"/>
                  </a:ext>
                </a:extLst>
              </a:tr>
            </a:tbl>
          </a:graphicData>
        </a:graphic>
      </p:graphicFrame>
    </p:spTree>
    <p:extLst>
      <p:ext uri="{BB962C8B-B14F-4D97-AF65-F5344CB8AC3E}">
        <p14:creationId xmlns:p14="http://schemas.microsoft.com/office/powerpoint/2010/main" val="33911448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14230-649C-36C0-4F86-976DB69319FA}"/>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7B89137-6ACB-9420-C31B-11DCE50769D7}"/>
              </a:ext>
            </a:extLst>
          </p:cNvPr>
          <p:cNvGrpSpPr/>
          <p:nvPr/>
        </p:nvGrpSpPr>
        <p:grpSpPr bwMode="gray">
          <a:xfrm>
            <a:off x="664294" y="1435895"/>
            <a:ext cx="6849686" cy="1425760"/>
            <a:chOff x="3462337" y="2824162"/>
            <a:chExt cx="5266658" cy="1211675"/>
          </a:xfrm>
        </p:grpSpPr>
        <p:grpSp>
          <p:nvGrpSpPr>
            <p:cNvPr id="5" name="Graphic 16">
              <a:extLst>
                <a:ext uri="{FF2B5EF4-FFF2-40B4-BE49-F238E27FC236}">
                  <a16:creationId xmlns:a16="http://schemas.microsoft.com/office/drawing/2014/main" id="{756CB4C7-B5EE-C74C-2CF8-BFD2DC502847}"/>
                </a:ext>
              </a:extLst>
            </p:cNvPr>
            <p:cNvGrpSpPr/>
            <p:nvPr/>
          </p:nvGrpSpPr>
          <p:grpSpPr bwMode="gray">
            <a:xfrm>
              <a:off x="6780275" y="3820096"/>
              <a:ext cx="75628" cy="75723"/>
              <a:chOff x="6780275" y="3820096"/>
              <a:chExt cx="75628" cy="75723"/>
            </a:xfrm>
          </p:grpSpPr>
          <p:sp>
            <p:nvSpPr>
              <p:cNvPr id="10560" name="Freeform: Shape 10559">
                <a:extLst>
                  <a:ext uri="{FF2B5EF4-FFF2-40B4-BE49-F238E27FC236}">
                    <a16:creationId xmlns:a16="http://schemas.microsoft.com/office/drawing/2014/main" id="{09BBA090-DEC8-0440-7DF7-DD44D941C3E8}"/>
                  </a:ext>
                </a:extLst>
              </p:cNvPr>
              <p:cNvSpPr/>
              <p:nvPr/>
            </p:nvSpPr>
            <p:spPr bwMode="gray">
              <a:xfrm>
                <a:off x="6818089"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61" name="Freeform: Shape 10560">
                <a:extLst>
                  <a:ext uri="{FF2B5EF4-FFF2-40B4-BE49-F238E27FC236}">
                    <a16:creationId xmlns:a16="http://schemas.microsoft.com/office/drawing/2014/main" id="{2D20DFFA-DEAB-A9DE-B6DA-47DE65370B35}"/>
                  </a:ext>
                </a:extLst>
              </p:cNvPr>
              <p:cNvSpPr/>
              <p:nvPr/>
            </p:nvSpPr>
            <p:spPr bwMode="gray">
              <a:xfrm>
                <a:off x="6780275"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 name="Graphic 16">
              <a:extLst>
                <a:ext uri="{FF2B5EF4-FFF2-40B4-BE49-F238E27FC236}">
                  <a16:creationId xmlns:a16="http://schemas.microsoft.com/office/drawing/2014/main" id="{82558542-0156-6A39-3561-46B2255AA21A}"/>
                </a:ext>
              </a:extLst>
            </p:cNvPr>
            <p:cNvGrpSpPr/>
            <p:nvPr/>
          </p:nvGrpSpPr>
          <p:grpSpPr bwMode="gray">
            <a:xfrm>
              <a:off x="6794277" y="3820096"/>
              <a:ext cx="75628" cy="75723"/>
              <a:chOff x="6794277" y="3820096"/>
              <a:chExt cx="75628" cy="75723"/>
            </a:xfrm>
          </p:grpSpPr>
          <p:sp>
            <p:nvSpPr>
              <p:cNvPr id="10558" name="Freeform: Shape 10557">
                <a:extLst>
                  <a:ext uri="{FF2B5EF4-FFF2-40B4-BE49-F238E27FC236}">
                    <a16:creationId xmlns:a16="http://schemas.microsoft.com/office/drawing/2014/main" id="{BD5F3154-5182-A280-8610-D3862FDA0808}"/>
                  </a:ext>
                </a:extLst>
              </p:cNvPr>
              <p:cNvSpPr/>
              <p:nvPr/>
            </p:nvSpPr>
            <p:spPr bwMode="gray">
              <a:xfrm>
                <a:off x="683209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59" name="Freeform: Shape 10558">
                <a:extLst>
                  <a:ext uri="{FF2B5EF4-FFF2-40B4-BE49-F238E27FC236}">
                    <a16:creationId xmlns:a16="http://schemas.microsoft.com/office/drawing/2014/main" id="{490E92BB-DE80-E71A-42FE-5E9D01DE5AFA}"/>
                  </a:ext>
                </a:extLst>
              </p:cNvPr>
              <p:cNvSpPr/>
              <p:nvPr/>
            </p:nvSpPr>
            <p:spPr bwMode="gray">
              <a:xfrm>
                <a:off x="6794277" y="38580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 name="Graphic 16">
              <a:extLst>
                <a:ext uri="{FF2B5EF4-FFF2-40B4-BE49-F238E27FC236}">
                  <a16:creationId xmlns:a16="http://schemas.microsoft.com/office/drawing/2014/main" id="{F308F8E8-DF4B-1D8F-C846-C2F31B740122}"/>
                </a:ext>
              </a:extLst>
            </p:cNvPr>
            <p:cNvGrpSpPr/>
            <p:nvPr/>
          </p:nvGrpSpPr>
          <p:grpSpPr bwMode="gray">
            <a:xfrm>
              <a:off x="3462337" y="2824162"/>
              <a:ext cx="5266658" cy="1211675"/>
              <a:chOff x="3462337" y="2824162"/>
              <a:chExt cx="5266658" cy="1211675"/>
            </a:xfrm>
            <a:noFill/>
          </p:grpSpPr>
          <p:grpSp>
            <p:nvGrpSpPr>
              <p:cNvPr id="8" name="Graphic 16">
                <a:extLst>
                  <a:ext uri="{FF2B5EF4-FFF2-40B4-BE49-F238E27FC236}">
                    <a16:creationId xmlns:a16="http://schemas.microsoft.com/office/drawing/2014/main" id="{66AA58FB-4A30-B696-8EA4-F90D9E0369BC}"/>
                  </a:ext>
                </a:extLst>
              </p:cNvPr>
              <p:cNvGrpSpPr/>
              <p:nvPr/>
            </p:nvGrpSpPr>
            <p:grpSpPr bwMode="gray">
              <a:xfrm>
                <a:off x="3462337" y="2824162"/>
                <a:ext cx="5266658" cy="1211675"/>
                <a:chOff x="3462337" y="2824162"/>
                <a:chExt cx="5266658" cy="1211675"/>
              </a:xfrm>
            </p:grpSpPr>
            <p:grpSp>
              <p:nvGrpSpPr>
                <p:cNvPr id="10" name="Graphic 16">
                  <a:extLst>
                    <a:ext uri="{FF2B5EF4-FFF2-40B4-BE49-F238E27FC236}">
                      <a16:creationId xmlns:a16="http://schemas.microsoft.com/office/drawing/2014/main" id="{E0E81D98-D8DC-94DF-A29D-985751E56E1D}"/>
                    </a:ext>
                  </a:extLst>
                </p:cNvPr>
                <p:cNvGrpSpPr/>
                <p:nvPr/>
              </p:nvGrpSpPr>
              <p:grpSpPr bwMode="gray">
                <a:xfrm>
                  <a:off x="8480583" y="3960113"/>
                  <a:ext cx="75723" cy="75723"/>
                  <a:chOff x="8480583" y="3960113"/>
                  <a:chExt cx="75723" cy="75723"/>
                </a:xfrm>
              </p:grpSpPr>
              <p:sp>
                <p:nvSpPr>
                  <p:cNvPr id="10556" name="Freeform: Shape 10555">
                    <a:extLst>
                      <a:ext uri="{FF2B5EF4-FFF2-40B4-BE49-F238E27FC236}">
                        <a16:creationId xmlns:a16="http://schemas.microsoft.com/office/drawing/2014/main" id="{29798862-0270-0BF4-6045-05117A10909F}"/>
                      </a:ext>
                    </a:extLst>
                  </p:cNvPr>
                  <p:cNvSpPr/>
                  <p:nvPr/>
                </p:nvSpPr>
                <p:spPr bwMode="gray">
                  <a:xfrm>
                    <a:off x="851849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57" name="Freeform: Shape 10556">
                    <a:extLst>
                      <a:ext uri="{FF2B5EF4-FFF2-40B4-BE49-F238E27FC236}">
                        <a16:creationId xmlns:a16="http://schemas.microsoft.com/office/drawing/2014/main" id="{65808D23-86BB-55B2-284D-5929D9F770D8}"/>
                      </a:ext>
                    </a:extLst>
                  </p:cNvPr>
                  <p:cNvSpPr/>
                  <p:nvPr/>
                </p:nvSpPr>
                <p:spPr bwMode="gray">
                  <a:xfrm>
                    <a:off x="8480583"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 name="Graphic 16">
                  <a:extLst>
                    <a:ext uri="{FF2B5EF4-FFF2-40B4-BE49-F238E27FC236}">
                      <a16:creationId xmlns:a16="http://schemas.microsoft.com/office/drawing/2014/main" id="{DBB91257-B65F-C2DD-D820-71D6A270E7AC}"/>
                    </a:ext>
                  </a:extLst>
                </p:cNvPr>
                <p:cNvGrpSpPr/>
                <p:nvPr/>
              </p:nvGrpSpPr>
              <p:grpSpPr bwMode="gray">
                <a:xfrm>
                  <a:off x="8610409" y="3960113"/>
                  <a:ext cx="75628" cy="75723"/>
                  <a:chOff x="8610409" y="3960113"/>
                  <a:chExt cx="75628" cy="75723"/>
                </a:xfrm>
              </p:grpSpPr>
              <p:sp>
                <p:nvSpPr>
                  <p:cNvPr id="10554" name="Freeform: Shape 10553">
                    <a:extLst>
                      <a:ext uri="{FF2B5EF4-FFF2-40B4-BE49-F238E27FC236}">
                        <a16:creationId xmlns:a16="http://schemas.microsoft.com/office/drawing/2014/main" id="{21EC1BA5-8248-F4B4-BEE3-AE77F0462FB0}"/>
                      </a:ext>
                    </a:extLst>
                  </p:cNvPr>
                  <p:cNvSpPr/>
                  <p:nvPr/>
                </p:nvSpPr>
                <p:spPr bwMode="gray">
                  <a:xfrm>
                    <a:off x="864822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55" name="Freeform: Shape 10554">
                    <a:extLst>
                      <a:ext uri="{FF2B5EF4-FFF2-40B4-BE49-F238E27FC236}">
                        <a16:creationId xmlns:a16="http://schemas.microsoft.com/office/drawing/2014/main" id="{7D148C6B-2F38-3534-1AE7-8DC5E3710079}"/>
                      </a:ext>
                    </a:extLst>
                  </p:cNvPr>
                  <p:cNvSpPr/>
                  <p:nvPr/>
                </p:nvSpPr>
                <p:spPr bwMode="gray">
                  <a:xfrm>
                    <a:off x="8610409"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 name="Graphic 16">
                  <a:extLst>
                    <a:ext uri="{FF2B5EF4-FFF2-40B4-BE49-F238E27FC236}">
                      <a16:creationId xmlns:a16="http://schemas.microsoft.com/office/drawing/2014/main" id="{9E00F285-A582-5DE5-C1E2-EADE44EBC034}"/>
                    </a:ext>
                  </a:extLst>
                </p:cNvPr>
                <p:cNvGrpSpPr/>
                <p:nvPr/>
              </p:nvGrpSpPr>
              <p:grpSpPr bwMode="gray">
                <a:xfrm>
                  <a:off x="8644127" y="3960113"/>
                  <a:ext cx="75628" cy="75723"/>
                  <a:chOff x="8644127" y="3960113"/>
                  <a:chExt cx="75628" cy="75723"/>
                </a:xfrm>
              </p:grpSpPr>
              <p:sp>
                <p:nvSpPr>
                  <p:cNvPr id="10552" name="Freeform: Shape 10551">
                    <a:extLst>
                      <a:ext uri="{FF2B5EF4-FFF2-40B4-BE49-F238E27FC236}">
                        <a16:creationId xmlns:a16="http://schemas.microsoft.com/office/drawing/2014/main" id="{900AB511-A53B-9416-881D-FDFF32528840}"/>
                      </a:ext>
                    </a:extLst>
                  </p:cNvPr>
                  <p:cNvSpPr/>
                  <p:nvPr/>
                </p:nvSpPr>
                <p:spPr bwMode="gray">
                  <a:xfrm>
                    <a:off x="86819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53" name="Freeform: Shape 10552">
                    <a:extLst>
                      <a:ext uri="{FF2B5EF4-FFF2-40B4-BE49-F238E27FC236}">
                        <a16:creationId xmlns:a16="http://schemas.microsoft.com/office/drawing/2014/main" id="{F64F26A5-947F-EA90-C2F9-175CC4F72886}"/>
                      </a:ext>
                    </a:extLst>
                  </p:cNvPr>
                  <p:cNvSpPr/>
                  <p:nvPr/>
                </p:nvSpPr>
                <p:spPr bwMode="gray">
                  <a:xfrm>
                    <a:off x="8644127"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 name="Graphic 16">
                  <a:extLst>
                    <a:ext uri="{FF2B5EF4-FFF2-40B4-BE49-F238E27FC236}">
                      <a16:creationId xmlns:a16="http://schemas.microsoft.com/office/drawing/2014/main" id="{9DF11F6B-DE4E-2F9E-D1BA-5793C2F5A0B1}"/>
                    </a:ext>
                  </a:extLst>
                </p:cNvPr>
                <p:cNvGrpSpPr/>
                <p:nvPr/>
              </p:nvGrpSpPr>
              <p:grpSpPr bwMode="gray">
                <a:xfrm>
                  <a:off x="8634888" y="3960113"/>
                  <a:ext cx="75628" cy="75723"/>
                  <a:chOff x="8634888" y="3960113"/>
                  <a:chExt cx="75628" cy="75723"/>
                </a:xfrm>
              </p:grpSpPr>
              <p:sp>
                <p:nvSpPr>
                  <p:cNvPr id="10550" name="Freeform: Shape 10549">
                    <a:extLst>
                      <a:ext uri="{FF2B5EF4-FFF2-40B4-BE49-F238E27FC236}">
                        <a16:creationId xmlns:a16="http://schemas.microsoft.com/office/drawing/2014/main" id="{D0C87012-08ED-7D25-FC1D-5E1420CEA071}"/>
                      </a:ext>
                    </a:extLst>
                  </p:cNvPr>
                  <p:cNvSpPr/>
                  <p:nvPr/>
                </p:nvSpPr>
                <p:spPr bwMode="gray">
                  <a:xfrm>
                    <a:off x="867270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51" name="Freeform: Shape 10550">
                    <a:extLst>
                      <a:ext uri="{FF2B5EF4-FFF2-40B4-BE49-F238E27FC236}">
                        <a16:creationId xmlns:a16="http://schemas.microsoft.com/office/drawing/2014/main" id="{1E5EF324-AD94-7C89-DC67-A94C767B1DE4}"/>
                      </a:ext>
                    </a:extLst>
                  </p:cNvPr>
                  <p:cNvSpPr/>
                  <p:nvPr/>
                </p:nvSpPr>
                <p:spPr bwMode="gray">
                  <a:xfrm>
                    <a:off x="8634888" y="39980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 name="Graphic 16">
                  <a:extLst>
                    <a:ext uri="{FF2B5EF4-FFF2-40B4-BE49-F238E27FC236}">
                      <a16:creationId xmlns:a16="http://schemas.microsoft.com/office/drawing/2014/main" id="{55432194-2E17-31C4-1D93-FC20723FB9FD}"/>
                    </a:ext>
                  </a:extLst>
                </p:cNvPr>
                <p:cNvGrpSpPr/>
                <p:nvPr/>
              </p:nvGrpSpPr>
              <p:grpSpPr bwMode="gray">
                <a:xfrm>
                  <a:off x="8653271" y="3960113"/>
                  <a:ext cx="75723" cy="75723"/>
                  <a:chOff x="8653271" y="3960113"/>
                  <a:chExt cx="75723" cy="75723"/>
                </a:xfrm>
              </p:grpSpPr>
              <p:sp>
                <p:nvSpPr>
                  <p:cNvPr id="10548" name="Freeform: Shape 10547">
                    <a:extLst>
                      <a:ext uri="{FF2B5EF4-FFF2-40B4-BE49-F238E27FC236}">
                        <a16:creationId xmlns:a16="http://schemas.microsoft.com/office/drawing/2014/main" id="{03A540CE-467F-4034-3F27-2F28B8DC1C7D}"/>
                      </a:ext>
                    </a:extLst>
                  </p:cNvPr>
                  <p:cNvSpPr/>
                  <p:nvPr/>
                </p:nvSpPr>
                <p:spPr bwMode="gray">
                  <a:xfrm>
                    <a:off x="869118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49" name="Freeform: Shape 10548">
                    <a:extLst>
                      <a:ext uri="{FF2B5EF4-FFF2-40B4-BE49-F238E27FC236}">
                        <a16:creationId xmlns:a16="http://schemas.microsoft.com/office/drawing/2014/main" id="{E86D47FD-C8F7-5320-B06B-20EF2013188A}"/>
                      </a:ext>
                    </a:extLst>
                  </p:cNvPr>
                  <p:cNvSpPr/>
                  <p:nvPr/>
                </p:nvSpPr>
                <p:spPr bwMode="gray">
                  <a:xfrm>
                    <a:off x="8653271"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 name="Graphic 16">
                  <a:extLst>
                    <a:ext uri="{FF2B5EF4-FFF2-40B4-BE49-F238E27FC236}">
                      <a16:creationId xmlns:a16="http://schemas.microsoft.com/office/drawing/2014/main" id="{16B1E92B-32BB-67FA-EC2C-16649B4C9A3A}"/>
                    </a:ext>
                  </a:extLst>
                </p:cNvPr>
                <p:cNvGrpSpPr/>
                <p:nvPr/>
              </p:nvGrpSpPr>
              <p:grpSpPr bwMode="gray">
                <a:xfrm>
                  <a:off x="7647241" y="3960113"/>
                  <a:ext cx="75723" cy="75723"/>
                  <a:chOff x="7647241" y="3960113"/>
                  <a:chExt cx="75723" cy="75723"/>
                </a:xfrm>
              </p:grpSpPr>
              <p:sp>
                <p:nvSpPr>
                  <p:cNvPr id="10546" name="Freeform: Shape 10545">
                    <a:extLst>
                      <a:ext uri="{FF2B5EF4-FFF2-40B4-BE49-F238E27FC236}">
                        <a16:creationId xmlns:a16="http://schemas.microsoft.com/office/drawing/2014/main" id="{A404F4D2-76C4-393D-F575-EFAD68E607C5}"/>
                      </a:ext>
                    </a:extLst>
                  </p:cNvPr>
                  <p:cNvSpPr/>
                  <p:nvPr/>
                </p:nvSpPr>
                <p:spPr bwMode="gray">
                  <a:xfrm>
                    <a:off x="76851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47" name="Freeform: Shape 10546">
                    <a:extLst>
                      <a:ext uri="{FF2B5EF4-FFF2-40B4-BE49-F238E27FC236}">
                        <a16:creationId xmlns:a16="http://schemas.microsoft.com/office/drawing/2014/main" id="{C644EFD4-35E9-BCD3-F75B-D81B9A60393F}"/>
                      </a:ext>
                    </a:extLst>
                  </p:cNvPr>
                  <p:cNvSpPr/>
                  <p:nvPr/>
                </p:nvSpPr>
                <p:spPr bwMode="gray">
                  <a:xfrm>
                    <a:off x="76472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 name="Graphic 16">
                  <a:extLst>
                    <a:ext uri="{FF2B5EF4-FFF2-40B4-BE49-F238E27FC236}">
                      <a16:creationId xmlns:a16="http://schemas.microsoft.com/office/drawing/2014/main" id="{9A89BA68-E1AC-8C71-6D3D-CCFA9F6B1343}"/>
                    </a:ext>
                  </a:extLst>
                </p:cNvPr>
                <p:cNvGrpSpPr/>
                <p:nvPr/>
              </p:nvGrpSpPr>
              <p:grpSpPr bwMode="gray">
                <a:xfrm>
                  <a:off x="7638001" y="3960113"/>
                  <a:ext cx="75723" cy="75723"/>
                  <a:chOff x="7638001" y="3960113"/>
                  <a:chExt cx="75723" cy="75723"/>
                </a:xfrm>
              </p:grpSpPr>
              <p:sp>
                <p:nvSpPr>
                  <p:cNvPr id="10544" name="Freeform: Shape 10543">
                    <a:extLst>
                      <a:ext uri="{FF2B5EF4-FFF2-40B4-BE49-F238E27FC236}">
                        <a16:creationId xmlns:a16="http://schemas.microsoft.com/office/drawing/2014/main" id="{2831CC13-C60D-3E75-5EA6-D4390835404E}"/>
                      </a:ext>
                    </a:extLst>
                  </p:cNvPr>
                  <p:cNvSpPr/>
                  <p:nvPr/>
                </p:nvSpPr>
                <p:spPr bwMode="gray">
                  <a:xfrm>
                    <a:off x="767591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45" name="Freeform: Shape 10544">
                    <a:extLst>
                      <a:ext uri="{FF2B5EF4-FFF2-40B4-BE49-F238E27FC236}">
                        <a16:creationId xmlns:a16="http://schemas.microsoft.com/office/drawing/2014/main" id="{DEBBE118-E3BA-3A1C-3E67-59A0F8C3ECDB}"/>
                      </a:ext>
                    </a:extLst>
                  </p:cNvPr>
                  <p:cNvSpPr/>
                  <p:nvPr/>
                </p:nvSpPr>
                <p:spPr bwMode="gray">
                  <a:xfrm>
                    <a:off x="76380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7" name="Graphic 16">
                  <a:extLst>
                    <a:ext uri="{FF2B5EF4-FFF2-40B4-BE49-F238E27FC236}">
                      <a16:creationId xmlns:a16="http://schemas.microsoft.com/office/drawing/2014/main" id="{234EB644-E79C-16FB-C9BC-FCDBFDE0E5F1}"/>
                    </a:ext>
                  </a:extLst>
                </p:cNvPr>
                <p:cNvGrpSpPr/>
                <p:nvPr/>
              </p:nvGrpSpPr>
              <p:grpSpPr bwMode="gray">
                <a:xfrm>
                  <a:off x="7656480" y="3960113"/>
                  <a:ext cx="75723" cy="75723"/>
                  <a:chOff x="7656480" y="3960113"/>
                  <a:chExt cx="75723" cy="75723"/>
                </a:xfrm>
              </p:grpSpPr>
              <p:sp>
                <p:nvSpPr>
                  <p:cNvPr id="10542" name="Freeform: Shape 10541">
                    <a:extLst>
                      <a:ext uri="{FF2B5EF4-FFF2-40B4-BE49-F238E27FC236}">
                        <a16:creationId xmlns:a16="http://schemas.microsoft.com/office/drawing/2014/main" id="{BF336AB9-09C8-E343-5B45-13E27A46FE6C}"/>
                      </a:ext>
                    </a:extLst>
                  </p:cNvPr>
                  <p:cNvSpPr/>
                  <p:nvPr/>
                </p:nvSpPr>
                <p:spPr bwMode="gray">
                  <a:xfrm>
                    <a:off x="76942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43" name="Freeform: Shape 10542">
                    <a:extLst>
                      <a:ext uri="{FF2B5EF4-FFF2-40B4-BE49-F238E27FC236}">
                        <a16:creationId xmlns:a16="http://schemas.microsoft.com/office/drawing/2014/main" id="{DD5BEE0D-22DA-9915-D745-EEFFEC5E8D0C}"/>
                      </a:ext>
                    </a:extLst>
                  </p:cNvPr>
                  <p:cNvSpPr/>
                  <p:nvPr/>
                </p:nvSpPr>
                <p:spPr bwMode="gray">
                  <a:xfrm>
                    <a:off x="765648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8" name="Graphic 16">
                  <a:extLst>
                    <a:ext uri="{FF2B5EF4-FFF2-40B4-BE49-F238E27FC236}">
                      <a16:creationId xmlns:a16="http://schemas.microsoft.com/office/drawing/2014/main" id="{5EF35756-3C38-5237-CE7D-23F6C884E728}"/>
                    </a:ext>
                  </a:extLst>
                </p:cNvPr>
                <p:cNvGrpSpPr/>
                <p:nvPr/>
              </p:nvGrpSpPr>
              <p:grpSpPr bwMode="gray">
                <a:xfrm>
                  <a:off x="7723726" y="3960113"/>
                  <a:ext cx="75628" cy="75723"/>
                  <a:chOff x="7723726" y="3960113"/>
                  <a:chExt cx="75628" cy="75723"/>
                </a:xfrm>
              </p:grpSpPr>
              <p:sp>
                <p:nvSpPr>
                  <p:cNvPr id="10540" name="Freeform: Shape 10539">
                    <a:extLst>
                      <a:ext uri="{FF2B5EF4-FFF2-40B4-BE49-F238E27FC236}">
                        <a16:creationId xmlns:a16="http://schemas.microsoft.com/office/drawing/2014/main" id="{EAF6E42C-6102-C3DE-68B1-273990771054}"/>
                      </a:ext>
                    </a:extLst>
                  </p:cNvPr>
                  <p:cNvSpPr/>
                  <p:nvPr/>
                </p:nvSpPr>
                <p:spPr bwMode="gray">
                  <a:xfrm>
                    <a:off x="77615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41" name="Freeform: Shape 10540">
                    <a:extLst>
                      <a:ext uri="{FF2B5EF4-FFF2-40B4-BE49-F238E27FC236}">
                        <a16:creationId xmlns:a16="http://schemas.microsoft.com/office/drawing/2014/main" id="{C3DF5017-A3AE-438F-26F5-1A86AE4D2A36}"/>
                      </a:ext>
                    </a:extLst>
                  </p:cNvPr>
                  <p:cNvSpPr/>
                  <p:nvPr/>
                </p:nvSpPr>
                <p:spPr bwMode="gray">
                  <a:xfrm>
                    <a:off x="7723726"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9" name="Graphic 16">
                  <a:extLst>
                    <a:ext uri="{FF2B5EF4-FFF2-40B4-BE49-F238E27FC236}">
                      <a16:creationId xmlns:a16="http://schemas.microsoft.com/office/drawing/2014/main" id="{D8E3E5C0-450D-73D1-46EB-521212E98112}"/>
                    </a:ext>
                  </a:extLst>
                </p:cNvPr>
                <p:cNvGrpSpPr/>
                <p:nvPr/>
              </p:nvGrpSpPr>
              <p:grpSpPr bwMode="gray">
                <a:xfrm>
                  <a:off x="7714487" y="3960113"/>
                  <a:ext cx="75628" cy="75723"/>
                  <a:chOff x="7714487" y="3960113"/>
                  <a:chExt cx="75628" cy="75723"/>
                </a:xfrm>
              </p:grpSpPr>
              <p:sp>
                <p:nvSpPr>
                  <p:cNvPr id="10538" name="Freeform: Shape 10537">
                    <a:extLst>
                      <a:ext uri="{FF2B5EF4-FFF2-40B4-BE49-F238E27FC236}">
                        <a16:creationId xmlns:a16="http://schemas.microsoft.com/office/drawing/2014/main" id="{43570211-166C-9774-83D3-AB139EEA33AD}"/>
                      </a:ext>
                    </a:extLst>
                  </p:cNvPr>
                  <p:cNvSpPr/>
                  <p:nvPr/>
                </p:nvSpPr>
                <p:spPr bwMode="gray">
                  <a:xfrm>
                    <a:off x="775230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9" name="Freeform: Shape 10538">
                    <a:extLst>
                      <a:ext uri="{FF2B5EF4-FFF2-40B4-BE49-F238E27FC236}">
                        <a16:creationId xmlns:a16="http://schemas.microsoft.com/office/drawing/2014/main" id="{C702420C-E250-375A-83CB-8E1312AAB3B6}"/>
                      </a:ext>
                    </a:extLst>
                  </p:cNvPr>
                  <p:cNvSpPr/>
                  <p:nvPr/>
                </p:nvSpPr>
                <p:spPr bwMode="gray">
                  <a:xfrm>
                    <a:off x="7714487"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0" name="Graphic 16">
                  <a:extLst>
                    <a:ext uri="{FF2B5EF4-FFF2-40B4-BE49-F238E27FC236}">
                      <a16:creationId xmlns:a16="http://schemas.microsoft.com/office/drawing/2014/main" id="{00A4B875-9091-08F7-AECE-F5FBDD6266A2}"/>
                    </a:ext>
                  </a:extLst>
                </p:cNvPr>
                <p:cNvGrpSpPr/>
                <p:nvPr/>
              </p:nvGrpSpPr>
              <p:grpSpPr bwMode="gray">
                <a:xfrm>
                  <a:off x="7732870" y="3960113"/>
                  <a:ext cx="75723" cy="75723"/>
                  <a:chOff x="7732870" y="3960113"/>
                  <a:chExt cx="75723" cy="75723"/>
                </a:xfrm>
              </p:grpSpPr>
              <p:sp>
                <p:nvSpPr>
                  <p:cNvPr id="10536" name="Freeform: Shape 10535">
                    <a:extLst>
                      <a:ext uri="{FF2B5EF4-FFF2-40B4-BE49-F238E27FC236}">
                        <a16:creationId xmlns:a16="http://schemas.microsoft.com/office/drawing/2014/main" id="{8473D97C-0F12-41BA-D060-972438A8F37C}"/>
                      </a:ext>
                    </a:extLst>
                  </p:cNvPr>
                  <p:cNvSpPr/>
                  <p:nvPr/>
                </p:nvSpPr>
                <p:spPr bwMode="gray">
                  <a:xfrm>
                    <a:off x="777078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7" name="Freeform: Shape 10536">
                    <a:extLst>
                      <a:ext uri="{FF2B5EF4-FFF2-40B4-BE49-F238E27FC236}">
                        <a16:creationId xmlns:a16="http://schemas.microsoft.com/office/drawing/2014/main" id="{F25589A0-B109-698F-5BC5-4FEA29AB148C}"/>
                      </a:ext>
                    </a:extLst>
                  </p:cNvPr>
                  <p:cNvSpPr/>
                  <p:nvPr/>
                </p:nvSpPr>
                <p:spPr bwMode="gray">
                  <a:xfrm>
                    <a:off x="7732870"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 name="Graphic 16">
                  <a:extLst>
                    <a:ext uri="{FF2B5EF4-FFF2-40B4-BE49-F238E27FC236}">
                      <a16:creationId xmlns:a16="http://schemas.microsoft.com/office/drawing/2014/main" id="{66CAB1F9-7D29-8405-8A0E-15D4A7505E03}"/>
                    </a:ext>
                  </a:extLst>
                </p:cNvPr>
                <p:cNvGrpSpPr/>
                <p:nvPr/>
              </p:nvGrpSpPr>
              <p:grpSpPr bwMode="gray">
                <a:xfrm>
                  <a:off x="7761541" y="3960113"/>
                  <a:ext cx="75723" cy="75723"/>
                  <a:chOff x="7761541" y="3960113"/>
                  <a:chExt cx="75723" cy="75723"/>
                </a:xfrm>
              </p:grpSpPr>
              <p:sp>
                <p:nvSpPr>
                  <p:cNvPr id="10534" name="Freeform: Shape 10533">
                    <a:extLst>
                      <a:ext uri="{FF2B5EF4-FFF2-40B4-BE49-F238E27FC236}">
                        <a16:creationId xmlns:a16="http://schemas.microsoft.com/office/drawing/2014/main" id="{CCBE6092-EE70-130E-1F28-768159C2656A}"/>
                      </a:ext>
                    </a:extLst>
                  </p:cNvPr>
                  <p:cNvSpPr/>
                  <p:nvPr/>
                </p:nvSpPr>
                <p:spPr bwMode="gray">
                  <a:xfrm>
                    <a:off x="7799355"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5" name="Freeform: Shape 10534">
                    <a:extLst>
                      <a:ext uri="{FF2B5EF4-FFF2-40B4-BE49-F238E27FC236}">
                        <a16:creationId xmlns:a16="http://schemas.microsoft.com/office/drawing/2014/main" id="{826B3E56-E8ED-8C1A-85B0-7878C9943611}"/>
                      </a:ext>
                    </a:extLst>
                  </p:cNvPr>
                  <p:cNvSpPr/>
                  <p:nvPr/>
                </p:nvSpPr>
                <p:spPr bwMode="gray">
                  <a:xfrm>
                    <a:off x="776154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 name="Graphic 16">
                  <a:extLst>
                    <a:ext uri="{FF2B5EF4-FFF2-40B4-BE49-F238E27FC236}">
                      <a16:creationId xmlns:a16="http://schemas.microsoft.com/office/drawing/2014/main" id="{0B82D7D7-BBFF-4F5C-D061-AE587D586A5B}"/>
                    </a:ext>
                  </a:extLst>
                </p:cNvPr>
                <p:cNvGrpSpPr/>
                <p:nvPr/>
              </p:nvGrpSpPr>
              <p:grpSpPr bwMode="gray">
                <a:xfrm>
                  <a:off x="7752301" y="3960113"/>
                  <a:ext cx="75723" cy="75723"/>
                  <a:chOff x="7752301" y="3960113"/>
                  <a:chExt cx="75723" cy="75723"/>
                </a:xfrm>
              </p:grpSpPr>
              <p:sp>
                <p:nvSpPr>
                  <p:cNvPr id="10532" name="Freeform: Shape 10531">
                    <a:extLst>
                      <a:ext uri="{FF2B5EF4-FFF2-40B4-BE49-F238E27FC236}">
                        <a16:creationId xmlns:a16="http://schemas.microsoft.com/office/drawing/2014/main" id="{3703EE14-7739-332F-7FFE-D83D7295920E}"/>
                      </a:ext>
                    </a:extLst>
                  </p:cNvPr>
                  <p:cNvSpPr/>
                  <p:nvPr/>
                </p:nvSpPr>
                <p:spPr bwMode="gray">
                  <a:xfrm>
                    <a:off x="77901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3" name="Freeform: Shape 10532">
                    <a:extLst>
                      <a:ext uri="{FF2B5EF4-FFF2-40B4-BE49-F238E27FC236}">
                        <a16:creationId xmlns:a16="http://schemas.microsoft.com/office/drawing/2014/main" id="{0FB5CDDA-9F0D-8B97-5773-CDBAEEF2CCE5}"/>
                      </a:ext>
                    </a:extLst>
                  </p:cNvPr>
                  <p:cNvSpPr/>
                  <p:nvPr/>
                </p:nvSpPr>
                <p:spPr bwMode="gray">
                  <a:xfrm>
                    <a:off x="7752301"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4" name="Graphic 16">
                  <a:extLst>
                    <a:ext uri="{FF2B5EF4-FFF2-40B4-BE49-F238E27FC236}">
                      <a16:creationId xmlns:a16="http://schemas.microsoft.com/office/drawing/2014/main" id="{63EAD33E-AF84-AB00-C579-14D5488DDCD3}"/>
                    </a:ext>
                  </a:extLst>
                </p:cNvPr>
                <p:cNvGrpSpPr/>
                <p:nvPr/>
              </p:nvGrpSpPr>
              <p:grpSpPr bwMode="gray">
                <a:xfrm>
                  <a:off x="7770780" y="3960113"/>
                  <a:ext cx="75628" cy="75723"/>
                  <a:chOff x="7770780" y="3960113"/>
                  <a:chExt cx="75628" cy="75723"/>
                </a:xfrm>
              </p:grpSpPr>
              <p:sp>
                <p:nvSpPr>
                  <p:cNvPr id="10530" name="Freeform: Shape 10529">
                    <a:extLst>
                      <a:ext uri="{FF2B5EF4-FFF2-40B4-BE49-F238E27FC236}">
                        <a16:creationId xmlns:a16="http://schemas.microsoft.com/office/drawing/2014/main" id="{E28CAFAB-094C-98DE-9C7D-FA67C6139742}"/>
                      </a:ext>
                    </a:extLst>
                  </p:cNvPr>
                  <p:cNvSpPr/>
                  <p:nvPr/>
                </p:nvSpPr>
                <p:spPr bwMode="gray">
                  <a:xfrm>
                    <a:off x="780859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1" name="Freeform: Shape 10530">
                    <a:extLst>
                      <a:ext uri="{FF2B5EF4-FFF2-40B4-BE49-F238E27FC236}">
                        <a16:creationId xmlns:a16="http://schemas.microsoft.com/office/drawing/2014/main" id="{54EEAF81-2184-DAE5-8BFE-3FEB70964298}"/>
                      </a:ext>
                    </a:extLst>
                  </p:cNvPr>
                  <p:cNvSpPr/>
                  <p:nvPr/>
                </p:nvSpPr>
                <p:spPr bwMode="gray">
                  <a:xfrm>
                    <a:off x="777078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5" name="Graphic 16">
                  <a:extLst>
                    <a:ext uri="{FF2B5EF4-FFF2-40B4-BE49-F238E27FC236}">
                      <a16:creationId xmlns:a16="http://schemas.microsoft.com/office/drawing/2014/main" id="{76BF6BAA-6592-FCEE-1E87-35FFC02CA058}"/>
                    </a:ext>
                  </a:extLst>
                </p:cNvPr>
                <p:cNvGrpSpPr/>
                <p:nvPr/>
              </p:nvGrpSpPr>
              <p:grpSpPr bwMode="gray">
                <a:xfrm>
                  <a:off x="7891747" y="3960113"/>
                  <a:ext cx="75723" cy="75723"/>
                  <a:chOff x="7891747" y="3960113"/>
                  <a:chExt cx="75723" cy="75723"/>
                </a:xfrm>
              </p:grpSpPr>
              <p:sp>
                <p:nvSpPr>
                  <p:cNvPr id="10528" name="Freeform: Shape 10527">
                    <a:extLst>
                      <a:ext uri="{FF2B5EF4-FFF2-40B4-BE49-F238E27FC236}">
                        <a16:creationId xmlns:a16="http://schemas.microsoft.com/office/drawing/2014/main" id="{E62A1B11-A6A3-87FD-819A-F7997B9FF63B}"/>
                      </a:ext>
                    </a:extLst>
                  </p:cNvPr>
                  <p:cNvSpPr/>
                  <p:nvPr/>
                </p:nvSpPr>
                <p:spPr bwMode="gray">
                  <a:xfrm>
                    <a:off x="792956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29" name="Freeform: Shape 10528">
                    <a:extLst>
                      <a:ext uri="{FF2B5EF4-FFF2-40B4-BE49-F238E27FC236}">
                        <a16:creationId xmlns:a16="http://schemas.microsoft.com/office/drawing/2014/main" id="{797D44B1-DCB9-9A3A-DA02-D8A16CF1FFA2}"/>
                      </a:ext>
                    </a:extLst>
                  </p:cNvPr>
                  <p:cNvSpPr/>
                  <p:nvPr/>
                </p:nvSpPr>
                <p:spPr bwMode="gray">
                  <a:xfrm>
                    <a:off x="789174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6" name="Graphic 16">
                  <a:extLst>
                    <a:ext uri="{FF2B5EF4-FFF2-40B4-BE49-F238E27FC236}">
                      <a16:creationId xmlns:a16="http://schemas.microsoft.com/office/drawing/2014/main" id="{D651ADA7-1D6D-A2A0-9B20-797107D9CE71}"/>
                    </a:ext>
                  </a:extLst>
                </p:cNvPr>
                <p:cNvGrpSpPr/>
                <p:nvPr/>
              </p:nvGrpSpPr>
              <p:grpSpPr bwMode="gray">
                <a:xfrm>
                  <a:off x="7853933" y="3960113"/>
                  <a:ext cx="75628" cy="75723"/>
                  <a:chOff x="7853933" y="3960113"/>
                  <a:chExt cx="75628" cy="75723"/>
                </a:xfrm>
              </p:grpSpPr>
              <p:sp>
                <p:nvSpPr>
                  <p:cNvPr id="10526" name="Freeform: Shape 10525">
                    <a:extLst>
                      <a:ext uri="{FF2B5EF4-FFF2-40B4-BE49-F238E27FC236}">
                        <a16:creationId xmlns:a16="http://schemas.microsoft.com/office/drawing/2014/main" id="{44CE1A17-D4DA-E85C-5126-3C8DF228735E}"/>
                      </a:ext>
                    </a:extLst>
                  </p:cNvPr>
                  <p:cNvSpPr/>
                  <p:nvPr/>
                </p:nvSpPr>
                <p:spPr bwMode="gray">
                  <a:xfrm>
                    <a:off x="789174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27" name="Freeform: Shape 10526">
                    <a:extLst>
                      <a:ext uri="{FF2B5EF4-FFF2-40B4-BE49-F238E27FC236}">
                        <a16:creationId xmlns:a16="http://schemas.microsoft.com/office/drawing/2014/main" id="{F5B30088-0D6E-09E9-3D9F-32C3E9A91F86}"/>
                      </a:ext>
                    </a:extLst>
                  </p:cNvPr>
                  <p:cNvSpPr/>
                  <p:nvPr/>
                </p:nvSpPr>
                <p:spPr bwMode="gray">
                  <a:xfrm>
                    <a:off x="7853933"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7" name="Graphic 16">
                  <a:extLst>
                    <a:ext uri="{FF2B5EF4-FFF2-40B4-BE49-F238E27FC236}">
                      <a16:creationId xmlns:a16="http://schemas.microsoft.com/office/drawing/2014/main" id="{4F589910-FB99-0601-93CD-3E3CA4114989}"/>
                    </a:ext>
                  </a:extLst>
                </p:cNvPr>
                <p:cNvGrpSpPr/>
                <p:nvPr/>
              </p:nvGrpSpPr>
              <p:grpSpPr bwMode="gray">
                <a:xfrm>
                  <a:off x="7873459" y="3960113"/>
                  <a:ext cx="75628" cy="75723"/>
                  <a:chOff x="7873459" y="3960113"/>
                  <a:chExt cx="75628" cy="75723"/>
                </a:xfrm>
              </p:grpSpPr>
              <p:sp>
                <p:nvSpPr>
                  <p:cNvPr id="10524" name="Freeform: Shape 10523">
                    <a:extLst>
                      <a:ext uri="{FF2B5EF4-FFF2-40B4-BE49-F238E27FC236}">
                        <a16:creationId xmlns:a16="http://schemas.microsoft.com/office/drawing/2014/main" id="{30B2903C-FB6B-2C06-4C33-52169F51607A}"/>
                      </a:ext>
                    </a:extLst>
                  </p:cNvPr>
                  <p:cNvSpPr/>
                  <p:nvPr/>
                </p:nvSpPr>
                <p:spPr bwMode="gray">
                  <a:xfrm>
                    <a:off x="791127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25" name="Freeform: Shape 10524">
                    <a:extLst>
                      <a:ext uri="{FF2B5EF4-FFF2-40B4-BE49-F238E27FC236}">
                        <a16:creationId xmlns:a16="http://schemas.microsoft.com/office/drawing/2014/main" id="{E078B825-6491-5EAD-DF59-B5782B36205C}"/>
                      </a:ext>
                    </a:extLst>
                  </p:cNvPr>
                  <p:cNvSpPr/>
                  <p:nvPr/>
                </p:nvSpPr>
                <p:spPr bwMode="gray">
                  <a:xfrm>
                    <a:off x="7873459"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8" name="Graphic 16">
                  <a:extLst>
                    <a:ext uri="{FF2B5EF4-FFF2-40B4-BE49-F238E27FC236}">
                      <a16:creationId xmlns:a16="http://schemas.microsoft.com/office/drawing/2014/main" id="{4F90E3A7-F9E5-0F07-E043-E4552600120E}"/>
                    </a:ext>
                  </a:extLst>
                </p:cNvPr>
                <p:cNvGrpSpPr/>
                <p:nvPr/>
              </p:nvGrpSpPr>
              <p:grpSpPr bwMode="gray">
                <a:xfrm>
                  <a:off x="8087772" y="3960113"/>
                  <a:ext cx="75628" cy="75723"/>
                  <a:chOff x="8087772" y="3960113"/>
                  <a:chExt cx="75628" cy="75723"/>
                </a:xfrm>
              </p:grpSpPr>
              <p:sp>
                <p:nvSpPr>
                  <p:cNvPr id="10522" name="Freeform: Shape 10521">
                    <a:extLst>
                      <a:ext uri="{FF2B5EF4-FFF2-40B4-BE49-F238E27FC236}">
                        <a16:creationId xmlns:a16="http://schemas.microsoft.com/office/drawing/2014/main" id="{211A055C-FFAD-E8E0-01B3-AB3DD76AD1BC}"/>
                      </a:ext>
                    </a:extLst>
                  </p:cNvPr>
                  <p:cNvSpPr/>
                  <p:nvPr/>
                </p:nvSpPr>
                <p:spPr bwMode="gray">
                  <a:xfrm>
                    <a:off x="812558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23" name="Freeform: Shape 10522">
                    <a:extLst>
                      <a:ext uri="{FF2B5EF4-FFF2-40B4-BE49-F238E27FC236}">
                        <a16:creationId xmlns:a16="http://schemas.microsoft.com/office/drawing/2014/main" id="{B70CD15B-18AC-07FB-35FA-1EEF764A0CD3}"/>
                      </a:ext>
                    </a:extLst>
                  </p:cNvPr>
                  <p:cNvSpPr/>
                  <p:nvPr/>
                </p:nvSpPr>
                <p:spPr bwMode="gray">
                  <a:xfrm>
                    <a:off x="8087772"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6" name="Graphic 16">
                  <a:extLst>
                    <a:ext uri="{FF2B5EF4-FFF2-40B4-BE49-F238E27FC236}">
                      <a16:creationId xmlns:a16="http://schemas.microsoft.com/office/drawing/2014/main" id="{3F5C5E6A-9023-49F6-BEAE-D6A029D6EBDF}"/>
                    </a:ext>
                  </a:extLst>
                </p:cNvPr>
                <p:cNvGrpSpPr/>
                <p:nvPr/>
              </p:nvGrpSpPr>
              <p:grpSpPr bwMode="gray">
                <a:xfrm>
                  <a:off x="8049862" y="3960113"/>
                  <a:ext cx="75723" cy="75723"/>
                  <a:chOff x="8049862" y="3960113"/>
                  <a:chExt cx="75723" cy="75723"/>
                </a:xfrm>
              </p:grpSpPr>
              <p:sp>
                <p:nvSpPr>
                  <p:cNvPr id="10520" name="Freeform: Shape 10519">
                    <a:extLst>
                      <a:ext uri="{FF2B5EF4-FFF2-40B4-BE49-F238E27FC236}">
                        <a16:creationId xmlns:a16="http://schemas.microsoft.com/office/drawing/2014/main" id="{D30FC422-A73C-1FA0-EAAD-8854CAE72B90}"/>
                      </a:ext>
                    </a:extLst>
                  </p:cNvPr>
                  <p:cNvSpPr/>
                  <p:nvPr/>
                </p:nvSpPr>
                <p:spPr bwMode="gray">
                  <a:xfrm>
                    <a:off x="808777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21" name="Freeform: Shape 10520">
                    <a:extLst>
                      <a:ext uri="{FF2B5EF4-FFF2-40B4-BE49-F238E27FC236}">
                        <a16:creationId xmlns:a16="http://schemas.microsoft.com/office/drawing/2014/main" id="{5145F535-3D70-2E8C-19C7-CCE00A29D4ED}"/>
                      </a:ext>
                    </a:extLst>
                  </p:cNvPr>
                  <p:cNvSpPr/>
                  <p:nvPr/>
                </p:nvSpPr>
                <p:spPr bwMode="gray">
                  <a:xfrm>
                    <a:off x="804986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7" name="Graphic 16">
                  <a:extLst>
                    <a:ext uri="{FF2B5EF4-FFF2-40B4-BE49-F238E27FC236}">
                      <a16:creationId xmlns:a16="http://schemas.microsoft.com/office/drawing/2014/main" id="{50118CD9-1BE9-5689-8BC3-A4D7779CD3B1}"/>
                    </a:ext>
                  </a:extLst>
                </p:cNvPr>
                <p:cNvGrpSpPr/>
                <p:nvPr/>
              </p:nvGrpSpPr>
              <p:grpSpPr bwMode="gray">
                <a:xfrm>
                  <a:off x="7996046" y="3960113"/>
                  <a:ext cx="75628" cy="75723"/>
                  <a:chOff x="7996046" y="3960113"/>
                  <a:chExt cx="75628" cy="75723"/>
                </a:xfrm>
              </p:grpSpPr>
              <p:sp>
                <p:nvSpPr>
                  <p:cNvPr id="10518" name="Freeform: Shape 10517">
                    <a:extLst>
                      <a:ext uri="{FF2B5EF4-FFF2-40B4-BE49-F238E27FC236}">
                        <a16:creationId xmlns:a16="http://schemas.microsoft.com/office/drawing/2014/main" id="{BF946AE4-92DD-61AC-D322-B2011C7C2EA9}"/>
                      </a:ext>
                    </a:extLst>
                  </p:cNvPr>
                  <p:cNvSpPr/>
                  <p:nvPr/>
                </p:nvSpPr>
                <p:spPr bwMode="gray">
                  <a:xfrm>
                    <a:off x="803386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19" name="Freeform: Shape 10518">
                    <a:extLst>
                      <a:ext uri="{FF2B5EF4-FFF2-40B4-BE49-F238E27FC236}">
                        <a16:creationId xmlns:a16="http://schemas.microsoft.com/office/drawing/2014/main" id="{81938190-0CC2-EA93-25CB-BCFEACBAF670}"/>
                      </a:ext>
                    </a:extLst>
                  </p:cNvPr>
                  <p:cNvSpPr/>
                  <p:nvPr/>
                </p:nvSpPr>
                <p:spPr bwMode="gray">
                  <a:xfrm>
                    <a:off x="7996046" y="399792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8" name="Graphic 16">
                  <a:extLst>
                    <a:ext uri="{FF2B5EF4-FFF2-40B4-BE49-F238E27FC236}">
                      <a16:creationId xmlns:a16="http://schemas.microsoft.com/office/drawing/2014/main" id="{6D844E9A-31C2-4B5C-1F7B-20230BAE385F}"/>
                    </a:ext>
                  </a:extLst>
                </p:cNvPr>
                <p:cNvGrpSpPr/>
                <p:nvPr/>
              </p:nvGrpSpPr>
              <p:grpSpPr bwMode="gray">
                <a:xfrm>
                  <a:off x="7942230" y="3960113"/>
                  <a:ext cx="75628" cy="75723"/>
                  <a:chOff x="7942230" y="3960113"/>
                  <a:chExt cx="75628" cy="75723"/>
                </a:xfrm>
              </p:grpSpPr>
              <p:sp>
                <p:nvSpPr>
                  <p:cNvPr id="10516" name="Freeform: Shape 10515">
                    <a:extLst>
                      <a:ext uri="{FF2B5EF4-FFF2-40B4-BE49-F238E27FC236}">
                        <a16:creationId xmlns:a16="http://schemas.microsoft.com/office/drawing/2014/main" id="{82C9E857-6BD2-0613-C950-23260267FF25}"/>
                      </a:ext>
                    </a:extLst>
                  </p:cNvPr>
                  <p:cNvSpPr/>
                  <p:nvPr/>
                </p:nvSpPr>
                <p:spPr bwMode="gray">
                  <a:xfrm>
                    <a:off x="7980044"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17" name="Freeform: Shape 10516">
                    <a:extLst>
                      <a:ext uri="{FF2B5EF4-FFF2-40B4-BE49-F238E27FC236}">
                        <a16:creationId xmlns:a16="http://schemas.microsoft.com/office/drawing/2014/main" id="{A5D5D1B3-DE8D-C14B-F633-224275C856B9}"/>
                      </a:ext>
                    </a:extLst>
                  </p:cNvPr>
                  <p:cNvSpPr/>
                  <p:nvPr/>
                </p:nvSpPr>
                <p:spPr bwMode="gray">
                  <a:xfrm>
                    <a:off x="7942230" y="399792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39" name="Graphic 16">
                  <a:extLst>
                    <a:ext uri="{FF2B5EF4-FFF2-40B4-BE49-F238E27FC236}">
                      <a16:creationId xmlns:a16="http://schemas.microsoft.com/office/drawing/2014/main" id="{69D09181-534B-4C91-AC3E-1081B6BFFDC3}"/>
                    </a:ext>
                  </a:extLst>
                </p:cNvPr>
                <p:cNvGrpSpPr/>
                <p:nvPr/>
              </p:nvGrpSpPr>
              <p:grpSpPr bwMode="gray">
                <a:xfrm>
                  <a:off x="8240934" y="3960113"/>
                  <a:ext cx="75723" cy="75723"/>
                  <a:chOff x="8240934" y="3960113"/>
                  <a:chExt cx="75723" cy="75723"/>
                </a:xfrm>
              </p:grpSpPr>
              <p:sp>
                <p:nvSpPr>
                  <p:cNvPr id="10514" name="Freeform: Shape 10513">
                    <a:extLst>
                      <a:ext uri="{FF2B5EF4-FFF2-40B4-BE49-F238E27FC236}">
                        <a16:creationId xmlns:a16="http://schemas.microsoft.com/office/drawing/2014/main" id="{CF82D6E5-A03F-C508-57DB-684FA0A6E959}"/>
                      </a:ext>
                    </a:extLst>
                  </p:cNvPr>
                  <p:cNvSpPr/>
                  <p:nvPr/>
                </p:nvSpPr>
                <p:spPr bwMode="gray">
                  <a:xfrm>
                    <a:off x="8278843"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15" name="Freeform: Shape 10514">
                    <a:extLst>
                      <a:ext uri="{FF2B5EF4-FFF2-40B4-BE49-F238E27FC236}">
                        <a16:creationId xmlns:a16="http://schemas.microsoft.com/office/drawing/2014/main" id="{03FA92EB-0262-5F30-6B23-BD8EF81D6B85}"/>
                      </a:ext>
                    </a:extLst>
                  </p:cNvPr>
                  <p:cNvSpPr/>
                  <p:nvPr/>
                </p:nvSpPr>
                <p:spPr bwMode="gray">
                  <a:xfrm>
                    <a:off x="8240934"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0" name="Graphic 16">
                  <a:extLst>
                    <a:ext uri="{FF2B5EF4-FFF2-40B4-BE49-F238E27FC236}">
                      <a16:creationId xmlns:a16="http://schemas.microsoft.com/office/drawing/2014/main" id="{1778B432-D3F9-9BCD-D6AF-F089724E5778}"/>
                    </a:ext>
                  </a:extLst>
                </p:cNvPr>
                <p:cNvGrpSpPr/>
                <p:nvPr/>
              </p:nvGrpSpPr>
              <p:grpSpPr bwMode="gray">
                <a:xfrm>
                  <a:off x="8253316" y="3960113"/>
                  <a:ext cx="75723" cy="75723"/>
                  <a:chOff x="8253316" y="3960113"/>
                  <a:chExt cx="75723" cy="75723"/>
                </a:xfrm>
              </p:grpSpPr>
              <p:sp>
                <p:nvSpPr>
                  <p:cNvPr id="10512" name="Freeform: Shape 10511">
                    <a:extLst>
                      <a:ext uri="{FF2B5EF4-FFF2-40B4-BE49-F238E27FC236}">
                        <a16:creationId xmlns:a16="http://schemas.microsoft.com/office/drawing/2014/main" id="{4116C5A7-34B0-00F7-70C7-1D8E96A1717F}"/>
                      </a:ext>
                    </a:extLst>
                  </p:cNvPr>
                  <p:cNvSpPr/>
                  <p:nvPr/>
                </p:nvSpPr>
                <p:spPr bwMode="gray">
                  <a:xfrm>
                    <a:off x="82912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13" name="Freeform: Shape 10512">
                    <a:extLst>
                      <a:ext uri="{FF2B5EF4-FFF2-40B4-BE49-F238E27FC236}">
                        <a16:creationId xmlns:a16="http://schemas.microsoft.com/office/drawing/2014/main" id="{419F2213-7EBA-3864-FA90-A4C15C0D5534}"/>
                      </a:ext>
                    </a:extLst>
                  </p:cNvPr>
                  <p:cNvSpPr/>
                  <p:nvPr/>
                </p:nvSpPr>
                <p:spPr bwMode="gray">
                  <a:xfrm>
                    <a:off x="8253316"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1" name="Graphic 16">
                  <a:extLst>
                    <a:ext uri="{FF2B5EF4-FFF2-40B4-BE49-F238E27FC236}">
                      <a16:creationId xmlns:a16="http://schemas.microsoft.com/office/drawing/2014/main" id="{72C120DE-10B8-199A-15AD-DEF633D1BFDF}"/>
                    </a:ext>
                  </a:extLst>
                </p:cNvPr>
                <p:cNvGrpSpPr/>
                <p:nvPr/>
              </p:nvGrpSpPr>
              <p:grpSpPr bwMode="gray">
                <a:xfrm>
                  <a:off x="8215502" y="3960113"/>
                  <a:ext cx="75723" cy="75723"/>
                  <a:chOff x="8215502" y="3960113"/>
                  <a:chExt cx="75723" cy="75723"/>
                </a:xfrm>
              </p:grpSpPr>
              <p:sp>
                <p:nvSpPr>
                  <p:cNvPr id="10510" name="Freeform: Shape 10509">
                    <a:extLst>
                      <a:ext uri="{FF2B5EF4-FFF2-40B4-BE49-F238E27FC236}">
                        <a16:creationId xmlns:a16="http://schemas.microsoft.com/office/drawing/2014/main" id="{699E54BB-627A-87F3-A347-9518D0F36197}"/>
                      </a:ext>
                    </a:extLst>
                  </p:cNvPr>
                  <p:cNvSpPr/>
                  <p:nvPr/>
                </p:nvSpPr>
                <p:spPr bwMode="gray">
                  <a:xfrm>
                    <a:off x="825331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11" name="Freeform: Shape 10510">
                    <a:extLst>
                      <a:ext uri="{FF2B5EF4-FFF2-40B4-BE49-F238E27FC236}">
                        <a16:creationId xmlns:a16="http://schemas.microsoft.com/office/drawing/2014/main" id="{75165EA0-1744-D3E5-12F8-EC8A7B94EDAF}"/>
                      </a:ext>
                    </a:extLst>
                  </p:cNvPr>
                  <p:cNvSpPr/>
                  <p:nvPr/>
                </p:nvSpPr>
                <p:spPr bwMode="gray">
                  <a:xfrm>
                    <a:off x="821550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2" name="Graphic 16">
                  <a:extLst>
                    <a:ext uri="{FF2B5EF4-FFF2-40B4-BE49-F238E27FC236}">
                      <a16:creationId xmlns:a16="http://schemas.microsoft.com/office/drawing/2014/main" id="{174B5A8A-8FD1-6128-D7A4-4615A4743232}"/>
                    </a:ext>
                  </a:extLst>
                </p:cNvPr>
                <p:cNvGrpSpPr/>
                <p:nvPr/>
              </p:nvGrpSpPr>
              <p:grpSpPr bwMode="gray">
                <a:xfrm>
                  <a:off x="8146827" y="3960113"/>
                  <a:ext cx="75723" cy="75723"/>
                  <a:chOff x="8146827" y="3960113"/>
                  <a:chExt cx="75723" cy="75723"/>
                </a:xfrm>
              </p:grpSpPr>
              <p:sp>
                <p:nvSpPr>
                  <p:cNvPr id="10508" name="Freeform: Shape 10507">
                    <a:extLst>
                      <a:ext uri="{FF2B5EF4-FFF2-40B4-BE49-F238E27FC236}">
                        <a16:creationId xmlns:a16="http://schemas.microsoft.com/office/drawing/2014/main" id="{DD882AAB-16F8-21BC-B4CE-DBB9D36664DA}"/>
                      </a:ext>
                    </a:extLst>
                  </p:cNvPr>
                  <p:cNvSpPr/>
                  <p:nvPr/>
                </p:nvSpPr>
                <p:spPr bwMode="gray">
                  <a:xfrm>
                    <a:off x="818473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9" name="Freeform: Shape 10508">
                    <a:extLst>
                      <a:ext uri="{FF2B5EF4-FFF2-40B4-BE49-F238E27FC236}">
                        <a16:creationId xmlns:a16="http://schemas.microsoft.com/office/drawing/2014/main" id="{5A0A39FF-9632-FCF7-1A0B-AC0EE05BE9B0}"/>
                      </a:ext>
                    </a:extLst>
                  </p:cNvPr>
                  <p:cNvSpPr/>
                  <p:nvPr/>
                </p:nvSpPr>
                <p:spPr bwMode="gray">
                  <a:xfrm>
                    <a:off x="8146827"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3" name="Graphic 16">
                  <a:extLst>
                    <a:ext uri="{FF2B5EF4-FFF2-40B4-BE49-F238E27FC236}">
                      <a16:creationId xmlns:a16="http://schemas.microsoft.com/office/drawing/2014/main" id="{983F216F-98EB-010D-AFEE-9312A8BD7A1C}"/>
                    </a:ext>
                  </a:extLst>
                </p:cNvPr>
                <p:cNvGrpSpPr/>
                <p:nvPr/>
              </p:nvGrpSpPr>
              <p:grpSpPr bwMode="gray">
                <a:xfrm>
                  <a:off x="7920322" y="3960113"/>
                  <a:ext cx="75723" cy="75723"/>
                  <a:chOff x="7920322" y="3960113"/>
                  <a:chExt cx="75723" cy="75723"/>
                </a:xfrm>
              </p:grpSpPr>
              <p:sp>
                <p:nvSpPr>
                  <p:cNvPr id="10506" name="Freeform: Shape 10505">
                    <a:extLst>
                      <a:ext uri="{FF2B5EF4-FFF2-40B4-BE49-F238E27FC236}">
                        <a16:creationId xmlns:a16="http://schemas.microsoft.com/office/drawing/2014/main" id="{EBDBE068-D692-7937-D166-9CD78A448448}"/>
                      </a:ext>
                    </a:extLst>
                  </p:cNvPr>
                  <p:cNvSpPr/>
                  <p:nvPr/>
                </p:nvSpPr>
                <p:spPr bwMode="gray">
                  <a:xfrm>
                    <a:off x="795813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7" name="Freeform: Shape 10506">
                    <a:extLst>
                      <a:ext uri="{FF2B5EF4-FFF2-40B4-BE49-F238E27FC236}">
                        <a16:creationId xmlns:a16="http://schemas.microsoft.com/office/drawing/2014/main" id="{AA577430-3354-5105-95EF-D41DD5917153}"/>
                      </a:ext>
                    </a:extLst>
                  </p:cNvPr>
                  <p:cNvSpPr/>
                  <p:nvPr/>
                </p:nvSpPr>
                <p:spPr bwMode="gray">
                  <a:xfrm>
                    <a:off x="7920322" y="39979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4" name="Graphic 16">
                  <a:extLst>
                    <a:ext uri="{FF2B5EF4-FFF2-40B4-BE49-F238E27FC236}">
                      <a16:creationId xmlns:a16="http://schemas.microsoft.com/office/drawing/2014/main" id="{4443F794-08FA-D3EF-2795-000DDF1300C4}"/>
                    </a:ext>
                  </a:extLst>
                </p:cNvPr>
                <p:cNvGrpSpPr/>
                <p:nvPr/>
              </p:nvGrpSpPr>
              <p:grpSpPr bwMode="gray">
                <a:xfrm>
                  <a:off x="7685817" y="3960113"/>
                  <a:ext cx="75723" cy="75723"/>
                  <a:chOff x="7685817" y="3960113"/>
                  <a:chExt cx="75723" cy="75723"/>
                </a:xfrm>
              </p:grpSpPr>
              <p:sp>
                <p:nvSpPr>
                  <p:cNvPr id="10504" name="Freeform: Shape 10503">
                    <a:extLst>
                      <a:ext uri="{FF2B5EF4-FFF2-40B4-BE49-F238E27FC236}">
                        <a16:creationId xmlns:a16="http://schemas.microsoft.com/office/drawing/2014/main" id="{372537EF-ED6C-984D-270B-47C331FCEC91}"/>
                      </a:ext>
                    </a:extLst>
                  </p:cNvPr>
                  <p:cNvSpPr/>
                  <p:nvPr/>
                </p:nvSpPr>
                <p:spPr bwMode="gray">
                  <a:xfrm>
                    <a:off x="772372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5" name="Freeform: Shape 10504">
                    <a:extLst>
                      <a:ext uri="{FF2B5EF4-FFF2-40B4-BE49-F238E27FC236}">
                        <a16:creationId xmlns:a16="http://schemas.microsoft.com/office/drawing/2014/main" id="{93752859-F83E-4212-F2F7-28BF7FEEFCC0}"/>
                      </a:ext>
                    </a:extLst>
                  </p:cNvPr>
                  <p:cNvSpPr/>
                  <p:nvPr/>
                </p:nvSpPr>
                <p:spPr bwMode="gray">
                  <a:xfrm>
                    <a:off x="7685817"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5" name="Graphic 16">
                  <a:extLst>
                    <a:ext uri="{FF2B5EF4-FFF2-40B4-BE49-F238E27FC236}">
                      <a16:creationId xmlns:a16="http://schemas.microsoft.com/office/drawing/2014/main" id="{7AA1E530-4B19-23FB-F788-449687CEB9EE}"/>
                    </a:ext>
                  </a:extLst>
                </p:cNvPr>
                <p:cNvGrpSpPr/>
                <p:nvPr/>
              </p:nvGrpSpPr>
              <p:grpSpPr bwMode="gray">
                <a:xfrm>
                  <a:off x="7676578" y="3960113"/>
                  <a:ext cx="75723" cy="75723"/>
                  <a:chOff x="7676578" y="3960113"/>
                  <a:chExt cx="75723" cy="75723"/>
                </a:xfrm>
              </p:grpSpPr>
              <p:sp>
                <p:nvSpPr>
                  <p:cNvPr id="10502" name="Freeform: Shape 10501">
                    <a:extLst>
                      <a:ext uri="{FF2B5EF4-FFF2-40B4-BE49-F238E27FC236}">
                        <a16:creationId xmlns:a16="http://schemas.microsoft.com/office/drawing/2014/main" id="{1CFD46AD-6FB1-A8C0-7B83-B2F72622A508}"/>
                      </a:ext>
                    </a:extLst>
                  </p:cNvPr>
                  <p:cNvSpPr/>
                  <p:nvPr/>
                </p:nvSpPr>
                <p:spPr bwMode="gray">
                  <a:xfrm>
                    <a:off x="7714487"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3" name="Freeform: Shape 10502">
                    <a:extLst>
                      <a:ext uri="{FF2B5EF4-FFF2-40B4-BE49-F238E27FC236}">
                        <a16:creationId xmlns:a16="http://schemas.microsoft.com/office/drawing/2014/main" id="{B10D5F74-3176-FB3A-FCF6-283F8504E7FB}"/>
                      </a:ext>
                    </a:extLst>
                  </p:cNvPr>
                  <p:cNvSpPr/>
                  <p:nvPr/>
                </p:nvSpPr>
                <p:spPr bwMode="gray">
                  <a:xfrm>
                    <a:off x="7676578"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6" name="Graphic 16">
                  <a:extLst>
                    <a:ext uri="{FF2B5EF4-FFF2-40B4-BE49-F238E27FC236}">
                      <a16:creationId xmlns:a16="http://schemas.microsoft.com/office/drawing/2014/main" id="{B0B1F669-22E8-FAF9-84B7-27AEC3AC8460}"/>
                    </a:ext>
                  </a:extLst>
                </p:cNvPr>
                <p:cNvGrpSpPr/>
                <p:nvPr/>
              </p:nvGrpSpPr>
              <p:grpSpPr bwMode="gray">
                <a:xfrm>
                  <a:off x="7695056" y="3960113"/>
                  <a:ext cx="75723" cy="75723"/>
                  <a:chOff x="7695056" y="3960113"/>
                  <a:chExt cx="75723" cy="75723"/>
                </a:xfrm>
              </p:grpSpPr>
              <p:sp>
                <p:nvSpPr>
                  <p:cNvPr id="10500" name="Freeform: Shape 10499">
                    <a:extLst>
                      <a:ext uri="{FF2B5EF4-FFF2-40B4-BE49-F238E27FC236}">
                        <a16:creationId xmlns:a16="http://schemas.microsoft.com/office/drawing/2014/main" id="{5C84ABE1-A985-F6C6-70F2-797BF2F20E0C}"/>
                      </a:ext>
                    </a:extLst>
                  </p:cNvPr>
                  <p:cNvSpPr/>
                  <p:nvPr/>
                </p:nvSpPr>
                <p:spPr bwMode="gray">
                  <a:xfrm>
                    <a:off x="773287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1" name="Freeform: Shape 10500">
                    <a:extLst>
                      <a:ext uri="{FF2B5EF4-FFF2-40B4-BE49-F238E27FC236}">
                        <a16:creationId xmlns:a16="http://schemas.microsoft.com/office/drawing/2014/main" id="{CF33F667-FFE5-92D6-AFE3-A759E285B6CB}"/>
                      </a:ext>
                    </a:extLst>
                  </p:cNvPr>
                  <p:cNvSpPr/>
                  <p:nvPr/>
                </p:nvSpPr>
                <p:spPr bwMode="gray">
                  <a:xfrm>
                    <a:off x="7695056"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7" name="Graphic 16">
                  <a:extLst>
                    <a:ext uri="{FF2B5EF4-FFF2-40B4-BE49-F238E27FC236}">
                      <a16:creationId xmlns:a16="http://schemas.microsoft.com/office/drawing/2014/main" id="{DDD7D62D-8D93-916A-7081-BAE8B80EEE33}"/>
                    </a:ext>
                  </a:extLst>
                </p:cNvPr>
                <p:cNvGrpSpPr/>
                <p:nvPr/>
              </p:nvGrpSpPr>
              <p:grpSpPr bwMode="gray">
                <a:xfrm>
                  <a:off x="8409526" y="3960113"/>
                  <a:ext cx="75628" cy="75723"/>
                  <a:chOff x="8409526" y="3960113"/>
                  <a:chExt cx="75628" cy="75723"/>
                </a:xfrm>
              </p:grpSpPr>
              <p:sp>
                <p:nvSpPr>
                  <p:cNvPr id="10498" name="Freeform: Shape 10497">
                    <a:extLst>
                      <a:ext uri="{FF2B5EF4-FFF2-40B4-BE49-F238E27FC236}">
                        <a16:creationId xmlns:a16="http://schemas.microsoft.com/office/drawing/2014/main" id="{4C1F0E04-3E94-32D4-4A60-DD8A517AFB21}"/>
                      </a:ext>
                    </a:extLst>
                  </p:cNvPr>
                  <p:cNvSpPr/>
                  <p:nvPr/>
                </p:nvSpPr>
                <p:spPr bwMode="gray">
                  <a:xfrm>
                    <a:off x="8447341"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99" name="Freeform: Shape 10498">
                    <a:extLst>
                      <a:ext uri="{FF2B5EF4-FFF2-40B4-BE49-F238E27FC236}">
                        <a16:creationId xmlns:a16="http://schemas.microsoft.com/office/drawing/2014/main" id="{60003162-AE38-B237-F559-5C2A847172C8}"/>
                      </a:ext>
                    </a:extLst>
                  </p:cNvPr>
                  <p:cNvSpPr/>
                  <p:nvPr/>
                </p:nvSpPr>
                <p:spPr bwMode="gray">
                  <a:xfrm>
                    <a:off x="8409526"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8" name="Graphic 16">
                  <a:extLst>
                    <a:ext uri="{FF2B5EF4-FFF2-40B4-BE49-F238E27FC236}">
                      <a16:creationId xmlns:a16="http://schemas.microsoft.com/office/drawing/2014/main" id="{95AA15E9-96C6-0956-A66E-F8335F0D3FE4}"/>
                    </a:ext>
                  </a:extLst>
                </p:cNvPr>
                <p:cNvGrpSpPr/>
                <p:nvPr/>
              </p:nvGrpSpPr>
              <p:grpSpPr bwMode="gray">
                <a:xfrm>
                  <a:off x="8381142" y="3960113"/>
                  <a:ext cx="75723" cy="75723"/>
                  <a:chOff x="8381142" y="3960113"/>
                  <a:chExt cx="75723" cy="75723"/>
                </a:xfrm>
              </p:grpSpPr>
              <p:sp>
                <p:nvSpPr>
                  <p:cNvPr id="10496" name="Freeform: Shape 10495">
                    <a:extLst>
                      <a:ext uri="{FF2B5EF4-FFF2-40B4-BE49-F238E27FC236}">
                        <a16:creationId xmlns:a16="http://schemas.microsoft.com/office/drawing/2014/main" id="{639E0B91-3E41-5E56-B3EA-D01C045A8B02}"/>
                      </a:ext>
                    </a:extLst>
                  </p:cNvPr>
                  <p:cNvSpPr/>
                  <p:nvPr/>
                </p:nvSpPr>
                <p:spPr bwMode="gray">
                  <a:xfrm>
                    <a:off x="8418956"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97" name="Freeform: Shape 10496">
                    <a:extLst>
                      <a:ext uri="{FF2B5EF4-FFF2-40B4-BE49-F238E27FC236}">
                        <a16:creationId xmlns:a16="http://schemas.microsoft.com/office/drawing/2014/main" id="{388E9183-37E0-3E72-BE19-9E196A2453D3}"/>
                      </a:ext>
                    </a:extLst>
                  </p:cNvPr>
                  <p:cNvSpPr/>
                  <p:nvPr/>
                </p:nvSpPr>
                <p:spPr bwMode="gray">
                  <a:xfrm>
                    <a:off x="8381142"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49" name="Graphic 16">
                  <a:extLst>
                    <a:ext uri="{FF2B5EF4-FFF2-40B4-BE49-F238E27FC236}">
                      <a16:creationId xmlns:a16="http://schemas.microsoft.com/office/drawing/2014/main" id="{923A29D2-386C-864C-0FC4-DB1C814770B1}"/>
                    </a:ext>
                  </a:extLst>
                </p:cNvPr>
                <p:cNvGrpSpPr/>
                <p:nvPr/>
              </p:nvGrpSpPr>
              <p:grpSpPr bwMode="gray">
                <a:xfrm>
                  <a:off x="8343328" y="3960113"/>
                  <a:ext cx="75628" cy="75723"/>
                  <a:chOff x="8343328" y="3960113"/>
                  <a:chExt cx="75628" cy="75723"/>
                </a:xfrm>
              </p:grpSpPr>
              <p:sp>
                <p:nvSpPr>
                  <p:cNvPr id="10494" name="Freeform: Shape 10493">
                    <a:extLst>
                      <a:ext uri="{FF2B5EF4-FFF2-40B4-BE49-F238E27FC236}">
                        <a16:creationId xmlns:a16="http://schemas.microsoft.com/office/drawing/2014/main" id="{830A928C-33B4-E41B-8BCF-5114EF72668C}"/>
                      </a:ext>
                    </a:extLst>
                  </p:cNvPr>
                  <p:cNvSpPr/>
                  <p:nvPr/>
                </p:nvSpPr>
                <p:spPr bwMode="gray">
                  <a:xfrm>
                    <a:off x="8381142"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95" name="Freeform: Shape 10494">
                    <a:extLst>
                      <a:ext uri="{FF2B5EF4-FFF2-40B4-BE49-F238E27FC236}">
                        <a16:creationId xmlns:a16="http://schemas.microsoft.com/office/drawing/2014/main" id="{9E04ACF1-F090-A0E8-DFC1-E53CC64D65EA}"/>
                      </a:ext>
                    </a:extLst>
                  </p:cNvPr>
                  <p:cNvSpPr/>
                  <p:nvPr/>
                </p:nvSpPr>
                <p:spPr bwMode="gray">
                  <a:xfrm>
                    <a:off x="8343328" y="39980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0" name="Graphic 16">
                  <a:extLst>
                    <a:ext uri="{FF2B5EF4-FFF2-40B4-BE49-F238E27FC236}">
                      <a16:creationId xmlns:a16="http://schemas.microsoft.com/office/drawing/2014/main" id="{1533E9F7-FBDA-86D1-4783-BEEAA9FD4EB3}"/>
                    </a:ext>
                  </a:extLst>
                </p:cNvPr>
                <p:cNvGrpSpPr/>
                <p:nvPr/>
              </p:nvGrpSpPr>
              <p:grpSpPr bwMode="gray">
                <a:xfrm>
                  <a:off x="8305418" y="3960113"/>
                  <a:ext cx="75723" cy="75723"/>
                  <a:chOff x="8305418" y="3960113"/>
                  <a:chExt cx="75723" cy="75723"/>
                </a:xfrm>
              </p:grpSpPr>
              <p:sp>
                <p:nvSpPr>
                  <p:cNvPr id="10492" name="Freeform: Shape 10491">
                    <a:extLst>
                      <a:ext uri="{FF2B5EF4-FFF2-40B4-BE49-F238E27FC236}">
                        <a16:creationId xmlns:a16="http://schemas.microsoft.com/office/drawing/2014/main" id="{9AD2BECA-B94E-2840-D390-E94AFF3680D4}"/>
                      </a:ext>
                    </a:extLst>
                  </p:cNvPr>
                  <p:cNvSpPr/>
                  <p:nvPr/>
                </p:nvSpPr>
                <p:spPr bwMode="gray">
                  <a:xfrm>
                    <a:off x="8343328"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93" name="Freeform: Shape 10492">
                    <a:extLst>
                      <a:ext uri="{FF2B5EF4-FFF2-40B4-BE49-F238E27FC236}">
                        <a16:creationId xmlns:a16="http://schemas.microsoft.com/office/drawing/2014/main" id="{986FB523-7CF6-2C6A-44D2-AAACDF71820D}"/>
                      </a:ext>
                    </a:extLst>
                  </p:cNvPr>
                  <p:cNvSpPr/>
                  <p:nvPr/>
                </p:nvSpPr>
                <p:spPr bwMode="gray">
                  <a:xfrm>
                    <a:off x="8305418" y="3998023"/>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1" name="Graphic 16">
                  <a:extLst>
                    <a:ext uri="{FF2B5EF4-FFF2-40B4-BE49-F238E27FC236}">
                      <a16:creationId xmlns:a16="http://schemas.microsoft.com/office/drawing/2014/main" id="{36B026AF-4789-CC94-AC08-9A2E37A894A6}"/>
                    </a:ext>
                  </a:extLst>
                </p:cNvPr>
                <p:cNvGrpSpPr/>
                <p:nvPr/>
              </p:nvGrpSpPr>
              <p:grpSpPr bwMode="gray">
                <a:xfrm>
                  <a:off x="7605140" y="3960113"/>
                  <a:ext cx="75723" cy="75723"/>
                  <a:chOff x="7605140" y="3960113"/>
                  <a:chExt cx="75723" cy="75723"/>
                </a:xfrm>
              </p:grpSpPr>
              <p:sp>
                <p:nvSpPr>
                  <p:cNvPr id="10490" name="Freeform: Shape 10489">
                    <a:extLst>
                      <a:ext uri="{FF2B5EF4-FFF2-40B4-BE49-F238E27FC236}">
                        <a16:creationId xmlns:a16="http://schemas.microsoft.com/office/drawing/2014/main" id="{44230BAA-2B59-A3C1-26A0-A41E2EFF2A5C}"/>
                      </a:ext>
                    </a:extLst>
                  </p:cNvPr>
                  <p:cNvSpPr/>
                  <p:nvPr/>
                </p:nvSpPr>
                <p:spPr bwMode="gray">
                  <a:xfrm>
                    <a:off x="7643050" y="396011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91" name="Freeform: Shape 10490">
                    <a:extLst>
                      <a:ext uri="{FF2B5EF4-FFF2-40B4-BE49-F238E27FC236}">
                        <a16:creationId xmlns:a16="http://schemas.microsoft.com/office/drawing/2014/main" id="{15813F13-AFF6-8097-65FC-A507D0F14371}"/>
                      </a:ext>
                    </a:extLst>
                  </p:cNvPr>
                  <p:cNvSpPr/>
                  <p:nvPr/>
                </p:nvSpPr>
                <p:spPr bwMode="gray">
                  <a:xfrm>
                    <a:off x="7605140" y="39980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2" name="Graphic 16">
                  <a:extLst>
                    <a:ext uri="{FF2B5EF4-FFF2-40B4-BE49-F238E27FC236}">
                      <a16:creationId xmlns:a16="http://schemas.microsoft.com/office/drawing/2014/main" id="{B2FBBDC5-83D4-9317-3F0D-BED285C158BD}"/>
                    </a:ext>
                  </a:extLst>
                </p:cNvPr>
                <p:cNvGrpSpPr/>
                <p:nvPr/>
              </p:nvGrpSpPr>
              <p:grpSpPr bwMode="gray">
                <a:xfrm>
                  <a:off x="7383493" y="3924871"/>
                  <a:ext cx="75723" cy="75723"/>
                  <a:chOff x="7383493" y="3924871"/>
                  <a:chExt cx="75723" cy="75723"/>
                </a:xfrm>
              </p:grpSpPr>
              <p:sp>
                <p:nvSpPr>
                  <p:cNvPr id="10488" name="Freeform: Shape 10487">
                    <a:extLst>
                      <a:ext uri="{FF2B5EF4-FFF2-40B4-BE49-F238E27FC236}">
                        <a16:creationId xmlns:a16="http://schemas.microsoft.com/office/drawing/2014/main" id="{B5E8D48F-FF0A-0DDC-7FEA-6F37D1919DA7}"/>
                      </a:ext>
                    </a:extLst>
                  </p:cNvPr>
                  <p:cNvSpPr/>
                  <p:nvPr/>
                </p:nvSpPr>
                <p:spPr bwMode="gray">
                  <a:xfrm>
                    <a:off x="7421308"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9" name="Freeform: Shape 10488">
                    <a:extLst>
                      <a:ext uri="{FF2B5EF4-FFF2-40B4-BE49-F238E27FC236}">
                        <a16:creationId xmlns:a16="http://schemas.microsoft.com/office/drawing/2014/main" id="{D0C6BBE2-7009-04EF-F171-3BCFD2638BAB}"/>
                      </a:ext>
                    </a:extLst>
                  </p:cNvPr>
                  <p:cNvSpPr/>
                  <p:nvPr/>
                </p:nvSpPr>
                <p:spPr bwMode="gray">
                  <a:xfrm>
                    <a:off x="7383493"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3" name="Graphic 16">
                  <a:extLst>
                    <a:ext uri="{FF2B5EF4-FFF2-40B4-BE49-F238E27FC236}">
                      <a16:creationId xmlns:a16="http://schemas.microsoft.com/office/drawing/2014/main" id="{223D5A8B-1804-DBBE-D31E-B913874F7116}"/>
                    </a:ext>
                  </a:extLst>
                </p:cNvPr>
                <p:cNvGrpSpPr/>
                <p:nvPr/>
              </p:nvGrpSpPr>
              <p:grpSpPr bwMode="gray">
                <a:xfrm>
                  <a:off x="7193946" y="3895819"/>
                  <a:ext cx="75723" cy="75723"/>
                  <a:chOff x="7193946" y="3895819"/>
                  <a:chExt cx="75723" cy="75723"/>
                </a:xfrm>
              </p:grpSpPr>
              <p:sp>
                <p:nvSpPr>
                  <p:cNvPr id="10486" name="Freeform: Shape 10485">
                    <a:extLst>
                      <a:ext uri="{FF2B5EF4-FFF2-40B4-BE49-F238E27FC236}">
                        <a16:creationId xmlns:a16="http://schemas.microsoft.com/office/drawing/2014/main" id="{0815D6E3-EC68-A31F-D0DC-4EE1081ABABA}"/>
                      </a:ext>
                    </a:extLst>
                  </p:cNvPr>
                  <p:cNvSpPr/>
                  <p:nvPr/>
                </p:nvSpPr>
                <p:spPr bwMode="gray">
                  <a:xfrm>
                    <a:off x="723176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7" name="Freeform: Shape 10486">
                    <a:extLst>
                      <a:ext uri="{FF2B5EF4-FFF2-40B4-BE49-F238E27FC236}">
                        <a16:creationId xmlns:a16="http://schemas.microsoft.com/office/drawing/2014/main" id="{D51C7296-5DB9-5BE0-E571-127B1C32A892}"/>
                      </a:ext>
                    </a:extLst>
                  </p:cNvPr>
                  <p:cNvSpPr/>
                  <p:nvPr/>
                </p:nvSpPr>
                <p:spPr bwMode="gray">
                  <a:xfrm>
                    <a:off x="719394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 name="Graphic 16">
                  <a:extLst>
                    <a:ext uri="{FF2B5EF4-FFF2-40B4-BE49-F238E27FC236}">
                      <a16:creationId xmlns:a16="http://schemas.microsoft.com/office/drawing/2014/main" id="{36C746A1-7F14-6AF4-0B92-16EF359C2B4F}"/>
                    </a:ext>
                  </a:extLst>
                </p:cNvPr>
                <p:cNvGrpSpPr/>
                <p:nvPr/>
              </p:nvGrpSpPr>
              <p:grpSpPr bwMode="gray">
                <a:xfrm>
                  <a:off x="7148512" y="3878770"/>
                  <a:ext cx="75723" cy="75723"/>
                  <a:chOff x="7148512" y="3878770"/>
                  <a:chExt cx="75723" cy="75723"/>
                </a:xfrm>
              </p:grpSpPr>
              <p:sp>
                <p:nvSpPr>
                  <p:cNvPr id="10484" name="Freeform: Shape 10483">
                    <a:extLst>
                      <a:ext uri="{FF2B5EF4-FFF2-40B4-BE49-F238E27FC236}">
                        <a16:creationId xmlns:a16="http://schemas.microsoft.com/office/drawing/2014/main" id="{DC2064FE-F959-0702-0E89-C966051489E1}"/>
                      </a:ext>
                    </a:extLst>
                  </p:cNvPr>
                  <p:cNvSpPr/>
                  <p:nvPr/>
                </p:nvSpPr>
                <p:spPr bwMode="gray">
                  <a:xfrm>
                    <a:off x="7186421" y="387877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5" name="Freeform: Shape 10484">
                    <a:extLst>
                      <a:ext uri="{FF2B5EF4-FFF2-40B4-BE49-F238E27FC236}">
                        <a16:creationId xmlns:a16="http://schemas.microsoft.com/office/drawing/2014/main" id="{B9589915-9119-5206-441D-E13FFC2812AF}"/>
                      </a:ext>
                    </a:extLst>
                  </p:cNvPr>
                  <p:cNvSpPr/>
                  <p:nvPr/>
                </p:nvSpPr>
                <p:spPr bwMode="gray">
                  <a:xfrm>
                    <a:off x="7148512" y="39166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 name="Graphic 16">
                  <a:extLst>
                    <a:ext uri="{FF2B5EF4-FFF2-40B4-BE49-F238E27FC236}">
                      <a16:creationId xmlns:a16="http://schemas.microsoft.com/office/drawing/2014/main" id="{61B59049-A9DA-03E9-14B3-397295851299}"/>
                    </a:ext>
                  </a:extLst>
                </p:cNvPr>
                <p:cNvGrpSpPr/>
                <p:nvPr/>
              </p:nvGrpSpPr>
              <p:grpSpPr bwMode="gray">
                <a:xfrm>
                  <a:off x="7050118" y="3851623"/>
                  <a:ext cx="75723" cy="75723"/>
                  <a:chOff x="7050118" y="3851623"/>
                  <a:chExt cx="75723" cy="75723"/>
                </a:xfrm>
              </p:grpSpPr>
              <p:sp>
                <p:nvSpPr>
                  <p:cNvPr id="10482" name="Freeform: Shape 10481">
                    <a:extLst>
                      <a:ext uri="{FF2B5EF4-FFF2-40B4-BE49-F238E27FC236}">
                        <a16:creationId xmlns:a16="http://schemas.microsoft.com/office/drawing/2014/main" id="{1E862868-C69A-CA88-41E9-4CA3F0F5F7AF}"/>
                      </a:ext>
                    </a:extLst>
                  </p:cNvPr>
                  <p:cNvSpPr/>
                  <p:nvPr/>
                </p:nvSpPr>
                <p:spPr bwMode="gray">
                  <a:xfrm>
                    <a:off x="7088028"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3" name="Freeform: Shape 10482">
                    <a:extLst>
                      <a:ext uri="{FF2B5EF4-FFF2-40B4-BE49-F238E27FC236}">
                        <a16:creationId xmlns:a16="http://schemas.microsoft.com/office/drawing/2014/main" id="{CD197923-FAF9-F2D9-6682-94A5219B225B}"/>
                      </a:ext>
                    </a:extLst>
                  </p:cNvPr>
                  <p:cNvSpPr/>
                  <p:nvPr/>
                </p:nvSpPr>
                <p:spPr bwMode="gray">
                  <a:xfrm>
                    <a:off x="7050118"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 name="Graphic 16">
                  <a:extLst>
                    <a:ext uri="{FF2B5EF4-FFF2-40B4-BE49-F238E27FC236}">
                      <a16:creationId xmlns:a16="http://schemas.microsoft.com/office/drawing/2014/main" id="{0FAF2D97-4D33-BD25-C50F-2E15A298B259}"/>
                    </a:ext>
                  </a:extLst>
                </p:cNvPr>
                <p:cNvGrpSpPr/>
                <p:nvPr/>
              </p:nvGrpSpPr>
              <p:grpSpPr bwMode="gray">
                <a:xfrm>
                  <a:off x="6843616" y="3820096"/>
                  <a:ext cx="84486" cy="87439"/>
                  <a:chOff x="6843616" y="3820096"/>
                  <a:chExt cx="84486" cy="87439"/>
                </a:xfrm>
              </p:grpSpPr>
              <p:sp>
                <p:nvSpPr>
                  <p:cNvPr id="10476" name="Freeform: Shape 10475">
                    <a:extLst>
                      <a:ext uri="{FF2B5EF4-FFF2-40B4-BE49-F238E27FC236}">
                        <a16:creationId xmlns:a16="http://schemas.microsoft.com/office/drawing/2014/main" id="{A7EB0525-D467-6EB0-FCBD-4D4BE4D6B336}"/>
                      </a:ext>
                    </a:extLst>
                  </p:cNvPr>
                  <p:cNvSpPr/>
                  <p:nvPr/>
                </p:nvSpPr>
                <p:spPr bwMode="gray">
                  <a:xfrm>
                    <a:off x="689019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7" name="Freeform: Shape 10476">
                    <a:extLst>
                      <a:ext uri="{FF2B5EF4-FFF2-40B4-BE49-F238E27FC236}">
                        <a16:creationId xmlns:a16="http://schemas.microsoft.com/office/drawing/2014/main" id="{A84DB11A-9ACF-46C1-567D-8CAAE3D3FD46}"/>
                      </a:ext>
                    </a:extLst>
                  </p:cNvPr>
                  <p:cNvSpPr/>
                  <p:nvPr/>
                </p:nvSpPr>
                <p:spPr bwMode="gray">
                  <a:xfrm>
                    <a:off x="685237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8" name="Freeform: Shape 10477">
                    <a:extLst>
                      <a:ext uri="{FF2B5EF4-FFF2-40B4-BE49-F238E27FC236}">
                        <a16:creationId xmlns:a16="http://schemas.microsoft.com/office/drawing/2014/main" id="{DD4E934C-F990-6972-E275-DB430EF6E102}"/>
                      </a:ext>
                    </a:extLst>
                  </p:cNvPr>
                  <p:cNvSpPr/>
                  <p:nvPr/>
                </p:nvSpPr>
                <p:spPr bwMode="gray">
                  <a:xfrm>
                    <a:off x="688143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9" name="Freeform: Shape 10478">
                    <a:extLst>
                      <a:ext uri="{FF2B5EF4-FFF2-40B4-BE49-F238E27FC236}">
                        <a16:creationId xmlns:a16="http://schemas.microsoft.com/office/drawing/2014/main" id="{07836F4B-31AC-7B6C-6A08-F34A928EAC48}"/>
                      </a:ext>
                    </a:extLst>
                  </p:cNvPr>
                  <p:cNvSpPr/>
                  <p:nvPr/>
                </p:nvSpPr>
                <p:spPr bwMode="gray">
                  <a:xfrm>
                    <a:off x="6843616" y="38580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0" name="Freeform: Shape 10479">
                    <a:extLst>
                      <a:ext uri="{FF2B5EF4-FFF2-40B4-BE49-F238E27FC236}">
                        <a16:creationId xmlns:a16="http://schemas.microsoft.com/office/drawing/2014/main" id="{47066BBA-BD8A-50AF-1F93-87D23313CF80}"/>
                      </a:ext>
                    </a:extLst>
                  </p:cNvPr>
                  <p:cNvSpPr/>
                  <p:nvPr/>
                </p:nvSpPr>
                <p:spPr bwMode="gray">
                  <a:xfrm>
                    <a:off x="6890194" y="38319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81" name="Freeform: Shape 10480">
                    <a:extLst>
                      <a:ext uri="{FF2B5EF4-FFF2-40B4-BE49-F238E27FC236}">
                        <a16:creationId xmlns:a16="http://schemas.microsoft.com/office/drawing/2014/main" id="{5759E253-AA9E-BFE1-A314-841F8EFAE57E}"/>
                      </a:ext>
                    </a:extLst>
                  </p:cNvPr>
                  <p:cNvSpPr/>
                  <p:nvPr/>
                </p:nvSpPr>
                <p:spPr bwMode="gray">
                  <a:xfrm>
                    <a:off x="6852379" y="3869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7" name="Graphic 16">
                  <a:extLst>
                    <a:ext uri="{FF2B5EF4-FFF2-40B4-BE49-F238E27FC236}">
                      <a16:creationId xmlns:a16="http://schemas.microsoft.com/office/drawing/2014/main" id="{68A1D52F-A2CE-D545-20EC-BD754269342C}"/>
                    </a:ext>
                  </a:extLst>
                </p:cNvPr>
                <p:cNvGrpSpPr/>
                <p:nvPr/>
              </p:nvGrpSpPr>
              <p:grpSpPr bwMode="gray">
                <a:xfrm>
                  <a:off x="7018781" y="3828287"/>
                  <a:ext cx="75723" cy="75723"/>
                  <a:chOff x="7018781" y="3828287"/>
                  <a:chExt cx="75723" cy="75723"/>
                </a:xfrm>
              </p:grpSpPr>
              <p:sp>
                <p:nvSpPr>
                  <p:cNvPr id="10474" name="Freeform: Shape 10473">
                    <a:extLst>
                      <a:ext uri="{FF2B5EF4-FFF2-40B4-BE49-F238E27FC236}">
                        <a16:creationId xmlns:a16="http://schemas.microsoft.com/office/drawing/2014/main" id="{BD0162F0-D725-310F-69D2-99CBFDDE2552}"/>
                      </a:ext>
                    </a:extLst>
                  </p:cNvPr>
                  <p:cNvSpPr/>
                  <p:nvPr/>
                </p:nvSpPr>
                <p:spPr bwMode="gray">
                  <a:xfrm>
                    <a:off x="7056691"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5" name="Freeform: Shape 10474">
                    <a:extLst>
                      <a:ext uri="{FF2B5EF4-FFF2-40B4-BE49-F238E27FC236}">
                        <a16:creationId xmlns:a16="http://schemas.microsoft.com/office/drawing/2014/main" id="{88B31359-4329-7A5C-30D0-A751164EB41C}"/>
                      </a:ext>
                    </a:extLst>
                  </p:cNvPr>
                  <p:cNvSpPr/>
                  <p:nvPr/>
                </p:nvSpPr>
                <p:spPr bwMode="gray">
                  <a:xfrm>
                    <a:off x="701878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8" name="Graphic 16">
                  <a:extLst>
                    <a:ext uri="{FF2B5EF4-FFF2-40B4-BE49-F238E27FC236}">
                      <a16:creationId xmlns:a16="http://schemas.microsoft.com/office/drawing/2014/main" id="{96EDF24E-4ECA-68F9-81ED-178A6B1F9734}"/>
                    </a:ext>
                  </a:extLst>
                </p:cNvPr>
                <p:cNvGrpSpPr/>
                <p:nvPr/>
              </p:nvGrpSpPr>
              <p:grpSpPr bwMode="gray">
                <a:xfrm>
                  <a:off x="6881431" y="3828287"/>
                  <a:ext cx="75723" cy="75723"/>
                  <a:chOff x="6881431" y="3828287"/>
                  <a:chExt cx="75723" cy="75723"/>
                </a:xfrm>
              </p:grpSpPr>
              <p:sp>
                <p:nvSpPr>
                  <p:cNvPr id="10472" name="Freeform: Shape 10471">
                    <a:extLst>
                      <a:ext uri="{FF2B5EF4-FFF2-40B4-BE49-F238E27FC236}">
                        <a16:creationId xmlns:a16="http://schemas.microsoft.com/office/drawing/2014/main" id="{A742D624-1C72-50F2-50B7-70A22F47DB3F}"/>
                      </a:ext>
                    </a:extLst>
                  </p:cNvPr>
                  <p:cNvSpPr/>
                  <p:nvPr/>
                </p:nvSpPr>
                <p:spPr bwMode="gray">
                  <a:xfrm>
                    <a:off x="6919245"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3" name="Freeform: Shape 10472">
                    <a:extLst>
                      <a:ext uri="{FF2B5EF4-FFF2-40B4-BE49-F238E27FC236}">
                        <a16:creationId xmlns:a16="http://schemas.microsoft.com/office/drawing/2014/main" id="{26551F7D-B7CE-7405-DB00-77933970C2C4}"/>
                      </a:ext>
                    </a:extLst>
                  </p:cNvPr>
                  <p:cNvSpPr/>
                  <p:nvPr/>
                </p:nvSpPr>
                <p:spPr bwMode="gray">
                  <a:xfrm>
                    <a:off x="6881431"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 name="Graphic 16">
                  <a:extLst>
                    <a:ext uri="{FF2B5EF4-FFF2-40B4-BE49-F238E27FC236}">
                      <a16:creationId xmlns:a16="http://schemas.microsoft.com/office/drawing/2014/main" id="{4AA989C1-3C52-28B0-1D55-33455A62CC50}"/>
                    </a:ext>
                  </a:extLst>
                </p:cNvPr>
                <p:cNvGrpSpPr/>
                <p:nvPr/>
              </p:nvGrpSpPr>
              <p:grpSpPr bwMode="gray">
                <a:xfrm>
                  <a:off x="6901052" y="3828287"/>
                  <a:ext cx="75723" cy="75723"/>
                  <a:chOff x="6901052" y="3828287"/>
                  <a:chExt cx="75723" cy="75723"/>
                </a:xfrm>
              </p:grpSpPr>
              <p:sp>
                <p:nvSpPr>
                  <p:cNvPr id="10470" name="Freeform: Shape 10469">
                    <a:extLst>
                      <a:ext uri="{FF2B5EF4-FFF2-40B4-BE49-F238E27FC236}">
                        <a16:creationId xmlns:a16="http://schemas.microsoft.com/office/drawing/2014/main" id="{7B0F5E2F-964A-9041-5A55-89E4AC6573C8}"/>
                      </a:ext>
                    </a:extLst>
                  </p:cNvPr>
                  <p:cNvSpPr/>
                  <p:nvPr/>
                </p:nvSpPr>
                <p:spPr bwMode="gray">
                  <a:xfrm>
                    <a:off x="693886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1" name="Freeform: Shape 10470">
                    <a:extLst>
                      <a:ext uri="{FF2B5EF4-FFF2-40B4-BE49-F238E27FC236}">
                        <a16:creationId xmlns:a16="http://schemas.microsoft.com/office/drawing/2014/main" id="{8DE696FA-F6D6-525D-1DD6-A569A26454EA}"/>
                      </a:ext>
                    </a:extLst>
                  </p:cNvPr>
                  <p:cNvSpPr/>
                  <p:nvPr/>
                </p:nvSpPr>
                <p:spPr bwMode="gray">
                  <a:xfrm>
                    <a:off x="6901052"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 name="Graphic 16">
                  <a:extLst>
                    <a:ext uri="{FF2B5EF4-FFF2-40B4-BE49-F238E27FC236}">
                      <a16:creationId xmlns:a16="http://schemas.microsoft.com/office/drawing/2014/main" id="{DAC03792-65B9-2DCE-ED2F-C6B90090E0E8}"/>
                    </a:ext>
                  </a:extLst>
                </p:cNvPr>
                <p:cNvGrpSpPr/>
                <p:nvPr/>
              </p:nvGrpSpPr>
              <p:grpSpPr bwMode="gray">
                <a:xfrm>
                  <a:off x="6920674" y="3828287"/>
                  <a:ext cx="75723" cy="75723"/>
                  <a:chOff x="6920674" y="3828287"/>
                  <a:chExt cx="75723" cy="75723"/>
                </a:xfrm>
              </p:grpSpPr>
              <p:sp>
                <p:nvSpPr>
                  <p:cNvPr id="10468" name="Freeform: Shape 10467">
                    <a:extLst>
                      <a:ext uri="{FF2B5EF4-FFF2-40B4-BE49-F238E27FC236}">
                        <a16:creationId xmlns:a16="http://schemas.microsoft.com/office/drawing/2014/main" id="{B5979B68-CCBC-A007-FD4C-D5E88C6A2A00}"/>
                      </a:ext>
                    </a:extLst>
                  </p:cNvPr>
                  <p:cNvSpPr/>
                  <p:nvPr/>
                </p:nvSpPr>
                <p:spPr bwMode="gray">
                  <a:xfrm>
                    <a:off x="695848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69" name="Freeform: Shape 10468">
                    <a:extLst>
                      <a:ext uri="{FF2B5EF4-FFF2-40B4-BE49-F238E27FC236}">
                        <a16:creationId xmlns:a16="http://schemas.microsoft.com/office/drawing/2014/main" id="{DA25E8C9-8C83-1AD3-937E-246B19030733}"/>
                      </a:ext>
                    </a:extLst>
                  </p:cNvPr>
                  <p:cNvSpPr/>
                  <p:nvPr/>
                </p:nvSpPr>
                <p:spPr bwMode="gray">
                  <a:xfrm>
                    <a:off x="6920674"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 name="Graphic 16">
                  <a:extLst>
                    <a:ext uri="{FF2B5EF4-FFF2-40B4-BE49-F238E27FC236}">
                      <a16:creationId xmlns:a16="http://schemas.microsoft.com/office/drawing/2014/main" id="{9AFC4696-DAC3-5288-B652-615393CFFEDF}"/>
                    </a:ext>
                  </a:extLst>
                </p:cNvPr>
                <p:cNvGrpSpPr/>
                <p:nvPr/>
              </p:nvGrpSpPr>
              <p:grpSpPr bwMode="gray">
                <a:xfrm>
                  <a:off x="6940295" y="3828287"/>
                  <a:ext cx="75723" cy="75723"/>
                  <a:chOff x="6940295" y="3828287"/>
                  <a:chExt cx="75723" cy="75723"/>
                </a:xfrm>
              </p:grpSpPr>
              <p:sp>
                <p:nvSpPr>
                  <p:cNvPr id="10466" name="Freeform: Shape 10465">
                    <a:extLst>
                      <a:ext uri="{FF2B5EF4-FFF2-40B4-BE49-F238E27FC236}">
                        <a16:creationId xmlns:a16="http://schemas.microsoft.com/office/drawing/2014/main" id="{ABBE91B1-BF5F-82CC-2D96-73EF4923CCAE}"/>
                      </a:ext>
                    </a:extLst>
                  </p:cNvPr>
                  <p:cNvSpPr/>
                  <p:nvPr/>
                </p:nvSpPr>
                <p:spPr bwMode="gray">
                  <a:xfrm>
                    <a:off x="697810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67" name="Freeform: Shape 10466">
                    <a:extLst>
                      <a:ext uri="{FF2B5EF4-FFF2-40B4-BE49-F238E27FC236}">
                        <a16:creationId xmlns:a16="http://schemas.microsoft.com/office/drawing/2014/main" id="{730A350B-0B6C-3960-A4FE-2296F7F8D904}"/>
                      </a:ext>
                    </a:extLst>
                  </p:cNvPr>
                  <p:cNvSpPr/>
                  <p:nvPr/>
                </p:nvSpPr>
                <p:spPr bwMode="gray">
                  <a:xfrm>
                    <a:off x="6940295"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2" name="Graphic 16">
                  <a:extLst>
                    <a:ext uri="{FF2B5EF4-FFF2-40B4-BE49-F238E27FC236}">
                      <a16:creationId xmlns:a16="http://schemas.microsoft.com/office/drawing/2014/main" id="{C151C188-CAF2-E3F7-7649-A8CC91BE56CE}"/>
                    </a:ext>
                  </a:extLst>
                </p:cNvPr>
                <p:cNvGrpSpPr/>
                <p:nvPr/>
              </p:nvGrpSpPr>
              <p:grpSpPr bwMode="gray">
                <a:xfrm>
                  <a:off x="6959917" y="3828287"/>
                  <a:ext cx="75723" cy="75723"/>
                  <a:chOff x="6959917" y="3828287"/>
                  <a:chExt cx="75723" cy="75723"/>
                </a:xfrm>
              </p:grpSpPr>
              <p:sp>
                <p:nvSpPr>
                  <p:cNvPr id="10464" name="Freeform: Shape 10463">
                    <a:extLst>
                      <a:ext uri="{FF2B5EF4-FFF2-40B4-BE49-F238E27FC236}">
                        <a16:creationId xmlns:a16="http://schemas.microsoft.com/office/drawing/2014/main" id="{EB1B9C9D-26C3-FDD1-1C75-6232572A7893}"/>
                      </a:ext>
                    </a:extLst>
                  </p:cNvPr>
                  <p:cNvSpPr/>
                  <p:nvPr/>
                </p:nvSpPr>
                <p:spPr bwMode="gray">
                  <a:xfrm>
                    <a:off x="6997826"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65" name="Freeform: Shape 10464">
                    <a:extLst>
                      <a:ext uri="{FF2B5EF4-FFF2-40B4-BE49-F238E27FC236}">
                        <a16:creationId xmlns:a16="http://schemas.microsoft.com/office/drawing/2014/main" id="{DBB08AED-B77B-9B1D-CD29-0B36377EFB8E}"/>
                      </a:ext>
                    </a:extLst>
                  </p:cNvPr>
                  <p:cNvSpPr/>
                  <p:nvPr/>
                </p:nvSpPr>
                <p:spPr bwMode="gray">
                  <a:xfrm>
                    <a:off x="6959917"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3" name="Graphic 16">
                  <a:extLst>
                    <a:ext uri="{FF2B5EF4-FFF2-40B4-BE49-F238E27FC236}">
                      <a16:creationId xmlns:a16="http://schemas.microsoft.com/office/drawing/2014/main" id="{B6B6270E-48D7-0B58-4CBB-4BC44D750640}"/>
                    </a:ext>
                  </a:extLst>
                </p:cNvPr>
                <p:cNvGrpSpPr/>
                <p:nvPr/>
              </p:nvGrpSpPr>
              <p:grpSpPr bwMode="gray">
                <a:xfrm>
                  <a:off x="6979538" y="3828287"/>
                  <a:ext cx="75723" cy="75723"/>
                  <a:chOff x="6979538" y="3828287"/>
                  <a:chExt cx="75723" cy="75723"/>
                </a:xfrm>
              </p:grpSpPr>
              <p:sp>
                <p:nvSpPr>
                  <p:cNvPr id="10462" name="Freeform: Shape 10461">
                    <a:extLst>
                      <a:ext uri="{FF2B5EF4-FFF2-40B4-BE49-F238E27FC236}">
                        <a16:creationId xmlns:a16="http://schemas.microsoft.com/office/drawing/2014/main" id="{97BE7B0A-39C9-E75A-AE53-2C888B939760}"/>
                      </a:ext>
                    </a:extLst>
                  </p:cNvPr>
                  <p:cNvSpPr/>
                  <p:nvPr/>
                </p:nvSpPr>
                <p:spPr bwMode="gray">
                  <a:xfrm>
                    <a:off x="7017448"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63" name="Freeform: Shape 10462">
                    <a:extLst>
                      <a:ext uri="{FF2B5EF4-FFF2-40B4-BE49-F238E27FC236}">
                        <a16:creationId xmlns:a16="http://schemas.microsoft.com/office/drawing/2014/main" id="{21A30D24-7151-9668-39E3-A33A06A67A56}"/>
                      </a:ext>
                    </a:extLst>
                  </p:cNvPr>
                  <p:cNvSpPr/>
                  <p:nvPr/>
                </p:nvSpPr>
                <p:spPr bwMode="gray">
                  <a:xfrm>
                    <a:off x="6979538"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81" name="Graphic 16">
                  <a:extLst>
                    <a:ext uri="{FF2B5EF4-FFF2-40B4-BE49-F238E27FC236}">
                      <a16:creationId xmlns:a16="http://schemas.microsoft.com/office/drawing/2014/main" id="{5851E29E-D580-F6F3-3D4D-5FD76A06AE5B}"/>
                    </a:ext>
                  </a:extLst>
                </p:cNvPr>
                <p:cNvGrpSpPr/>
                <p:nvPr/>
              </p:nvGrpSpPr>
              <p:grpSpPr bwMode="gray">
                <a:xfrm>
                  <a:off x="6999160" y="3828287"/>
                  <a:ext cx="75723" cy="75723"/>
                  <a:chOff x="6999160" y="3828287"/>
                  <a:chExt cx="75723" cy="75723"/>
                </a:xfrm>
              </p:grpSpPr>
              <p:sp>
                <p:nvSpPr>
                  <p:cNvPr id="10460" name="Freeform: Shape 10459">
                    <a:extLst>
                      <a:ext uri="{FF2B5EF4-FFF2-40B4-BE49-F238E27FC236}">
                        <a16:creationId xmlns:a16="http://schemas.microsoft.com/office/drawing/2014/main" id="{8422007C-56EB-9606-0232-BE680F339EB2}"/>
                      </a:ext>
                    </a:extLst>
                  </p:cNvPr>
                  <p:cNvSpPr/>
                  <p:nvPr/>
                </p:nvSpPr>
                <p:spPr bwMode="gray">
                  <a:xfrm>
                    <a:off x="7037069" y="38282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61" name="Freeform: Shape 10460">
                    <a:extLst>
                      <a:ext uri="{FF2B5EF4-FFF2-40B4-BE49-F238E27FC236}">
                        <a16:creationId xmlns:a16="http://schemas.microsoft.com/office/drawing/2014/main" id="{5B6D2204-F5A9-E068-6DC3-FE9D34BED822}"/>
                      </a:ext>
                    </a:extLst>
                  </p:cNvPr>
                  <p:cNvSpPr/>
                  <p:nvPr/>
                </p:nvSpPr>
                <p:spPr bwMode="gray">
                  <a:xfrm>
                    <a:off x="6999160" y="38661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89" name="Graphic 16">
                  <a:extLst>
                    <a:ext uri="{FF2B5EF4-FFF2-40B4-BE49-F238E27FC236}">
                      <a16:creationId xmlns:a16="http://schemas.microsoft.com/office/drawing/2014/main" id="{D2EFEBD4-1661-6088-6EAD-6A9E2A3F937A}"/>
                    </a:ext>
                  </a:extLst>
                </p:cNvPr>
                <p:cNvGrpSpPr/>
                <p:nvPr/>
              </p:nvGrpSpPr>
              <p:grpSpPr bwMode="gray">
                <a:xfrm>
                  <a:off x="6763702" y="3820096"/>
                  <a:ext cx="80581" cy="75723"/>
                  <a:chOff x="6763702" y="3820096"/>
                  <a:chExt cx="80581" cy="75723"/>
                </a:xfrm>
              </p:grpSpPr>
              <p:sp>
                <p:nvSpPr>
                  <p:cNvPr id="10456" name="Freeform: Shape 10455">
                    <a:extLst>
                      <a:ext uri="{FF2B5EF4-FFF2-40B4-BE49-F238E27FC236}">
                        <a16:creationId xmlns:a16="http://schemas.microsoft.com/office/drawing/2014/main" id="{4407D6CE-2313-F876-A31B-0102EC809595}"/>
                      </a:ext>
                    </a:extLst>
                  </p:cNvPr>
                  <p:cNvSpPr/>
                  <p:nvPr/>
                </p:nvSpPr>
                <p:spPr bwMode="gray">
                  <a:xfrm>
                    <a:off x="6806374"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7" name="Freeform: Shape 10456">
                    <a:extLst>
                      <a:ext uri="{FF2B5EF4-FFF2-40B4-BE49-F238E27FC236}">
                        <a16:creationId xmlns:a16="http://schemas.microsoft.com/office/drawing/2014/main" id="{1C352C05-446D-EF2D-2EC2-37A715A9DBC9}"/>
                      </a:ext>
                    </a:extLst>
                  </p:cNvPr>
                  <p:cNvSpPr/>
                  <p:nvPr/>
                </p:nvSpPr>
                <p:spPr bwMode="gray">
                  <a:xfrm>
                    <a:off x="6768559"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8" name="Freeform: Shape 10457">
                    <a:extLst>
                      <a:ext uri="{FF2B5EF4-FFF2-40B4-BE49-F238E27FC236}">
                        <a16:creationId xmlns:a16="http://schemas.microsoft.com/office/drawing/2014/main" id="{E934EFAF-5A54-2AD9-1738-086E9259E0AB}"/>
                      </a:ext>
                    </a:extLst>
                  </p:cNvPr>
                  <p:cNvSpPr/>
                  <p:nvPr/>
                </p:nvSpPr>
                <p:spPr bwMode="gray">
                  <a:xfrm>
                    <a:off x="6801611" y="38200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9" name="Freeform: Shape 10458">
                    <a:extLst>
                      <a:ext uri="{FF2B5EF4-FFF2-40B4-BE49-F238E27FC236}">
                        <a16:creationId xmlns:a16="http://schemas.microsoft.com/office/drawing/2014/main" id="{511E5A1D-7E58-81DC-E595-7D049A63E481}"/>
                      </a:ext>
                    </a:extLst>
                  </p:cNvPr>
                  <p:cNvSpPr/>
                  <p:nvPr/>
                </p:nvSpPr>
                <p:spPr bwMode="gray">
                  <a:xfrm>
                    <a:off x="6763702" y="38580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0" name="Graphic 16">
                  <a:extLst>
                    <a:ext uri="{FF2B5EF4-FFF2-40B4-BE49-F238E27FC236}">
                      <a16:creationId xmlns:a16="http://schemas.microsoft.com/office/drawing/2014/main" id="{64680F76-891F-372F-7BE6-D94639525E03}"/>
                    </a:ext>
                  </a:extLst>
                </p:cNvPr>
                <p:cNvGrpSpPr/>
                <p:nvPr/>
              </p:nvGrpSpPr>
              <p:grpSpPr bwMode="gray">
                <a:xfrm>
                  <a:off x="6563296" y="3771994"/>
                  <a:ext cx="75723" cy="75723"/>
                  <a:chOff x="6563296" y="3771994"/>
                  <a:chExt cx="75723" cy="75723"/>
                </a:xfrm>
              </p:grpSpPr>
              <p:sp>
                <p:nvSpPr>
                  <p:cNvPr id="10454" name="Freeform: Shape 10453">
                    <a:extLst>
                      <a:ext uri="{FF2B5EF4-FFF2-40B4-BE49-F238E27FC236}">
                        <a16:creationId xmlns:a16="http://schemas.microsoft.com/office/drawing/2014/main" id="{92219BB1-0BE1-9BE1-D208-5FBF5D3D3BBF}"/>
                      </a:ext>
                    </a:extLst>
                  </p:cNvPr>
                  <p:cNvSpPr/>
                  <p:nvPr/>
                </p:nvSpPr>
                <p:spPr bwMode="gray">
                  <a:xfrm>
                    <a:off x="6601110" y="3771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5" name="Freeform: Shape 10454">
                    <a:extLst>
                      <a:ext uri="{FF2B5EF4-FFF2-40B4-BE49-F238E27FC236}">
                        <a16:creationId xmlns:a16="http://schemas.microsoft.com/office/drawing/2014/main" id="{692898D6-51B3-E9C8-B124-505848FE0CDE}"/>
                      </a:ext>
                    </a:extLst>
                  </p:cNvPr>
                  <p:cNvSpPr/>
                  <p:nvPr/>
                </p:nvSpPr>
                <p:spPr bwMode="gray">
                  <a:xfrm>
                    <a:off x="6563296" y="3809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1" name="Graphic 16">
                  <a:extLst>
                    <a:ext uri="{FF2B5EF4-FFF2-40B4-BE49-F238E27FC236}">
                      <a16:creationId xmlns:a16="http://schemas.microsoft.com/office/drawing/2014/main" id="{DA02709F-1CFE-7AEB-7D64-999A485E5A93}"/>
                    </a:ext>
                  </a:extLst>
                </p:cNvPr>
                <p:cNvGrpSpPr/>
                <p:nvPr/>
              </p:nvGrpSpPr>
              <p:grpSpPr bwMode="gray">
                <a:xfrm>
                  <a:off x="6563296" y="3750277"/>
                  <a:ext cx="75723" cy="75723"/>
                  <a:chOff x="6563296" y="3750277"/>
                  <a:chExt cx="75723" cy="75723"/>
                </a:xfrm>
              </p:grpSpPr>
              <p:sp>
                <p:nvSpPr>
                  <p:cNvPr id="10452" name="Freeform: Shape 10451">
                    <a:extLst>
                      <a:ext uri="{FF2B5EF4-FFF2-40B4-BE49-F238E27FC236}">
                        <a16:creationId xmlns:a16="http://schemas.microsoft.com/office/drawing/2014/main" id="{53306277-204C-43F2-593D-79D5EA0F67DD}"/>
                      </a:ext>
                    </a:extLst>
                  </p:cNvPr>
                  <p:cNvSpPr/>
                  <p:nvPr/>
                </p:nvSpPr>
                <p:spPr bwMode="gray">
                  <a:xfrm>
                    <a:off x="6601110" y="37502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3" name="Freeform: Shape 10452">
                    <a:extLst>
                      <a:ext uri="{FF2B5EF4-FFF2-40B4-BE49-F238E27FC236}">
                        <a16:creationId xmlns:a16="http://schemas.microsoft.com/office/drawing/2014/main" id="{6A0CB33C-78D7-CC46-FA1F-6994D891FDA8}"/>
                      </a:ext>
                    </a:extLst>
                  </p:cNvPr>
                  <p:cNvSpPr/>
                  <p:nvPr/>
                </p:nvSpPr>
                <p:spPr bwMode="gray">
                  <a:xfrm>
                    <a:off x="6563296" y="37881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2" name="Graphic 16">
                  <a:extLst>
                    <a:ext uri="{FF2B5EF4-FFF2-40B4-BE49-F238E27FC236}">
                      <a16:creationId xmlns:a16="http://schemas.microsoft.com/office/drawing/2014/main" id="{EB5FB8AC-29E6-64E8-6063-9EFBC6659A7B}"/>
                    </a:ext>
                  </a:extLst>
                </p:cNvPr>
                <p:cNvGrpSpPr/>
                <p:nvPr/>
              </p:nvGrpSpPr>
              <p:grpSpPr bwMode="gray">
                <a:xfrm>
                  <a:off x="6514528" y="3708272"/>
                  <a:ext cx="75628" cy="75723"/>
                  <a:chOff x="6514528" y="3708272"/>
                  <a:chExt cx="75628" cy="75723"/>
                </a:xfrm>
              </p:grpSpPr>
              <p:sp>
                <p:nvSpPr>
                  <p:cNvPr id="10450" name="Freeform: Shape 10449">
                    <a:extLst>
                      <a:ext uri="{FF2B5EF4-FFF2-40B4-BE49-F238E27FC236}">
                        <a16:creationId xmlns:a16="http://schemas.microsoft.com/office/drawing/2014/main" id="{2030BD6C-D57A-A364-8488-7545A231527D}"/>
                      </a:ext>
                    </a:extLst>
                  </p:cNvPr>
                  <p:cNvSpPr/>
                  <p:nvPr/>
                </p:nvSpPr>
                <p:spPr bwMode="gray">
                  <a:xfrm>
                    <a:off x="6552342"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51" name="Freeform: Shape 10450">
                    <a:extLst>
                      <a:ext uri="{FF2B5EF4-FFF2-40B4-BE49-F238E27FC236}">
                        <a16:creationId xmlns:a16="http://schemas.microsoft.com/office/drawing/2014/main" id="{8F1605AD-91D5-FC7D-C4A2-88B1BC51BAFD}"/>
                      </a:ext>
                    </a:extLst>
                  </p:cNvPr>
                  <p:cNvSpPr/>
                  <p:nvPr/>
                </p:nvSpPr>
                <p:spPr bwMode="gray">
                  <a:xfrm>
                    <a:off x="6514528"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3" name="Graphic 16">
                  <a:extLst>
                    <a:ext uri="{FF2B5EF4-FFF2-40B4-BE49-F238E27FC236}">
                      <a16:creationId xmlns:a16="http://schemas.microsoft.com/office/drawing/2014/main" id="{C9395F56-E758-7FBC-F958-9348202EDF50}"/>
                    </a:ext>
                  </a:extLst>
                </p:cNvPr>
                <p:cNvGrpSpPr/>
                <p:nvPr/>
              </p:nvGrpSpPr>
              <p:grpSpPr bwMode="gray">
                <a:xfrm>
                  <a:off x="6347554" y="3708272"/>
                  <a:ext cx="75628" cy="75723"/>
                  <a:chOff x="6347554" y="3708272"/>
                  <a:chExt cx="75628" cy="75723"/>
                </a:xfrm>
              </p:grpSpPr>
              <p:sp>
                <p:nvSpPr>
                  <p:cNvPr id="10448" name="Freeform: Shape 10447">
                    <a:extLst>
                      <a:ext uri="{FF2B5EF4-FFF2-40B4-BE49-F238E27FC236}">
                        <a16:creationId xmlns:a16="http://schemas.microsoft.com/office/drawing/2014/main" id="{F8EC1F65-3287-F59A-ED76-6A9AD5C64369}"/>
                      </a:ext>
                    </a:extLst>
                  </p:cNvPr>
                  <p:cNvSpPr/>
                  <p:nvPr/>
                </p:nvSpPr>
                <p:spPr bwMode="gray">
                  <a:xfrm>
                    <a:off x="6385369"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9" name="Freeform: Shape 10448">
                    <a:extLst>
                      <a:ext uri="{FF2B5EF4-FFF2-40B4-BE49-F238E27FC236}">
                        <a16:creationId xmlns:a16="http://schemas.microsoft.com/office/drawing/2014/main" id="{9A225BCF-0BCA-B50D-B129-CC3F76CDD8CE}"/>
                      </a:ext>
                    </a:extLst>
                  </p:cNvPr>
                  <p:cNvSpPr/>
                  <p:nvPr/>
                </p:nvSpPr>
                <p:spPr bwMode="gray">
                  <a:xfrm>
                    <a:off x="6347554" y="3746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4" name="Graphic 16">
                  <a:extLst>
                    <a:ext uri="{FF2B5EF4-FFF2-40B4-BE49-F238E27FC236}">
                      <a16:creationId xmlns:a16="http://schemas.microsoft.com/office/drawing/2014/main" id="{470EB459-B8E4-1834-B824-E2D286163D4A}"/>
                    </a:ext>
                  </a:extLst>
                </p:cNvPr>
                <p:cNvGrpSpPr/>
                <p:nvPr/>
              </p:nvGrpSpPr>
              <p:grpSpPr bwMode="gray">
                <a:xfrm>
                  <a:off x="6223729" y="3683602"/>
                  <a:ext cx="75628" cy="75628"/>
                  <a:chOff x="6223729" y="3683602"/>
                  <a:chExt cx="75628" cy="75628"/>
                </a:xfrm>
              </p:grpSpPr>
              <p:sp>
                <p:nvSpPr>
                  <p:cNvPr id="10446" name="Freeform: Shape 10445">
                    <a:extLst>
                      <a:ext uri="{FF2B5EF4-FFF2-40B4-BE49-F238E27FC236}">
                        <a16:creationId xmlns:a16="http://schemas.microsoft.com/office/drawing/2014/main" id="{6D56F3B6-BD5D-6C23-CCC9-DABDBE56BF1C}"/>
                      </a:ext>
                    </a:extLst>
                  </p:cNvPr>
                  <p:cNvSpPr/>
                  <p:nvPr/>
                </p:nvSpPr>
                <p:spPr bwMode="gray">
                  <a:xfrm>
                    <a:off x="6261544"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7" name="Freeform: Shape 10446">
                    <a:extLst>
                      <a:ext uri="{FF2B5EF4-FFF2-40B4-BE49-F238E27FC236}">
                        <a16:creationId xmlns:a16="http://schemas.microsoft.com/office/drawing/2014/main" id="{E878D45B-B753-45F9-C282-FA2E3C3F36EA}"/>
                      </a:ext>
                    </a:extLst>
                  </p:cNvPr>
                  <p:cNvSpPr/>
                  <p:nvPr/>
                </p:nvSpPr>
                <p:spPr bwMode="gray">
                  <a:xfrm>
                    <a:off x="6223729" y="372141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295" name="Graphic 16">
                  <a:extLst>
                    <a:ext uri="{FF2B5EF4-FFF2-40B4-BE49-F238E27FC236}">
                      <a16:creationId xmlns:a16="http://schemas.microsoft.com/office/drawing/2014/main" id="{3A1CF32E-A4D4-B44D-C42D-07401898AA60}"/>
                    </a:ext>
                  </a:extLst>
                </p:cNvPr>
                <p:cNvGrpSpPr/>
                <p:nvPr/>
              </p:nvGrpSpPr>
              <p:grpSpPr bwMode="gray">
                <a:xfrm>
                  <a:off x="6164674" y="3672172"/>
                  <a:ext cx="75723" cy="75723"/>
                  <a:chOff x="6164674" y="3672172"/>
                  <a:chExt cx="75723" cy="75723"/>
                </a:xfrm>
              </p:grpSpPr>
              <p:sp>
                <p:nvSpPr>
                  <p:cNvPr id="10444" name="Freeform: Shape 10443">
                    <a:extLst>
                      <a:ext uri="{FF2B5EF4-FFF2-40B4-BE49-F238E27FC236}">
                        <a16:creationId xmlns:a16="http://schemas.microsoft.com/office/drawing/2014/main" id="{742B947B-B319-0C33-B85D-55070EEF3D60}"/>
                      </a:ext>
                    </a:extLst>
                  </p:cNvPr>
                  <p:cNvSpPr/>
                  <p:nvPr/>
                </p:nvSpPr>
                <p:spPr bwMode="gray">
                  <a:xfrm>
                    <a:off x="6202584" y="36721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5" name="Freeform: Shape 10444">
                    <a:extLst>
                      <a:ext uri="{FF2B5EF4-FFF2-40B4-BE49-F238E27FC236}">
                        <a16:creationId xmlns:a16="http://schemas.microsoft.com/office/drawing/2014/main" id="{F0C0F32F-3018-2922-A265-8985CF51ECB9}"/>
                      </a:ext>
                    </a:extLst>
                  </p:cNvPr>
                  <p:cNvSpPr/>
                  <p:nvPr/>
                </p:nvSpPr>
                <p:spPr bwMode="gray">
                  <a:xfrm>
                    <a:off x="6164674" y="3710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2" name="Graphic 16">
                  <a:extLst>
                    <a:ext uri="{FF2B5EF4-FFF2-40B4-BE49-F238E27FC236}">
                      <a16:creationId xmlns:a16="http://schemas.microsoft.com/office/drawing/2014/main" id="{1BB30EC1-95A9-E574-7544-BCD1093BD543}"/>
                    </a:ext>
                  </a:extLst>
                </p:cNvPr>
                <p:cNvGrpSpPr/>
                <p:nvPr/>
              </p:nvGrpSpPr>
              <p:grpSpPr bwMode="gray">
                <a:xfrm>
                  <a:off x="6137242" y="3656456"/>
                  <a:ext cx="75723" cy="75628"/>
                  <a:chOff x="6137242" y="3656456"/>
                  <a:chExt cx="75723" cy="75628"/>
                </a:xfrm>
              </p:grpSpPr>
              <p:sp>
                <p:nvSpPr>
                  <p:cNvPr id="10442" name="Freeform: Shape 10441">
                    <a:extLst>
                      <a:ext uri="{FF2B5EF4-FFF2-40B4-BE49-F238E27FC236}">
                        <a16:creationId xmlns:a16="http://schemas.microsoft.com/office/drawing/2014/main" id="{553B6CFE-6B9C-BF47-A485-B8FC2C90F763}"/>
                      </a:ext>
                    </a:extLst>
                  </p:cNvPr>
                  <p:cNvSpPr/>
                  <p:nvPr/>
                </p:nvSpPr>
                <p:spPr bwMode="gray">
                  <a:xfrm>
                    <a:off x="6175057"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3" name="Freeform: Shape 10442">
                    <a:extLst>
                      <a:ext uri="{FF2B5EF4-FFF2-40B4-BE49-F238E27FC236}">
                        <a16:creationId xmlns:a16="http://schemas.microsoft.com/office/drawing/2014/main" id="{5066A036-2CE4-7B75-415C-892CA770578A}"/>
                      </a:ext>
                    </a:extLst>
                  </p:cNvPr>
                  <p:cNvSpPr/>
                  <p:nvPr/>
                </p:nvSpPr>
                <p:spPr bwMode="gray">
                  <a:xfrm>
                    <a:off x="6137242"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3" name="Graphic 16">
                  <a:extLst>
                    <a:ext uri="{FF2B5EF4-FFF2-40B4-BE49-F238E27FC236}">
                      <a16:creationId xmlns:a16="http://schemas.microsoft.com/office/drawing/2014/main" id="{125B658E-E1DE-0D97-999C-1F7565519B58}"/>
                    </a:ext>
                  </a:extLst>
                </p:cNvPr>
                <p:cNvGrpSpPr/>
                <p:nvPr/>
              </p:nvGrpSpPr>
              <p:grpSpPr bwMode="gray">
                <a:xfrm>
                  <a:off x="6149149" y="3656456"/>
                  <a:ext cx="75723" cy="75628"/>
                  <a:chOff x="6149149" y="3656456"/>
                  <a:chExt cx="75723" cy="75628"/>
                </a:xfrm>
              </p:grpSpPr>
              <p:sp>
                <p:nvSpPr>
                  <p:cNvPr id="10440" name="Freeform: Shape 10439">
                    <a:extLst>
                      <a:ext uri="{FF2B5EF4-FFF2-40B4-BE49-F238E27FC236}">
                        <a16:creationId xmlns:a16="http://schemas.microsoft.com/office/drawing/2014/main" id="{326345EF-1CA8-5577-367D-CEB5A080E3CF}"/>
                      </a:ext>
                    </a:extLst>
                  </p:cNvPr>
                  <p:cNvSpPr/>
                  <p:nvPr/>
                </p:nvSpPr>
                <p:spPr bwMode="gray">
                  <a:xfrm>
                    <a:off x="6186963"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1" name="Freeform: Shape 10440">
                    <a:extLst>
                      <a:ext uri="{FF2B5EF4-FFF2-40B4-BE49-F238E27FC236}">
                        <a16:creationId xmlns:a16="http://schemas.microsoft.com/office/drawing/2014/main" id="{09C8B0B5-99CA-09B9-91B9-9C3DEEDE85DF}"/>
                      </a:ext>
                    </a:extLst>
                  </p:cNvPr>
                  <p:cNvSpPr/>
                  <p:nvPr/>
                </p:nvSpPr>
                <p:spPr bwMode="gray">
                  <a:xfrm>
                    <a:off x="614914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4" name="Graphic 16">
                  <a:extLst>
                    <a:ext uri="{FF2B5EF4-FFF2-40B4-BE49-F238E27FC236}">
                      <a16:creationId xmlns:a16="http://schemas.microsoft.com/office/drawing/2014/main" id="{F4C5024D-72EC-9827-5BEC-5A0242807A38}"/>
                    </a:ext>
                  </a:extLst>
                </p:cNvPr>
                <p:cNvGrpSpPr/>
                <p:nvPr/>
              </p:nvGrpSpPr>
              <p:grpSpPr bwMode="gray">
                <a:xfrm>
                  <a:off x="6094380" y="3656456"/>
                  <a:ext cx="75723" cy="75628"/>
                  <a:chOff x="6094380" y="3656456"/>
                  <a:chExt cx="75723" cy="75628"/>
                </a:xfrm>
              </p:grpSpPr>
              <p:sp>
                <p:nvSpPr>
                  <p:cNvPr id="10438" name="Freeform: Shape 10437">
                    <a:extLst>
                      <a:ext uri="{FF2B5EF4-FFF2-40B4-BE49-F238E27FC236}">
                        <a16:creationId xmlns:a16="http://schemas.microsoft.com/office/drawing/2014/main" id="{E41FB696-8284-9461-B867-53271579BAEF}"/>
                      </a:ext>
                    </a:extLst>
                  </p:cNvPr>
                  <p:cNvSpPr/>
                  <p:nvPr/>
                </p:nvSpPr>
                <p:spPr bwMode="gray">
                  <a:xfrm>
                    <a:off x="6132289"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39" name="Freeform: Shape 10438">
                    <a:extLst>
                      <a:ext uri="{FF2B5EF4-FFF2-40B4-BE49-F238E27FC236}">
                        <a16:creationId xmlns:a16="http://schemas.microsoft.com/office/drawing/2014/main" id="{4C5BF404-6905-58BA-5730-18C6466FEADD}"/>
                      </a:ext>
                    </a:extLst>
                  </p:cNvPr>
                  <p:cNvSpPr/>
                  <p:nvPr/>
                </p:nvSpPr>
                <p:spPr bwMode="gray">
                  <a:xfrm>
                    <a:off x="609438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5" name="Graphic 16">
                  <a:extLst>
                    <a:ext uri="{FF2B5EF4-FFF2-40B4-BE49-F238E27FC236}">
                      <a16:creationId xmlns:a16="http://schemas.microsoft.com/office/drawing/2014/main" id="{C81EBA36-44AA-1C2A-6748-6E9968BC878A}"/>
                    </a:ext>
                  </a:extLst>
                </p:cNvPr>
                <p:cNvGrpSpPr/>
                <p:nvPr/>
              </p:nvGrpSpPr>
              <p:grpSpPr bwMode="gray">
                <a:xfrm>
                  <a:off x="6094380" y="3622738"/>
                  <a:ext cx="75723" cy="75628"/>
                  <a:chOff x="6094380" y="3622738"/>
                  <a:chExt cx="75723" cy="75628"/>
                </a:xfrm>
              </p:grpSpPr>
              <p:sp>
                <p:nvSpPr>
                  <p:cNvPr id="10436" name="Freeform: Shape 10435">
                    <a:extLst>
                      <a:ext uri="{FF2B5EF4-FFF2-40B4-BE49-F238E27FC236}">
                        <a16:creationId xmlns:a16="http://schemas.microsoft.com/office/drawing/2014/main" id="{1625F5D6-572C-4229-7087-74FD0D4D63F7}"/>
                      </a:ext>
                    </a:extLst>
                  </p:cNvPr>
                  <p:cNvSpPr/>
                  <p:nvPr/>
                </p:nvSpPr>
                <p:spPr bwMode="gray">
                  <a:xfrm>
                    <a:off x="6132289"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37" name="Freeform: Shape 10436">
                    <a:extLst>
                      <a:ext uri="{FF2B5EF4-FFF2-40B4-BE49-F238E27FC236}">
                        <a16:creationId xmlns:a16="http://schemas.microsoft.com/office/drawing/2014/main" id="{685C5A16-7E26-DD63-8CD7-DB357530729F}"/>
                      </a:ext>
                    </a:extLst>
                  </p:cNvPr>
                  <p:cNvSpPr/>
                  <p:nvPr/>
                </p:nvSpPr>
                <p:spPr bwMode="gray">
                  <a:xfrm>
                    <a:off x="6094380"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6" name="Graphic 16">
                  <a:extLst>
                    <a:ext uri="{FF2B5EF4-FFF2-40B4-BE49-F238E27FC236}">
                      <a16:creationId xmlns:a16="http://schemas.microsoft.com/office/drawing/2014/main" id="{70089F08-74C5-4F34-CDBB-D73A233F5E7E}"/>
                    </a:ext>
                  </a:extLst>
                </p:cNvPr>
                <p:cNvGrpSpPr/>
                <p:nvPr/>
              </p:nvGrpSpPr>
              <p:grpSpPr bwMode="gray">
                <a:xfrm>
                  <a:off x="6022276" y="3622738"/>
                  <a:ext cx="75628" cy="75628"/>
                  <a:chOff x="6022276" y="3622738"/>
                  <a:chExt cx="75628" cy="75628"/>
                </a:xfrm>
              </p:grpSpPr>
              <p:sp>
                <p:nvSpPr>
                  <p:cNvPr id="10434" name="Freeform: Shape 10433">
                    <a:extLst>
                      <a:ext uri="{FF2B5EF4-FFF2-40B4-BE49-F238E27FC236}">
                        <a16:creationId xmlns:a16="http://schemas.microsoft.com/office/drawing/2014/main" id="{7DD3B346-BC70-38D8-B474-DC7FFA181221}"/>
                      </a:ext>
                    </a:extLst>
                  </p:cNvPr>
                  <p:cNvSpPr/>
                  <p:nvPr/>
                </p:nvSpPr>
                <p:spPr bwMode="gray">
                  <a:xfrm>
                    <a:off x="6060090"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35" name="Freeform: Shape 10434">
                    <a:extLst>
                      <a:ext uri="{FF2B5EF4-FFF2-40B4-BE49-F238E27FC236}">
                        <a16:creationId xmlns:a16="http://schemas.microsoft.com/office/drawing/2014/main" id="{C75E142A-7909-98A3-6D2E-6B43910C47A4}"/>
                      </a:ext>
                    </a:extLst>
                  </p:cNvPr>
                  <p:cNvSpPr/>
                  <p:nvPr/>
                </p:nvSpPr>
                <p:spPr bwMode="gray">
                  <a:xfrm>
                    <a:off x="6022276"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7" name="Graphic 16">
                  <a:extLst>
                    <a:ext uri="{FF2B5EF4-FFF2-40B4-BE49-F238E27FC236}">
                      <a16:creationId xmlns:a16="http://schemas.microsoft.com/office/drawing/2014/main" id="{DFEF736D-2119-1B28-C706-98B3748F8D9F}"/>
                    </a:ext>
                  </a:extLst>
                </p:cNvPr>
                <p:cNvGrpSpPr/>
                <p:nvPr/>
              </p:nvGrpSpPr>
              <p:grpSpPr bwMode="gray">
                <a:xfrm>
                  <a:off x="6036277" y="3622738"/>
                  <a:ext cx="75628" cy="75628"/>
                  <a:chOff x="6036277" y="3622738"/>
                  <a:chExt cx="75628" cy="75628"/>
                </a:xfrm>
              </p:grpSpPr>
              <p:sp>
                <p:nvSpPr>
                  <p:cNvPr id="10432" name="Freeform: Shape 10431">
                    <a:extLst>
                      <a:ext uri="{FF2B5EF4-FFF2-40B4-BE49-F238E27FC236}">
                        <a16:creationId xmlns:a16="http://schemas.microsoft.com/office/drawing/2014/main" id="{16064FE2-EE1F-A304-2DF2-D9FB0F4F5915}"/>
                      </a:ext>
                    </a:extLst>
                  </p:cNvPr>
                  <p:cNvSpPr/>
                  <p:nvPr/>
                </p:nvSpPr>
                <p:spPr bwMode="gray">
                  <a:xfrm>
                    <a:off x="6074092"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33" name="Freeform: Shape 10432">
                    <a:extLst>
                      <a:ext uri="{FF2B5EF4-FFF2-40B4-BE49-F238E27FC236}">
                        <a16:creationId xmlns:a16="http://schemas.microsoft.com/office/drawing/2014/main" id="{60CA5ED4-B659-A865-4855-AC77B0BC729D}"/>
                      </a:ext>
                    </a:extLst>
                  </p:cNvPr>
                  <p:cNvSpPr/>
                  <p:nvPr/>
                </p:nvSpPr>
                <p:spPr bwMode="gray">
                  <a:xfrm>
                    <a:off x="6036277"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8" name="Graphic 16">
                  <a:extLst>
                    <a:ext uri="{FF2B5EF4-FFF2-40B4-BE49-F238E27FC236}">
                      <a16:creationId xmlns:a16="http://schemas.microsoft.com/office/drawing/2014/main" id="{D3FAECE5-FB8A-4A64-CF68-04097EA0E112}"/>
                    </a:ext>
                  </a:extLst>
                </p:cNvPr>
                <p:cNvGrpSpPr/>
                <p:nvPr/>
              </p:nvGrpSpPr>
              <p:grpSpPr bwMode="gray">
                <a:xfrm>
                  <a:off x="5957601" y="3622738"/>
                  <a:ext cx="75628" cy="75628"/>
                  <a:chOff x="5957601" y="3622738"/>
                  <a:chExt cx="75628" cy="75628"/>
                </a:xfrm>
              </p:grpSpPr>
              <p:sp>
                <p:nvSpPr>
                  <p:cNvPr id="10430" name="Freeform: Shape 10429">
                    <a:extLst>
                      <a:ext uri="{FF2B5EF4-FFF2-40B4-BE49-F238E27FC236}">
                        <a16:creationId xmlns:a16="http://schemas.microsoft.com/office/drawing/2014/main" id="{91A44EDF-76D8-B90F-250D-4BC6E2202CA6}"/>
                      </a:ext>
                    </a:extLst>
                  </p:cNvPr>
                  <p:cNvSpPr/>
                  <p:nvPr/>
                </p:nvSpPr>
                <p:spPr bwMode="gray">
                  <a:xfrm>
                    <a:off x="5995415"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31" name="Freeform: Shape 10430">
                    <a:extLst>
                      <a:ext uri="{FF2B5EF4-FFF2-40B4-BE49-F238E27FC236}">
                        <a16:creationId xmlns:a16="http://schemas.microsoft.com/office/drawing/2014/main" id="{0A2FD4BA-BBB1-4B0F-A78E-899122CE7330}"/>
                      </a:ext>
                    </a:extLst>
                  </p:cNvPr>
                  <p:cNvSpPr/>
                  <p:nvPr/>
                </p:nvSpPr>
                <p:spPr bwMode="gray">
                  <a:xfrm>
                    <a:off x="5957601"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79" name="Graphic 16">
                  <a:extLst>
                    <a:ext uri="{FF2B5EF4-FFF2-40B4-BE49-F238E27FC236}">
                      <a16:creationId xmlns:a16="http://schemas.microsoft.com/office/drawing/2014/main" id="{E4E2EFAD-ADB0-E12A-EE85-4630DF2ABF5F}"/>
                    </a:ext>
                  </a:extLst>
                </p:cNvPr>
                <p:cNvGrpSpPr/>
                <p:nvPr/>
              </p:nvGrpSpPr>
              <p:grpSpPr bwMode="gray">
                <a:xfrm>
                  <a:off x="5970079" y="3622738"/>
                  <a:ext cx="75628" cy="75628"/>
                  <a:chOff x="5970079" y="3622738"/>
                  <a:chExt cx="75628" cy="75628"/>
                </a:xfrm>
              </p:grpSpPr>
              <p:sp>
                <p:nvSpPr>
                  <p:cNvPr id="10428" name="Freeform: Shape 10427">
                    <a:extLst>
                      <a:ext uri="{FF2B5EF4-FFF2-40B4-BE49-F238E27FC236}">
                        <a16:creationId xmlns:a16="http://schemas.microsoft.com/office/drawing/2014/main" id="{33E52E42-7FDB-0020-2D23-F8A2803872CB}"/>
                      </a:ext>
                    </a:extLst>
                  </p:cNvPr>
                  <p:cNvSpPr/>
                  <p:nvPr/>
                </p:nvSpPr>
                <p:spPr bwMode="gray">
                  <a:xfrm>
                    <a:off x="6007893"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29" name="Freeform: Shape 10428">
                    <a:extLst>
                      <a:ext uri="{FF2B5EF4-FFF2-40B4-BE49-F238E27FC236}">
                        <a16:creationId xmlns:a16="http://schemas.microsoft.com/office/drawing/2014/main" id="{1B138202-E38E-7F49-2605-7BF56E51BE97}"/>
                      </a:ext>
                    </a:extLst>
                  </p:cNvPr>
                  <p:cNvSpPr/>
                  <p:nvPr/>
                </p:nvSpPr>
                <p:spPr bwMode="gray">
                  <a:xfrm>
                    <a:off x="5970079" y="36605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0" name="Graphic 16">
                  <a:extLst>
                    <a:ext uri="{FF2B5EF4-FFF2-40B4-BE49-F238E27FC236}">
                      <a16:creationId xmlns:a16="http://schemas.microsoft.com/office/drawing/2014/main" id="{8F665612-B9F6-43DC-3214-6BF9CF5B5B01}"/>
                    </a:ext>
                  </a:extLst>
                </p:cNvPr>
                <p:cNvGrpSpPr/>
                <p:nvPr/>
              </p:nvGrpSpPr>
              <p:grpSpPr bwMode="gray">
                <a:xfrm>
                  <a:off x="5985128" y="3622738"/>
                  <a:ext cx="75723" cy="75628"/>
                  <a:chOff x="5985128" y="3622738"/>
                  <a:chExt cx="75723" cy="75628"/>
                </a:xfrm>
              </p:grpSpPr>
              <p:sp>
                <p:nvSpPr>
                  <p:cNvPr id="10426" name="Freeform: Shape 10425">
                    <a:extLst>
                      <a:ext uri="{FF2B5EF4-FFF2-40B4-BE49-F238E27FC236}">
                        <a16:creationId xmlns:a16="http://schemas.microsoft.com/office/drawing/2014/main" id="{61B7BDC8-8597-B4B0-B7FB-9F26C81A8995}"/>
                      </a:ext>
                    </a:extLst>
                  </p:cNvPr>
                  <p:cNvSpPr/>
                  <p:nvPr/>
                </p:nvSpPr>
                <p:spPr bwMode="gray">
                  <a:xfrm>
                    <a:off x="6023038"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27" name="Freeform: Shape 10426">
                    <a:extLst>
                      <a:ext uri="{FF2B5EF4-FFF2-40B4-BE49-F238E27FC236}">
                        <a16:creationId xmlns:a16="http://schemas.microsoft.com/office/drawing/2014/main" id="{D63153B7-D29A-CA9D-AFF3-A3D9437B8DB3}"/>
                      </a:ext>
                    </a:extLst>
                  </p:cNvPr>
                  <p:cNvSpPr/>
                  <p:nvPr/>
                </p:nvSpPr>
                <p:spPr bwMode="gray">
                  <a:xfrm>
                    <a:off x="598512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1" name="Graphic 16">
                  <a:extLst>
                    <a:ext uri="{FF2B5EF4-FFF2-40B4-BE49-F238E27FC236}">
                      <a16:creationId xmlns:a16="http://schemas.microsoft.com/office/drawing/2014/main" id="{8C9F32BA-C4B8-44BA-F737-EC53378F8709}"/>
                    </a:ext>
                  </a:extLst>
                </p:cNvPr>
                <p:cNvGrpSpPr/>
                <p:nvPr/>
              </p:nvGrpSpPr>
              <p:grpSpPr bwMode="gray">
                <a:xfrm>
                  <a:off x="5998368" y="3622738"/>
                  <a:ext cx="75723" cy="75628"/>
                  <a:chOff x="5998368" y="3622738"/>
                  <a:chExt cx="75723" cy="75628"/>
                </a:xfrm>
              </p:grpSpPr>
              <p:sp>
                <p:nvSpPr>
                  <p:cNvPr id="10424" name="Freeform: Shape 10423">
                    <a:extLst>
                      <a:ext uri="{FF2B5EF4-FFF2-40B4-BE49-F238E27FC236}">
                        <a16:creationId xmlns:a16="http://schemas.microsoft.com/office/drawing/2014/main" id="{2C6D2117-B71E-FB3D-566D-49874BD24C77}"/>
                      </a:ext>
                    </a:extLst>
                  </p:cNvPr>
                  <p:cNvSpPr/>
                  <p:nvPr/>
                </p:nvSpPr>
                <p:spPr bwMode="gray">
                  <a:xfrm>
                    <a:off x="6036277" y="36227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25" name="Freeform: Shape 10424">
                    <a:extLst>
                      <a:ext uri="{FF2B5EF4-FFF2-40B4-BE49-F238E27FC236}">
                        <a16:creationId xmlns:a16="http://schemas.microsoft.com/office/drawing/2014/main" id="{563EACEB-AC9A-0C12-770D-FC445CCA5E9E}"/>
                      </a:ext>
                    </a:extLst>
                  </p:cNvPr>
                  <p:cNvSpPr/>
                  <p:nvPr/>
                </p:nvSpPr>
                <p:spPr bwMode="gray">
                  <a:xfrm>
                    <a:off x="5998368" y="36605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2" name="Graphic 16">
                  <a:extLst>
                    <a:ext uri="{FF2B5EF4-FFF2-40B4-BE49-F238E27FC236}">
                      <a16:creationId xmlns:a16="http://schemas.microsoft.com/office/drawing/2014/main" id="{7CCF45C5-3273-0AED-DA54-D34A7CE047FC}"/>
                    </a:ext>
                  </a:extLst>
                </p:cNvPr>
                <p:cNvGrpSpPr/>
                <p:nvPr/>
              </p:nvGrpSpPr>
              <p:grpSpPr bwMode="gray">
                <a:xfrm>
                  <a:off x="5885687" y="3600735"/>
                  <a:ext cx="75723" cy="75723"/>
                  <a:chOff x="5885687" y="3600735"/>
                  <a:chExt cx="75723" cy="75723"/>
                </a:xfrm>
              </p:grpSpPr>
              <p:sp>
                <p:nvSpPr>
                  <p:cNvPr id="10422" name="Freeform: Shape 10421">
                    <a:extLst>
                      <a:ext uri="{FF2B5EF4-FFF2-40B4-BE49-F238E27FC236}">
                        <a16:creationId xmlns:a16="http://schemas.microsoft.com/office/drawing/2014/main" id="{2273EF2F-401B-EA5D-4D07-6FCF636C57D4}"/>
                      </a:ext>
                    </a:extLst>
                  </p:cNvPr>
                  <p:cNvSpPr/>
                  <p:nvPr/>
                </p:nvSpPr>
                <p:spPr bwMode="gray">
                  <a:xfrm>
                    <a:off x="5923501"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23" name="Freeform: Shape 10422">
                    <a:extLst>
                      <a:ext uri="{FF2B5EF4-FFF2-40B4-BE49-F238E27FC236}">
                        <a16:creationId xmlns:a16="http://schemas.microsoft.com/office/drawing/2014/main" id="{8C74D058-726F-C2A7-6EB0-91F50AFAEDFD}"/>
                      </a:ext>
                    </a:extLst>
                  </p:cNvPr>
                  <p:cNvSpPr/>
                  <p:nvPr/>
                </p:nvSpPr>
                <p:spPr bwMode="gray">
                  <a:xfrm>
                    <a:off x="5885687"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3" name="Graphic 16">
                  <a:extLst>
                    <a:ext uri="{FF2B5EF4-FFF2-40B4-BE49-F238E27FC236}">
                      <a16:creationId xmlns:a16="http://schemas.microsoft.com/office/drawing/2014/main" id="{7A95CA13-CD69-D1FE-DCE6-7D178C7E8D7C}"/>
                    </a:ext>
                  </a:extLst>
                </p:cNvPr>
                <p:cNvGrpSpPr/>
                <p:nvPr/>
              </p:nvGrpSpPr>
              <p:grpSpPr bwMode="gray">
                <a:xfrm>
                  <a:off x="5885687" y="3557396"/>
                  <a:ext cx="75723" cy="75723"/>
                  <a:chOff x="5885687" y="3557396"/>
                  <a:chExt cx="75723" cy="75723"/>
                </a:xfrm>
              </p:grpSpPr>
              <p:sp>
                <p:nvSpPr>
                  <p:cNvPr id="10420" name="Freeform: Shape 10419">
                    <a:extLst>
                      <a:ext uri="{FF2B5EF4-FFF2-40B4-BE49-F238E27FC236}">
                        <a16:creationId xmlns:a16="http://schemas.microsoft.com/office/drawing/2014/main" id="{8E983887-0AF8-8330-20EC-8D3AC38DA7CF}"/>
                      </a:ext>
                    </a:extLst>
                  </p:cNvPr>
                  <p:cNvSpPr/>
                  <p:nvPr/>
                </p:nvSpPr>
                <p:spPr bwMode="gray">
                  <a:xfrm>
                    <a:off x="592350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21" name="Freeform: Shape 10420">
                    <a:extLst>
                      <a:ext uri="{FF2B5EF4-FFF2-40B4-BE49-F238E27FC236}">
                        <a16:creationId xmlns:a16="http://schemas.microsoft.com/office/drawing/2014/main" id="{32DA6303-FB2C-46B6-9257-CD7DB0237E9D}"/>
                      </a:ext>
                    </a:extLst>
                  </p:cNvPr>
                  <p:cNvSpPr/>
                  <p:nvPr/>
                </p:nvSpPr>
                <p:spPr bwMode="gray">
                  <a:xfrm>
                    <a:off x="588568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4" name="Graphic 16">
                  <a:extLst>
                    <a:ext uri="{FF2B5EF4-FFF2-40B4-BE49-F238E27FC236}">
                      <a16:creationId xmlns:a16="http://schemas.microsoft.com/office/drawing/2014/main" id="{9FCBB5C2-8390-FEDF-6E27-E6DB26DB5CE6}"/>
                    </a:ext>
                  </a:extLst>
                </p:cNvPr>
                <p:cNvGrpSpPr/>
                <p:nvPr/>
              </p:nvGrpSpPr>
              <p:grpSpPr bwMode="gray">
                <a:xfrm>
                  <a:off x="5816917" y="3557396"/>
                  <a:ext cx="75723" cy="75723"/>
                  <a:chOff x="5816917" y="3557396"/>
                  <a:chExt cx="75723" cy="75723"/>
                </a:xfrm>
              </p:grpSpPr>
              <p:sp>
                <p:nvSpPr>
                  <p:cNvPr id="10418" name="Freeform: Shape 10417">
                    <a:extLst>
                      <a:ext uri="{FF2B5EF4-FFF2-40B4-BE49-F238E27FC236}">
                        <a16:creationId xmlns:a16="http://schemas.microsoft.com/office/drawing/2014/main" id="{BB76D764-798E-925D-5D78-61F53F4DFDFB}"/>
                      </a:ext>
                    </a:extLst>
                  </p:cNvPr>
                  <p:cNvSpPr/>
                  <p:nvPr/>
                </p:nvSpPr>
                <p:spPr bwMode="gray">
                  <a:xfrm>
                    <a:off x="585482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9" name="Freeform: Shape 10418">
                    <a:extLst>
                      <a:ext uri="{FF2B5EF4-FFF2-40B4-BE49-F238E27FC236}">
                        <a16:creationId xmlns:a16="http://schemas.microsoft.com/office/drawing/2014/main" id="{CB164C53-13DC-81F7-3111-D1EF3BC1CCBE}"/>
                      </a:ext>
                    </a:extLst>
                  </p:cNvPr>
                  <p:cNvSpPr/>
                  <p:nvPr/>
                </p:nvSpPr>
                <p:spPr bwMode="gray">
                  <a:xfrm>
                    <a:off x="5816917"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887" name="Graphic 16">
                  <a:extLst>
                    <a:ext uri="{FF2B5EF4-FFF2-40B4-BE49-F238E27FC236}">
                      <a16:creationId xmlns:a16="http://schemas.microsoft.com/office/drawing/2014/main" id="{E6F282EF-4AB8-85D9-4370-6880DD46F840}"/>
                    </a:ext>
                  </a:extLst>
                </p:cNvPr>
                <p:cNvGrpSpPr/>
                <p:nvPr/>
              </p:nvGrpSpPr>
              <p:grpSpPr bwMode="gray">
                <a:xfrm>
                  <a:off x="5834157" y="3557396"/>
                  <a:ext cx="75628" cy="75723"/>
                  <a:chOff x="5834157" y="3557396"/>
                  <a:chExt cx="75628" cy="75723"/>
                </a:xfrm>
              </p:grpSpPr>
              <p:sp>
                <p:nvSpPr>
                  <p:cNvPr id="10416" name="Freeform: Shape 10415">
                    <a:extLst>
                      <a:ext uri="{FF2B5EF4-FFF2-40B4-BE49-F238E27FC236}">
                        <a16:creationId xmlns:a16="http://schemas.microsoft.com/office/drawing/2014/main" id="{452EFA70-187F-81FD-13EC-6B4D6E4D9666}"/>
                      </a:ext>
                    </a:extLst>
                  </p:cNvPr>
                  <p:cNvSpPr/>
                  <p:nvPr/>
                </p:nvSpPr>
                <p:spPr bwMode="gray">
                  <a:xfrm>
                    <a:off x="5871971"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7" name="Freeform: Shape 10416">
                    <a:extLst>
                      <a:ext uri="{FF2B5EF4-FFF2-40B4-BE49-F238E27FC236}">
                        <a16:creationId xmlns:a16="http://schemas.microsoft.com/office/drawing/2014/main" id="{8C50347B-E4DB-A5A1-0DDB-98680609BC32}"/>
                      </a:ext>
                    </a:extLst>
                  </p:cNvPr>
                  <p:cNvSpPr/>
                  <p:nvPr/>
                </p:nvSpPr>
                <p:spPr bwMode="gray">
                  <a:xfrm>
                    <a:off x="5834157" y="359521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37" name="Graphic 16">
                  <a:extLst>
                    <a:ext uri="{FF2B5EF4-FFF2-40B4-BE49-F238E27FC236}">
                      <a16:creationId xmlns:a16="http://schemas.microsoft.com/office/drawing/2014/main" id="{003D4AAC-E61C-D5CE-46EE-60755CAE0646}"/>
                    </a:ext>
                  </a:extLst>
                </p:cNvPr>
                <p:cNvGrpSpPr/>
                <p:nvPr/>
              </p:nvGrpSpPr>
              <p:grpSpPr bwMode="gray">
                <a:xfrm>
                  <a:off x="5851302" y="3557396"/>
                  <a:ext cx="75723" cy="75723"/>
                  <a:chOff x="5851302" y="3557396"/>
                  <a:chExt cx="75723" cy="75723"/>
                </a:xfrm>
              </p:grpSpPr>
              <p:sp>
                <p:nvSpPr>
                  <p:cNvPr id="10414" name="Freeform: Shape 10413">
                    <a:extLst>
                      <a:ext uri="{FF2B5EF4-FFF2-40B4-BE49-F238E27FC236}">
                        <a16:creationId xmlns:a16="http://schemas.microsoft.com/office/drawing/2014/main" id="{AE06E2D0-C306-C686-0D45-9F576296DF78}"/>
                      </a:ext>
                    </a:extLst>
                  </p:cNvPr>
                  <p:cNvSpPr/>
                  <p:nvPr/>
                </p:nvSpPr>
                <p:spPr bwMode="gray">
                  <a:xfrm>
                    <a:off x="588911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5" name="Freeform: Shape 10414">
                    <a:extLst>
                      <a:ext uri="{FF2B5EF4-FFF2-40B4-BE49-F238E27FC236}">
                        <a16:creationId xmlns:a16="http://schemas.microsoft.com/office/drawing/2014/main" id="{D0526FD2-1CA4-3BF1-11E6-C23C314AA578}"/>
                      </a:ext>
                    </a:extLst>
                  </p:cNvPr>
                  <p:cNvSpPr/>
                  <p:nvPr/>
                </p:nvSpPr>
                <p:spPr bwMode="gray">
                  <a:xfrm>
                    <a:off x="5851302" y="35952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1" name="Graphic 16">
                  <a:extLst>
                    <a:ext uri="{FF2B5EF4-FFF2-40B4-BE49-F238E27FC236}">
                      <a16:creationId xmlns:a16="http://schemas.microsoft.com/office/drawing/2014/main" id="{DFFD775C-C779-82FF-2EF8-2E8A71CDB729}"/>
                    </a:ext>
                  </a:extLst>
                </p:cNvPr>
                <p:cNvGrpSpPr/>
                <p:nvPr/>
              </p:nvGrpSpPr>
              <p:grpSpPr bwMode="gray">
                <a:xfrm>
                  <a:off x="5868542" y="3557396"/>
                  <a:ext cx="75628" cy="75723"/>
                  <a:chOff x="5868542" y="3557396"/>
                  <a:chExt cx="75628" cy="75723"/>
                </a:xfrm>
              </p:grpSpPr>
              <p:sp>
                <p:nvSpPr>
                  <p:cNvPr id="10412" name="Freeform: Shape 10411">
                    <a:extLst>
                      <a:ext uri="{FF2B5EF4-FFF2-40B4-BE49-F238E27FC236}">
                        <a16:creationId xmlns:a16="http://schemas.microsoft.com/office/drawing/2014/main" id="{BF4512F6-064C-0560-69D8-3DD080B54A03}"/>
                      </a:ext>
                    </a:extLst>
                  </p:cNvPr>
                  <p:cNvSpPr/>
                  <p:nvPr/>
                </p:nvSpPr>
                <p:spPr bwMode="gray">
                  <a:xfrm>
                    <a:off x="5906356" y="35573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3" name="Freeform: Shape 10412">
                    <a:extLst>
                      <a:ext uri="{FF2B5EF4-FFF2-40B4-BE49-F238E27FC236}">
                        <a16:creationId xmlns:a16="http://schemas.microsoft.com/office/drawing/2014/main" id="{B85D8302-60BE-F24B-BC51-D160FC0212BE}"/>
                      </a:ext>
                    </a:extLst>
                  </p:cNvPr>
                  <p:cNvSpPr/>
                  <p:nvPr/>
                </p:nvSpPr>
                <p:spPr bwMode="gray">
                  <a:xfrm>
                    <a:off x="5868542" y="35952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2" name="Graphic 16">
                  <a:extLst>
                    <a:ext uri="{FF2B5EF4-FFF2-40B4-BE49-F238E27FC236}">
                      <a16:creationId xmlns:a16="http://schemas.microsoft.com/office/drawing/2014/main" id="{EFEEB9F7-C8AC-6111-A6A9-69CC361C2853}"/>
                    </a:ext>
                  </a:extLst>
                </p:cNvPr>
                <p:cNvGrpSpPr/>
                <p:nvPr/>
              </p:nvGrpSpPr>
              <p:grpSpPr bwMode="gray">
                <a:xfrm>
                  <a:off x="5659278" y="3484911"/>
                  <a:ext cx="75723" cy="75628"/>
                  <a:chOff x="5659278" y="3484911"/>
                  <a:chExt cx="75723" cy="75628"/>
                </a:xfrm>
              </p:grpSpPr>
              <p:sp>
                <p:nvSpPr>
                  <p:cNvPr id="10410" name="Freeform: Shape 10409">
                    <a:extLst>
                      <a:ext uri="{FF2B5EF4-FFF2-40B4-BE49-F238E27FC236}">
                        <a16:creationId xmlns:a16="http://schemas.microsoft.com/office/drawing/2014/main" id="{76CC6EBE-3D10-A510-0E20-7E3EF52D224B}"/>
                      </a:ext>
                    </a:extLst>
                  </p:cNvPr>
                  <p:cNvSpPr/>
                  <p:nvPr/>
                </p:nvSpPr>
                <p:spPr bwMode="gray">
                  <a:xfrm>
                    <a:off x="569709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1" name="Freeform: Shape 10410">
                    <a:extLst>
                      <a:ext uri="{FF2B5EF4-FFF2-40B4-BE49-F238E27FC236}">
                        <a16:creationId xmlns:a16="http://schemas.microsoft.com/office/drawing/2014/main" id="{4DA18D6B-258A-E7C4-3025-FDA27B90D053}"/>
                      </a:ext>
                    </a:extLst>
                  </p:cNvPr>
                  <p:cNvSpPr/>
                  <p:nvPr/>
                </p:nvSpPr>
                <p:spPr bwMode="gray">
                  <a:xfrm>
                    <a:off x="565927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3" name="Graphic 16">
                  <a:extLst>
                    <a:ext uri="{FF2B5EF4-FFF2-40B4-BE49-F238E27FC236}">
                      <a16:creationId xmlns:a16="http://schemas.microsoft.com/office/drawing/2014/main" id="{0EE2BB33-7765-6749-4E70-5ADFBAED3B96}"/>
                    </a:ext>
                  </a:extLst>
                </p:cNvPr>
                <p:cNvGrpSpPr/>
                <p:nvPr/>
              </p:nvGrpSpPr>
              <p:grpSpPr bwMode="gray">
                <a:xfrm>
                  <a:off x="5706331" y="3490150"/>
                  <a:ext cx="75723" cy="75723"/>
                  <a:chOff x="5706331" y="3490150"/>
                  <a:chExt cx="75723" cy="75723"/>
                </a:xfrm>
              </p:grpSpPr>
              <p:sp>
                <p:nvSpPr>
                  <p:cNvPr id="10408" name="Freeform: Shape 10407">
                    <a:extLst>
                      <a:ext uri="{FF2B5EF4-FFF2-40B4-BE49-F238E27FC236}">
                        <a16:creationId xmlns:a16="http://schemas.microsoft.com/office/drawing/2014/main" id="{4F9A00A9-CA36-0489-9B43-6E6EE4DC62C7}"/>
                      </a:ext>
                    </a:extLst>
                  </p:cNvPr>
                  <p:cNvSpPr/>
                  <p:nvPr/>
                </p:nvSpPr>
                <p:spPr bwMode="gray">
                  <a:xfrm>
                    <a:off x="5744146"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09" name="Freeform: Shape 10408">
                    <a:extLst>
                      <a:ext uri="{FF2B5EF4-FFF2-40B4-BE49-F238E27FC236}">
                        <a16:creationId xmlns:a16="http://schemas.microsoft.com/office/drawing/2014/main" id="{27337AB4-CC04-3DF6-0D99-88B2F1626443}"/>
                      </a:ext>
                    </a:extLst>
                  </p:cNvPr>
                  <p:cNvSpPr/>
                  <p:nvPr/>
                </p:nvSpPr>
                <p:spPr bwMode="gray">
                  <a:xfrm>
                    <a:off x="5706331" y="35279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4" name="Graphic 16">
                  <a:extLst>
                    <a:ext uri="{FF2B5EF4-FFF2-40B4-BE49-F238E27FC236}">
                      <a16:creationId xmlns:a16="http://schemas.microsoft.com/office/drawing/2014/main" id="{8DFCE1F0-CB0D-9D63-056D-46F706CF879C}"/>
                    </a:ext>
                  </a:extLst>
                </p:cNvPr>
                <p:cNvGrpSpPr/>
                <p:nvPr/>
              </p:nvGrpSpPr>
              <p:grpSpPr bwMode="gray">
                <a:xfrm>
                  <a:off x="5682614" y="3490150"/>
                  <a:ext cx="75628" cy="75723"/>
                  <a:chOff x="5682614" y="3490150"/>
                  <a:chExt cx="75628" cy="75723"/>
                </a:xfrm>
              </p:grpSpPr>
              <p:sp>
                <p:nvSpPr>
                  <p:cNvPr id="10406" name="Freeform: Shape 10405">
                    <a:extLst>
                      <a:ext uri="{FF2B5EF4-FFF2-40B4-BE49-F238E27FC236}">
                        <a16:creationId xmlns:a16="http://schemas.microsoft.com/office/drawing/2014/main" id="{72564B26-C6D9-2297-D73B-5C63D7B30A68}"/>
                      </a:ext>
                    </a:extLst>
                  </p:cNvPr>
                  <p:cNvSpPr/>
                  <p:nvPr/>
                </p:nvSpPr>
                <p:spPr bwMode="gray">
                  <a:xfrm>
                    <a:off x="5720428" y="34901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07" name="Freeform: Shape 10406">
                    <a:extLst>
                      <a:ext uri="{FF2B5EF4-FFF2-40B4-BE49-F238E27FC236}">
                        <a16:creationId xmlns:a16="http://schemas.microsoft.com/office/drawing/2014/main" id="{9A5579BF-DFE6-6450-8766-51CA6A02DD51}"/>
                      </a:ext>
                    </a:extLst>
                  </p:cNvPr>
                  <p:cNvSpPr/>
                  <p:nvPr/>
                </p:nvSpPr>
                <p:spPr bwMode="gray">
                  <a:xfrm>
                    <a:off x="5682614" y="35279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5" name="Graphic 16">
                  <a:extLst>
                    <a:ext uri="{FF2B5EF4-FFF2-40B4-BE49-F238E27FC236}">
                      <a16:creationId xmlns:a16="http://schemas.microsoft.com/office/drawing/2014/main" id="{CD37930D-7B35-B673-EF56-374B7221DF02}"/>
                    </a:ext>
                  </a:extLst>
                </p:cNvPr>
                <p:cNvGrpSpPr/>
                <p:nvPr/>
              </p:nvGrpSpPr>
              <p:grpSpPr bwMode="gray">
                <a:xfrm>
                  <a:off x="5730430" y="3513486"/>
                  <a:ext cx="75723" cy="75723"/>
                  <a:chOff x="5730430" y="3513486"/>
                  <a:chExt cx="75723" cy="75723"/>
                </a:xfrm>
              </p:grpSpPr>
              <p:sp>
                <p:nvSpPr>
                  <p:cNvPr id="10404" name="Freeform: Shape 10403">
                    <a:extLst>
                      <a:ext uri="{FF2B5EF4-FFF2-40B4-BE49-F238E27FC236}">
                        <a16:creationId xmlns:a16="http://schemas.microsoft.com/office/drawing/2014/main" id="{F6B4D22F-7212-2CB9-C4DB-BB302DE88C71}"/>
                      </a:ext>
                    </a:extLst>
                  </p:cNvPr>
                  <p:cNvSpPr/>
                  <p:nvPr/>
                </p:nvSpPr>
                <p:spPr bwMode="gray">
                  <a:xfrm>
                    <a:off x="5768244" y="35134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05" name="Freeform: Shape 10404">
                    <a:extLst>
                      <a:ext uri="{FF2B5EF4-FFF2-40B4-BE49-F238E27FC236}">
                        <a16:creationId xmlns:a16="http://schemas.microsoft.com/office/drawing/2014/main" id="{07391F8C-AEF5-BAED-F066-27AC1EF65765}"/>
                      </a:ext>
                    </a:extLst>
                  </p:cNvPr>
                  <p:cNvSpPr/>
                  <p:nvPr/>
                </p:nvSpPr>
                <p:spPr bwMode="gray">
                  <a:xfrm>
                    <a:off x="5730430" y="35513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6" name="Graphic 16">
                  <a:extLst>
                    <a:ext uri="{FF2B5EF4-FFF2-40B4-BE49-F238E27FC236}">
                      <a16:creationId xmlns:a16="http://schemas.microsoft.com/office/drawing/2014/main" id="{BDE8F312-E97B-EC73-F66E-497827BF7DA7}"/>
                    </a:ext>
                  </a:extLst>
                </p:cNvPr>
                <p:cNvGrpSpPr/>
                <p:nvPr/>
              </p:nvGrpSpPr>
              <p:grpSpPr bwMode="gray">
                <a:xfrm>
                  <a:off x="5590507" y="3484911"/>
                  <a:ext cx="75723" cy="75628"/>
                  <a:chOff x="5590507" y="3484911"/>
                  <a:chExt cx="75723" cy="75628"/>
                </a:xfrm>
              </p:grpSpPr>
              <p:sp>
                <p:nvSpPr>
                  <p:cNvPr id="10402" name="Freeform: Shape 10401">
                    <a:extLst>
                      <a:ext uri="{FF2B5EF4-FFF2-40B4-BE49-F238E27FC236}">
                        <a16:creationId xmlns:a16="http://schemas.microsoft.com/office/drawing/2014/main" id="{A96E59B2-6C19-D3B2-E645-7EA14578CB21}"/>
                      </a:ext>
                    </a:extLst>
                  </p:cNvPr>
                  <p:cNvSpPr/>
                  <p:nvPr/>
                </p:nvSpPr>
                <p:spPr bwMode="gray">
                  <a:xfrm>
                    <a:off x="562841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03" name="Freeform: Shape 10402">
                    <a:extLst>
                      <a:ext uri="{FF2B5EF4-FFF2-40B4-BE49-F238E27FC236}">
                        <a16:creationId xmlns:a16="http://schemas.microsoft.com/office/drawing/2014/main" id="{65C465FB-6505-0F50-7B5D-7466EC75A640}"/>
                      </a:ext>
                    </a:extLst>
                  </p:cNvPr>
                  <p:cNvSpPr/>
                  <p:nvPr/>
                </p:nvSpPr>
                <p:spPr bwMode="gray">
                  <a:xfrm>
                    <a:off x="5590507"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7" name="Graphic 16">
                  <a:extLst>
                    <a:ext uri="{FF2B5EF4-FFF2-40B4-BE49-F238E27FC236}">
                      <a16:creationId xmlns:a16="http://schemas.microsoft.com/office/drawing/2014/main" id="{2DC8F7EB-C934-DDF3-4425-06837826DB2E}"/>
                    </a:ext>
                  </a:extLst>
                </p:cNvPr>
                <p:cNvGrpSpPr/>
                <p:nvPr/>
              </p:nvGrpSpPr>
              <p:grpSpPr bwMode="gray">
                <a:xfrm>
                  <a:off x="5600318" y="3484911"/>
                  <a:ext cx="75723" cy="75628"/>
                  <a:chOff x="5600318" y="3484911"/>
                  <a:chExt cx="75723" cy="75628"/>
                </a:xfrm>
              </p:grpSpPr>
              <p:sp>
                <p:nvSpPr>
                  <p:cNvPr id="10400" name="Freeform: Shape 10399">
                    <a:extLst>
                      <a:ext uri="{FF2B5EF4-FFF2-40B4-BE49-F238E27FC236}">
                        <a16:creationId xmlns:a16="http://schemas.microsoft.com/office/drawing/2014/main" id="{5088EDB2-57F2-E231-07BE-87DE62E12168}"/>
                      </a:ext>
                    </a:extLst>
                  </p:cNvPr>
                  <p:cNvSpPr/>
                  <p:nvPr/>
                </p:nvSpPr>
                <p:spPr bwMode="gray">
                  <a:xfrm>
                    <a:off x="563813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01" name="Freeform: Shape 10400">
                    <a:extLst>
                      <a:ext uri="{FF2B5EF4-FFF2-40B4-BE49-F238E27FC236}">
                        <a16:creationId xmlns:a16="http://schemas.microsoft.com/office/drawing/2014/main" id="{88DDB771-A1F8-9B02-20D7-920081BD1E36}"/>
                      </a:ext>
                    </a:extLst>
                  </p:cNvPr>
                  <p:cNvSpPr/>
                  <p:nvPr/>
                </p:nvSpPr>
                <p:spPr bwMode="gray">
                  <a:xfrm>
                    <a:off x="5600318"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8" name="Graphic 16">
                  <a:extLst>
                    <a:ext uri="{FF2B5EF4-FFF2-40B4-BE49-F238E27FC236}">
                      <a16:creationId xmlns:a16="http://schemas.microsoft.com/office/drawing/2014/main" id="{23F2D319-BE12-DB67-C4A8-ED9B71DE955A}"/>
                    </a:ext>
                  </a:extLst>
                </p:cNvPr>
                <p:cNvGrpSpPr/>
                <p:nvPr/>
              </p:nvGrpSpPr>
              <p:grpSpPr bwMode="gray">
                <a:xfrm>
                  <a:off x="5607748" y="3484911"/>
                  <a:ext cx="75628" cy="75628"/>
                  <a:chOff x="5607748" y="3484911"/>
                  <a:chExt cx="75628" cy="75628"/>
                </a:xfrm>
              </p:grpSpPr>
              <p:sp>
                <p:nvSpPr>
                  <p:cNvPr id="10398" name="Freeform: Shape 10397">
                    <a:extLst>
                      <a:ext uri="{FF2B5EF4-FFF2-40B4-BE49-F238E27FC236}">
                        <a16:creationId xmlns:a16="http://schemas.microsoft.com/office/drawing/2014/main" id="{6DA565CA-8DEF-7FB7-ADE6-15C0920BE7F6}"/>
                      </a:ext>
                    </a:extLst>
                  </p:cNvPr>
                  <p:cNvSpPr/>
                  <p:nvPr/>
                </p:nvSpPr>
                <p:spPr bwMode="gray">
                  <a:xfrm>
                    <a:off x="564556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99" name="Freeform: Shape 10398">
                    <a:extLst>
                      <a:ext uri="{FF2B5EF4-FFF2-40B4-BE49-F238E27FC236}">
                        <a16:creationId xmlns:a16="http://schemas.microsoft.com/office/drawing/2014/main" id="{CE1439C8-26E8-B8D9-E5DD-30696AAF0164}"/>
                      </a:ext>
                    </a:extLst>
                  </p:cNvPr>
                  <p:cNvSpPr/>
                  <p:nvPr/>
                </p:nvSpPr>
                <p:spPr bwMode="gray">
                  <a:xfrm>
                    <a:off x="5607748"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49" name="Graphic 16">
                  <a:extLst>
                    <a:ext uri="{FF2B5EF4-FFF2-40B4-BE49-F238E27FC236}">
                      <a16:creationId xmlns:a16="http://schemas.microsoft.com/office/drawing/2014/main" id="{68CFD63D-57BB-457C-748E-9DCFB75DA5A1}"/>
                    </a:ext>
                  </a:extLst>
                </p:cNvPr>
                <p:cNvGrpSpPr/>
                <p:nvPr/>
              </p:nvGrpSpPr>
              <p:grpSpPr bwMode="gray">
                <a:xfrm>
                  <a:off x="5624893" y="3484911"/>
                  <a:ext cx="75723" cy="75628"/>
                  <a:chOff x="5624893" y="3484911"/>
                  <a:chExt cx="75723" cy="75628"/>
                </a:xfrm>
              </p:grpSpPr>
              <p:sp>
                <p:nvSpPr>
                  <p:cNvPr id="10396" name="Freeform: Shape 10395">
                    <a:extLst>
                      <a:ext uri="{FF2B5EF4-FFF2-40B4-BE49-F238E27FC236}">
                        <a16:creationId xmlns:a16="http://schemas.microsoft.com/office/drawing/2014/main" id="{1A10D60B-0746-7521-4193-B5ADE3182717}"/>
                      </a:ext>
                    </a:extLst>
                  </p:cNvPr>
                  <p:cNvSpPr/>
                  <p:nvPr/>
                </p:nvSpPr>
                <p:spPr bwMode="gray">
                  <a:xfrm>
                    <a:off x="5662802"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97" name="Freeform: Shape 10396">
                    <a:extLst>
                      <a:ext uri="{FF2B5EF4-FFF2-40B4-BE49-F238E27FC236}">
                        <a16:creationId xmlns:a16="http://schemas.microsoft.com/office/drawing/2014/main" id="{2CD258FF-3B73-6116-BBFB-797E965A0F5A}"/>
                      </a:ext>
                    </a:extLst>
                  </p:cNvPr>
                  <p:cNvSpPr/>
                  <p:nvPr/>
                </p:nvSpPr>
                <p:spPr bwMode="gray">
                  <a:xfrm>
                    <a:off x="5624893" y="3522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0" name="Graphic 16">
                  <a:extLst>
                    <a:ext uri="{FF2B5EF4-FFF2-40B4-BE49-F238E27FC236}">
                      <a16:creationId xmlns:a16="http://schemas.microsoft.com/office/drawing/2014/main" id="{689EA0DA-03C7-6CF4-F1A0-728273C61C0F}"/>
                    </a:ext>
                  </a:extLst>
                </p:cNvPr>
                <p:cNvGrpSpPr/>
                <p:nvPr/>
              </p:nvGrpSpPr>
              <p:grpSpPr bwMode="gray">
                <a:xfrm>
                  <a:off x="5642133" y="3484911"/>
                  <a:ext cx="75628" cy="75628"/>
                  <a:chOff x="5642133" y="3484911"/>
                  <a:chExt cx="75628" cy="75628"/>
                </a:xfrm>
              </p:grpSpPr>
              <p:sp>
                <p:nvSpPr>
                  <p:cNvPr id="10394" name="Freeform: Shape 10393">
                    <a:extLst>
                      <a:ext uri="{FF2B5EF4-FFF2-40B4-BE49-F238E27FC236}">
                        <a16:creationId xmlns:a16="http://schemas.microsoft.com/office/drawing/2014/main" id="{8CB3385A-DA2E-3207-2250-804E87477E6F}"/>
                      </a:ext>
                    </a:extLst>
                  </p:cNvPr>
                  <p:cNvSpPr/>
                  <p:nvPr/>
                </p:nvSpPr>
                <p:spPr bwMode="gray">
                  <a:xfrm>
                    <a:off x="5679947" y="348491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95" name="Freeform: Shape 10394">
                    <a:extLst>
                      <a:ext uri="{FF2B5EF4-FFF2-40B4-BE49-F238E27FC236}">
                        <a16:creationId xmlns:a16="http://schemas.microsoft.com/office/drawing/2014/main" id="{17D29417-EC43-9E83-736A-CB23A1EE40FB}"/>
                      </a:ext>
                    </a:extLst>
                  </p:cNvPr>
                  <p:cNvSpPr/>
                  <p:nvPr/>
                </p:nvSpPr>
                <p:spPr bwMode="gray">
                  <a:xfrm>
                    <a:off x="5642133" y="3522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1" name="Graphic 16">
                  <a:extLst>
                    <a:ext uri="{FF2B5EF4-FFF2-40B4-BE49-F238E27FC236}">
                      <a16:creationId xmlns:a16="http://schemas.microsoft.com/office/drawing/2014/main" id="{19FBCD20-08DB-DC1B-BB50-9532589A3E71}"/>
                    </a:ext>
                  </a:extLst>
                </p:cNvPr>
                <p:cNvGrpSpPr/>
                <p:nvPr/>
              </p:nvGrpSpPr>
              <p:grpSpPr bwMode="gray">
                <a:xfrm>
                  <a:off x="5398864" y="3418807"/>
                  <a:ext cx="75723" cy="75723"/>
                  <a:chOff x="5398864" y="3418807"/>
                  <a:chExt cx="75723" cy="75723"/>
                </a:xfrm>
              </p:grpSpPr>
              <p:sp>
                <p:nvSpPr>
                  <p:cNvPr id="10392" name="Freeform: Shape 10391">
                    <a:extLst>
                      <a:ext uri="{FF2B5EF4-FFF2-40B4-BE49-F238E27FC236}">
                        <a16:creationId xmlns:a16="http://schemas.microsoft.com/office/drawing/2014/main" id="{5FD0AC31-D074-5CD4-69B7-C3FE1B591DD8}"/>
                      </a:ext>
                    </a:extLst>
                  </p:cNvPr>
                  <p:cNvSpPr/>
                  <p:nvPr/>
                </p:nvSpPr>
                <p:spPr bwMode="gray">
                  <a:xfrm>
                    <a:off x="543677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93" name="Freeform: Shape 10392">
                    <a:extLst>
                      <a:ext uri="{FF2B5EF4-FFF2-40B4-BE49-F238E27FC236}">
                        <a16:creationId xmlns:a16="http://schemas.microsoft.com/office/drawing/2014/main" id="{1D341DD8-242A-4500-DAC9-822ABDE3658E}"/>
                      </a:ext>
                    </a:extLst>
                  </p:cNvPr>
                  <p:cNvSpPr/>
                  <p:nvPr/>
                </p:nvSpPr>
                <p:spPr bwMode="gray">
                  <a:xfrm>
                    <a:off x="539886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2" name="Graphic 16">
                  <a:extLst>
                    <a:ext uri="{FF2B5EF4-FFF2-40B4-BE49-F238E27FC236}">
                      <a16:creationId xmlns:a16="http://schemas.microsoft.com/office/drawing/2014/main" id="{C0B070CA-540C-5097-6198-0D8A44E7422C}"/>
                    </a:ext>
                  </a:extLst>
                </p:cNvPr>
                <p:cNvGrpSpPr/>
                <p:nvPr/>
              </p:nvGrpSpPr>
              <p:grpSpPr bwMode="gray">
                <a:xfrm>
                  <a:off x="5412199" y="3418807"/>
                  <a:ext cx="75723" cy="75723"/>
                  <a:chOff x="5412199" y="3418807"/>
                  <a:chExt cx="75723" cy="75723"/>
                </a:xfrm>
              </p:grpSpPr>
              <p:sp>
                <p:nvSpPr>
                  <p:cNvPr id="10390" name="Freeform: Shape 10389">
                    <a:extLst>
                      <a:ext uri="{FF2B5EF4-FFF2-40B4-BE49-F238E27FC236}">
                        <a16:creationId xmlns:a16="http://schemas.microsoft.com/office/drawing/2014/main" id="{62216DC3-7AA9-31A2-FA23-7D077DCFEE9C}"/>
                      </a:ext>
                    </a:extLst>
                  </p:cNvPr>
                  <p:cNvSpPr/>
                  <p:nvPr/>
                </p:nvSpPr>
                <p:spPr bwMode="gray">
                  <a:xfrm>
                    <a:off x="545001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91" name="Freeform: Shape 10390">
                    <a:extLst>
                      <a:ext uri="{FF2B5EF4-FFF2-40B4-BE49-F238E27FC236}">
                        <a16:creationId xmlns:a16="http://schemas.microsoft.com/office/drawing/2014/main" id="{F7FC2A01-CC3B-AFD8-5C93-4337BF479233}"/>
                      </a:ext>
                    </a:extLst>
                  </p:cNvPr>
                  <p:cNvSpPr/>
                  <p:nvPr/>
                </p:nvSpPr>
                <p:spPr bwMode="gray">
                  <a:xfrm>
                    <a:off x="541219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3" name="Graphic 16">
                  <a:extLst>
                    <a:ext uri="{FF2B5EF4-FFF2-40B4-BE49-F238E27FC236}">
                      <a16:creationId xmlns:a16="http://schemas.microsoft.com/office/drawing/2014/main" id="{8419F254-690B-8BDE-7688-8517E255CF83}"/>
                    </a:ext>
                  </a:extLst>
                </p:cNvPr>
                <p:cNvGrpSpPr/>
                <p:nvPr/>
              </p:nvGrpSpPr>
              <p:grpSpPr bwMode="gray">
                <a:xfrm>
                  <a:off x="5330094" y="3418807"/>
                  <a:ext cx="75723" cy="75723"/>
                  <a:chOff x="5330094" y="3418807"/>
                  <a:chExt cx="75723" cy="75723"/>
                </a:xfrm>
              </p:grpSpPr>
              <p:sp>
                <p:nvSpPr>
                  <p:cNvPr id="10388" name="Freeform: Shape 10387">
                    <a:extLst>
                      <a:ext uri="{FF2B5EF4-FFF2-40B4-BE49-F238E27FC236}">
                        <a16:creationId xmlns:a16="http://schemas.microsoft.com/office/drawing/2014/main" id="{E6CA0941-9B5E-2B9C-E1CC-1553470CC5AB}"/>
                      </a:ext>
                    </a:extLst>
                  </p:cNvPr>
                  <p:cNvSpPr/>
                  <p:nvPr/>
                </p:nvSpPr>
                <p:spPr bwMode="gray">
                  <a:xfrm>
                    <a:off x="5368003"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9" name="Freeform: Shape 10388">
                    <a:extLst>
                      <a:ext uri="{FF2B5EF4-FFF2-40B4-BE49-F238E27FC236}">
                        <a16:creationId xmlns:a16="http://schemas.microsoft.com/office/drawing/2014/main" id="{7ADB6CA8-E624-2123-83A8-5503CDE31AED}"/>
                      </a:ext>
                    </a:extLst>
                  </p:cNvPr>
                  <p:cNvSpPr/>
                  <p:nvPr/>
                </p:nvSpPr>
                <p:spPr bwMode="gray">
                  <a:xfrm>
                    <a:off x="533009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5" name="Graphic 16">
                  <a:extLst>
                    <a:ext uri="{FF2B5EF4-FFF2-40B4-BE49-F238E27FC236}">
                      <a16:creationId xmlns:a16="http://schemas.microsoft.com/office/drawing/2014/main" id="{C2B6E1B1-E756-FD02-8A64-52F6E1FE3802}"/>
                    </a:ext>
                  </a:extLst>
                </p:cNvPr>
                <p:cNvGrpSpPr/>
                <p:nvPr/>
              </p:nvGrpSpPr>
              <p:grpSpPr bwMode="gray">
                <a:xfrm>
                  <a:off x="5347334" y="3418807"/>
                  <a:ext cx="75723" cy="75723"/>
                  <a:chOff x="5347334" y="3418807"/>
                  <a:chExt cx="75723" cy="75723"/>
                </a:xfrm>
              </p:grpSpPr>
              <p:sp>
                <p:nvSpPr>
                  <p:cNvPr id="10386" name="Freeform: Shape 10385">
                    <a:extLst>
                      <a:ext uri="{FF2B5EF4-FFF2-40B4-BE49-F238E27FC236}">
                        <a16:creationId xmlns:a16="http://schemas.microsoft.com/office/drawing/2014/main" id="{8649C950-8323-74D3-578E-75379DA601C2}"/>
                      </a:ext>
                    </a:extLst>
                  </p:cNvPr>
                  <p:cNvSpPr/>
                  <p:nvPr/>
                </p:nvSpPr>
                <p:spPr bwMode="gray">
                  <a:xfrm>
                    <a:off x="5385148"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7" name="Freeform: Shape 10386">
                    <a:extLst>
                      <a:ext uri="{FF2B5EF4-FFF2-40B4-BE49-F238E27FC236}">
                        <a16:creationId xmlns:a16="http://schemas.microsoft.com/office/drawing/2014/main" id="{1A0E296F-5CB9-D51B-B638-D0F17A8D9C1E}"/>
                      </a:ext>
                    </a:extLst>
                  </p:cNvPr>
                  <p:cNvSpPr/>
                  <p:nvPr/>
                </p:nvSpPr>
                <p:spPr bwMode="gray">
                  <a:xfrm>
                    <a:off x="5347334"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6" name="Graphic 16">
                  <a:extLst>
                    <a:ext uri="{FF2B5EF4-FFF2-40B4-BE49-F238E27FC236}">
                      <a16:creationId xmlns:a16="http://schemas.microsoft.com/office/drawing/2014/main" id="{D5361177-FDD2-0909-7862-584E9E81F807}"/>
                    </a:ext>
                  </a:extLst>
                </p:cNvPr>
                <p:cNvGrpSpPr/>
                <p:nvPr/>
              </p:nvGrpSpPr>
              <p:grpSpPr bwMode="gray">
                <a:xfrm>
                  <a:off x="5364479" y="3418807"/>
                  <a:ext cx="75723" cy="75723"/>
                  <a:chOff x="5364479" y="3418807"/>
                  <a:chExt cx="75723" cy="75723"/>
                </a:xfrm>
              </p:grpSpPr>
              <p:sp>
                <p:nvSpPr>
                  <p:cNvPr id="10384" name="Freeform: Shape 10383">
                    <a:extLst>
                      <a:ext uri="{FF2B5EF4-FFF2-40B4-BE49-F238E27FC236}">
                        <a16:creationId xmlns:a16="http://schemas.microsoft.com/office/drawing/2014/main" id="{E47C3167-0663-CF4B-FEA9-182EA292EB67}"/>
                      </a:ext>
                    </a:extLst>
                  </p:cNvPr>
                  <p:cNvSpPr/>
                  <p:nvPr/>
                </p:nvSpPr>
                <p:spPr bwMode="gray">
                  <a:xfrm>
                    <a:off x="5402389"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5" name="Freeform: Shape 10384">
                    <a:extLst>
                      <a:ext uri="{FF2B5EF4-FFF2-40B4-BE49-F238E27FC236}">
                        <a16:creationId xmlns:a16="http://schemas.microsoft.com/office/drawing/2014/main" id="{192D7DCD-1E02-D1E4-BDE3-44FBA6ACB290}"/>
                      </a:ext>
                    </a:extLst>
                  </p:cNvPr>
                  <p:cNvSpPr/>
                  <p:nvPr/>
                </p:nvSpPr>
                <p:spPr bwMode="gray">
                  <a:xfrm>
                    <a:off x="536447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7" name="Graphic 16">
                  <a:extLst>
                    <a:ext uri="{FF2B5EF4-FFF2-40B4-BE49-F238E27FC236}">
                      <a16:creationId xmlns:a16="http://schemas.microsoft.com/office/drawing/2014/main" id="{229C76A2-2426-6D59-D9DF-00B748ABE61D}"/>
                    </a:ext>
                  </a:extLst>
                </p:cNvPr>
                <p:cNvGrpSpPr/>
                <p:nvPr/>
              </p:nvGrpSpPr>
              <p:grpSpPr bwMode="gray">
                <a:xfrm>
                  <a:off x="5381719" y="3418807"/>
                  <a:ext cx="75723" cy="75723"/>
                  <a:chOff x="5381719" y="3418807"/>
                  <a:chExt cx="75723" cy="75723"/>
                </a:xfrm>
              </p:grpSpPr>
              <p:sp>
                <p:nvSpPr>
                  <p:cNvPr id="10382" name="Freeform: Shape 10381">
                    <a:extLst>
                      <a:ext uri="{FF2B5EF4-FFF2-40B4-BE49-F238E27FC236}">
                        <a16:creationId xmlns:a16="http://schemas.microsoft.com/office/drawing/2014/main" id="{5ECB256D-D7A2-3118-B71B-7D8A760C3368}"/>
                      </a:ext>
                    </a:extLst>
                  </p:cNvPr>
                  <p:cNvSpPr/>
                  <p:nvPr/>
                </p:nvSpPr>
                <p:spPr bwMode="gray">
                  <a:xfrm>
                    <a:off x="5419534"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3" name="Freeform: Shape 10382">
                    <a:extLst>
                      <a:ext uri="{FF2B5EF4-FFF2-40B4-BE49-F238E27FC236}">
                        <a16:creationId xmlns:a16="http://schemas.microsoft.com/office/drawing/2014/main" id="{2DA9FAE1-AD4F-55A9-AD22-A361C4DABDF4}"/>
                      </a:ext>
                    </a:extLst>
                  </p:cNvPr>
                  <p:cNvSpPr/>
                  <p:nvPr/>
                </p:nvSpPr>
                <p:spPr bwMode="gray">
                  <a:xfrm>
                    <a:off x="5381719"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58" name="Graphic 16">
                  <a:extLst>
                    <a:ext uri="{FF2B5EF4-FFF2-40B4-BE49-F238E27FC236}">
                      <a16:creationId xmlns:a16="http://schemas.microsoft.com/office/drawing/2014/main" id="{21D9CDCA-EEA3-C085-0278-C97766ADD67F}"/>
                    </a:ext>
                  </a:extLst>
                </p:cNvPr>
                <p:cNvGrpSpPr/>
                <p:nvPr/>
              </p:nvGrpSpPr>
              <p:grpSpPr bwMode="gray">
                <a:xfrm>
                  <a:off x="5338762" y="3418807"/>
                  <a:ext cx="75628" cy="75723"/>
                  <a:chOff x="5338762" y="3418807"/>
                  <a:chExt cx="75628" cy="75723"/>
                </a:xfrm>
              </p:grpSpPr>
              <p:sp>
                <p:nvSpPr>
                  <p:cNvPr id="10380" name="Freeform: Shape 10379">
                    <a:extLst>
                      <a:ext uri="{FF2B5EF4-FFF2-40B4-BE49-F238E27FC236}">
                        <a16:creationId xmlns:a16="http://schemas.microsoft.com/office/drawing/2014/main" id="{C033684E-A61F-7E1B-4CE6-CE1629E0C2D8}"/>
                      </a:ext>
                    </a:extLst>
                  </p:cNvPr>
                  <p:cNvSpPr/>
                  <p:nvPr/>
                </p:nvSpPr>
                <p:spPr bwMode="gray">
                  <a:xfrm>
                    <a:off x="537657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1" name="Freeform: Shape 10380">
                    <a:extLst>
                      <a:ext uri="{FF2B5EF4-FFF2-40B4-BE49-F238E27FC236}">
                        <a16:creationId xmlns:a16="http://schemas.microsoft.com/office/drawing/2014/main" id="{D798361C-05F9-9694-0973-70658D86B7E1}"/>
                      </a:ext>
                    </a:extLst>
                  </p:cNvPr>
                  <p:cNvSpPr/>
                  <p:nvPr/>
                </p:nvSpPr>
                <p:spPr bwMode="gray">
                  <a:xfrm>
                    <a:off x="5338762"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0" name="Graphic 16">
                  <a:extLst>
                    <a:ext uri="{FF2B5EF4-FFF2-40B4-BE49-F238E27FC236}">
                      <a16:creationId xmlns:a16="http://schemas.microsoft.com/office/drawing/2014/main" id="{32F3BBFD-825E-45AC-625E-0AA760D8085E}"/>
                    </a:ext>
                  </a:extLst>
                </p:cNvPr>
                <p:cNvGrpSpPr/>
                <p:nvPr/>
              </p:nvGrpSpPr>
              <p:grpSpPr bwMode="gray">
                <a:xfrm>
                  <a:off x="5355907" y="3418807"/>
                  <a:ext cx="75723" cy="75723"/>
                  <a:chOff x="5355907" y="3418807"/>
                  <a:chExt cx="75723" cy="75723"/>
                </a:xfrm>
              </p:grpSpPr>
              <p:sp>
                <p:nvSpPr>
                  <p:cNvPr id="10378" name="Freeform: Shape 10377">
                    <a:extLst>
                      <a:ext uri="{FF2B5EF4-FFF2-40B4-BE49-F238E27FC236}">
                        <a16:creationId xmlns:a16="http://schemas.microsoft.com/office/drawing/2014/main" id="{998B583F-60F9-476B-15CD-598F5207D282}"/>
                      </a:ext>
                    </a:extLst>
                  </p:cNvPr>
                  <p:cNvSpPr/>
                  <p:nvPr/>
                </p:nvSpPr>
                <p:spPr bwMode="gray">
                  <a:xfrm>
                    <a:off x="539372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79" name="Freeform: Shape 10378">
                    <a:extLst>
                      <a:ext uri="{FF2B5EF4-FFF2-40B4-BE49-F238E27FC236}">
                        <a16:creationId xmlns:a16="http://schemas.microsoft.com/office/drawing/2014/main" id="{1EBE7AF6-B918-8229-C6FF-777EF172D144}"/>
                      </a:ext>
                    </a:extLst>
                  </p:cNvPr>
                  <p:cNvSpPr/>
                  <p:nvPr/>
                </p:nvSpPr>
                <p:spPr bwMode="gray">
                  <a:xfrm>
                    <a:off x="5355907"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1" name="Graphic 16">
                  <a:extLst>
                    <a:ext uri="{FF2B5EF4-FFF2-40B4-BE49-F238E27FC236}">
                      <a16:creationId xmlns:a16="http://schemas.microsoft.com/office/drawing/2014/main" id="{781E9128-5BBF-4F93-A84A-BD2B1669C08E}"/>
                    </a:ext>
                  </a:extLst>
                </p:cNvPr>
                <p:cNvGrpSpPr/>
                <p:nvPr/>
              </p:nvGrpSpPr>
              <p:grpSpPr bwMode="gray">
                <a:xfrm>
                  <a:off x="5373147" y="3418807"/>
                  <a:ext cx="75628" cy="75723"/>
                  <a:chOff x="5373147" y="3418807"/>
                  <a:chExt cx="75628" cy="75723"/>
                </a:xfrm>
              </p:grpSpPr>
              <p:sp>
                <p:nvSpPr>
                  <p:cNvPr id="10376" name="Freeform: Shape 10375">
                    <a:extLst>
                      <a:ext uri="{FF2B5EF4-FFF2-40B4-BE49-F238E27FC236}">
                        <a16:creationId xmlns:a16="http://schemas.microsoft.com/office/drawing/2014/main" id="{0A0350B1-70A5-0602-6422-9B9017140E32}"/>
                      </a:ext>
                    </a:extLst>
                  </p:cNvPr>
                  <p:cNvSpPr/>
                  <p:nvPr/>
                </p:nvSpPr>
                <p:spPr bwMode="gray">
                  <a:xfrm>
                    <a:off x="5410961"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77" name="Freeform: Shape 10376">
                    <a:extLst>
                      <a:ext uri="{FF2B5EF4-FFF2-40B4-BE49-F238E27FC236}">
                        <a16:creationId xmlns:a16="http://schemas.microsoft.com/office/drawing/2014/main" id="{34F38496-0078-981A-8748-F57894DB478B}"/>
                      </a:ext>
                    </a:extLst>
                  </p:cNvPr>
                  <p:cNvSpPr/>
                  <p:nvPr/>
                </p:nvSpPr>
                <p:spPr bwMode="gray">
                  <a:xfrm>
                    <a:off x="5373147" y="34566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2" name="Graphic 16">
                  <a:extLst>
                    <a:ext uri="{FF2B5EF4-FFF2-40B4-BE49-F238E27FC236}">
                      <a16:creationId xmlns:a16="http://schemas.microsoft.com/office/drawing/2014/main" id="{237023ED-4694-97AF-20B0-770938DB360A}"/>
                    </a:ext>
                  </a:extLst>
                </p:cNvPr>
                <p:cNvGrpSpPr/>
                <p:nvPr/>
              </p:nvGrpSpPr>
              <p:grpSpPr bwMode="gray">
                <a:xfrm>
                  <a:off x="5390292" y="3418807"/>
                  <a:ext cx="75723" cy="75723"/>
                  <a:chOff x="5390292" y="3418807"/>
                  <a:chExt cx="75723" cy="75723"/>
                </a:xfrm>
              </p:grpSpPr>
              <p:sp>
                <p:nvSpPr>
                  <p:cNvPr id="10374" name="Freeform: Shape 10373">
                    <a:extLst>
                      <a:ext uri="{FF2B5EF4-FFF2-40B4-BE49-F238E27FC236}">
                        <a16:creationId xmlns:a16="http://schemas.microsoft.com/office/drawing/2014/main" id="{282353BB-B4A8-1E5D-3DBF-321F9A78725D}"/>
                      </a:ext>
                    </a:extLst>
                  </p:cNvPr>
                  <p:cNvSpPr/>
                  <p:nvPr/>
                </p:nvSpPr>
                <p:spPr bwMode="gray">
                  <a:xfrm>
                    <a:off x="5428106" y="34188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75" name="Freeform: Shape 10374">
                    <a:extLst>
                      <a:ext uri="{FF2B5EF4-FFF2-40B4-BE49-F238E27FC236}">
                        <a16:creationId xmlns:a16="http://schemas.microsoft.com/office/drawing/2014/main" id="{67B1D75F-F6F5-BBC9-FDA3-6BD3E397C138}"/>
                      </a:ext>
                    </a:extLst>
                  </p:cNvPr>
                  <p:cNvSpPr/>
                  <p:nvPr/>
                </p:nvSpPr>
                <p:spPr bwMode="gray">
                  <a:xfrm>
                    <a:off x="5390292" y="34566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3" name="Graphic 16">
                  <a:extLst>
                    <a:ext uri="{FF2B5EF4-FFF2-40B4-BE49-F238E27FC236}">
                      <a16:creationId xmlns:a16="http://schemas.microsoft.com/office/drawing/2014/main" id="{89A8D90F-C9F6-6981-3806-54807D11781E}"/>
                    </a:ext>
                  </a:extLst>
                </p:cNvPr>
                <p:cNvGrpSpPr/>
                <p:nvPr/>
              </p:nvGrpSpPr>
              <p:grpSpPr bwMode="gray">
                <a:xfrm>
                  <a:off x="5225414" y="3337083"/>
                  <a:ext cx="75723" cy="75628"/>
                  <a:chOff x="5225414" y="3337083"/>
                  <a:chExt cx="75723" cy="75628"/>
                </a:xfrm>
              </p:grpSpPr>
              <p:sp>
                <p:nvSpPr>
                  <p:cNvPr id="10372" name="Freeform: Shape 10371">
                    <a:extLst>
                      <a:ext uri="{FF2B5EF4-FFF2-40B4-BE49-F238E27FC236}">
                        <a16:creationId xmlns:a16="http://schemas.microsoft.com/office/drawing/2014/main" id="{BA6F6297-FC57-EEC4-A2FC-711E2EC2DC73}"/>
                      </a:ext>
                    </a:extLst>
                  </p:cNvPr>
                  <p:cNvSpPr/>
                  <p:nvPr/>
                </p:nvSpPr>
                <p:spPr bwMode="gray">
                  <a:xfrm>
                    <a:off x="526322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73" name="Freeform: Shape 10372">
                    <a:extLst>
                      <a:ext uri="{FF2B5EF4-FFF2-40B4-BE49-F238E27FC236}">
                        <a16:creationId xmlns:a16="http://schemas.microsoft.com/office/drawing/2014/main" id="{658F3970-8571-4407-1AB9-F8DF1732B35E}"/>
                      </a:ext>
                    </a:extLst>
                  </p:cNvPr>
                  <p:cNvSpPr/>
                  <p:nvPr/>
                </p:nvSpPr>
                <p:spPr bwMode="gray">
                  <a:xfrm>
                    <a:off x="5225414"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4" name="Graphic 16">
                  <a:extLst>
                    <a:ext uri="{FF2B5EF4-FFF2-40B4-BE49-F238E27FC236}">
                      <a16:creationId xmlns:a16="http://schemas.microsoft.com/office/drawing/2014/main" id="{34B588CB-0AC2-9FF4-2A5D-452DB5FD0EA9}"/>
                    </a:ext>
                  </a:extLst>
                </p:cNvPr>
                <p:cNvGrpSpPr/>
                <p:nvPr/>
              </p:nvGrpSpPr>
              <p:grpSpPr bwMode="gray">
                <a:xfrm>
                  <a:off x="5243416" y="3368896"/>
                  <a:ext cx="75723" cy="75723"/>
                  <a:chOff x="5243416" y="3368896"/>
                  <a:chExt cx="75723" cy="75723"/>
                </a:xfrm>
              </p:grpSpPr>
              <p:sp>
                <p:nvSpPr>
                  <p:cNvPr id="10370" name="Freeform: Shape 10369">
                    <a:extLst>
                      <a:ext uri="{FF2B5EF4-FFF2-40B4-BE49-F238E27FC236}">
                        <a16:creationId xmlns:a16="http://schemas.microsoft.com/office/drawing/2014/main" id="{FFB42B1A-7834-ADA5-9B75-D70D17EB8FE5}"/>
                      </a:ext>
                    </a:extLst>
                  </p:cNvPr>
                  <p:cNvSpPr/>
                  <p:nvPr/>
                </p:nvSpPr>
                <p:spPr bwMode="gray">
                  <a:xfrm>
                    <a:off x="5281231"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71" name="Freeform: Shape 10370">
                    <a:extLst>
                      <a:ext uri="{FF2B5EF4-FFF2-40B4-BE49-F238E27FC236}">
                        <a16:creationId xmlns:a16="http://schemas.microsoft.com/office/drawing/2014/main" id="{DBC405D5-6F8F-3A79-23A6-04AE113CC6B8}"/>
                      </a:ext>
                    </a:extLst>
                  </p:cNvPr>
                  <p:cNvSpPr/>
                  <p:nvPr/>
                </p:nvSpPr>
                <p:spPr bwMode="gray">
                  <a:xfrm>
                    <a:off x="5243416"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5" name="Graphic 16">
                  <a:extLst>
                    <a:ext uri="{FF2B5EF4-FFF2-40B4-BE49-F238E27FC236}">
                      <a16:creationId xmlns:a16="http://schemas.microsoft.com/office/drawing/2014/main" id="{B8003D9E-573E-7585-9BA8-F9F305C46EFE}"/>
                    </a:ext>
                  </a:extLst>
                </p:cNvPr>
                <p:cNvGrpSpPr/>
                <p:nvPr/>
              </p:nvGrpSpPr>
              <p:grpSpPr bwMode="gray">
                <a:xfrm>
                  <a:off x="5263228" y="3368896"/>
                  <a:ext cx="75723" cy="75723"/>
                  <a:chOff x="5263228" y="3368896"/>
                  <a:chExt cx="75723" cy="75723"/>
                </a:xfrm>
              </p:grpSpPr>
              <p:sp>
                <p:nvSpPr>
                  <p:cNvPr id="10368" name="Freeform: Shape 10367">
                    <a:extLst>
                      <a:ext uri="{FF2B5EF4-FFF2-40B4-BE49-F238E27FC236}">
                        <a16:creationId xmlns:a16="http://schemas.microsoft.com/office/drawing/2014/main" id="{F09C234E-1C4E-3EBE-1490-B58E62F14EA8}"/>
                      </a:ext>
                    </a:extLst>
                  </p:cNvPr>
                  <p:cNvSpPr/>
                  <p:nvPr/>
                </p:nvSpPr>
                <p:spPr bwMode="gray">
                  <a:xfrm>
                    <a:off x="5301138"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69" name="Freeform: Shape 10368">
                    <a:extLst>
                      <a:ext uri="{FF2B5EF4-FFF2-40B4-BE49-F238E27FC236}">
                        <a16:creationId xmlns:a16="http://schemas.microsoft.com/office/drawing/2014/main" id="{D44FA6F5-E5D7-6EBC-CD66-42F0B05E6317}"/>
                      </a:ext>
                    </a:extLst>
                  </p:cNvPr>
                  <p:cNvSpPr/>
                  <p:nvPr/>
                </p:nvSpPr>
                <p:spPr bwMode="gray">
                  <a:xfrm>
                    <a:off x="5263228" y="3406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6" name="Graphic 16">
                  <a:extLst>
                    <a:ext uri="{FF2B5EF4-FFF2-40B4-BE49-F238E27FC236}">
                      <a16:creationId xmlns:a16="http://schemas.microsoft.com/office/drawing/2014/main" id="{DA62BE9F-DF4F-5CB2-18F1-029A05FC004B}"/>
                    </a:ext>
                  </a:extLst>
                </p:cNvPr>
                <p:cNvGrpSpPr/>
                <p:nvPr/>
              </p:nvGrpSpPr>
              <p:grpSpPr bwMode="gray">
                <a:xfrm>
                  <a:off x="5281231" y="3387089"/>
                  <a:ext cx="75628" cy="75723"/>
                  <a:chOff x="5281231" y="3387089"/>
                  <a:chExt cx="75628" cy="75723"/>
                </a:xfrm>
              </p:grpSpPr>
              <p:sp>
                <p:nvSpPr>
                  <p:cNvPr id="10366" name="Freeform: Shape 10365">
                    <a:extLst>
                      <a:ext uri="{FF2B5EF4-FFF2-40B4-BE49-F238E27FC236}">
                        <a16:creationId xmlns:a16="http://schemas.microsoft.com/office/drawing/2014/main" id="{095F2055-D77A-D3C0-3EFD-31E2791D3DB6}"/>
                      </a:ext>
                    </a:extLst>
                  </p:cNvPr>
                  <p:cNvSpPr/>
                  <p:nvPr/>
                </p:nvSpPr>
                <p:spPr bwMode="gray">
                  <a:xfrm>
                    <a:off x="5319045"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67" name="Freeform: Shape 10366">
                    <a:extLst>
                      <a:ext uri="{FF2B5EF4-FFF2-40B4-BE49-F238E27FC236}">
                        <a16:creationId xmlns:a16="http://schemas.microsoft.com/office/drawing/2014/main" id="{65D0B625-0B90-2ADD-60F4-6D6F62A8A0AA}"/>
                      </a:ext>
                    </a:extLst>
                  </p:cNvPr>
                  <p:cNvSpPr/>
                  <p:nvPr/>
                </p:nvSpPr>
                <p:spPr bwMode="gray">
                  <a:xfrm>
                    <a:off x="5281231" y="342490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7" name="Graphic 16">
                  <a:extLst>
                    <a:ext uri="{FF2B5EF4-FFF2-40B4-BE49-F238E27FC236}">
                      <a16:creationId xmlns:a16="http://schemas.microsoft.com/office/drawing/2014/main" id="{7BDAB328-5E41-2869-197D-A295AF33BE4D}"/>
                    </a:ext>
                  </a:extLst>
                </p:cNvPr>
                <p:cNvGrpSpPr/>
                <p:nvPr/>
              </p:nvGrpSpPr>
              <p:grpSpPr bwMode="gray">
                <a:xfrm>
                  <a:off x="5273134" y="3368896"/>
                  <a:ext cx="75628" cy="75723"/>
                  <a:chOff x="5273134" y="3368896"/>
                  <a:chExt cx="75628" cy="75723"/>
                </a:xfrm>
              </p:grpSpPr>
              <p:sp>
                <p:nvSpPr>
                  <p:cNvPr id="10364" name="Freeform: Shape 10363">
                    <a:extLst>
                      <a:ext uri="{FF2B5EF4-FFF2-40B4-BE49-F238E27FC236}">
                        <a16:creationId xmlns:a16="http://schemas.microsoft.com/office/drawing/2014/main" id="{58478411-6B73-6330-77FA-61211D2A83FD}"/>
                      </a:ext>
                    </a:extLst>
                  </p:cNvPr>
                  <p:cNvSpPr/>
                  <p:nvPr/>
                </p:nvSpPr>
                <p:spPr bwMode="gray">
                  <a:xfrm>
                    <a:off x="5310949" y="33688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65" name="Freeform: Shape 10364">
                    <a:extLst>
                      <a:ext uri="{FF2B5EF4-FFF2-40B4-BE49-F238E27FC236}">
                        <a16:creationId xmlns:a16="http://schemas.microsoft.com/office/drawing/2014/main" id="{A91DDF6F-B1AD-4BD1-DEBC-2D08C5A1CA0E}"/>
                      </a:ext>
                    </a:extLst>
                  </p:cNvPr>
                  <p:cNvSpPr/>
                  <p:nvPr/>
                </p:nvSpPr>
                <p:spPr bwMode="gray">
                  <a:xfrm>
                    <a:off x="5273134" y="34067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8" name="Graphic 16">
                  <a:extLst>
                    <a:ext uri="{FF2B5EF4-FFF2-40B4-BE49-F238E27FC236}">
                      <a16:creationId xmlns:a16="http://schemas.microsoft.com/office/drawing/2014/main" id="{8E39AD69-206C-D33D-B6AE-F29A3B1CDE32}"/>
                    </a:ext>
                  </a:extLst>
                </p:cNvPr>
                <p:cNvGrpSpPr/>
                <p:nvPr/>
              </p:nvGrpSpPr>
              <p:grpSpPr bwMode="gray">
                <a:xfrm>
                  <a:off x="5291041" y="3387089"/>
                  <a:ext cx="75723" cy="75723"/>
                  <a:chOff x="5291041" y="3387089"/>
                  <a:chExt cx="75723" cy="75723"/>
                </a:xfrm>
              </p:grpSpPr>
              <p:sp>
                <p:nvSpPr>
                  <p:cNvPr id="10362" name="Freeform: Shape 10361">
                    <a:extLst>
                      <a:ext uri="{FF2B5EF4-FFF2-40B4-BE49-F238E27FC236}">
                        <a16:creationId xmlns:a16="http://schemas.microsoft.com/office/drawing/2014/main" id="{AEF61638-D71A-5605-C7D8-B6ABBD852423}"/>
                      </a:ext>
                    </a:extLst>
                  </p:cNvPr>
                  <p:cNvSpPr/>
                  <p:nvPr/>
                </p:nvSpPr>
                <p:spPr bwMode="gray">
                  <a:xfrm>
                    <a:off x="532885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63" name="Freeform: Shape 10362">
                    <a:extLst>
                      <a:ext uri="{FF2B5EF4-FFF2-40B4-BE49-F238E27FC236}">
                        <a16:creationId xmlns:a16="http://schemas.microsoft.com/office/drawing/2014/main" id="{9829C2C9-EC8A-C359-1A7D-579302AA9C8A}"/>
                      </a:ext>
                    </a:extLst>
                  </p:cNvPr>
                  <p:cNvSpPr/>
                  <p:nvPr/>
                </p:nvSpPr>
                <p:spPr bwMode="gray">
                  <a:xfrm>
                    <a:off x="5291041" y="34249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69" name="Graphic 16">
                  <a:extLst>
                    <a:ext uri="{FF2B5EF4-FFF2-40B4-BE49-F238E27FC236}">
                      <a16:creationId xmlns:a16="http://schemas.microsoft.com/office/drawing/2014/main" id="{1FEC9869-C530-5212-40EE-A86997DE8A66}"/>
                    </a:ext>
                  </a:extLst>
                </p:cNvPr>
                <p:cNvGrpSpPr/>
                <p:nvPr/>
              </p:nvGrpSpPr>
              <p:grpSpPr bwMode="gray">
                <a:xfrm>
                  <a:off x="5302471" y="3387089"/>
                  <a:ext cx="75628" cy="75723"/>
                  <a:chOff x="5302471" y="3387089"/>
                  <a:chExt cx="75628" cy="75723"/>
                </a:xfrm>
              </p:grpSpPr>
              <p:sp>
                <p:nvSpPr>
                  <p:cNvPr id="10360" name="Freeform: Shape 10359">
                    <a:extLst>
                      <a:ext uri="{FF2B5EF4-FFF2-40B4-BE49-F238E27FC236}">
                        <a16:creationId xmlns:a16="http://schemas.microsoft.com/office/drawing/2014/main" id="{E7FA2DDC-0C44-2087-9018-5A881436F308}"/>
                      </a:ext>
                    </a:extLst>
                  </p:cNvPr>
                  <p:cNvSpPr/>
                  <p:nvPr/>
                </p:nvSpPr>
                <p:spPr bwMode="gray">
                  <a:xfrm>
                    <a:off x="5340286" y="33870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61" name="Freeform: Shape 10360">
                    <a:extLst>
                      <a:ext uri="{FF2B5EF4-FFF2-40B4-BE49-F238E27FC236}">
                        <a16:creationId xmlns:a16="http://schemas.microsoft.com/office/drawing/2014/main" id="{B77F6F65-C6A3-E4DB-3812-CE2D48897205}"/>
                      </a:ext>
                    </a:extLst>
                  </p:cNvPr>
                  <p:cNvSpPr/>
                  <p:nvPr/>
                </p:nvSpPr>
                <p:spPr bwMode="gray">
                  <a:xfrm>
                    <a:off x="5302471" y="342490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0" name="Graphic 16">
                  <a:extLst>
                    <a:ext uri="{FF2B5EF4-FFF2-40B4-BE49-F238E27FC236}">
                      <a16:creationId xmlns:a16="http://schemas.microsoft.com/office/drawing/2014/main" id="{D2B8B17C-C698-9D94-748B-3114EC9A9F40}"/>
                    </a:ext>
                  </a:extLst>
                </p:cNvPr>
                <p:cNvGrpSpPr/>
                <p:nvPr/>
              </p:nvGrpSpPr>
              <p:grpSpPr bwMode="gray">
                <a:xfrm>
                  <a:off x="5153215" y="3334130"/>
                  <a:ext cx="75628" cy="75723"/>
                  <a:chOff x="5153215" y="3334130"/>
                  <a:chExt cx="75628" cy="75723"/>
                </a:xfrm>
              </p:grpSpPr>
              <p:sp>
                <p:nvSpPr>
                  <p:cNvPr id="10358" name="Freeform: Shape 10357">
                    <a:extLst>
                      <a:ext uri="{FF2B5EF4-FFF2-40B4-BE49-F238E27FC236}">
                        <a16:creationId xmlns:a16="http://schemas.microsoft.com/office/drawing/2014/main" id="{CAE71828-69A5-F2F8-65F4-DA591A6DAD60}"/>
                      </a:ext>
                    </a:extLst>
                  </p:cNvPr>
                  <p:cNvSpPr/>
                  <p:nvPr/>
                </p:nvSpPr>
                <p:spPr bwMode="gray">
                  <a:xfrm>
                    <a:off x="5191029" y="33341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9" name="Freeform: Shape 10358">
                    <a:extLst>
                      <a:ext uri="{FF2B5EF4-FFF2-40B4-BE49-F238E27FC236}">
                        <a16:creationId xmlns:a16="http://schemas.microsoft.com/office/drawing/2014/main" id="{848297EA-A627-0853-8804-4B501C87DB7F}"/>
                      </a:ext>
                    </a:extLst>
                  </p:cNvPr>
                  <p:cNvSpPr/>
                  <p:nvPr/>
                </p:nvSpPr>
                <p:spPr bwMode="gray">
                  <a:xfrm>
                    <a:off x="5153215" y="337194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1" name="Graphic 16">
                  <a:extLst>
                    <a:ext uri="{FF2B5EF4-FFF2-40B4-BE49-F238E27FC236}">
                      <a16:creationId xmlns:a16="http://schemas.microsoft.com/office/drawing/2014/main" id="{6AC274A2-4433-1B1E-CF01-42D7A6636625}"/>
                    </a:ext>
                  </a:extLst>
                </p:cNvPr>
                <p:cNvGrpSpPr/>
                <p:nvPr/>
              </p:nvGrpSpPr>
              <p:grpSpPr bwMode="gray">
                <a:xfrm>
                  <a:off x="5173884" y="3337083"/>
                  <a:ext cx="75628" cy="75628"/>
                  <a:chOff x="5173884" y="3337083"/>
                  <a:chExt cx="75628" cy="75628"/>
                </a:xfrm>
              </p:grpSpPr>
              <p:sp>
                <p:nvSpPr>
                  <p:cNvPr id="10356" name="Freeform: Shape 10355">
                    <a:extLst>
                      <a:ext uri="{FF2B5EF4-FFF2-40B4-BE49-F238E27FC236}">
                        <a16:creationId xmlns:a16="http://schemas.microsoft.com/office/drawing/2014/main" id="{6ED9AD6F-7661-C383-B47A-767F1CA1C4E1}"/>
                      </a:ext>
                    </a:extLst>
                  </p:cNvPr>
                  <p:cNvSpPr/>
                  <p:nvPr/>
                </p:nvSpPr>
                <p:spPr bwMode="gray">
                  <a:xfrm>
                    <a:off x="5211698"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7" name="Freeform: Shape 10356">
                    <a:extLst>
                      <a:ext uri="{FF2B5EF4-FFF2-40B4-BE49-F238E27FC236}">
                        <a16:creationId xmlns:a16="http://schemas.microsoft.com/office/drawing/2014/main" id="{0C3C60C4-6E54-1EB1-DED8-AFB8BD024919}"/>
                      </a:ext>
                    </a:extLst>
                  </p:cNvPr>
                  <p:cNvSpPr/>
                  <p:nvPr/>
                </p:nvSpPr>
                <p:spPr bwMode="gray">
                  <a:xfrm>
                    <a:off x="5173884"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2" name="Graphic 16">
                  <a:extLst>
                    <a:ext uri="{FF2B5EF4-FFF2-40B4-BE49-F238E27FC236}">
                      <a16:creationId xmlns:a16="http://schemas.microsoft.com/office/drawing/2014/main" id="{AD602011-E332-6793-CA37-E774BA2BEA29}"/>
                    </a:ext>
                  </a:extLst>
                </p:cNvPr>
                <p:cNvGrpSpPr/>
                <p:nvPr/>
              </p:nvGrpSpPr>
              <p:grpSpPr bwMode="gray">
                <a:xfrm>
                  <a:off x="5191029" y="3337083"/>
                  <a:ext cx="75723" cy="75628"/>
                  <a:chOff x="5191029" y="3337083"/>
                  <a:chExt cx="75723" cy="75628"/>
                </a:xfrm>
              </p:grpSpPr>
              <p:sp>
                <p:nvSpPr>
                  <p:cNvPr id="10354" name="Freeform: Shape 10353">
                    <a:extLst>
                      <a:ext uri="{FF2B5EF4-FFF2-40B4-BE49-F238E27FC236}">
                        <a16:creationId xmlns:a16="http://schemas.microsoft.com/office/drawing/2014/main" id="{D60FC4B9-C9DF-1E98-7C31-50CBF6D8261E}"/>
                      </a:ext>
                    </a:extLst>
                  </p:cNvPr>
                  <p:cNvSpPr/>
                  <p:nvPr/>
                </p:nvSpPr>
                <p:spPr bwMode="gray">
                  <a:xfrm>
                    <a:off x="522884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5" name="Freeform: Shape 10354">
                    <a:extLst>
                      <a:ext uri="{FF2B5EF4-FFF2-40B4-BE49-F238E27FC236}">
                        <a16:creationId xmlns:a16="http://schemas.microsoft.com/office/drawing/2014/main" id="{FA2CF02B-974E-47B0-FEA3-14E12783D1E6}"/>
                      </a:ext>
                    </a:extLst>
                  </p:cNvPr>
                  <p:cNvSpPr/>
                  <p:nvPr/>
                </p:nvSpPr>
                <p:spPr bwMode="gray">
                  <a:xfrm>
                    <a:off x="5191029" y="33748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3" name="Graphic 16">
                  <a:extLst>
                    <a:ext uri="{FF2B5EF4-FFF2-40B4-BE49-F238E27FC236}">
                      <a16:creationId xmlns:a16="http://schemas.microsoft.com/office/drawing/2014/main" id="{8DCCFED4-B924-54E5-52A4-E1D6318D377C}"/>
                    </a:ext>
                  </a:extLst>
                </p:cNvPr>
                <p:cNvGrpSpPr/>
                <p:nvPr/>
              </p:nvGrpSpPr>
              <p:grpSpPr bwMode="gray">
                <a:xfrm>
                  <a:off x="5208269" y="3337083"/>
                  <a:ext cx="75628" cy="75628"/>
                  <a:chOff x="5208269" y="3337083"/>
                  <a:chExt cx="75628" cy="75628"/>
                </a:xfrm>
              </p:grpSpPr>
              <p:sp>
                <p:nvSpPr>
                  <p:cNvPr id="10352" name="Freeform: Shape 10351">
                    <a:extLst>
                      <a:ext uri="{FF2B5EF4-FFF2-40B4-BE49-F238E27FC236}">
                        <a16:creationId xmlns:a16="http://schemas.microsoft.com/office/drawing/2014/main" id="{573ED5BF-D1D1-38CB-1F40-3AC40F5FECD4}"/>
                      </a:ext>
                    </a:extLst>
                  </p:cNvPr>
                  <p:cNvSpPr/>
                  <p:nvPr/>
                </p:nvSpPr>
                <p:spPr bwMode="gray">
                  <a:xfrm>
                    <a:off x="5246083" y="333708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3" name="Freeform: Shape 10352">
                    <a:extLst>
                      <a:ext uri="{FF2B5EF4-FFF2-40B4-BE49-F238E27FC236}">
                        <a16:creationId xmlns:a16="http://schemas.microsoft.com/office/drawing/2014/main" id="{95F31A6D-909F-864B-DEB1-004AF5F31F68}"/>
                      </a:ext>
                    </a:extLst>
                  </p:cNvPr>
                  <p:cNvSpPr/>
                  <p:nvPr/>
                </p:nvSpPr>
                <p:spPr bwMode="gray">
                  <a:xfrm>
                    <a:off x="5208269" y="337489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4" name="Graphic 16">
                  <a:extLst>
                    <a:ext uri="{FF2B5EF4-FFF2-40B4-BE49-F238E27FC236}">
                      <a16:creationId xmlns:a16="http://schemas.microsoft.com/office/drawing/2014/main" id="{722CD40D-C92C-B4C9-C258-959A5BDB52C3}"/>
                    </a:ext>
                  </a:extLst>
                </p:cNvPr>
                <p:cNvGrpSpPr/>
                <p:nvPr/>
              </p:nvGrpSpPr>
              <p:grpSpPr bwMode="gray">
                <a:xfrm>
                  <a:off x="4432553" y="3045523"/>
                  <a:ext cx="75628" cy="75628"/>
                  <a:chOff x="4432553" y="3045523"/>
                  <a:chExt cx="75628" cy="75628"/>
                </a:xfrm>
              </p:grpSpPr>
              <p:sp>
                <p:nvSpPr>
                  <p:cNvPr id="10350" name="Freeform: Shape 10349">
                    <a:extLst>
                      <a:ext uri="{FF2B5EF4-FFF2-40B4-BE49-F238E27FC236}">
                        <a16:creationId xmlns:a16="http://schemas.microsoft.com/office/drawing/2014/main" id="{5C745135-0DE1-B5B3-2772-2DAEFBF437D6}"/>
                      </a:ext>
                    </a:extLst>
                  </p:cNvPr>
                  <p:cNvSpPr/>
                  <p:nvPr/>
                </p:nvSpPr>
                <p:spPr bwMode="gray">
                  <a:xfrm>
                    <a:off x="4470367"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1" name="Freeform: Shape 10350">
                    <a:extLst>
                      <a:ext uri="{FF2B5EF4-FFF2-40B4-BE49-F238E27FC236}">
                        <a16:creationId xmlns:a16="http://schemas.microsoft.com/office/drawing/2014/main" id="{74809783-6A57-2246-503F-A26211C24812}"/>
                      </a:ext>
                    </a:extLst>
                  </p:cNvPr>
                  <p:cNvSpPr/>
                  <p:nvPr/>
                </p:nvSpPr>
                <p:spPr bwMode="gray">
                  <a:xfrm>
                    <a:off x="4432553"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5" name="Graphic 16">
                  <a:extLst>
                    <a:ext uri="{FF2B5EF4-FFF2-40B4-BE49-F238E27FC236}">
                      <a16:creationId xmlns:a16="http://schemas.microsoft.com/office/drawing/2014/main" id="{EDAB7160-8682-0FFE-A8CE-9731649534D1}"/>
                    </a:ext>
                  </a:extLst>
                </p:cNvPr>
                <p:cNvGrpSpPr/>
                <p:nvPr/>
              </p:nvGrpSpPr>
              <p:grpSpPr bwMode="gray">
                <a:xfrm>
                  <a:off x="4451413" y="3045523"/>
                  <a:ext cx="75723" cy="75628"/>
                  <a:chOff x="4451413" y="3045523"/>
                  <a:chExt cx="75723" cy="75628"/>
                </a:xfrm>
              </p:grpSpPr>
              <p:sp>
                <p:nvSpPr>
                  <p:cNvPr id="10348" name="Freeform: Shape 10347">
                    <a:extLst>
                      <a:ext uri="{FF2B5EF4-FFF2-40B4-BE49-F238E27FC236}">
                        <a16:creationId xmlns:a16="http://schemas.microsoft.com/office/drawing/2014/main" id="{8ADACF41-B9C7-36BF-D770-02BB47A745D7}"/>
                      </a:ext>
                    </a:extLst>
                  </p:cNvPr>
                  <p:cNvSpPr/>
                  <p:nvPr/>
                </p:nvSpPr>
                <p:spPr bwMode="gray">
                  <a:xfrm>
                    <a:off x="448932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49" name="Freeform: Shape 10348">
                    <a:extLst>
                      <a:ext uri="{FF2B5EF4-FFF2-40B4-BE49-F238E27FC236}">
                        <a16:creationId xmlns:a16="http://schemas.microsoft.com/office/drawing/2014/main" id="{9685AF38-C5D2-A030-18B9-5DD4320F78D2}"/>
                      </a:ext>
                    </a:extLst>
                  </p:cNvPr>
                  <p:cNvSpPr/>
                  <p:nvPr/>
                </p:nvSpPr>
                <p:spPr bwMode="gray">
                  <a:xfrm>
                    <a:off x="4451413"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6" name="Graphic 16">
                  <a:extLst>
                    <a:ext uri="{FF2B5EF4-FFF2-40B4-BE49-F238E27FC236}">
                      <a16:creationId xmlns:a16="http://schemas.microsoft.com/office/drawing/2014/main" id="{F516F995-32EC-A937-D9C5-AB24445AC6F0}"/>
                    </a:ext>
                  </a:extLst>
                </p:cNvPr>
                <p:cNvGrpSpPr/>
                <p:nvPr/>
              </p:nvGrpSpPr>
              <p:grpSpPr bwMode="gray">
                <a:xfrm>
                  <a:off x="4470367" y="3045523"/>
                  <a:ext cx="75723" cy="75628"/>
                  <a:chOff x="4470367" y="3045523"/>
                  <a:chExt cx="75723" cy="75628"/>
                </a:xfrm>
              </p:grpSpPr>
              <p:sp>
                <p:nvSpPr>
                  <p:cNvPr id="10346" name="Freeform: Shape 10345">
                    <a:extLst>
                      <a:ext uri="{FF2B5EF4-FFF2-40B4-BE49-F238E27FC236}">
                        <a16:creationId xmlns:a16="http://schemas.microsoft.com/office/drawing/2014/main" id="{8C17E6F0-BA1B-461A-9FCA-C7CADF576A80}"/>
                      </a:ext>
                    </a:extLst>
                  </p:cNvPr>
                  <p:cNvSpPr/>
                  <p:nvPr/>
                </p:nvSpPr>
                <p:spPr bwMode="gray">
                  <a:xfrm>
                    <a:off x="4508182"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47" name="Freeform: Shape 10346">
                    <a:extLst>
                      <a:ext uri="{FF2B5EF4-FFF2-40B4-BE49-F238E27FC236}">
                        <a16:creationId xmlns:a16="http://schemas.microsoft.com/office/drawing/2014/main" id="{71EC18B5-FA23-4F90-7A36-5EB7A4012C37}"/>
                      </a:ext>
                    </a:extLst>
                  </p:cNvPr>
                  <p:cNvSpPr/>
                  <p:nvPr/>
                </p:nvSpPr>
                <p:spPr bwMode="gray">
                  <a:xfrm>
                    <a:off x="4470367"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7" name="Graphic 16">
                  <a:extLst>
                    <a:ext uri="{FF2B5EF4-FFF2-40B4-BE49-F238E27FC236}">
                      <a16:creationId xmlns:a16="http://schemas.microsoft.com/office/drawing/2014/main" id="{DDBE2ADE-712F-8697-386E-90CADA3FC7C3}"/>
                    </a:ext>
                  </a:extLst>
                </p:cNvPr>
                <p:cNvGrpSpPr/>
                <p:nvPr/>
              </p:nvGrpSpPr>
              <p:grpSpPr bwMode="gray">
                <a:xfrm>
                  <a:off x="4481607" y="3068002"/>
                  <a:ext cx="75628" cy="75628"/>
                  <a:chOff x="4481607" y="3068002"/>
                  <a:chExt cx="75628" cy="75628"/>
                </a:xfrm>
              </p:grpSpPr>
              <p:sp>
                <p:nvSpPr>
                  <p:cNvPr id="10344" name="Freeform: Shape 10343">
                    <a:extLst>
                      <a:ext uri="{FF2B5EF4-FFF2-40B4-BE49-F238E27FC236}">
                        <a16:creationId xmlns:a16="http://schemas.microsoft.com/office/drawing/2014/main" id="{488DD5FD-85D0-C3FB-2D78-E541DAD31CEB}"/>
                      </a:ext>
                    </a:extLst>
                  </p:cNvPr>
                  <p:cNvSpPr/>
                  <p:nvPr/>
                </p:nvSpPr>
                <p:spPr bwMode="gray">
                  <a:xfrm>
                    <a:off x="4519421"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45" name="Freeform: Shape 10344">
                    <a:extLst>
                      <a:ext uri="{FF2B5EF4-FFF2-40B4-BE49-F238E27FC236}">
                        <a16:creationId xmlns:a16="http://schemas.microsoft.com/office/drawing/2014/main" id="{EFBF78B5-4C91-8EF8-28D7-B02C4F35E51B}"/>
                      </a:ext>
                    </a:extLst>
                  </p:cNvPr>
                  <p:cNvSpPr/>
                  <p:nvPr/>
                </p:nvSpPr>
                <p:spPr bwMode="gray">
                  <a:xfrm>
                    <a:off x="4481607" y="310581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8" name="Graphic 16">
                  <a:extLst>
                    <a:ext uri="{FF2B5EF4-FFF2-40B4-BE49-F238E27FC236}">
                      <a16:creationId xmlns:a16="http://schemas.microsoft.com/office/drawing/2014/main" id="{37AEAE59-8150-B0A9-A039-505072C9A5E2}"/>
                    </a:ext>
                  </a:extLst>
                </p:cNvPr>
                <p:cNvGrpSpPr/>
                <p:nvPr/>
              </p:nvGrpSpPr>
              <p:grpSpPr bwMode="gray">
                <a:xfrm>
                  <a:off x="4500466" y="3068002"/>
                  <a:ext cx="75723" cy="75628"/>
                  <a:chOff x="4500466" y="3068002"/>
                  <a:chExt cx="75723" cy="75628"/>
                </a:xfrm>
              </p:grpSpPr>
              <p:sp>
                <p:nvSpPr>
                  <p:cNvPr id="10342" name="Freeform: Shape 10341">
                    <a:extLst>
                      <a:ext uri="{FF2B5EF4-FFF2-40B4-BE49-F238E27FC236}">
                        <a16:creationId xmlns:a16="http://schemas.microsoft.com/office/drawing/2014/main" id="{5AF62465-693B-664A-EAD7-9DDB56D17483}"/>
                      </a:ext>
                    </a:extLst>
                  </p:cNvPr>
                  <p:cNvSpPr/>
                  <p:nvPr/>
                </p:nvSpPr>
                <p:spPr bwMode="gray">
                  <a:xfrm>
                    <a:off x="4538376"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43" name="Freeform: Shape 10342">
                    <a:extLst>
                      <a:ext uri="{FF2B5EF4-FFF2-40B4-BE49-F238E27FC236}">
                        <a16:creationId xmlns:a16="http://schemas.microsoft.com/office/drawing/2014/main" id="{98B3E517-60F3-9FA7-11C1-75421F5153A1}"/>
                      </a:ext>
                    </a:extLst>
                  </p:cNvPr>
                  <p:cNvSpPr/>
                  <p:nvPr/>
                </p:nvSpPr>
                <p:spPr bwMode="gray">
                  <a:xfrm>
                    <a:off x="4500466"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79" name="Graphic 16">
                  <a:extLst>
                    <a:ext uri="{FF2B5EF4-FFF2-40B4-BE49-F238E27FC236}">
                      <a16:creationId xmlns:a16="http://schemas.microsoft.com/office/drawing/2014/main" id="{E6EFC5FB-1D96-96BE-F45D-C053FD930ED3}"/>
                    </a:ext>
                  </a:extLst>
                </p:cNvPr>
                <p:cNvGrpSpPr/>
                <p:nvPr/>
              </p:nvGrpSpPr>
              <p:grpSpPr bwMode="gray">
                <a:xfrm>
                  <a:off x="4519421" y="3068002"/>
                  <a:ext cx="75723" cy="75628"/>
                  <a:chOff x="4519421" y="3068002"/>
                  <a:chExt cx="75723" cy="75628"/>
                </a:xfrm>
              </p:grpSpPr>
              <p:sp>
                <p:nvSpPr>
                  <p:cNvPr id="10340" name="Freeform: Shape 10339">
                    <a:extLst>
                      <a:ext uri="{FF2B5EF4-FFF2-40B4-BE49-F238E27FC236}">
                        <a16:creationId xmlns:a16="http://schemas.microsoft.com/office/drawing/2014/main" id="{885D797D-8876-9898-D7F9-461E40AE9354}"/>
                      </a:ext>
                    </a:extLst>
                  </p:cNvPr>
                  <p:cNvSpPr/>
                  <p:nvPr/>
                </p:nvSpPr>
                <p:spPr bwMode="gray">
                  <a:xfrm>
                    <a:off x="4557235"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41" name="Freeform: Shape 10340">
                    <a:extLst>
                      <a:ext uri="{FF2B5EF4-FFF2-40B4-BE49-F238E27FC236}">
                        <a16:creationId xmlns:a16="http://schemas.microsoft.com/office/drawing/2014/main" id="{2A50DD5C-4EFD-5011-AA76-5FFB4FBDB08C}"/>
                      </a:ext>
                    </a:extLst>
                  </p:cNvPr>
                  <p:cNvSpPr/>
                  <p:nvPr/>
                </p:nvSpPr>
                <p:spPr bwMode="gray">
                  <a:xfrm>
                    <a:off x="4519421"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0" name="Graphic 16">
                  <a:extLst>
                    <a:ext uri="{FF2B5EF4-FFF2-40B4-BE49-F238E27FC236}">
                      <a16:creationId xmlns:a16="http://schemas.microsoft.com/office/drawing/2014/main" id="{BC0991B4-53AD-F176-5790-5CB99B0FF817}"/>
                    </a:ext>
                  </a:extLst>
                </p:cNvPr>
                <p:cNvGrpSpPr/>
                <p:nvPr/>
              </p:nvGrpSpPr>
              <p:grpSpPr bwMode="gray">
                <a:xfrm>
                  <a:off x="4538376" y="3068002"/>
                  <a:ext cx="75628" cy="75628"/>
                  <a:chOff x="4538376" y="3068002"/>
                  <a:chExt cx="75628" cy="75628"/>
                </a:xfrm>
              </p:grpSpPr>
              <p:sp>
                <p:nvSpPr>
                  <p:cNvPr id="10338" name="Freeform: Shape 10337">
                    <a:extLst>
                      <a:ext uri="{FF2B5EF4-FFF2-40B4-BE49-F238E27FC236}">
                        <a16:creationId xmlns:a16="http://schemas.microsoft.com/office/drawing/2014/main" id="{F65F9478-B4B3-6C90-B4A3-CD73CF6C8A96}"/>
                      </a:ext>
                    </a:extLst>
                  </p:cNvPr>
                  <p:cNvSpPr/>
                  <p:nvPr/>
                </p:nvSpPr>
                <p:spPr bwMode="gray">
                  <a:xfrm>
                    <a:off x="4576190"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39" name="Freeform: Shape 10338">
                    <a:extLst>
                      <a:ext uri="{FF2B5EF4-FFF2-40B4-BE49-F238E27FC236}">
                        <a16:creationId xmlns:a16="http://schemas.microsoft.com/office/drawing/2014/main" id="{DB5BA775-3D9B-427A-9C85-FFD4BE8E7332}"/>
                      </a:ext>
                    </a:extLst>
                  </p:cNvPr>
                  <p:cNvSpPr/>
                  <p:nvPr/>
                </p:nvSpPr>
                <p:spPr bwMode="gray">
                  <a:xfrm>
                    <a:off x="4538376"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1" name="Graphic 16">
                  <a:extLst>
                    <a:ext uri="{FF2B5EF4-FFF2-40B4-BE49-F238E27FC236}">
                      <a16:creationId xmlns:a16="http://schemas.microsoft.com/office/drawing/2014/main" id="{27FE2F37-D86C-5804-EFEA-64A7A06DB5CA}"/>
                    </a:ext>
                  </a:extLst>
                </p:cNvPr>
                <p:cNvGrpSpPr/>
                <p:nvPr/>
              </p:nvGrpSpPr>
              <p:grpSpPr bwMode="gray">
                <a:xfrm>
                  <a:off x="4557235" y="3077336"/>
                  <a:ext cx="75723" cy="75723"/>
                  <a:chOff x="4557235" y="3077336"/>
                  <a:chExt cx="75723" cy="75723"/>
                </a:xfrm>
              </p:grpSpPr>
              <p:sp>
                <p:nvSpPr>
                  <p:cNvPr id="10336" name="Freeform: Shape 10335">
                    <a:extLst>
                      <a:ext uri="{FF2B5EF4-FFF2-40B4-BE49-F238E27FC236}">
                        <a16:creationId xmlns:a16="http://schemas.microsoft.com/office/drawing/2014/main" id="{03E968EE-D811-9EE7-7C52-B8F92C7550F6}"/>
                      </a:ext>
                    </a:extLst>
                  </p:cNvPr>
                  <p:cNvSpPr/>
                  <p:nvPr/>
                </p:nvSpPr>
                <p:spPr bwMode="gray">
                  <a:xfrm>
                    <a:off x="4595145"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37" name="Freeform: Shape 10336">
                    <a:extLst>
                      <a:ext uri="{FF2B5EF4-FFF2-40B4-BE49-F238E27FC236}">
                        <a16:creationId xmlns:a16="http://schemas.microsoft.com/office/drawing/2014/main" id="{A5A943CF-9F18-37C8-4EE2-9ABCA776115E}"/>
                      </a:ext>
                    </a:extLst>
                  </p:cNvPr>
                  <p:cNvSpPr/>
                  <p:nvPr/>
                </p:nvSpPr>
                <p:spPr bwMode="gray">
                  <a:xfrm>
                    <a:off x="4557235"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2" name="Graphic 16">
                  <a:extLst>
                    <a:ext uri="{FF2B5EF4-FFF2-40B4-BE49-F238E27FC236}">
                      <a16:creationId xmlns:a16="http://schemas.microsoft.com/office/drawing/2014/main" id="{851429B0-7A8F-924E-D840-DAC98C179103}"/>
                    </a:ext>
                  </a:extLst>
                </p:cNvPr>
                <p:cNvGrpSpPr/>
                <p:nvPr/>
              </p:nvGrpSpPr>
              <p:grpSpPr bwMode="gray">
                <a:xfrm>
                  <a:off x="4576190" y="3077336"/>
                  <a:ext cx="75723" cy="75723"/>
                  <a:chOff x="4576190" y="3077336"/>
                  <a:chExt cx="75723" cy="75723"/>
                </a:xfrm>
              </p:grpSpPr>
              <p:sp>
                <p:nvSpPr>
                  <p:cNvPr id="10334" name="Freeform: Shape 10333">
                    <a:extLst>
                      <a:ext uri="{FF2B5EF4-FFF2-40B4-BE49-F238E27FC236}">
                        <a16:creationId xmlns:a16="http://schemas.microsoft.com/office/drawing/2014/main" id="{A07AE5E1-AD27-2AD2-B529-3FDC39F1E8FA}"/>
                      </a:ext>
                    </a:extLst>
                  </p:cNvPr>
                  <p:cNvSpPr/>
                  <p:nvPr/>
                </p:nvSpPr>
                <p:spPr bwMode="gray">
                  <a:xfrm>
                    <a:off x="4614004"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35" name="Freeform: Shape 10334">
                    <a:extLst>
                      <a:ext uri="{FF2B5EF4-FFF2-40B4-BE49-F238E27FC236}">
                        <a16:creationId xmlns:a16="http://schemas.microsoft.com/office/drawing/2014/main" id="{978F9DC5-592A-0368-8991-189BD2BBBA00}"/>
                      </a:ext>
                    </a:extLst>
                  </p:cNvPr>
                  <p:cNvSpPr/>
                  <p:nvPr/>
                </p:nvSpPr>
                <p:spPr bwMode="gray">
                  <a:xfrm>
                    <a:off x="4576190"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3" name="Graphic 16">
                  <a:extLst>
                    <a:ext uri="{FF2B5EF4-FFF2-40B4-BE49-F238E27FC236}">
                      <a16:creationId xmlns:a16="http://schemas.microsoft.com/office/drawing/2014/main" id="{B028F964-D74F-6669-E534-8E1F7603B901}"/>
                    </a:ext>
                  </a:extLst>
                </p:cNvPr>
                <p:cNvGrpSpPr/>
                <p:nvPr/>
              </p:nvGrpSpPr>
              <p:grpSpPr bwMode="gray">
                <a:xfrm>
                  <a:off x="4595145" y="3085718"/>
                  <a:ext cx="75628" cy="75628"/>
                  <a:chOff x="4595145" y="3085718"/>
                  <a:chExt cx="75628" cy="75628"/>
                </a:xfrm>
              </p:grpSpPr>
              <p:sp>
                <p:nvSpPr>
                  <p:cNvPr id="10332" name="Freeform: Shape 10331">
                    <a:extLst>
                      <a:ext uri="{FF2B5EF4-FFF2-40B4-BE49-F238E27FC236}">
                        <a16:creationId xmlns:a16="http://schemas.microsoft.com/office/drawing/2014/main" id="{61EBC207-7EA0-D8B0-0E58-B935B272A943}"/>
                      </a:ext>
                    </a:extLst>
                  </p:cNvPr>
                  <p:cNvSpPr/>
                  <p:nvPr/>
                </p:nvSpPr>
                <p:spPr bwMode="gray">
                  <a:xfrm>
                    <a:off x="4632959"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33" name="Freeform: Shape 10332">
                    <a:extLst>
                      <a:ext uri="{FF2B5EF4-FFF2-40B4-BE49-F238E27FC236}">
                        <a16:creationId xmlns:a16="http://schemas.microsoft.com/office/drawing/2014/main" id="{64166ED2-8FA4-4E79-6BC0-90FFBBDF2288}"/>
                      </a:ext>
                    </a:extLst>
                  </p:cNvPr>
                  <p:cNvSpPr/>
                  <p:nvPr/>
                </p:nvSpPr>
                <p:spPr bwMode="gray">
                  <a:xfrm>
                    <a:off x="4595145" y="312353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4" name="Graphic 16">
                  <a:extLst>
                    <a:ext uri="{FF2B5EF4-FFF2-40B4-BE49-F238E27FC236}">
                      <a16:creationId xmlns:a16="http://schemas.microsoft.com/office/drawing/2014/main" id="{9A852B0F-443D-F58D-F62C-B315B526D97F}"/>
                    </a:ext>
                  </a:extLst>
                </p:cNvPr>
                <p:cNvGrpSpPr/>
                <p:nvPr/>
              </p:nvGrpSpPr>
              <p:grpSpPr bwMode="gray">
                <a:xfrm>
                  <a:off x="4614004" y="3085718"/>
                  <a:ext cx="75723" cy="75628"/>
                  <a:chOff x="4614004" y="3085718"/>
                  <a:chExt cx="75723" cy="75628"/>
                </a:xfrm>
              </p:grpSpPr>
              <p:sp>
                <p:nvSpPr>
                  <p:cNvPr id="10330" name="Freeform: Shape 10329">
                    <a:extLst>
                      <a:ext uri="{FF2B5EF4-FFF2-40B4-BE49-F238E27FC236}">
                        <a16:creationId xmlns:a16="http://schemas.microsoft.com/office/drawing/2014/main" id="{653FA3C1-6E75-18BB-055E-E33D451C93B6}"/>
                      </a:ext>
                    </a:extLst>
                  </p:cNvPr>
                  <p:cNvSpPr/>
                  <p:nvPr/>
                </p:nvSpPr>
                <p:spPr bwMode="gray">
                  <a:xfrm>
                    <a:off x="4651914"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31" name="Freeform: Shape 10330">
                    <a:extLst>
                      <a:ext uri="{FF2B5EF4-FFF2-40B4-BE49-F238E27FC236}">
                        <a16:creationId xmlns:a16="http://schemas.microsoft.com/office/drawing/2014/main" id="{A4D8C12C-D55D-5167-23CC-AF3782044E49}"/>
                      </a:ext>
                    </a:extLst>
                  </p:cNvPr>
                  <p:cNvSpPr/>
                  <p:nvPr/>
                </p:nvSpPr>
                <p:spPr bwMode="gray">
                  <a:xfrm>
                    <a:off x="4614004"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5" name="Graphic 16">
                  <a:extLst>
                    <a:ext uri="{FF2B5EF4-FFF2-40B4-BE49-F238E27FC236}">
                      <a16:creationId xmlns:a16="http://schemas.microsoft.com/office/drawing/2014/main" id="{C744538F-369B-2D1A-9E17-0B25E101A6CA}"/>
                    </a:ext>
                  </a:extLst>
                </p:cNvPr>
                <p:cNvGrpSpPr/>
                <p:nvPr/>
              </p:nvGrpSpPr>
              <p:grpSpPr bwMode="gray">
                <a:xfrm>
                  <a:off x="4633816" y="3095148"/>
                  <a:ext cx="75628" cy="75628"/>
                  <a:chOff x="4633816" y="3095148"/>
                  <a:chExt cx="75628" cy="75628"/>
                </a:xfrm>
              </p:grpSpPr>
              <p:sp>
                <p:nvSpPr>
                  <p:cNvPr id="10328" name="Freeform: Shape 10327">
                    <a:extLst>
                      <a:ext uri="{FF2B5EF4-FFF2-40B4-BE49-F238E27FC236}">
                        <a16:creationId xmlns:a16="http://schemas.microsoft.com/office/drawing/2014/main" id="{514B78BD-A839-EF39-BB85-B1B1CE0062B9}"/>
                      </a:ext>
                    </a:extLst>
                  </p:cNvPr>
                  <p:cNvSpPr/>
                  <p:nvPr/>
                </p:nvSpPr>
                <p:spPr bwMode="gray">
                  <a:xfrm>
                    <a:off x="4671631"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9" name="Freeform: Shape 10328">
                    <a:extLst>
                      <a:ext uri="{FF2B5EF4-FFF2-40B4-BE49-F238E27FC236}">
                        <a16:creationId xmlns:a16="http://schemas.microsoft.com/office/drawing/2014/main" id="{0EE1F223-133C-08D4-0A62-C5143B7546E4}"/>
                      </a:ext>
                    </a:extLst>
                  </p:cNvPr>
                  <p:cNvSpPr/>
                  <p:nvPr/>
                </p:nvSpPr>
                <p:spPr bwMode="gray">
                  <a:xfrm>
                    <a:off x="4633816" y="313296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6" name="Graphic 16">
                  <a:extLst>
                    <a:ext uri="{FF2B5EF4-FFF2-40B4-BE49-F238E27FC236}">
                      <a16:creationId xmlns:a16="http://schemas.microsoft.com/office/drawing/2014/main" id="{A1F20742-660B-9F5A-F080-F3DBDB259881}"/>
                    </a:ext>
                  </a:extLst>
                </p:cNvPr>
                <p:cNvGrpSpPr/>
                <p:nvPr/>
              </p:nvGrpSpPr>
              <p:grpSpPr bwMode="gray">
                <a:xfrm>
                  <a:off x="4652676" y="3095148"/>
                  <a:ext cx="75723" cy="75628"/>
                  <a:chOff x="4652676" y="3095148"/>
                  <a:chExt cx="75723" cy="75628"/>
                </a:xfrm>
              </p:grpSpPr>
              <p:sp>
                <p:nvSpPr>
                  <p:cNvPr id="10326" name="Freeform: Shape 10325">
                    <a:extLst>
                      <a:ext uri="{FF2B5EF4-FFF2-40B4-BE49-F238E27FC236}">
                        <a16:creationId xmlns:a16="http://schemas.microsoft.com/office/drawing/2014/main" id="{27DDCF7F-B778-8772-3C90-564C719DA39E}"/>
                      </a:ext>
                    </a:extLst>
                  </p:cNvPr>
                  <p:cNvSpPr/>
                  <p:nvPr/>
                </p:nvSpPr>
                <p:spPr bwMode="gray">
                  <a:xfrm>
                    <a:off x="4690585"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7" name="Freeform: Shape 10326">
                    <a:extLst>
                      <a:ext uri="{FF2B5EF4-FFF2-40B4-BE49-F238E27FC236}">
                        <a16:creationId xmlns:a16="http://schemas.microsoft.com/office/drawing/2014/main" id="{7A7FCAB7-B185-B9A5-C739-803DBDBDFD67}"/>
                      </a:ext>
                    </a:extLst>
                  </p:cNvPr>
                  <p:cNvSpPr/>
                  <p:nvPr/>
                </p:nvSpPr>
                <p:spPr bwMode="gray">
                  <a:xfrm>
                    <a:off x="4652676"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7" name="Graphic 16">
                  <a:extLst>
                    <a:ext uri="{FF2B5EF4-FFF2-40B4-BE49-F238E27FC236}">
                      <a16:creationId xmlns:a16="http://schemas.microsoft.com/office/drawing/2014/main" id="{F7ACF48C-7AD7-4835-D8CC-EC6BE32BBF51}"/>
                    </a:ext>
                  </a:extLst>
                </p:cNvPr>
                <p:cNvGrpSpPr/>
                <p:nvPr/>
              </p:nvGrpSpPr>
              <p:grpSpPr bwMode="gray">
                <a:xfrm>
                  <a:off x="4363783" y="3035712"/>
                  <a:ext cx="75628" cy="75723"/>
                  <a:chOff x="4363783" y="3035712"/>
                  <a:chExt cx="75628" cy="75723"/>
                </a:xfrm>
              </p:grpSpPr>
              <p:sp>
                <p:nvSpPr>
                  <p:cNvPr id="10324" name="Freeform: Shape 10323">
                    <a:extLst>
                      <a:ext uri="{FF2B5EF4-FFF2-40B4-BE49-F238E27FC236}">
                        <a16:creationId xmlns:a16="http://schemas.microsoft.com/office/drawing/2014/main" id="{239F0A92-4DEB-D073-2A21-C9DEEFA79B51}"/>
                      </a:ext>
                    </a:extLst>
                  </p:cNvPr>
                  <p:cNvSpPr/>
                  <p:nvPr/>
                </p:nvSpPr>
                <p:spPr bwMode="gray">
                  <a:xfrm>
                    <a:off x="440159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5" name="Freeform: Shape 10324">
                    <a:extLst>
                      <a:ext uri="{FF2B5EF4-FFF2-40B4-BE49-F238E27FC236}">
                        <a16:creationId xmlns:a16="http://schemas.microsoft.com/office/drawing/2014/main" id="{61DB3163-6932-FBFE-FED4-374842A35046}"/>
                      </a:ext>
                    </a:extLst>
                  </p:cNvPr>
                  <p:cNvSpPr/>
                  <p:nvPr/>
                </p:nvSpPr>
                <p:spPr bwMode="gray">
                  <a:xfrm>
                    <a:off x="4363783"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8" name="Graphic 16">
                  <a:extLst>
                    <a:ext uri="{FF2B5EF4-FFF2-40B4-BE49-F238E27FC236}">
                      <a16:creationId xmlns:a16="http://schemas.microsoft.com/office/drawing/2014/main" id="{D7C75FD4-6D84-5A09-7409-DBF4E0A9C7A7}"/>
                    </a:ext>
                  </a:extLst>
                </p:cNvPr>
                <p:cNvGrpSpPr/>
                <p:nvPr/>
              </p:nvGrpSpPr>
              <p:grpSpPr bwMode="gray">
                <a:xfrm>
                  <a:off x="3462337" y="2824162"/>
                  <a:ext cx="75723" cy="75723"/>
                  <a:chOff x="3462337" y="2824162"/>
                  <a:chExt cx="75723" cy="75723"/>
                </a:xfrm>
              </p:grpSpPr>
              <p:sp>
                <p:nvSpPr>
                  <p:cNvPr id="10322" name="Freeform: Shape 10321">
                    <a:extLst>
                      <a:ext uri="{FF2B5EF4-FFF2-40B4-BE49-F238E27FC236}">
                        <a16:creationId xmlns:a16="http://schemas.microsoft.com/office/drawing/2014/main" id="{191A0DAE-1AF7-4E99-0EA6-41DC7C0488A4}"/>
                      </a:ext>
                    </a:extLst>
                  </p:cNvPr>
                  <p:cNvSpPr/>
                  <p:nvPr/>
                </p:nvSpPr>
                <p:spPr bwMode="gray">
                  <a:xfrm>
                    <a:off x="3500151" y="28241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3" name="Freeform: Shape 10322">
                    <a:extLst>
                      <a:ext uri="{FF2B5EF4-FFF2-40B4-BE49-F238E27FC236}">
                        <a16:creationId xmlns:a16="http://schemas.microsoft.com/office/drawing/2014/main" id="{B7984E04-13EA-A99D-B775-A607A932C518}"/>
                      </a:ext>
                    </a:extLst>
                  </p:cNvPr>
                  <p:cNvSpPr/>
                  <p:nvPr/>
                </p:nvSpPr>
                <p:spPr bwMode="gray">
                  <a:xfrm>
                    <a:off x="3462337" y="28619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89" name="Graphic 16">
                  <a:extLst>
                    <a:ext uri="{FF2B5EF4-FFF2-40B4-BE49-F238E27FC236}">
                      <a16:creationId xmlns:a16="http://schemas.microsoft.com/office/drawing/2014/main" id="{FC805B82-A405-DEB9-1047-07773978DF7A}"/>
                    </a:ext>
                  </a:extLst>
                </p:cNvPr>
                <p:cNvGrpSpPr/>
                <p:nvPr/>
              </p:nvGrpSpPr>
              <p:grpSpPr bwMode="gray">
                <a:xfrm>
                  <a:off x="3500151" y="2833877"/>
                  <a:ext cx="75723" cy="75723"/>
                  <a:chOff x="3500151" y="2833877"/>
                  <a:chExt cx="75723" cy="75723"/>
                </a:xfrm>
              </p:grpSpPr>
              <p:sp>
                <p:nvSpPr>
                  <p:cNvPr id="10320" name="Freeform: Shape 10319">
                    <a:extLst>
                      <a:ext uri="{FF2B5EF4-FFF2-40B4-BE49-F238E27FC236}">
                        <a16:creationId xmlns:a16="http://schemas.microsoft.com/office/drawing/2014/main" id="{9917DF7C-CC41-81E4-1AD1-28024DCA4190}"/>
                      </a:ext>
                    </a:extLst>
                  </p:cNvPr>
                  <p:cNvSpPr/>
                  <p:nvPr/>
                </p:nvSpPr>
                <p:spPr bwMode="gray">
                  <a:xfrm>
                    <a:off x="3538060" y="28338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1" name="Freeform: Shape 10320">
                    <a:extLst>
                      <a:ext uri="{FF2B5EF4-FFF2-40B4-BE49-F238E27FC236}">
                        <a16:creationId xmlns:a16="http://schemas.microsoft.com/office/drawing/2014/main" id="{05177F8B-E9BB-499E-52E5-FC927558B52F}"/>
                      </a:ext>
                    </a:extLst>
                  </p:cNvPr>
                  <p:cNvSpPr/>
                  <p:nvPr/>
                </p:nvSpPr>
                <p:spPr bwMode="gray">
                  <a:xfrm>
                    <a:off x="3500151" y="28716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0" name="Graphic 16">
                  <a:extLst>
                    <a:ext uri="{FF2B5EF4-FFF2-40B4-BE49-F238E27FC236}">
                      <a16:creationId xmlns:a16="http://schemas.microsoft.com/office/drawing/2014/main" id="{A6276F79-054F-CC6D-2857-94BFB8DAE399}"/>
                    </a:ext>
                  </a:extLst>
                </p:cNvPr>
                <p:cNvGrpSpPr/>
                <p:nvPr/>
              </p:nvGrpSpPr>
              <p:grpSpPr bwMode="gray">
                <a:xfrm>
                  <a:off x="3551014" y="2846736"/>
                  <a:ext cx="75628" cy="75628"/>
                  <a:chOff x="3551014" y="2846736"/>
                  <a:chExt cx="75628" cy="75628"/>
                </a:xfrm>
              </p:grpSpPr>
              <p:sp>
                <p:nvSpPr>
                  <p:cNvPr id="10318" name="Freeform: Shape 10317">
                    <a:extLst>
                      <a:ext uri="{FF2B5EF4-FFF2-40B4-BE49-F238E27FC236}">
                        <a16:creationId xmlns:a16="http://schemas.microsoft.com/office/drawing/2014/main" id="{A9F52EE2-00F8-A1E7-63DB-1C5FCCA24299}"/>
                      </a:ext>
                    </a:extLst>
                  </p:cNvPr>
                  <p:cNvSpPr/>
                  <p:nvPr/>
                </p:nvSpPr>
                <p:spPr bwMode="gray">
                  <a:xfrm>
                    <a:off x="3588829"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19" name="Freeform: Shape 10318">
                    <a:extLst>
                      <a:ext uri="{FF2B5EF4-FFF2-40B4-BE49-F238E27FC236}">
                        <a16:creationId xmlns:a16="http://schemas.microsoft.com/office/drawing/2014/main" id="{3DF4E825-F4A0-BA9A-6AF7-635D9FF9A963}"/>
                      </a:ext>
                    </a:extLst>
                  </p:cNvPr>
                  <p:cNvSpPr/>
                  <p:nvPr/>
                </p:nvSpPr>
                <p:spPr bwMode="gray">
                  <a:xfrm>
                    <a:off x="3551014" y="28845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1" name="Graphic 16">
                  <a:extLst>
                    <a:ext uri="{FF2B5EF4-FFF2-40B4-BE49-F238E27FC236}">
                      <a16:creationId xmlns:a16="http://schemas.microsoft.com/office/drawing/2014/main" id="{92507E57-1780-C46D-8631-E6D20DFFB6D7}"/>
                    </a:ext>
                  </a:extLst>
                </p:cNvPr>
                <p:cNvGrpSpPr/>
                <p:nvPr/>
              </p:nvGrpSpPr>
              <p:grpSpPr bwMode="gray">
                <a:xfrm>
                  <a:off x="3701509" y="2846736"/>
                  <a:ext cx="75628" cy="75628"/>
                  <a:chOff x="3701509" y="2846736"/>
                  <a:chExt cx="75628" cy="75628"/>
                </a:xfrm>
              </p:grpSpPr>
              <p:sp>
                <p:nvSpPr>
                  <p:cNvPr id="10316" name="Freeform: Shape 10315">
                    <a:extLst>
                      <a:ext uri="{FF2B5EF4-FFF2-40B4-BE49-F238E27FC236}">
                        <a16:creationId xmlns:a16="http://schemas.microsoft.com/office/drawing/2014/main" id="{1348CEB5-3511-0BCC-8121-1E15ADFAF354}"/>
                      </a:ext>
                    </a:extLst>
                  </p:cNvPr>
                  <p:cNvSpPr/>
                  <p:nvPr/>
                </p:nvSpPr>
                <p:spPr bwMode="gray">
                  <a:xfrm>
                    <a:off x="3739324"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17" name="Freeform: Shape 10316">
                    <a:extLst>
                      <a:ext uri="{FF2B5EF4-FFF2-40B4-BE49-F238E27FC236}">
                        <a16:creationId xmlns:a16="http://schemas.microsoft.com/office/drawing/2014/main" id="{25F51D74-4C6F-2239-AB3D-8EB9061673ED}"/>
                      </a:ext>
                    </a:extLst>
                  </p:cNvPr>
                  <p:cNvSpPr/>
                  <p:nvPr/>
                </p:nvSpPr>
                <p:spPr bwMode="gray">
                  <a:xfrm>
                    <a:off x="3701509" y="28845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2" name="Graphic 16">
                  <a:extLst>
                    <a:ext uri="{FF2B5EF4-FFF2-40B4-BE49-F238E27FC236}">
                      <a16:creationId xmlns:a16="http://schemas.microsoft.com/office/drawing/2014/main" id="{1C20BC1D-2E63-C25D-D5B9-CEC004E85917}"/>
                    </a:ext>
                  </a:extLst>
                </p:cNvPr>
                <p:cNvGrpSpPr/>
                <p:nvPr/>
              </p:nvGrpSpPr>
              <p:grpSpPr bwMode="gray">
                <a:xfrm>
                  <a:off x="3729132" y="2846736"/>
                  <a:ext cx="75723" cy="75628"/>
                  <a:chOff x="3729132" y="2846736"/>
                  <a:chExt cx="75723" cy="75628"/>
                </a:xfrm>
              </p:grpSpPr>
              <p:sp>
                <p:nvSpPr>
                  <p:cNvPr id="10314" name="Freeform: Shape 10313">
                    <a:extLst>
                      <a:ext uri="{FF2B5EF4-FFF2-40B4-BE49-F238E27FC236}">
                        <a16:creationId xmlns:a16="http://schemas.microsoft.com/office/drawing/2014/main" id="{4C36FFF6-E8A5-E8D1-A950-31525F999EC4}"/>
                      </a:ext>
                    </a:extLst>
                  </p:cNvPr>
                  <p:cNvSpPr/>
                  <p:nvPr/>
                </p:nvSpPr>
                <p:spPr bwMode="gray">
                  <a:xfrm>
                    <a:off x="3766946" y="284673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15" name="Freeform: Shape 10314">
                    <a:extLst>
                      <a:ext uri="{FF2B5EF4-FFF2-40B4-BE49-F238E27FC236}">
                        <a16:creationId xmlns:a16="http://schemas.microsoft.com/office/drawing/2014/main" id="{C8152EA8-A955-CD9F-2A56-B4547A018858}"/>
                      </a:ext>
                    </a:extLst>
                  </p:cNvPr>
                  <p:cNvSpPr/>
                  <p:nvPr/>
                </p:nvSpPr>
                <p:spPr bwMode="gray">
                  <a:xfrm>
                    <a:off x="3729132" y="28845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3" name="Graphic 16">
                  <a:extLst>
                    <a:ext uri="{FF2B5EF4-FFF2-40B4-BE49-F238E27FC236}">
                      <a16:creationId xmlns:a16="http://schemas.microsoft.com/office/drawing/2014/main" id="{767B4CAF-D5A1-21AD-D468-779429C8A9AC}"/>
                    </a:ext>
                  </a:extLst>
                </p:cNvPr>
                <p:cNvGrpSpPr/>
                <p:nvPr/>
              </p:nvGrpSpPr>
              <p:grpSpPr bwMode="gray">
                <a:xfrm>
                  <a:off x="3860672" y="2875311"/>
                  <a:ext cx="75723" cy="75628"/>
                  <a:chOff x="3860672" y="2875311"/>
                  <a:chExt cx="75723" cy="75628"/>
                </a:xfrm>
              </p:grpSpPr>
              <p:sp>
                <p:nvSpPr>
                  <p:cNvPr id="10312" name="Freeform: Shape 10311">
                    <a:extLst>
                      <a:ext uri="{FF2B5EF4-FFF2-40B4-BE49-F238E27FC236}">
                        <a16:creationId xmlns:a16="http://schemas.microsoft.com/office/drawing/2014/main" id="{69DC2CAD-5D05-E52F-A140-BFB0589E05F2}"/>
                      </a:ext>
                    </a:extLst>
                  </p:cNvPr>
                  <p:cNvSpPr/>
                  <p:nvPr/>
                </p:nvSpPr>
                <p:spPr bwMode="gray">
                  <a:xfrm>
                    <a:off x="3898486" y="28753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13" name="Freeform: Shape 10312">
                    <a:extLst>
                      <a:ext uri="{FF2B5EF4-FFF2-40B4-BE49-F238E27FC236}">
                        <a16:creationId xmlns:a16="http://schemas.microsoft.com/office/drawing/2014/main" id="{76147EAA-4B35-B5AA-BF3B-02D50B49F85D}"/>
                      </a:ext>
                    </a:extLst>
                  </p:cNvPr>
                  <p:cNvSpPr/>
                  <p:nvPr/>
                </p:nvSpPr>
                <p:spPr bwMode="gray">
                  <a:xfrm>
                    <a:off x="3860672" y="29131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4" name="Graphic 16">
                  <a:extLst>
                    <a:ext uri="{FF2B5EF4-FFF2-40B4-BE49-F238E27FC236}">
                      <a16:creationId xmlns:a16="http://schemas.microsoft.com/office/drawing/2014/main" id="{6EB4EBFF-5A8D-40F5-4272-32C1E9E1C316}"/>
                    </a:ext>
                  </a:extLst>
                </p:cNvPr>
                <p:cNvGrpSpPr/>
                <p:nvPr/>
              </p:nvGrpSpPr>
              <p:grpSpPr bwMode="gray">
                <a:xfrm>
                  <a:off x="4010786" y="2910458"/>
                  <a:ext cx="75723" cy="75628"/>
                  <a:chOff x="4010786" y="2910458"/>
                  <a:chExt cx="75723" cy="75628"/>
                </a:xfrm>
              </p:grpSpPr>
              <p:sp>
                <p:nvSpPr>
                  <p:cNvPr id="10310" name="Freeform: Shape 10309">
                    <a:extLst>
                      <a:ext uri="{FF2B5EF4-FFF2-40B4-BE49-F238E27FC236}">
                        <a16:creationId xmlns:a16="http://schemas.microsoft.com/office/drawing/2014/main" id="{91B30C3F-72B6-5AB5-912B-634472401D27}"/>
                      </a:ext>
                    </a:extLst>
                  </p:cNvPr>
                  <p:cNvSpPr/>
                  <p:nvPr/>
                </p:nvSpPr>
                <p:spPr bwMode="gray">
                  <a:xfrm>
                    <a:off x="4048696" y="2910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11" name="Freeform: Shape 10310">
                    <a:extLst>
                      <a:ext uri="{FF2B5EF4-FFF2-40B4-BE49-F238E27FC236}">
                        <a16:creationId xmlns:a16="http://schemas.microsoft.com/office/drawing/2014/main" id="{E9A6B284-63D6-7453-0F82-B24F7E62DF5D}"/>
                      </a:ext>
                    </a:extLst>
                  </p:cNvPr>
                  <p:cNvSpPr/>
                  <p:nvPr/>
                </p:nvSpPr>
                <p:spPr bwMode="gray">
                  <a:xfrm>
                    <a:off x="4010786" y="29482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5" name="Graphic 16">
                  <a:extLst>
                    <a:ext uri="{FF2B5EF4-FFF2-40B4-BE49-F238E27FC236}">
                      <a16:creationId xmlns:a16="http://schemas.microsoft.com/office/drawing/2014/main" id="{328B7DF9-C21B-01F7-5A1A-9D2BB65B4F47}"/>
                    </a:ext>
                  </a:extLst>
                </p:cNvPr>
                <p:cNvGrpSpPr/>
                <p:nvPr/>
              </p:nvGrpSpPr>
              <p:grpSpPr bwMode="gray">
                <a:xfrm>
                  <a:off x="4187094" y="2959988"/>
                  <a:ext cx="75723" cy="75723"/>
                  <a:chOff x="4187094" y="2959988"/>
                  <a:chExt cx="75723" cy="75723"/>
                </a:xfrm>
              </p:grpSpPr>
              <p:sp>
                <p:nvSpPr>
                  <p:cNvPr id="10308" name="Freeform: Shape 10307">
                    <a:extLst>
                      <a:ext uri="{FF2B5EF4-FFF2-40B4-BE49-F238E27FC236}">
                        <a16:creationId xmlns:a16="http://schemas.microsoft.com/office/drawing/2014/main" id="{AB654E37-CC09-9612-122B-0E537C6DD392}"/>
                      </a:ext>
                    </a:extLst>
                  </p:cNvPr>
                  <p:cNvSpPr/>
                  <p:nvPr/>
                </p:nvSpPr>
                <p:spPr bwMode="gray">
                  <a:xfrm>
                    <a:off x="4225003" y="29599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09" name="Freeform: Shape 10308">
                    <a:extLst>
                      <a:ext uri="{FF2B5EF4-FFF2-40B4-BE49-F238E27FC236}">
                        <a16:creationId xmlns:a16="http://schemas.microsoft.com/office/drawing/2014/main" id="{90214789-1D90-E502-63B9-5C31C4DCB310}"/>
                      </a:ext>
                    </a:extLst>
                  </p:cNvPr>
                  <p:cNvSpPr/>
                  <p:nvPr/>
                </p:nvSpPr>
                <p:spPr bwMode="gray">
                  <a:xfrm>
                    <a:off x="4187094" y="2997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6" name="Graphic 16">
                  <a:extLst>
                    <a:ext uri="{FF2B5EF4-FFF2-40B4-BE49-F238E27FC236}">
                      <a16:creationId xmlns:a16="http://schemas.microsoft.com/office/drawing/2014/main" id="{A2B8B40D-9FBE-4601-6554-26880717C036}"/>
                    </a:ext>
                  </a:extLst>
                </p:cNvPr>
                <p:cNvGrpSpPr/>
                <p:nvPr/>
              </p:nvGrpSpPr>
              <p:grpSpPr bwMode="gray">
                <a:xfrm>
                  <a:off x="4288059" y="3010375"/>
                  <a:ext cx="75723" cy="75723"/>
                  <a:chOff x="4288059" y="3010375"/>
                  <a:chExt cx="75723" cy="75723"/>
                </a:xfrm>
              </p:grpSpPr>
              <p:sp>
                <p:nvSpPr>
                  <p:cNvPr id="10306" name="Freeform: Shape 10305">
                    <a:extLst>
                      <a:ext uri="{FF2B5EF4-FFF2-40B4-BE49-F238E27FC236}">
                        <a16:creationId xmlns:a16="http://schemas.microsoft.com/office/drawing/2014/main" id="{8EE6B7EC-946C-9C22-571A-421F2640C0C6}"/>
                      </a:ext>
                    </a:extLst>
                  </p:cNvPr>
                  <p:cNvSpPr/>
                  <p:nvPr/>
                </p:nvSpPr>
                <p:spPr bwMode="gray">
                  <a:xfrm>
                    <a:off x="4325873" y="3010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07" name="Freeform: Shape 10306">
                    <a:extLst>
                      <a:ext uri="{FF2B5EF4-FFF2-40B4-BE49-F238E27FC236}">
                        <a16:creationId xmlns:a16="http://schemas.microsoft.com/office/drawing/2014/main" id="{7F8BD161-2363-A139-E75D-924334E75FCE}"/>
                      </a:ext>
                    </a:extLst>
                  </p:cNvPr>
                  <p:cNvSpPr/>
                  <p:nvPr/>
                </p:nvSpPr>
                <p:spPr bwMode="gray">
                  <a:xfrm>
                    <a:off x="4288059"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7" name="Graphic 16">
                  <a:extLst>
                    <a:ext uri="{FF2B5EF4-FFF2-40B4-BE49-F238E27FC236}">
                      <a16:creationId xmlns:a16="http://schemas.microsoft.com/office/drawing/2014/main" id="{ACA26CD7-5F6C-77C6-BD08-DBDA779D8A24}"/>
                    </a:ext>
                  </a:extLst>
                </p:cNvPr>
                <p:cNvGrpSpPr/>
                <p:nvPr/>
              </p:nvGrpSpPr>
              <p:grpSpPr bwMode="gray">
                <a:xfrm>
                  <a:off x="4380928" y="3035712"/>
                  <a:ext cx="75723" cy="75723"/>
                  <a:chOff x="4380928" y="3035712"/>
                  <a:chExt cx="75723" cy="75723"/>
                </a:xfrm>
              </p:grpSpPr>
              <p:sp>
                <p:nvSpPr>
                  <p:cNvPr id="10304" name="Freeform: Shape 10303">
                    <a:extLst>
                      <a:ext uri="{FF2B5EF4-FFF2-40B4-BE49-F238E27FC236}">
                        <a16:creationId xmlns:a16="http://schemas.microsoft.com/office/drawing/2014/main" id="{CC8202C1-1732-D03F-8576-F6FB07D306C1}"/>
                      </a:ext>
                    </a:extLst>
                  </p:cNvPr>
                  <p:cNvSpPr/>
                  <p:nvPr/>
                </p:nvSpPr>
                <p:spPr bwMode="gray">
                  <a:xfrm>
                    <a:off x="441883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05" name="Freeform: Shape 10304">
                    <a:extLst>
                      <a:ext uri="{FF2B5EF4-FFF2-40B4-BE49-F238E27FC236}">
                        <a16:creationId xmlns:a16="http://schemas.microsoft.com/office/drawing/2014/main" id="{4B550BBA-2D9D-026B-E1AE-700A8111F416}"/>
                      </a:ext>
                    </a:extLst>
                  </p:cNvPr>
                  <p:cNvSpPr/>
                  <p:nvPr/>
                </p:nvSpPr>
                <p:spPr bwMode="gray">
                  <a:xfrm>
                    <a:off x="4380928"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8" name="Graphic 16">
                  <a:extLst>
                    <a:ext uri="{FF2B5EF4-FFF2-40B4-BE49-F238E27FC236}">
                      <a16:creationId xmlns:a16="http://schemas.microsoft.com/office/drawing/2014/main" id="{46560FD8-BFB4-EB5C-14EF-7B65EC9026F8}"/>
                    </a:ext>
                  </a:extLst>
                </p:cNvPr>
                <p:cNvGrpSpPr/>
                <p:nvPr/>
              </p:nvGrpSpPr>
              <p:grpSpPr bwMode="gray">
                <a:xfrm>
                  <a:off x="4398168" y="3035712"/>
                  <a:ext cx="75628" cy="75723"/>
                  <a:chOff x="4398168" y="3035712"/>
                  <a:chExt cx="75628" cy="75723"/>
                </a:xfrm>
              </p:grpSpPr>
              <p:sp>
                <p:nvSpPr>
                  <p:cNvPr id="10302" name="Freeform: Shape 10301">
                    <a:extLst>
                      <a:ext uri="{FF2B5EF4-FFF2-40B4-BE49-F238E27FC236}">
                        <a16:creationId xmlns:a16="http://schemas.microsoft.com/office/drawing/2014/main" id="{40955839-9DD7-B8A4-B49F-79AF2174FDF1}"/>
                      </a:ext>
                    </a:extLst>
                  </p:cNvPr>
                  <p:cNvSpPr/>
                  <p:nvPr/>
                </p:nvSpPr>
                <p:spPr bwMode="gray">
                  <a:xfrm>
                    <a:off x="4435982"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03" name="Freeform: Shape 10302">
                    <a:extLst>
                      <a:ext uri="{FF2B5EF4-FFF2-40B4-BE49-F238E27FC236}">
                        <a16:creationId xmlns:a16="http://schemas.microsoft.com/office/drawing/2014/main" id="{A45AB910-9746-F4AA-8345-166E0C824E44}"/>
                      </a:ext>
                    </a:extLst>
                  </p:cNvPr>
                  <p:cNvSpPr/>
                  <p:nvPr/>
                </p:nvSpPr>
                <p:spPr bwMode="gray">
                  <a:xfrm>
                    <a:off x="4398168"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999" name="Graphic 16">
                  <a:extLst>
                    <a:ext uri="{FF2B5EF4-FFF2-40B4-BE49-F238E27FC236}">
                      <a16:creationId xmlns:a16="http://schemas.microsoft.com/office/drawing/2014/main" id="{B408A0B8-0104-87F8-F615-87230E2A0EA3}"/>
                    </a:ext>
                  </a:extLst>
                </p:cNvPr>
                <p:cNvGrpSpPr/>
                <p:nvPr/>
              </p:nvGrpSpPr>
              <p:grpSpPr bwMode="gray">
                <a:xfrm>
                  <a:off x="4415313" y="3035712"/>
                  <a:ext cx="75723" cy="75723"/>
                  <a:chOff x="4415313" y="3035712"/>
                  <a:chExt cx="75723" cy="75723"/>
                </a:xfrm>
              </p:grpSpPr>
              <p:sp>
                <p:nvSpPr>
                  <p:cNvPr id="10300" name="Freeform: Shape 10299">
                    <a:extLst>
                      <a:ext uri="{FF2B5EF4-FFF2-40B4-BE49-F238E27FC236}">
                        <a16:creationId xmlns:a16="http://schemas.microsoft.com/office/drawing/2014/main" id="{A49ED47E-8940-A992-505A-564F3A58511C}"/>
                      </a:ext>
                    </a:extLst>
                  </p:cNvPr>
                  <p:cNvSpPr/>
                  <p:nvPr/>
                </p:nvSpPr>
                <p:spPr bwMode="gray">
                  <a:xfrm>
                    <a:off x="4453127"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01" name="Freeform: Shape 10300">
                    <a:extLst>
                      <a:ext uri="{FF2B5EF4-FFF2-40B4-BE49-F238E27FC236}">
                        <a16:creationId xmlns:a16="http://schemas.microsoft.com/office/drawing/2014/main" id="{BD3DCE8E-A1C7-EB41-7C41-A742AB81A971}"/>
                      </a:ext>
                    </a:extLst>
                  </p:cNvPr>
                  <p:cNvSpPr/>
                  <p:nvPr/>
                </p:nvSpPr>
                <p:spPr bwMode="gray">
                  <a:xfrm>
                    <a:off x="4415313"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377" name="Graphic 16">
                  <a:extLst>
                    <a:ext uri="{FF2B5EF4-FFF2-40B4-BE49-F238E27FC236}">
                      <a16:creationId xmlns:a16="http://schemas.microsoft.com/office/drawing/2014/main" id="{CBD91817-725D-3BBD-A0C5-1A4F7EA58384}"/>
                    </a:ext>
                  </a:extLst>
                </p:cNvPr>
                <p:cNvGrpSpPr/>
                <p:nvPr/>
              </p:nvGrpSpPr>
              <p:grpSpPr bwMode="gray">
                <a:xfrm>
                  <a:off x="4442745" y="3045523"/>
                  <a:ext cx="75723" cy="75628"/>
                  <a:chOff x="4442745" y="3045523"/>
                  <a:chExt cx="75723" cy="75628"/>
                </a:xfrm>
              </p:grpSpPr>
              <p:sp>
                <p:nvSpPr>
                  <p:cNvPr id="10298" name="Freeform: Shape 10297">
                    <a:extLst>
                      <a:ext uri="{FF2B5EF4-FFF2-40B4-BE49-F238E27FC236}">
                        <a16:creationId xmlns:a16="http://schemas.microsoft.com/office/drawing/2014/main" id="{EB58E120-95CA-7D42-EE18-55F947383136}"/>
                      </a:ext>
                    </a:extLst>
                  </p:cNvPr>
                  <p:cNvSpPr/>
                  <p:nvPr/>
                </p:nvSpPr>
                <p:spPr bwMode="gray">
                  <a:xfrm>
                    <a:off x="448055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99" name="Freeform: Shape 10298">
                    <a:extLst>
                      <a:ext uri="{FF2B5EF4-FFF2-40B4-BE49-F238E27FC236}">
                        <a16:creationId xmlns:a16="http://schemas.microsoft.com/office/drawing/2014/main" id="{30CF7D36-E6B7-B3B5-6A23-144C0284428A}"/>
                      </a:ext>
                    </a:extLst>
                  </p:cNvPr>
                  <p:cNvSpPr/>
                  <p:nvPr/>
                </p:nvSpPr>
                <p:spPr bwMode="gray">
                  <a:xfrm>
                    <a:off x="4442745"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4" name="Graphic 16">
                  <a:extLst>
                    <a:ext uri="{FF2B5EF4-FFF2-40B4-BE49-F238E27FC236}">
                      <a16:creationId xmlns:a16="http://schemas.microsoft.com/office/drawing/2014/main" id="{689C3B17-7675-989D-08AB-BECF957E40F2}"/>
                    </a:ext>
                  </a:extLst>
                </p:cNvPr>
                <p:cNvGrpSpPr/>
                <p:nvPr/>
              </p:nvGrpSpPr>
              <p:grpSpPr bwMode="gray">
                <a:xfrm>
                  <a:off x="4461700" y="3045523"/>
                  <a:ext cx="75628" cy="75628"/>
                  <a:chOff x="4461700" y="3045523"/>
                  <a:chExt cx="75628" cy="75628"/>
                </a:xfrm>
              </p:grpSpPr>
              <p:sp>
                <p:nvSpPr>
                  <p:cNvPr id="10296" name="Freeform: Shape 10295">
                    <a:extLst>
                      <a:ext uri="{FF2B5EF4-FFF2-40B4-BE49-F238E27FC236}">
                        <a16:creationId xmlns:a16="http://schemas.microsoft.com/office/drawing/2014/main" id="{9CF9FD76-F696-7C91-37D8-4B0E01B73D7D}"/>
                      </a:ext>
                    </a:extLst>
                  </p:cNvPr>
                  <p:cNvSpPr/>
                  <p:nvPr/>
                </p:nvSpPr>
                <p:spPr bwMode="gray">
                  <a:xfrm>
                    <a:off x="4499514"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97" name="Freeform: Shape 10296">
                    <a:extLst>
                      <a:ext uri="{FF2B5EF4-FFF2-40B4-BE49-F238E27FC236}">
                        <a16:creationId xmlns:a16="http://schemas.microsoft.com/office/drawing/2014/main" id="{9C07A5E9-4638-C0F9-4EA0-988B20E931DA}"/>
                      </a:ext>
                    </a:extLst>
                  </p:cNvPr>
                  <p:cNvSpPr/>
                  <p:nvPr/>
                </p:nvSpPr>
                <p:spPr bwMode="gray">
                  <a:xfrm>
                    <a:off x="4461700" y="308333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5" name="Graphic 16">
                  <a:extLst>
                    <a:ext uri="{FF2B5EF4-FFF2-40B4-BE49-F238E27FC236}">
                      <a16:creationId xmlns:a16="http://schemas.microsoft.com/office/drawing/2014/main" id="{8E90A4FF-5BBB-2B07-06EF-9AB120EA1D44}"/>
                    </a:ext>
                  </a:extLst>
                </p:cNvPr>
                <p:cNvGrpSpPr/>
                <p:nvPr/>
              </p:nvGrpSpPr>
              <p:grpSpPr bwMode="gray">
                <a:xfrm>
                  <a:off x="4480559" y="3045523"/>
                  <a:ext cx="75723" cy="75628"/>
                  <a:chOff x="4480559" y="3045523"/>
                  <a:chExt cx="75723" cy="75628"/>
                </a:xfrm>
              </p:grpSpPr>
              <p:sp>
                <p:nvSpPr>
                  <p:cNvPr id="10294" name="Freeform: Shape 10293">
                    <a:extLst>
                      <a:ext uri="{FF2B5EF4-FFF2-40B4-BE49-F238E27FC236}">
                        <a16:creationId xmlns:a16="http://schemas.microsoft.com/office/drawing/2014/main" id="{79D13886-FDFD-BA65-D37F-CCFA85EC7EC1}"/>
                      </a:ext>
                    </a:extLst>
                  </p:cNvPr>
                  <p:cNvSpPr/>
                  <p:nvPr/>
                </p:nvSpPr>
                <p:spPr bwMode="gray">
                  <a:xfrm>
                    <a:off x="4518469" y="304552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95" name="Freeform: Shape 10294">
                    <a:extLst>
                      <a:ext uri="{FF2B5EF4-FFF2-40B4-BE49-F238E27FC236}">
                        <a16:creationId xmlns:a16="http://schemas.microsoft.com/office/drawing/2014/main" id="{19E7C423-6668-E814-92EC-FF1742C4C590}"/>
                      </a:ext>
                    </a:extLst>
                  </p:cNvPr>
                  <p:cNvSpPr/>
                  <p:nvPr/>
                </p:nvSpPr>
                <p:spPr bwMode="gray">
                  <a:xfrm>
                    <a:off x="4480559" y="30833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6" name="Graphic 16">
                  <a:extLst>
                    <a:ext uri="{FF2B5EF4-FFF2-40B4-BE49-F238E27FC236}">
                      <a16:creationId xmlns:a16="http://schemas.microsoft.com/office/drawing/2014/main" id="{F071BDBD-9F64-8CB3-668D-20C60ACF0868}"/>
                    </a:ext>
                  </a:extLst>
                </p:cNvPr>
                <p:cNvGrpSpPr/>
                <p:nvPr/>
              </p:nvGrpSpPr>
              <p:grpSpPr bwMode="gray">
                <a:xfrm>
                  <a:off x="4491799" y="3068002"/>
                  <a:ext cx="75723" cy="75628"/>
                  <a:chOff x="4491799" y="3068002"/>
                  <a:chExt cx="75723" cy="75628"/>
                </a:xfrm>
              </p:grpSpPr>
              <p:sp>
                <p:nvSpPr>
                  <p:cNvPr id="10292" name="Freeform: Shape 10291">
                    <a:extLst>
                      <a:ext uri="{FF2B5EF4-FFF2-40B4-BE49-F238E27FC236}">
                        <a16:creationId xmlns:a16="http://schemas.microsoft.com/office/drawing/2014/main" id="{D913183E-B4AA-B750-FC5C-34CC4217252D}"/>
                      </a:ext>
                    </a:extLst>
                  </p:cNvPr>
                  <p:cNvSpPr/>
                  <p:nvPr/>
                </p:nvSpPr>
                <p:spPr bwMode="gray">
                  <a:xfrm>
                    <a:off x="4529613"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93" name="Freeform: Shape 10292">
                    <a:extLst>
                      <a:ext uri="{FF2B5EF4-FFF2-40B4-BE49-F238E27FC236}">
                        <a16:creationId xmlns:a16="http://schemas.microsoft.com/office/drawing/2014/main" id="{8F017C7B-1129-121E-8BD0-443BCB96C5E9}"/>
                      </a:ext>
                    </a:extLst>
                  </p:cNvPr>
                  <p:cNvSpPr/>
                  <p:nvPr/>
                </p:nvSpPr>
                <p:spPr bwMode="gray">
                  <a:xfrm>
                    <a:off x="4491799"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7" name="Graphic 16">
                  <a:extLst>
                    <a:ext uri="{FF2B5EF4-FFF2-40B4-BE49-F238E27FC236}">
                      <a16:creationId xmlns:a16="http://schemas.microsoft.com/office/drawing/2014/main" id="{51DCA718-356B-230F-84D1-4D85B4C5A97A}"/>
                    </a:ext>
                  </a:extLst>
                </p:cNvPr>
                <p:cNvGrpSpPr/>
                <p:nvPr/>
              </p:nvGrpSpPr>
              <p:grpSpPr bwMode="gray">
                <a:xfrm>
                  <a:off x="4510753" y="3068002"/>
                  <a:ext cx="75628" cy="75628"/>
                  <a:chOff x="4510753" y="3068002"/>
                  <a:chExt cx="75628" cy="75628"/>
                </a:xfrm>
              </p:grpSpPr>
              <p:sp>
                <p:nvSpPr>
                  <p:cNvPr id="10290" name="Freeform: Shape 10289">
                    <a:extLst>
                      <a:ext uri="{FF2B5EF4-FFF2-40B4-BE49-F238E27FC236}">
                        <a16:creationId xmlns:a16="http://schemas.microsoft.com/office/drawing/2014/main" id="{A0B1BED8-3D18-9614-8B9B-A9B3D5A86D17}"/>
                      </a:ext>
                    </a:extLst>
                  </p:cNvPr>
                  <p:cNvSpPr/>
                  <p:nvPr/>
                </p:nvSpPr>
                <p:spPr bwMode="gray">
                  <a:xfrm>
                    <a:off x="4548568"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91" name="Freeform: Shape 10290">
                    <a:extLst>
                      <a:ext uri="{FF2B5EF4-FFF2-40B4-BE49-F238E27FC236}">
                        <a16:creationId xmlns:a16="http://schemas.microsoft.com/office/drawing/2014/main" id="{D1DC9DE8-DA1E-FF70-DB57-5894B6E24E6F}"/>
                      </a:ext>
                    </a:extLst>
                  </p:cNvPr>
                  <p:cNvSpPr/>
                  <p:nvPr/>
                </p:nvSpPr>
                <p:spPr bwMode="gray">
                  <a:xfrm>
                    <a:off x="4510753" y="3105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8" name="Graphic 16">
                  <a:extLst>
                    <a:ext uri="{FF2B5EF4-FFF2-40B4-BE49-F238E27FC236}">
                      <a16:creationId xmlns:a16="http://schemas.microsoft.com/office/drawing/2014/main" id="{CF65096D-70CE-1254-C8F2-66B4672F2536}"/>
                    </a:ext>
                  </a:extLst>
                </p:cNvPr>
                <p:cNvGrpSpPr/>
                <p:nvPr/>
              </p:nvGrpSpPr>
              <p:grpSpPr bwMode="gray">
                <a:xfrm>
                  <a:off x="4529613" y="3068002"/>
                  <a:ext cx="75723" cy="75628"/>
                  <a:chOff x="4529613" y="3068002"/>
                  <a:chExt cx="75723" cy="75628"/>
                </a:xfrm>
              </p:grpSpPr>
              <p:sp>
                <p:nvSpPr>
                  <p:cNvPr id="10288" name="Freeform: Shape 10287">
                    <a:extLst>
                      <a:ext uri="{FF2B5EF4-FFF2-40B4-BE49-F238E27FC236}">
                        <a16:creationId xmlns:a16="http://schemas.microsoft.com/office/drawing/2014/main" id="{8E754D20-8F73-300E-7E46-F0021A25F2A6}"/>
                      </a:ext>
                    </a:extLst>
                  </p:cNvPr>
                  <p:cNvSpPr/>
                  <p:nvPr/>
                </p:nvSpPr>
                <p:spPr bwMode="gray">
                  <a:xfrm>
                    <a:off x="456752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89" name="Freeform: Shape 10288">
                    <a:extLst>
                      <a:ext uri="{FF2B5EF4-FFF2-40B4-BE49-F238E27FC236}">
                        <a16:creationId xmlns:a16="http://schemas.microsoft.com/office/drawing/2014/main" id="{F2CED4B3-3644-B9C2-042D-7A13AF6A487A}"/>
                      </a:ext>
                    </a:extLst>
                  </p:cNvPr>
                  <p:cNvSpPr/>
                  <p:nvPr/>
                </p:nvSpPr>
                <p:spPr bwMode="gray">
                  <a:xfrm>
                    <a:off x="4529613"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49" name="Graphic 16">
                  <a:extLst>
                    <a:ext uri="{FF2B5EF4-FFF2-40B4-BE49-F238E27FC236}">
                      <a16:creationId xmlns:a16="http://schemas.microsoft.com/office/drawing/2014/main" id="{BA6B97BB-B25B-3959-4B72-0003205FD50B}"/>
                    </a:ext>
                  </a:extLst>
                </p:cNvPr>
                <p:cNvGrpSpPr/>
                <p:nvPr/>
              </p:nvGrpSpPr>
              <p:grpSpPr bwMode="gray">
                <a:xfrm>
                  <a:off x="4548568" y="3068002"/>
                  <a:ext cx="75723" cy="75628"/>
                  <a:chOff x="4548568" y="3068002"/>
                  <a:chExt cx="75723" cy="75628"/>
                </a:xfrm>
              </p:grpSpPr>
              <p:sp>
                <p:nvSpPr>
                  <p:cNvPr id="10286" name="Freeform: Shape 10285">
                    <a:extLst>
                      <a:ext uri="{FF2B5EF4-FFF2-40B4-BE49-F238E27FC236}">
                        <a16:creationId xmlns:a16="http://schemas.microsoft.com/office/drawing/2014/main" id="{FAB3554F-944B-B733-F981-8D585BB3BFF9}"/>
                      </a:ext>
                    </a:extLst>
                  </p:cNvPr>
                  <p:cNvSpPr/>
                  <p:nvPr/>
                </p:nvSpPr>
                <p:spPr bwMode="gray">
                  <a:xfrm>
                    <a:off x="4586382" y="306800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87" name="Freeform: Shape 10286">
                    <a:extLst>
                      <a:ext uri="{FF2B5EF4-FFF2-40B4-BE49-F238E27FC236}">
                        <a16:creationId xmlns:a16="http://schemas.microsoft.com/office/drawing/2014/main" id="{584652B6-3D41-A972-85FC-2E36E8FD76D2}"/>
                      </a:ext>
                    </a:extLst>
                  </p:cNvPr>
                  <p:cNvSpPr/>
                  <p:nvPr/>
                </p:nvSpPr>
                <p:spPr bwMode="gray">
                  <a:xfrm>
                    <a:off x="4548568" y="3105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0" name="Graphic 16">
                  <a:extLst>
                    <a:ext uri="{FF2B5EF4-FFF2-40B4-BE49-F238E27FC236}">
                      <a16:creationId xmlns:a16="http://schemas.microsoft.com/office/drawing/2014/main" id="{24356B48-A314-F809-B247-3737B0645458}"/>
                    </a:ext>
                  </a:extLst>
                </p:cNvPr>
                <p:cNvGrpSpPr/>
                <p:nvPr/>
              </p:nvGrpSpPr>
              <p:grpSpPr bwMode="gray">
                <a:xfrm>
                  <a:off x="4567522" y="3077336"/>
                  <a:ext cx="75628" cy="75723"/>
                  <a:chOff x="4567522" y="3077336"/>
                  <a:chExt cx="75628" cy="75723"/>
                </a:xfrm>
              </p:grpSpPr>
              <p:sp>
                <p:nvSpPr>
                  <p:cNvPr id="10284" name="Freeform: Shape 10283">
                    <a:extLst>
                      <a:ext uri="{FF2B5EF4-FFF2-40B4-BE49-F238E27FC236}">
                        <a16:creationId xmlns:a16="http://schemas.microsoft.com/office/drawing/2014/main" id="{BF110520-5871-52E2-6A73-3B274F5306FB}"/>
                      </a:ext>
                    </a:extLst>
                  </p:cNvPr>
                  <p:cNvSpPr/>
                  <p:nvPr/>
                </p:nvSpPr>
                <p:spPr bwMode="gray">
                  <a:xfrm>
                    <a:off x="4605337"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85" name="Freeform: Shape 10284">
                    <a:extLst>
                      <a:ext uri="{FF2B5EF4-FFF2-40B4-BE49-F238E27FC236}">
                        <a16:creationId xmlns:a16="http://schemas.microsoft.com/office/drawing/2014/main" id="{4CFDCDC3-EBF7-25D3-250D-BCEBE59CA666}"/>
                      </a:ext>
                    </a:extLst>
                  </p:cNvPr>
                  <p:cNvSpPr/>
                  <p:nvPr/>
                </p:nvSpPr>
                <p:spPr bwMode="gray">
                  <a:xfrm>
                    <a:off x="4567522" y="31151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1" name="Graphic 16">
                  <a:extLst>
                    <a:ext uri="{FF2B5EF4-FFF2-40B4-BE49-F238E27FC236}">
                      <a16:creationId xmlns:a16="http://schemas.microsoft.com/office/drawing/2014/main" id="{B60FB5C4-3949-8998-0CD5-807C10FC7182}"/>
                    </a:ext>
                  </a:extLst>
                </p:cNvPr>
                <p:cNvGrpSpPr/>
                <p:nvPr/>
              </p:nvGrpSpPr>
              <p:grpSpPr bwMode="gray">
                <a:xfrm>
                  <a:off x="4586382" y="3077336"/>
                  <a:ext cx="75723" cy="75723"/>
                  <a:chOff x="4586382" y="3077336"/>
                  <a:chExt cx="75723" cy="75723"/>
                </a:xfrm>
              </p:grpSpPr>
              <p:sp>
                <p:nvSpPr>
                  <p:cNvPr id="10282" name="Freeform: Shape 10281">
                    <a:extLst>
                      <a:ext uri="{FF2B5EF4-FFF2-40B4-BE49-F238E27FC236}">
                        <a16:creationId xmlns:a16="http://schemas.microsoft.com/office/drawing/2014/main" id="{43852432-C800-7F37-5967-6152C89F9EF4}"/>
                      </a:ext>
                    </a:extLst>
                  </p:cNvPr>
                  <p:cNvSpPr/>
                  <p:nvPr/>
                </p:nvSpPr>
                <p:spPr bwMode="gray">
                  <a:xfrm>
                    <a:off x="4624291" y="30773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83" name="Freeform: Shape 10282">
                    <a:extLst>
                      <a:ext uri="{FF2B5EF4-FFF2-40B4-BE49-F238E27FC236}">
                        <a16:creationId xmlns:a16="http://schemas.microsoft.com/office/drawing/2014/main" id="{DCB0E9D2-1676-2812-0131-430E0040D185}"/>
                      </a:ext>
                    </a:extLst>
                  </p:cNvPr>
                  <p:cNvSpPr/>
                  <p:nvPr/>
                </p:nvSpPr>
                <p:spPr bwMode="gray">
                  <a:xfrm>
                    <a:off x="4586382" y="31151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2" name="Graphic 16">
                  <a:extLst>
                    <a:ext uri="{FF2B5EF4-FFF2-40B4-BE49-F238E27FC236}">
                      <a16:creationId xmlns:a16="http://schemas.microsoft.com/office/drawing/2014/main" id="{95BFFEDF-4BAE-751B-5152-F49DE84A803C}"/>
                    </a:ext>
                  </a:extLst>
                </p:cNvPr>
                <p:cNvGrpSpPr/>
                <p:nvPr/>
              </p:nvGrpSpPr>
              <p:grpSpPr bwMode="gray">
                <a:xfrm>
                  <a:off x="4605337" y="3085718"/>
                  <a:ext cx="75723" cy="75628"/>
                  <a:chOff x="4605337" y="3085718"/>
                  <a:chExt cx="75723" cy="75628"/>
                </a:xfrm>
              </p:grpSpPr>
              <p:sp>
                <p:nvSpPr>
                  <p:cNvPr id="10280" name="Freeform: Shape 10279">
                    <a:extLst>
                      <a:ext uri="{FF2B5EF4-FFF2-40B4-BE49-F238E27FC236}">
                        <a16:creationId xmlns:a16="http://schemas.microsoft.com/office/drawing/2014/main" id="{97A0425A-8A7C-FDBE-DC7A-D461AFD46550}"/>
                      </a:ext>
                    </a:extLst>
                  </p:cNvPr>
                  <p:cNvSpPr/>
                  <p:nvPr/>
                </p:nvSpPr>
                <p:spPr bwMode="gray">
                  <a:xfrm>
                    <a:off x="4643151"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81" name="Freeform: Shape 10280">
                    <a:extLst>
                      <a:ext uri="{FF2B5EF4-FFF2-40B4-BE49-F238E27FC236}">
                        <a16:creationId xmlns:a16="http://schemas.microsoft.com/office/drawing/2014/main" id="{D446B654-0F82-7EA7-F4A9-4BFD607A6109}"/>
                      </a:ext>
                    </a:extLst>
                  </p:cNvPr>
                  <p:cNvSpPr/>
                  <p:nvPr/>
                </p:nvSpPr>
                <p:spPr bwMode="gray">
                  <a:xfrm>
                    <a:off x="4605337" y="31235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3" name="Graphic 16">
                  <a:extLst>
                    <a:ext uri="{FF2B5EF4-FFF2-40B4-BE49-F238E27FC236}">
                      <a16:creationId xmlns:a16="http://schemas.microsoft.com/office/drawing/2014/main" id="{6A6F1B27-5E28-724C-7302-19052302ADB1}"/>
                    </a:ext>
                  </a:extLst>
                </p:cNvPr>
                <p:cNvGrpSpPr/>
                <p:nvPr/>
              </p:nvGrpSpPr>
              <p:grpSpPr bwMode="gray">
                <a:xfrm>
                  <a:off x="4624291" y="3085718"/>
                  <a:ext cx="75628" cy="75628"/>
                  <a:chOff x="4624291" y="3085718"/>
                  <a:chExt cx="75628" cy="75628"/>
                </a:xfrm>
              </p:grpSpPr>
              <p:sp>
                <p:nvSpPr>
                  <p:cNvPr id="10278" name="Freeform: Shape 10277">
                    <a:extLst>
                      <a:ext uri="{FF2B5EF4-FFF2-40B4-BE49-F238E27FC236}">
                        <a16:creationId xmlns:a16="http://schemas.microsoft.com/office/drawing/2014/main" id="{3344933D-FA3E-9C2D-E2EE-608B37D3A034}"/>
                      </a:ext>
                    </a:extLst>
                  </p:cNvPr>
                  <p:cNvSpPr/>
                  <p:nvPr/>
                </p:nvSpPr>
                <p:spPr bwMode="gray">
                  <a:xfrm>
                    <a:off x="4662106" y="308571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79" name="Freeform: Shape 10278">
                    <a:extLst>
                      <a:ext uri="{FF2B5EF4-FFF2-40B4-BE49-F238E27FC236}">
                        <a16:creationId xmlns:a16="http://schemas.microsoft.com/office/drawing/2014/main" id="{636C332B-1FDF-0EA4-CFB3-DB43F9CFBA92}"/>
                      </a:ext>
                    </a:extLst>
                  </p:cNvPr>
                  <p:cNvSpPr/>
                  <p:nvPr/>
                </p:nvSpPr>
                <p:spPr bwMode="gray">
                  <a:xfrm>
                    <a:off x="4624291" y="312353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4" name="Graphic 16">
                  <a:extLst>
                    <a:ext uri="{FF2B5EF4-FFF2-40B4-BE49-F238E27FC236}">
                      <a16:creationId xmlns:a16="http://schemas.microsoft.com/office/drawing/2014/main" id="{ACBD00F0-0B86-D8B9-DC75-B0BFF5C4D046}"/>
                    </a:ext>
                  </a:extLst>
                </p:cNvPr>
                <p:cNvGrpSpPr/>
                <p:nvPr/>
              </p:nvGrpSpPr>
              <p:grpSpPr bwMode="gray">
                <a:xfrm>
                  <a:off x="4644008" y="3095148"/>
                  <a:ext cx="75723" cy="75628"/>
                  <a:chOff x="4644008" y="3095148"/>
                  <a:chExt cx="75723" cy="75628"/>
                </a:xfrm>
              </p:grpSpPr>
              <p:sp>
                <p:nvSpPr>
                  <p:cNvPr id="10276" name="Freeform: Shape 10275">
                    <a:extLst>
                      <a:ext uri="{FF2B5EF4-FFF2-40B4-BE49-F238E27FC236}">
                        <a16:creationId xmlns:a16="http://schemas.microsoft.com/office/drawing/2014/main" id="{9BA8ACB5-60E3-1449-5A22-9753E905C117}"/>
                      </a:ext>
                    </a:extLst>
                  </p:cNvPr>
                  <p:cNvSpPr/>
                  <p:nvPr/>
                </p:nvSpPr>
                <p:spPr bwMode="gray">
                  <a:xfrm>
                    <a:off x="4681822"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77" name="Freeform: Shape 10276">
                    <a:extLst>
                      <a:ext uri="{FF2B5EF4-FFF2-40B4-BE49-F238E27FC236}">
                        <a16:creationId xmlns:a16="http://schemas.microsoft.com/office/drawing/2014/main" id="{F36465D1-B9C7-704C-6AB4-FCF25BF10540}"/>
                      </a:ext>
                    </a:extLst>
                  </p:cNvPr>
                  <p:cNvSpPr/>
                  <p:nvPr/>
                </p:nvSpPr>
                <p:spPr bwMode="gray">
                  <a:xfrm>
                    <a:off x="4644008" y="3132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5" name="Graphic 16">
                  <a:extLst>
                    <a:ext uri="{FF2B5EF4-FFF2-40B4-BE49-F238E27FC236}">
                      <a16:creationId xmlns:a16="http://schemas.microsoft.com/office/drawing/2014/main" id="{91B62387-4820-956F-3C1B-9D43E2A3667C}"/>
                    </a:ext>
                  </a:extLst>
                </p:cNvPr>
                <p:cNvGrpSpPr/>
                <p:nvPr/>
              </p:nvGrpSpPr>
              <p:grpSpPr bwMode="gray">
                <a:xfrm>
                  <a:off x="4662963" y="3095148"/>
                  <a:ext cx="75628" cy="75628"/>
                  <a:chOff x="4662963" y="3095148"/>
                  <a:chExt cx="75628" cy="75628"/>
                </a:xfrm>
              </p:grpSpPr>
              <p:sp>
                <p:nvSpPr>
                  <p:cNvPr id="10274" name="Freeform: Shape 10273">
                    <a:extLst>
                      <a:ext uri="{FF2B5EF4-FFF2-40B4-BE49-F238E27FC236}">
                        <a16:creationId xmlns:a16="http://schemas.microsoft.com/office/drawing/2014/main" id="{A22C22C2-0FFB-66AB-856C-BE9DD49401F2}"/>
                      </a:ext>
                    </a:extLst>
                  </p:cNvPr>
                  <p:cNvSpPr/>
                  <p:nvPr/>
                </p:nvSpPr>
                <p:spPr bwMode="gray">
                  <a:xfrm>
                    <a:off x="4700777" y="3095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75" name="Freeform: Shape 10274">
                    <a:extLst>
                      <a:ext uri="{FF2B5EF4-FFF2-40B4-BE49-F238E27FC236}">
                        <a16:creationId xmlns:a16="http://schemas.microsoft.com/office/drawing/2014/main" id="{1E9DACDF-BD6A-A2DB-4305-DE68C6AEFA38}"/>
                      </a:ext>
                    </a:extLst>
                  </p:cNvPr>
                  <p:cNvSpPr/>
                  <p:nvPr/>
                </p:nvSpPr>
                <p:spPr bwMode="gray">
                  <a:xfrm>
                    <a:off x="4662963" y="31329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6" name="Graphic 16">
                  <a:extLst>
                    <a:ext uri="{FF2B5EF4-FFF2-40B4-BE49-F238E27FC236}">
                      <a16:creationId xmlns:a16="http://schemas.microsoft.com/office/drawing/2014/main" id="{535435FE-3F44-1F5D-59A9-1DD765227047}"/>
                    </a:ext>
                  </a:extLst>
                </p:cNvPr>
                <p:cNvGrpSpPr/>
                <p:nvPr/>
              </p:nvGrpSpPr>
              <p:grpSpPr bwMode="gray">
                <a:xfrm>
                  <a:off x="4373974" y="3035712"/>
                  <a:ext cx="75723" cy="75723"/>
                  <a:chOff x="4373974" y="3035712"/>
                  <a:chExt cx="75723" cy="75723"/>
                </a:xfrm>
              </p:grpSpPr>
              <p:sp>
                <p:nvSpPr>
                  <p:cNvPr id="10272" name="Freeform: Shape 10271">
                    <a:extLst>
                      <a:ext uri="{FF2B5EF4-FFF2-40B4-BE49-F238E27FC236}">
                        <a16:creationId xmlns:a16="http://schemas.microsoft.com/office/drawing/2014/main" id="{1DDD45CF-42F0-133C-74E3-87A5EF52A91D}"/>
                      </a:ext>
                    </a:extLst>
                  </p:cNvPr>
                  <p:cNvSpPr/>
                  <p:nvPr/>
                </p:nvSpPr>
                <p:spPr bwMode="gray">
                  <a:xfrm>
                    <a:off x="441188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73" name="Freeform: Shape 10272">
                    <a:extLst>
                      <a:ext uri="{FF2B5EF4-FFF2-40B4-BE49-F238E27FC236}">
                        <a16:creationId xmlns:a16="http://schemas.microsoft.com/office/drawing/2014/main" id="{9BFC8B40-ECA8-C86D-641D-7BF338503908}"/>
                      </a:ext>
                    </a:extLst>
                  </p:cNvPr>
                  <p:cNvSpPr/>
                  <p:nvPr/>
                </p:nvSpPr>
                <p:spPr bwMode="gray">
                  <a:xfrm>
                    <a:off x="4373974"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7" name="Graphic 16">
                  <a:extLst>
                    <a:ext uri="{FF2B5EF4-FFF2-40B4-BE49-F238E27FC236}">
                      <a16:creationId xmlns:a16="http://schemas.microsoft.com/office/drawing/2014/main" id="{63342D9F-EA71-5E7A-3D08-A77A32104CF0}"/>
                    </a:ext>
                  </a:extLst>
                </p:cNvPr>
                <p:cNvGrpSpPr/>
                <p:nvPr/>
              </p:nvGrpSpPr>
              <p:grpSpPr bwMode="gray">
                <a:xfrm>
                  <a:off x="4391215" y="3035712"/>
                  <a:ext cx="75628" cy="75723"/>
                  <a:chOff x="4391215" y="3035712"/>
                  <a:chExt cx="75628" cy="75723"/>
                </a:xfrm>
              </p:grpSpPr>
              <p:sp>
                <p:nvSpPr>
                  <p:cNvPr id="10270" name="Freeform: Shape 10269">
                    <a:extLst>
                      <a:ext uri="{FF2B5EF4-FFF2-40B4-BE49-F238E27FC236}">
                        <a16:creationId xmlns:a16="http://schemas.microsoft.com/office/drawing/2014/main" id="{7443E2BB-0588-C724-1952-D2E7D337F8B5}"/>
                      </a:ext>
                    </a:extLst>
                  </p:cNvPr>
                  <p:cNvSpPr/>
                  <p:nvPr/>
                </p:nvSpPr>
                <p:spPr bwMode="gray">
                  <a:xfrm>
                    <a:off x="442902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71" name="Freeform: Shape 10270">
                    <a:extLst>
                      <a:ext uri="{FF2B5EF4-FFF2-40B4-BE49-F238E27FC236}">
                        <a16:creationId xmlns:a16="http://schemas.microsoft.com/office/drawing/2014/main" id="{83084983-8A2C-95FC-0675-780B8AFA32B4}"/>
                      </a:ext>
                    </a:extLst>
                  </p:cNvPr>
                  <p:cNvSpPr/>
                  <p:nvPr/>
                </p:nvSpPr>
                <p:spPr bwMode="gray">
                  <a:xfrm>
                    <a:off x="4391215" y="30736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8" name="Graphic 16">
                  <a:extLst>
                    <a:ext uri="{FF2B5EF4-FFF2-40B4-BE49-F238E27FC236}">
                      <a16:creationId xmlns:a16="http://schemas.microsoft.com/office/drawing/2014/main" id="{0E6C071A-4E34-1FD6-0548-5B920C29245B}"/>
                    </a:ext>
                  </a:extLst>
                </p:cNvPr>
                <p:cNvGrpSpPr/>
                <p:nvPr/>
              </p:nvGrpSpPr>
              <p:grpSpPr bwMode="gray">
                <a:xfrm>
                  <a:off x="4408360" y="3035712"/>
                  <a:ext cx="75723" cy="75723"/>
                  <a:chOff x="4408360" y="3035712"/>
                  <a:chExt cx="75723" cy="75723"/>
                </a:xfrm>
              </p:grpSpPr>
              <p:sp>
                <p:nvSpPr>
                  <p:cNvPr id="10268" name="Freeform: Shape 10267">
                    <a:extLst>
                      <a:ext uri="{FF2B5EF4-FFF2-40B4-BE49-F238E27FC236}">
                        <a16:creationId xmlns:a16="http://schemas.microsoft.com/office/drawing/2014/main" id="{B2CCCC0F-778B-EBA7-D9AC-4A9860735099}"/>
                      </a:ext>
                    </a:extLst>
                  </p:cNvPr>
                  <p:cNvSpPr/>
                  <p:nvPr/>
                </p:nvSpPr>
                <p:spPr bwMode="gray">
                  <a:xfrm>
                    <a:off x="4446269"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69" name="Freeform: Shape 10268">
                    <a:extLst>
                      <a:ext uri="{FF2B5EF4-FFF2-40B4-BE49-F238E27FC236}">
                        <a16:creationId xmlns:a16="http://schemas.microsoft.com/office/drawing/2014/main" id="{B7D05C64-1DFB-0772-2148-D791B242578C}"/>
                      </a:ext>
                    </a:extLst>
                  </p:cNvPr>
                  <p:cNvSpPr/>
                  <p:nvPr/>
                </p:nvSpPr>
                <p:spPr bwMode="gray">
                  <a:xfrm>
                    <a:off x="4408360" y="30736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59" name="Graphic 16">
                  <a:extLst>
                    <a:ext uri="{FF2B5EF4-FFF2-40B4-BE49-F238E27FC236}">
                      <a16:creationId xmlns:a16="http://schemas.microsoft.com/office/drawing/2014/main" id="{01CCB25A-4A52-A33F-61D2-C7377101C225}"/>
                    </a:ext>
                  </a:extLst>
                </p:cNvPr>
                <p:cNvGrpSpPr/>
                <p:nvPr/>
              </p:nvGrpSpPr>
              <p:grpSpPr bwMode="gray">
                <a:xfrm>
                  <a:off x="4425600" y="3035712"/>
                  <a:ext cx="75628" cy="75723"/>
                  <a:chOff x="4425600" y="3035712"/>
                  <a:chExt cx="75628" cy="75723"/>
                </a:xfrm>
              </p:grpSpPr>
              <p:sp>
                <p:nvSpPr>
                  <p:cNvPr id="10266" name="Freeform: Shape 10265">
                    <a:extLst>
                      <a:ext uri="{FF2B5EF4-FFF2-40B4-BE49-F238E27FC236}">
                        <a16:creationId xmlns:a16="http://schemas.microsoft.com/office/drawing/2014/main" id="{FA86E43C-0B20-E250-6EF2-52574451B1DE}"/>
                      </a:ext>
                    </a:extLst>
                  </p:cNvPr>
                  <p:cNvSpPr/>
                  <p:nvPr/>
                </p:nvSpPr>
                <p:spPr bwMode="gray">
                  <a:xfrm>
                    <a:off x="4463414" y="3035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67" name="Freeform: Shape 10266">
                    <a:extLst>
                      <a:ext uri="{FF2B5EF4-FFF2-40B4-BE49-F238E27FC236}">
                        <a16:creationId xmlns:a16="http://schemas.microsoft.com/office/drawing/2014/main" id="{28D2EC99-709F-7FFE-3120-D73F0AFBDD93}"/>
                      </a:ext>
                    </a:extLst>
                  </p:cNvPr>
                  <p:cNvSpPr/>
                  <p:nvPr/>
                </p:nvSpPr>
                <p:spPr bwMode="gray">
                  <a:xfrm>
                    <a:off x="4425600" y="30736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0" name="Graphic 16">
                  <a:extLst>
                    <a:ext uri="{FF2B5EF4-FFF2-40B4-BE49-F238E27FC236}">
                      <a16:creationId xmlns:a16="http://schemas.microsoft.com/office/drawing/2014/main" id="{D5EFC41C-7E61-126A-6BE6-6693E9FD4F85}"/>
                    </a:ext>
                  </a:extLst>
                </p:cNvPr>
                <p:cNvGrpSpPr/>
                <p:nvPr/>
              </p:nvGrpSpPr>
              <p:grpSpPr bwMode="gray">
                <a:xfrm>
                  <a:off x="4744687" y="3128104"/>
                  <a:ext cx="75723" cy="75723"/>
                  <a:chOff x="4744687" y="3128104"/>
                  <a:chExt cx="75723" cy="75723"/>
                </a:xfrm>
              </p:grpSpPr>
              <p:sp>
                <p:nvSpPr>
                  <p:cNvPr id="10264" name="Freeform: Shape 10263">
                    <a:extLst>
                      <a:ext uri="{FF2B5EF4-FFF2-40B4-BE49-F238E27FC236}">
                        <a16:creationId xmlns:a16="http://schemas.microsoft.com/office/drawing/2014/main" id="{3BE658F1-966E-093C-60F3-BC60C8E3DC32}"/>
                      </a:ext>
                    </a:extLst>
                  </p:cNvPr>
                  <p:cNvSpPr/>
                  <p:nvPr/>
                </p:nvSpPr>
                <p:spPr bwMode="gray">
                  <a:xfrm>
                    <a:off x="4782502"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65" name="Freeform: Shape 10264">
                    <a:extLst>
                      <a:ext uri="{FF2B5EF4-FFF2-40B4-BE49-F238E27FC236}">
                        <a16:creationId xmlns:a16="http://schemas.microsoft.com/office/drawing/2014/main" id="{AF9D8185-CDE5-3FF5-3F0B-B71EB23397DC}"/>
                      </a:ext>
                    </a:extLst>
                  </p:cNvPr>
                  <p:cNvSpPr/>
                  <p:nvPr/>
                </p:nvSpPr>
                <p:spPr bwMode="gray">
                  <a:xfrm>
                    <a:off x="4744687"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67" name="Graphic 16">
                  <a:extLst>
                    <a:ext uri="{FF2B5EF4-FFF2-40B4-BE49-F238E27FC236}">
                      <a16:creationId xmlns:a16="http://schemas.microsoft.com/office/drawing/2014/main" id="{544E8141-5E22-997D-FE6B-526DD19612EB}"/>
                    </a:ext>
                  </a:extLst>
                </p:cNvPr>
                <p:cNvGrpSpPr/>
                <p:nvPr/>
              </p:nvGrpSpPr>
              <p:grpSpPr bwMode="gray">
                <a:xfrm>
                  <a:off x="4763642" y="3128104"/>
                  <a:ext cx="75628" cy="75723"/>
                  <a:chOff x="4763642" y="3128104"/>
                  <a:chExt cx="75628" cy="75723"/>
                </a:xfrm>
              </p:grpSpPr>
              <p:sp>
                <p:nvSpPr>
                  <p:cNvPr id="10262" name="Freeform: Shape 10261">
                    <a:extLst>
                      <a:ext uri="{FF2B5EF4-FFF2-40B4-BE49-F238E27FC236}">
                        <a16:creationId xmlns:a16="http://schemas.microsoft.com/office/drawing/2014/main" id="{29F2FACE-4E12-F9AB-EFD5-8593E7F14034}"/>
                      </a:ext>
                    </a:extLst>
                  </p:cNvPr>
                  <p:cNvSpPr/>
                  <p:nvPr/>
                </p:nvSpPr>
                <p:spPr bwMode="gray">
                  <a:xfrm>
                    <a:off x="4801456"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63" name="Freeform: Shape 10262">
                    <a:extLst>
                      <a:ext uri="{FF2B5EF4-FFF2-40B4-BE49-F238E27FC236}">
                        <a16:creationId xmlns:a16="http://schemas.microsoft.com/office/drawing/2014/main" id="{A2E2A034-860E-4F49-10A0-8E4C2ED52ADD}"/>
                      </a:ext>
                    </a:extLst>
                  </p:cNvPr>
                  <p:cNvSpPr/>
                  <p:nvPr/>
                </p:nvSpPr>
                <p:spPr bwMode="gray">
                  <a:xfrm>
                    <a:off x="4763642"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68" name="Graphic 16">
                  <a:extLst>
                    <a:ext uri="{FF2B5EF4-FFF2-40B4-BE49-F238E27FC236}">
                      <a16:creationId xmlns:a16="http://schemas.microsoft.com/office/drawing/2014/main" id="{3B70500A-4144-B109-7F9B-C3141386D715}"/>
                    </a:ext>
                  </a:extLst>
                </p:cNvPr>
                <p:cNvGrpSpPr/>
                <p:nvPr/>
              </p:nvGrpSpPr>
              <p:grpSpPr bwMode="gray">
                <a:xfrm>
                  <a:off x="4782502" y="3128104"/>
                  <a:ext cx="75723" cy="75723"/>
                  <a:chOff x="4782502" y="3128104"/>
                  <a:chExt cx="75723" cy="75723"/>
                </a:xfrm>
              </p:grpSpPr>
              <p:sp>
                <p:nvSpPr>
                  <p:cNvPr id="10260" name="Freeform: Shape 10259">
                    <a:extLst>
                      <a:ext uri="{FF2B5EF4-FFF2-40B4-BE49-F238E27FC236}">
                        <a16:creationId xmlns:a16="http://schemas.microsoft.com/office/drawing/2014/main" id="{9536EEF0-AA2A-7943-17EA-DDA38DF442E1}"/>
                      </a:ext>
                    </a:extLst>
                  </p:cNvPr>
                  <p:cNvSpPr/>
                  <p:nvPr/>
                </p:nvSpPr>
                <p:spPr bwMode="gray">
                  <a:xfrm>
                    <a:off x="4820411"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61" name="Freeform: Shape 10260">
                    <a:extLst>
                      <a:ext uri="{FF2B5EF4-FFF2-40B4-BE49-F238E27FC236}">
                        <a16:creationId xmlns:a16="http://schemas.microsoft.com/office/drawing/2014/main" id="{4B1F0392-53F4-79B6-80F2-34FE6C09BA22}"/>
                      </a:ext>
                    </a:extLst>
                  </p:cNvPr>
                  <p:cNvSpPr/>
                  <p:nvPr/>
                </p:nvSpPr>
                <p:spPr bwMode="gray">
                  <a:xfrm>
                    <a:off x="4782502"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69" name="Graphic 16">
                  <a:extLst>
                    <a:ext uri="{FF2B5EF4-FFF2-40B4-BE49-F238E27FC236}">
                      <a16:creationId xmlns:a16="http://schemas.microsoft.com/office/drawing/2014/main" id="{EC5FE259-391D-A018-0732-0FD92C589254}"/>
                    </a:ext>
                  </a:extLst>
                </p:cNvPr>
                <p:cNvGrpSpPr/>
                <p:nvPr/>
              </p:nvGrpSpPr>
              <p:grpSpPr bwMode="gray">
                <a:xfrm>
                  <a:off x="4803171" y="3141154"/>
                  <a:ext cx="75723" cy="75723"/>
                  <a:chOff x="4803171" y="3141154"/>
                  <a:chExt cx="75723" cy="75723"/>
                </a:xfrm>
              </p:grpSpPr>
              <p:sp>
                <p:nvSpPr>
                  <p:cNvPr id="10258" name="Freeform: Shape 10257">
                    <a:extLst>
                      <a:ext uri="{FF2B5EF4-FFF2-40B4-BE49-F238E27FC236}">
                        <a16:creationId xmlns:a16="http://schemas.microsoft.com/office/drawing/2014/main" id="{00F20A59-9812-EB9A-6559-672E8C0F87E8}"/>
                      </a:ext>
                    </a:extLst>
                  </p:cNvPr>
                  <p:cNvSpPr/>
                  <p:nvPr/>
                </p:nvSpPr>
                <p:spPr bwMode="gray">
                  <a:xfrm>
                    <a:off x="484108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59" name="Freeform: Shape 10258">
                    <a:extLst>
                      <a:ext uri="{FF2B5EF4-FFF2-40B4-BE49-F238E27FC236}">
                        <a16:creationId xmlns:a16="http://schemas.microsoft.com/office/drawing/2014/main" id="{808C7C7F-ABAB-4C1A-F39C-A7A357257DF9}"/>
                      </a:ext>
                    </a:extLst>
                  </p:cNvPr>
                  <p:cNvSpPr/>
                  <p:nvPr/>
                </p:nvSpPr>
                <p:spPr bwMode="gray">
                  <a:xfrm>
                    <a:off x="4803171"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0" name="Graphic 16">
                  <a:extLst>
                    <a:ext uri="{FF2B5EF4-FFF2-40B4-BE49-F238E27FC236}">
                      <a16:creationId xmlns:a16="http://schemas.microsoft.com/office/drawing/2014/main" id="{D1E65D82-B4AA-8178-ED60-4EE96F9D5E82}"/>
                    </a:ext>
                  </a:extLst>
                </p:cNvPr>
                <p:cNvGrpSpPr/>
                <p:nvPr/>
              </p:nvGrpSpPr>
              <p:grpSpPr bwMode="gray">
                <a:xfrm>
                  <a:off x="4822126" y="3141154"/>
                  <a:ext cx="75723" cy="75723"/>
                  <a:chOff x="4822126" y="3141154"/>
                  <a:chExt cx="75723" cy="75723"/>
                </a:xfrm>
              </p:grpSpPr>
              <p:sp>
                <p:nvSpPr>
                  <p:cNvPr id="10256" name="Freeform: Shape 10255">
                    <a:extLst>
                      <a:ext uri="{FF2B5EF4-FFF2-40B4-BE49-F238E27FC236}">
                        <a16:creationId xmlns:a16="http://schemas.microsoft.com/office/drawing/2014/main" id="{4BC6F16E-C03F-0EC2-9FD7-8A352187A7CE}"/>
                      </a:ext>
                    </a:extLst>
                  </p:cNvPr>
                  <p:cNvSpPr/>
                  <p:nvPr/>
                </p:nvSpPr>
                <p:spPr bwMode="gray">
                  <a:xfrm>
                    <a:off x="4859940"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57" name="Freeform: Shape 10256">
                    <a:extLst>
                      <a:ext uri="{FF2B5EF4-FFF2-40B4-BE49-F238E27FC236}">
                        <a16:creationId xmlns:a16="http://schemas.microsoft.com/office/drawing/2014/main" id="{1D93BE45-37B7-F389-1CD6-7FAA38155EB0}"/>
                      </a:ext>
                    </a:extLst>
                  </p:cNvPr>
                  <p:cNvSpPr/>
                  <p:nvPr/>
                </p:nvSpPr>
                <p:spPr bwMode="gray">
                  <a:xfrm>
                    <a:off x="4822126"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1" name="Graphic 16">
                  <a:extLst>
                    <a:ext uri="{FF2B5EF4-FFF2-40B4-BE49-F238E27FC236}">
                      <a16:creationId xmlns:a16="http://schemas.microsoft.com/office/drawing/2014/main" id="{5A3721A4-B655-E880-67CD-9FFB7DB27579}"/>
                    </a:ext>
                  </a:extLst>
                </p:cNvPr>
                <p:cNvGrpSpPr/>
                <p:nvPr/>
              </p:nvGrpSpPr>
              <p:grpSpPr bwMode="gray">
                <a:xfrm>
                  <a:off x="4841080" y="3141154"/>
                  <a:ext cx="75628" cy="75723"/>
                  <a:chOff x="4841080" y="3141154"/>
                  <a:chExt cx="75628" cy="75723"/>
                </a:xfrm>
              </p:grpSpPr>
              <p:sp>
                <p:nvSpPr>
                  <p:cNvPr id="10254" name="Freeform: Shape 10253">
                    <a:extLst>
                      <a:ext uri="{FF2B5EF4-FFF2-40B4-BE49-F238E27FC236}">
                        <a16:creationId xmlns:a16="http://schemas.microsoft.com/office/drawing/2014/main" id="{A5BE993B-CDD6-715B-B0D1-824037B5F2A6}"/>
                      </a:ext>
                    </a:extLst>
                  </p:cNvPr>
                  <p:cNvSpPr/>
                  <p:nvPr/>
                </p:nvSpPr>
                <p:spPr bwMode="gray">
                  <a:xfrm>
                    <a:off x="4878895"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55" name="Freeform: Shape 10254">
                    <a:extLst>
                      <a:ext uri="{FF2B5EF4-FFF2-40B4-BE49-F238E27FC236}">
                        <a16:creationId xmlns:a16="http://schemas.microsoft.com/office/drawing/2014/main" id="{EBEE5AF8-E19B-7C7C-45FC-4699E8888D69}"/>
                      </a:ext>
                    </a:extLst>
                  </p:cNvPr>
                  <p:cNvSpPr/>
                  <p:nvPr/>
                </p:nvSpPr>
                <p:spPr bwMode="gray">
                  <a:xfrm>
                    <a:off x="4841080" y="31790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2" name="Graphic 16">
                  <a:extLst>
                    <a:ext uri="{FF2B5EF4-FFF2-40B4-BE49-F238E27FC236}">
                      <a16:creationId xmlns:a16="http://schemas.microsoft.com/office/drawing/2014/main" id="{F953B87A-BF98-065B-CCFA-9941B0B808F5}"/>
                    </a:ext>
                  </a:extLst>
                </p:cNvPr>
                <p:cNvGrpSpPr/>
                <p:nvPr/>
              </p:nvGrpSpPr>
              <p:grpSpPr bwMode="gray">
                <a:xfrm>
                  <a:off x="4859940" y="3152393"/>
                  <a:ext cx="75723" cy="75723"/>
                  <a:chOff x="4859940" y="3152393"/>
                  <a:chExt cx="75723" cy="75723"/>
                </a:xfrm>
              </p:grpSpPr>
              <p:sp>
                <p:nvSpPr>
                  <p:cNvPr id="10252" name="Freeform: Shape 10251">
                    <a:extLst>
                      <a:ext uri="{FF2B5EF4-FFF2-40B4-BE49-F238E27FC236}">
                        <a16:creationId xmlns:a16="http://schemas.microsoft.com/office/drawing/2014/main" id="{AEEA4C4F-224B-5985-8BE1-2F4462DC1439}"/>
                      </a:ext>
                    </a:extLst>
                  </p:cNvPr>
                  <p:cNvSpPr/>
                  <p:nvPr/>
                </p:nvSpPr>
                <p:spPr bwMode="gray">
                  <a:xfrm>
                    <a:off x="4897849"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53" name="Freeform: Shape 10252">
                    <a:extLst>
                      <a:ext uri="{FF2B5EF4-FFF2-40B4-BE49-F238E27FC236}">
                        <a16:creationId xmlns:a16="http://schemas.microsoft.com/office/drawing/2014/main" id="{CE704776-E6A8-9C5C-56F4-B707F6B68185}"/>
                      </a:ext>
                    </a:extLst>
                  </p:cNvPr>
                  <p:cNvSpPr/>
                  <p:nvPr/>
                </p:nvSpPr>
                <p:spPr bwMode="gray">
                  <a:xfrm>
                    <a:off x="4859940"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3" name="Graphic 16">
                  <a:extLst>
                    <a:ext uri="{FF2B5EF4-FFF2-40B4-BE49-F238E27FC236}">
                      <a16:creationId xmlns:a16="http://schemas.microsoft.com/office/drawing/2014/main" id="{94883C39-7F26-B782-D255-3A487EFAEECC}"/>
                    </a:ext>
                  </a:extLst>
                </p:cNvPr>
                <p:cNvGrpSpPr/>
                <p:nvPr/>
              </p:nvGrpSpPr>
              <p:grpSpPr bwMode="gray">
                <a:xfrm>
                  <a:off x="4878895" y="3168681"/>
                  <a:ext cx="75723" cy="75723"/>
                  <a:chOff x="4878895" y="3168681"/>
                  <a:chExt cx="75723" cy="75723"/>
                </a:xfrm>
              </p:grpSpPr>
              <p:sp>
                <p:nvSpPr>
                  <p:cNvPr id="10250" name="Freeform: Shape 10249">
                    <a:extLst>
                      <a:ext uri="{FF2B5EF4-FFF2-40B4-BE49-F238E27FC236}">
                        <a16:creationId xmlns:a16="http://schemas.microsoft.com/office/drawing/2014/main" id="{11E65212-71D3-1080-8FE5-017476D57CA4}"/>
                      </a:ext>
                    </a:extLst>
                  </p:cNvPr>
                  <p:cNvSpPr/>
                  <p:nvPr/>
                </p:nvSpPr>
                <p:spPr bwMode="gray">
                  <a:xfrm>
                    <a:off x="4916709" y="31686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51" name="Freeform: Shape 10250">
                    <a:extLst>
                      <a:ext uri="{FF2B5EF4-FFF2-40B4-BE49-F238E27FC236}">
                        <a16:creationId xmlns:a16="http://schemas.microsoft.com/office/drawing/2014/main" id="{245E17CE-124D-E606-20F7-008560E6BAAD}"/>
                      </a:ext>
                    </a:extLst>
                  </p:cNvPr>
                  <p:cNvSpPr/>
                  <p:nvPr/>
                </p:nvSpPr>
                <p:spPr bwMode="gray">
                  <a:xfrm>
                    <a:off x="4878895" y="32064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4" name="Graphic 16">
                  <a:extLst>
                    <a:ext uri="{FF2B5EF4-FFF2-40B4-BE49-F238E27FC236}">
                      <a16:creationId xmlns:a16="http://schemas.microsoft.com/office/drawing/2014/main" id="{7F7F5DD9-0487-4B1C-9F12-1FA60AEDB09A}"/>
                    </a:ext>
                  </a:extLst>
                </p:cNvPr>
                <p:cNvGrpSpPr/>
                <p:nvPr/>
              </p:nvGrpSpPr>
              <p:grpSpPr bwMode="gray">
                <a:xfrm>
                  <a:off x="4897849" y="3181730"/>
                  <a:ext cx="75628" cy="75723"/>
                  <a:chOff x="4897849" y="3181730"/>
                  <a:chExt cx="75628" cy="75723"/>
                </a:xfrm>
              </p:grpSpPr>
              <p:sp>
                <p:nvSpPr>
                  <p:cNvPr id="10248" name="Freeform: Shape 10247">
                    <a:extLst>
                      <a:ext uri="{FF2B5EF4-FFF2-40B4-BE49-F238E27FC236}">
                        <a16:creationId xmlns:a16="http://schemas.microsoft.com/office/drawing/2014/main" id="{6B761418-1097-E7B4-370C-6C62AFE4407A}"/>
                      </a:ext>
                    </a:extLst>
                  </p:cNvPr>
                  <p:cNvSpPr/>
                  <p:nvPr/>
                </p:nvSpPr>
                <p:spPr bwMode="gray">
                  <a:xfrm>
                    <a:off x="4935664"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49" name="Freeform: Shape 10248">
                    <a:extLst>
                      <a:ext uri="{FF2B5EF4-FFF2-40B4-BE49-F238E27FC236}">
                        <a16:creationId xmlns:a16="http://schemas.microsoft.com/office/drawing/2014/main" id="{7FA21C0C-454C-DBA8-AF14-A2A85AA69F33}"/>
                      </a:ext>
                    </a:extLst>
                  </p:cNvPr>
                  <p:cNvSpPr/>
                  <p:nvPr/>
                </p:nvSpPr>
                <p:spPr bwMode="gray">
                  <a:xfrm>
                    <a:off x="4897849" y="321964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5" name="Graphic 16">
                  <a:extLst>
                    <a:ext uri="{FF2B5EF4-FFF2-40B4-BE49-F238E27FC236}">
                      <a16:creationId xmlns:a16="http://schemas.microsoft.com/office/drawing/2014/main" id="{6E2A531B-53BF-7B3A-3283-F84B236C07AD}"/>
                    </a:ext>
                  </a:extLst>
                </p:cNvPr>
                <p:cNvGrpSpPr/>
                <p:nvPr/>
              </p:nvGrpSpPr>
              <p:grpSpPr bwMode="gray">
                <a:xfrm>
                  <a:off x="4916709" y="3185921"/>
                  <a:ext cx="75723" cy="75723"/>
                  <a:chOff x="4916709" y="3185921"/>
                  <a:chExt cx="75723" cy="75723"/>
                </a:xfrm>
              </p:grpSpPr>
              <p:sp>
                <p:nvSpPr>
                  <p:cNvPr id="10246" name="Freeform: Shape 10245">
                    <a:extLst>
                      <a:ext uri="{FF2B5EF4-FFF2-40B4-BE49-F238E27FC236}">
                        <a16:creationId xmlns:a16="http://schemas.microsoft.com/office/drawing/2014/main" id="{25AA82F4-6300-38F3-F650-537BC6777071}"/>
                      </a:ext>
                    </a:extLst>
                  </p:cNvPr>
                  <p:cNvSpPr/>
                  <p:nvPr/>
                </p:nvSpPr>
                <p:spPr bwMode="gray">
                  <a:xfrm>
                    <a:off x="495461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47" name="Freeform: Shape 10246">
                    <a:extLst>
                      <a:ext uri="{FF2B5EF4-FFF2-40B4-BE49-F238E27FC236}">
                        <a16:creationId xmlns:a16="http://schemas.microsoft.com/office/drawing/2014/main" id="{59F15952-CFD7-A47B-ADBF-1E813FBC0D46}"/>
                      </a:ext>
                    </a:extLst>
                  </p:cNvPr>
                  <p:cNvSpPr/>
                  <p:nvPr/>
                </p:nvSpPr>
                <p:spPr bwMode="gray">
                  <a:xfrm>
                    <a:off x="4916709"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6" name="Graphic 16">
                  <a:extLst>
                    <a:ext uri="{FF2B5EF4-FFF2-40B4-BE49-F238E27FC236}">
                      <a16:creationId xmlns:a16="http://schemas.microsoft.com/office/drawing/2014/main" id="{87778474-0E1D-D905-7810-799EBC9609E0}"/>
                    </a:ext>
                  </a:extLst>
                </p:cNvPr>
                <p:cNvGrpSpPr/>
                <p:nvPr/>
              </p:nvGrpSpPr>
              <p:grpSpPr bwMode="gray">
                <a:xfrm>
                  <a:off x="4935664" y="3185921"/>
                  <a:ext cx="75723" cy="75723"/>
                  <a:chOff x="4935664" y="3185921"/>
                  <a:chExt cx="75723" cy="75723"/>
                </a:xfrm>
              </p:grpSpPr>
              <p:sp>
                <p:nvSpPr>
                  <p:cNvPr id="10244" name="Freeform: Shape 10243">
                    <a:extLst>
                      <a:ext uri="{FF2B5EF4-FFF2-40B4-BE49-F238E27FC236}">
                        <a16:creationId xmlns:a16="http://schemas.microsoft.com/office/drawing/2014/main" id="{C59BC486-CD77-EFB3-54BD-2BF8785871A9}"/>
                      </a:ext>
                    </a:extLst>
                  </p:cNvPr>
                  <p:cNvSpPr/>
                  <p:nvPr/>
                </p:nvSpPr>
                <p:spPr bwMode="gray">
                  <a:xfrm>
                    <a:off x="4973478"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45" name="Freeform: Shape 10244">
                    <a:extLst>
                      <a:ext uri="{FF2B5EF4-FFF2-40B4-BE49-F238E27FC236}">
                        <a16:creationId xmlns:a16="http://schemas.microsoft.com/office/drawing/2014/main" id="{9FB7685A-88D0-7A2D-7BA7-BD574E96CA2B}"/>
                      </a:ext>
                    </a:extLst>
                  </p:cNvPr>
                  <p:cNvSpPr/>
                  <p:nvPr/>
                </p:nvSpPr>
                <p:spPr bwMode="gray">
                  <a:xfrm>
                    <a:off x="4935664"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7" name="Graphic 16">
                  <a:extLst>
                    <a:ext uri="{FF2B5EF4-FFF2-40B4-BE49-F238E27FC236}">
                      <a16:creationId xmlns:a16="http://schemas.microsoft.com/office/drawing/2014/main" id="{B2C615BC-1E75-AA90-7EF8-7AA27E9D98F0}"/>
                    </a:ext>
                  </a:extLst>
                </p:cNvPr>
                <p:cNvGrpSpPr/>
                <p:nvPr/>
              </p:nvGrpSpPr>
              <p:grpSpPr bwMode="gray">
                <a:xfrm>
                  <a:off x="4955380" y="3195351"/>
                  <a:ext cx="75723" cy="75723"/>
                  <a:chOff x="4955380" y="3195351"/>
                  <a:chExt cx="75723" cy="75723"/>
                </a:xfrm>
              </p:grpSpPr>
              <p:sp>
                <p:nvSpPr>
                  <p:cNvPr id="10242" name="Freeform: Shape 10241">
                    <a:extLst>
                      <a:ext uri="{FF2B5EF4-FFF2-40B4-BE49-F238E27FC236}">
                        <a16:creationId xmlns:a16="http://schemas.microsoft.com/office/drawing/2014/main" id="{13BDF1B3-55DC-067F-00FB-6487724A71DE}"/>
                      </a:ext>
                    </a:extLst>
                  </p:cNvPr>
                  <p:cNvSpPr/>
                  <p:nvPr/>
                </p:nvSpPr>
                <p:spPr bwMode="gray">
                  <a:xfrm>
                    <a:off x="4993290"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43" name="Freeform: Shape 10242">
                    <a:extLst>
                      <a:ext uri="{FF2B5EF4-FFF2-40B4-BE49-F238E27FC236}">
                        <a16:creationId xmlns:a16="http://schemas.microsoft.com/office/drawing/2014/main" id="{0E0274CF-A203-43AE-052A-155D6BFC0E35}"/>
                      </a:ext>
                    </a:extLst>
                  </p:cNvPr>
                  <p:cNvSpPr/>
                  <p:nvPr/>
                </p:nvSpPr>
                <p:spPr bwMode="gray">
                  <a:xfrm>
                    <a:off x="4955380"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8" name="Graphic 16">
                  <a:extLst>
                    <a:ext uri="{FF2B5EF4-FFF2-40B4-BE49-F238E27FC236}">
                      <a16:creationId xmlns:a16="http://schemas.microsoft.com/office/drawing/2014/main" id="{4E4EB568-7E5C-D0F6-0DF5-F9FDBF7F5778}"/>
                    </a:ext>
                  </a:extLst>
                </p:cNvPr>
                <p:cNvGrpSpPr/>
                <p:nvPr/>
              </p:nvGrpSpPr>
              <p:grpSpPr bwMode="gray">
                <a:xfrm>
                  <a:off x="4974335" y="3200685"/>
                  <a:ext cx="75723" cy="75723"/>
                  <a:chOff x="4974335" y="3200685"/>
                  <a:chExt cx="75723" cy="75723"/>
                </a:xfrm>
              </p:grpSpPr>
              <p:sp>
                <p:nvSpPr>
                  <p:cNvPr id="10240" name="Freeform: Shape 10239">
                    <a:extLst>
                      <a:ext uri="{FF2B5EF4-FFF2-40B4-BE49-F238E27FC236}">
                        <a16:creationId xmlns:a16="http://schemas.microsoft.com/office/drawing/2014/main" id="{8FAB02A4-D040-6943-FDBB-1B7A5D2AA6CC}"/>
                      </a:ext>
                    </a:extLst>
                  </p:cNvPr>
                  <p:cNvSpPr/>
                  <p:nvPr/>
                </p:nvSpPr>
                <p:spPr bwMode="gray">
                  <a:xfrm>
                    <a:off x="5012149"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41" name="Freeform: Shape 10240">
                    <a:extLst>
                      <a:ext uri="{FF2B5EF4-FFF2-40B4-BE49-F238E27FC236}">
                        <a16:creationId xmlns:a16="http://schemas.microsoft.com/office/drawing/2014/main" id="{41F32759-38BB-AB38-A602-17664596928D}"/>
                      </a:ext>
                    </a:extLst>
                  </p:cNvPr>
                  <p:cNvSpPr/>
                  <p:nvPr/>
                </p:nvSpPr>
                <p:spPr bwMode="gray">
                  <a:xfrm>
                    <a:off x="4974335"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79" name="Graphic 16">
                  <a:extLst>
                    <a:ext uri="{FF2B5EF4-FFF2-40B4-BE49-F238E27FC236}">
                      <a16:creationId xmlns:a16="http://schemas.microsoft.com/office/drawing/2014/main" id="{8E07C69A-11E7-81F8-4C61-9607DC036E3C}"/>
                    </a:ext>
                  </a:extLst>
                </p:cNvPr>
                <p:cNvGrpSpPr/>
                <p:nvPr/>
              </p:nvGrpSpPr>
              <p:grpSpPr bwMode="gray">
                <a:xfrm>
                  <a:off x="4675917" y="3111340"/>
                  <a:ext cx="75723" cy="75723"/>
                  <a:chOff x="4675917" y="3111340"/>
                  <a:chExt cx="75723" cy="75723"/>
                </a:xfrm>
              </p:grpSpPr>
              <p:sp>
                <p:nvSpPr>
                  <p:cNvPr id="10238" name="Freeform: Shape 10237">
                    <a:extLst>
                      <a:ext uri="{FF2B5EF4-FFF2-40B4-BE49-F238E27FC236}">
                        <a16:creationId xmlns:a16="http://schemas.microsoft.com/office/drawing/2014/main" id="{FA832A91-BB93-90BE-68BD-CEC1ECCAD88E}"/>
                      </a:ext>
                    </a:extLst>
                  </p:cNvPr>
                  <p:cNvSpPr/>
                  <p:nvPr/>
                </p:nvSpPr>
                <p:spPr bwMode="gray">
                  <a:xfrm>
                    <a:off x="471382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39" name="Freeform: Shape 10238">
                    <a:extLst>
                      <a:ext uri="{FF2B5EF4-FFF2-40B4-BE49-F238E27FC236}">
                        <a16:creationId xmlns:a16="http://schemas.microsoft.com/office/drawing/2014/main" id="{89D115A4-E373-A2C4-B1CA-535D66DBB8CA}"/>
                      </a:ext>
                    </a:extLst>
                  </p:cNvPr>
                  <p:cNvSpPr/>
                  <p:nvPr/>
                </p:nvSpPr>
                <p:spPr bwMode="gray">
                  <a:xfrm>
                    <a:off x="4675917"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0" name="Graphic 16">
                  <a:extLst>
                    <a:ext uri="{FF2B5EF4-FFF2-40B4-BE49-F238E27FC236}">
                      <a16:creationId xmlns:a16="http://schemas.microsoft.com/office/drawing/2014/main" id="{C7398661-2A9B-3032-1E21-45F3EC31CC66}"/>
                    </a:ext>
                  </a:extLst>
                </p:cNvPr>
                <p:cNvGrpSpPr/>
                <p:nvPr/>
              </p:nvGrpSpPr>
              <p:grpSpPr bwMode="gray">
                <a:xfrm>
                  <a:off x="4693157" y="3111340"/>
                  <a:ext cx="75628" cy="75723"/>
                  <a:chOff x="4693157" y="3111340"/>
                  <a:chExt cx="75628" cy="75723"/>
                </a:xfrm>
              </p:grpSpPr>
              <p:sp>
                <p:nvSpPr>
                  <p:cNvPr id="10236" name="Freeform: Shape 10235">
                    <a:extLst>
                      <a:ext uri="{FF2B5EF4-FFF2-40B4-BE49-F238E27FC236}">
                        <a16:creationId xmlns:a16="http://schemas.microsoft.com/office/drawing/2014/main" id="{B6B2F809-CC8C-7B21-F496-D64421245CE4}"/>
                      </a:ext>
                    </a:extLst>
                  </p:cNvPr>
                  <p:cNvSpPr/>
                  <p:nvPr/>
                </p:nvSpPr>
                <p:spPr bwMode="gray">
                  <a:xfrm>
                    <a:off x="4730971"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37" name="Freeform: Shape 10236">
                    <a:extLst>
                      <a:ext uri="{FF2B5EF4-FFF2-40B4-BE49-F238E27FC236}">
                        <a16:creationId xmlns:a16="http://schemas.microsoft.com/office/drawing/2014/main" id="{5AB66DDD-395C-DB35-0CAD-505E067CF47A}"/>
                      </a:ext>
                    </a:extLst>
                  </p:cNvPr>
                  <p:cNvSpPr/>
                  <p:nvPr/>
                </p:nvSpPr>
                <p:spPr bwMode="gray">
                  <a:xfrm>
                    <a:off x="4693157"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1" name="Graphic 16">
                  <a:extLst>
                    <a:ext uri="{FF2B5EF4-FFF2-40B4-BE49-F238E27FC236}">
                      <a16:creationId xmlns:a16="http://schemas.microsoft.com/office/drawing/2014/main" id="{043EFC3A-CAF9-D3F8-1583-F4EF4AC33DB2}"/>
                    </a:ext>
                  </a:extLst>
                </p:cNvPr>
                <p:cNvGrpSpPr/>
                <p:nvPr/>
              </p:nvGrpSpPr>
              <p:grpSpPr bwMode="gray">
                <a:xfrm>
                  <a:off x="4710302" y="3111340"/>
                  <a:ext cx="75723" cy="75723"/>
                  <a:chOff x="4710302" y="3111340"/>
                  <a:chExt cx="75723" cy="75723"/>
                </a:xfrm>
              </p:grpSpPr>
              <p:sp>
                <p:nvSpPr>
                  <p:cNvPr id="10234" name="Freeform: Shape 10233">
                    <a:extLst>
                      <a:ext uri="{FF2B5EF4-FFF2-40B4-BE49-F238E27FC236}">
                        <a16:creationId xmlns:a16="http://schemas.microsoft.com/office/drawing/2014/main" id="{E2E6EBF9-3148-77C9-404A-02A1282061E4}"/>
                      </a:ext>
                    </a:extLst>
                  </p:cNvPr>
                  <p:cNvSpPr/>
                  <p:nvPr/>
                </p:nvSpPr>
                <p:spPr bwMode="gray">
                  <a:xfrm>
                    <a:off x="4748116"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35" name="Freeform: Shape 10234">
                    <a:extLst>
                      <a:ext uri="{FF2B5EF4-FFF2-40B4-BE49-F238E27FC236}">
                        <a16:creationId xmlns:a16="http://schemas.microsoft.com/office/drawing/2014/main" id="{12D0560F-1B95-928C-ABEF-9D109C7C521A}"/>
                      </a:ext>
                    </a:extLst>
                  </p:cNvPr>
                  <p:cNvSpPr/>
                  <p:nvPr/>
                </p:nvSpPr>
                <p:spPr bwMode="gray">
                  <a:xfrm>
                    <a:off x="4710302"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2" name="Graphic 16">
                  <a:extLst>
                    <a:ext uri="{FF2B5EF4-FFF2-40B4-BE49-F238E27FC236}">
                      <a16:creationId xmlns:a16="http://schemas.microsoft.com/office/drawing/2014/main" id="{4D83E70A-6E78-A552-CC9D-0E7DFF672F4E}"/>
                    </a:ext>
                  </a:extLst>
                </p:cNvPr>
                <p:cNvGrpSpPr/>
                <p:nvPr/>
              </p:nvGrpSpPr>
              <p:grpSpPr bwMode="gray">
                <a:xfrm>
                  <a:off x="4727542" y="3111340"/>
                  <a:ext cx="75628" cy="75723"/>
                  <a:chOff x="4727542" y="3111340"/>
                  <a:chExt cx="75628" cy="75723"/>
                </a:xfrm>
              </p:grpSpPr>
              <p:sp>
                <p:nvSpPr>
                  <p:cNvPr id="10232" name="Freeform: Shape 10231">
                    <a:extLst>
                      <a:ext uri="{FF2B5EF4-FFF2-40B4-BE49-F238E27FC236}">
                        <a16:creationId xmlns:a16="http://schemas.microsoft.com/office/drawing/2014/main" id="{776E0DFE-81B8-4EDB-5773-8EFBF0C586D0}"/>
                      </a:ext>
                    </a:extLst>
                  </p:cNvPr>
                  <p:cNvSpPr/>
                  <p:nvPr/>
                </p:nvSpPr>
                <p:spPr bwMode="gray">
                  <a:xfrm>
                    <a:off x="4765357"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33" name="Freeform: Shape 10232">
                    <a:extLst>
                      <a:ext uri="{FF2B5EF4-FFF2-40B4-BE49-F238E27FC236}">
                        <a16:creationId xmlns:a16="http://schemas.microsoft.com/office/drawing/2014/main" id="{43F0FB92-03E9-24A4-BCA0-87180548F46B}"/>
                      </a:ext>
                    </a:extLst>
                  </p:cNvPr>
                  <p:cNvSpPr/>
                  <p:nvPr/>
                </p:nvSpPr>
                <p:spPr bwMode="gray">
                  <a:xfrm>
                    <a:off x="4727542" y="3149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3" name="Graphic 16">
                  <a:extLst>
                    <a:ext uri="{FF2B5EF4-FFF2-40B4-BE49-F238E27FC236}">
                      <a16:creationId xmlns:a16="http://schemas.microsoft.com/office/drawing/2014/main" id="{60E3B445-D81F-6640-AD79-B1FD69AF83CE}"/>
                    </a:ext>
                  </a:extLst>
                </p:cNvPr>
                <p:cNvGrpSpPr/>
                <p:nvPr/>
              </p:nvGrpSpPr>
              <p:grpSpPr bwMode="gray">
                <a:xfrm>
                  <a:off x="4754974" y="3128104"/>
                  <a:ext cx="75628" cy="75723"/>
                  <a:chOff x="4754974" y="3128104"/>
                  <a:chExt cx="75628" cy="75723"/>
                </a:xfrm>
              </p:grpSpPr>
              <p:sp>
                <p:nvSpPr>
                  <p:cNvPr id="10230" name="Freeform: Shape 10229">
                    <a:extLst>
                      <a:ext uri="{FF2B5EF4-FFF2-40B4-BE49-F238E27FC236}">
                        <a16:creationId xmlns:a16="http://schemas.microsoft.com/office/drawing/2014/main" id="{139C2EE9-4AAF-E70A-EA9F-40E9C85CA2AA}"/>
                      </a:ext>
                    </a:extLst>
                  </p:cNvPr>
                  <p:cNvSpPr/>
                  <p:nvPr/>
                </p:nvSpPr>
                <p:spPr bwMode="gray">
                  <a:xfrm>
                    <a:off x="4792789"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31" name="Freeform: Shape 10230">
                    <a:extLst>
                      <a:ext uri="{FF2B5EF4-FFF2-40B4-BE49-F238E27FC236}">
                        <a16:creationId xmlns:a16="http://schemas.microsoft.com/office/drawing/2014/main" id="{4FBCDCA4-0C1D-388D-23C0-30E0BF6354A3}"/>
                      </a:ext>
                    </a:extLst>
                  </p:cNvPr>
                  <p:cNvSpPr/>
                  <p:nvPr/>
                </p:nvSpPr>
                <p:spPr bwMode="gray">
                  <a:xfrm>
                    <a:off x="4754974" y="316601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4" name="Graphic 16">
                  <a:extLst>
                    <a:ext uri="{FF2B5EF4-FFF2-40B4-BE49-F238E27FC236}">
                      <a16:creationId xmlns:a16="http://schemas.microsoft.com/office/drawing/2014/main" id="{107497B7-229F-25A9-7E92-5D23F0A4F76D}"/>
                    </a:ext>
                  </a:extLst>
                </p:cNvPr>
                <p:cNvGrpSpPr/>
                <p:nvPr/>
              </p:nvGrpSpPr>
              <p:grpSpPr bwMode="gray">
                <a:xfrm>
                  <a:off x="4773834" y="3128104"/>
                  <a:ext cx="75723" cy="75723"/>
                  <a:chOff x="4773834" y="3128104"/>
                  <a:chExt cx="75723" cy="75723"/>
                </a:xfrm>
              </p:grpSpPr>
              <p:sp>
                <p:nvSpPr>
                  <p:cNvPr id="10228" name="Freeform: Shape 10227">
                    <a:extLst>
                      <a:ext uri="{FF2B5EF4-FFF2-40B4-BE49-F238E27FC236}">
                        <a16:creationId xmlns:a16="http://schemas.microsoft.com/office/drawing/2014/main" id="{27C54F84-9B65-9EFE-D064-829C1F3D5F3A}"/>
                      </a:ext>
                    </a:extLst>
                  </p:cNvPr>
                  <p:cNvSpPr/>
                  <p:nvPr/>
                </p:nvSpPr>
                <p:spPr bwMode="gray">
                  <a:xfrm>
                    <a:off x="481174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29" name="Freeform: Shape 10228">
                    <a:extLst>
                      <a:ext uri="{FF2B5EF4-FFF2-40B4-BE49-F238E27FC236}">
                        <a16:creationId xmlns:a16="http://schemas.microsoft.com/office/drawing/2014/main" id="{8F3192B2-EA20-4BE8-5E77-5AB132C52E47}"/>
                      </a:ext>
                    </a:extLst>
                  </p:cNvPr>
                  <p:cNvSpPr/>
                  <p:nvPr/>
                </p:nvSpPr>
                <p:spPr bwMode="gray">
                  <a:xfrm>
                    <a:off x="4773834"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5" name="Graphic 16">
                  <a:extLst>
                    <a:ext uri="{FF2B5EF4-FFF2-40B4-BE49-F238E27FC236}">
                      <a16:creationId xmlns:a16="http://schemas.microsoft.com/office/drawing/2014/main" id="{1202B0B1-2EC3-996E-F32B-5E9926DA965D}"/>
                    </a:ext>
                  </a:extLst>
                </p:cNvPr>
                <p:cNvGrpSpPr/>
                <p:nvPr/>
              </p:nvGrpSpPr>
              <p:grpSpPr bwMode="gray">
                <a:xfrm>
                  <a:off x="4792789" y="3128104"/>
                  <a:ext cx="75723" cy="75723"/>
                  <a:chOff x="4792789" y="3128104"/>
                  <a:chExt cx="75723" cy="75723"/>
                </a:xfrm>
              </p:grpSpPr>
              <p:sp>
                <p:nvSpPr>
                  <p:cNvPr id="10226" name="Freeform: Shape 10225">
                    <a:extLst>
                      <a:ext uri="{FF2B5EF4-FFF2-40B4-BE49-F238E27FC236}">
                        <a16:creationId xmlns:a16="http://schemas.microsoft.com/office/drawing/2014/main" id="{5CECCDBC-3DE1-1C32-8522-DADFC660D012}"/>
                      </a:ext>
                    </a:extLst>
                  </p:cNvPr>
                  <p:cNvSpPr/>
                  <p:nvPr/>
                </p:nvSpPr>
                <p:spPr bwMode="gray">
                  <a:xfrm>
                    <a:off x="4830603" y="3128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27" name="Freeform: Shape 10226">
                    <a:extLst>
                      <a:ext uri="{FF2B5EF4-FFF2-40B4-BE49-F238E27FC236}">
                        <a16:creationId xmlns:a16="http://schemas.microsoft.com/office/drawing/2014/main" id="{3C17ED4A-13FF-EB33-1CF5-87721036575F}"/>
                      </a:ext>
                    </a:extLst>
                  </p:cNvPr>
                  <p:cNvSpPr/>
                  <p:nvPr/>
                </p:nvSpPr>
                <p:spPr bwMode="gray">
                  <a:xfrm>
                    <a:off x="4792789" y="31660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6" name="Graphic 16">
                  <a:extLst>
                    <a:ext uri="{FF2B5EF4-FFF2-40B4-BE49-F238E27FC236}">
                      <a16:creationId xmlns:a16="http://schemas.microsoft.com/office/drawing/2014/main" id="{940C4FF0-472E-9173-649F-731A422A8C07}"/>
                    </a:ext>
                  </a:extLst>
                </p:cNvPr>
                <p:cNvGrpSpPr/>
                <p:nvPr/>
              </p:nvGrpSpPr>
              <p:grpSpPr bwMode="gray">
                <a:xfrm>
                  <a:off x="4813458" y="3141154"/>
                  <a:ext cx="75723" cy="75723"/>
                  <a:chOff x="4813458" y="3141154"/>
                  <a:chExt cx="75723" cy="75723"/>
                </a:xfrm>
              </p:grpSpPr>
              <p:sp>
                <p:nvSpPr>
                  <p:cNvPr id="10224" name="Freeform: Shape 10223">
                    <a:extLst>
                      <a:ext uri="{FF2B5EF4-FFF2-40B4-BE49-F238E27FC236}">
                        <a16:creationId xmlns:a16="http://schemas.microsoft.com/office/drawing/2014/main" id="{B86BE310-5C07-7CE3-822B-CA33872E0B55}"/>
                      </a:ext>
                    </a:extLst>
                  </p:cNvPr>
                  <p:cNvSpPr/>
                  <p:nvPr/>
                </p:nvSpPr>
                <p:spPr bwMode="gray">
                  <a:xfrm>
                    <a:off x="4851272"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25" name="Freeform: Shape 10224">
                    <a:extLst>
                      <a:ext uri="{FF2B5EF4-FFF2-40B4-BE49-F238E27FC236}">
                        <a16:creationId xmlns:a16="http://schemas.microsoft.com/office/drawing/2014/main" id="{BE06CF5E-595E-65C9-529F-6BBFAB15EFF8}"/>
                      </a:ext>
                    </a:extLst>
                  </p:cNvPr>
                  <p:cNvSpPr/>
                  <p:nvPr/>
                </p:nvSpPr>
                <p:spPr bwMode="gray">
                  <a:xfrm>
                    <a:off x="4813458" y="31790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7" name="Graphic 16">
                  <a:extLst>
                    <a:ext uri="{FF2B5EF4-FFF2-40B4-BE49-F238E27FC236}">
                      <a16:creationId xmlns:a16="http://schemas.microsoft.com/office/drawing/2014/main" id="{C03FD25F-9FB0-6C3A-B02D-F93467862CB8}"/>
                    </a:ext>
                  </a:extLst>
                </p:cNvPr>
                <p:cNvGrpSpPr/>
                <p:nvPr/>
              </p:nvGrpSpPr>
              <p:grpSpPr bwMode="gray">
                <a:xfrm>
                  <a:off x="4832413" y="3141154"/>
                  <a:ext cx="75628" cy="75723"/>
                  <a:chOff x="4832413" y="3141154"/>
                  <a:chExt cx="75628" cy="75723"/>
                </a:xfrm>
              </p:grpSpPr>
              <p:sp>
                <p:nvSpPr>
                  <p:cNvPr id="10222" name="Freeform: Shape 10221">
                    <a:extLst>
                      <a:ext uri="{FF2B5EF4-FFF2-40B4-BE49-F238E27FC236}">
                        <a16:creationId xmlns:a16="http://schemas.microsoft.com/office/drawing/2014/main" id="{9F2839C1-0032-52F2-9D60-6BF901C13612}"/>
                      </a:ext>
                    </a:extLst>
                  </p:cNvPr>
                  <p:cNvSpPr/>
                  <p:nvPr/>
                </p:nvSpPr>
                <p:spPr bwMode="gray">
                  <a:xfrm>
                    <a:off x="4870227" y="31411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23" name="Freeform: Shape 10222">
                    <a:extLst>
                      <a:ext uri="{FF2B5EF4-FFF2-40B4-BE49-F238E27FC236}">
                        <a16:creationId xmlns:a16="http://schemas.microsoft.com/office/drawing/2014/main" id="{FF3CB948-D537-30ED-BAD5-1AF234B8C2C9}"/>
                      </a:ext>
                    </a:extLst>
                  </p:cNvPr>
                  <p:cNvSpPr/>
                  <p:nvPr/>
                </p:nvSpPr>
                <p:spPr bwMode="gray">
                  <a:xfrm>
                    <a:off x="4832413" y="317906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8" name="Graphic 16">
                  <a:extLst>
                    <a:ext uri="{FF2B5EF4-FFF2-40B4-BE49-F238E27FC236}">
                      <a16:creationId xmlns:a16="http://schemas.microsoft.com/office/drawing/2014/main" id="{F6348277-5256-EEA0-21C4-8F3BAA6BFCB7}"/>
                    </a:ext>
                  </a:extLst>
                </p:cNvPr>
                <p:cNvGrpSpPr/>
                <p:nvPr/>
              </p:nvGrpSpPr>
              <p:grpSpPr bwMode="gray">
                <a:xfrm>
                  <a:off x="4851272" y="3152393"/>
                  <a:ext cx="75723" cy="75723"/>
                  <a:chOff x="4851272" y="3152393"/>
                  <a:chExt cx="75723" cy="75723"/>
                </a:xfrm>
              </p:grpSpPr>
              <p:sp>
                <p:nvSpPr>
                  <p:cNvPr id="10220" name="Freeform: Shape 10219">
                    <a:extLst>
                      <a:ext uri="{FF2B5EF4-FFF2-40B4-BE49-F238E27FC236}">
                        <a16:creationId xmlns:a16="http://schemas.microsoft.com/office/drawing/2014/main" id="{00C782BF-D156-0EAF-8877-A189578E976B}"/>
                      </a:ext>
                    </a:extLst>
                  </p:cNvPr>
                  <p:cNvSpPr/>
                  <p:nvPr/>
                </p:nvSpPr>
                <p:spPr bwMode="gray">
                  <a:xfrm>
                    <a:off x="4889182" y="31523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21" name="Freeform: Shape 10220">
                    <a:extLst>
                      <a:ext uri="{FF2B5EF4-FFF2-40B4-BE49-F238E27FC236}">
                        <a16:creationId xmlns:a16="http://schemas.microsoft.com/office/drawing/2014/main" id="{7403EE89-8F79-5D60-0AD1-D3819AD25206}"/>
                      </a:ext>
                    </a:extLst>
                  </p:cNvPr>
                  <p:cNvSpPr/>
                  <p:nvPr/>
                </p:nvSpPr>
                <p:spPr bwMode="gray">
                  <a:xfrm>
                    <a:off x="4851272" y="319020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89" name="Graphic 16">
                  <a:extLst>
                    <a:ext uri="{FF2B5EF4-FFF2-40B4-BE49-F238E27FC236}">
                      <a16:creationId xmlns:a16="http://schemas.microsoft.com/office/drawing/2014/main" id="{FFA8CDDF-9121-C6A1-0B04-806E62DB14A4}"/>
                    </a:ext>
                  </a:extLst>
                </p:cNvPr>
                <p:cNvGrpSpPr/>
                <p:nvPr/>
              </p:nvGrpSpPr>
              <p:grpSpPr bwMode="gray">
                <a:xfrm>
                  <a:off x="4870227" y="3159346"/>
                  <a:ext cx="75723" cy="75628"/>
                  <a:chOff x="4870227" y="3159346"/>
                  <a:chExt cx="75723" cy="75628"/>
                </a:xfrm>
              </p:grpSpPr>
              <p:sp>
                <p:nvSpPr>
                  <p:cNvPr id="10218" name="Freeform: Shape 10217">
                    <a:extLst>
                      <a:ext uri="{FF2B5EF4-FFF2-40B4-BE49-F238E27FC236}">
                        <a16:creationId xmlns:a16="http://schemas.microsoft.com/office/drawing/2014/main" id="{073F773F-18D9-8199-B5AC-FDCEE44F3EEE}"/>
                      </a:ext>
                    </a:extLst>
                  </p:cNvPr>
                  <p:cNvSpPr/>
                  <p:nvPr/>
                </p:nvSpPr>
                <p:spPr bwMode="gray">
                  <a:xfrm>
                    <a:off x="4908041" y="315934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19" name="Freeform: Shape 10218">
                    <a:extLst>
                      <a:ext uri="{FF2B5EF4-FFF2-40B4-BE49-F238E27FC236}">
                        <a16:creationId xmlns:a16="http://schemas.microsoft.com/office/drawing/2014/main" id="{FCA3FDEC-BF96-580B-EB20-8C905B1AA9C1}"/>
                      </a:ext>
                    </a:extLst>
                  </p:cNvPr>
                  <p:cNvSpPr/>
                  <p:nvPr/>
                </p:nvSpPr>
                <p:spPr bwMode="gray">
                  <a:xfrm>
                    <a:off x="4870227" y="3197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0" name="Graphic 16">
                  <a:extLst>
                    <a:ext uri="{FF2B5EF4-FFF2-40B4-BE49-F238E27FC236}">
                      <a16:creationId xmlns:a16="http://schemas.microsoft.com/office/drawing/2014/main" id="{5A096DBC-9316-5FDC-DE98-749C7813963B}"/>
                    </a:ext>
                  </a:extLst>
                </p:cNvPr>
                <p:cNvGrpSpPr/>
                <p:nvPr/>
              </p:nvGrpSpPr>
              <p:grpSpPr bwMode="gray">
                <a:xfrm>
                  <a:off x="4889182" y="3177539"/>
                  <a:ext cx="75628" cy="75723"/>
                  <a:chOff x="4889182" y="3177539"/>
                  <a:chExt cx="75628" cy="75723"/>
                </a:xfrm>
              </p:grpSpPr>
              <p:sp>
                <p:nvSpPr>
                  <p:cNvPr id="10216" name="Freeform: Shape 10215">
                    <a:extLst>
                      <a:ext uri="{FF2B5EF4-FFF2-40B4-BE49-F238E27FC236}">
                        <a16:creationId xmlns:a16="http://schemas.microsoft.com/office/drawing/2014/main" id="{C4819B22-FF47-0885-7B9F-E000BB660C50}"/>
                      </a:ext>
                    </a:extLst>
                  </p:cNvPr>
                  <p:cNvSpPr/>
                  <p:nvPr/>
                </p:nvSpPr>
                <p:spPr bwMode="gray">
                  <a:xfrm>
                    <a:off x="4926996" y="31775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17" name="Freeform: Shape 10216">
                    <a:extLst>
                      <a:ext uri="{FF2B5EF4-FFF2-40B4-BE49-F238E27FC236}">
                        <a16:creationId xmlns:a16="http://schemas.microsoft.com/office/drawing/2014/main" id="{B06E0626-C6E9-06F9-B0CB-89B561549A86}"/>
                      </a:ext>
                    </a:extLst>
                  </p:cNvPr>
                  <p:cNvSpPr/>
                  <p:nvPr/>
                </p:nvSpPr>
                <p:spPr bwMode="gray">
                  <a:xfrm>
                    <a:off x="4889182" y="32154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1" name="Graphic 16">
                  <a:extLst>
                    <a:ext uri="{FF2B5EF4-FFF2-40B4-BE49-F238E27FC236}">
                      <a16:creationId xmlns:a16="http://schemas.microsoft.com/office/drawing/2014/main" id="{FD730C73-D78D-B7F9-498E-4F91B95A6261}"/>
                    </a:ext>
                  </a:extLst>
                </p:cNvPr>
                <p:cNvGrpSpPr/>
                <p:nvPr/>
              </p:nvGrpSpPr>
              <p:grpSpPr bwMode="gray">
                <a:xfrm>
                  <a:off x="4908041" y="3181730"/>
                  <a:ext cx="75723" cy="75723"/>
                  <a:chOff x="4908041" y="3181730"/>
                  <a:chExt cx="75723" cy="75723"/>
                </a:xfrm>
              </p:grpSpPr>
              <p:sp>
                <p:nvSpPr>
                  <p:cNvPr id="10214" name="Freeform: Shape 10213">
                    <a:extLst>
                      <a:ext uri="{FF2B5EF4-FFF2-40B4-BE49-F238E27FC236}">
                        <a16:creationId xmlns:a16="http://schemas.microsoft.com/office/drawing/2014/main" id="{34B24CF2-49FF-CE72-FC42-B1DB803E89F6}"/>
                      </a:ext>
                    </a:extLst>
                  </p:cNvPr>
                  <p:cNvSpPr/>
                  <p:nvPr/>
                </p:nvSpPr>
                <p:spPr bwMode="gray">
                  <a:xfrm>
                    <a:off x="4945951" y="31817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15" name="Freeform: Shape 10214">
                    <a:extLst>
                      <a:ext uri="{FF2B5EF4-FFF2-40B4-BE49-F238E27FC236}">
                        <a16:creationId xmlns:a16="http://schemas.microsoft.com/office/drawing/2014/main" id="{F0EFE6C1-B4D3-1434-A075-663A71DD8E0B}"/>
                      </a:ext>
                    </a:extLst>
                  </p:cNvPr>
                  <p:cNvSpPr/>
                  <p:nvPr/>
                </p:nvSpPr>
                <p:spPr bwMode="gray">
                  <a:xfrm>
                    <a:off x="4908041" y="32196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2" name="Graphic 16">
                  <a:extLst>
                    <a:ext uri="{FF2B5EF4-FFF2-40B4-BE49-F238E27FC236}">
                      <a16:creationId xmlns:a16="http://schemas.microsoft.com/office/drawing/2014/main" id="{23E907D8-6D2F-64D5-4000-69157CB4C6FE}"/>
                    </a:ext>
                  </a:extLst>
                </p:cNvPr>
                <p:cNvGrpSpPr/>
                <p:nvPr/>
              </p:nvGrpSpPr>
              <p:grpSpPr bwMode="gray">
                <a:xfrm>
                  <a:off x="4926996" y="3185921"/>
                  <a:ext cx="75723" cy="75723"/>
                  <a:chOff x="4926996" y="3185921"/>
                  <a:chExt cx="75723" cy="75723"/>
                </a:xfrm>
              </p:grpSpPr>
              <p:sp>
                <p:nvSpPr>
                  <p:cNvPr id="10212" name="Freeform: Shape 10211">
                    <a:extLst>
                      <a:ext uri="{FF2B5EF4-FFF2-40B4-BE49-F238E27FC236}">
                        <a16:creationId xmlns:a16="http://schemas.microsoft.com/office/drawing/2014/main" id="{24A17A55-DEDD-9286-A4A5-E5CA703E826F}"/>
                      </a:ext>
                    </a:extLst>
                  </p:cNvPr>
                  <p:cNvSpPr/>
                  <p:nvPr/>
                </p:nvSpPr>
                <p:spPr bwMode="gray">
                  <a:xfrm>
                    <a:off x="4964810"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13" name="Freeform: Shape 10212">
                    <a:extLst>
                      <a:ext uri="{FF2B5EF4-FFF2-40B4-BE49-F238E27FC236}">
                        <a16:creationId xmlns:a16="http://schemas.microsoft.com/office/drawing/2014/main" id="{42339832-C653-E4AF-D485-635985B8AB44}"/>
                      </a:ext>
                    </a:extLst>
                  </p:cNvPr>
                  <p:cNvSpPr/>
                  <p:nvPr/>
                </p:nvSpPr>
                <p:spPr bwMode="gray">
                  <a:xfrm>
                    <a:off x="4926996" y="32238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3" name="Graphic 16">
                  <a:extLst>
                    <a:ext uri="{FF2B5EF4-FFF2-40B4-BE49-F238E27FC236}">
                      <a16:creationId xmlns:a16="http://schemas.microsoft.com/office/drawing/2014/main" id="{ADAD6BAC-2CD3-2D9C-53BE-C899DDE77D40}"/>
                    </a:ext>
                  </a:extLst>
                </p:cNvPr>
                <p:cNvGrpSpPr/>
                <p:nvPr/>
              </p:nvGrpSpPr>
              <p:grpSpPr bwMode="gray">
                <a:xfrm>
                  <a:off x="4945951" y="3185921"/>
                  <a:ext cx="75628" cy="75723"/>
                  <a:chOff x="4945951" y="3185921"/>
                  <a:chExt cx="75628" cy="75723"/>
                </a:xfrm>
              </p:grpSpPr>
              <p:sp>
                <p:nvSpPr>
                  <p:cNvPr id="10210" name="Freeform: Shape 10209">
                    <a:extLst>
                      <a:ext uri="{FF2B5EF4-FFF2-40B4-BE49-F238E27FC236}">
                        <a16:creationId xmlns:a16="http://schemas.microsoft.com/office/drawing/2014/main" id="{7EB7175B-06EA-8AD1-F40C-7BDF099ADC6B}"/>
                      </a:ext>
                    </a:extLst>
                  </p:cNvPr>
                  <p:cNvSpPr/>
                  <p:nvPr/>
                </p:nvSpPr>
                <p:spPr bwMode="gray">
                  <a:xfrm>
                    <a:off x="4983765" y="31859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11" name="Freeform: Shape 10210">
                    <a:extLst>
                      <a:ext uri="{FF2B5EF4-FFF2-40B4-BE49-F238E27FC236}">
                        <a16:creationId xmlns:a16="http://schemas.microsoft.com/office/drawing/2014/main" id="{ABC4B27E-35C3-A4E4-DF23-4374B6B97B24}"/>
                      </a:ext>
                    </a:extLst>
                  </p:cNvPr>
                  <p:cNvSpPr/>
                  <p:nvPr/>
                </p:nvSpPr>
                <p:spPr bwMode="gray">
                  <a:xfrm>
                    <a:off x="4945951" y="322383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4" name="Graphic 16">
                  <a:extLst>
                    <a:ext uri="{FF2B5EF4-FFF2-40B4-BE49-F238E27FC236}">
                      <a16:creationId xmlns:a16="http://schemas.microsoft.com/office/drawing/2014/main" id="{13EE6AA6-5811-B7FC-E144-23E30F38EB94}"/>
                    </a:ext>
                  </a:extLst>
                </p:cNvPr>
                <p:cNvGrpSpPr/>
                <p:nvPr/>
              </p:nvGrpSpPr>
              <p:grpSpPr bwMode="gray">
                <a:xfrm>
                  <a:off x="4965667" y="3195351"/>
                  <a:ext cx="75723" cy="75723"/>
                  <a:chOff x="4965667" y="3195351"/>
                  <a:chExt cx="75723" cy="75723"/>
                </a:xfrm>
              </p:grpSpPr>
              <p:sp>
                <p:nvSpPr>
                  <p:cNvPr id="10208" name="Freeform: Shape 10207">
                    <a:extLst>
                      <a:ext uri="{FF2B5EF4-FFF2-40B4-BE49-F238E27FC236}">
                        <a16:creationId xmlns:a16="http://schemas.microsoft.com/office/drawing/2014/main" id="{4AE49849-5B12-CE29-53B0-88979B44F76F}"/>
                      </a:ext>
                    </a:extLst>
                  </p:cNvPr>
                  <p:cNvSpPr/>
                  <p:nvPr/>
                </p:nvSpPr>
                <p:spPr bwMode="gray">
                  <a:xfrm>
                    <a:off x="5003482" y="31953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09" name="Freeform: Shape 10208">
                    <a:extLst>
                      <a:ext uri="{FF2B5EF4-FFF2-40B4-BE49-F238E27FC236}">
                        <a16:creationId xmlns:a16="http://schemas.microsoft.com/office/drawing/2014/main" id="{0DE6A80F-BCF7-77DC-9FFA-C89E005BD436}"/>
                      </a:ext>
                    </a:extLst>
                  </p:cNvPr>
                  <p:cNvSpPr/>
                  <p:nvPr/>
                </p:nvSpPr>
                <p:spPr bwMode="gray">
                  <a:xfrm>
                    <a:off x="4965667" y="32332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5" name="Graphic 16">
                  <a:extLst>
                    <a:ext uri="{FF2B5EF4-FFF2-40B4-BE49-F238E27FC236}">
                      <a16:creationId xmlns:a16="http://schemas.microsoft.com/office/drawing/2014/main" id="{4327A363-030D-5D7E-33AF-B8AE30B32028}"/>
                    </a:ext>
                  </a:extLst>
                </p:cNvPr>
                <p:cNvGrpSpPr/>
                <p:nvPr/>
              </p:nvGrpSpPr>
              <p:grpSpPr bwMode="gray">
                <a:xfrm>
                  <a:off x="4984622" y="3200685"/>
                  <a:ext cx="75628" cy="75723"/>
                  <a:chOff x="4984622" y="3200685"/>
                  <a:chExt cx="75628" cy="75723"/>
                </a:xfrm>
              </p:grpSpPr>
              <p:sp>
                <p:nvSpPr>
                  <p:cNvPr id="10206" name="Freeform: Shape 10205">
                    <a:extLst>
                      <a:ext uri="{FF2B5EF4-FFF2-40B4-BE49-F238E27FC236}">
                        <a16:creationId xmlns:a16="http://schemas.microsoft.com/office/drawing/2014/main" id="{BFA6FDB4-39EB-D05E-878B-F2898AAAEA61}"/>
                      </a:ext>
                    </a:extLst>
                  </p:cNvPr>
                  <p:cNvSpPr/>
                  <p:nvPr/>
                </p:nvSpPr>
                <p:spPr bwMode="gray">
                  <a:xfrm>
                    <a:off x="5022436"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07" name="Freeform: Shape 10206">
                    <a:extLst>
                      <a:ext uri="{FF2B5EF4-FFF2-40B4-BE49-F238E27FC236}">
                        <a16:creationId xmlns:a16="http://schemas.microsoft.com/office/drawing/2014/main" id="{CE51A8BB-1BBA-46D4-E651-9681D996A7C3}"/>
                      </a:ext>
                    </a:extLst>
                  </p:cNvPr>
                  <p:cNvSpPr/>
                  <p:nvPr/>
                </p:nvSpPr>
                <p:spPr bwMode="gray">
                  <a:xfrm>
                    <a:off x="4984622" y="32385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6" name="Graphic 16">
                  <a:extLst>
                    <a:ext uri="{FF2B5EF4-FFF2-40B4-BE49-F238E27FC236}">
                      <a16:creationId xmlns:a16="http://schemas.microsoft.com/office/drawing/2014/main" id="{A6C0D24A-3E56-ECF2-01ED-D3757AEE89E7}"/>
                    </a:ext>
                  </a:extLst>
                </p:cNvPr>
                <p:cNvGrpSpPr/>
                <p:nvPr/>
              </p:nvGrpSpPr>
              <p:grpSpPr bwMode="gray">
                <a:xfrm>
                  <a:off x="4998338" y="3200685"/>
                  <a:ext cx="75723" cy="75723"/>
                  <a:chOff x="4998338" y="3200685"/>
                  <a:chExt cx="75723" cy="75723"/>
                </a:xfrm>
              </p:grpSpPr>
              <p:sp>
                <p:nvSpPr>
                  <p:cNvPr id="10204" name="Freeform: Shape 10203">
                    <a:extLst>
                      <a:ext uri="{FF2B5EF4-FFF2-40B4-BE49-F238E27FC236}">
                        <a16:creationId xmlns:a16="http://schemas.microsoft.com/office/drawing/2014/main" id="{7C603153-859A-C410-84D2-56E61638E404}"/>
                      </a:ext>
                    </a:extLst>
                  </p:cNvPr>
                  <p:cNvSpPr/>
                  <p:nvPr/>
                </p:nvSpPr>
                <p:spPr bwMode="gray">
                  <a:xfrm>
                    <a:off x="5036248" y="32006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05" name="Freeform: Shape 10204">
                    <a:extLst>
                      <a:ext uri="{FF2B5EF4-FFF2-40B4-BE49-F238E27FC236}">
                        <a16:creationId xmlns:a16="http://schemas.microsoft.com/office/drawing/2014/main" id="{0E2F2E15-E9B8-6764-9448-A4DBE0F592C5}"/>
                      </a:ext>
                    </a:extLst>
                  </p:cNvPr>
                  <p:cNvSpPr/>
                  <p:nvPr/>
                </p:nvSpPr>
                <p:spPr bwMode="gray">
                  <a:xfrm>
                    <a:off x="4998338" y="32385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7" name="Graphic 16">
                  <a:extLst>
                    <a:ext uri="{FF2B5EF4-FFF2-40B4-BE49-F238E27FC236}">
                      <a16:creationId xmlns:a16="http://schemas.microsoft.com/office/drawing/2014/main" id="{96F2B321-DCD9-4297-C47C-3CB036ADDFA2}"/>
                    </a:ext>
                  </a:extLst>
                </p:cNvPr>
                <p:cNvGrpSpPr/>
                <p:nvPr/>
              </p:nvGrpSpPr>
              <p:grpSpPr bwMode="gray">
                <a:xfrm>
                  <a:off x="5016531" y="3213163"/>
                  <a:ext cx="75628" cy="75723"/>
                  <a:chOff x="5016531" y="3213163"/>
                  <a:chExt cx="75628" cy="75723"/>
                </a:xfrm>
              </p:grpSpPr>
              <p:sp>
                <p:nvSpPr>
                  <p:cNvPr id="10202" name="Freeform: Shape 10201">
                    <a:extLst>
                      <a:ext uri="{FF2B5EF4-FFF2-40B4-BE49-F238E27FC236}">
                        <a16:creationId xmlns:a16="http://schemas.microsoft.com/office/drawing/2014/main" id="{57D7EF6A-A5B1-63F4-6D8E-3899D703AB1B}"/>
                      </a:ext>
                    </a:extLst>
                  </p:cNvPr>
                  <p:cNvSpPr/>
                  <p:nvPr/>
                </p:nvSpPr>
                <p:spPr bwMode="gray">
                  <a:xfrm>
                    <a:off x="5054345" y="32131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03" name="Freeform: Shape 10202">
                    <a:extLst>
                      <a:ext uri="{FF2B5EF4-FFF2-40B4-BE49-F238E27FC236}">
                        <a16:creationId xmlns:a16="http://schemas.microsoft.com/office/drawing/2014/main" id="{234EDF22-FA25-FABA-1BFF-F417080D77A9}"/>
                      </a:ext>
                    </a:extLst>
                  </p:cNvPr>
                  <p:cNvSpPr/>
                  <p:nvPr/>
                </p:nvSpPr>
                <p:spPr bwMode="gray">
                  <a:xfrm>
                    <a:off x="5016531" y="325097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8" name="Graphic 16">
                  <a:extLst>
                    <a:ext uri="{FF2B5EF4-FFF2-40B4-BE49-F238E27FC236}">
                      <a16:creationId xmlns:a16="http://schemas.microsoft.com/office/drawing/2014/main" id="{DD054F35-6B4E-A212-F512-C31017C74CA6}"/>
                    </a:ext>
                  </a:extLst>
                </p:cNvPr>
                <p:cNvGrpSpPr/>
                <p:nvPr/>
              </p:nvGrpSpPr>
              <p:grpSpPr bwMode="gray">
                <a:xfrm>
                  <a:off x="5033962" y="3244976"/>
                  <a:ext cx="75723" cy="75723"/>
                  <a:chOff x="5033962" y="3244976"/>
                  <a:chExt cx="75723" cy="75723"/>
                </a:xfrm>
              </p:grpSpPr>
              <p:sp>
                <p:nvSpPr>
                  <p:cNvPr id="10200" name="Freeform: Shape 10199">
                    <a:extLst>
                      <a:ext uri="{FF2B5EF4-FFF2-40B4-BE49-F238E27FC236}">
                        <a16:creationId xmlns:a16="http://schemas.microsoft.com/office/drawing/2014/main" id="{4B68A8E8-16AC-574D-D387-A06EA582DBB0}"/>
                      </a:ext>
                    </a:extLst>
                  </p:cNvPr>
                  <p:cNvSpPr/>
                  <p:nvPr/>
                </p:nvSpPr>
                <p:spPr bwMode="gray">
                  <a:xfrm>
                    <a:off x="5071776" y="32449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01" name="Freeform: Shape 10200">
                    <a:extLst>
                      <a:ext uri="{FF2B5EF4-FFF2-40B4-BE49-F238E27FC236}">
                        <a16:creationId xmlns:a16="http://schemas.microsoft.com/office/drawing/2014/main" id="{4F398B72-0FE2-4FC8-6912-C9C18A48E231}"/>
                      </a:ext>
                    </a:extLst>
                  </p:cNvPr>
                  <p:cNvSpPr/>
                  <p:nvPr/>
                </p:nvSpPr>
                <p:spPr bwMode="gray">
                  <a:xfrm>
                    <a:off x="5033962" y="32828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999" name="Graphic 16">
                  <a:extLst>
                    <a:ext uri="{FF2B5EF4-FFF2-40B4-BE49-F238E27FC236}">
                      <a16:creationId xmlns:a16="http://schemas.microsoft.com/office/drawing/2014/main" id="{7DB9F85F-8CBD-2001-6F74-A166584CA85A}"/>
                    </a:ext>
                  </a:extLst>
                </p:cNvPr>
                <p:cNvGrpSpPr/>
                <p:nvPr/>
              </p:nvGrpSpPr>
              <p:grpSpPr bwMode="gray">
                <a:xfrm>
                  <a:off x="5048630" y="3253263"/>
                  <a:ext cx="75723" cy="75723"/>
                  <a:chOff x="5048630" y="3253263"/>
                  <a:chExt cx="75723" cy="75723"/>
                </a:xfrm>
              </p:grpSpPr>
              <p:sp>
                <p:nvSpPr>
                  <p:cNvPr id="10198" name="Freeform: Shape 10197">
                    <a:extLst>
                      <a:ext uri="{FF2B5EF4-FFF2-40B4-BE49-F238E27FC236}">
                        <a16:creationId xmlns:a16="http://schemas.microsoft.com/office/drawing/2014/main" id="{0988E1A8-62B6-7F45-DC2E-6429C6A14FD7}"/>
                      </a:ext>
                    </a:extLst>
                  </p:cNvPr>
                  <p:cNvSpPr/>
                  <p:nvPr/>
                </p:nvSpPr>
                <p:spPr bwMode="gray">
                  <a:xfrm>
                    <a:off x="5086444" y="325326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99" name="Freeform: Shape 10198">
                    <a:extLst>
                      <a:ext uri="{FF2B5EF4-FFF2-40B4-BE49-F238E27FC236}">
                        <a16:creationId xmlns:a16="http://schemas.microsoft.com/office/drawing/2014/main" id="{D5B46861-B7E6-7F66-C138-3BADCC20D319}"/>
                      </a:ext>
                    </a:extLst>
                  </p:cNvPr>
                  <p:cNvSpPr/>
                  <p:nvPr/>
                </p:nvSpPr>
                <p:spPr bwMode="gray">
                  <a:xfrm>
                    <a:off x="5048630" y="32910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0" name="Graphic 16">
                  <a:extLst>
                    <a:ext uri="{FF2B5EF4-FFF2-40B4-BE49-F238E27FC236}">
                      <a16:creationId xmlns:a16="http://schemas.microsoft.com/office/drawing/2014/main" id="{E3227599-7948-8DAD-DEAF-5A19B900A700}"/>
                    </a:ext>
                  </a:extLst>
                </p:cNvPr>
                <p:cNvGrpSpPr/>
                <p:nvPr/>
              </p:nvGrpSpPr>
              <p:grpSpPr bwMode="gray">
                <a:xfrm>
                  <a:off x="5059108" y="3267360"/>
                  <a:ext cx="75723" cy="75723"/>
                  <a:chOff x="5059108" y="3267360"/>
                  <a:chExt cx="75723" cy="75723"/>
                </a:xfrm>
              </p:grpSpPr>
              <p:sp>
                <p:nvSpPr>
                  <p:cNvPr id="10196" name="Freeform: Shape 10195">
                    <a:extLst>
                      <a:ext uri="{FF2B5EF4-FFF2-40B4-BE49-F238E27FC236}">
                        <a16:creationId xmlns:a16="http://schemas.microsoft.com/office/drawing/2014/main" id="{B0815837-72F0-AC30-F719-80FA39E2513C}"/>
                      </a:ext>
                    </a:extLst>
                  </p:cNvPr>
                  <p:cNvSpPr/>
                  <p:nvPr/>
                </p:nvSpPr>
                <p:spPr bwMode="gray">
                  <a:xfrm>
                    <a:off x="5097017" y="32673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97" name="Freeform: Shape 10196">
                    <a:extLst>
                      <a:ext uri="{FF2B5EF4-FFF2-40B4-BE49-F238E27FC236}">
                        <a16:creationId xmlns:a16="http://schemas.microsoft.com/office/drawing/2014/main" id="{8F1A84DA-ACAB-8839-E390-3FEDC9B4ECBF}"/>
                      </a:ext>
                    </a:extLst>
                  </p:cNvPr>
                  <p:cNvSpPr/>
                  <p:nvPr/>
                </p:nvSpPr>
                <p:spPr bwMode="gray">
                  <a:xfrm>
                    <a:off x="5059108" y="330517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1" name="Graphic 16">
                  <a:extLst>
                    <a:ext uri="{FF2B5EF4-FFF2-40B4-BE49-F238E27FC236}">
                      <a16:creationId xmlns:a16="http://schemas.microsoft.com/office/drawing/2014/main" id="{6798147D-37B4-9FB0-7A26-1AB8A7CA43E4}"/>
                    </a:ext>
                  </a:extLst>
                </p:cNvPr>
                <p:cNvGrpSpPr/>
                <p:nvPr/>
              </p:nvGrpSpPr>
              <p:grpSpPr bwMode="gray">
                <a:xfrm>
                  <a:off x="5074824" y="3276885"/>
                  <a:ext cx="75628" cy="75723"/>
                  <a:chOff x="5074824" y="3276885"/>
                  <a:chExt cx="75628" cy="75723"/>
                </a:xfrm>
              </p:grpSpPr>
              <p:sp>
                <p:nvSpPr>
                  <p:cNvPr id="10194" name="Freeform: Shape 10193">
                    <a:extLst>
                      <a:ext uri="{FF2B5EF4-FFF2-40B4-BE49-F238E27FC236}">
                        <a16:creationId xmlns:a16="http://schemas.microsoft.com/office/drawing/2014/main" id="{18B4FDAE-B607-98FC-C618-D9E17EFDDB9F}"/>
                      </a:ext>
                    </a:extLst>
                  </p:cNvPr>
                  <p:cNvSpPr/>
                  <p:nvPr/>
                </p:nvSpPr>
                <p:spPr bwMode="gray">
                  <a:xfrm>
                    <a:off x="5112638" y="32768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95" name="Freeform: Shape 10194">
                    <a:extLst>
                      <a:ext uri="{FF2B5EF4-FFF2-40B4-BE49-F238E27FC236}">
                        <a16:creationId xmlns:a16="http://schemas.microsoft.com/office/drawing/2014/main" id="{D0B81379-DDE6-01C2-DE67-0241C5E20749}"/>
                      </a:ext>
                    </a:extLst>
                  </p:cNvPr>
                  <p:cNvSpPr/>
                  <p:nvPr/>
                </p:nvSpPr>
                <p:spPr bwMode="gray">
                  <a:xfrm>
                    <a:off x="5074824" y="33146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2" name="Graphic 16">
                  <a:extLst>
                    <a:ext uri="{FF2B5EF4-FFF2-40B4-BE49-F238E27FC236}">
                      <a16:creationId xmlns:a16="http://schemas.microsoft.com/office/drawing/2014/main" id="{6361F75F-6A6E-13FD-2395-5A2EF7387103}"/>
                    </a:ext>
                  </a:extLst>
                </p:cNvPr>
                <p:cNvGrpSpPr/>
                <p:nvPr/>
              </p:nvGrpSpPr>
              <p:grpSpPr bwMode="gray">
                <a:xfrm>
                  <a:off x="5086444" y="3285267"/>
                  <a:ext cx="75723" cy="75628"/>
                  <a:chOff x="5086444" y="3285267"/>
                  <a:chExt cx="75723" cy="75628"/>
                </a:xfrm>
              </p:grpSpPr>
              <p:sp>
                <p:nvSpPr>
                  <p:cNvPr id="10192" name="Freeform: Shape 10191">
                    <a:extLst>
                      <a:ext uri="{FF2B5EF4-FFF2-40B4-BE49-F238E27FC236}">
                        <a16:creationId xmlns:a16="http://schemas.microsoft.com/office/drawing/2014/main" id="{9837E1A5-D3E4-F283-B58F-500304FEA8F5}"/>
                      </a:ext>
                    </a:extLst>
                  </p:cNvPr>
                  <p:cNvSpPr/>
                  <p:nvPr/>
                </p:nvSpPr>
                <p:spPr bwMode="gray">
                  <a:xfrm>
                    <a:off x="5124354" y="32852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93" name="Freeform: Shape 10192">
                    <a:extLst>
                      <a:ext uri="{FF2B5EF4-FFF2-40B4-BE49-F238E27FC236}">
                        <a16:creationId xmlns:a16="http://schemas.microsoft.com/office/drawing/2014/main" id="{555359D1-8F83-2E72-EA95-9407E4FF84E5}"/>
                      </a:ext>
                    </a:extLst>
                  </p:cNvPr>
                  <p:cNvSpPr/>
                  <p:nvPr/>
                </p:nvSpPr>
                <p:spPr bwMode="gray">
                  <a:xfrm>
                    <a:off x="5086444" y="33230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3" name="Graphic 16">
                  <a:extLst>
                    <a:ext uri="{FF2B5EF4-FFF2-40B4-BE49-F238E27FC236}">
                      <a16:creationId xmlns:a16="http://schemas.microsoft.com/office/drawing/2014/main" id="{B9CF68BE-3B01-5304-0C5C-6E8CD99133C0}"/>
                    </a:ext>
                  </a:extLst>
                </p:cNvPr>
                <p:cNvGrpSpPr/>
                <p:nvPr/>
              </p:nvGrpSpPr>
              <p:grpSpPr bwMode="gray">
                <a:xfrm>
                  <a:off x="5098160" y="3293458"/>
                  <a:ext cx="75723" cy="75628"/>
                  <a:chOff x="5098160" y="3293458"/>
                  <a:chExt cx="75723" cy="75628"/>
                </a:xfrm>
              </p:grpSpPr>
              <p:sp>
                <p:nvSpPr>
                  <p:cNvPr id="10190" name="Freeform: Shape 10189">
                    <a:extLst>
                      <a:ext uri="{FF2B5EF4-FFF2-40B4-BE49-F238E27FC236}">
                        <a16:creationId xmlns:a16="http://schemas.microsoft.com/office/drawing/2014/main" id="{F38DD5C8-70C2-7C9A-6B66-66CBC1F6A15A}"/>
                      </a:ext>
                    </a:extLst>
                  </p:cNvPr>
                  <p:cNvSpPr/>
                  <p:nvPr/>
                </p:nvSpPr>
                <p:spPr bwMode="gray">
                  <a:xfrm>
                    <a:off x="5135974" y="329345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91" name="Freeform: Shape 10190">
                    <a:extLst>
                      <a:ext uri="{FF2B5EF4-FFF2-40B4-BE49-F238E27FC236}">
                        <a16:creationId xmlns:a16="http://schemas.microsoft.com/office/drawing/2014/main" id="{16A516FC-F387-2CA0-BE32-A9F394980FE9}"/>
                      </a:ext>
                    </a:extLst>
                  </p:cNvPr>
                  <p:cNvSpPr/>
                  <p:nvPr/>
                </p:nvSpPr>
                <p:spPr bwMode="gray">
                  <a:xfrm>
                    <a:off x="5098160" y="3331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4" name="Graphic 16">
                  <a:extLst>
                    <a:ext uri="{FF2B5EF4-FFF2-40B4-BE49-F238E27FC236}">
                      <a16:creationId xmlns:a16="http://schemas.microsoft.com/office/drawing/2014/main" id="{9FE2B534-2C7A-BEC2-8B90-D7415A6FE086}"/>
                    </a:ext>
                  </a:extLst>
                </p:cNvPr>
                <p:cNvGrpSpPr/>
                <p:nvPr/>
              </p:nvGrpSpPr>
              <p:grpSpPr bwMode="gray">
                <a:xfrm>
                  <a:off x="5113019" y="3308698"/>
                  <a:ext cx="75723" cy="75723"/>
                  <a:chOff x="5113019" y="3308698"/>
                  <a:chExt cx="75723" cy="75723"/>
                </a:xfrm>
              </p:grpSpPr>
              <p:sp>
                <p:nvSpPr>
                  <p:cNvPr id="10188" name="Freeform: Shape 10187">
                    <a:extLst>
                      <a:ext uri="{FF2B5EF4-FFF2-40B4-BE49-F238E27FC236}">
                        <a16:creationId xmlns:a16="http://schemas.microsoft.com/office/drawing/2014/main" id="{16C9C05C-20A2-E68B-5570-5C0FDB48674D}"/>
                      </a:ext>
                    </a:extLst>
                  </p:cNvPr>
                  <p:cNvSpPr/>
                  <p:nvPr/>
                </p:nvSpPr>
                <p:spPr bwMode="gray">
                  <a:xfrm>
                    <a:off x="5150833" y="33086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89" name="Freeform: Shape 10188">
                    <a:extLst>
                      <a:ext uri="{FF2B5EF4-FFF2-40B4-BE49-F238E27FC236}">
                        <a16:creationId xmlns:a16="http://schemas.microsoft.com/office/drawing/2014/main" id="{9C1D3295-2D17-6CF0-005A-D4063E6AF986}"/>
                      </a:ext>
                    </a:extLst>
                  </p:cNvPr>
                  <p:cNvSpPr/>
                  <p:nvPr/>
                </p:nvSpPr>
                <p:spPr bwMode="gray">
                  <a:xfrm>
                    <a:off x="5113019" y="33466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5" name="Graphic 16">
                  <a:extLst>
                    <a:ext uri="{FF2B5EF4-FFF2-40B4-BE49-F238E27FC236}">
                      <a16:creationId xmlns:a16="http://schemas.microsoft.com/office/drawing/2014/main" id="{A490BCCD-64F5-1322-925B-FC83C39C030C}"/>
                    </a:ext>
                  </a:extLst>
                </p:cNvPr>
                <p:cNvGrpSpPr/>
                <p:nvPr/>
              </p:nvGrpSpPr>
              <p:grpSpPr bwMode="gray">
                <a:xfrm>
                  <a:off x="5130259" y="3317080"/>
                  <a:ext cx="75723" cy="75723"/>
                  <a:chOff x="5130259" y="3317080"/>
                  <a:chExt cx="75723" cy="75723"/>
                </a:xfrm>
              </p:grpSpPr>
              <p:sp>
                <p:nvSpPr>
                  <p:cNvPr id="10186" name="Freeform: Shape 10185">
                    <a:extLst>
                      <a:ext uri="{FF2B5EF4-FFF2-40B4-BE49-F238E27FC236}">
                        <a16:creationId xmlns:a16="http://schemas.microsoft.com/office/drawing/2014/main" id="{933F1B78-2984-9C99-8DAE-ACE592001A07}"/>
                      </a:ext>
                    </a:extLst>
                  </p:cNvPr>
                  <p:cNvSpPr/>
                  <p:nvPr/>
                </p:nvSpPr>
                <p:spPr bwMode="gray">
                  <a:xfrm>
                    <a:off x="5168169" y="331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87" name="Freeform: Shape 10186">
                    <a:extLst>
                      <a:ext uri="{FF2B5EF4-FFF2-40B4-BE49-F238E27FC236}">
                        <a16:creationId xmlns:a16="http://schemas.microsoft.com/office/drawing/2014/main" id="{49926A1C-5E00-88E8-E543-AFBD8FC01ECC}"/>
                      </a:ext>
                    </a:extLst>
                  </p:cNvPr>
                  <p:cNvSpPr/>
                  <p:nvPr/>
                </p:nvSpPr>
                <p:spPr bwMode="gray">
                  <a:xfrm>
                    <a:off x="5130259" y="33548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6" name="Graphic 16">
                  <a:extLst>
                    <a:ext uri="{FF2B5EF4-FFF2-40B4-BE49-F238E27FC236}">
                      <a16:creationId xmlns:a16="http://schemas.microsoft.com/office/drawing/2014/main" id="{8A27F11A-993C-731F-BEF4-0150BC6DD8CC}"/>
                    </a:ext>
                  </a:extLst>
                </p:cNvPr>
                <p:cNvGrpSpPr/>
                <p:nvPr/>
              </p:nvGrpSpPr>
              <p:grpSpPr bwMode="gray">
                <a:xfrm>
                  <a:off x="4686204" y="3111340"/>
                  <a:ext cx="75628" cy="75723"/>
                  <a:chOff x="4686204" y="3111340"/>
                  <a:chExt cx="75628" cy="75723"/>
                </a:xfrm>
              </p:grpSpPr>
              <p:sp>
                <p:nvSpPr>
                  <p:cNvPr id="10184" name="Freeform: Shape 10183">
                    <a:extLst>
                      <a:ext uri="{FF2B5EF4-FFF2-40B4-BE49-F238E27FC236}">
                        <a16:creationId xmlns:a16="http://schemas.microsoft.com/office/drawing/2014/main" id="{B38F3347-B6F7-8B85-6A97-1BDF02DD0C31}"/>
                      </a:ext>
                    </a:extLst>
                  </p:cNvPr>
                  <p:cNvSpPr/>
                  <p:nvPr/>
                </p:nvSpPr>
                <p:spPr bwMode="gray">
                  <a:xfrm>
                    <a:off x="472401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85" name="Freeform: Shape 10184">
                    <a:extLst>
                      <a:ext uri="{FF2B5EF4-FFF2-40B4-BE49-F238E27FC236}">
                        <a16:creationId xmlns:a16="http://schemas.microsoft.com/office/drawing/2014/main" id="{C9797E3B-6EED-6D88-5837-4BFC32370B30}"/>
                      </a:ext>
                    </a:extLst>
                  </p:cNvPr>
                  <p:cNvSpPr/>
                  <p:nvPr/>
                </p:nvSpPr>
                <p:spPr bwMode="gray">
                  <a:xfrm>
                    <a:off x="4686204"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7" name="Graphic 16">
                  <a:extLst>
                    <a:ext uri="{FF2B5EF4-FFF2-40B4-BE49-F238E27FC236}">
                      <a16:creationId xmlns:a16="http://schemas.microsoft.com/office/drawing/2014/main" id="{CA424184-C8E7-5463-174B-88A699418FBB}"/>
                    </a:ext>
                  </a:extLst>
                </p:cNvPr>
                <p:cNvGrpSpPr/>
                <p:nvPr/>
              </p:nvGrpSpPr>
              <p:grpSpPr bwMode="gray">
                <a:xfrm>
                  <a:off x="4703349" y="3111340"/>
                  <a:ext cx="75723" cy="75723"/>
                  <a:chOff x="4703349" y="3111340"/>
                  <a:chExt cx="75723" cy="75723"/>
                </a:xfrm>
              </p:grpSpPr>
              <p:sp>
                <p:nvSpPr>
                  <p:cNvPr id="10182" name="Freeform: Shape 10181">
                    <a:extLst>
                      <a:ext uri="{FF2B5EF4-FFF2-40B4-BE49-F238E27FC236}">
                        <a16:creationId xmlns:a16="http://schemas.microsoft.com/office/drawing/2014/main" id="{9B33B87F-96FE-5214-4921-6C41D742680D}"/>
                      </a:ext>
                    </a:extLst>
                  </p:cNvPr>
                  <p:cNvSpPr/>
                  <p:nvPr/>
                </p:nvSpPr>
                <p:spPr bwMode="gray">
                  <a:xfrm>
                    <a:off x="4741258"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83" name="Freeform: Shape 10182">
                    <a:extLst>
                      <a:ext uri="{FF2B5EF4-FFF2-40B4-BE49-F238E27FC236}">
                        <a16:creationId xmlns:a16="http://schemas.microsoft.com/office/drawing/2014/main" id="{7F0DA3ED-380E-C764-CC7A-4C8D27690A51}"/>
                      </a:ext>
                    </a:extLst>
                  </p:cNvPr>
                  <p:cNvSpPr/>
                  <p:nvPr/>
                </p:nvSpPr>
                <p:spPr bwMode="gray">
                  <a:xfrm>
                    <a:off x="4703349"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8" name="Graphic 16">
                  <a:extLst>
                    <a:ext uri="{FF2B5EF4-FFF2-40B4-BE49-F238E27FC236}">
                      <a16:creationId xmlns:a16="http://schemas.microsoft.com/office/drawing/2014/main" id="{400C51A9-22EF-1240-100A-EEDD5F553D32}"/>
                    </a:ext>
                  </a:extLst>
                </p:cNvPr>
                <p:cNvGrpSpPr/>
                <p:nvPr/>
              </p:nvGrpSpPr>
              <p:grpSpPr bwMode="gray">
                <a:xfrm>
                  <a:off x="4720589" y="3111340"/>
                  <a:ext cx="75628" cy="75723"/>
                  <a:chOff x="4720589" y="3111340"/>
                  <a:chExt cx="75628" cy="75723"/>
                </a:xfrm>
              </p:grpSpPr>
              <p:sp>
                <p:nvSpPr>
                  <p:cNvPr id="10180" name="Freeform: Shape 10179">
                    <a:extLst>
                      <a:ext uri="{FF2B5EF4-FFF2-40B4-BE49-F238E27FC236}">
                        <a16:creationId xmlns:a16="http://schemas.microsoft.com/office/drawing/2014/main" id="{DA00E348-583C-1959-DCB9-A4B0510B6691}"/>
                      </a:ext>
                    </a:extLst>
                  </p:cNvPr>
                  <p:cNvSpPr/>
                  <p:nvPr/>
                </p:nvSpPr>
                <p:spPr bwMode="gray">
                  <a:xfrm>
                    <a:off x="4758403"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81" name="Freeform: Shape 10180">
                    <a:extLst>
                      <a:ext uri="{FF2B5EF4-FFF2-40B4-BE49-F238E27FC236}">
                        <a16:creationId xmlns:a16="http://schemas.microsoft.com/office/drawing/2014/main" id="{A635641D-3152-DB2C-5D5C-2EE311E313DB}"/>
                      </a:ext>
                    </a:extLst>
                  </p:cNvPr>
                  <p:cNvSpPr/>
                  <p:nvPr/>
                </p:nvSpPr>
                <p:spPr bwMode="gray">
                  <a:xfrm>
                    <a:off x="4720589" y="3149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09" name="Graphic 16">
                  <a:extLst>
                    <a:ext uri="{FF2B5EF4-FFF2-40B4-BE49-F238E27FC236}">
                      <a16:creationId xmlns:a16="http://schemas.microsoft.com/office/drawing/2014/main" id="{2713EC40-08A7-8BC1-9D89-FA767796D4ED}"/>
                    </a:ext>
                  </a:extLst>
                </p:cNvPr>
                <p:cNvGrpSpPr/>
                <p:nvPr/>
              </p:nvGrpSpPr>
              <p:grpSpPr bwMode="gray">
                <a:xfrm>
                  <a:off x="4737734" y="3111340"/>
                  <a:ext cx="75723" cy="75723"/>
                  <a:chOff x="4737734" y="3111340"/>
                  <a:chExt cx="75723" cy="75723"/>
                </a:xfrm>
              </p:grpSpPr>
              <p:sp>
                <p:nvSpPr>
                  <p:cNvPr id="10178" name="Freeform: Shape 10177">
                    <a:extLst>
                      <a:ext uri="{FF2B5EF4-FFF2-40B4-BE49-F238E27FC236}">
                        <a16:creationId xmlns:a16="http://schemas.microsoft.com/office/drawing/2014/main" id="{2C907D70-D273-FF42-A167-FCC9F349CA6E}"/>
                      </a:ext>
                    </a:extLst>
                  </p:cNvPr>
                  <p:cNvSpPr/>
                  <p:nvPr/>
                </p:nvSpPr>
                <p:spPr bwMode="gray">
                  <a:xfrm>
                    <a:off x="4775644" y="3111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79" name="Freeform: Shape 10178">
                    <a:extLst>
                      <a:ext uri="{FF2B5EF4-FFF2-40B4-BE49-F238E27FC236}">
                        <a16:creationId xmlns:a16="http://schemas.microsoft.com/office/drawing/2014/main" id="{2EC31819-23EA-4F22-0BFA-29EB52389E11}"/>
                      </a:ext>
                    </a:extLst>
                  </p:cNvPr>
                  <p:cNvSpPr/>
                  <p:nvPr/>
                </p:nvSpPr>
                <p:spPr bwMode="gray">
                  <a:xfrm>
                    <a:off x="4737734" y="3149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0" name="Graphic 16">
                  <a:extLst>
                    <a:ext uri="{FF2B5EF4-FFF2-40B4-BE49-F238E27FC236}">
                      <a16:creationId xmlns:a16="http://schemas.microsoft.com/office/drawing/2014/main" id="{BD6265F5-F146-A1C2-F0B9-E99E36FC934A}"/>
                    </a:ext>
                  </a:extLst>
                </p:cNvPr>
                <p:cNvGrpSpPr/>
                <p:nvPr/>
              </p:nvGrpSpPr>
              <p:grpSpPr bwMode="gray">
                <a:xfrm>
                  <a:off x="5450014" y="3435952"/>
                  <a:ext cx="75723" cy="75723"/>
                  <a:chOff x="5450014" y="3435952"/>
                  <a:chExt cx="75723" cy="75723"/>
                </a:xfrm>
              </p:grpSpPr>
              <p:sp>
                <p:nvSpPr>
                  <p:cNvPr id="10176" name="Freeform: Shape 10175">
                    <a:extLst>
                      <a:ext uri="{FF2B5EF4-FFF2-40B4-BE49-F238E27FC236}">
                        <a16:creationId xmlns:a16="http://schemas.microsoft.com/office/drawing/2014/main" id="{1AF6BBFB-FD0C-A074-0209-F4ABC6DBF095}"/>
                      </a:ext>
                    </a:extLst>
                  </p:cNvPr>
                  <p:cNvSpPr/>
                  <p:nvPr/>
                </p:nvSpPr>
                <p:spPr bwMode="gray">
                  <a:xfrm>
                    <a:off x="5487923" y="34359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77" name="Freeform: Shape 10176">
                    <a:extLst>
                      <a:ext uri="{FF2B5EF4-FFF2-40B4-BE49-F238E27FC236}">
                        <a16:creationId xmlns:a16="http://schemas.microsoft.com/office/drawing/2014/main" id="{F22AE731-6D50-4A66-7957-2417BA994A94}"/>
                      </a:ext>
                    </a:extLst>
                  </p:cNvPr>
                  <p:cNvSpPr/>
                  <p:nvPr/>
                </p:nvSpPr>
                <p:spPr bwMode="gray">
                  <a:xfrm>
                    <a:off x="5450014" y="34738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1" name="Graphic 16">
                  <a:extLst>
                    <a:ext uri="{FF2B5EF4-FFF2-40B4-BE49-F238E27FC236}">
                      <a16:creationId xmlns:a16="http://schemas.microsoft.com/office/drawing/2014/main" id="{8B0432CC-DD4B-1C67-961D-C0B587E7E50B}"/>
                    </a:ext>
                  </a:extLst>
                </p:cNvPr>
                <p:cNvGrpSpPr/>
                <p:nvPr/>
              </p:nvGrpSpPr>
              <p:grpSpPr bwMode="gray">
                <a:xfrm>
                  <a:off x="5484304" y="3440048"/>
                  <a:ext cx="75628" cy="75723"/>
                  <a:chOff x="5484304" y="3440048"/>
                  <a:chExt cx="75628" cy="75723"/>
                </a:xfrm>
              </p:grpSpPr>
              <p:sp>
                <p:nvSpPr>
                  <p:cNvPr id="10174" name="Freeform: Shape 10173">
                    <a:extLst>
                      <a:ext uri="{FF2B5EF4-FFF2-40B4-BE49-F238E27FC236}">
                        <a16:creationId xmlns:a16="http://schemas.microsoft.com/office/drawing/2014/main" id="{9F21ECA1-6CEA-1458-B3C9-879247DC8933}"/>
                      </a:ext>
                    </a:extLst>
                  </p:cNvPr>
                  <p:cNvSpPr/>
                  <p:nvPr/>
                </p:nvSpPr>
                <p:spPr bwMode="gray">
                  <a:xfrm>
                    <a:off x="5522118" y="34400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75" name="Freeform: Shape 10174">
                    <a:extLst>
                      <a:ext uri="{FF2B5EF4-FFF2-40B4-BE49-F238E27FC236}">
                        <a16:creationId xmlns:a16="http://schemas.microsoft.com/office/drawing/2014/main" id="{2271782E-24CD-B04C-9AE2-CA13FB481684}"/>
                      </a:ext>
                    </a:extLst>
                  </p:cNvPr>
                  <p:cNvSpPr/>
                  <p:nvPr/>
                </p:nvSpPr>
                <p:spPr bwMode="gray">
                  <a:xfrm>
                    <a:off x="5484304" y="347786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2" name="Graphic 16">
                  <a:extLst>
                    <a:ext uri="{FF2B5EF4-FFF2-40B4-BE49-F238E27FC236}">
                      <a16:creationId xmlns:a16="http://schemas.microsoft.com/office/drawing/2014/main" id="{B0CC828F-7C6F-C321-640C-7E2D5C812AB7}"/>
                    </a:ext>
                  </a:extLst>
                </p:cNvPr>
                <p:cNvGrpSpPr/>
                <p:nvPr/>
              </p:nvGrpSpPr>
              <p:grpSpPr bwMode="gray">
                <a:xfrm>
                  <a:off x="5498877" y="3453002"/>
                  <a:ext cx="75723" cy="75723"/>
                  <a:chOff x="5498877" y="3453002"/>
                  <a:chExt cx="75723" cy="75723"/>
                </a:xfrm>
              </p:grpSpPr>
              <p:sp>
                <p:nvSpPr>
                  <p:cNvPr id="10172" name="Freeform: Shape 10171">
                    <a:extLst>
                      <a:ext uri="{FF2B5EF4-FFF2-40B4-BE49-F238E27FC236}">
                        <a16:creationId xmlns:a16="http://schemas.microsoft.com/office/drawing/2014/main" id="{E506F69C-46B1-7216-73BC-B1A8B3AD2960}"/>
                      </a:ext>
                    </a:extLst>
                  </p:cNvPr>
                  <p:cNvSpPr/>
                  <p:nvPr/>
                </p:nvSpPr>
                <p:spPr bwMode="gray">
                  <a:xfrm>
                    <a:off x="5536786"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73" name="Freeform: Shape 10172">
                    <a:extLst>
                      <a:ext uri="{FF2B5EF4-FFF2-40B4-BE49-F238E27FC236}">
                        <a16:creationId xmlns:a16="http://schemas.microsoft.com/office/drawing/2014/main" id="{CF73B93A-6889-6697-53F4-AF1D7E4B855C}"/>
                      </a:ext>
                    </a:extLst>
                  </p:cNvPr>
                  <p:cNvSpPr/>
                  <p:nvPr/>
                </p:nvSpPr>
                <p:spPr bwMode="gray">
                  <a:xfrm>
                    <a:off x="549887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3" name="Graphic 16">
                  <a:extLst>
                    <a:ext uri="{FF2B5EF4-FFF2-40B4-BE49-F238E27FC236}">
                      <a16:creationId xmlns:a16="http://schemas.microsoft.com/office/drawing/2014/main" id="{605AB1E2-3A50-D630-D06D-63377790F974}"/>
                    </a:ext>
                  </a:extLst>
                </p:cNvPr>
                <p:cNvGrpSpPr/>
                <p:nvPr/>
              </p:nvGrpSpPr>
              <p:grpSpPr bwMode="gray">
                <a:xfrm>
                  <a:off x="5518022" y="3453002"/>
                  <a:ext cx="75723" cy="75723"/>
                  <a:chOff x="5518022" y="3453002"/>
                  <a:chExt cx="75723" cy="75723"/>
                </a:xfrm>
              </p:grpSpPr>
              <p:sp>
                <p:nvSpPr>
                  <p:cNvPr id="10170" name="Freeform: Shape 10169">
                    <a:extLst>
                      <a:ext uri="{FF2B5EF4-FFF2-40B4-BE49-F238E27FC236}">
                        <a16:creationId xmlns:a16="http://schemas.microsoft.com/office/drawing/2014/main" id="{9F4B5E17-03DF-CFB5-44D4-099491D00E48}"/>
                      </a:ext>
                    </a:extLst>
                  </p:cNvPr>
                  <p:cNvSpPr/>
                  <p:nvPr/>
                </p:nvSpPr>
                <p:spPr bwMode="gray">
                  <a:xfrm>
                    <a:off x="5555932"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71" name="Freeform: Shape 10170">
                    <a:extLst>
                      <a:ext uri="{FF2B5EF4-FFF2-40B4-BE49-F238E27FC236}">
                        <a16:creationId xmlns:a16="http://schemas.microsoft.com/office/drawing/2014/main" id="{20B7EF5D-DD66-6C2D-CC5A-DE0A396CC5C2}"/>
                      </a:ext>
                    </a:extLst>
                  </p:cNvPr>
                  <p:cNvSpPr/>
                  <p:nvPr/>
                </p:nvSpPr>
                <p:spPr bwMode="gray">
                  <a:xfrm>
                    <a:off x="5518022"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4" name="Graphic 16">
                  <a:extLst>
                    <a:ext uri="{FF2B5EF4-FFF2-40B4-BE49-F238E27FC236}">
                      <a16:creationId xmlns:a16="http://schemas.microsoft.com/office/drawing/2014/main" id="{C01B5A58-922C-B8AA-B888-FFA027CC9B20}"/>
                    </a:ext>
                  </a:extLst>
                </p:cNvPr>
                <p:cNvGrpSpPr/>
                <p:nvPr/>
              </p:nvGrpSpPr>
              <p:grpSpPr bwMode="gray">
                <a:xfrm>
                  <a:off x="5534405" y="3453002"/>
                  <a:ext cx="75723" cy="75723"/>
                  <a:chOff x="5534405" y="3453002"/>
                  <a:chExt cx="75723" cy="75723"/>
                </a:xfrm>
              </p:grpSpPr>
              <p:sp>
                <p:nvSpPr>
                  <p:cNvPr id="10168" name="Freeform: Shape 10167">
                    <a:extLst>
                      <a:ext uri="{FF2B5EF4-FFF2-40B4-BE49-F238E27FC236}">
                        <a16:creationId xmlns:a16="http://schemas.microsoft.com/office/drawing/2014/main" id="{6AFFC957-4364-1E88-59B1-2D04F2D4614C}"/>
                      </a:ext>
                    </a:extLst>
                  </p:cNvPr>
                  <p:cNvSpPr/>
                  <p:nvPr/>
                </p:nvSpPr>
                <p:spPr bwMode="gray">
                  <a:xfrm>
                    <a:off x="5572315"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69" name="Freeform: Shape 10168">
                    <a:extLst>
                      <a:ext uri="{FF2B5EF4-FFF2-40B4-BE49-F238E27FC236}">
                        <a16:creationId xmlns:a16="http://schemas.microsoft.com/office/drawing/2014/main" id="{9066332C-F199-E5BF-8A3E-ED24AB5C1546}"/>
                      </a:ext>
                    </a:extLst>
                  </p:cNvPr>
                  <p:cNvSpPr/>
                  <p:nvPr/>
                </p:nvSpPr>
                <p:spPr bwMode="gray">
                  <a:xfrm>
                    <a:off x="5534405"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5" name="Graphic 16">
                  <a:extLst>
                    <a:ext uri="{FF2B5EF4-FFF2-40B4-BE49-F238E27FC236}">
                      <a16:creationId xmlns:a16="http://schemas.microsoft.com/office/drawing/2014/main" id="{A43BF487-645D-16D0-4258-03A41F5988EA}"/>
                    </a:ext>
                  </a:extLst>
                </p:cNvPr>
                <p:cNvGrpSpPr/>
                <p:nvPr/>
              </p:nvGrpSpPr>
              <p:grpSpPr bwMode="gray">
                <a:xfrm>
                  <a:off x="5526214" y="3453002"/>
                  <a:ext cx="75723" cy="75723"/>
                  <a:chOff x="5526214" y="3453002"/>
                  <a:chExt cx="75723" cy="75723"/>
                </a:xfrm>
              </p:grpSpPr>
              <p:sp>
                <p:nvSpPr>
                  <p:cNvPr id="10166" name="Freeform: Shape 10165">
                    <a:extLst>
                      <a:ext uri="{FF2B5EF4-FFF2-40B4-BE49-F238E27FC236}">
                        <a16:creationId xmlns:a16="http://schemas.microsoft.com/office/drawing/2014/main" id="{E0864563-BC7E-4258-7D42-F0EA20D94984}"/>
                      </a:ext>
                    </a:extLst>
                  </p:cNvPr>
                  <p:cNvSpPr/>
                  <p:nvPr/>
                </p:nvSpPr>
                <p:spPr bwMode="gray">
                  <a:xfrm>
                    <a:off x="5564123"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67" name="Freeform: Shape 10166">
                    <a:extLst>
                      <a:ext uri="{FF2B5EF4-FFF2-40B4-BE49-F238E27FC236}">
                        <a16:creationId xmlns:a16="http://schemas.microsoft.com/office/drawing/2014/main" id="{21C5E3D6-0213-384F-404E-43AC79A7EA6E}"/>
                      </a:ext>
                    </a:extLst>
                  </p:cNvPr>
                  <p:cNvSpPr/>
                  <p:nvPr/>
                </p:nvSpPr>
                <p:spPr bwMode="gray">
                  <a:xfrm>
                    <a:off x="5526214"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6" name="Graphic 16">
                  <a:extLst>
                    <a:ext uri="{FF2B5EF4-FFF2-40B4-BE49-F238E27FC236}">
                      <a16:creationId xmlns:a16="http://schemas.microsoft.com/office/drawing/2014/main" id="{8A8C0FAF-1259-78D9-17AF-EB392D8F4F13}"/>
                    </a:ext>
                  </a:extLst>
                </p:cNvPr>
                <p:cNvGrpSpPr/>
                <p:nvPr/>
              </p:nvGrpSpPr>
              <p:grpSpPr bwMode="gray">
                <a:xfrm>
                  <a:off x="5542597" y="3453002"/>
                  <a:ext cx="75723" cy="75723"/>
                  <a:chOff x="5542597" y="3453002"/>
                  <a:chExt cx="75723" cy="75723"/>
                </a:xfrm>
              </p:grpSpPr>
              <p:sp>
                <p:nvSpPr>
                  <p:cNvPr id="10164" name="Freeform: Shape 10163">
                    <a:extLst>
                      <a:ext uri="{FF2B5EF4-FFF2-40B4-BE49-F238E27FC236}">
                        <a16:creationId xmlns:a16="http://schemas.microsoft.com/office/drawing/2014/main" id="{A0F42C6D-A014-D8C8-FDCE-8573C82046D0}"/>
                      </a:ext>
                    </a:extLst>
                  </p:cNvPr>
                  <p:cNvSpPr/>
                  <p:nvPr/>
                </p:nvSpPr>
                <p:spPr bwMode="gray">
                  <a:xfrm>
                    <a:off x="5580411" y="3453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65" name="Freeform: Shape 10164">
                    <a:extLst>
                      <a:ext uri="{FF2B5EF4-FFF2-40B4-BE49-F238E27FC236}">
                        <a16:creationId xmlns:a16="http://schemas.microsoft.com/office/drawing/2014/main" id="{908C43A6-9BDF-5AEB-C093-0D61850E0BBA}"/>
                      </a:ext>
                    </a:extLst>
                  </p:cNvPr>
                  <p:cNvSpPr/>
                  <p:nvPr/>
                </p:nvSpPr>
                <p:spPr bwMode="gray">
                  <a:xfrm>
                    <a:off x="5542597" y="34908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7" name="Graphic 16">
                  <a:extLst>
                    <a:ext uri="{FF2B5EF4-FFF2-40B4-BE49-F238E27FC236}">
                      <a16:creationId xmlns:a16="http://schemas.microsoft.com/office/drawing/2014/main" id="{794ED50C-872E-1741-0342-2FEC75956A3F}"/>
                    </a:ext>
                  </a:extLst>
                </p:cNvPr>
                <p:cNvGrpSpPr/>
                <p:nvPr/>
              </p:nvGrpSpPr>
              <p:grpSpPr bwMode="gray">
                <a:xfrm>
                  <a:off x="5555932" y="3473862"/>
                  <a:ext cx="75628" cy="75628"/>
                  <a:chOff x="5555932" y="3473862"/>
                  <a:chExt cx="75628" cy="75628"/>
                </a:xfrm>
              </p:grpSpPr>
              <p:sp>
                <p:nvSpPr>
                  <p:cNvPr id="10162" name="Freeform: Shape 10161">
                    <a:extLst>
                      <a:ext uri="{FF2B5EF4-FFF2-40B4-BE49-F238E27FC236}">
                        <a16:creationId xmlns:a16="http://schemas.microsoft.com/office/drawing/2014/main" id="{735E27AD-33BC-BF35-4765-F2E8460C5422}"/>
                      </a:ext>
                    </a:extLst>
                  </p:cNvPr>
                  <p:cNvSpPr/>
                  <p:nvPr/>
                </p:nvSpPr>
                <p:spPr bwMode="gray">
                  <a:xfrm>
                    <a:off x="5593746"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63" name="Freeform: Shape 10162">
                    <a:extLst>
                      <a:ext uri="{FF2B5EF4-FFF2-40B4-BE49-F238E27FC236}">
                        <a16:creationId xmlns:a16="http://schemas.microsoft.com/office/drawing/2014/main" id="{0A6CC6B8-786A-E848-D913-F8D327E852F8}"/>
                      </a:ext>
                    </a:extLst>
                  </p:cNvPr>
                  <p:cNvSpPr/>
                  <p:nvPr/>
                </p:nvSpPr>
                <p:spPr bwMode="gray">
                  <a:xfrm>
                    <a:off x="5555932" y="351167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8" name="Graphic 16">
                  <a:extLst>
                    <a:ext uri="{FF2B5EF4-FFF2-40B4-BE49-F238E27FC236}">
                      <a16:creationId xmlns:a16="http://schemas.microsoft.com/office/drawing/2014/main" id="{66BD5FDA-BA04-F504-8C6D-0FA7F2038A08}"/>
                    </a:ext>
                  </a:extLst>
                </p:cNvPr>
                <p:cNvGrpSpPr/>
                <p:nvPr/>
              </p:nvGrpSpPr>
              <p:grpSpPr bwMode="gray">
                <a:xfrm>
                  <a:off x="5568028" y="3473862"/>
                  <a:ext cx="75628" cy="75628"/>
                  <a:chOff x="5568028" y="3473862"/>
                  <a:chExt cx="75628" cy="75628"/>
                </a:xfrm>
              </p:grpSpPr>
              <p:sp>
                <p:nvSpPr>
                  <p:cNvPr id="10160" name="Freeform: Shape 10159">
                    <a:extLst>
                      <a:ext uri="{FF2B5EF4-FFF2-40B4-BE49-F238E27FC236}">
                        <a16:creationId xmlns:a16="http://schemas.microsoft.com/office/drawing/2014/main" id="{D6ECDD9E-5F26-045A-46B6-59BEBDBB26A6}"/>
                      </a:ext>
                    </a:extLst>
                  </p:cNvPr>
                  <p:cNvSpPr/>
                  <p:nvPr/>
                </p:nvSpPr>
                <p:spPr bwMode="gray">
                  <a:xfrm>
                    <a:off x="5605843"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61" name="Freeform: Shape 10160">
                    <a:extLst>
                      <a:ext uri="{FF2B5EF4-FFF2-40B4-BE49-F238E27FC236}">
                        <a16:creationId xmlns:a16="http://schemas.microsoft.com/office/drawing/2014/main" id="{AEB92DAA-CF03-78D3-CCBC-165DD3B255FD}"/>
                      </a:ext>
                    </a:extLst>
                  </p:cNvPr>
                  <p:cNvSpPr/>
                  <p:nvPr/>
                </p:nvSpPr>
                <p:spPr bwMode="gray">
                  <a:xfrm>
                    <a:off x="5568028"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19" name="Graphic 16">
                  <a:extLst>
                    <a:ext uri="{FF2B5EF4-FFF2-40B4-BE49-F238E27FC236}">
                      <a16:creationId xmlns:a16="http://schemas.microsoft.com/office/drawing/2014/main" id="{6B4EF673-CE80-0FEF-3EC9-7BDA33DB3058}"/>
                    </a:ext>
                  </a:extLst>
                </p:cNvPr>
                <p:cNvGrpSpPr/>
                <p:nvPr/>
              </p:nvGrpSpPr>
              <p:grpSpPr bwMode="gray">
                <a:xfrm>
                  <a:off x="5580125" y="3473862"/>
                  <a:ext cx="75628" cy="75628"/>
                  <a:chOff x="5580125" y="3473862"/>
                  <a:chExt cx="75628" cy="75628"/>
                </a:xfrm>
              </p:grpSpPr>
              <p:sp>
                <p:nvSpPr>
                  <p:cNvPr id="10158" name="Freeform: Shape 10157">
                    <a:extLst>
                      <a:ext uri="{FF2B5EF4-FFF2-40B4-BE49-F238E27FC236}">
                        <a16:creationId xmlns:a16="http://schemas.microsoft.com/office/drawing/2014/main" id="{AFF81A64-C040-3488-D575-E2EC136A1568}"/>
                      </a:ext>
                    </a:extLst>
                  </p:cNvPr>
                  <p:cNvSpPr/>
                  <p:nvPr/>
                </p:nvSpPr>
                <p:spPr bwMode="gray">
                  <a:xfrm>
                    <a:off x="5617939" y="347386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59" name="Freeform: Shape 10158">
                    <a:extLst>
                      <a:ext uri="{FF2B5EF4-FFF2-40B4-BE49-F238E27FC236}">
                        <a16:creationId xmlns:a16="http://schemas.microsoft.com/office/drawing/2014/main" id="{B2494C66-CC89-E3EC-F7FA-7E9BADED050C}"/>
                      </a:ext>
                    </a:extLst>
                  </p:cNvPr>
                  <p:cNvSpPr/>
                  <p:nvPr/>
                </p:nvSpPr>
                <p:spPr bwMode="gray">
                  <a:xfrm>
                    <a:off x="5580125" y="351167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0" name="Graphic 16">
                  <a:extLst>
                    <a:ext uri="{FF2B5EF4-FFF2-40B4-BE49-F238E27FC236}">
                      <a16:creationId xmlns:a16="http://schemas.microsoft.com/office/drawing/2014/main" id="{084DFEB5-4337-168D-87C4-F8677C89D239}"/>
                    </a:ext>
                  </a:extLst>
                </p:cNvPr>
                <p:cNvGrpSpPr/>
                <p:nvPr/>
              </p:nvGrpSpPr>
              <p:grpSpPr bwMode="gray">
                <a:xfrm>
                  <a:off x="5423058" y="3424903"/>
                  <a:ext cx="75628" cy="75723"/>
                  <a:chOff x="5423058" y="3424903"/>
                  <a:chExt cx="75628" cy="75723"/>
                </a:xfrm>
              </p:grpSpPr>
              <p:sp>
                <p:nvSpPr>
                  <p:cNvPr id="10156" name="Freeform: Shape 10155">
                    <a:extLst>
                      <a:ext uri="{FF2B5EF4-FFF2-40B4-BE49-F238E27FC236}">
                        <a16:creationId xmlns:a16="http://schemas.microsoft.com/office/drawing/2014/main" id="{5A1567C7-3B41-7F58-78E9-A6191F4A250F}"/>
                      </a:ext>
                    </a:extLst>
                  </p:cNvPr>
                  <p:cNvSpPr/>
                  <p:nvPr/>
                </p:nvSpPr>
                <p:spPr bwMode="gray">
                  <a:xfrm>
                    <a:off x="5460872" y="34249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57" name="Freeform: Shape 10156">
                    <a:extLst>
                      <a:ext uri="{FF2B5EF4-FFF2-40B4-BE49-F238E27FC236}">
                        <a16:creationId xmlns:a16="http://schemas.microsoft.com/office/drawing/2014/main" id="{52640851-37F4-65BC-99D3-1A9A8BA5593F}"/>
                      </a:ext>
                    </a:extLst>
                  </p:cNvPr>
                  <p:cNvSpPr/>
                  <p:nvPr/>
                </p:nvSpPr>
                <p:spPr bwMode="gray">
                  <a:xfrm>
                    <a:off x="5423058" y="34628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1" name="Graphic 16">
                  <a:extLst>
                    <a:ext uri="{FF2B5EF4-FFF2-40B4-BE49-F238E27FC236}">
                      <a16:creationId xmlns:a16="http://schemas.microsoft.com/office/drawing/2014/main" id="{24BA0E44-55D9-38CF-4E0E-0283CDD56693}"/>
                    </a:ext>
                  </a:extLst>
                </p:cNvPr>
                <p:cNvGrpSpPr/>
                <p:nvPr/>
              </p:nvGrpSpPr>
              <p:grpSpPr bwMode="gray">
                <a:xfrm>
                  <a:off x="5809011" y="3527964"/>
                  <a:ext cx="75628" cy="75723"/>
                  <a:chOff x="5809011" y="3527964"/>
                  <a:chExt cx="75628" cy="75723"/>
                </a:xfrm>
              </p:grpSpPr>
              <p:sp>
                <p:nvSpPr>
                  <p:cNvPr id="10154" name="Freeform: Shape 10153">
                    <a:extLst>
                      <a:ext uri="{FF2B5EF4-FFF2-40B4-BE49-F238E27FC236}">
                        <a16:creationId xmlns:a16="http://schemas.microsoft.com/office/drawing/2014/main" id="{0E1E0E3E-66D4-E97D-961D-3162CB6F70CA}"/>
                      </a:ext>
                    </a:extLst>
                  </p:cNvPr>
                  <p:cNvSpPr/>
                  <p:nvPr/>
                </p:nvSpPr>
                <p:spPr bwMode="gray">
                  <a:xfrm>
                    <a:off x="584682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55" name="Freeform: Shape 10154">
                    <a:extLst>
                      <a:ext uri="{FF2B5EF4-FFF2-40B4-BE49-F238E27FC236}">
                        <a16:creationId xmlns:a16="http://schemas.microsoft.com/office/drawing/2014/main" id="{F51C80B3-9D6B-EEDA-EE50-F56BC5A6F865}"/>
                      </a:ext>
                    </a:extLst>
                  </p:cNvPr>
                  <p:cNvSpPr/>
                  <p:nvPr/>
                </p:nvSpPr>
                <p:spPr bwMode="gray">
                  <a:xfrm>
                    <a:off x="5809011" y="356587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2" name="Graphic 16">
                  <a:extLst>
                    <a:ext uri="{FF2B5EF4-FFF2-40B4-BE49-F238E27FC236}">
                      <a16:creationId xmlns:a16="http://schemas.microsoft.com/office/drawing/2014/main" id="{EDBAA9ED-B79A-2AB8-A6FB-08FDB0CB37B1}"/>
                    </a:ext>
                  </a:extLst>
                </p:cNvPr>
                <p:cNvGrpSpPr/>
                <p:nvPr/>
              </p:nvGrpSpPr>
              <p:grpSpPr bwMode="gray">
                <a:xfrm>
                  <a:off x="5740240" y="3527964"/>
                  <a:ext cx="75723" cy="75723"/>
                  <a:chOff x="5740240" y="3527964"/>
                  <a:chExt cx="75723" cy="75723"/>
                </a:xfrm>
              </p:grpSpPr>
              <p:sp>
                <p:nvSpPr>
                  <p:cNvPr id="10152" name="Freeform: Shape 10151">
                    <a:extLst>
                      <a:ext uri="{FF2B5EF4-FFF2-40B4-BE49-F238E27FC236}">
                        <a16:creationId xmlns:a16="http://schemas.microsoft.com/office/drawing/2014/main" id="{E37D245F-9C9E-15B6-FC0E-4E22BBE20F96}"/>
                      </a:ext>
                    </a:extLst>
                  </p:cNvPr>
                  <p:cNvSpPr/>
                  <p:nvPr/>
                </p:nvSpPr>
                <p:spPr bwMode="gray">
                  <a:xfrm>
                    <a:off x="577805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53" name="Freeform: Shape 10152">
                    <a:extLst>
                      <a:ext uri="{FF2B5EF4-FFF2-40B4-BE49-F238E27FC236}">
                        <a16:creationId xmlns:a16="http://schemas.microsoft.com/office/drawing/2014/main" id="{405EB5D8-89CC-E53F-6041-522EAF4E5EC0}"/>
                      </a:ext>
                    </a:extLst>
                  </p:cNvPr>
                  <p:cNvSpPr/>
                  <p:nvPr/>
                </p:nvSpPr>
                <p:spPr bwMode="gray">
                  <a:xfrm>
                    <a:off x="5740240"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3" name="Graphic 16">
                  <a:extLst>
                    <a:ext uri="{FF2B5EF4-FFF2-40B4-BE49-F238E27FC236}">
                      <a16:creationId xmlns:a16="http://schemas.microsoft.com/office/drawing/2014/main" id="{4EE8477C-9DE7-5F35-87DB-9FC52DBC35C4}"/>
                    </a:ext>
                  </a:extLst>
                </p:cNvPr>
                <p:cNvGrpSpPr/>
                <p:nvPr/>
              </p:nvGrpSpPr>
              <p:grpSpPr bwMode="gray">
                <a:xfrm>
                  <a:off x="5757385" y="3527964"/>
                  <a:ext cx="75723" cy="75723"/>
                  <a:chOff x="5757385" y="3527964"/>
                  <a:chExt cx="75723" cy="75723"/>
                </a:xfrm>
              </p:grpSpPr>
              <p:sp>
                <p:nvSpPr>
                  <p:cNvPr id="10150" name="Freeform: Shape 10149">
                    <a:extLst>
                      <a:ext uri="{FF2B5EF4-FFF2-40B4-BE49-F238E27FC236}">
                        <a16:creationId xmlns:a16="http://schemas.microsoft.com/office/drawing/2014/main" id="{CAAD71E5-E74B-5D3D-EA35-7E28A09F6E57}"/>
                      </a:ext>
                    </a:extLst>
                  </p:cNvPr>
                  <p:cNvSpPr/>
                  <p:nvPr/>
                </p:nvSpPr>
                <p:spPr bwMode="gray">
                  <a:xfrm>
                    <a:off x="5795295"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51" name="Freeform: Shape 10150">
                    <a:extLst>
                      <a:ext uri="{FF2B5EF4-FFF2-40B4-BE49-F238E27FC236}">
                        <a16:creationId xmlns:a16="http://schemas.microsoft.com/office/drawing/2014/main" id="{5A3F4214-9885-2FEA-874C-625441150AE0}"/>
                      </a:ext>
                    </a:extLst>
                  </p:cNvPr>
                  <p:cNvSpPr/>
                  <p:nvPr/>
                </p:nvSpPr>
                <p:spPr bwMode="gray">
                  <a:xfrm>
                    <a:off x="5757385"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4" name="Graphic 16">
                  <a:extLst>
                    <a:ext uri="{FF2B5EF4-FFF2-40B4-BE49-F238E27FC236}">
                      <a16:creationId xmlns:a16="http://schemas.microsoft.com/office/drawing/2014/main" id="{F9AEFC41-60F5-B49D-8A6A-7116F33D06FF}"/>
                    </a:ext>
                  </a:extLst>
                </p:cNvPr>
                <p:cNvGrpSpPr/>
                <p:nvPr/>
              </p:nvGrpSpPr>
              <p:grpSpPr bwMode="gray">
                <a:xfrm>
                  <a:off x="5774626" y="3527964"/>
                  <a:ext cx="75723" cy="75723"/>
                  <a:chOff x="5774626" y="3527964"/>
                  <a:chExt cx="75723" cy="75723"/>
                </a:xfrm>
              </p:grpSpPr>
              <p:sp>
                <p:nvSpPr>
                  <p:cNvPr id="10148" name="Freeform: Shape 10147">
                    <a:extLst>
                      <a:ext uri="{FF2B5EF4-FFF2-40B4-BE49-F238E27FC236}">
                        <a16:creationId xmlns:a16="http://schemas.microsoft.com/office/drawing/2014/main" id="{4ABB1527-CB7F-6BAC-A874-1E6DD5E0D5B3}"/>
                      </a:ext>
                    </a:extLst>
                  </p:cNvPr>
                  <p:cNvSpPr/>
                  <p:nvPr/>
                </p:nvSpPr>
                <p:spPr bwMode="gray">
                  <a:xfrm>
                    <a:off x="581244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49" name="Freeform: Shape 10148">
                    <a:extLst>
                      <a:ext uri="{FF2B5EF4-FFF2-40B4-BE49-F238E27FC236}">
                        <a16:creationId xmlns:a16="http://schemas.microsoft.com/office/drawing/2014/main" id="{EEE1CBED-857E-E6DE-6775-371D10704569}"/>
                      </a:ext>
                    </a:extLst>
                  </p:cNvPr>
                  <p:cNvSpPr/>
                  <p:nvPr/>
                </p:nvSpPr>
                <p:spPr bwMode="gray">
                  <a:xfrm>
                    <a:off x="5774626"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5" name="Graphic 16">
                  <a:extLst>
                    <a:ext uri="{FF2B5EF4-FFF2-40B4-BE49-F238E27FC236}">
                      <a16:creationId xmlns:a16="http://schemas.microsoft.com/office/drawing/2014/main" id="{F2200EE9-C485-6373-9E5E-50F573842D02}"/>
                    </a:ext>
                  </a:extLst>
                </p:cNvPr>
                <p:cNvGrpSpPr/>
                <p:nvPr/>
              </p:nvGrpSpPr>
              <p:grpSpPr bwMode="gray">
                <a:xfrm>
                  <a:off x="5791771" y="3527964"/>
                  <a:ext cx="75723" cy="75723"/>
                  <a:chOff x="5791771" y="3527964"/>
                  <a:chExt cx="75723" cy="75723"/>
                </a:xfrm>
              </p:grpSpPr>
              <p:sp>
                <p:nvSpPr>
                  <p:cNvPr id="10146" name="Freeform: Shape 10145">
                    <a:extLst>
                      <a:ext uri="{FF2B5EF4-FFF2-40B4-BE49-F238E27FC236}">
                        <a16:creationId xmlns:a16="http://schemas.microsoft.com/office/drawing/2014/main" id="{2E5E2A5F-02BD-40B4-E071-0AE9BCC75C78}"/>
                      </a:ext>
                    </a:extLst>
                  </p:cNvPr>
                  <p:cNvSpPr/>
                  <p:nvPr/>
                </p:nvSpPr>
                <p:spPr bwMode="gray">
                  <a:xfrm>
                    <a:off x="5829680" y="35279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47" name="Freeform: Shape 10146">
                    <a:extLst>
                      <a:ext uri="{FF2B5EF4-FFF2-40B4-BE49-F238E27FC236}">
                        <a16:creationId xmlns:a16="http://schemas.microsoft.com/office/drawing/2014/main" id="{5CF839DF-40FC-CF60-C1C9-79E9E09326D0}"/>
                      </a:ext>
                    </a:extLst>
                  </p:cNvPr>
                  <p:cNvSpPr/>
                  <p:nvPr/>
                </p:nvSpPr>
                <p:spPr bwMode="gray">
                  <a:xfrm>
                    <a:off x="5791771" y="3565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6" name="Graphic 16">
                  <a:extLst>
                    <a:ext uri="{FF2B5EF4-FFF2-40B4-BE49-F238E27FC236}">
                      <a16:creationId xmlns:a16="http://schemas.microsoft.com/office/drawing/2014/main" id="{34C05C8C-5938-0C2C-7584-3AEF77E1AB95}"/>
                    </a:ext>
                  </a:extLst>
                </p:cNvPr>
                <p:cNvGrpSpPr/>
                <p:nvPr/>
              </p:nvGrpSpPr>
              <p:grpSpPr bwMode="gray">
                <a:xfrm>
                  <a:off x="5901499" y="3600735"/>
                  <a:ext cx="75723" cy="75723"/>
                  <a:chOff x="5901499" y="3600735"/>
                  <a:chExt cx="75723" cy="75723"/>
                </a:xfrm>
              </p:grpSpPr>
              <p:sp>
                <p:nvSpPr>
                  <p:cNvPr id="10144" name="Freeform: Shape 10143">
                    <a:extLst>
                      <a:ext uri="{FF2B5EF4-FFF2-40B4-BE49-F238E27FC236}">
                        <a16:creationId xmlns:a16="http://schemas.microsoft.com/office/drawing/2014/main" id="{777A7ECC-56F9-A840-ED7B-697770056D63}"/>
                      </a:ext>
                    </a:extLst>
                  </p:cNvPr>
                  <p:cNvSpPr/>
                  <p:nvPr/>
                </p:nvSpPr>
                <p:spPr bwMode="gray">
                  <a:xfrm>
                    <a:off x="5939313"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45" name="Freeform: Shape 10144">
                    <a:extLst>
                      <a:ext uri="{FF2B5EF4-FFF2-40B4-BE49-F238E27FC236}">
                        <a16:creationId xmlns:a16="http://schemas.microsoft.com/office/drawing/2014/main" id="{3E009A23-5D72-A43A-01CB-E5B1439BF0EB}"/>
                      </a:ext>
                    </a:extLst>
                  </p:cNvPr>
                  <p:cNvSpPr/>
                  <p:nvPr/>
                </p:nvSpPr>
                <p:spPr bwMode="gray">
                  <a:xfrm>
                    <a:off x="590149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7" name="Graphic 16">
                  <a:extLst>
                    <a:ext uri="{FF2B5EF4-FFF2-40B4-BE49-F238E27FC236}">
                      <a16:creationId xmlns:a16="http://schemas.microsoft.com/office/drawing/2014/main" id="{48787298-3E58-855D-0102-4EF3EE12D65E}"/>
                    </a:ext>
                  </a:extLst>
                </p:cNvPr>
                <p:cNvGrpSpPr/>
                <p:nvPr/>
              </p:nvGrpSpPr>
              <p:grpSpPr bwMode="gray">
                <a:xfrm>
                  <a:off x="5932169" y="3600735"/>
                  <a:ext cx="75723" cy="75723"/>
                  <a:chOff x="5932169" y="3600735"/>
                  <a:chExt cx="75723" cy="75723"/>
                </a:xfrm>
              </p:grpSpPr>
              <p:sp>
                <p:nvSpPr>
                  <p:cNvPr id="10142" name="Freeform: Shape 10141">
                    <a:extLst>
                      <a:ext uri="{FF2B5EF4-FFF2-40B4-BE49-F238E27FC236}">
                        <a16:creationId xmlns:a16="http://schemas.microsoft.com/office/drawing/2014/main" id="{FB9ED7B6-28EC-1529-CF38-EC1A19509E96}"/>
                      </a:ext>
                    </a:extLst>
                  </p:cNvPr>
                  <p:cNvSpPr/>
                  <p:nvPr/>
                </p:nvSpPr>
                <p:spPr bwMode="gray">
                  <a:xfrm>
                    <a:off x="5970079" y="36007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43" name="Freeform: Shape 10142">
                    <a:extLst>
                      <a:ext uri="{FF2B5EF4-FFF2-40B4-BE49-F238E27FC236}">
                        <a16:creationId xmlns:a16="http://schemas.microsoft.com/office/drawing/2014/main" id="{7F86CA79-F9C0-E541-B7F5-21C69AE86727}"/>
                      </a:ext>
                    </a:extLst>
                  </p:cNvPr>
                  <p:cNvSpPr/>
                  <p:nvPr/>
                </p:nvSpPr>
                <p:spPr bwMode="gray">
                  <a:xfrm>
                    <a:off x="5932169" y="36385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8" name="Graphic 16">
                  <a:extLst>
                    <a:ext uri="{FF2B5EF4-FFF2-40B4-BE49-F238E27FC236}">
                      <a16:creationId xmlns:a16="http://schemas.microsoft.com/office/drawing/2014/main" id="{2670E976-FC9E-0A25-705E-A1C62D21C21A}"/>
                    </a:ext>
                  </a:extLst>
                </p:cNvPr>
                <p:cNvGrpSpPr/>
                <p:nvPr/>
              </p:nvGrpSpPr>
              <p:grpSpPr bwMode="gray">
                <a:xfrm>
                  <a:off x="6109429" y="3656456"/>
                  <a:ext cx="75723" cy="75628"/>
                  <a:chOff x="6109429" y="3656456"/>
                  <a:chExt cx="75723" cy="75628"/>
                </a:xfrm>
              </p:grpSpPr>
              <p:sp>
                <p:nvSpPr>
                  <p:cNvPr id="10140" name="Freeform: Shape 10139">
                    <a:extLst>
                      <a:ext uri="{FF2B5EF4-FFF2-40B4-BE49-F238E27FC236}">
                        <a16:creationId xmlns:a16="http://schemas.microsoft.com/office/drawing/2014/main" id="{24AA98FF-9733-B040-3786-E5983783CBE7}"/>
                      </a:ext>
                    </a:extLst>
                  </p:cNvPr>
                  <p:cNvSpPr/>
                  <p:nvPr/>
                </p:nvSpPr>
                <p:spPr bwMode="gray">
                  <a:xfrm>
                    <a:off x="614724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41" name="Freeform: Shape 10140">
                    <a:extLst>
                      <a:ext uri="{FF2B5EF4-FFF2-40B4-BE49-F238E27FC236}">
                        <a16:creationId xmlns:a16="http://schemas.microsoft.com/office/drawing/2014/main" id="{7805BBEA-8701-9F82-49A9-780508B5F2C2}"/>
                      </a:ext>
                    </a:extLst>
                  </p:cNvPr>
                  <p:cNvSpPr/>
                  <p:nvPr/>
                </p:nvSpPr>
                <p:spPr bwMode="gray">
                  <a:xfrm>
                    <a:off x="6109429"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29" name="Graphic 16">
                  <a:extLst>
                    <a:ext uri="{FF2B5EF4-FFF2-40B4-BE49-F238E27FC236}">
                      <a16:creationId xmlns:a16="http://schemas.microsoft.com/office/drawing/2014/main" id="{3445C769-67CA-7C4E-560D-9DBD65D9837F}"/>
                    </a:ext>
                  </a:extLst>
                </p:cNvPr>
                <p:cNvGrpSpPr/>
                <p:nvPr/>
              </p:nvGrpSpPr>
              <p:grpSpPr bwMode="gray">
                <a:xfrm>
                  <a:off x="6126860" y="3656456"/>
                  <a:ext cx="75723" cy="75628"/>
                  <a:chOff x="6126860" y="3656456"/>
                  <a:chExt cx="75723" cy="75628"/>
                </a:xfrm>
              </p:grpSpPr>
              <p:sp>
                <p:nvSpPr>
                  <p:cNvPr id="10138" name="Freeform: Shape 10137">
                    <a:extLst>
                      <a:ext uri="{FF2B5EF4-FFF2-40B4-BE49-F238E27FC236}">
                        <a16:creationId xmlns:a16="http://schemas.microsoft.com/office/drawing/2014/main" id="{2096304C-D6D7-2D4C-3972-036E86F4AC67}"/>
                      </a:ext>
                    </a:extLst>
                  </p:cNvPr>
                  <p:cNvSpPr/>
                  <p:nvPr/>
                </p:nvSpPr>
                <p:spPr bwMode="gray">
                  <a:xfrm>
                    <a:off x="6164674" y="36564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39" name="Freeform: Shape 10138">
                    <a:extLst>
                      <a:ext uri="{FF2B5EF4-FFF2-40B4-BE49-F238E27FC236}">
                        <a16:creationId xmlns:a16="http://schemas.microsoft.com/office/drawing/2014/main" id="{4BAF87EB-24A8-F9E4-CBFA-DE65F933DFC6}"/>
                      </a:ext>
                    </a:extLst>
                  </p:cNvPr>
                  <p:cNvSpPr/>
                  <p:nvPr/>
                </p:nvSpPr>
                <p:spPr bwMode="gray">
                  <a:xfrm>
                    <a:off x="6126860" y="36942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0" name="Graphic 16">
                  <a:extLst>
                    <a:ext uri="{FF2B5EF4-FFF2-40B4-BE49-F238E27FC236}">
                      <a16:creationId xmlns:a16="http://schemas.microsoft.com/office/drawing/2014/main" id="{C0A6757B-6106-61D1-EA01-5B6A1D6C25D7}"/>
                    </a:ext>
                  </a:extLst>
                </p:cNvPr>
                <p:cNvGrpSpPr/>
                <p:nvPr/>
              </p:nvGrpSpPr>
              <p:grpSpPr bwMode="gray">
                <a:xfrm>
                  <a:off x="6256781" y="3683602"/>
                  <a:ext cx="75723" cy="75628"/>
                  <a:chOff x="6256781" y="3683602"/>
                  <a:chExt cx="75723" cy="75628"/>
                </a:xfrm>
              </p:grpSpPr>
              <p:sp>
                <p:nvSpPr>
                  <p:cNvPr id="10136" name="Freeform: Shape 10135">
                    <a:extLst>
                      <a:ext uri="{FF2B5EF4-FFF2-40B4-BE49-F238E27FC236}">
                        <a16:creationId xmlns:a16="http://schemas.microsoft.com/office/drawing/2014/main" id="{110DEB33-41B7-9F47-BDA7-C7F8F2261601}"/>
                      </a:ext>
                    </a:extLst>
                  </p:cNvPr>
                  <p:cNvSpPr/>
                  <p:nvPr/>
                </p:nvSpPr>
                <p:spPr bwMode="gray">
                  <a:xfrm>
                    <a:off x="6294595"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37" name="Freeform: Shape 10136">
                    <a:extLst>
                      <a:ext uri="{FF2B5EF4-FFF2-40B4-BE49-F238E27FC236}">
                        <a16:creationId xmlns:a16="http://schemas.microsoft.com/office/drawing/2014/main" id="{4882D9C4-C6D8-FA56-4710-84CE896902A4}"/>
                      </a:ext>
                    </a:extLst>
                  </p:cNvPr>
                  <p:cNvSpPr/>
                  <p:nvPr/>
                </p:nvSpPr>
                <p:spPr bwMode="gray">
                  <a:xfrm>
                    <a:off x="6256781"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1" name="Graphic 16">
                  <a:extLst>
                    <a:ext uri="{FF2B5EF4-FFF2-40B4-BE49-F238E27FC236}">
                      <a16:creationId xmlns:a16="http://schemas.microsoft.com/office/drawing/2014/main" id="{4F2E20F4-5292-F4C1-CA0F-2244C59FD6B4}"/>
                    </a:ext>
                  </a:extLst>
                </p:cNvPr>
                <p:cNvGrpSpPr/>
                <p:nvPr/>
              </p:nvGrpSpPr>
              <p:grpSpPr bwMode="gray">
                <a:xfrm>
                  <a:off x="6264973" y="3683602"/>
                  <a:ext cx="75723" cy="75628"/>
                  <a:chOff x="6264973" y="3683602"/>
                  <a:chExt cx="75723" cy="75628"/>
                </a:xfrm>
              </p:grpSpPr>
              <p:sp>
                <p:nvSpPr>
                  <p:cNvPr id="10134" name="Freeform: Shape 10133">
                    <a:extLst>
                      <a:ext uri="{FF2B5EF4-FFF2-40B4-BE49-F238E27FC236}">
                        <a16:creationId xmlns:a16="http://schemas.microsoft.com/office/drawing/2014/main" id="{1F5E208E-6634-D7CA-7C3C-85E57DF2463A}"/>
                      </a:ext>
                    </a:extLst>
                  </p:cNvPr>
                  <p:cNvSpPr/>
                  <p:nvPr/>
                </p:nvSpPr>
                <p:spPr bwMode="gray">
                  <a:xfrm>
                    <a:off x="6302882" y="36836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35" name="Freeform: Shape 10134">
                    <a:extLst>
                      <a:ext uri="{FF2B5EF4-FFF2-40B4-BE49-F238E27FC236}">
                        <a16:creationId xmlns:a16="http://schemas.microsoft.com/office/drawing/2014/main" id="{2D3EF59B-17EC-2EEC-033C-AB768F76E07F}"/>
                      </a:ext>
                    </a:extLst>
                  </p:cNvPr>
                  <p:cNvSpPr/>
                  <p:nvPr/>
                </p:nvSpPr>
                <p:spPr bwMode="gray">
                  <a:xfrm>
                    <a:off x="6264973" y="3721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2" name="Graphic 16">
                  <a:extLst>
                    <a:ext uri="{FF2B5EF4-FFF2-40B4-BE49-F238E27FC236}">
                      <a16:creationId xmlns:a16="http://schemas.microsoft.com/office/drawing/2014/main" id="{B5FD8DC6-7F7E-4FA2-999A-B7CBCB358F2E}"/>
                    </a:ext>
                  </a:extLst>
                </p:cNvPr>
                <p:cNvGrpSpPr/>
                <p:nvPr/>
              </p:nvGrpSpPr>
              <p:grpSpPr bwMode="gray">
                <a:xfrm>
                  <a:off x="6297453" y="3692461"/>
                  <a:ext cx="75723" cy="75628"/>
                  <a:chOff x="6297453" y="3692461"/>
                  <a:chExt cx="75723" cy="75628"/>
                </a:xfrm>
              </p:grpSpPr>
              <p:sp>
                <p:nvSpPr>
                  <p:cNvPr id="10132" name="Freeform: Shape 10131">
                    <a:extLst>
                      <a:ext uri="{FF2B5EF4-FFF2-40B4-BE49-F238E27FC236}">
                        <a16:creationId xmlns:a16="http://schemas.microsoft.com/office/drawing/2014/main" id="{3CE27071-4C74-D4C7-7855-D90D73E3CE0A}"/>
                      </a:ext>
                    </a:extLst>
                  </p:cNvPr>
                  <p:cNvSpPr/>
                  <p:nvPr/>
                </p:nvSpPr>
                <p:spPr bwMode="gray">
                  <a:xfrm>
                    <a:off x="6335362"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33" name="Freeform: Shape 10132">
                    <a:extLst>
                      <a:ext uri="{FF2B5EF4-FFF2-40B4-BE49-F238E27FC236}">
                        <a16:creationId xmlns:a16="http://schemas.microsoft.com/office/drawing/2014/main" id="{71AF9BCC-5A04-D7B2-EE19-8E548811C17D}"/>
                      </a:ext>
                    </a:extLst>
                  </p:cNvPr>
                  <p:cNvSpPr/>
                  <p:nvPr/>
                </p:nvSpPr>
                <p:spPr bwMode="gray">
                  <a:xfrm>
                    <a:off x="6297453"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3" name="Graphic 16">
                  <a:extLst>
                    <a:ext uri="{FF2B5EF4-FFF2-40B4-BE49-F238E27FC236}">
                      <a16:creationId xmlns:a16="http://schemas.microsoft.com/office/drawing/2014/main" id="{4379093F-7DE3-BB06-2E55-5FA9A6215C66}"/>
                    </a:ext>
                  </a:extLst>
                </p:cNvPr>
                <p:cNvGrpSpPr/>
                <p:nvPr/>
              </p:nvGrpSpPr>
              <p:grpSpPr bwMode="gray">
                <a:xfrm>
                  <a:off x="6309645" y="3692461"/>
                  <a:ext cx="75723" cy="75628"/>
                  <a:chOff x="6309645" y="3692461"/>
                  <a:chExt cx="75723" cy="75628"/>
                </a:xfrm>
              </p:grpSpPr>
              <p:sp>
                <p:nvSpPr>
                  <p:cNvPr id="10130" name="Freeform: Shape 10129">
                    <a:extLst>
                      <a:ext uri="{FF2B5EF4-FFF2-40B4-BE49-F238E27FC236}">
                        <a16:creationId xmlns:a16="http://schemas.microsoft.com/office/drawing/2014/main" id="{6C1CB82E-2018-068B-45A3-DC86CC00CD05}"/>
                      </a:ext>
                    </a:extLst>
                  </p:cNvPr>
                  <p:cNvSpPr/>
                  <p:nvPr/>
                </p:nvSpPr>
                <p:spPr bwMode="gray">
                  <a:xfrm>
                    <a:off x="6347554" y="369246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31" name="Freeform: Shape 10130">
                    <a:extLst>
                      <a:ext uri="{FF2B5EF4-FFF2-40B4-BE49-F238E27FC236}">
                        <a16:creationId xmlns:a16="http://schemas.microsoft.com/office/drawing/2014/main" id="{4A454011-8B20-5230-979B-4A4BFD50CAFA}"/>
                      </a:ext>
                    </a:extLst>
                  </p:cNvPr>
                  <p:cNvSpPr/>
                  <p:nvPr/>
                </p:nvSpPr>
                <p:spPr bwMode="gray">
                  <a:xfrm>
                    <a:off x="6309645" y="373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4" name="Graphic 16">
                  <a:extLst>
                    <a:ext uri="{FF2B5EF4-FFF2-40B4-BE49-F238E27FC236}">
                      <a16:creationId xmlns:a16="http://schemas.microsoft.com/office/drawing/2014/main" id="{8FE783F3-5114-13A9-70D4-0F8291453E53}"/>
                    </a:ext>
                  </a:extLst>
                </p:cNvPr>
                <p:cNvGrpSpPr/>
                <p:nvPr/>
              </p:nvGrpSpPr>
              <p:grpSpPr bwMode="gray">
                <a:xfrm>
                  <a:off x="6356984" y="3708272"/>
                  <a:ext cx="75628" cy="75723"/>
                  <a:chOff x="6356984" y="3708272"/>
                  <a:chExt cx="75628" cy="75723"/>
                </a:xfrm>
              </p:grpSpPr>
              <p:sp>
                <p:nvSpPr>
                  <p:cNvPr id="10128" name="Freeform: Shape 10127">
                    <a:extLst>
                      <a:ext uri="{FF2B5EF4-FFF2-40B4-BE49-F238E27FC236}">
                        <a16:creationId xmlns:a16="http://schemas.microsoft.com/office/drawing/2014/main" id="{E832BD78-FE6A-CFA6-701A-622CE8DE03BF}"/>
                      </a:ext>
                    </a:extLst>
                  </p:cNvPr>
                  <p:cNvSpPr/>
                  <p:nvPr/>
                </p:nvSpPr>
                <p:spPr bwMode="gray">
                  <a:xfrm>
                    <a:off x="6394798"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29" name="Freeform: Shape 10128">
                    <a:extLst>
                      <a:ext uri="{FF2B5EF4-FFF2-40B4-BE49-F238E27FC236}">
                        <a16:creationId xmlns:a16="http://schemas.microsoft.com/office/drawing/2014/main" id="{1D99C449-17EF-0484-995E-C611DD7655F8}"/>
                      </a:ext>
                    </a:extLst>
                  </p:cNvPr>
                  <p:cNvSpPr/>
                  <p:nvPr/>
                </p:nvSpPr>
                <p:spPr bwMode="gray">
                  <a:xfrm>
                    <a:off x="6356984"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5" name="Graphic 16">
                  <a:extLst>
                    <a:ext uri="{FF2B5EF4-FFF2-40B4-BE49-F238E27FC236}">
                      <a16:creationId xmlns:a16="http://schemas.microsoft.com/office/drawing/2014/main" id="{9F47AF40-F42C-A902-90AC-23EDBC43B56A}"/>
                    </a:ext>
                  </a:extLst>
                </p:cNvPr>
                <p:cNvGrpSpPr/>
                <p:nvPr/>
              </p:nvGrpSpPr>
              <p:grpSpPr bwMode="gray">
                <a:xfrm>
                  <a:off x="6332314" y="3708272"/>
                  <a:ext cx="75723" cy="75723"/>
                  <a:chOff x="6332314" y="3708272"/>
                  <a:chExt cx="75723" cy="75723"/>
                </a:xfrm>
              </p:grpSpPr>
              <p:sp>
                <p:nvSpPr>
                  <p:cNvPr id="10126" name="Freeform: Shape 10125">
                    <a:extLst>
                      <a:ext uri="{FF2B5EF4-FFF2-40B4-BE49-F238E27FC236}">
                        <a16:creationId xmlns:a16="http://schemas.microsoft.com/office/drawing/2014/main" id="{9F9B9648-B618-5E8D-F195-6634FF81AE3B}"/>
                      </a:ext>
                    </a:extLst>
                  </p:cNvPr>
                  <p:cNvSpPr/>
                  <p:nvPr/>
                </p:nvSpPr>
                <p:spPr bwMode="gray">
                  <a:xfrm>
                    <a:off x="6370224"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27" name="Freeform: Shape 10126">
                    <a:extLst>
                      <a:ext uri="{FF2B5EF4-FFF2-40B4-BE49-F238E27FC236}">
                        <a16:creationId xmlns:a16="http://schemas.microsoft.com/office/drawing/2014/main" id="{E59526D4-EE04-A5EF-2127-46812ADB04FA}"/>
                      </a:ext>
                    </a:extLst>
                  </p:cNvPr>
                  <p:cNvSpPr/>
                  <p:nvPr/>
                </p:nvSpPr>
                <p:spPr bwMode="gray">
                  <a:xfrm>
                    <a:off x="6332314"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6" name="Graphic 16">
                  <a:extLst>
                    <a:ext uri="{FF2B5EF4-FFF2-40B4-BE49-F238E27FC236}">
                      <a16:creationId xmlns:a16="http://schemas.microsoft.com/office/drawing/2014/main" id="{2FA52121-AB87-596C-F099-1AA98B2D70B9}"/>
                    </a:ext>
                  </a:extLst>
                </p:cNvPr>
                <p:cNvGrpSpPr/>
                <p:nvPr/>
              </p:nvGrpSpPr>
              <p:grpSpPr bwMode="gray">
                <a:xfrm>
                  <a:off x="6466426" y="3708272"/>
                  <a:ext cx="75628" cy="75723"/>
                  <a:chOff x="6466426" y="3708272"/>
                  <a:chExt cx="75628" cy="75723"/>
                </a:xfrm>
              </p:grpSpPr>
              <p:sp>
                <p:nvSpPr>
                  <p:cNvPr id="10124" name="Freeform: Shape 10123">
                    <a:extLst>
                      <a:ext uri="{FF2B5EF4-FFF2-40B4-BE49-F238E27FC236}">
                        <a16:creationId xmlns:a16="http://schemas.microsoft.com/office/drawing/2014/main" id="{9FF16181-7247-A047-EC21-7DCE12E1A087}"/>
                      </a:ext>
                    </a:extLst>
                  </p:cNvPr>
                  <p:cNvSpPr/>
                  <p:nvPr/>
                </p:nvSpPr>
                <p:spPr bwMode="gray">
                  <a:xfrm>
                    <a:off x="6504241"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25" name="Freeform: Shape 10124">
                    <a:extLst>
                      <a:ext uri="{FF2B5EF4-FFF2-40B4-BE49-F238E27FC236}">
                        <a16:creationId xmlns:a16="http://schemas.microsoft.com/office/drawing/2014/main" id="{467BFC62-6755-DEE6-3376-7380F87DECB1}"/>
                      </a:ext>
                    </a:extLst>
                  </p:cNvPr>
                  <p:cNvSpPr/>
                  <p:nvPr/>
                </p:nvSpPr>
                <p:spPr bwMode="gray">
                  <a:xfrm>
                    <a:off x="6466426" y="3746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7" name="Graphic 16">
                  <a:extLst>
                    <a:ext uri="{FF2B5EF4-FFF2-40B4-BE49-F238E27FC236}">
                      <a16:creationId xmlns:a16="http://schemas.microsoft.com/office/drawing/2014/main" id="{914847AD-A4B0-549C-1190-65DE69706EB4}"/>
                    </a:ext>
                  </a:extLst>
                </p:cNvPr>
                <p:cNvGrpSpPr/>
                <p:nvPr/>
              </p:nvGrpSpPr>
              <p:grpSpPr bwMode="gray">
                <a:xfrm>
                  <a:off x="6431279" y="3708272"/>
                  <a:ext cx="75723" cy="75723"/>
                  <a:chOff x="6431279" y="3708272"/>
                  <a:chExt cx="75723" cy="75723"/>
                </a:xfrm>
              </p:grpSpPr>
              <p:sp>
                <p:nvSpPr>
                  <p:cNvPr id="10122" name="Freeform: Shape 10121">
                    <a:extLst>
                      <a:ext uri="{FF2B5EF4-FFF2-40B4-BE49-F238E27FC236}">
                        <a16:creationId xmlns:a16="http://schemas.microsoft.com/office/drawing/2014/main" id="{78816598-E589-991F-5265-8C7FA4C64E48}"/>
                      </a:ext>
                    </a:extLst>
                  </p:cNvPr>
                  <p:cNvSpPr/>
                  <p:nvPr/>
                </p:nvSpPr>
                <p:spPr bwMode="gray">
                  <a:xfrm>
                    <a:off x="6469093"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23" name="Freeform: Shape 10122">
                    <a:extLst>
                      <a:ext uri="{FF2B5EF4-FFF2-40B4-BE49-F238E27FC236}">
                        <a16:creationId xmlns:a16="http://schemas.microsoft.com/office/drawing/2014/main" id="{4EA54ABB-8CE6-9630-EE02-32A3BB839BAE}"/>
                      </a:ext>
                    </a:extLst>
                  </p:cNvPr>
                  <p:cNvSpPr/>
                  <p:nvPr/>
                </p:nvSpPr>
                <p:spPr bwMode="gray">
                  <a:xfrm>
                    <a:off x="6431279"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8" name="Graphic 16">
                  <a:extLst>
                    <a:ext uri="{FF2B5EF4-FFF2-40B4-BE49-F238E27FC236}">
                      <a16:creationId xmlns:a16="http://schemas.microsoft.com/office/drawing/2014/main" id="{430EC355-3D46-4409-5273-4E27BA565FD2}"/>
                    </a:ext>
                  </a:extLst>
                </p:cNvPr>
                <p:cNvGrpSpPr/>
                <p:nvPr/>
              </p:nvGrpSpPr>
              <p:grpSpPr bwMode="gray">
                <a:xfrm>
                  <a:off x="6404038" y="3708272"/>
                  <a:ext cx="75723" cy="75723"/>
                  <a:chOff x="6404038" y="3708272"/>
                  <a:chExt cx="75723" cy="75723"/>
                </a:xfrm>
              </p:grpSpPr>
              <p:sp>
                <p:nvSpPr>
                  <p:cNvPr id="10120" name="Freeform: Shape 10119">
                    <a:extLst>
                      <a:ext uri="{FF2B5EF4-FFF2-40B4-BE49-F238E27FC236}">
                        <a16:creationId xmlns:a16="http://schemas.microsoft.com/office/drawing/2014/main" id="{A55952A2-7FC8-7239-84A0-18C80CA189D2}"/>
                      </a:ext>
                    </a:extLst>
                  </p:cNvPr>
                  <p:cNvSpPr/>
                  <p:nvPr/>
                </p:nvSpPr>
                <p:spPr bwMode="gray">
                  <a:xfrm>
                    <a:off x="6441947"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21" name="Freeform: Shape 10120">
                    <a:extLst>
                      <a:ext uri="{FF2B5EF4-FFF2-40B4-BE49-F238E27FC236}">
                        <a16:creationId xmlns:a16="http://schemas.microsoft.com/office/drawing/2014/main" id="{B144F18B-FE8E-8661-830B-40AA472CAEAF}"/>
                      </a:ext>
                    </a:extLst>
                  </p:cNvPr>
                  <p:cNvSpPr/>
                  <p:nvPr/>
                </p:nvSpPr>
                <p:spPr bwMode="gray">
                  <a:xfrm>
                    <a:off x="6404038"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39" name="Graphic 16">
                  <a:extLst>
                    <a:ext uri="{FF2B5EF4-FFF2-40B4-BE49-F238E27FC236}">
                      <a16:creationId xmlns:a16="http://schemas.microsoft.com/office/drawing/2014/main" id="{7F0B0AEC-E382-AB77-3DA7-D7D723C1354C}"/>
                    </a:ext>
                  </a:extLst>
                </p:cNvPr>
                <p:cNvGrpSpPr/>
                <p:nvPr/>
              </p:nvGrpSpPr>
              <p:grpSpPr bwMode="gray">
                <a:xfrm>
                  <a:off x="6378511" y="3708272"/>
                  <a:ext cx="75723" cy="75723"/>
                  <a:chOff x="6378511" y="3708272"/>
                  <a:chExt cx="75723" cy="75723"/>
                </a:xfrm>
              </p:grpSpPr>
              <p:sp>
                <p:nvSpPr>
                  <p:cNvPr id="10118" name="Freeform: Shape 10117">
                    <a:extLst>
                      <a:ext uri="{FF2B5EF4-FFF2-40B4-BE49-F238E27FC236}">
                        <a16:creationId xmlns:a16="http://schemas.microsoft.com/office/drawing/2014/main" id="{9AE7824C-AEBF-0A09-8B63-ED0B831E1447}"/>
                      </a:ext>
                    </a:extLst>
                  </p:cNvPr>
                  <p:cNvSpPr/>
                  <p:nvPr/>
                </p:nvSpPr>
                <p:spPr bwMode="gray">
                  <a:xfrm>
                    <a:off x="6416420" y="3708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19" name="Freeform: Shape 10118">
                    <a:extLst>
                      <a:ext uri="{FF2B5EF4-FFF2-40B4-BE49-F238E27FC236}">
                        <a16:creationId xmlns:a16="http://schemas.microsoft.com/office/drawing/2014/main" id="{34A6CCDB-3CD6-27D5-5936-C84885622307}"/>
                      </a:ext>
                    </a:extLst>
                  </p:cNvPr>
                  <p:cNvSpPr/>
                  <p:nvPr/>
                </p:nvSpPr>
                <p:spPr bwMode="gray">
                  <a:xfrm>
                    <a:off x="6378511" y="3746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0" name="Graphic 16">
                  <a:extLst>
                    <a:ext uri="{FF2B5EF4-FFF2-40B4-BE49-F238E27FC236}">
                      <a16:creationId xmlns:a16="http://schemas.microsoft.com/office/drawing/2014/main" id="{983947B7-7E45-FC63-5C41-C65B57B0584A}"/>
                    </a:ext>
                  </a:extLst>
                </p:cNvPr>
                <p:cNvGrpSpPr/>
                <p:nvPr/>
              </p:nvGrpSpPr>
              <p:grpSpPr bwMode="gray">
                <a:xfrm>
                  <a:off x="6603872" y="3784186"/>
                  <a:ext cx="75628" cy="75723"/>
                  <a:chOff x="6603872" y="3784186"/>
                  <a:chExt cx="75628" cy="75723"/>
                </a:xfrm>
              </p:grpSpPr>
              <p:sp>
                <p:nvSpPr>
                  <p:cNvPr id="10116" name="Freeform: Shape 10115">
                    <a:extLst>
                      <a:ext uri="{FF2B5EF4-FFF2-40B4-BE49-F238E27FC236}">
                        <a16:creationId xmlns:a16="http://schemas.microsoft.com/office/drawing/2014/main" id="{AC9A300A-E2EA-2FF0-354E-B2FFAF9CCEC2}"/>
                      </a:ext>
                    </a:extLst>
                  </p:cNvPr>
                  <p:cNvSpPr/>
                  <p:nvPr/>
                </p:nvSpPr>
                <p:spPr bwMode="gray">
                  <a:xfrm>
                    <a:off x="664168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17" name="Freeform: Shape 10116">
                    <a:extLst>
                      <a:ext uri="{FF2B5EF4-FFF2-40B4-BE49-F238E27FC236}">
                        <a16:creationId xmlns:a16="http://schemas.microsoft.com/office/drawing/2014/main" id="{52B01E26-77EB-2D85-A532-30E7B5A0D2D5}"/>
                      </a:ext>
                    </a:extLst>
                  </p:cNvPr>
                  <p:cNvSpPr/>
                  <p:nvPr/>
                </p:nvSpPr>
                <p:spPr bwMode="gray">
                  <a:xfrm>
                    <a:off x="6603872"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1" name="Graphic 16">
                  <a:extLst>
                    <a:ext uri="{FF2B5EF4-FFF2-40B4-BE49-F238E27FC236}">
                      <a16:creationId xmlns:a16="http://schemas.microsoft.com/office/drawing/2014/main" id="{BFFC115F-7ED5-F452-E603-F29F840F44D5}"/>
                    </a:ext>
                  </a:extLst>
                </p:cNvPr>
                <p:cNvGrpSpPr/>
                <p:nvPr/>
              </p:nvGrpSpPr>
              <p:grpSpPr bwMode="gray">
                <a:xfrm>
                  <a:off x="6619112" y="3784186"/>
                  <a:ext cx="75628" cy="75723"/>
                  <a:chOff x="6619112" y="3784186"/>
                  <a:chExt cx="75628" cy="75723"/>
                </a:xfrm>
              </p:grpSpPr>
              <p:sp>
                <p:nvSpPr>
                  <p:cNvPr id="10114" name="Freeform: Shape 10113">
                    <a:extLst>
                      <a:ext uri="{FF2B5EF4-FFF2-40B4-BE49-F238E27FC236}">
                        <a16:creationId xmlns:a16="http://schemas.microsoft.com/office/drawing/2014/main" id="{18955820-A7BA-3339-4CB5-8C1E4BE40170}"/>
                      </a:ext>
                    </a:extLst>
                  </p:cNvPr>
                  <p:cNvSpPr/>
                  <p:nvPr/>
                </p:nvSpPr>
                <p:spPr bwMode="gray">
                  <a:xfrm>
                    <a:off x="665692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15" name="Freeform: Shape 10114">
                    <a:extLst>
                      <a:ext uri="{FF2B5EF4-FFF2-40B4-BE49-F238E27FC236}">
                        <a16:creationId xmlns:a16="http://schemas.microsoft.com/office/drawing/2014/main" id="{CD0526CC-4EF6-157D-235F-5594BD7C0BA5}"/>
                      </a:ext>
                    </a:extLst>
                  </p:cNvPr>
                  <p:cNvSpPr/>
                  <p:nvPr/>
                </p:nvSpPr>
                <p:spPr bwMode="gray">
                  <a:xfrm>
                    <a:off x="6619112"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2" name="Graphic 16">
                  <a:extLst>
                    <a:ext uri="{FF2B5EF4-FFF2-40B4-BE49-F238E27FC236}">
                      <a16:creationId xmlns:a16="http://schemas.microsoft.com/office/drawing/2014/main" id="{BC98170E-241D-6359-096C-A29D5CFA227A}"/>
                    </a:ext>
                  </a:extLst>
                </p:cNvPr>
                <p:cNvGrpSpPr/>
                <p:nvPr/>
              </p:nvGrpSpPr>
              <p:grpSpPr bwMode="gray">
                <a:xfrm>
                  <a:off x="6634352" y="3784186"/>
                  <a:ext cx="75723" cy="75723"/>
                  <a:chOff x="6634352" y="3784186"/>
                  <a:chExt cx="75723" cy="75723"/>
                </a:xfrm>
              </p:grpSpPr>
              <p:sp>
                <p:nvSpPr>
                  <p:cNvPr id="10112" name="Freeform: Shape 10111">
                    <a:extLst>
                      <a:ext uri="{FF2B5EF4-FFF2-40B4-BE49-F238E27FC236}">
                        <a16:creationId xmlns:a16="http://schemas.microsoft.com/office/drawing/2014/main" id="{E6885E61-FC7F-361B-44AB-B78EF876EE58}"/>
                      </a:ext>
                    </a:extLst>
                  </p:cNvPr>
                  <p:cNvSpPr/>
                  <p:nvPr/>
                </p:nvSpPr>
                <p:spPr bwMode="gray">
                  <a:xfrm>
                    <a:off x="667216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13" name="Freeform: Shape 10112">
                    <a:extLst>
                      <a:ext uri="{FF2B5EF4-FFF2-40B4-BE49-F238E27FC236}">
                        <a16:creationId xmlns:a16="http://schemas.microsoft.com/office/drawing/2014/main" id="{C2AFC354-E3FA-CEC5-8EE4-2F48ACF36150}"/>
                      </a:ext>
                    </a:extLst>
                  </p:cNvPr>
                  <p:cNvSpPr/>
                  <p:nvPr/>
                </p:nvSpPr>
                <p:spPr bwMode="gray">
                  <a:xfrm>
                    <a:off x="663435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3" name="Graphic 16">
                  <a:extLst>
                    <a:ext uri="{FF2B5EF4-FFF2-40B4-BE49-F238E27FC236}">
                      <a16:creationId xmlns:a16="http://schemas.microsoft.com/office/drawing/2014/main" id="{A7B47FCC-84AA-F784-A5CB-898837B5BE0C}"/>
                    </a:ext>
                  </a:extLst>
                </p:cNvPr>
                <p:cNvGrpSpPr/>
                <p:nvPr/>
              </p:nvGrpSpPr>
              <p:grpSpPr bwMode="gray">
                <a:xfrm>
                  <a:off x="6649592" y="3784186"/>
                  <a:ext cx="75723" cy="75723"/>
                  <a:chOff x="6649592" y="3784186"/>
                  <a:chExt cx="75723" cy="75723"/>
                </a:xfrm>
              </p:grpSpPr>
              <p:sp>
                <p:nvSpPr>
                  <p:cNvPr id="10110" name="Freeform: Shape 10109">
                    <a:extLst>
                      <a:ext uri="{FF2B5EF4-FFF2-40B4-BE49-F238E27FC236}">
                        <a16:creationId xmlns:a16="http://schemas.microsoft.com/office/drawing/2014/main" id="{21B94574-27BB-6F3F-FCBC-B0C368F9F488}"/>
                      </a:ext>
                    </a:extLst>
                  </p:cNvPr>
                  <p:cNvSpPr/>
                  <p:nvPr/>
                </p:nvSpPr>
                <p:spPr bwMode="gray">
                  <a:xfrm>
                    <a:off x="6687406"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11" name="Freeform: Shape 10110">
                    <a:extLst>
                      <a:ext uri="{FF2B5EF4-FFF2-40B4-BE49-F238E27FC236}">
                        <a16:creationId xmlns:a16="http://schemas.microsoft.com/office/drawing/2014/main" id="{046C6AA5-6904-C66E-3F56-262B0777FEEE}"/>
                      </a:ext>
                    </a:extLst>
                  </p:cNvPr>
                  <p:cNvSpPr/>
                  <p:nvPr/>
                </p:nvSpPr>
                <p:spPr bwMode="gray">
                  <a:xfrm>
                    <a:off x="664959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4" name="Graphic 16">
                  <a:extLst>
                    <a:ext uri="{FF2B5EF4-FFF2-40B4-BE49-F238E27FC236}">
                      <a16:creationId xmlns:a16="http://schemas.microsoft.com/office/drawing/2014/main" id="{584CD1E4-F4DE-065A-EE73-8658A0AB5657}"/>
                    </a:ext>
                  </a:extLst>
                </p:cNvPr>
                <p:cNvGrpSpPr/>
                <p:nvPr/>
              </p:nvGrpSpPr>
              <p:grpSpPr bwMode="gray">
                <a:xfrm>
                  <a:off x="6664832" y="3784186"/>
                  <a:ext cx="75723" cy="75723"/>
                  <a:chOff x="6664832" y="3784186"/>
                  <a:chExt cx="75723" cy="75723"/>
                </a:xfrm>
              </p:grpSpPr>
              <p:sp>
                <p:nvSpPr>
                  <p:cNvPr id="10108" name="Freeform: Shape 10107">
                    <a:extLst>
                      <a:ext uri="{FF2B5EF4-FFF2-40B4-BE49-F238E27FC236}">
                        <a16:creationId xmlns:a16="http://schemas.microsoft.com/office/drawing/2014/main" id="{D20EE558-31F5-95F5-31AD-E61E18724A3A}"/>
                      </a:ext>
                    </a:extLst>
                  </p:cNvPr>
                  <p:cNvSpPr/>
                  <p:nvPr/>
                </p:nvSpPr>
                <p:spPr bwMode="gray">
                  <a:xfrm>
                    <a:off x="67027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09" name="Freeform: Shape 10108">
                    <a:extLst>
                      <a:ext uri="{FF2B5EF4-FFF2-40B4-BE49-F238E27FC236}">
                        <a16:creationId xmlns:a16="http://schemas.microsoft.com/office/drawing/2014/main" id="{E93EB216-5114-EA02-19E5-5D38B51F1CF8}"/>
                      </a:ext>
                    </a:extLst>
                  </p:cNvPr>
                  <p:cNvSpPr/>
                  <p:nvPr/>
                </p:nvSpPr>
                <p:spPr bwMode="gray">
                  <a:xfrm>
                    <a:off x="666483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5" name="Graphic 16">
                  <a:extLst>
                    <a:ext uri="{FF2B5EF4-FFF2-40B4-BE49-F238E27FC236}">
                      <a16:creationId xmlns:a16="http://schemas.microsoft.com/office/drawing/2014/main" id="{388F2CAA-4A06-C054-D859-5FE97F8EF415}"/>
                    </a:ext>
                  </a:extLst>
                </p:cNvPr>
                <p:cNvGrpSpPr/>
                <p:nvPr/>
              </p:nvGrpSpPr>
              <p:grpSpPr bwMode="gray">
                <a:xfrm>
                  <a:off x="6680072" y="3784186"/>
                  <a:ext cx="75723" cy="75723"/>
                  <a:chOff x="6680072" y="3784186"/>
                  <a:chExt cx="75723" cy="75723"/>
                </a:xfrm>
              </p:grpSpPr>
              <p:sp>
                <p:nvSpPr>
                  <p:cNvPr id="10106" name="Freeform: Shape 10105">
                    <a:extLst>
                      <a:ext uri="{FF2B5EF4-FFF2-40B4-BE49-F238E27FC236}">
                        <a16:creationId xmlns:a16="http://schemas.microsoft.com/office/drawing/2014/main" id="{FB6703C8-A9E3-1526-07C5-3B68DA0CB334}"/>
                      </a:ext>
                    </a:extLst>
                  </p:cNvPr>
                  <p:cNvSpPr/>
                  <p:nvPr/>
                </p:nvSpPr>
                <p:spPr bwMode="gray">
                  <a:xfrm>
                    <a:off x="671798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07" name="Freeform: Shape 10106">
                    <a:extLst>
                      <a:ext uri="{FF2B5EF4-FFF2-40B4-BE49-F238E27FC236}">
                        <a16:creationId xmlns:a16="http://schemas.microsoft.com/office/drawing/2014/main" id="{66AB79D0-5ADC-B9B7-AC57-1FE534CBA901}"/>
                      </a:ext>
                    </a:extLst>
                  </p:cNvPr>
                  <p:cNvSpPr/>
                  <p:nvPr/>
                </p:nvSpPr>
                <p:spPr bwMode="gray">
                  <a:xfrm>
                    <a:off x="6680072"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6" name="Graphic 16">
                  <a:extLst>
                    <a:ext uri="{FF2B5EF4-FFF2-40B4-BE49-F238E27FC236}">
                      <a16:creationId xmlns:a16="http://schemas.microsoft.com/office/drawing/2014/main" id="{456384F6-6E9B-19A6-CAE4-815C0378CBE1}"/>
                    </a:ext>
                  </a:extLst>
                </p:cNvPr>
                <p:cNvGrpSpPr/>
                <p:nvPr/>
              </p:nvGrpSpPr>
              <p:grpSpPr bwMode="gray">
                <a:xfrm>
                  <a:off x="6695407" y="3784186"/>
                  <a:ext cx="75628" cy="75723"/>
                  <a:chOff x="6695407" y="3784186"/>
                  <a:chExt cx="75628" cy="75723"/>
                </a:xfrm>
              </p:grpSpPr>
              <p:sp>
                <p:nvSpPr>
                  <p:cNvPr id="10104" name="Freeform: Shape 10103">
                    <a:extLst>
                      <a:ext uri="{FF2B5EF4-FFF2-40B4-BE49-F238E27FC236}">
                        <a16:creationId xmlns:a16="http://schemas.microsoft.com/office/drawing/2014/main" id="{B4285099-1C70-9E25-0944-BE7C2DB0F83C}"/>
                      </a:ext>
                    </a:extLst>
                  </p:cNvPr>
                  <p:cNvSpPr/>
                  <p:nvPr/>
                </p:nvSpPr>
                <p:spPr bwMode="gray">
                  <a:xfrm>
                    <a:off x="673322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05" name="Freeform: Shape 10104">
                    <a:extLst>
                      <a:ext uri="{FF2B5EF4-FFF2-40B4-BE49-F238E27FC236}">
                        <a16:creationId xmlns:a16="http://schemas.microsoft.com/office/drawing/2014/main" id="{69633A51-EE49-37B7-F3F0-EA0D91AD000B}"/>
                      </a:ext>
                    </a:extLst>
                  </p:cNvPr>
                  <p:cNvSpPr/>
                  <p:nvPr/>
                </p:nvSpPr>
                <p:spPr bwMode="gray">
                  <a:xfrm>
                    <a:off x="6695407" y="382209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7" name="Graphic 16">
                  <a:extLst>
                    <a:ext uri="{FF2B5EF4-FFF2-40B4-BE49-F238E27FC236}">
                      <a16:creationId xmlns:a16="http://schemas.microsoft.com/office/drawing/2014/main" id="{13803D10-7E6E-2215-6EF1-D1476C82373C}"/>
                    </a:ext>
                  </a:extLst>
                </p:cNvPr>
                <p:cNvGrpSpPr/>
                <p:nvPr/>
              </p:nvGrpSpPr>
              <p:grpSpPr bwMode="gray">
                <a:xfrm>
                  <a:off x="6710647" y="3784186"/>
                  <a:ext cx="75628" cy="75723"/>
                  <a:chOff x="6710647" y="3784186"/>
                  <a:chExt cx="75628" cy="75723"/>
                </a:xfrm>
              </p:grpSpPr>
              <p:sp>
                <p:nvSpPr>
                  <p:cNvPr id="10102" name="Freeform: Shape 10101">
                    <a:extLst>
                      <a:ext uri="{FF2B5EF4-FFF2-40B4-BE49-F238E27FC236}">
                        <a16:creationId xmlns:a16="http://schemas.microsoft.com/office/drawing/2014/main" id="{C4F3EA01-CE99-5F5C-8C1A-DD5972B6E02B}"/>
                      </a:ext>
                    </a:extLst>
                  </p:cNvPr>
                  <p:cNvSpPr/>
                  <p:nvPr/>
                </p:nvSpPr>
                <p:spPr bwMode="gray">
                  <a:xfrm>
                    <a:off x="674846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03" name="Freeform: Shape 10102">
                    <a:extLst>
                      <a:ext uri="{FF2B5EF4-FFF2-40B4-BE49-F238E27FC236}">
                        <a16:creationId xmlns:a16="http://schemas.microsoft.com/office/drawing/2014/main" id="{F93B8497-DBC1-327F-249E-1987E364095F}"/>
                      </a:ext>
                    </a:extLst>
                  </p:cNvPr>
                  <p:cNvSpPr/>
                  <p:nvPr/>
                </p:nvSpPr>
                <p:spPr bwMode="gray">
                  <a:xfrm>
                    <a:off x="6710647" y="38220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8" name="Graphic 16">
                  <a:extLst>
                    <a:ext uri="{FF2B5EF4-FFF2-40B4-BE49-F238E27FC236}">
                      <a16:creationId xmlns:a16="http://schemas.microsoft.com/office/drawing/2014/main" id="{80DDF0C2-DBCD-2188-E10A-6F2EC0677C24}"/>
                    </a:ext>
                  </a:extLst>
                </p:cNvPr>
                <p:cNvGrpSpPr/>
                <p:nvPr/>
              </p:nvGrpSpPr>
              <p:grpSpPr bwMode="gray">
                <a:xfrm>
                  <a:off x="6725887" y="3784186"/>
                  <a:ext cx="75723" cy="75723"/>
                  <a:chOff x="6725887" y="3784186"/>
                  <a:chExt cx="75723" cy="75723"/>
                </a:xfrm>
              </p:grpSpPr>
              <p:sp>
                <p:nvSpPr>
                  <p:cNvPr id="10100" name="Freeform: Shape 10099">
                    <a:extLst>
                      <a:ext uri="{FF2B5EF4-FFF2-40B4-BE49-F238E27FC236}">
                        <a16:creationId xmlns:a16="http://schemas.microsoft.com/office/drawing/2014/main" id="{6FA14D51-7AF3-6971-6936-39D0A243181D}"/>
                      </a:ext>
                    </a:extLst>
                  </p:cNvPr>
                  <p:cNvSpPr/>
                  <p:nvPr/>
                </p:nvSpPr>
                <p:spPr bwMode="gray">
                  <a:xfrm>
                    <a:off x="676370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101" name="Freeform: Shape 10100">
                    <a:extLst>
                      <a:ext uri="{FF2B5EF4-FFF2-40B4-BE49-F238E27FC236}">
                        <a16:creationId xmlns:a16="http://schemas.microsoft.com/office/drawing/2014/main" id="{1EF89255-E9D1-2B72-75F2-333510C8993F}"/>
                      </a:ext>
                    </a:extLst>
                  </p:cNvPr>
                  <p:cNvSpPr/>
                  <p:nvPr/>
                </p:nvSpPr>
                <p:spPr bwMode="gray">
                  <a:xfrm>
                    <a:off x="672588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49" name="Graphic 16">
                  <a:extLst>
                    <a:ext uri="{FF2B5EF4-FFF2-40B4-BE49-F238E27FC236}">
                      <a16:creationId xmlns:a16="http://schemas.microsoft.com/office/drawing/2014/main" id="{74B7862A-0EBE-2292-0F12-9C609EDB3FCE}"/>
                    </a:ext>
                  </a:extLst>
                </p:cNvPr>
                <p:cNvGrpSpPr/>
                <p:nvPr/>
              </p:nvGrpSpPr>
              <p:grpSpPr bwMode="gray">
                <a:xfrm>
                  <a:off x="6741127" y="3784186"/>
                  <a:ext cx="75723" cy="75723"/>
                  <a:chOff x="6741127" y="3784186"/>
                  <a:chExt cx="75723" cy="75723"/>
                </a:xfrm>
              </p:grpSpPr>
              <p:sp>
                <p:nvSpPr>
                  <p:cNvPr id="10098" name="Freeform: Shape 10097">
                    <a:extLst>
                      <a:ext uri="{FF2B5EF4-FFF2-40B4-BE49-F238E27FC236}">
                        <a16:creationId xmlns:a16="http://schemas.microsoft.com/office/drawing/2014/main" id="{CC0851B3-BF31-1196-F050-4831532930A7}"/>
                      </a:ext>
                    </a:extLst>
                  </p:cNvPr>
                  <p:cNvSpPr/>
                  <p:nvPr/>
                </p:nvSpPr>
                <p:spPr bwMode="gray">
                  <a:xfrm>
                    <a:off x="6778942"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99" name="Freeform: Shape 10098">
                    <a:extLst>
                      <a:ext uri="{FF2B5EF4-FFF2-40B4-BE49-F238E27FC236}">
                        <a16:creationId xmlns:a16="http://schemas.microsoft.com/office/drawing/2014/main" id="{1D9049EC-3BC9-8DB5-E8E0-5AAEA78A2678}"/>
                      </a:ext>
                    </a:extLst>
                  </p:cNvPr>
                  <p:cNvSpPr/>
                  <p:nvPr/>
                </p:nvSpPr>
                <p:spPr bwMode="gray">
                  <a:xfrm>
                    <a:off x="674112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0" name="Graphic 16">
                  <a:extLst>
                    <a:ext uri="{FF2B5EF4-FFF2-40B4-BE49-F238E27FC236}">
                      <a16:creationId xmlns:a16="http://schemas.microsoft.com/office/drawing/2014/main" id="{52C90A67-20E3-24C2-017A-3D34C9C8EFE1}"/>
                    </a:ext>
                  </a:extLst>
                </p:cNvPr>
                <p:cNvGrpSpPr/>
                <p:nvPr/>
              </p:nvGrpSpPr>
              <p:grpSpPr bwMode="gray">
                <a:xfrm>
                  <a:off x="6756367" y="3784186"/>
                  <a:ext cx="75723" cy="75723"/>
                  <a:chOff x="6756367" y="3784186"/>
                  <a:chExt cx="75723" cy="75723"/>
                </a:xfrm>
              </p:grpSpPr>
              <p:sp>
                <p:nvSpPr>
                  <p:cNvPr id="10096" name="Freeform: Shape 10095">
                    <a:extLst>
                      <a:ext uri="{FF2B5EF4-FFF2-40B4-BE49-F238E27FC236}">
                        <a16:creationId xmlns:a16="http://schemas.microsoft.com/office/drawing/2014/main" id="{6590D68C-CA49-97B8-5287-F6342B7B7988}"/>
                      </a:ext>
                    </a:extLst>
                  </p:cNvPr>
                  <p:cNvSpPr/>
                  <p:nvPr/>
                </p:nvSpPr>
                <p:spPr bwMode="gray">
                  <a:xfrm>
                    <a:off x="6794277" y="378418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97" name="Freeform: Shape 10096">
                    <a:extLst>
                      <a:ext uri="{FF2B5EF4-FFF2-40B4-BE49-F238E27FC236}">
                        <a16:creationId xmlns:a16="http://schemas.microsoft.com/office/drawing/2014/main" id="{3DE5C7B6-9D35-058A-2125-7BFD112D00DB}"/>
                      </a:ext>
                    </a:extLst>
                  </p:cNvPr>
                  <p:cNvSpPr/>
                  <p:nvPr/>
                </p:nvSpPr>
                <p:spPr bwMode="gray">
                  <a:xfrm>
                    <a:off x="6756367" y="3822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1" name="Graphic 16">
                  <a:extLst>
                    <a:ext uri="{FF2B5EF4-FFF2-40B4-BE49-F238E27FC236}">
                      <a16:creationId xmlns:a16="http://schemas.microsoft.com/office/drawing/2014/main" id="{FA2A064B-3419-0E90-F737-256C4BB24CFB}"/>
                    </a:ext>
                  </a:extLst>
                </p:cNvPr>
                <p:cNvGrpSpPr/>
                <p:nvPr/>
              </p:nvGrpSpPr>
              <p:grpSpPr bwMode="gray">
                <a:xfrm>
                  <a:off x="7132129" y="3851623"/>
                  <a:ext cx="75723" cy="75723"/>
                  <a:chOff x="7132129" y="3851623"/>
                  <a:chExt cx="75723" cy="75723"/>
                </a:xfrm>
              </p:grpSpPr>
              <p:sp>
                <p:nvSpPr>
                  <p:cNvPr id="10094" name="Freeform: Shape 10093">
                    <a:extLst>
                      <a:ext uri="{FF2B5EF4-FFF2-40B4-BE49-F238E27FC236}">
                        <a16:creationId xmlns:a16="http://schemas.microsoft.com/office/drawing/2014/main" id="{0877BAB4-9984-A857-AE09-79385B54FC17}"/>
                      </a:ext>
                    </a:extLst>
                  </p:cNvPr>
                  <p:cNvSpPr/>
                  <p:nvPr/>
                </p:nvSpPr>
                <p:spPr bwMode="gray">
                  <a:xfrm>
                    <a:off x="7169943"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95" name="Freeform: Shape 10094">
                    <a:extLst>
                      <a:ext uri="{FF2B5EF4-FFF2-40B4-BE49-F238E27FC236}">
                        <a16:creationId xmlns:a16="http://schemas.microsoft.com/office/drawing/2014/main" id="{AF284E91-A24D-BFC5-3182-FA7A626F0E11}"/>
                      </a:ext>
                    </a:extLst>
                  </p:cNvPr>
                  <p:cNvSpPr/>
                  <p:nvPr/>
                </p:nvSpPr>
                <p:spPr bwMode="gray">
                  <a:xfrm>
                    <a:off x="7132129"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2" name="Graphic 16">
                  <a:extLst>
                    <a:ext uri="{FF2B5EF4-FFF2-40B4-BE49-F238E27FC236}">
                      <a16:creationId xmlns:a16="http://schemas.microsoft.com/office/drawing/2014/main" id="{013B8E14-9A80-BCEB-71ED-BB22C13FB5C5}"/>
                    </a:ext>
                  </a:extLst>
                </p:cNvPr>
                <p:cNvGrpSpPr/>
                <p:nvPr/>
              </p:nvGrpSpPr>
              <p:grpSpPr bwMode="gray">
                <a:xfrm>
                  <a:off x="7103935" y="3851623"/>
                  <a:ext cx="75723" cy="75723"/>
                  <a:chOff x="7103935" y="3851623"/>
                  <a:chExt cx="75723" cy="75723"/>
                </a:xfrm>
              </p:grpSpPr>
              <p:sp>
                <p:nvSpPr>
                  <p:cNvPr id="10092" name="Freeform: Shape 10091">
                    <a:extLst>
                      <a:ext uri="{FF2B5EF4-FFF2-40B4-BE49-F238E27FC236}">
                        <a16:creationId xmlns:a16="http://schemas.microsoft.com/office/drawing/2014/main" id="{B49BFFC3-7D20-314A-7107-F7F38F2EF95B}"/>
                      </a:ext>
                    </a:extLst>
                  </p:cNvPr>
                  <p:cNvSpPr/>
                  <p:nvPr/>
                </p:nvSpPr>
                <p:spPr bwMode="gray">
                  <a:xfrm>
                    <a:off x="7141844"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93" name="Freeform: Shape 10092">
                    <a:extLst>
                      <a:ext uri="{FF2B5EF4-FFF2-40B4-BE49-F238E27FC236}">
                        <a16:creationId xmlns:a16="http://schemas.microsoft.com/office/drawing/2014/main" id="{8EEA9704-D7A5-5A4E-ABA6-DF574F8C92C6}"/>
                      </a:ext>
                    </a:extLst>
                  </p:cNvPr>
                  <p:cNvSpPr/>
                  <p:nvPr/>
                </p:nvSpPr>
                <p:spPr bwMode="gray">
                  <a:xfrm>
                    <a:off x="7103935"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3" name="Graphic 16">
                  <a:extLst>
                    <a:ext uri="{FF2B5EF4-FFF2-40B4-BE49-F238E27FC236}">
                      <a16:creationId xmlns:a16="http://schemas.microsoft.com/office/drawing/2014/main" id="{9E11DC90-C02F-E710-D52D-CA9B4D8C3077}"/>
                    </a:ext>
                  </a:extLst>
                </p:cNvPr>
                <p:cNvGrpSpPr/>
                <p:nvPr/>
              </p:nvGrpSpPr>
              <p:grpSpPr bwMode="gray">
                <a:xfrm>
                  <a:off x="7066120" y="3851623"/>
                  <a:ext cx="75723" cy="75723"/>
                  <a:chOff x="7066120" y="3851623"/>
                  <a:chExt cx="75723" cy="75723"/>
                </a:xfrm>
              </p:grpSpPr>
              <p:sp>
                <p:nvSpPr>
                  <p:cNvPr id="10090" name="Freeform: Shape 10089">
                    <a:extLst>
                      <a:ext uri="{FF2B5EF4-FFF2-40B4-BE49-F238E27FC236}">
                        <a16:creationId xmlns:a16="http://schemas.microsoft.com/office/drawing/2014/main" id="{699AF9CF-9093-4FDF-CBB3-35D9ED04BED6}"/>
                      </a:ext>
                    </a:extLst>
                  </p:cNvPr>
                  <p:cNvSpPr/>
                  <p:nvPr/>
                </p:nvSpPr>
                <p:spPr bwMode="gray">
                  <a:xfrm>
                    <a:off x="7103935" y="3851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91" name="Freeform: Shape 10090">
                    <a:extLst>
                      <a:ext uri="{FF2B5EF4-FFF2-40B4-BE49-F238E27FC236}">
                        <a16:creationId xmlns:a16="http://schemas.microsoft.com/office/drawing/2014/main" id="{959B4F69-6287-E5D1-A598-6AD1E4E2DFEA}"/>
                      </a:ext>
                    </a:extLst>
                  </p:cNvPr>
                  <p:cNvSpPr/>
                  <p:nvPr/>
                </p:nvSpPr>
                <p:spPr bwMode="gray">
                  <a:xfrm>
                    <a:off x="7066120" y="3889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4" name="Graphic 16">
                  <a:extLst>
                    <a:ext uri="{FF2B5EF4-FFF2-40B4-BE49-F238E27FC236}">
                      <a16:creationId xmlns:a16="http://schemas.microsoft.com/office/drawing/2014/main" id="{29210027-A41B-6A47-75CE-3341A3239092}"/>
                    </a:ext>
                  </a:extLst>
                </p:cNvPr>
                <p:cNvGrpSpPr/>
                <p:nvPr/>
              </p:nvGrpSpPr>
              <p:grpSpPr bwMode="gray">
                <a:xfrm>
                  <a:off x="7334725" y="3895819"/>
                  <a:ext cx="75628" cy="75723"/>
                  <a:chOff x="7334725" y="3895819"/>
                  <a:chExt cx="75628" cy="75723"/>
                </a:xfrm>
              </p:grpSpPr>
              <p:sp>
                <p:nvSpPr>
                  <p:cNvPr id="10088" name="Freeform: Shape 10087">
                    <a:extLst>
                      <a:ext uri="{FF2B5EF4-FFF2-40B4-BE49-F238E27FC236}">
                        <a16:creationId xmlns:a16="http://schemas.microsoft.com/office/drawing/2014/main" id="{3C60F1AF-C128-7E09-6CDD-9C5214BA08D8}"/>
                      </a:ext>
                    </a:extLst>
                  </p:cNvPr>
                  <p:cNvSpPr/>
                  <p:nvPr/>
                </p:nvSpPr>
                <p:spPr bwMode="gray">
                  <a:xfrm>
                    <a:off x="7372540"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89" name="Freeform: Shape 10088">
                    <a:extLst>
                      <a:ext uri="{FF2B5EF4-FFF2-40B4-BE49-F238E27FC236}">
                        <a16:creationId xmlns:a16="http://schemas.microsoft.com/office/drawing/2014/main" id="{954412BA-B81D-91BD-A356-C2F7A45C68E6}"/>
                      </a:ext>
                    </a:extLst>
                  </p:cNvPr>
                  <p:cNvSpPr/>
                  <p:nvPr/>
                </p:nvSpPr>
                <p:spPr bwMode="gray">
                  <a:xfrm>
                    <a:off x="7334725" y="393363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5" name="Graphic 16">
                  <a:extLst>
                    <a:ext uri="{FF2B5EF4-FFF2-40B4-BE49-F238E27FC236}">
                      <a16:creationId xmlns:a16="http://schemas.microsoft.com/office/drawing/2014/main" id="{01171FE7-59B5-66AD-5BD0-075591A94BED}"/>
                    </a:ext>
                  </a:extLst>
                </p:cNvPr>
                <p:cNvGrpSpPr/>
                <p:nvPr/>
              </p:nvGrpSpPr>
              <p:grpSpPr bwMode="gray">
                <a:xfrm>
                  <a:off x="7369587" y="3895819"/>
                  <a:ext cx="75723" cy="75723"/>
                  <a:chOff x="7369587" y="3895819"/>
                  <a:chExt cx="75723" cy="75723"/>
                </a:xfrm>
              </p:grpSpPr>
              <p:sp>
                <p:nvSpPr>
                  <p:cNvPr id="10086" name="Freeform: Shape 10085">
                    <a:extLst>
                      <a:ext uri="{FF2B5EF4-FFF2-40B4-BE49-F238E27FC236}">
                        <a16:creationId xmlns:a16="http://schemas.microsoft.com/office/drawing/2014/main" id="{C35BC62B-71D7-2CD2-9B9C-6F26E68C444F}"/>
                      </a:ext>
                    </a:extLst>
                  </p:cNvPr>
                  <p:cNvSpPr/>
                  <p:nvPr/>
                </p:nvSpPr>
                <p:spPr bwMode="gray">
                  <a:xfrm>
                    <a:off x="7407401"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87" name="Freeform: Shape 10086">
                    <a:extLst>
                      <a:ext uri="{FF2B5EF4-FFF2-40B4-BE49-F238E27FC236}">
                        <a16:creationId xmlns:a16="http://schemas.microsoft.com/office/drawing/2014/main" id="{ED4F525B-72A9-6DD1-6039-AAEDA5F1BA40}"/>
                      </a:ext>
                    </a:extLst>
                  </p:cNvPr>
                  <p:cNvSpPr/>
                  <p:nvPr/>
                </p:nvSpPr>
                <p:spPr bwMode="gray">
                  <a:xfrm>
                    <a:off x="7369587"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6" name="Graphic 16">
                  <a:extLst>
                    <a:ext uri="{FF2B5EF4-FFF2-40B4-BE49-F238E27FC236}">
                      <a16:creationId xmlns:a16="http://schemas.microsoft.com/office/drawing/2014/main" id="{45A66152-E76E-FA7A-9E83-1D9EF9320B71}"/>
                    </a:ext>
                  </a:extLst>
                </p:cNvPr>
                <p:cNvGrpSpPr/>
                <p:nvPr/>
              </p:nvGrpSpPr>
              <p:grpSpPr bwMode="gray">
                <a:xfrm>
                  <a:off x="7307674" y="3895819"/>
                  <a:ext cx="75723" cy="75723"/>
                  <a:chOff x="7307674" y="3895819"/>
                  <a:chExt cx="75723" cy="75723"/>
                </a:xfrm>
              </p:grpSpPr>
              <p:sp>
                <p:nvSpPr>
                  <p:cNvPr id="10084" name="Freeform: Shape 10083">
                    <a:extLst>
                      <a:ext uri="{FF2B5EF4-FFF2-40B4-BE49-F238E27FC236}">
                        <a16:creationId xmlns:a16="http://schemas.microsoft.com/office/drawing/2014/main" id="{6841E0FA-3202-7E15-8784-F120C4197269}"/>
                      </a:ext>
                    </a:extLst>
                  </p:cNvPr>
                  <p:cNvSpPr/>
                  <p:nvPr/>
                </p:nvSpPr>
                <p:spPr bwMode="gray">
                  <a:xfrm>
                    <a:off x="734548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85" name="Freeform: Shape 10084">
                    <a:extLst>
                      <a:ext uri="{FF2B5EF4-FFF2-40B4-BE49-F238E27FC236}">
                        <a16:creationId xmlns:a16="http://schemas.microsoft.com/office/drawing/2014/main" id="{255CEE39-76F1-DF1C-DE5D-6E08339455DB}"/>
                      </a:ext>
                    </a:extLst>
                  </p:cNvPr>
                  <p:cNvSpPr/>
                  <p:nvPr/>
                </p:nvSpPr>
                <p:spPr bwMode="gray">
                  <a:xfrm>
                    <a:off x="7307674"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7" name="Graphic 16">
                  <a:extLst>
                    <a:ext uri="{FF2B5EF4-FFF2-40B4-BE49-F238E27FC236}">
                      <a16:creationId xmlns:a16="http://schemas.microsoft.com/office/drawing/2014/main" id="{A0A2206D-D7A4-5AA8-2D2A-2E32D186CA8D}"/>
                    </a:ext>
                  </a:extLst>
                </p:cNvPr>
                <p:cNvGrpSpPr/>
                <p:nvPr/>
              </p:nvGrpSpPr>
              <p:grpSpPr bwMode="gray">
                <a:xfrm>
                  <a:off x="7296816" y="3895819"/>
                  <a:ext cx="75723" cy="75723"/>
                  <a:chOff x="7296816" y="3895819"/>
                  <a:chExt cx="75723" cy="75723"/>
                </a:xfrm>
              </p:grpSpPr>
              <p:sp>
                <p:nvSpPr>
                  <p:cNvPr id="10082" name="Freeform: Shape 10081">
                    <a:extLst>
                      <a:ext uri="{FF2B5EF4-FFF2-40B4-BE49-F238E27FC236}">
                        <a16:creationId xmlns:a16="http://schemas.microsoft.com/office/drawing/2014/main" id="{743C5151-A31A-FE52-5C1A-EBF233EF9BEA}"/>
                      </a:ext>
                    </a:extLst>
                  </p:cNvPr>
                  <p:cNvSpPr/>
                  <p:nvPr/>
                </p:nvSpPr>
                <p:spPr bwMode="gray">
                  <a:xfrm>
                    <a:off x="7334725"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83" name="Freeform: Shape 10082">
                    <a:extLst>
                      <a:ext uri="{FF2B5EF4-FFF2-40B4-BE49-F238E27FC236}">
                        <a16:creationId xmlns:a16="http://schemas.microsoft.com/office/drawing/2014/main" id="{E8A74EC7-A2BE-48A2-B029-9EB729ADD403}"/>
                      </a:ext>
                    </a:extLst>
                  </p:cNvPr>
                  <p:cNvSpPr/>
                  <p:nvPr/>
                </p:nvSpPr>
                <p:spPr bwMode="gray">
                  <a:xfrm>
                    <a:off x="7296816"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8" name="Graphic 16">
                  <a:extLst>
                    <a:ext uri="{FF2B5EF4-FFF2-40B4-BE49-F238E27FC236}">
                      <a16:creationId xmlns:a16="http://schemas.microsoft.com/office/drawing/2014/main" id="{5A244CFE-444C-50C5-7A2F-2156B6A9A582}"/>
                    </a:ext>
                  </a:extLst>
                </p:cNvPr>
                <p:cNvGrpSpPr/>
                <p:nvPr/>
              </p:nvGrpSpPr>
              <p:grpSpPr bwMode="gray">
                <a:xfrm>
                  <a:off x="7217282" y="3895819"/>
                  <a:ext cx="75723" cy="75723"/>
                  <a:chOff x="7217282" y="3895819"/>
                  <a:chExt cx="75723" cy="75723"/>
                </a:xfrm>
              </p:grpSpPr>
              <p:sp>
                <p:nvSpPr>
                  <p:cNvPr id="10080" name="Freeform: Shape 10079">
                    <a:extLst>
                      <a:ext uri="{FF2B5EF4-FFF2-40B4-BE49-F238E27FC236}">
                        <a16:creationId xmlns:a16="http://schemas.microsoft.com/office/drawing/2014/main" id="{04348027-414C-45EF-27E4-A19574AAD665}"/>
                      </a:ext>
                    </a:extLst>
                  </p:cNvPr>
                  <p:cNvSpPr/>
                  <p:nvPr/>
                </p:nvSpPr>
                <p:spPr bwMode="gray">
                  <a:xfrm>
                    <a:off x="725509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81" name="Freeform: Shape 10080">
                    <a:extLst>
                      <a:ext uri="{FF2B5EF4-FFF2-40B4-BE49-F238E27FC236}">
                        <a16:creationId xmlns:a16="http://schemas.microsoft.com/office/drawing/2014/main" id="{7CCF305A-8FBC-E98A-7078-41B1E78517B2}"/>
                      </a:ext>
                    </a:extLst>
                  </p:cNvPr>
                  <p:cNvSpPr/>
                  <p:nvPr/>
                </p:nvSpPr>
                <p:spPr bwMode="gray">
                  <a:xfrm>
                    <a:off x="7217282"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59" name="Graphic 16">
                  <a:extLst>
                    <a:ext uri="{FF2B5EF4-FFF2-40B4-BE49-F238E27FC236}">
                      <a16:creationId xmlns:a16="http://schemas.microsoft.com/office/drawing/2014/main" id="{2ED04155-112A-08A7-0FC8-8A8FE58C06A5}"/>
                    </a:ext>
                  </a:extLst>
                </p:cNvPr>
                <p:cNvGrpSpPr/>
                <p:nvPr/>
              </p:nvGrpSpPr>
              <p:grpSpPr bwMode="gray">
                <a:xfrm>
                  <a:off x="7226521" y="3895819"/>
                  <a:ext cx="75628" cy="75723"/>
                  <a:chOff x="7226521" y="3895819"/>
                  <a:chExt cx="75628" cy="75723"/>
                </a:xfrm>
              </p:grpSpPr>
              <p:sp>
                <p:nvSpPr>
                  <p:cNvPr id="10078" name="Freeform: Shape 10077">
                    <a:extLst>
                      <a:ext uri="{FF2B5EF4-FFF2-40B4-BE49-F238E27FC236}">
                        <a16:creationId xmlns:a16="http://schemas.microsoft.com/office/drawing/2014/main" id="{A58E7544-1994-E4A8-4B64-B8F8AC8AC5C1}"/>
                      </a:ext>
                    </a:extLst>
                  </p:cNvPr>
                  <p:cNvSpPr/>
                  <p:nvPr/>
                </p:nvSpPr>
                <p:spPr bwMode="gray">
                  <a:xfrm>
                    <a:off x="7264336"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79" name="Freeform: Shape 10078">
                    <a:extLst>
                      <a:ext uri="{FF2B5EF4-FFF2-40B4-BE49-F238E27FC236}">
                        <a16:creationId xmlns:a16="http://schemas.microsoft.com/office/drawing/2014/main" id="{5F44B01E-99A7-D5E1-342A-48B959C413A7}"/>
                      </a:ext>
                    </a:extLst>
                  </p:cNvPr>
                  <p:cNvSpPr/>
                  <p:nvPr/>
                </p:nvSpPr>
                <p:spPr bwMode="gray">
                  <a:xfrm>
                    <a:off x="7226521" y="39336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0" name="Graphic 16">
                  <a:extLst>
                    <a:ext uri="{FF2B5EF4-FFF2-40B4-BE49-F238E27FC236}">
                      <a16:creationId xmlns:a16="http://schemas.microsoft.com/office/drawing/2014/main" id="{1A8BB310-9140-F8FA-6BAA-9C907FA0D699}"/>
                    </a:ext>
                  </a:extLst>
                </p:cNvPr>
                <p:cNvGrpSpPr/>
                <p:nvPr/>
              </p:nvGrpSpPr>
              <p:grpSpPr bwMode="gray">
                <a:xfrm>
                  <a:off x="7238999" y="3895819"/>
                  <a:ext cx="75723" cy="75723"/>
                  <a:chOff x="7238999" y="3895819"/>
                  <a:chExt cx="75723" cy="75723"/>
                </a:xfrm>
              </p:grpSpPr>
              <p:sp>
                <p:nvSpPr>
                  <p:cNvPr id="10076" name="Freeform: Shape 10075">
                    <a:extLst>
                      <a:ext uri="{FF2B5EF4-FFF2-40B4-BE49-F238E27FC236}">
                        <a16:creationId xmlns:a16="http://schemas.microsoft.com/office/drawing/2014/main" id="{0D683EA4-A0EA-4AB5-1537-D1F8D30E07D6}"/>
                      </a:ext>
                    </a:extLst>
                  </p:cNvPr>
                  <p:cNvSpPr/>
                  <p:nvPr/>
                </p:nvSpPr>
                <p:spPr bwMode="gray">
                  <a:xfrm>
                    <a:off x="7276909" y="38958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77" name="Freeform: Shape 10076">
                    <a:extLst>
                      <a:ext uri="{FF2B5EF4-FFF2-40B4-BE49-F238E27FC236}">
                        <a16:creationId xmlns:a16="http://schemas.microsoft.com/office/drawing/2014/main" id="{0F49C947-C90C-1454-7FDE-9A93BE22E2CA}"/>
                      </a:ext>
                    </a:extLst>
                  </p:cNvPr>
                  <p:cNvSpPr/>
                  <p:nvPr/>
                </p:nvSpPr>
                <p:spPr bwMode="gray">
                  <a:xfrm>
                    <a:off x="7238999" y="39336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1" name="Graphic 16">
                  <a:extLst>
                    <a:ext uri="{FF2B5EF4-FFF2-40B4-BE49-F238E27FC236}">
                      <a16:creationId xmlns:a16="http://schemas.microsoft.com/office/drawing/2014/main" id="{37BDCF1A-CE14-14EF-E677-0E5DE877D6A8}"/>
                    </a:ext>
                  </a:extLst>
                </p:cNvPr>
                <p:cNvGrpSpPr/>
                <p:nvPr/>
              </p:nvGrpSpPr>
              <p:grpSpPr bwMode="gray">
                <a:xfrm>
                  <a:off x="7393590" y="3924871"/>
                  <a:ext cx="75628" cy="75723"/>
                  <a:chOff x="7393590" y="3924871"/>
                  <a:chExt cx="75628" cy="75723"/>
                </a:xfrm>
              </p:grpSpPr>
              <p:sp>
                <p:nvSpPr>
                  <p:cNvPr id="10074" name="Freeform: Shape 10073">
                    <a:extLst>
                      <a:ext uri="{FF2B5EF4-FFF2-40B4-BE49-F238E27FC236}">
                        <a16:creationId xmlns:a16="http://schemas.microsoft.com/office/drawing/2014/main" id="{6E025A20-17DE-2CDD-B16D-CEB0A4F502B0}"/>
                      </a:ext>
                    </a:extLst>
                  </p:cNvPr>
                  <p:cNvSpPr/>
                  <p:nvPr/>
                </p:nvSpPr>
                <p:spPr bwMode="gray">
                  <a:xfrm>
                    <a:off x="743140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75" name="Freeform: Shape 10074">
                    <a:extLst>
                      <a:ext uri="{FF2B5EF4-FFF2-40B4-BE49-F238E27FC236}">
                        <a16:creationId xmlns:a16="http://schemas.microsoft.com/office/drawing/2014/main" id="{38DC86E1-4A50-F517-B449-AAE2CF8E089A}"/>
                      </a:ext>
                    </a:extLst>
                  </p:cNvPr>
                  <p:cNvSpPr/>
                  <p:nvPr/>
                </p:nvSpPr>
                <p:spPr bwMode="gray">
                  <a:xfrm>
                    <a:off x="7393590" y="396278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2" name="Graphic 16">
                  <a:extLst>
                    <a:ext uri="{FF2B5EF4-FFF2-40B4-BE49-F238E27FC236}">
                      <a16:creationId xmlns:a16="http://schemas.microsoft.com/office/drawing/2014/main" id="{D5AEC8BF-85CE-59B2-A056-33D210A92168}"/>
                    </a:ext>
                  </a:extLst>
                </p:cNvPr>
                <p:cNvGrpSpPr/>
                <p:nvPr/>
              </p:nvGrpSpPr>
              <p:grpSpPr bwMode="gray">
                <a:xfrm>
                  <a:off x="7445311" y="3924871"/>
                  <a:ext cx="75723" cy="75723"/>
                  <a:chOff x="7445311" y="3924871"/>
                  <a:chExt cx="75723" cy="75723"/>
                </a:xfrm>
              </p:grpSpPr>
              <p:sp>
                <p:nvSpPr>
                  <p:cNvPr id="10072" name="Freeform: Shape 10071">
                    <a:extLst>
                      <a:ext uri="{FF2B5EF4-FFF2-40B4-BE49-F238E27FC236}">
                        <a16:creationId xmlns:a16="http://schemas.microsoft.com/office/drawing/2014/main" id="{CA685F93-5544-3D6E-8E4A-51757E06F710}"/>
                      </a:ext>
                    </a:extLst>
                  </p:cNvPr>
                  <p:cNvSpPr/>
                  <p:nvPr/>
                </p:nvSpPr>
                <p:spPr bwMode="gray">
                  <a:xfrm>
                    <a:off x="7483125"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73" name="Freeform: Shape 10072">
                    <a:extLst>
                      <a:ext uri="{FF2B5EF4-FFF2-40B4-BE49-F238E27FC236}">
                        <a16:creationId xmlns:a16="http://schemas.microsoft.com/office/drawing/2014/main" id="{88359720-1BD0-E9EB-94D2-E76245104B6B}"/>
                      </a:ext>
                    </a:extLst>
                  </p:cNvPr>
                  <p:cNvSpPr/>
                  <p:nvPr/>
                </p:nvSpPr>
                <p:spPr bwMode="gray">
                  <a:xfrm>
                    <a:off x="7445311"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3" name="Graphic 16">
                  <a:extLst>
                    <a:ext uri="{FF2B5EF4-FFF2-40B4-BE49-F238E27FC236}">
                      <a16:creationId xmlns:a16="http://schemas.microsoft.com/office/drawing/2014/main" id="{0E945109-F6DC-0C0C-D2DD-BCF8D7BA16C6}"/>
                    </a:ext>
                  </a:extLst>
                </p:cNvPr>
                <p:cNvGrpSpPr/>
                <p:nvPr/>
              </p:nvGrpSpPr>
              <p:grpSpPr bwMode="gray">
                <a:xfrm>
                  <a:off x="7517796" y="3924871"/>
                  <a:ext cx="75723" cy="75723"/>
                  <a:chOff x="7517796" y="3924871"/>
                  <a:chExt cx="75723" cy="75723"/>
                </a:xfrm>
              </p:grpSpPr>
              <p:sp>
                <p:nvSpPr>
                  <p:cNvPr id="10070" name="Freeform: Shape 10069">
                    <a:extLst>
                      <a:ext uri="{FF2B5EF4-FFF2-40B4-BE49-F238E27FC236}">
                        <a16:creationId xmlns:a16="http://schemas.microsoft.com/office/drawing/2014/main" id="{E00BDED5-FB53-7C1C-EE08-76B07FD0867F}"/>
                      </a:ext>
                    </a:extLst>
                  </p:cNvPr>
                  <p:cNvSpPr/>
                  <p:nvPr/>
                </p:nvSpPr>
                <p:spPr bwMode="gray">
                  <a:xfrm>
                    <a:off x="755561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71" name="Freeform: Shape 10070">
                    <a:extLst>
                      <a:ext uri="{FF2B5EF4-FFF2-40B4-BE49-F238E27FC236}">
                        <a16:creationId xmlns:a16="http://schemas.microsoft.com/office/drawing/2014/main" id="{75B5A20D-2115-3035-43DF-2AD1CA3C8BC8}"/>
                      </a:ext>
                    </a:extLst>
                  </p:cNvPr>
                  <p:cNvSpPr/>
                  <p:nvPr/>
                </p:nvSpPr>
                <p:spPr bwMode="gray">
                  <a:xfrm>
                    <a:off x="7517796"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4" name="Graphic 16">
                  <a:extLst>
                    <a:ext uri="{FF2B5EF4-FFF2-40B4-BE49-F238E27FC236}">
                      <a16:creationId xmlns:a16="http://schemas.microsoft.com/office/drawing/2014/main" id="{1D84AA5D-3B32-0341-BDF3-A8CFD5989FBA}"/>
                    </a:ext>
                  </a:extLst>
                </p:cNvPr>
                <p:cNvGrpSpPr/>
                <p:nvPr/>
              </p:nvGrpSpPr>
              <p:grpSpPr bwMode="gray">
                <a:xfrm>
                  <a:off x="7560944" y="3924871"/>
                  <a:ext cx="75723" cy="75723"/>
                  <a:chOff x="7560944" y="3924871"/>
                  <a:chExt cx="75723" cy="75723"/>
                </a:xfrm>
              </p:grpSpPr>
              <p:sp>
                <p:nvSpPr>
                  <p:cNvPr id="10068" name="Freeform: Shape 10067">
                    <a:extLst>
                      <a:ext uri="{FF2B5EF4-FFF2-40B4-BE49-F238E27FC236}">
                        <a16:creationId xmlns:a16="http://schemas.microsoft.com/office/drawing/2014/main" id="{1E5D1B63-7775-F6DD-3349-D3348734E01D}"/>
                      </a:ext>
                    </a:extLst>
                  </p:cNvPr>
                  <p:cNvSpPr/>
                  <p:nvPr/>
                </p:nvSpPr>
                <p:spPr bwMode="gray">
                  <a:xfrm>
                    <a:off x="7598854"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69" name="Freeform: Shape 10068">
                    <a:extLst>
                      <a:ext uri="{FF2B5EF4-FFF2-40B4-BE49-F238E27FC236}">
                        <a16:creationId xmlns:a16="http://schemas.microsoft.com/office/drawing/2014/main" id="{049DBFFC-CAD3-C259-0BE7-D5A66B2F5834}"/>
                      </a:ext>
                    </a:extLst>
                  </p:cNvPr>
                  <p:cNvSpPr/>
                  <p:nvPr/>
                </p:nvSpPr>
                <p:spPr bwMode="gray">
                  <a:xfrm>
                    <a:off x="7560944"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065" name="Graphic 16">
                  <a:extLst>
                    <a:ext uri="{FF2B5EF4-FFF2-40B4-BE49-F238E27FC236}">
                      <a16:creationId xmlns:a16="http://schemas.microsoft.com/office/drawing/2014/main" id="{850C8042-3911-FE27-89C1-78C8D4060480}"/>
                    </a:ext>
                  </a:extLst>
                </p:cNvPr>
                <p:cNvGrpSpPr/>
                <p:nvPr/>
              </p:nvGrpSpPr>
              <p:grpSpPr bwMode="gray">
                <a:xfrm>
                  <a:off x="7605140" y="3924871"/>
                  <a:ext cx="75723" cy="75723"/>
                  <a:chOff x="7605140" y="3924871"/>
                  <a:chExt cx="75723" cy="75723"/>
                </a:xfrm>
              </p:grpSpPr>
              <p:sp>
                <p:nvSpPr>
                  <p:cNvPr id="10066" name="Freeform: Shape 10065">
                    <a:extLst>
                      <a:ext uri="{FF2B5EF4-FFF2-40B4-BE49-F238E27FC236}">
                        <a16:creationId xmlns:a16="http://schemas.microsoft.com/office/drawing/2014/main" id="{D7FD9ADB-E659-D6A0-779C-84F5CB59D49F}"/>
                      </a:ext>
                    </a:extLst>
                  </p:cNvPr>
                  <p:cNvSpPr/>
                  <p:nvPr/>
                </p:nvSpPr>
                <p:spPr bwMode="gray">
                  <a:xfrm>
                    <a:off x="7643050" y="39248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67" name="Freeform: Shape 10066">
                    <a:extLst>
                      <a:ext uri="{FF2B5EF4-FFF2-40B4-BE49-F238E27FC236}">
                        <a16:creationId xmlns:a16="http://schemas.microsoft.com/office/drawing/2014/main" id="{AC9C3E22-D18D-DE25-8160-23157E23A02D}"/>
                      </a:ext>
                    </a:extLst>
                  </p:cNvPr>
                  <p:cNvSpPr/>
                  <p:nvPr/>
                </p:nvSpPr>
                <p:spPr bwMode="gray">
                  <a:xfrm>
                    <a:off x="7605140" y="39627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9" name="Freeform: Shape 8">
                <a:extLst>
                  <a:ext uri="{FF2B5EF4-FFF2-40B4-BE49-F238E27FC236}">
                    <a16:creationId xmlns:a16="http://schemas.microsoft.com/office/drawing/2014/main" id="{6B064574-E980-55DC-9AE7-8E0D4E1933C7}"/>
                  </a:ext>
                </a:extLst>
              </p:cNvPr>
              <p:cNvSpPr/>
              <p:nvPr/>
            </p:nvSpPr>
            <p:spPr bwMode="gray">
              <a:xfrm>
                <a:off x="3505770" y="2861976"/>
                <a:ext cx="5180742" cy="1136046"/>
              </a:xfrm>
              <a:custGeom>
                <a:avLst/>
                <a:gdLst>
                  <a:gd name="connsiteX0" fmla="*/ 5180743 w 5180742"/>
                  <a:gd name="connsiteY0" fmla="*/ 1136047 h 1136046"/>
                  <a:gd name="connsiteX1" fmla="*/ 4136136 w 5180742"/>
                  <a:gd name="connsiteY1" fmla="*/ 1136047 h 1136046"/>
                  <a:gd name="connsiteX2" fmla="*/ 4136136 w 5180742"/>
                  <a:gd name="connsiteY2" fmla="*/ 1100519 h 1136046"/>
                  <a:gd name="connsiteX3" fmla="*/ 3904869 w 5180742"/>
                  <a:gd name="connsiteY3" fmla="*/ 1100519 h 1136046"/>
                  <a:gd name="connsiteX4" fmla="*/ 3904869 w 5180742"/>
                  <a:gd name="connsiteY4" fmla="*/ 1071658 h 1136046"/>
                  <a:gd name="connsiteX5" fmla="*/ 3704844 w 5180742"/>
                  <a:gd name="connsiteY5" fmla="*/ 1071658 h 1136046"/>
                  <a:gd name="connsiteX6" fmla="*/ 3704844 w 5180742"/>
                  <a:gd name="connsiteY6" fmla="*/ 1054608 h 1136046"/>
                  <a:gd name="connsiteX7" fmla="*/ 3662839 w 5180742"/>
                  <a:gd name="connsiteY7" fmla="*/ 1054608 h 1136046"/>
                  <a:gd name="connsiteX8" fmla="*/ 3662839 w 5180742"/>
                  <a:gd name="connsiteY8" fmla="*/ 1026700 h 1136046"/>
                  <a:gd name="connsiteX9" fmla="*/ 3564541 w 5180742"/>
                  <a:gd name="connsiteY9" fmla="*/ 1026700 h 1136046"/>
                  <a:gd name="connsiteX10" fmla="*/ 3564541 w 5180742"/>
                  <a:gd name="connsiteY10" fmla="*/ 1004126 h 1136046"/>
                  <a:gd name="connsiteX11" fmla="*/ 3383756 w 5180742"/>
                  <a:gd name="connsiteY11" fmla="*/ 1004126 h 1136046"/>
                  <a:gd name="connsiteX12" fmla="*/ 3383756 w 5180742"/>
                  <a:gd name="connsiteY12" fmla="*/ 996315 h 1136046"/>
                  <a:gd name="connsiteX13" fmla="*/ 3297269 w 5180742"/>
                  <a:gd name="connsiteY13" fmla="*/ 996315 h 1136046"/>
                  <a:gd name="connsiteX14" fmla="*/ 3297269 w 5180742"/>
                  <a:gd name="connsiteY14" fmla="*/ 960120 h 1136046"/>
                  <a:gd name="connsiteX15" fmla="*/ 3135725 w 5180742"/>
                  <a:gd name="connsiteY15" fmla="*/ 960120 h 1136046"/>
                  <a:gd name="connsiteX16" fmla="*/ 3135725 w 5180742"/>
                  <a:gd name="connsiteY16" fmla="*/ 947833 h 1136046"/>
                  <a:gd name="connsiteX17" fmla="*/ 3095339 w 5180742"/>
                  <a:gd name="connsiteY17" fmla="*/ 947833 h 1136046"/>
                  <a:gd name="connsiteX18" fmla="*/ 3095339 w 5180742"/>
                  <a:gd name="connsiteY18" fmla="*/ 916019 h 1136046"/>
                  <a:gd name="connsiteX19" fmla="*/ 3055430 w 5180742"/>
                  <a:gd name="connsiteY19" fmla="*/ 916019 h 1136046"/>
                  <a:gd name="connsiteX20" fmla="*/ 3055430 w 5180742"/>
                  <a:gd name="connsiteY20" fmla="*/ 884206 h 1136046"/>
                  <a:gd name="connsiteX21" fmla="*/ 2864453 w 5180742"/>
                  <a:gd name="connsiteY21" fmla="*/ 884206 h 1136046"/>
                  <a:gd name="connsiteX22" fmla="*/ 2864453 w 5180742"/>
                  <a:gd name="connsiteY22" fmla="*/ 859441 h 1136046"/>
                  <a:gd name="connsiteX23" fmla="*/ 2727674 w 5180742"/>
                  <a:gd name="connsiteY23" fmla="*/ 859441 h 1136046"/>
                  <a:gd name="connsiteX24" fmla="*/ 2727674 w 5180742"/>
                  <a:gd name="connsiteY24" fmla="*/ 846106 h 1136046"/>
                  <a:gd name="connsiteX25" fmla="*/ 2672429 w 5180742"/>
                  <a:gd name="connsiteY25" fmla="*/ 846106 h 1136046"/>
                  <a:gd name="connsiteX26" fmla="*/ 2672429 w 5180742"/>
                  <a:gd name="connsiteY26" fmla="*/ 832295 h 1136046"/>
                  <a:gd name="connsiteX27" fmla="*/ 2626519 w 5180742"/>
                  <a:gd name="connsiteY27" fmla="*/ 832295 h 1136046"/>
                  <a:gd name="connsiteX28" fmla="*/ 2626519 w 5180742"/>
                  <a:gd name="connsiteY28" fmla="*/ 798576 h 1136046"/>
                  <a:gd name="connsiteX29" fmla="*/ 2489645 w 5180742"/>
                  <a:gd name="connsiteY29" fmla="*/ 798576 h 1136046"/>
                  <a:gd name="connsiteX30" fmla="*/ 2489645 w 5180742"/>
                  <a:gd name="connsiteY30" fmla="*/ 776573 h 1136046"/>
                  <a:gd name="connsiteX31" fmla="*/ 2418302 w 5180742"/>
                  <a:gd name="connsiteY31" fmla="*/ 776573 h 1136046"/>
                  <a:gd name="connsiteX32" fmla="*/ 2418302 w 5180742"/>
                  <a:gd name="connsiteY32" fmla="*/ 733235 h 1136046"/>
                  <a:gd name="connsiteX33" fmla="*/ 2349056 w 5180742"/>
                  <a:gd name="connsiteY33" fmla="*/ 733235 h 1136046"/>
                  <a:gd name="connsiteX34" fmla="*/ 2349056 w 5180742"/>
                  <a:gd name="connsiteY34" fmla="*/ 709898 h 1136046"/>
                  <a:gd name="connsiteX35" fmla="*/ 2272284 w 5180742"/>
                  <a:gd name="connsiteY35" fmla="*/ 709898 h 1136046"/>
                  <a:gd name="connsiteX36" fmla="*/ 2272284 w 5180742"/>
                  <a:gd name="connsiteY36" fmla="*/ 683419 h 1136046"/>
                  <a:gd name="connsiteX37" fmla="*/ 2244852 w 5180742"/>
                  <a:gd name="connsiteY37" fmla="*/ 683419 h 1136046"/>
                  <a:gd name="connsiteX38" fmla="*/ 2244852 w 5180742"/>
                  <a:gd name="connsiteY38" fmla="*/ 660749 h 1136046"/>
                  <a:gd name="connsiteX39" fmla="*/ 2119789 w 5180742"/>
                  <a:gd name="connsiteY39" fmla="*/ 660749 h 1136046"/>
                  <a:gd name="connsiteX40" fmla="*/ 2119789 w 5180742"/>
                  <a:gd name="connsiteY40" fmla="*/ 646176 h 1136046"/>
                  <a:gd name="connsiteX41" fmla="*/ 2078450 w 5180742"/>
                  <a:gd name="connsiteY41" fmla="*/ 646176 h 1136046"/>
                  <a:gd name="connsiteX42" fmla="*/ 2078450 w 5180742"/>
                  <a:gd name="connsiteY42" fmla="*/ 628841 h 1136046"/>
                  <a:gd name="connsiteX43" fmla="*/ 2016443 w 5180742"/>
                  <a:gd name="connsiteY43" fmla="*/ 628841 h 1136046"/>
                  <a:gd name="connsiteX44" fmla="*/ 2016443 w 5180742"/>
                  <a:gd name="connsiteY44" fmla="*/ 610838 h 1136046"/>
                  <a:gd name="connsiteX45" fmla="*/ 1964722 w 5180742"/>
                  <a:gd name="connsiteY45" fmla="*/ 610838 h 1136046"/>
                  <a:gd name="connsiteX46" fmla="*/ 1964722 w 5180742"/>
                  <a:gd name="connsiteY46" fmla="*/ 594646 h 1136046"/>
                  <a:gd name="connsiteX47" fmla="*/ 1852041 w 5180742"/>
                  <a:gd name="connsiteY47" fmla="*/ 594646 h 1136046"/>
                  <a:gd name="connsiteX48" fmla="*/ 1852041 w 5180742"/>
                  <a:gd name="connsiteY48" fmla="*/ 562166 h 1136046"/>
                  <a:gd name="connsiteX49" fmla="*/ 1813274 w 5180742"/>
                  <a:gd name="connsiteY49" fmla="*/ 562166 h 1136046"/>
                  <a:gd name="connsiteX50" fmla="*/ 1813274 w 5180742"/>
                  <a:gd name="connsiteY50" fmla="*/ 544735 h 1136046"/>
                  <a:gd name="connsiteX51" fmla="*/ 1776317 w 5180742"/>
                  <a:gd name="connsiteY51" fmla="*/ 544735 h 1136046"/>
                  <a:gd name="connsiteX52" fmla="*/ 1776317 w 5180742"/>
                  <a:gd name="connsiteY52" fmla="*/ 512921 h 1136046"/>
                  <a:gd name="connsiteX53" fmla="*/ 1690592 w 5180742"/>
                  <a:gd name="connsiteY53" fmla="*/ 512921 h 1136046"/>
                  <a:gd name="connsiteX54" fmla="*/ 1690592 w 5180742"/>
                  <a:gd name="connsiteY54" fmla="*/ 492919 h 1136046"/>
                  <a:gd name="connsiteX55" fmla="*/ 1660017 w 5180742"/>
                  <a:gd name="connsiteY55" fmla="*/ 492919 h 1136046"/>
                  <a:gd name="connsiteX56" fmla="*/ 1660017 w 5180742"/>
                  <a:gd name="connsiteY56" fmla="*/ 477107 h 1136046"/>
                  <a:gd name="connsiteX57" fmla="*/ 1632204 w 5180742"/>
                  <a:gd name="connsiteY57" fmla="*/ 477107 h 1136046"/>
                  <a:gd name="connsiteX58" fmla="*/ 1632204 w 5180742"/>
                  <a:gd name="connsiteY58" fmla="*/ 452723 h 1136046"/>
                  <a:gd name="connsiteX59" fmla="*/ 1606868 w 5180742"/>
                  <a:gd name="connsiteY59" fmla="*/ 452723 h 1136046"/>
                  <a:gd name="connsiteX60" fmla="*/ 1606868 w 5180742"/>
                  <a:gd name="connsiteY60" fmla="*/ 436912 h 1136046"/>
                  <a:gd name="connsiteX61" fmla="*/ 1578674 w 5180742"/>
                  <a:gd name="connsiteY61" fmla="*/ 436912 h 1136046"/>
                  <a:gd name="connsiteX62" fmla="*/ 1578674 w 5180742"/>
                  <a:gd name="connsiteY62" fmla="*/ 412623 h 1136046"/>
                  <a:gd name="connsiteX63" fmla="*/ 1556195 w 5180742"/>
                  <a:gd name="connsiteY63" fmla="*/ 412623 h 1136046"/>
                  <a:gd name="connsiteX64" fmla="*/ 1556195 w 5180742"/>
                  <a:gd name="connsiteY64" fmla="*/ 380429 h 1136046"/>
                  <a:gd name="connsiteX65" fmla="*/ 1489901 w 5180742"/>
                  <a:gd name="connsiteY65" fmla="*/ 380429 h 1136046"/>
                  <a:gd name="connsiteX66" fmla="*/ 1489901 w 5180742"/>
                  <a:gd name="connsiteY66" fmla="*/ 360998 h 1136046"/>
                  <a:gd name="connsiteX67" fmla="*/ 1415129 w 5180742"/>
                  <a:gd name="connsiteY67" fmla="*/ 360998 h 1136046"/>
                  <a:gd name="connsiteX68" fmla="*/ 1415129 w 5180742"/>
                  <a:gd name="connsiteY68" fmla="*/ 348710 h 1136046"/>
                  <a:gd name="connsiteX69" fmla="*/ 1393317 w 5180742"/>
                  <a:gd name="connsiteY69" fmla="*/ 348710 h 1136046"/>
                  <a:gd name="connsiteX70" fmla="*/ 1393317 w 5180742"/>
                  <a:gd name="connsiteY70" fmla="*/ 325755 h 1136046"/>
                  <a:gd name="connsiteX71" fmla="*/ 1335786 w 5180742"/>
                  <a:gd name="connsiteY71" fmla="*/ 325755 h 1136046"/>
                  <a:gd name="connsiteX72" fmla="*/ 1335786 w 5180742"/>
                  <a:gd name="connsiteY72" fmla="*/ 312896 h 1136046"/>
                  <a:gd name="connsiteX73" fmla="*/ 1276541 w 5180742"/>
                  <a:gd name="connsiteY73" fmla="*/ 312896 h 1136046"/>
                  <a:gd name="connsiteX74" fmla="*/ 1276541 w 5180742"/>
                  <a:gd name="connsiteY74" fmla="*/ 285083 h 1136046"/>
                  <a:gd name="connsiteX75" fmla="*/ 1175290 w 5180742"/>
                  <a:gd name="connsiteY75" fmla="*/ 285083 h 1136046"/>
                  <a:gd name="connsiteX76" fmla="*/ 1175290 w 5180742"/>
                  <a:gd name="connsiteY76" fmla="*/ 261557 h 1136046"/>
                  <a:gd name="connsiteX77" fmla="*/ 1123283 w 5180742"/>
                  <a:gd name="connsiteY77" fmla="*/ 261557 h 1136046"/>
                  <a:gd name="connsiteX78" fmla="*/ 1123283 w 5180742"/>
                  <a:gd name="connsiteY78" fmla="*/ 249936 h 1136046"/>
                  <a:gd name="connsiteX79" fmla="*/ 1052798 w 5180742"/>
                  <a:gd name="connsiteY79" fmla="*/ 249936 h 1136046"/>
                  <a:gd name="connsiteX80" fmla="*/ 1052798 w 5180742"/>
                  <a:gd name="connsiteY80" fmla="*/ 241078 h 1136046"/>
                  <a:gd name="connsiteX81" fmla="*/ 1001649 w 5180742"/>
                  <a:gd name="connsiteY81" fmla="*/ 241078 h 1136046"/>
                  <a:gd name="connsiteX82" fmla="*/ 1001649 w 5180742"/>
                  <a:gd name="connsiteY82" fmla="*/ 221361 h 1136046"/>
                  <a:gd name="connsiteX83" fmla="*/ 948785 w 5180742"/>
                  <a:gd name="connsiteY83" fmla="*/ 221361 h 1136046"/>
                  <a:gd name="connsiteX84" fmla="*/ 948785 w 5180742"/>
                  <a:gd name="connsiteY84" fmla="*/ 209264 h 1136046"/>
                  <a:gd name="connsiteX85" fmla="*/ 891635 w 5180742"/>
                  <a:gd name="connsiteY85" fmla="*/ 209264 h 1136046"/>
                  <a:gd name="connsiteX86" fmla="*/ 891635 w 5180742"/>
                  <a:gd name="connsiteY86" fmla="*/ 191357 h 1136046"/>
                  <a:gd name="connsiteX87" fmla="*/ 849725 w 5180742"/>
                  <a:gd name="connsiteY87" fmla="*/ 191357 h 1136046"/>
                  <a:gd name="connsiteX88" fmla="*/ 849725 w 5180742"/>
                  <a:gd name="connsiteY88" fmla="*/ 187452 h 1136046"/>
                  <a:gd name="connsiteX89" fmla="*/ 789527 w 5180742"/>
                  <a:gd name="connsiteY89" fmla="*/ 187452 h 1136046"/>
                  <a:gd name="connsiteX90" fmla="*/ 789527 w 5180742"/>
                  <a:gd name="connsiteY90" fmla="*/ 154210 h 1136046"/>
                  <a:gd name="connsiteX91" fmla="*/ 729329 w 5180742"/>
                  <a:gd name="connsiteY91" fmla="*/ 154210 h 1136046"/>
                  <a:gd name="connsiteX92" fmla="*/ 729329 w 5180742"/>
                  <a:gd name="connsiteY92" fmla="*/ 135922 h 1136046"/>
                  <a:gd name="connsiteX93" fmla="*/ 691801 w 5180742"/>
                  <a:gd name="connsiteY93" fmla="*/ 135922 h 1136046"/>
                  <a:gd name="connsiteX94" fmla="*/ 691801 w 5180742"/>
                  <a:gd name="connsiteY94" fmla="*/ 108014 h 1136046"/>
                  <a:gd name="connsiteX95" fmla="*/ 586454 w 5180742"/>
                  <a:gd name="connsiteY95" fmla="*/ 108014 h 1136046"/>
                  <a:gd name="connsiteX96" fmla="*/ 586454 w 5180742"/>
                  <a:gd name="connsiteY96" fmla="*/ 86297 h 1136046"/>
                  <a:gd name="connsiteX97" fmla="*/ 523875 w 5180742"/>
                  <a:gd name="connsiteY97" fmla="*/ 86297 h 1136046"/>
                  <a:gd name="connsiteX98" fmla="*/ 523875 w 5180742"/>
                  <a:gd name="connsiteY98" fmla="*/ 72771 h 1136046"/>
                  <a:gd name="connsiteX99" fmla="*/ 410813 w 5180742"/>
                  <a:gd name="connsiteY99" fmla="*/ 72771 h 1136046"/>
                  <a:gd name="connsiteX100" fmla="*/ 410813 w 5180742"/>
                  <a:gd name="connsiteY100" fmla="*/ 51149 h 1136046"/>
                  <a:gd name="connsiteX101" fmla="*/ 358521 w 5180742"/>
                  <a:gd name="connsiteY101" fmla="*/ 51149 h 1136046"/>
                  <a:gd name="connsiteX102" fmla="*/ 358521 w 5180742"/>
                  <a:gd name="connsiteY102" fmla="*/ 22574 h 1136046"/>
                  <a:gd name="connsiteX103" fmla="*/ 32290 w 5180742"/>
                  <a:gd name="connsiteY103" fmla="*/ 22574 h 1136046"/>
                  <a:gd name="connsiteX104" fmla="*/ 32290 w 5180742"/>
                  <a:gd name="connsiteY104" fmla="*/ 0 h 1136046"/>
                  <a:gd name="connsiteX105" fmla="*/ 0 w 5180742"/>
                  <a:gd name="connsiteY105" fmla="*/ 0 h 113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180742" h="1136046">
                    <a:moveTo>
                      <a:pt x="5180743" y="1136047"/>
                    </a:moveTo>
                    <a:lnTo>
                      <a:pt x="4136136" y="1136047"/>
                    </a:lnTo>
                    <a:lnTo>
                      <a:pt x="4136136" y="1100519"/>
                    </a:lnTo>
                    <a:lnTo>
                      <a:pt x="3904869" y="1100519"/>
                    </a:lnTo>
                    <a:lnTo>
                      <a:pt x="3904869" y="1071658"/>
                    </a:lnTo>
                    <a:lnTo>
                      <a:pt x="3704844" y="1071658"/>
                    </a:lnTo>
                    <a:lnTo>
                      <a:pt x="3704844" y="1054608"/>
                    </a:lnTo>
                    <a:lnTo>
                      <a:pt x="3662839" y="1054608"/>
                    </a:lnTo>
                    <a:lnTo>
                      <a:pt x="3662839" y="1026700"/>
                    </a:lnTo>
                    <a:lnTo>
                      <a:pt x="3564541" y="1026700"/>
                    </a:lnTo>
                    <a:lnTo>
                      <a:pt x="3564541" y="1004126"/>
                    </a:lnTo>
                    <a:lnTo>
                      <a:pt x="3383756" y="1004126"/>
                    </a:lnTo>
                    <a:lnTo>
                      <a:pt x="3383756" y="996315"/>
                    </a:lnTo>
                    <a:lnTo>
                      <a:pt x="3297269" y="996315"/>
                    </a:lnTo>
                    <a:lnTo>
                      <a:pt x="3297269" y="960120"/>
                    </a:lnTo>
                    <a:lnTo>
                      <a:pt x="3135725" y="960120"/>
                    </a:lnTo>
                    <a:lnTo>
                      <a:pt x="3135725" y="947833"/>
                    </a:lnTo>
                    <a:lnTo>
                      <a:pt x="3095339" y="947833"/>
                    </a:lnTo>
                    <a:lnTo>
                      <a:pt x="3095339" y="916019"/>
                    </a:lnTo>
                    <a:lnTo>
                      <a:pt x="3055430" y="916019"/>
                    </a:lnTo>
                    <a:lnTo>
                      <a:pt x="3055430" y="884206"/>
                    </a:lnTo>
                    <a:lnTo>
                      <a:pt x="2864453" y="884206"/>
                    </a:lnTo>
                    <a:lnTo>
                      <a:pt x="2864453" y="859441"/>
                    </a:lnTo>
                    <a:lnTo>
                      <a:pt x="2727674" y="859441"/>
                    </a:lnTo>
                    <a:lnTo>
                      <a:pt x="2727674" y="846106"/>
                    </a:lnTo>
                    <a:lnTo>
                      <a:pt x="2672429" y="846106"/>
                    </a:lnTo>
                    <a:lnTo>
                      <a:pt x="2672429" y="832295"/>
                    </a:lnTo>
                    <a:lnTo>
                      <a:pt x="2626519" y="832295"/>
                    </a:lnTo>
                    <a:lnTo>
                      <a:pt x="2626519" y="798576"/>
                    </a:lnTo>
                    <a:lnTo>
                      <a:pt x="2489645" y="798576"/>
                    </a:lnTo>
                    <a:lnTo>
                      <a:pt x="2489645" y="776573"/>
                    </a:lnTo>
                    <a:lnTo>
                      <a:pt x="2418302" y="776573"/>
                    </a:lnTo>
                    <a:lnTo>
                      <a:pt x="2418302" y="733235"/>
                    </a:lnTo>
                    <a:lnTo>
                      <a:pt x="2349056" y="733235"/>
                    </a:lnTo>
                    <a:lnTo>
                      <a:pt x="2349056" y="709898"/>
                    </a:lnTo>
                    <a:lnTo>
                      <a:pt x="2272284" y="709898"/>
                    </a:lnTo>
                    <a:lnTo>
                      <a:pt x="2272284" y="683419"/>
                    </a:lnTo>
                    <a:lnTo>
                      <a:pt x="2244852" y="683419"/>
                    </a:lnTo>
                    <a:lnTo>
                      <a:pt x="2244852" y="660749"/>
                    </a:lnTo>
                    <a:lnTo>
                      <a:pt x="2119789" y="660749"/>
                    </a:lnTo>
                    <a:lnTo>
                      <a:pt x="2119789" y="646176"/>
                    </a:lnTo>
                    <a:lnTo>
                      <a:pt x="2078450" y="646176"/>
                    </a:lnTo>
                    <a:lnTo>
                      <a:pt x="2078450" y="628841"/>
                    </a:lnTo>
                    <a:lnTo>
                      <a:pt x="2016443" y="628841"/>
                    </a:lnTo>
                    <a:lnTo>
                      <a:pt x="2016443" y="610838"/>
                    </a:lnTo>
                    <a:lnTo>
                      <a:pt x="1964722" y="610838"/>
                    </a:lnTo>
                    <a:lnTo>
                      <a:pt x="1964722" y="594646"/>
                    </a:lnTo>
                    <a:lnTo>
                      <a:pt x="1852041" y="594646"/>
                    </a:lnTo>
                    <a:lnTo>
                      <a:pt x="1852041" y="562166"/>
                    </a:lnTo>
                    <a:lnTo>
                      <a:pt x="1813274" y="562166"/>
                    </a:lnTo>
                    <a:lnTo>
                      <a:pt x="1813274" y="544735"/>
                    </a:lnTo>
                    <a:lnTo>
                      <a:pt x="1776317" y="544735"/>
                    </a:lnTo>
                    <a:lnTo>
                      <a:pt x="1776317" y="512921"/>
                    </a:lnTo>
                    <a:lnTo>
                      <a:pt x="1690592" y="512921"/>
                    </a:lnTo>
                    <a:lnTo>
                      <a:pt x="1690592" y="492919"/>
                    </a:lnTo>
                    <a:lnTo>
                      <a:pt x="1660017" y="492919"/>
                    </a:lnTo>
                    <a:lnTo>
                      <a:pt x="1660017" y="477107"/>
                    </a:lnTo>
                    <a:lnTo>
                      <a:pt x="1632204" y="477107"/>
                    </a:lnTo>
                    <a:lnTo>
                      <a:pt x="1632204" y="452723"/>
                    </a:lnTo>
                    <a:lnTo>
                      <a:pt x="1606868" y="452723"/>
                    </a:lnTo>
                    <a:lnTo>
                      <a:pt x="1606868" y="436912"/>
                    </a:lnTo>
                    <a:lnTo>
                      <a:pt x="1578674" y="436912"/>
                    </a:lnTo>
                    <a:lnTo>
                      <a:pt x="1578674" y="412623"/>
                    </a:lnTo>
                    <a:lnTo>
                      <a:pt x="1556195" y="412623"/>
                    </a:lnTo>
                    <a:lnTo>
                      <a:pt x="1556195" y="380429"/>
                    </a:lnTo>
                    <a:lnTo>
                      <a:pt x="1489901" y="380429"/>
                    </a:lnTo>
                    <a:lnTo>
                      <a:pt x="1489901" y="360998"/>
                    </a:lnTo>
                    <a:lnTo>
                      <a:pt x="1415129" y="360998"/>
                    </a:lnTo>
                    <a:lnTo>
                      <a:pt x="1415129" y="348710"/>
                    </a:lnTo>
                    <a:lnTo>
                      <a:pt x="1393317" y="348710"/>
                    </a:lnTo>
                    <a:lnTo>
                      <a:pt x="1393317" y="325755"/>
                    </a:lnTo>
                    <a:lnTo>
                      <a:pt x="1335786" y="325755"/>
                    </a:lnTo>
                    <a:lnTo>
                      <a:pt x="1335786" y="312896"/>
                    </a:lnTo>
                    <a:lnTo>
                      <a:pt x="1276541" y="312896"/>
                    </a:lnTo>
                    <a:lnTo>
                      <a:pt x="1276541" y="285083"/>
                    </a:lnTo>
                    <a:lnTo>
                      <a:pt x="1175290" y="285083"/>
                    </a:lnTo>
                    <a:lnTo>
                      <a:pt x="1175290" y="261557"/>
                    </a:lnTo>
                    <a:lnTo>
                      <a:pt x="1123283" y="261557"/>
                    </a:lnTo>
                    <a:lnTo>
                      <a:pt x="1123283" y="249936"/>
                    </a:lnTo>
                    <a:lnTo>
                      <a:pt x="1052798" y="249936"/>
                    </a:lnTo>
                    <a:lnTo>
                      <a:pt x="1052798" y="241078"/>
                    </a:lnTo>
                    <a:lnTo>
                      <a:pt x="1001649" y="241078"/>
                    </a:lnTo>
                    <a:lnTo>
                      <a:pt x="1001649" y="221361"/>
                    </a:lnTo>
                    <a:lnTo>
                      <a:pt x="948785" y="221361"/>
                    </a:lnTo>
                    <a:lnTo>
                      <a:pt x="948785" y="209264"/>
                    </a:lnTo>
                    <a:lnTo>
                      <a:pt x="891635" y="209264"/>
                    </a:lnTo>
                    <a:lnTo>
                      <a:pt x="891635" y="191357"/>
                    </a:lnTo>
                    <a:lnTo>
                      <a:pt x="849725" y="191357"/>
                    </a:lnTo>
                    <a:lnTo>
                      <a:pt x="849725" y="187452"/>
                    </a:lnTo>
                    <a:lnTo>
                      <a:pt x="789527" y="187452"/>
                    </a:lnTo>
                    <a:lnTo>
                      <a:pt x="789527" y="154210"/>
                    </a:lnTo>
                    <a:lnTo>
                      <a:pt x="729329" y="154210"/>
                    </a:lnTo>
                    <a:lnTo>
                      <a:pt x="729329" y="135922"/>
                    </a:lnTo>
                    <a:lnTo>
                      <a:pt x="691801" y="135922"/>
                    </a:lnTo>
                    <a:lnTo>
                      <a:pt x="691801" y="108014"/>
                    </a:lnTo>
                    <a:lnTo>
                      <a:pt x="586454" y="108014"/>
                    </a:lnTo>
                    <a:lnTo>
                      <a:pt x="586454" y="86297"/>
                    </a:lnTo>
                    <a:lnTo>
                      <a:pt x="523875" y="86297"/>
                    </a:lnTo>
                    <a:lnTo>
                      <a:pt x="523875" y="72771"/>
                    </a:lnTo>
                    <a:lnTo>
                      <a:pt x="410813" y="72771"/>
                    </a:lnTo>
                    <a:lnTo>
                      <a:pt x="410813" y="51149"/>
                    </a:lnTo>
                    <a:lnTo>
                      <a:pt x="358521" y="51149"/>
                    </a:lnTo>
                    <a:lnTo>
                      <a:pt x="358521" y="22574"/>
                    </a:lnTo>
                    <a:lnTo>
                      <a:pt x="32290" y="22574"/>
                    </a:lnTo>
                    <a:lnTo>
                      <a:pt x="32290"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0562" name="Group 10561">
            <a:extLst>
              <a:ext uri="{FF2B5EF4-FFF2-40B4-BE49-F238E27FC236}">
                <a16:creationId xmlns:a16="http://schemas.microsoft.com/office/drawing/2014/main" id="{7D7E7F18-63F3-590E-C952-F48E47EAF35E}"/>
              </a:ext>
            </a:extLst>
          </p:cNvPr>
          <p:cNvGrpSpPr/>
          <p:nvPr/>
        </p:nvGrpSpPr>
        <p:grpSpPr bwMode="gray">
          <a:xfrm>
            <a:off x="723236" y="1481145"/>
            <a:ext cx="6855428" cy="1600476"/>
            <a:chOff x="3457575" y="2751867"/>
            <a:chExt cx="5273706" cy="1360836"/>
          </a:xfrm>
        </p:grpSpPr>
        <p:grpSp>
          <p:nvGrpSpPr>
            <p:cNvPr id="10563" name="Graphic 1443">
              <a:extLst>
                <a:ext uri="{FF2B5EF4-FFF2-40B4-BE49-F238E27FC236}">
                  <a16:creationId xmlns:a16="http://schemas.microsoft.com/office/drawing/2014/main" id="{FFB3FF87-9A14-5A35-28F5-5279BB397E68}"/>
                </a:ext>
              </a:extLst>
            </p:cNvPr>
            <p:cNvGrpSpPr/>
            <p:nvPr/>
          </p:nvGrpSpPr>
          <p:grpSpPr bwMode="gray">
            <a:xfrm>
              <a:off x="3489864" y="2754343"/>
              <a:ext cx="5241417" cy="1358360"/>
              <a:chOff x="3489864" y="2754343"/>
              <a:chExt cx="5241417" cy="1358360"/>
            </a:xfrm>
          </p:grpSpPr>
          <p:grpSp>
            <p:nvGrpSpPr>
              <p:cNvPr id="10565" name="Graphic 1443">
                <a:extLst>
                  <a:ext uri="{FF2B5EF4-FFF2-40B4-BE49-F238E27FC236}">
                    <a16:creationId xmlns:a16="http://schemas.microsoft.com/office/drawing/2014/main" id="{0E9CF9BD-6E5F-4D51-D4A1-3EDF127AE4B0}"/>
                  </a:ext>
                </a:extLst>
              </p:cNvPr>
              <p:cNvGrpSpPr/>
              <p:nvPr/>
            </p:nvGrpSpPr>
            <p:grpSpPr bwMode="gray">
              <a:xfrm>
                <a:off x="8669464" y="4048981"/>
                <a:ext cx="61817" cy="63722"/>
                <a:chOff x="8669464" y="4048981"/>
                <a:chExt cx="61817" cy="63722"/>
              </a:xfrm>
            </p:grpSpPr>
            <p:sp>
              <p:nvSpPr>
                <p:cNvPr id="11247" name="Freeform: Shape 11246">
                  <a:extLst>
                    <a:ext uri="{FF2B5EF4-FFF2-40B4-BE49-F238E27FC236}">
                      <a16:creationId xmlns:a16="http://schemas.microsoft.com/office/drawing/2014/main" id="{C70270A3-4AD8-690B-1A4B-7775703B9974}"/>
                    </a:ext>
                  </a:extLst>
                </p:cNvPr>
                <p:cNvSpPr/>
                <p:nvPr/>
              </p:nvSpPr>
              <p:spPr bwMode="gray">
                <a:xfrm>
                  <a:off x="8700325"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48" name="Freeform: Shape 11247">
                  <a:extLst>
                    <a:ext uri="{FF2B5EF4-FFF2-40B4-BE49-F238E27FC236}">
                      <a16:creationId xmlns:a16="http://schemas.microsoft.com/office/drawing/2014/main" id="{75930C80-628C-56B6-C68F-FCE3F39DA895}"/>
                    </a:ext>
                  </a:extLst>
                </p:cNvPr>
                <p:cNvSpPr/>
                <p:nvPr/>
              </p:nvSpPr>
              <p:spPr bwMode="gray">
                <a:xfrm>
                  <a:off x="86694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66" name="Graphic 1443">
                <a:extLst>
                  <a:ext uri="{FF2B5EF4-FFF2-40B4-BE49-F238E27FC236}">
                    <a16:creationId xmlns:a16="http://schemas.microsoft.com/office/drawing/2014/main" id="{C8793B4D-17CB-0103-45A2-FB44D95966C7}"/>
                  </a:ext>
                </a:extLst>
              </p:cNvPr>
              <p:cNvGrpSpPr/>
              <p:nvPr/>
            </p:nvGrpSpPr>
            <p:grpSpPr bwMode="gray">
              <a:xfrm>
                <a:off x="8432387" y="4048981"/>
                <a:ext cx="61817" cy="63722"/>
                <a:chOff x="8432387" y="4048981"/>
                <a:chExt cx="61817" cy="63722"/>
              </a:xfrm>
            </p:grpSpPr>
            <p:sp>
              <p:nvSpPr>
                <p:cNvPr id="11245" name="Freeform: Shape 11244">
                  <a:extLst>
                    <a:ext uri="{FF2B5EF4-FFF2-40B4-BE49-F238E27FC236}">
                      <a16:creationId xmlns:a16="http://schemas.microsoft.com/office/drawing/2014/main" id="{EEE31D73-5F39-A732-8B6B-DF8E905BEF27}"/>
                    </a:ext>
                  </a:extLst>
                </p:cNvPr>
                <p:cNvSpPr/>
                <p:nvPr/>
              </p:nvSpPr>
              <p:spPr bwMode="gray">
                <a:xfrm>
                  <a:off x="846334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46" name="Freeform: Shape 11245">
                  <a:extLst>
                    <a:ext uri="{FF2B5EF4-FFF2-40B4-BE49-F238E27FC236}">
                      <a16:creationId xmlns:a16="http://schemas.microsoft.com/office/drawing/2014/main" id="{52A5F0EA-7B20-2826-A59C-E2A03A51DE26}"/>
                    </a:ext>
                  </a:extLst>
                </p:cNvPr>
                <p:cNvSpPr/>
                <p:nvPr/>
              </p:nvSpPr>
              <p:spPr bwMode="gray">
                <a:xfrm>
                  <a:off x="8432387" y="4080890"/>
                  <a:ext cx="61817" cy="9525"/>
                </a:xfrm>
                <a:custGeom>
                  <a:avLst/>
                  <a:gdLst>
                    <a:gd name="connsiteX0" fmla="*/ 61818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67" name="Graphic 1443">
                <a:extLst>
                  <a:ext uri="{FF2B5EF4-FFF2-40B4-BE49-F238E27FC236}">
                    <a16:creationId xmlns:a16="http://schemas.microsoft.com/office/drawing/2014/main" id="{616CDA77-4D3C-9B41-D0A3-2FCF85901ABC}"/>
                  </a:ext>
                </a:extLst>
              </p:cNvPr>
              <p:cNvGrpSpPr/>
              <p:nvPr/>
            </p:nvGrpSpPr>
            <p:grpSpPr bwMode="gray">
              <a:xfrm>
                <a:off x="8443436" y="4048981"/>
                <a:ext cx="61817" cy="63722"/>
                <a:chOff x="8443436" y="4048981"/>
                <a:chExt cx="61817" cy="63722"/>
              </a:xfrm>
            </p:grpSpPr>
            <p:sp>
              <p:nvSpPr>
                <p:cNvPr id="11243" name="Freeform: Shape 11242">
                  <a:extLst>
                    <a:ext uri="{FF2B5EF4-FFF2-40B4-BE49-F238E27FC236}">
                      <a16:creationId xmlns:a16="http://schemas.microsoft.com/office/drawing/2014/main" id="{3D8EFA94-413E-8061-770A-98B87F69A8D1}"/>
                    </a:ext>
                  </a:extLst>
                </p:cNvPr>
                <p:cNvSpPr/>
                <p:nvPr/>
              </p:nvSpPr>
              <p:spPr bwMode="gray">
                <a:xfrm>
                  <a:off x="8474392"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44" name="Freeform: Shape 11243">
                  <a:extLst>
                    <a:ext uri="{FF2B5EF4-FFF2-40B4-BE49-F238E27FC236}">
                      <a16:creationId xmlns:a16="http://schemas.microsoft.com/office/drawing/2014/main" id="{EBE48AB3-C5F7-E09A-BFD1-EF558DED076F}"/>
                    </a:ext>
                  </a:extLst>
                </p:cNvPr>
                <p:cNvSpPr/>
                <p:nvPr/>
              </p:nvSpPr>
              <p:spPr bwMode="gray">
                <a:xfrm>
                  <a:off x="844343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68" name="Graphic 1443">
                <a:extLst>
                  <a:ext uri="{FF2B5EF4-FFF2-40B4-BE49-F238E27FC236}">
                    <a16:creationId xmlns:a16="http://schemas.microsoft.com/office/drawing/2014/main" id="{1090E634-991E-315F-EFC6-AF39690A2D35}"/>
                  </a:ext>
                </a:extLst>
              </p:cNvPr>
              <p:cNvGrpSpPr/>
              <p:nvPr/>
            </p:nvGrpSpPr>
            <p:grpSpPr bwMode="gray">
              <a:xfrm>
                <a:off x="8558117" y="4048981"/>
                <a:ext cx="61817" cy="63722"/>
                <a:chOff x="8558117" y="4048981"/>
                <a:chExt cx="61817" cy="63722"/>
              </a:xfrm>
            </p:grpSpPr>
            <p:sp>
              <p:nvSpPr>
                <p:cNvPr id="11241" name="Freeform: Shape 11240">
                  <a:extLst>
                    <a:ext uri="{FF2B5EF4-FFF2-40B4-BE49-F238E27FC236}">
                      <a16:creationId xmlns:a16="http://schemas.microsoft.com/office/drawing/2014/main" id="{BD4D020F-460C-D01E-BED6-A74BA3FAE557}"/>
                    </a:ext>
                  </a:extLst>
                </p:cNvPr>
                <p:cNvSpPr/>
                <p:nvPr/>
              </p:nvSpPr>
              <p:spPr bwMode="gray">
                <a:xfrm>
                  <a:off x="85889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42" name="Freeform: Shape 11241">
                  <a:extLst>
                    <a:ext uri="{FF2B5EF4-FFF2-40B4-BE49-F238E27FC236}">
                      <a16:creationId xmlns:a16="http://schemas.microsoft.com/office/drawing/2014/main" id="{A0002D68-ABCE-F9C2-8318-F5CE8816DBD2}"/>
                    </a:ext>
                  </a:extLst>
                </p:cNvPr>
                <p:cNvSpPr/>
                <p:nvPr/>
              </p:nvSpPr>
              <p:spPr bwMode="gray">
                <a:xfrm>
                  <a:off x="85581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69" name="Graphic 1443">
                <a:extLst>
                  <a:ext uri="{FF2B5EF4-FFF2-40B4-BE49-F238E27FC236}">
                    <a16:creationId xmlns:a16="http://schemas.microsoft.com/office/drawing/2014/main" id="{B5627F95-3EEB-A7B8-F13D-662F23205BD4}"/>
                  </a:ext>
                </a:extLst>
              </p:cNvPr>
              <p:cNvGrpSpPr/>
              <p:nvPr/>
            </p:nvGrpSpPr>
            <p:grpSpPr bwMode="gray">
              <a:xfrm>
                <a:off x="8569166" y="4048981"/>
                <a:ext cx="61817" cy="63722"/>
                <a:chOff x="8569166" y="4048981"/>
                <a:chExt cx="61817" cy="63722"/>
              </a:xfrm>
            </p:grpSpPr>
            <p:sp>
              <p:nvSpPr>
                <p:cNvPr id="11239" name="Freeform: Shape 11238">
                  <a:extLst>
                    <a:ext uri="{FF2B5EF4-FFF2-40B4-BE49-F238E27FC236}">
                      <a16:creationId xmlns:a16="http://schemas.microsoft.com/office/drawing/2014/main" id="{86A59C5F-57B8-C10A-3AA3-71BE5D3379FA}"/>
                    </a:ext>
                  </a:extLst>
                </p:cNvPr>
                <p:cNvSpPr/>
                <p:nvPr/>
              </p:nvSpPr>
              <p:spPr bwMode="gray">
                <a:xfrm>
                  <a:off x="860002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40" name="Freeform: Shape 11239">
                  <a:extLst>
                    <a:ext uri="{FF2B5EF4-FFF2-40B4-BE49-F238E27FC236}">
                      <a16:creationId xmlns:a16="http://schemas.microsoft.com/office/drawing/2014/main" id="{7D0E0871-8445-9383-2760-87DDAE069C58}"/>
                    </a:ext>
                  </a:extLst>
                </p:cNvPr>
                <p:cNvSpPr/>
                <p:nvPr/>
              </p:nvSpPr>
              <p:spPr bwMode="gray">
                <a:xfrm>
                  <a:off x="856916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0" name="Graphic 1443">
                <a:extLst>
                  <a:ext uri="{FF2B5EF4-FFF2-40B4-BE49-F238E27FC236}">
                    <a16:creationId xmlns:a16="http://schemas.microsoft.com/office/drawing/2014/main" id="{730B7767-FF95-B59A-3C9C-D932F54E39B6}"/>
                  </a:ext>
                </a:extLst>
              </p:cNvPr>
              <p:cNvGrpSpPr/>
              <p:nvPr/>
            </p:nvGrpSpPr>
            <p:grpSpPr bwMode="gray">
              <a:xfrm>
                <a:off x="8489727" y="4048981"/>
                <a:ext cx="61817" cy="63722"/>
                <a:chOff x="8489727" y="4048981"/>
                <a:chExt cx="61817" cy="63722"/>
              </a:xfrm>
            </p:grpSpPr>
            <p:sp>
              <p:nvSpPr>
                <p:cNvPr id="11237" name="Freeform: Shape 11236">
                  <a:extLst>
                    <a:ext uri="{FF2B5EF4-FFF2-40B4-BE49-F238E27FC236}">
                      <a16:creationId xmlns:a16="http://schemas.microsoft.com/office/drawing/2014/main" id="{A1636DFC-91BF-67F3-F803-86E96A935A70}"/>
                    </a:ext>
                  </a:extLst>
                </p:cNvPr>
                <p:cNvSpPr/>
                <p:nvPr/>
              </p:nvSpPr>
              <p:spPr bwMode="gray">
                <a:xfrm>
                  <a:off x="852058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38" name="Freeform: Shape 11237">
                  <a:extLst>
                    <a:ext uri="{FF2B5EF4-FFF2-40B4-BE49-F238E27FC236}">
                      <a16:creationId xmlns:a16="http://schemas.microsoft.com/office/drawing/2014/main" id="{F19F5243-1495-10CF-944B-43D14CAD7D67}"/>
                    </a:ext>
                  </a:extLst>
                </p:cNvPr>
                <p:cNvSpPr/>
                <p:nvPr/>
              </p:nvSpPr>
              <p:spPr bwMode="gray">
                <a:xfrm>
                  <a:off x="848972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1" name="Graphic 1443">
                <a:extLst>
                  <a:ext uri="{FF2B5EF4-FFF2-40B4-BE49-F238E27FC236}">
                    <a16:creationId xmlns:a16="http://schemas.microsoft.com/office/drawing/2014/main" id="{51548B8E-48D9-5FFC-8BAB-8919DFDCACA0}"/>
                  </a:ext>
                </a:extLst>
              </p:cNvPr>
              <p:cNvGrpSpPr/>
              <p:nvPr/>
            </p:nvGrpSpPr>
            <p:grpSpPr bwMode="gray">
              <a:xfrm>
                <a:off x="8538400" y="4048981"/>
                <a:ext cx="61817" cy="63722"/>
                <a:chOff x="8538400" y="4048981"/>
                <a:chExt cx="61817" cy="63722"/>
              </a:xfrm>
            </p:grpSpPr>
            <p:sp>
              <p:nvSpPr>
                <p:cNvPr id="11235" name="Freeform: Shape 11234">
                  <a:extLst>
                    <a:ext uri="{FF2B5EF4-FFF2-40B4-BE49-F238E27FC236}">
                      <a16:creationId xmlns:a16="http://schemas.microsoft.com/office/drawing/2014/main" id="{67E8108F-B524-E5AA-7040-C35AC68B73C6}"/>
                    </a:ext>
                  </a:extLst>
                </p:cNvPr>
                <p:cNvSpPr/>
                <p:nvPr/>
              </p:nvSpPr>
              <p:spPr bwMode="gray">
                <a:xfrm>
                  <a:off x="8569261"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36" name="Freeform: Shape 11235">
                  <a:extLst>
                    <a:ext uri="{FF2B5EF4-FFF2-40B4-BE49-F238E27FC236}">
                      <a16:creationId xmlns:a16="http://schemas.microsoft.com/office/drawing/2014/main" id="{7064FE68-7D36-3A7A-6BBE-3E9EDE2344B5}"/>
                    </a:ext>
                  </a:extLst>
                </p:cNvPr>
                <p:cNvSpPr/>
                <p:nvPr/>
              </p:nvSpPr>
              <p:spPr bwMode="gray">
                <a:xfrm>
                  <a:off x="8538400"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2" name="Graphic 1443">
                <a:extLst>
                  <a:ext uri="{FF2B5EF4-FFF2-40B4-BE49-F238E27FC236}">
                    <a16:creationId xmlns:a16="http://schemas.microsoft.com/office/drawing/2014/main" id="{7359FFAF-B684-6835-5A27-6EB6FC863F7D}"/>
                  </a:ext>
                </a:extLst>
              </p:cNvPr>
              <p:cNvGrpSpPr/>
              <p:nvPr/>
            </p:nvGrpSpPr>
            <p:grpSpPr bwMode="gray">
              <a:xfrm>
                <a:off x="8293417" y="4048981"/>
                <a:ext cx="61817" cy="63722"/>
                <a:chOff x="8293417" y="4048981"/>
                <a:chExt cx="61817" cy="63722"/>
              </a:xfrm>
            </p:grpSpPr>
            <p:sp>
              <p:nvSpPr>
                <p:cNvPr id="11233" name="Freeform: Shape 11232">
                  <a:extLst>
                    <a:ext uri="{FF2B5EF4-FFF2-40B4-BE49-F238E27FC236}">
                      <a16:creationId xmlns:a16="http://schemas.microsoft.com/office/drawing/2014/main" id="{B1A766DD-300B-9DD3-A47F-92B0FD3D02D6}"/>
                    </a:ext>
                  </a:extLst>
                </p:cNvPr>
                <p:cNvSpPr/>
                <p:nvPr/>
              </p:nvSpPr>
              <p:spPr bwMode="gray">
                <a:xfrm>
                  <a:off x="8324278"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34" name="Freeform: Shape 11233">
                  <a:extLst>
                    <a:ext uri="{FF2B5EF4-FFF2-40B4-BE49-F238E27FC236}">
                      <a16:creationId xmlns:a16="http://schemas.microsoft.com/office/drawing/2014/main" id="{8678218D-B813-A293-92E7-EC1C2B39FAE6}"/>
                    </a:ext>
                  </a:extLst>
                </p:cNvPr>
                <p:cNvSpPr/>
                <p:nvPr/>
              </p:nvSpPr>
              <p:spPr bwMode="gray">
                <a:xfrm>
                  <a:off x="829341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3" name="Graphic 1443">
                <a:extLst>
                  <a:ext uri="{FF2B5EF4-FFF2-40B4-BE49-F238E27FC236}">
                    <a16:creationId xmlns:a16="http://schemas.microsoft.com/office/drawing/2014/main" id="{F43DBDD5-D41F-B949-5857-08404C0E1D9D}"/>
                  </a:ext>
                </a:extLst>
              </p:cNvPr>
              <p:cNvGrpSpPr/>
              <p:nvPr/>
            </p:nvGrpSpPr>
            <p:grpSpPr bwMode="gray">
              <a:xfrm>
                <a:off x="8248364" y="4048981"/>
                <a:ext cx="61817" cy="63722"/>
                <a:chOff x="8248364" y="4048981"/>
                <a:chExt cx="61817" cy="63722"/>
              </a:xfrm>
            </p:grpSpPr>
            <p:sp>
              <p:nvSpPr>
                <p:cNvPr id="11231" name="Freeform: Shape 11230">
                  <a:extLst>
                    <a:ext uri="{FF2B5EF4-FFF2-40B4-BE49-F238E27FC236}">
                      <a16:creationId xmlns:a16="http://schemas.microsoft.com/office/drawing/2014/main" id="{82528678-10AC-BFFF-4970-371184DFBAEB}"/>
                    </a:ext>
                  </a:extLst>
                </p:cNvPr>
                <p:cNvSpPr/>
                <p:nvPr/>
              </p:nvSpPr>
              <p:spPr bwMode="gray">
                <a:xfrm>
                  <a:off x="8279320"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32" name="Freeform: Shape 11231">
                  <a:extLst>
                    <a:ext uri="{FF2B5EF4-FFF2-40B4-BE49-F238E27FC236}">
                      <a16:creationId xmlns:a16="http://schemas.microsoft.com/office/drawing/2014/main" id="{65895221-5CD9-16D5-37DA-211FDBF6462D}"/>
                    </a:ext>
                  </a:extLst>
                </p:cNvPr>
                <p:cNvSpPr/>
                <p:nvPr/>
              </p:nvSpPr>
              <p:spPr bwMode="gray">
                <a:xfrm>
                  <a:off x="8248364"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4" name="Graphic 1443">
                <a:extLst>
                  <a:ext uri="{FF2B5EF4-FFF2-40B4-BE49-F238E27FC236}">
                    <a16:creationId xmlns:a16="http://schemas.microsoft.com/office/drawing/2014/main" id="{526136D6-BA3F-4B4C-49DD-0EBBE716E32E}"/>
                  </a:ext>
                </a:extLst>
              </p:cNvPr>
              <p:cNvGrpSpPr/>
              <p:nvPr/>
            </p:nvGrpSpPr>
            <p:grpSpPr bwMode="gray">
              <a:xfrm>
                <a:off x="8217503" y="4048981"/>
                <a:ext cx="61817" cy="63722"/>
                <a:chOff x="8217503" y="4048981"/>
                <a:chExt cx="61817" cy="63722"/>
              </a:xfrm>
            </p:grpSpPr>
            <p:sp>
              <p:nvSpPr>
                <p:cNvPr id="11229" name="Freeform: Shape 11228">
                  <a:extLst>
                    <a:ext uri="{FF2B5EF4-FFF2-40B4-BE49-F238E27FC236}">
                      <a16:creationId xmlns:a16="http://schemas.microsoft.com/office/drawing/2014/main" id="{61EADBDF-5597-94ED-3FC7-1516C2C62A53}"/>
                    </a:ext>
                  </a:extLst>
                </p:cNvPr>
                <p:cNvSpPr/>
                <p:nvPr/>
              </p:nvSpPr>
              <p:spPr bwMode="gray">
                <a:xfrm>
                  <a:off x="824836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30" name="Freeform: Shape 11229">
                  <a:extLst>
                    <a:ext uri="{FF2B5EF4-FFF2-40B4-BE49-F238E27FC236}">
                      <a16:creationId xmlns:a16="http://schemas.microsoft.com/office/drawing/2014/main" id="{DDFA9E8E-8A10-800B-AE7A-8450A41C259B}"/>
                    </a:ext>
                  </a:extLst>
                </p:cNvPr>
                <p:cNvSpPr/>
                <p:nvPr/>
              </p:nvSpPr>
              <p:spPr bwMode="gray">
                <a:xfrm>
                  <a:off x="8217503"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5" name="Graphic 1443">
                <a:extLst>
                  <a:ext uri="{FF2B5EF4-FFF2-40B4-BE49-F238E27FC236}">
                    <a16:creationId xmlns:a16="http://schemas.microsoft.com/office/drawing/2014/main" id="{0653C418-FC60-B9A7-D79C-4DC61A305A28}"/>
                  </a:ext>
                </a:extLst>
              </p:cNvPr>
              <p:cNvGrpSpPr/>
              <p:nvPr/>
            </p:nvGrpSpPr>
            <p:grpSpPr bwMode="gray">
              <a:xfrm>
                <a:off x="8192738" y="4048981"/>
                <a:ext cx="61817" cy="63722"/>
                <a:chOff x="8192738" y="4048981"/>
                <a:chExt cx="61817" cy="63722"/>
              </a:xfrm>
            </p:grpSpPr>
            <p:sp>
              <p:nvSpPr>
                <p:cNvPr id="11227" name="Freeform: Shape 11226">
                  <a:extLst>
                    <a:ext uri="{FF2B5EF4-FFF2-40B4-BE49-F238E27FC236}">
                      <a16:creationId xmlns:a16="http://schemas.microsoft.com/office/drawing/2014/main" id="{315C6D78-6CEF-C719-6A55-9C48C8668A57}"/>
                    </a:ext>
                  </a:extLst>
                </p:cNvPr>
                <p:cNvSpPr/>
                <p:nvPr/>
              </p:nvSpPr>
              <p:spPr bwMode="gray">
                <a:xfrm>
                  <a:off x="8223694"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28" name="Freeform: Shape 11227">
                  <a:extLst>
                    <a:ext uri="{FF2B5EF4-FFF2-40B4-BE49-F238E27FC236}">
                      <a16:creationId xmlns:a16="http://schemas.microsoft.com/office/drawing/2014/main" id="{5EA15A6C-68E5-4868-2DEE-D7DD397254FA}"/>
                    </a:ext>
                  </a:extLst>
                </p:cNvPr>
                <p:cNvSpPr/>
                <p:nvPr/>
              </p:nvSpPr>
              <p:spPr bwMode="gray">
                <a:xfrm>
                  <a:off x="8192738"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6" name="Graphic 1443">
                <a:extLst>
                  <a:ext uri="{FF2B5EF4-FFF2-40B4-BE49-F238E27FC236}">
                    <a16:creationId xmlns:a16="http://schemas.microsoft.com/office/drawing/2014/main" id="{221B5BE5-185E-D3FD-7163-08E22ACD9991}"/>
                  </a:ext>
                </a:extLst>
              </p:cNvPr>
              <p:cNvGrpSpPr/>
              <p:nvPr/>
            </p:nvGrpSpPr>
            <p:grpSpPr bwMode="gray">
              <a:xfrm>
                <a:off x="8186547" y="4048981"/>
                <a:ext cx="61817" cy="63722"/>
                <a:chOff x="8186547" y="4048981"/>
                <a:chExt cx="61817" cy="63722"/>
              </a:xfrm>
            </p:grpSpPr>
            <p:sp>
              <p:nvSpPr>
                <p:cNvPr id="11225" name="Freeform: Shape 11224">
                  <a:extLst>
                    <a:ext uri="{FF2B5EF4-FFF2-40B4-BE49-F238E27FC236}">
                      <a16:creationId xmlns:a16="http://schemas.microsoft.com/office/drawing/2014/main" id="{271B4ABE-34CF-78F2-33A0-3D5461D82583}"/>
                    </a:ext>
                  </a:extLst>
                </p:cNvPr>
                <p:cNvSpPr/>
                <p:nvPr/>
              </p:nvSpPr>
              <p:spPr bwMode="gray">
                <a:xfrm>
                  <a:off x="8217503"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26" name="Freeform: Shape 11225">
                  <a:extLst>
                    <a:ext uri="{FF2B5EF4-FFF2-40B4-BE49-F238E27FC236}">
                      <a16:creationId xmlns:a16="http://schemas.microsoft.com/office/drawing/2014/main" id="{529B5A87-95AD-1564-7A3D-9D96E995B27C}"/>
                    </a:ext>
                  </a:extLst>
                </p:cNvPr>
                <p:cNvSpPr/>
                <p:nvPr/>
              </p:nvSpPr>
              <p:spPr bwMode="gray">
                <a:xfrm>
                  <a:off x="8186547"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7" name="Graphic 1443">
                <a:extLst>
                  <a:ext uri="{FF2B5EF4-FFF2-40B4-BE49-F238E27FC236}">
                    <a16:creationId xmlns:a16="http://schemas.microsoft.com/office/drawing/2014/main" id="{D7563E5F-A6B6-5935-6C93-B8F65BA9B472}"/>
                  </a:ext>
                </a:extLst>
              </p:cNvPr>
              <p:cNvGrpSpPr/>
              <p:nvPr/>
            </p:nvGrpSpPr>
            <p:grpSpPr bwMode="gray">
              <a:xfrm>
                <a:off x="8155686" y="4048981"/>
                <a:ext cx="61817" cy="63722"/>
                <a:chOff x="8155686" y="4048981"/>
                <a:chExt cx="61817" cy="63722"/>
              </a:xfrm>
            </p:grpSpPr>
            <p:sp>
              <p:nvSpPr>
                <p:cNvPr id="11223" name="Freeform: Shape 11222">
                  <a:extLst>
                    <a:ext uri="{FF2B5EF4-FFF2-40B4-BE49-F238E27FC236}">
                      <a16:creationId xmlns:a16="http://schemas.microsoft.com/office/drawing/2014/main" id="{50D9FD24-1A76-7A52-1ABD-AD72ACE29A44}"/>
                    </a:ext>
                  </a:extLst>
                </p:cNvPr>
                <p:cNvSpPr/>
                <p:nvPr/>
              </p:nvSpPr>
              <p:spPr bwMode="gray">
                <a:xfrm>
                  <a:off x="8186547" y="404898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24" name="Freeform: Shape 11223">
                  <a:extLst>
                    <a:ext uri="{FF2B5EF4-FFF2-40B4-BE49-F238E27FC236}">
                      <a16:creationId xmlns:a16="http://schemas.microsoft.com/office/drawing/2014/main" id="{5F8F0F87-DDE1-6898-4F70-A4345AE85A16}"/>
                    </a:ext>
                  </a:extLst>
                </p:cNvPr>
                <p:cNvSpPr/>
                <p:nvPr/>
              </p:nvSpPr>
              <p:spPr bwMode="gray">
                <a:xfrm>
                  <a:off x="8155686" y="40808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8" name="Graphic 1443">
                <a:extLst>
                  <a:ext uri="{FF2B5EF4-FFF2-40B4-BE49-F238E27FC236}">
                    <a16:creationId xmlns:a16="http://schemas.microsoft.com/office/drawing/2014/main" id="{4FBB7E16-4CD8-48F2-BC37-939E668F8E69}"/>
                  </a:ext>
                </a:extLst>
              </p:cNvPr>
              <p:cNvGrpSpPr/>
              <p:nvPr/>
            </p:nvGrpSpPr>
            <p:grpSpPr bwMode="gray">
              <a:xfrm>
                <a:off x="8155686" y="3937063"/>
                <a:ext cx="61817" cy="63722"/>
                <a:chOff x="8155686" y="3937063"/>
                <a:chExt cx="61817" cy="63722"/>
              </a:xfrm>
            </p:grpSpPr>
            <p:sp>
              <p:nvSpPr>
                <p:cNvPr id="11221" name="Freeform: Shape 11220">
                  <a:extLst>
                    <a:ext uri="{FF2B5EF4-FFF2-40B4-BE49-F238E27FC236}">
                      <a16:creationId xmlns:a16="http://schemas.microsoft.com/office/drawing/2014/main" id="{945B89DA-01B7-24AF-5F29-6CE77AC06B1D}"/>
                    </a:ext>
                  </a:extLst>
                </p:cNvPr>
                <p:cNvSpPr/>
                <p:nvPr/>
              </p:nvSpPr>
              <p:spPr bwMode="gray">
                <a:xfrm>
                  <a:off x="818654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22" name="Freeform: Shape 11221">
                  <a:extLst>
                    <a:ext uri="{FF2B5EF4-FFF2-40B4-BE49-F238E27FC236}">
                      <a16:creationId xmlns:a16="http://schemas.microsoft.com/office/drawing/2014/main" id="{76E34B20-5770-28BE-1D51-4054F1C42128}"/>
                    </a:ext>
                  </a:extLst>
                </p:cNvPr>
                <p:cNvSpPr/>
                <p:nvPr/>
              </p:nvSpPr>
              <p:spPr bwMode="gray">
                <a:xfrm>
                  <a:off x="8155686" y="396897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9" name="Graphic 1443">
                <a:extLst>
                  <a:ext uri="{FF2B5EF4-FFF2-40B4-BE49-F238E27FC236}">
                    <a16:creationId xmlns:a16="http://schemas.microsoft.com/office/drawing/2014/main" id="{3C51EE65-CF0A-EC6B-D538-4904E219554C}"/>
                  </a:ext>
                </a:extLst>
              </p:cNvPr>
              <p:cNvGrpSpPr/>
              <p:nvPr/>
            </p:nvGrpSpPr>
            <p:grpSpPr bwMode="gray">
              <a:xfrm>
                <a:off x="8108346" y="3833431"/>
                <a:ext cx="61817" cy="63722"/>
                <a:chOff x="8108346" y="3833431"/>
                <a:chExt cx="61817" cy="63722"/>
              </a:xfrm>
            </p:grpSpPr>
            <p:sp>
              <p:nvSpPr>
                <p:cNvPr id="11219" name="Freeform: Shape 11218">
                  <a:extLst>
                    <a:ext uri="{FF2B5EF4-FFF2-40B4-BE49-F238E27FC236}">
                      <a16:creationId xmlns:a16="http://schemas.microsoft.com/office/drawing/2014/main" id="{26770987-727D-10EA-B26F-6DF2C6F61DC1}"/>
                    </a:ext>
                  </a:extLst>
                </p:cNvPr>
                <p:cNvSpPr/>
                <p:nvPr/>
              </p:nvSpPr>
              <p:spPr bwMode="gray">
                <a:xfrm>
                  <a:off x="813930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20" name="Freeform: Shape 11219">
                  <a:extLst>
                    <a:ext uri="{FF2B5EF4-FFF2-40B4-BE49-F238E27FC236}">
                      <a16:creationId xmlns:a16="http://schemas.microsoft.com/office/drawing/2014/main" id="{3274E211-7A5D-0689-CECC-CA07EB105062}"/>
                    </a:ext>
                  </a:extLst>
                </p:cNvPr>
                <p:cNvSpPr/>
                <p:nvPr/>
              </p:nvSpPr>
              <p:spPr bwMode="gray">
                <a:xfrm>
                  <a:off x="810834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0" name="Graphic 1443">
                <a:extLst>
                  <a:ext uri="{FF2B5EF4-FFF2-40B4-BE49-F238E27FC236}">
                    <a16:creationId xmlns:a16="http://schemas.microsoft.com/office/drawing/2014/main" id="{3C6F666E-FEA7-EF26-A19A-58227D141215}"/>
                  </a:ext>
                </a:extLst>
              </p:cNvPr>
              <p:cNvGrpSpPr/>
              <p:nvPr/>
            </p:nvGrpSpPr>
            <p:grpSpPr bwMode="gray">
              <a:xfrm>
                <a:off x="7974425" y="3833431"/>
                <a:ext cx="61817" cy="63722"/>
                <a:chOff x="7974425" y="3833431"/>
                <a:chExt cx="61817" cy="63722"/>
              </a:xfrm>
            </p:grpSpPr>
            <p:sp>
              <p:nvSpPr>
                <p:cNvPr id="11217" name="Freeform: Shape 11216">
                  <a:extLst>
                    <a:ext uri="{FF2B5EF4-FFF2-40B4-BE49-F238E27FC236}">
                      <a16:creationId xmlns:a16="http://schemas.microsoft.com/office/drawing/2014/main" id="{90934FBC-D10E-94D9-8249-F3B69929F17D}"/>
                    </a:ext>
                  </a:extLst>
                </p:cNvPr>
                <p:cNvSpPr/>
                <p:nvPr/>
              </p:nvSpPr>
              <p:spPr bwMode="gray">
                <a:xfrm>
                  <a:off x="80053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18" name="Freeform: Shape 11217">
                  <a:extLst>
                    <a:ext uri="{FF2B5EF4-FFF2-40B4-BE49-F238E27FC236}">
                      <a16:creationId xmlns:a16="http://schemas.microsoft.com/office/drawing/2014/main" id="{255E3F82-B0E2-C388-A8C3-F3057F168411}"/>
                    </a:ext>
                  </a:extLst>
                </p:cNvPr>
                <p:cNvSpPr/>
                <p:nvPr/>
              </p:nvSpPr>
              <p:spPr bwMode="gray">
                <a:xfrm>
                  <a:off x="79744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1" name="Graphic 1443">
                <a:extLst>
                  <a:ext uri="{FF2B5EF4-FFF2-40B4-BE49-F238E27FC236}">
                    <a16:creationId xmlns:a16="http://schemas.microsoft.com/office/drawing/2014/main" id="{F10D2552-89F6-CDC8-ADC7-5B7883529842}"/>
                  </a:ext>
                </a:extLst>
              </p:cNvPr>
              <p:cNvGrpSpPr/>
              <p:nvPr/>
            </p:nvGrpSpPr>
            <p:grpSpPr bwMode="gray">
              <a:xfrm>
                <a:off x="7965090" y="3833431"/>
                <a:ext cx="61817" cy="63722"/>
                <a:chOff x="7965090" y="3833431"/>
                <a:chExt cx="61817" cy="63722"/>
              </a:xfrm>
            </p:grpSpPr>
            <p:sp>
              <p:nvSpPr>
                <p:cNvPr id="11215" name="Freeform: Shape 11214">
                  <a:extLst>
                    <a:ext uri="{FF2B5EF4-FFF2-40B4-BE49-F238E27FC236}">
                      <a16:creationId xmlns:a16="http://schemas.microsoft.com/office/drawing/2014/main" id="{1F33283A-1363-2C16-7A87-C8AF0DD73A6F}"/>
                    </a:ext>
                  </a:extLst>
                </p:cNvPr>
                <p:cNvSpPr/>
                <p:nvPr/>
              </p:nvSpPr>
              <p:spPr bwMode="gray">
                <a:xfrm>
                  <a:off x="799595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16" name="Freeform: Shape 11215">
                  <a:extLst>
                    <a:ext uri="{FF2B5EF4-FFF2-40B4-BE49-F238E27FC236}">
                      <a16:creationId xmlns:a16="http://schemas.microsoft.com/office/drawing/2014/main" id="{CB0D15AF-8C6B-8631-8506-127E18BE9604}"/>
                    </a:ext>
                  </a:extLst>
                </p:cNvPr>
                <p:cNvSpPr/>
                <p:nvPr/>
              </p:nvSpPr>
              <p:spPr bwMode="gray">
                <a:xfrm>
                  <a:off x="796509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2" name="Graphic 1443">
                <a:extLst>
                  <a:ext uri="{FF2B5EF4-FFF2-40B4-BE49-F238E27FC236}">
                    <a16:creationId xmlns:a16="http://schemas.microsoft.com/office/drawing/2014/main" id="{A7AB54CB-A4A4-70BA-5393-3D1D447F3DE9}"/>
                  </a:ext>
                </a:extLst>
              </p:cNvPr>
              <p:cNvGrpSpPr/>
              <p:nvPr/>
            </p:nvGrpSpPr>
            <p:grpSpPr bwMode="gray">
              <a:xfrm>
                <a:off x="7886033" y="3833431"/>
                <a:ext cx="61817" cy="63722"/>
                <a:chOff x="7886033" y="3833431"/>
                <a:chExt cx="61817" cy="63722"/>
              </a:xfrm>
            </p:grpSpPr>
            <p:sp>
              <p:nvSpPr>
                <p:cNvPr id="11213" name="Freeform: Shape 11212">
                  <a:extLst>
                    <a:ext uri="{FF2B5EF4-FFF2-40B4-BE49-F238E27FC236}">
                      <a16:creationId xmlns:a16="http://schemas.microsoft.com/office/drawing/2014/main" id="{B735AC79-3784-03DB-2340-6B43BE9B4D9A}"/>
                    </a:ext>
                  </a:extLst>
                </p:cNvPr>
                <p:cNvSpPr/>
                <p:nvPr/>
              </p:nvSpPr>
              <p:spPr bwMode="gray">
                <a:xfrm>
                  <a:off x="7916989"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14" name="Freeform: Shape 11213">
                  <a:extLst>
                    <a:ext uri="{FF2B5EF4-FFF2-40B4-BE49-F238E27FC236}">
                      <a16:creationId xmlns:a16="http://schemas.microsoft.com/office/drawing/2014/main" id="{EC9CE6C3-E2F9-7FD2-0E3E-706C455FCFC2}"/>
                    </a:ext>
                  </a:extLst>
                </p:cNvPr>
                <p:cNvSpPr/>
                <p:nvPr/>
              </p:nvSpPr>
              <p:spPr bwMode="gray">
                <a:xfrm>
                  <a:off x="788603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3" name="Graphic 1443">
                <a:extLst>
                  <a:ext uri="{FF2B5EF4-FFF2-40B4-BE49-F238E27FC236}">
                    <a16:creationId xmlns:a16="http://schemas.microsoft.com/office/drawing/2014/main" id="{75FFED41-95FC-9143-524F-78025A125804}"/>
                  </a:ext>
                </a:extLst>
              </p:cNvPr>
              <p:cNvGrpSpPr/>
              <p:nvPr/>
            </p:nvGrpSpPr>
            <p:grpSpPr bwMode="gray">
              <a:xfrm>
                <a:off x="7675530" y="3833431"/>
                <a:ext cx="61817" cy="63722"/>
                <a:chOff x="7675530" y="3833431"/>
                <a:chExt cx="61817" cy="63722"/>
              </a:xfrm>
            </p:grpSpPr>
            <p:sp>
              <p:nvSpPr>
                <p:cNvPr id="11211" name="Freeform: Shape 11210">
                  <a:extLst>
                    <a:ext uri="{FF2B5EF4-FFF2-40B4-BE49-F238E27FC236}">
                      <a16:creationId xmlns:a16="http://schemas.microsoft.com/office/drawing/2014/main" id="{C17F5E3A-F6C1-A962-4808-4A58CAFA3D34}"/>
                    </a:ext>
                  </a:extLst>
                </p:cNvPr>
                <p:cNvSpPr/>
                <p:nvPr/>
              </p:nvSpPr>
              <p:spPr bwMode="gray">
                <a:xfrm>
                  <a:off x="77063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12" name="Freeform: Shape 11211">
                  <a:extLst>
                    <a:ext uri="{FF2B5EF4-FFF2-40B4-BE49-F238E27FC236}">
                      <a16:creationId xmlns:a16="http://schemas.microsoft.com/office/drawing/2014/main" id="{2B5E348E-B6C9-B186-BCD7-580A518816C1}"/>
                    </a:ext>
                  </a:extLst>
                </p:cNvPr>
                <p:cNvSpPr/>
                <p:nvPr/>
              </p:nvSpPr>
              <p:spPr bwMode="gray">
                <a:xfrm>
                  <a:off x="76755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4" name="Graphic 1443">
                <a:extLst>
                  <a:ext uri="{FF2B5EF4-FFF2-40B4-BE49-F238E27FC236}">
                    <a16:creationId xmlns:a16="http://schemas.microsoft.com/office/drawing/2014/main" id="{3DDF9A37-DA51-C95B-0BEE-552C7E8D3039}"/>
                  </a:ext>
                </a:extLst>
              </p:cNvPr>
              <p:cNvGrpSpPr/>
              <p:nvPr/>
            </p:nvGrpSpPr>
            <p:grpSpPr bwMode="gray">
              <a:xfrm>
                <a:off x="7629715" y="3796569"/>
                <a:ext cx="61817" cy="63626"/>
                <a:chOff x="7629715" y="3796569"/>
                <a:chExt cx="61817" cy="63626"/>
              </a:xfrm>
            </p:grpSpPr>
            <p:sp>
              <p:nvSpPr>
                <p:cNvPr id="11209" name="Freeform: Shape 11208">
                  <a:extLst>
                    <a:ext uri="{FF2B5EF4-FFF2-40B4-BE49-F238E27FC236}">
                      <a16:creationId xmlns:a16="http://schemas.microsoft.com/office/drawing/2014/main" id="{A7578B7B-3D6C-8A4E-E445-2F5411E83DDB}"/>
                    </a:ext>
                  </a:extLst>
                </p:cNvPr>
                <p:cNvSpPr/>
                <p:nvPr/>
              </p:nvSpPr>
              <p:spPr bwMode="gray">
                <a:xfrm>
                  <a:off x="7660671"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10" name="Freeform: Shape 11209">
                  <a:extLst>
                    <a:ext uri="{FF2B5EF4-FFF2-40B4-BE49-F238E27FC236}">
                      <a16:creationId xmlns:a16="http://schemas.microsoft.com/office/drawing/2014/main" id="{7B01BBF2-81B6-42D9-B313-C397EB573B3D}"/>
                    </a:ext>
                  </a:extLst>
                </p:cNvPr>
                <p:cNvSpPr/>
                <p:nvPr/>
              </p:nvSpPr>
              <p:spPr bwMode="gray">
                <a:xfrm>
                  <a:off x="7629715"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5" name="Graphic 1443">
                <a:extLst>
                  <a:ext uri="{FF2B5EF4-FFF2-40B4-BE49-F238E27FC236}">
                    <a16:creationId xmlns:a16="http://schemas.microsoft.com/office/drawing/2014/main" id="{ED8B450F-5466-8728-1105-54F63F41E63B}"/>
                  </a:ext>
                </a:extLst>
              </p:cNvPr>
              <p:cNvGrpSpPr/>
              <p:nvPr/>
            </p:nvGrpSpPr>
            <p:grpSpPr bwMode="gray">
              <a:xfrm>
                <a:off x="7605998" y="3796569"/>
                <a:ext cx="61817" cy="63626"/>
                <a:chOff x="7605998" y="3796569"/>
                <a:chExt cx="61817" cy="63626"/>
              </a:xfrm>
            </p:grpSpPr>
            <p:sp>
              <p:nvSpPr>
                <p:cNvPr id="11207" name="Freeform: Shape 11206">
                  <a:extLst>
                    <a:ext uri="{FF2B5EF4-FFF2-40B4-BE49-F238E27FC236}">
                      <a16:creationId xmlns:a16="http://schemas.microsoft.com/office/drawing/2014/main" id="{8473590F-4C1D-2551-D5F2-53633EB235EE}"/>
                    </a:ext>
                  </a:extLst>
                </p:cNvPr>
                <p:cNvSpPr/>
                <p:nvPr/>
              </p:nvSpPr>
              <p:spPr bwMode="gray">
                <a:xfrm>
                  <a:off x="7636859" y="379656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08" name="Freeform: Shape 11207">
                  <a:extLst>
                    <a:ext uri="{FF2B5EF4-FFF2-40B4-BE49-F238E27FC236}">
                      <a16:creationId xmlns:a16="http://schemas.microsoft.com/office/drawing/2014/main" id="{CD62584A-C269-B3C0-B939-C0F17804F1B4}"/>
                    </a:ext>
                  </a:extLst>
                </p:cNvPr>
                <p:cNvSpPr/>
                <p:nvPr/>
              </p:nvSpPr>
              <p:spPr bwMode="gray">
                <a:xfrm>
                  <a:off x="7605998" y="38283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6" name="Graphic 1443">
                <a:extLst>
                  <a:ext uri="{FF2B5EF4-FFF2-40B4-BE49-F238E27FC236}">
                    <a16:creationId xmlns:a16="http://schemas.microsoft.com/office/drawing/2014/main" id="{6A031EDE-E90D-8945-A411-B5673AB4C684}"/>
                  </a:ext>
                </a:extLst>
              </p:cNvPr>
              <p:cNvGrpSpPr/>
              <p:nvPr/>
            </p:nvGrpSpPr>
            <p:grpSpPr bwMode="gray">
              <a:xfrm>
                <a:off x="7577804" y="3764660"/>
                <a:ext cx="61817" cy="63722"/>
                <a:chOff x="7577804" y="3764660"/>
                <a:chExt cx="61817" cy="63722"/>
              </a:xfrm>
            </p:grpSpPr>
            <p:sp>
              <p:nvSpPr>
                <p:cNvPr id="11205" name="Freeform: Shape 11204">
                  <a:extLst>
                    <a:ext uri="{FF2B5EF4-FFF2-40B4-BE49-F238E27FC236}">
                      <a16:creationId xmlns:a16="http://schemas.microsoft.com/office/drawing/2014/main" id="{913E9C4E-FDC7-3785-B353-23B70F8372B6}"/>
                    </a:ext>
                  </a:extLst>
                </p:cNvPr>
                <p:cNvSpPr/>
                <p:nvPr/>
              </p:nvSpPr>
              <p:spPr bwMode="gray">
                <a:xfrm>
                  <a:off x="760876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06" name="Freeform: Shape 11205">
                  <a:extLst>
                    <a:ext uri="{FF2B5EF4-FFF2-40B4-BE49-F238E27FC236}">
                      <a16:creationId xmlns:a16="http://schemas.microsoft.com/office/drawing/2014/main" id="{1D86DD40-C977-EC66-0875-CE1F2B89F4BD}"/>
                    </a:ext>
                  </a:extLst>
                </p:cNvPr>
                <p:cNvSpPr/>
                <p:nvPr/>
              </p:nvSpPr>
              <p:spPr bwMode="gray">
                <a:xfrm>
                  <a:off x="757780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7" name="Graphic 1443">
                <a:extLst>
                  <a:ext uri="{FF2B5EF4-FFF2-40B4-BE49-F238E27FC236}">
                    <a16:creationId xmlns:a16="http://schemas.microsoft.com/office/drawing/2014/main" id="{1B27C8A0-C0F8-2876-0BF3-082472103929}"/>
                  </a:ext>
                </a:extLst>
              </p:cNvPr>
              <p:cNvGrpSpPr/>
              <p:nvPr/>
            </p:nvGrpSpPr>
            <p:grpSpPr bwMode="gray">
              <a:xfrm>
                <a:off x="7476553" y="3764660"/>
                <a:ext cx="61817" cy="63722"/>
                <a:chOff x="7476553" y="3764660"/>
                <a:chExt cx="61817" cy="63722"/>
              </a:xfrm>
            </p:grpSpPr>
            <p:sp>
              <p:nvSpPr>
                <p:cNvPr id="11203" name="Freeform: Shape 11202">
                  <a:extLst>
                    <a:ext uri="{FF2B5EF4-FFF2-40B4-BE49-F238E27FC236}">
                      <a16:creationId xmlns:a16="http://schemas.microsoft.com/office/drawing/2014/main" id="{20B0D2A2-124D-7E9A-755B-3936AA1310B6}"/>
                    </a:ext>
                  </a:extLst>
                </p:cNvPr>
                <p:cNvSpPr/>
                <p:nvPr/>
              </p:nvSpPr>
              <p:spPr bwMode="gray">
                <a:xfrm>
                  <a:off x="7507509"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04" name="Freeform: Shape 11203">
                  <a:extLst>
                    <a:ext uri="{FF2B5EF4-FFF2-40B4-BE49-F238E27FC236}">
                      <a16:creationId xmlns:a16="http://schemas.microsoft.com/office/drawing/2014/main" id="{7668B1C9-0C6C-5833-F619-FBB7DC2D4A06}"/>
                    </a:ext>
                  </a:extLst>
                </p:cNvPr>
                <p:cNvSpPr/>
                <p:nvPr/>
              </p:nvSpPr>
              <p:spPr bwMode="gray">
                <a:xfrm>
                  <a:off x="747655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8" name="Graphic 1443">
                <a:extLst>
                  <a:ext uri="{FF2B5EF4-FFF2-40B4-BE49-F238E27FC236}">
                    <a16:creationId xmlns:a16="http://schemas.microsoft.com/office/drawing/2014/main" id="{DE621EB6-29D9-71C4-907C-69E680B7BCC9}"/>
                  </a:ext>
                </a:extLst>
              </p:cNvPr>
              <p:cNvGrpSpPr/>
              <p:nvPr/>
            </p:nvGrpSpPr>
            <p:grpSpPr bwMode="gray">
              <a:xfrm>
                <a:off x="7404068" y="3764660"/>
                <a:ext cx="61817" cy="63722"/>
                <a:chOff x="7404068" y="3764660"/>
                <a:chExt cx="61817" cy="63722"/>
              </a:xfrm>
            </p:grpSpPr>
            <p:sp>
              <p:nvSpPr>
                <p:cNvPr id="11201" name="Freeform: Shape 11200">
                  <a:extLst>
                    <a:ext uri="{FF2B5EF4-FFF2-40B4-BE49-F238E27FC236}">
                      <a16:creationId xmlns:a16="http://schemas.microsoft.com/office/drawing/2014/main" id="{03AEE27B-F7F9-BF32-AF09-DF42F1B43B59}"/>
                    </a:ext>
                  </a:extLst>
                </p:cNvPr>
                <p:cNvSpPr/>
                <p:nvPr/>
              </p:nvSpPr>
              <p:spPr bwMode="gray">
                <a:xfrm>
                  <a:off x="743502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02" name="Freeform: Shape 11201">
                  <a:extLst>
                    <a:ext uri="{FF2B5EF4-FFF2-40B4-BE49-F238E27FC236}">
                      <a16:creationId xmlns:a16="http://schemas.microsoft.com/office/drawing/2014/main" id="{F3801DF6-603F-42FB-3526-0528BC2587A9}"/>
                    </a:ext>
                  </a:extLst>
                </p:cNvPr>
                <p:cNvSpPr/>
                <p:nvPr/>
              </p:nvSpPr>
              <p:spPr bwMode="gray">
                <a:xfrm>
                  <a:off x="740406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89" name="Graphic 1443">
                <a:extLst>
                  <a:ext uri="{FF2B5EF4-FFF2-40B4-BE49-F238E27FC236}">
                    <a16:creationId xmlns:a16="http://schemas.microsoft.com/office/drawing/2014/main" id="{320CF31E-38B7-A10C-CDA1-4889BADF75D0}"/>
                  </a:ext>
                </a:extLst>
              </p:cNvPr>
              <p:cNvGrpSpPr/>
              <p:nvPr/>
            </p:nvGrpSpPr>
            <p:grpSpPr bwMode="gray">
              <a:xfrm>
                <a:off x="7180897" y="3711987"/>
                <a:ext cx="61817" cy="63722"/>
                <a:chOff x="7180897" y="3711987"/>
                <a:chExt cx="61817" cy="63722"/>
              </a:xfrm>
            </p:grpSpPr>
            <p:sp>
              <p:nvSpPr>
                <p:cNvPr id="11199" name="Freeform: Shape 11198">
                  <a:extLst>
                    <a:ext uri="{FF2B5EF4-FFF2-40B4-BE49-F238E27FC236}">
                      <a16:creationId xmlns:a16="http://schemas.microsoft.com/office/drawing/2014/main" id="{8CE9150B-2634-2DD7-6439-ED2EA29FF660}"/>
                    </a:ext>
                  </a:extLst>
                </p:cNvPr>
                <p:cNvSpPr/>
                <p:nvPr/>
              </p:nvSpPr>
              <p:spPr bwMode="gray">
                <a:xfrm>
                  <a:off x="721185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200" name="Freeform: Shape 11199">
                  <a:extLst>
                    <a:ext uri="{FF2B5EF4-FFF2-40B4-BE49-F238E27FC236}">
                      <a16:creationId xmlns:a16="http://schemas.microsoft.com/office/drawing/2014/main" id="{E2360343-E027-2127-B020-9811FE7B8795}"/>
                    </a:ext>
                  </a:extLst>
                </p:cNvPr>
                <p:cNvSpPr/>
                <p:nvPr/>
              </p:nvSpPr>
              <p:spPr bwMode="gray">
                <a:xfrm>
                  <a:off x="71808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0" name="Graphic 1443">
                <a:extLst>
                  <a:ext uri="{FF2B5EF4-FFF2-40B4-BE49-F238E27FC236}">
                    <a16:creationId xmlns:a16="http://schemas.microsoft.com/office/drawing/2014/main" id="{0EB01C0A-AE92-A8EE-0B9B-9F059A962377}"/>
                  </a:ext>
                </a:extLst>
              </p:cNvPr>
              <p:cNvGrpSpPr/>
              <p:nvPr/>
            </p:nvGrpSpPr>
            <p:grpSpPr bwMode="gray">
              <a:xfrm>
                <a:off x="7166895" y="3692365"/>
                <a:ext cx="61817" cy="63626"/>
                <a:chOff x="7166895" y="3692365"/>
                <a:chExt cx="61817" cy="63626"/>
              </a:xfrm>
            </p:grpSpPr>
            <p:sp>
              <p:nvSpPr>
                <p:cNvPr id="11197" name="Freeform: Shape 11196">
                  <a:extLst>
                    <a:ext uri="{FF2B5EF4-FFF2-40B4-BE49-F238E27FC236}">
                      <a16:creationId xmlns:a16="http://schemas.microsoft.com/office/drawing/2014/main" id="{61211557-1B22-3E36-8D3C-F090CF3D733F}"/>
                    </a:ext>
                  </a:extLst>
                </p:cNvPr>
                <p:cNvSpPr/>
                <p:nvPr/>
              </p:nvSpPr>
              <p:spPr bwMode="gray">
                <a:xfrm>
                  <a:off x="7197756" y="3692365"/>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98" name="Freeform: Shape 11197">
                  <a:extLst>
                    <a:ext uri="{FF2B5EF4-FFF2-40B4-BE49-F238E27FC236}">
                      <a16:creationId xmlns:a16="http://schemas.microsoft.com/office/drawing/2014/main" id="{1C449D5A-77B8-6BE3-7D39-233B1310263A}"/>
                    </a:ext>
                  </a:extLst>
                </p:cNvPr>
                <p:cNvSpPr/>
                <p:nvPr/>
              </p:nvSpPr>
              <p:spPr bwMode="gray">
                <a:xfrm>
                  <a:off x="7166895" y="372417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1" name="Graphic 1443">
                <a:extLst>
                  <a:ext uri="{FF2B5EF4-FFF2-40B4-BE49-F238E27FC236}">
                    <a16:creationId xmlns:a16="http://schemas.microsoft.com/office/drawing/2014/main" id="{46B222C1-CEF5-F76C-6D0A-08048DC67521}"/>
                  </a:ext>
                </a:extLst>
              </p:cNvPr>
              <p:cNvGrpSpPr/>
              <p:nvPr/>
            </p:nvGrpSpPr>
            <p:grpSpPr bwMode="gray">
              <a:xfrm>
                <a:off x="7166895" y="3655980"/>
                <a:ext cx="61817" cy="63722"/>
                <a:chOff x="7166895" y="3655980"/>
                <a:chExt cx="61817" cy="63722"/>
              </a:xfrm>
            </p:grpSpPr>
            <p:sp>
              <p:nvSpPr>
                <p:cNvPr id="11195" name="Freeform: Shape 11194">
                  <a:extLst>
                    <a:ext uri="{FF2B5EF4-FFF2-40B4-BE49-F238E27FC236}">
                      <a16:creationId xmlns:a16="http://schemas.microsoft.com/office/drawing/2014/main" id="{63807C1B-0284-978A-BCC9-F70D9FBB31AB}"/>
                    </a:ext>
                  </a:extLst>
                </p:cNvPr>
                <p:cNvSpPr/>
                <p:nvPr/>
              </p:nvSpPr>
              <p:spPr bwMode="gray">
                <a:xfrm>
                  <a:off x="719775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96" name="Freeform: Shape 11195">
                  <a:extLst>
                    <a:ext uri="{FF2B5EF4-FFF2-40B4-BE49-F238E27FC236}">
                      <a16:creationId xmlns:a16="http://schemas.microsoft.com/office/drawing/2014/main" id="{2A4BF01E-B275-994B-6C1F-A48211E1EDB3}"/>
                    </a:ext>
                  </a:extLst>
                </p:cNvPr>
                <p:cNvSpPr/>
                <p:nvPr/>
              </p:nvSpPr>
              <p:spPr bwMode="gray">
                <a:xfrm>
                  <a:off x="716689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2" name="Graphic 1443">
                <a:extLst>
                  <a:ext uri="{FF2B5EF4-FFF2-40B4-BE49-F238E27FC236}">
                    <a16:creationId xmlns:a16="http://schemas.microsoft.com/office/drawing/2014/main" id="{589707F3-843E-7CDD-F100-288C04C30A72}"/>
                  </a:ext>
                </a:extLst>
              </p:cNvPr>
              <p:cNvGrpSpPr/>
              <p:nvPr/>
            </p:nvGrpSpPr>
            <p:grpSpPr bwMode="gray">
              <a:xfrm>
                <a:off x="7138225" y="3655980"/>
                <a:ext cx="61817" cy="63722"/>
                <a:chOff x="7138225" y="3655980"/>
                <a:chExt cx="61817" cy="63722"/>
              </a:xfrm>
            </p:grpSpPr>
            <p:sp>
              <p:nvSpPr>
                <p:cNvPr id="11193" name="Freeform: Shape 11192">
                  <a:extLst>
                    <a:ext uri="{FF2B5EF4-FFF2-40B4-BE49-F238E27FC236}">
                      <a16:creationId xmlns:a16="http://schemas.microsoft.com/office/drawing/2014/main" id="{1C913E63-108E-EE9A-4265-DF726F93C4C5}"/>
                    </a:ext>
                  </a:extLst>
                </p:cNvPr>
                <p:cNvSpPr/>
                <p:nvPr/>
              </p:nvSpPr>
              <p:spPr bwMode="gray">
                <a:xfrm>
                  <a:off x="7169086"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94" name="Freeform: Shape 11193">
                  <a:extLst>
                    <a:ext uri="{FF2B5EF4-FFF2-40B4-BE49-F238E27FC236}">
                      <a16:creationId xmlns:a16="http://schemas.microsoft.com/office/drawing/2014/main" id="{7A3E8D89-0963-1547-BEC0-6F0EAEE6A76E}"/>
                    </a:ext>
                  </a:extLst>
                </p:cNvPr>
                <p:cNvSpPr/>
                <p:nvPr/>
              </p:nvSpPr>
              <p:spPr bwMode="gray">
                <a:xfrm>
                  <a:off x="7138225"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3" name="Graphic 1443">
                <a:extLst>
                  <a:ext uri="{FF2B5EF4-FFF2-40B4-BE49-F238E27FC236}">
                    <a16:creationId xmlns:a16="http://schemas.microsoft.com/office/drawing/2014/main" id="{A1E45BB4-6473-AD4B-0584-41022382CA25}"/>
                  </a:ext>
                </a:extLst>
              </p:cNvPr>
              <p:cNvGrpSpPr/>
              <p:nvPr/>
            </p:nvGrpSpPr>
            <p:grpSpPr bwMode="gray">
              <a:xfrm>
                <a:off x="7129272" y="3655980"/>
                <a:ext cx="61817" cy="63722"/>
                <a:chOff x="7129272" y="3655980"/>
                <a:chExt cx="61817" cy="63722"/>
              </a:xfrm>
            </p:grpSpPr>
            <p:sp>
              <p:nvSpPr>
                <p:cNvPr id="11191" name="Freeform: Shape 11190">
                  <a:extLst>
                    <a:ext uri="{FF2B5EF4-FFF2-40B4-BE49-F238E27FC236}">
                      <a16:creationId xmlns:a16="http://schemas.microsoft.com/office/drawing/2014/main" id="{131C4DD2-A1FD-5D8E-27D3-ACEC0A6C8C80}"/>
                    </a:ext>
                  </a:extLst>
                </p:cNvPr>
                <p:cNvSpPr/>
                <p:nvPr/>
              </p:nvSpPr>
              <p:spPr bwMode="gray">
                <a:xfrm>
                  <a:off x="716022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92" name="Freeform: Shape 11191">
                  <a:extLst>
                    <a:ext uri="{FF2B5EF4-FFF2-40B4-BE49-F238E27FC236}">
                      <a16:creationId xmlns:a16="http://schemas.microsoft.com/office/drawing/2014/main" id="{C54654C0-458C-C4C9-9FF8-3B9B7DFC6E9F}"/>
                    </a:ext>
                  </a:extLst>
                </p:cNvPr>
                <p:cNvSpPr/>
                <p:nvPr/>
              </p:nvSpPr>
              <p:spPr bwMode="gray">
                <a:xfrm>
                  <a:off x="712927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4" name="Graphic 1443">
                <a:extLst>
                  <a:ext uri="{FF2B5EF4-FFF2-40B4-BE49-F238E27FC236}">
                    <a16:creationId xmlns:a16="http://schemas.microsoft.com/office/drawing/2014/main" id="{895B5761-7CA6-0942-C1C8-6128AED2685F}"/>
                  </a:ext>
                </a:extLst>
              </p:cNvPr>
              <p:cNvGrpSpPr/>
              <p:nvPr/>
            </p:nvGrpSpPr>
            <p:grpSpPr bwMode="gray">
              <a:xfrm>
                <a:off x="7111746" y="3655980"/>
                <a:ext cx="61817" cy="63722"/>
                <a:chOff x="7111746" y="3655980"/>
                <a:chExt cx="61817" cy="63722"/>
              </a:xfrm>
            </p:grpSpPr>
            <p:sp>
              <p:nvSpPr>
                <p:cNvPr id="11189" name="Freeform: Shape 11188">
                  <a:extLst>
                    <a:ext uri="{FF2B5EF4-FFF2-40B4-BE49-F238E27FC236}">
                      <a16:creationId xmlns:a16="http://schemas.microsoft.com/office/drawing/2014/main" id="{28A721C6-7EE9-C5F7-D82A-24DB36C6B0A2}"/>
                    </a:ext>
                  </a:extLst>
                </p:cNvPr>
                <p:cNvSpPr/>
                <p:nvPr/>
              </p:nvSpPr>
              <p:spPr bwMode="gray">
                <a:xfrm>
                  <a:off x="7142702"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90" name="Freeform: Shape 11189">
                  <a:extLst>
                    <a:ext uri="{FF2B5EF4-FFF2-40B4-BE49-F238E27FC236}">
                      <a16:creationId xmlns:a16="http://schemas.microsoft.com/office/drawing/2014/main" id="{9920BCDC-8B7D-5C15-69A2-37E37A23CEC8}"/>
                    </a:ext>
                  </a:extLst>
                </p:cNvPr>
                <p:cNvSpPr/>
                <p:nvPr/>
              </p:nvSpPr>
              <p:spPr bwMode="gray">
                <a:xfrm>
                  <a:off x="7111746"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5" name="Graphic 1443">
                <a:extLst>
                  <a:ext uri="{FF2B5EF4-FFF2-40B4-BE49-F238E27FC236}">
                    <a16:creationId xmlns:a16="http://schemas.microsoft.com/office/drawing/2014/main" id="{32D12CC7-C77D-B652-D1AB-0D2804E2B7F8}"/>
                  </a:ext>
                </a:extLst>
              </p:cNvPr>
              <p:cNvGrpSpPr/>
              <p:nvPr/>
            </p:nvGrpSpPr>
            <p:grpSpPr bwMode="gray">
              <a:xfrm>
                <a:off x="7102792" y="3655980"/>
                <a:ext cx="61817" cy="63722"/>
                <a:chOff x="7102792" y="3655980"/>
                <a:chExt cx="61817" cy="63722"/>
              </a:xfrm>
            </p:grpSpPr>
            <p:sp>
              <p:nvSpPr>
                <p:cNvPr id="11187" name="Freeform: Shape 11186">
                  <a:extLst>
                    <a:ext uri="{FF2B5EF4-FFF2-40B4-BE49-F238E27FC236}">
                      <a16:creationId xmlns:a16="http://schemas.microsoft.com/office/drawing/2014/main" id="{78040113-E52F-5BFD-29A6-E81844295954}"/>
                    </a:ext>
                  </a:extLst>
                </p:cNvPr>
                <p:cNvSpPr/>
                <p:nvPr/>
              </p:nvSpPr>
              <p:spPr bwMode="gray">
                <a:xfrm>
                  <a:off x="7133748" y="36559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88" name="Freeform: Shape 11187">
                  <a:extLst>
                    <a:ext uri="{FF2B5EF4-FFF2-40B4-BE49-F238E27FC236}">
                      <a16:creationId xmlns:a16="http://schemas.microsoft.com/office/drawing/2014/main" id="{31981B33-C0FB-DE4C-1E1A-B4BCF32CC39E}"/>
                    </a:ext>
                  </a:extLst>
                </p:cNvPr>
                <p:cNvSpPr/>
                <p:nvPr/>
              </p:nvSpPr>
              <p:spPr bwMode="gray">
                <a:xfrm>
                  <a:off x="7102792" y="36878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6" name="Graphic 1443">
                <a:extLst>
                  <a:ext uri="{FF2B5EF4-FFF2-40B4-BE49-F238E27FC236}">
                    <a16:creationId xmlns:a16="http://schemas.microsoft.com/office/drawing/2014/main" id="{1C954609-7436-F414-0665-764BDF87ED02}"/>
                  </a:ext>
                </a:extLst>
              </p:cNvPr>
              <p:cNvGrpSpPr/>
              <p:nvPr/>
            </p:nvGrpSpPr>
            <p:grpSpPr bwMode="gray">
              <a:xfrm>
                <a:off x="7093648" y="3636073"/>
                <a:ext cx="61817" cy="63627"/>
                <a:chOff x="7093648" y="3636073"/>
                <a:chExt cx="61817" cy="63627"/>
              </a:xfrm>
            </p:grpSpPr>
            <p:sp>
              <p:nvSpPr>
                <p:cNvPr id="11185" name="Freeform: Shape 11184">
                  <a:extLst>
                    <a:ext uri="{FF2B5EF4-FFF2-40B4-BE49-F238E27FC236}">
                      <a16:creationId xmlns:a16="http://schemas.microsoft.com/office/drawing/2014/main" id="{90AC17E6-0CE6-1182-76E3-B39EC92B82CD}"/>
                    </a:ext>
                  </a:extLst>
                </p:cNvPr>
                <p:cNvSpPr/>
                <p:nvPr/>
              </p:nvSpPr>
              <p:spPr bwMode="gray">
                <a:xfrm>
                  <a:off x="7124604"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86" name="Freeform: Shape 11185">
                  <a:extLst>
                    <a:ext uri="{FF2B5EF4-FFF2-40B4-BE49-F238E27FC236}">
                      <a16:creationId xmlns:a16="http://schemas.microsoft.com/office/drawing/2014/main" id="{DA8D9474-E8A3-42A4-258D-90C825A2DD18}"/>
                    </a:ext>
                  </a:extLst>
                </p:cNvPr>
                <p:cNvSpPr/>
                <p:nvPr/>
              </p:nvSpPr>
              <p:spPr bwMode="gray">
                <a:xfrm>
                  <a:off x="7093648"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7" name="Graphic 1443">
                <a:extLst>
                  <a:ext uri="{FF2B5EF4-FFF2-40B4-BE49-F238E27FC236}">
                    <a16:creationId xmlns:a16="http://schemas.microsoft.com/office/drawing/2014/main" id="{01A5B010-26B6-07A3-736C-9B2277FD1A1D}"/>
                  </a:ext>
                </a:extLst>
              </p:cNvPr>
              <p:cNvGrpSpPr/>
              <p:nvPr/>
            </p:nvGrpSpPr>
            <p:grpSpPr bwMode="gray">
              <a:xfrm>
                <a:off x="6991254" y="3601211"/>
                <a:ext cx="61817" cy="63722"/>
                <a:chOff x="6991254" y="3601211"/>
                <a:chExt cx="61817" cy="63722"/>
              </a:xfrm>
            </p:grpSpPr>
            <p:sp>
              <p:nvSpPr>
                <p:cNvPr id="11183" name="Freeform: Shape 11182">
                  <a:extLst>
                    <a:ext uri="{FF2B5EF4-FFF2-40B4-BE49-F238E27FC236}">
                      <a16:creationId xmlns:a16="http://schemas.microsoft.com/office/drawing/2014/main" id="{A1CE4821-345A-88F8-02B5-D89EB4C12192}"/>
                    </a:ext>
                  </a:extLst>
                </p:cNvPr>
                <p:cNvSpPr/>
                <p:nvPr/>
              </p:nvSpPr>
              <p:spPr bwMode="gray">
                <a:xfrm>
                  <a:off x="7022115"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84" name="Freeform: Shape 11183">
                  <a:extLst>
                    <a:ext uri="{FF2B5EF4-FFF2-40B4-BE49-F238E27FC236}">
                      <a16:creationId xmlns:a16="http://schemas.microsoft.com/office/drawing/2014/main" id="{0B192413-8F5E-4F97-2499-6FA6E7DD0B8C}"/>
                    </a:ext>
                  </a:extLst>
                </p:cNvPr>
                <p:cNvSpPr/>
                <p:nvPr/>
              </p:nvSpPr>
              <p:spPr bwMode="gray">
                <a:xfrm>
                  <a:off x="6991254"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8" name="Graphic 1443">
                <a:extLst>
                  <a:ext uri="{FF2B5EF4-FFF2-40B4-BE49-F238E27FC236}">
                    <a16:creationId xmlns:a16="http://schemas.microsoft.com/office/drawing/2014/main" id="{EF4845B8-93D1-8D39-61CE-DE68DF5AE9D3}"/>
                  </a:ext>
                </a:extLst>
              </p:cNvPr>
              <p:cNvGrpSpPr/>
              <p:nvPr/>
            </p:nvGrpSpPr>
            <p:grpSpPr bwMode="gray">
              <a:xfrm>
                <a:off x="6878002" y="3601211"/>
                <a:ext cx="61817" cy="63722"/>
                <a:chOff x="6878002" y="3601211"/>
                <a:chExt cx="61817" cy="63722"/>
              </a:xfrm>
            </p:grpSpPr>
            <p:sp>
              <p:nvSpPr>
                <p:cNvPr id="11181" name="Freeform: Shape 11180">
                  <a:extLst>
                    <a:ext uri="{FF2B5EF4-FFF2-40B4-BE49-F238E27FC236}">
                      <a16:creationId xmlns:a16="http://schemas.microsoft.com/office/drawing/2014/main" id="{33F125B2-4AFF-BCFD-3B29-6848C7EC500E}"/>
                    </a:ext>
                  </a:extLst>
                </p:cNvPr>
                <p:cNvSpPr/>
                <p:nvPr/>
              </p:nvSpPr>
              <p:spPr bwMode="gray">
                <a:xfrm>
                  <a:off x="6908958"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82" name="Freeform: Shape 11181">
                  <a:extLst>
                    <a:ext uri="{FF2B5EF4-FFF2-40B4-BE49-F238E27FC236}">
                      <a16:creationId xmlns:a16="http://schemas.microsoft.com/office/drawing/2014/main" id="{90256388-CAFD-7B26-B01D-0F6875665665}"/>
                    </a:ext>
                  </a:extLst>
                </p:cNvPr>
                <p:cNvSpPr/>
                <p:nvPr/>
              </p:nvSpPr>
              <p:spPr bwMode="gray">
                <a:xfrm>
                  <a:off x="687800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99" name="Graphic 1443">
                <a:extLst>
                  <a:ext uri="{FF2B5EF4-FFF2-40B4-BE49-F238E27FC236}">
                    <a16:creationId xmlns:a16="http://schemas.microsoft.com/office/drawing/2014/main" id="{9D968ABB-AD12-B1BF-2754-FA5FC710C786}"/>
                  </a:ext>
                </a:extLst>
              </p:cNvPr>
              <p:cNvGrpSpPr/>
              <p:nvPr/>
            </p:nvGrpSpPr>
            <p:grpSpPr bwMode="gray">
              <a:xfrm>
                <a:off x="6695313" y="3582352"/>
                <a:ext cx="61817" cy="63627"/>
                <a:chOff x="6695313" y="3582352"/>
                <a:chExt cx="61817" cy="63627"/>
              </a:xfrm>
            </p:grpSpPr>
            <p:sp>
              <p:nvSpPr>
                <p:cNvPr id="11179" name="Freeform: Shape 11178">
                  <a:extLst>
                    <a:ext uri="{FF2B5EF4-FFF2-40B4-BE49-F238E27FC236}">
                      <a16:creationId xmlns:a16="http://schemas.microsoft.com/office/drawing/2014/main" id="{5635B78F-F5CF-F2FE-2299-97937D2FBA84}"/>
                    </a:ext>
                  </a:extLst>
                </p:cNvPr>
                <p:cNvSpPr/>
                <p:nvPr/>
              </p:nvSpPr>
              <p:spPr bwMode="gray">
                <a:xfrm>
                  <a:off x="6726269"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80" name="Freeform: Shape 11179">
                  <a:extLst>
                    <a:ext uri="{FF2B5EF4-FFF2-40B4-BE49-F238E27FC236}">
                      <a16:creationId xmlns:a16="http://schemas.microsoft.com/office/drawing/2014/main" id="{09578CC2-284B-101A-1F6D-4DE28E9592DA}"/>
                    </a:ext>
                  </a:extLst>
                </p:cNvPr>
                <p:cNvSpPr/>
                <p:nvPr/>
              </p:nvSpPr>
              <p:spPr bwMode="gray">
                <a:xfrm>
                  <a:off x="669531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0" name="Graphic 1443">
                <a:extLst>
                  <a:ext uri="{FF2B5EF4-FFF2-40B4-BE49-F238E27FC236}">
                    <a16:creationId xmlns:a16="http://schemas.microsoft.com/office/drawing/2014/main" id="{84AF5926-DA36-A4A7-D38A-0D83213A1E7A}"/>
                  </a:ext>
                </a:extLst>
              </p:cNvPr>
              <p:cNvGrpSpPr/>
              <p:nvPr/>
            </p:nvGrpSpPr>
            <p:grpSpPr bwMode="gray">
              <a:xfrm>
                <a:off x="6695313" y="3550443"/>
                <a:ext cx="61817" cy="63722"/>
                <a:chOff x="6695313" y="3550443"/>
                <a:chExt cx="61817" cy="63722"/>
              </a:xfrm>
            </p:grpSpPr>
            <p:sp>
              <p:nvSpPr>
                <p:cNvPr id="11177" name="Freeform: Shape 11176">
                  <a:extLst>
                    <a:ext uri="{FF2B5EF4-FFF2-40B4-BE49-F238E27FC236}">
                      <a16:creationId xmlns:a16="http://schemas.microsoft.com/office/drawing/2014/main" id="{39D7295D-394B-1B4A-1279-3EA4C48E58C6}"/>
                    </a:ext>
                  </a:extLst>
                </p:cNvPr>
                <p:cNvSpPr/>
                <p:nvPr/>
              </p:nvSpPr>
              <p:spPr bwMode="gray">
                <a:xfrm>
                  <a:off x="6726269"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78" name="Freeform: Shape 11177">
                  <a:extLst>
                    <a:ext uri="{FF2B5EF4-FFF2-40B4-BE49-F238E27FC236}">
                      <a16:creationId xmlns:a16="http://schemas.microsoft.com/office/drawing/2014/main" id="{422B5FE1-3F1B-6D7C-11C6-F7C13FC49C7B}"/>
                    </a:ext>
                  </a:extLst>
                </p:cNvPr>
                <p:cNvSpPr/>
                <p:nvPr/>
              </p:nvSpPr>
              <p:spPr bwMode="gray">
                <a:xfrm>
                  <a:off x="669531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1" name="Graphic 1443">
                <a:extLst>
                  <a:ext uri="{FF2B5EF4-FFF2-40B4-BE49-F238E27FC236}">
                    <a16:creationId xmlns:a16="http://schemas.microsoft.com/office/drawing/2014/main" id="{021E1D2E-9085-9BB7-5299-366EDE424BE8}"/>
                  </a:ext>
                </a:extLst>
              </p:cNvPr>
              <p:cNvGrpSpPr/>
              <p:nvPr/>
            </p:nvGrpSpPr>
            <p:grpSpPr bwMode="gray">
              <a:xfrm>
                <a:off x="6662070" y="3550443"/>
                <a:ext cx="61817" cy="63722"/>
                <a:chOff x="6662070" y="3550443"/>
                <a:chExt cx="61817" cy="63722"/>
              </a:xfrm>
            </p:grpSpPr>
            <p:sp>
              <p:nvSpPr>
                <p:cNvPr id="11175" name="Freeform: Shape 11174">
                  <a:extLst>
                    <a:ext uri="{FF2B5EF4-FFF2-40B4-BE49-F238E27FC236}">
                      <a16:creationId xmlns:a16="http://schemas.microsoft.com/office/drawing/2014/main" id="{4AF7F06B-FF4C-8CF3-850F-3B2D435E3B90}"/>
                    </a:ext>
                  </a:extLst>
                </p:cNvPr>
                <p:cNvSpPr/>
                <p:nvPr/>
              </p:nvSpPr>
              <p:spPr bwMode="gray">
                <a:xfrm>
                  <a:off x="669293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76" name="Freeform: Shape 11175">
                  <a:extLst>
                    <a:ext uri="{FF2B5EF4-FFF2-40B4-BE49-F238E27FC236}">
                      <a16:creationId xmlns:a16="http://schemas.microsoft.com/office/drawing/2014/main" id="{30EF8CE8-ED96-8F36-46AA-B1DAF93B1521}"/>
                    </a:ext>
                  </a:extLst>
                </p:cNvPr>
                <p:cNvSpPr/>
                <p:nvPr/>
              </p:nvSpPr>
              <p:spPr bwMode="gray">
                <a:xfrm>
                  <a:off x="666207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2" name="Graphic 1443">
                <a:extLst>
                  <a:ext uri="{FF2B5EF4-FFF2-40B4-BE49-F238E27FC236}">
                    <a16:creationId xmlns:a16="http://schemas.microsoft.com/office/drawing/2014/main" id="{A40EEEC5-27D0-19DE-AAFD-0F6486BF4D18}"/>
                  </a:ext>
                </a:extLst>
              </p:cNvPr>
              <p:cNvGrpSpPr/>
              <p:nvPr/>
            </p:nvGrpSpPr>
            <p:grpSpPr bwMode="gray">
              <a:xfrm>
                <a:off x="6537388" y="3550443"/>
                <a:ext cx="61817" cy="63722"/>
                <a:chOff x="6537388" y="3550443"/>
                <a:chExt cx="61817" cy="63722"/>
              </a:xfrm>
            </p:grpSpPr>
            <p:sp>
              <p:nvSpPr>
                <p:cNvPr id="11173" name="Freeform: Shape 11172">
                  <a:extLst>
                    <a:ext uri="{FF2B5EF4-FFF2-40B4-BE49-F238E27FC236}">
                      <a16:creationId xmlns:a16="http://schemas.microsoft.com/office/drawing/2014/main" id="{ECB44C28-3CD0-0C8D-E85A-D4ECE3121C94}"/>
                    </a:ext>
                  </a:extLst>
                </p:cNvPr>
                <p:cNvSpPr/>
                <p:nvPr/>
              </p:nvSpPr>
              <p:spPr bwMode="gray">
                <a:xfrm>
                  <a:off x="65683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74" name="Freeform: Shape 11173">
                  <a:extLst>
                    <a:ext uri="{FF2B5EF4-FFF2-40B4-BE49-F238E27FC236}">
                      <a16:creationId xmlns:a16="http://schemas.microsoft.com/office/drawing/2014/main" id="{1CE251CE-218A-9CE1-0CF6-CAA5CB55855B}"/>
                    </a:ext>
                  </a:extLst>
                </p:cNvPr>
                <p:cNvSpPr/>
                <p:nvPr/>
              </p:nvSpPr>
              <p:spPr bwMode="gray">
                <a:xfrm>
                  <a:off x="653738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3" name="Graphic 1443">
                <a:extLst>
                  <a:ext uri="{FF2B5EF4-FFF2-40B4-BE49-F238E27FC236}">
                    <a16:creationId xmlns:a16="http://schemas.microsoft.com/office/drawing/2014/main" id="{5DA7BF2B-91A1-DC76-E693-1B73ADC47C10}"/>
                  </a:ext>
                </a:extLst>
              </p:cNvPr>
              <p:cNvGrpSpPr/>
              <p:nvPr/>
            </p:nvGrpSpPr>
            <p:grpSpPr bwMode="gray">
              <a:xfrm>
                <a:off x="6522053" y="3528440"/>
                <a:ext cx="61817" cy="63722"/>
                <a:chOff x="6522053" y="3528440"/>
                <a:chExt cx="61817" cy="63722"/>
              </a:xfrm>
            </p:grpSpPr>
            <p:sp>
              <p:nvSpPr>
                <p:cNvPr id="11171" name="Freeform: Shape 11170">
                  <a:extLst>
                    <a:ext uri="{FF2B5EF4-FFF2-40B4-BE49-F238E27FC236}">
                      <a16:creationId xmlns:a16="http://schemas.microsoft.com/office/drawing/2014/main" id="{ACBB38E3-669B-EA93-7EE2-0428ABEFB4D2}"/>
                    </a:ext>
                  </a:extLst>
                </p:cNvPr>
                <p:cNvSpPr/>
                <p:nvPr/>
              </p:nvSpPr>
              <p:spPr bwMode="gray">
                <a:xfrm>
                  <a:off x="6553009" y="352844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72" name="Freeform: Shape 11171">
                  <a:extLst>
                    <a:ext uri="{FF2B5EF4-FFF2-40B4-BE49-F238E27FC236}">
                      <a16:creationId xmlns:a16="http://schemas.microsoft.com/office/drawing/2014/main" id="{EFE42482-2FF2-92A5-D78D-14EBBCC1CB42}"/>
                    </a:ext>
                  </a:extLst>
                </p:cNvPr>
                <p:cNvSpPr/>
                <p:nvPr/>
              </p:nvSpPr>
              <p:spPr bwMode="gray">
                <a:xfrm>
                  <a:off x="6522053" y="356034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4" name="Graphic 1443">
                <a:extLst>
                  <a:ext uri="{FF2B5EF4-FFF2-40B4-BE49-F238E27FC236}">
                    <a16:creationId xmlns:a16="http://schemas.microsoft.com/office/drawing/2014/main" id="{F88859D9-3FA8-BEFE-2DB5-802F9BFCB4A2}"/>
                  </a:ext>
                </a:extLst>
              </p:cNvPr>
              <p:cNvGrpSpPr/>
              <p:nvPr/>
            </p:nvGrpSpPr>
            <p:grpSpPr bwMode="gray">
              <a:xfrm>
                <a:off x="6504146" y="3516439"/>
                <a:ext cx="61817" cy="63626"/>
                <a:chOff x="6504146" y="3516439"/>
                <a:chExt cx="61817" cy="63626"/>
              </a:xfrm>
            </p:grpSpPr>
            <p:sp>
              <p:nvSpPr>
                <p:cNvPr id="11169" name="Freeform: Shape 11168">
                  <a:extLst>
                    <a:ext uri="{FF2B5EF4-FFF2-40B4-BE49-F238E27FC236}">
                      <a16:creationId xmlns:a16="http://schemas.microsoft.com/office/drawing/2014/main" id="{07FA5705-5431-5565-FBBC-84F8909A3EF2}"/>
                    </a:ext>
                  </a:extLst>
                </p:cNvPr>
                <p:cNvSpPr/>
                <p:nvPr/>
              </p:nvSpPr>
              <p:spPr bwMode="gray">
                <a:xfrm>
                  <a:off x="6535102"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70" name="Freeform: Shape 11169">
                  <a:extLst>
                    <a:ext uri="{FF2B5EF4-FFF2-40B4-BE49-F238E27FC236}">
                      <a16:creationId xmlns:a16="http://schemas.microsoft.com/office/drawing/2014/main" id="{0DF1627D-B13A-7B20-8C30-295C8CE2258A}"/>
                    </a:ext>
                  </a:extLst>
                </p:cNvPr>
                <p:cNvSpPr/>
                <p:nvPr/>
              </p:nvSpPr>
              <p:spPr bwMode="gray">
                <a:xfrm>
                  <a:off x="6504146"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5" name="Graphic 1443">
                <a:extLst>
                  <a:ext uri="{FF2B5EF4-FFF2-40B4-BE49-F238E27FC236}">
                    <a16:creationId xmlns:a16="http://schemas.microsoft.com/office/drawing/2014/main" id="{75EFE099-609E-B0F0-0F55-341F34AC6663}"/>
                  </a:ext>
                </a:extLst>
              </p:cNvPr>
              <p:cNvGrpSpPr/>
              <p:nvPr/>
            </p:nvGrpSpPr>
            <p:grpSpPr bwMode="gray">
              <a:xfrm>
                <a:off x="6491192" y="3516439"/>
                <a:ext cx="61817" cy="63626"/>
                <a:chOff x="6491192" y="3516439"/>
                <a:chExt cx="61817" cy="63626"/>
              </a:xfrm>
            </p:grpSpPr>
            <p:sp>
              <p:nvSpPr>
                <p:cNvPr id="11167" name="Freeform: Shape 11166">
                  <a:extLst>
                    <a:ext uri="{FF2B5EF4-FFF2-40B4-BE49-F238E27FC236}">
                      <a16:creationId xmlns:a16="http://schemas.microsoft.com/office/drawing/2014/main" id="{4C6AD351-A4F4-EF40-4A14-59647CCC7F9F}"/>
                    </a:ext>
                  </a:extLst>
                </p:cNvPr>
                <p:cNvSpPr/>
                <p:nvPr/>
              </p:nvSpPr>
              <p:spPr bwMode="gray">
                <a:xfrm>
                  <a:off x="6522053" y="3516439"/>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68" name="Freeform: Shape 11167">
                  <a:extLst>
                    <a:ext uri="{FF2B5EF4-FFF2-40B4-BE49-F238E27FC236}">
                      <a16:creationId xmlns:a16="http://schemas.microsoft.com/office/drawing/2014/main" id="{E056D057-FD2D-781E-B0DE-6E83B0B1486D}"/>
                    </a:ext>
                  </a:extLst>
                </p:cNvPr>
                <p:cNvSpPr/>
                <p:nvPr/>
              </p:nvSpPr>
              <p:spPr bwMode="gray">
                <a:xfrm>
                  <a:off x="6491192" y="3548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6" name="Graphic 1443">
                <a:extLst>
                  <a:ext uri="{FF2B5EF4-FFF2-40B4-BE49-F238E27FC236}">
                    <a16:creationId xmlns:a16="http://schemas.microsoft.com/office/drawing/2014/main" id="{123F2C20-12CD-C68A-1C6B-C2D72ECA0C11}"/>
                  </a:ext>
                </a:extLst>
              </p:cNvPr>
              <p:cNvGrpSpPr/>
              <p:nvPr/>
            </p:nvGrpSpPr>
            <p:grpSpPr bwMode="gray">
              <a:xfrm>
                <a:off x="6213348" y="3468528"/>
                <a:ext cx="61817" cy="63722"/>
                <a:chOff x="6213348" y="3468528"/>
                <a:chExt cx="61817" cy="63722"/>
              </a:xfrm>
            </p:grpSpPr>
            <p:sp>
              <p:nvSpPr>
                <p:cNvPr id="11165" name="Freeform: Shape 11164">
                  <a:extLst>
                    <a:ext uri="{FF2B5EF4-FFF2-40B4-BE49-F238E27FC236}">
                      <a16:creationId xmlns:a16="http://schemas.microsoft.com/office/drawing/2014/main" id="{54D54BCA-2281-241F-5DC4-2023CEE61DE2}"/>
                    </a:ext>
                  </a:extLst>
                </p:cNvPr>
                <p:cNvSpPr/>
                <p:nvPr/>
              </p:nvSpPr>
              <p:spPr bwMode="gray">
                <a:xfrm>
                  <a:off x="624430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66" name="Freeform: Shape 11165">
                  <a:extLst>
                    <a:ext uri="{FF2B5EF4-FFF2-40B4-BE49-F238E27FC236}">
                      <a16:creationId xmlns:a16="http://schemas.microsoft.com/office/drawing/2014/main" id="{73335FF6-28DE-973B-92BB-4E4A90D01F7B}"/>
                    </a:ext>
                  </a:extLst>
                </p:cNvPr>
                <p:cNvSpPr/>
                <p:nvPr/>
              </p:nvSpPr>
              <p:spPr bwMode="gray">
                <a:xfrm>
                  <a:off x="621334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7" name="Graphic 1443">
                <a:extLst>
                  <a:ext uri="{FF2B5EF4-FFF2-40B4-BE49-F238E27FC236}">
                    <a16:creationId xmlns:a16="http://schemas.microsoft.com/office/drawing/2014/main" id="{205C5B01-C966-E298-4097-906944DB119B}"/>
                  </a:ext>
                </a:extLst>
              </p:cNvPr>
              <p:cNvGrpSpPr/>
              <p:nvPr/>
            </p:nvGrpSpPr>
            <p:grpSpPr bwMode="gray">
              <a:xfrm>
                <a:off x="6259068" y="3468528"/>
                <a:ext cx="61817" cy="63722"/>
                <a:chOff x="6259068" y="3468528"/>
                <a:chExt cx="61817" cy="63722"/>
              </a:xfrm>
            </p:grpSpPr>
            <p:sp>
              <p:nvSpPr>
                <p:cNvPr id="11163" name="Freeform: Shape 11162">
                  <a:extLst>
                    <a:ext uri="{FF2B5EF4-FFF2-40B4-BE49-F238E27FC236}">
                      <a16:creationId xmlns:a16="http://schemas.microsoft.com/office/drawing/2014/main" id="{E0A9A461-B96C-477C-BC40-F334EC654A23}"/>
                    </a:ext>
                  </a:extLst>
                </p:cNvPr>
                <p:cNvSpPr/>
                <p:nvPr/>
              </p:nvSpPr>
              <p:spPr bwMode="gray">
                <a:xfrm>
                  <a:off x="628992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64" name="Freeform: Shape 11163">
                  <a:extLst>
                    <a:ext uri="{FF2B5EF4-FFF2-40B4-BE49-F238E27FC236}">
                      <a16:creationId xmlns:a16="http://schemas.microsoft.com/office/drawing/2014/main" id="{0753980B-E16E-DCEC-780A-235873D6BC7F}"/>
                    </a:ext>
                  </a:extLst>
                </p:cNvPr>
                <p:cNvSpPr/>
                <p:nvPr/>
              </p:nvSpPr>
              <p:spPr bwMode="gray">
                <a:xfrm>
                  <a:off x="625906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8" name="Graphic 1443">
                <a:extLst>
                  <a:ext uri="{FF2B5EF4-FFF2-40B4-BE49-F238E27FC236}">
                    <a16:creationId xmlns:a16="http://schemas.microsoft.com/office/drawing/2014/main" id="{A464D033-BF91-AD26-F7A7-6E3AD00B0DD3}"/>
                  </a:ext>
                </a:extLst>
              </p:cNvPr>
              <p:cNvGrpSpPr/>
              <p:nvPr/>
            </p:nvGrpSpPr>
            <p:grpSpPr bwMode="gray">
              <a:xfrm>
                <a:off x="6244304" y="3468528"/>
                <a:ext cx="61817" cy="63722"/>
                <a:chOff x="6244304" y="3468528"/>
                <a:chExt cx="61817" cy="63722"/>
              </a:xfrm>
            </p:grpSpPr>
            <p:sp>
              <p:nvSpPr>
                <p:cNvPr id="11161" name="Freeform: Shape 11160">
                  <a:extLst>
                    <a:ext uri="{FF2B5EF4-FFF2-40B4-BE49-F238E27FC236}">
                      <a16:creationId xmlns:a16="http://schemas.microsoft.com/office/drawing/2014/main" id="{086D487F-0723-0FC3-EBEB-EF62715B4FAF}"/>
                    </a:ext>
                  </a:extLst>
                </p:cNvPr>
                <p:cNvSpPr/>
                <p:nvPr/>
              </p:nvSpPr>
              <p:spPr bwMode="gray">
                <a:xfrm>
                  <a:off x="6275165"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62" name="Freeform: Shape 11161">
                  <a:extLst>
                    <a:ext uri="{FF2B5EF4-FFF2-40B4-BE49-F238E27FC236}">
                      <a16:creationId xmlns:a16="http://schemas.microsoft.com/office/drawing/2014/main" id="{45C62353-08F6-71D7-9E03-E82E0B01800E}"/>
                    </a:ext>
                  </a:extLst>
                </p:cNvPr>
                <p:cNvSpPr/>
                <p:nvPr/>
              </p:nvSpPr>
              <p:spPr bwMode="gray">
                <a:xfrm>
                  <a:off x="6244304"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9" name="Graphic 1443">
                <a:extLst>
                  <a:ext uri="{FF2B5EF4-FFF2-40B4-BE49-F238E27FC236}">
                    <a16:creationId xmlns:a16="http://schemas.microsoft.com/office/drawing/2014/main" id="{E614A3B9-457F-FEF5-E7B1-219E11A0A41F}"/>
                  </a:ext>
                </a:extLst>
              </p:cNvPr>
              <p:cNvGrpSpPr/>
              <p:nvPr/>
            </p:nvGrpSpPr>
            <p:grpSpPr bwMode="gray">
              <a:xfrm>
                <a:off x="6408705" y="3468528"/>
                <a:ext cx="61817" cy="63722"/>
                <a:chOff x="6408705" y="3468528"/>
                <a:chExt cx="61817" cy="63722"/>
              </a:xfrm>
            </p:grpSpPr>
            <p:sp>
              <p:nvSpPr>
                <p:cNvPr id="11159" name="Freeform: Shape 11158">
                  <a:extLst>
                    <a:ext uri="{FF2B5EF4-FFF2-40B4-BE49-F238E27FC236}">
                      <a16:creationId xmlns:a16="http://schemas.microsoft.com/office/drawing/2014/main" id="{DECB08F5-2907-82B2-26FF-095CF8416413}"/>
                    </a:ext>
                  </a:extLst>
                </p:cNvPr>
                <p:cNvSpPr/>
                <p:nvPr/>
              </p:nvSpPr>
              <p:spPr bwMode="gray">
                <a:xfrm>
                  <a:off x="643956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60" name="Freeform: Shape 11159">
                  <a:extLst>
                    <a:ext uri="{FF2B5EF4-FFF2-40B4-BE49-F238E27FC236}">
                      <a16:creationId xmlns:a16="http://schemas.microsoft.com/office/drawing/2014/main" id="{8808CD80-CCF4-E446-38DF-C418E676C8CC}"/>
                    </a:ext>
                  </a:extLst>
                </p:cNvPr>
                <p:cNvSpPr/>
                <p:nvPr/>
              </p:nvSpPr>
              <p:spPr bwMode="gray">
                <a:xfrm>
                  <a:off x="640870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0" name="Graphic 1443">
                <a:extLst>
                  <a:ext uri="{FF2B5EF4-FFF2-40B4-BE49-F238E27FC236}">
                    <a16:creationId xmlns:a16="http://schemas.microsoft.com/office/drawing/2014/main" id="{DE5D97F2-BFCB-8AB0-BFE5-2515365885A4}"/>
                  </a:ext>
                </a:extLst>
              </p:cNvPr>
              <p:cNvGrpSpPr/>
              <p:nvPr/>
            </p:nvGrpSpPr>
            <p:grpSpPr bwMode="gray">
              <a:xfrm>
                <a:off x="6425184" y="3476719"/>
                <a:ext cx="61817" cy="63722"/>
                <a:chOff x="6425184" y="3476719"/>
                <a:chExt cx="61817" cy="63722"/>
              </a:xfrm>
            </p:grpSpPr>
            <p:sp>
              <p:nvSpPr>
                <p:cNvPr id="11157" name="Freeform: Shape 11156">
                  <a:extLst>
                    <a:ext uri="{FF2B5EF4-FFF2-40B4-BE49-F238E27FC236}">
                      <a16:creationId xmlns:a16="http://schemas.microsoft.com/office/drawing/2014/main" id="{FA82C8F5-6830-8CD6-A579-098621C81193}"/>
                    </a:ext>
                  </a:extLst>
                </p:cNvPr>
                <p:cNvSpPr/>
                <p:nvPr/>
              </p:nvSpPr>
              <p:spPr bwMode="gray">
                <a:xfrm>
                  <a:off x="6456045"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58" name="Freeform: Shape 11157">
                  <a:extLst>
                    <a:ext uri="{FF2B5EF4-FFF2-40B4-BE49-F238E27FC236}">
                      <a16:creationId xmlns:a16="http://schemas.microsoft.com/office/drawing/2014/main" id="{5D94F2CC-72BF-3CEF-E2CE-4C88E6E48714}"/>
                    </a:ext>
                  </a:extLst>
                </p:cNvPr>
                <p:cNvSpPr/>
                <p:nvPr/>
              </p:nvSpPr>
              <p:spPr bwMode="gray">
                <a:xfrm>
                  <a:off x="6425184"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1" name="Graphic 1443">
                <a:extLst>
                  <a:ext uri="{FF2B5EF4-FFF2-40B4-BE49-F238E27FC236}">
                    <a16:creationId xmlns:a16="http://schemas.microsoft.com/office/drawing/2014/main" id="{39054705-6E9A-C10F-3D3C-B87FE57089B4}"/>
                  </a:ext>
                </a:extLst>
              </p:cNvPr>
              <p:cNvGrpSpPr/>
              <p:nvPr/>
            </p:nvGrpSpPr>
            <p:grpSpPr bwMode="gray">
              <a:xfrm>
                <a:off x="6445758" y="3476719"/>
                <a:ext cx="61817" cy="63722"/>
                <a:chOff x="6445758" y="3476719"/>
                <a:chExt cx="61817" cy="63722"/>
              </a:xfrm>
            </p:grpSpPr>
            <p:sp>
              <p:nvSpPr>
                <p:cNvPr id="11155" name="Freeform: Shape 11154">
                  <a:extLst>
                    <a:ext uri="{FF2B5EF4-FFF2-40B4-BE49-F238E27FC236}">
                      <a16:creationId xmlns:a16="http://schemas.microsoft.com/office/drawing/2014/main" id="{F23EE2D5-C0DB-4ACE-2C77-AA1299068DC1}"/>
                    </a:ext>
                  </a:extLst>
                </p:cNvPr>
                <p:cNvSpPr/>
                <p:nvPr/>
              </p:nvSpPr>
              <p:spPr bwMode="gray">
                <a:xfrm>
                  <a:off x="6476619"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56" name="Freeform: Shape 11155">
                  <a:extLst>
                    <a:ext uri="{FF2B5EF4-FFF2-40B4-BE49-F238E27FC236}">
                      <a16:creationId xmlns:a16="http://schemas.microsoft.com/office/drawing/2014/main" id="{76A2CC69-FFA4-F620-7CAB-AACE4EEEC773}"/>
                    </a:ext>
                  </a:extLst>
                </p:cNvPr>
                <p:cNvSpPr/>
                <p:nvPr/>
              </p:nvSpPr>
              <p:spPr bwMode="gray">
                <a:xfrm>
                  <a:off x="6445758"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2" name="Graphic 1443">
                <a:extLst>
                  <a:ext uri="{FF2B5EF4-FFF2-40B4-BE49-F238E27FC236}">
                    <a16:creationId xmlns:a16="http://schemas.microsoft.com/office/drawing/2014/main" id="{35B8295E-E209-28AB-D2FB-501857D43FBA}"/>
                  </a:ext>
                </a:extLst>
              </p:cNvPr>
              <p:cNvGrpSpPr/>
              <p:nvPr/>
            </p:nvGrpSpPr>
            <p:grpSpPr bwMode="gray">
              <a:xfrm>
                <a:off x="6456045" y="3476719"/>
                <a:ext cx="61817" cy="63722"/>
                <a:chOff x="6456045" y="3476719"/>
                <a:chExt cx="61817" cy="63722"/>
              </a:xfrm>
            </p:grpSpPr>
            <p:sp>
              <p:nvSpPr>
                <p:cNvPr id="11153" name="Freeform: Shape 11152">
                  <a:extLst>
                    <a:ext uri="{FF2B5EF4-FFF2-40B4-BE49-F238E27FC236}">
                      <a16:creationId xmlns:a16="http://schemas.microsoft.com/office/drawing/2014/main" id="{E3AD7079-3CB8-063A-12AC-F058BA67727A}"/>
                    </a:ext>
                  </a:extLst>
                </p:cNvPr>
                <p:cNvSpPr/>
                <p:nvPr/>
              </p:nvSpPr>
              <p:spPr bwMode="gray">
                <a:xfrm>
                  <a:off x="6487001" y="3476719"/>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54" name="Freeform: Shape 11153">
                  <a:extLst>
                    <a:ext uri="{FF2B5EF4-FFF2-40B4-BE49-F238E27FC236}">
                      <a16:creationId xmlns:a16="http://schemas.microsoft.com/office/drawing/2014/main" id="{E55DB07E-FE12-E444-4434-1EDB7C326D66}"/>
                    </a:ext>
                  </a:extLst>
                </p:cNvPr>
                <p:cNvSpPr/>
                <p:nvPr/>
              </p:nvSpPr>
              <p:spPr bwMode="gray">
                <a:xfrm>
                  <a:off x="6456045" y="35086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3" name="Graphic 1443">
                <a:extLst>
                  <a:ext uri="{FF2B5EF4-FFF2-40B4-BE49-F238E27FC236}">
                    <a16:creationId xmlns:a16="http://schemas.microsoft.com/office/drawing/2014/main" id="{A67A8CFF-B55E-E001-F1BB-9215AFAA9A33}"/>
                  </a:ext>
                </a:extLst>
              </p:cNvPr>
              <p:cNvGrpSpPr/>
              <p:nvPr/>
            </p:nvGrpSpPr>
            <p:grpSpPr bwMode="gray">
              <a:xfrm>
                <a:off x="6396323" y="3468528"/>
                <a:ext cx="61817" cy="63722"/>
                <a:chOff x="6396323" y="3468528"/>
                <a:chExt cx="61817" cy="63722"/>
              </a:xfrm>
            </p:grpSpPr>
            <p:sp>
              <p:nvSpPr>
                <p:cNvPr id="11151" name="Freeform: Shape 11150">
                  <a:extLst>
                    <a:ext uri="{FF2B5EF4-FFF2-40B4-BE49-F238E27FC236}">
                      <a16:creationId xmlns:a16="http://schemas.microsoft.com/office/drawing/2014/main" id="{04DED0AD-F83E-1A68-B42A-F809F74F9A74}"/>
                    </a:ext>
                  </a:extLst>
                </p:cNvPr>
                <p:cNvSpPr/>
                <p:nvPr/>
              </p:nvSpPr>
              <p:spPr bwMode="gray">
                <a:xfrm>
                  <a:off x="642718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52" name="Freeform: Shape 11151">
                  <a:extLst>
                    <a:ext uri="{FF2B5EF4-FFF2-40B4-BE49-F238E27FC236}">
                      <a16:creationId xmlns:a16="http://schemas.microsoft.com/office/drawing/2014/main" id="{0081DD27-FFC0-7497-96CE-604F24C44BF5}"/>
                    </a:ext>
                  </a:extLst>
                </p:cNvPr>
                <p:cNvSpPr/>
                <p:nvPr/>
              </p:nvSpPr>
              <p:spPr bwMode="gray">
                <a:xfrm>
                  <a:off x="6396323"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4" name="Graphic 1443">
                <a:extLst>
                  <a:ext uri="{FF2B5EF4-FFF2-40B4-BE49-F238E27FC236}">
                    <a16:creationId xmlns:a16="http://schemas.microsoft.com/office/drawing/2014/main" id="{859C7DF5-C774-3031-051B-D1BBCA9EF437}"/>
                  </a:ext>
                </a:extLst>
              </p:cNvPr>
              <p:cNvGrpSpPr/>
              <p:nvPr/>
            </p:nvGrpSpPr>
            <p:grpSpPr bwMode="gray">
              <a:xfrm>
                <a:off x="6383940" y="3468528"/>
                <a:ext cx="61817" cy="63722"/>
                <a:chOff x="6383940" y="3468528"/>
                <a:chExt cx="61817" cy="63722"/>
              </a:xfrm>
            </p:grpSpPr>
            <p:sp>
              <p:nvSpPr>
                <p:cNvPr id="11149" name="Freeform: Shape 11148">
                  <a:extLst>
                    <a:ext uri="{FF2B5EF4-FFF2-40B4-BE49-F238E27FC236}">
                      <a16:creationId xmlns:a16="http://schemas.microsoft.com/office/drawing/2014/main" id="{A630A492-5CF3-AEC9-E923-F18B595B504C}"/>
                    </a:ext>
                  </a:extLst>
                </p:cNvPr>
                <p:cNvSpPr/>
                <p:nvPr/>
              </p:nvSpPr>
              <p:spPr bwMode="gray">
                <a:xfrm>
                  <a:off x="641480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50" name="Freeform: Shape 11149">
                  <a:extLst>
                    <a:ext uri="{FF2B5EF4-FFF2-40B4-BE49-F238E27FC236}">
                      <a16:creationId xmlns:a16="http://schemas.microsoft.com/office/drawing/2014/main" id="{161263D1-CC50-2C31-1AF8-F70532A49BF6}"/>
                    </a:ext>
                  </a:extLst>
                </p:cNvPr>
                <p:cNvSpPr/>
                <p:nvPr/>
              </p:nvSpPr>
              <p:spPr bwMode="gray">
                <a:xfrm>
                  <a:off x="638394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5" name="Graphic 1443">
                <a:extLst>
                  <a:ext uri="{FF2B5EF4-FFF2-40B4-BE49-F238E27FC236}">
                    <a16:creationId xmlns:a16="http://schemas.microsoft.com/office/drawing/2014/main" id="{6AEB7CD1-E315-0A6E-09C5-96FB30A6E3FB}"/>
                  </a:ext>
                </a:extLst>
              </p:cNvPr>
              <p:cNvGrpSpPr/>
              <p:nvPr/>
            </p:nvGrpSpPr>
            <p:grpSpPr bwMode="gray">
              <a:xfrm>
                <a:off x="6371558" y="3468528"/>
                <a:ext cx="61817" cy="63722"/>
                <a:chOff x="6371558" y="3468528"/>
                <a:chExt cx="61817" cy="63722"/>
              </a:xfrm>
            </p:grpSpPr>
            <p:sp>
              <p:nvSpPr>
                <p:cNvPr id="11147" name="Freeform: Shape 11146">
                  <a:extLst>
                    <a:ext uri="{FF2B5EF4-FFF2-40B4-BE49-F238E27FC236}">
                      <a16:creationId xmlns:a16="http://schemas.microsoft.com/office/drawing/2014/main" id="{13B06E3D-E719-A3C2-14EC-81400810D02A}"/>
                    </a:ext>
                  </a:extLst>
                </p:cNvPr>
                <p:cNvSpPr/>
                <p:nvPr/>
              </p:nvSpPr>
              <p:spPr bwMode="gray">
                <a:xfrm>
                  <a:off x="640241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48" name="Freeform: Shape 11147">
                  <a:extLst>
                    <a:ext uri="{FF2B5EF4-FFF2-40B4-BE49-F238E27FC236}">
                      <a16:creationId xmlns:a16="http://schemas.microsoft.com/office/drawing/2014/main" id="{563C8474-DCDA-5B55-7B89-002EB4284E94}"/>
                    </a:ext>
                  </a:extLst>
                </p:cNvPr>
                <p:cNvSpPr/>
                <p:nvPr/>
              </p:nvSpPr>
              <p:spPr bwMode="gray">
                <a:xfrm>
                  <a:off x="63715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6" name="Graphic 1443">
                <a:extLst>
                  <a:ext uri="{FF2B5EF4-FFF2-40B4-BE49-F238E27FC236}">
                    <a16:creationId xmlns:a16="http://schemas.microsoft.com/office/drawing/2014/main" id="{1C4944B8-8537-526C-9D2E-3690AEB0CDDB}"/>
                  </a:ext>
                </a:extLst>
              </p:cNvPr>
              <p:cNvGrpSpPr/>
              <p:nvPr/>
            </p:nvGrpSpPr>
            <p:grpSpPr bwMode="gray">
              <a:xfrm>
                <a:off x="6297358" y="3468528"/>
                <a:ext cx="61817" cy="63722"/>
                <a:chOff x="6297358" y="3468528"/>
                <a:chExt cx="61817" cy="63722"/>
              </a:xfrm>
            </p:grpSpPr>
            <p:sp>
              <p:nvSpPr>
                <p:cNvPr id="11145" name="Freeform: Shape 11144">
                  <a:extLst>
                    <a:ext uri="{FF2B5EF4-FFF2-40B4-BE49-F238E27FC236}">
                      <a16:creationId xmlns:a16="http://schemas.microsoft.com/office/drawing/2014/main" id="{A4FBCE2D-229C-DA56-C95F-C701741BFF62}"/>
                    </a:ext>
                  </a:extLst>
                </p:cNvPr>
                <p:cNvSpPr/>
                <p:nvPr/>
              </p:nvSpPr>
              <p:spPr bwMode="gray">
                <a:xfrm>
                  <a:off x="6328314"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46" name="Freeform: Shape 11145">
                  <a:extLst>
                    <a:ext uri="{FF2B5EF4-FFF2-40B4-BE49-F238E27FC236}">
                      <a16:creationId xmlns:a16="http://schemas.microsoft.com/office/drawing/2014/main" id="{D4756544-7E5D-5547-7FA7-F23B213A3FBF}"/>
                    </a:ext>
                  </a:extLst>
                </p:cNvPr>
                <p:cNvSpPr/>
                <p:nvPr/>
              </p:nvSpPr>
              <p:spPr bwMode="gray">
                <a:xfrm>
                  <a:off x="629735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7" name="Graphic 1443">
                <a:extLst>
                  <a:ext uri="{FF2B5EF4-FFF2-40B4-BE49-F238E27FC236}">
                    <a16:creationId xmlns:a16="http://schemas.microsoft.com/office/drawing/2014/main" id="{6E8E2F1A-031E-2D7E-6FD1-E17198961366}"/>
                  </a:ext>
                </a:extLst>
              </p:cNvPr>
              <p:cNvGrpSpPr/>
              <p:nvPr/>
            </p:nvGrpSpPr>
            <p:grpSpPr bwMode="gray">
              <a:xfrm>
                <a:off x="6284785" y="3468528"/>
                <a:ext cx="61817" cy="63722"/>
                <a:chOff x="6284785" y="3468528"/>
                <a:chExt cx="61817" cy="63722"/>
              </a:xfrm>
            </p:grpSpPr>
            <p:sp>
              <p:nvSpPr>
                <p:cNvPr id="11143" name="Freeform: Shape 11142">
                  <a:extLst>
                    <a:ext uri="{FF2B5EF4-FFF2-40B4-BE49-F238E27FC236}">
                      <a16:creationId xmlns:a16="http://schemas.microsoft.com/office/drawing/2014/main" id="{E82506E1-68D7-F97D-24C1-2AC3B3EC1F00}"/>
                    </a:ext>
                  </a:extLst>
                </p:cNvPr>
                <p:cNvSpPr/>
                <p:nvPr/>
              </p:nvSpPr>
              <p:spPr bwMode="gray">
                <a:xfrm>
                  <a:off x="631574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44" name="Freeform: Shape 11143">
                  <a:extLst>
                    <a:ext uri="{FF2B5EF4-FFF2-40B4-BE49-F238E27FC236}">
                      <a16:creationId xmlns:a16="http://schemas.microsoft.com/office/drawing/2014/main" id="{B976519E-31CE-098E-CBF1-49EA10309EDF}"/>
                    </a:ext>
                  </a:extLst>
                </p:cNvPr>
                <p:cNvSpPr/>
                <p:nvPr/>
              </p:nvSpPr>
              <p:spPr bwMode="gray">
                <a:xfrm>
                  <a:off x="628478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8" name="Graphic 1443">
                <a:extLst>
                  <a:ext uri="{FF2B5EF4-FFF2-40B4-BE49-F238E27FC236}">
                    <a16:creationId xmlns:a16="http://schemas.microsoft.com/office/drawing/2014/main" id="{503C043D-F26F-0693-B5CB-2034003B810F}"/>
                  </a:ext>
                </a:extLst>
              </p:cNvPr>
              <p:cNvGrpSpPr/>
              <p:nvPr/>
            </p:nvGrpSpPr>
            <p:grpSpPr bwMode="gray">
              <a:xfrm>
                <a:off x="6334410" y="3468528"/>
                <a:ext cx="61817" cy="63722"/>
                <a:chOff x="6334410" y="3468528"/>
                <a:chExt cx="61817" cy="63722"/>
              </a:xfrm>
            </p:grpSpPr>
            <p:sp>
              <p:nvSpPr>
                <p:cNvPr id="11141" name="Freeform: Shape 11140">
                  <a:extLst>
                    <a:ext uri="{FF2B5EF4-FFF2-40B4-BE49-F238E27FC236}">
                      <a16:creationId xmlns:a16="http://schemas.microsoft.com/office/drawing/2014/main" id="{31C25BF0-5BC3-1DB3-A46C-A975D8E29F7A}"/>
                    </a:ext>
                  </a:extLst>
                </p:cNvPr>
                <p:cNvSpPr/>
                <p:nvPr/>
              </p:nvSpPr>
              <p:spPr bwMode="gray">
                <a:xfrm>
                  <a:off x="6365271"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42" name="Freeform: Shape 11141">
                  <a:extLst>
                    <a:ext uri="{FF2B5EF4-FFF2-40B4-BE49-F238E27FC236}">
                      <a16:creationId xmlns:a16="http://schemas.microsoft.com/office/drawing/2014/main" id="{B7DC9A8F-FCF6-08C7-D495-ABA9C2621903}"/>
                    </a:ext>
                  </a:extLst>
                </p:cNvPr>
                <p:cNvSpPr/>
                <p:nvPr/>
              </p:nvSpPr>
              <p:spPr bwMode="gray">
                <a:xfrm>
                  <a:off x="6334410"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19" name="Graphic 1443">
                <a:extLst>
                  <a:ext uri="{FF2B5EF4-FFF2-40B4-BE49-F238E27FC236}">
                    <a16:creationId xmlns:a16="http://schemas.microsoft.com/office/drawing/2014/main" id="{547A9476-F070-5980-C07C-542720983644}"/>
                  </a:ext>
                </a:extLst>
              </p:cNvPr>
              <p:cNvGrpSpPr/>
              <p:nvPr/>
            </p:nvGrpSpPr>
            <p:grpSpPr bwMode="gray">
              <a:xfrm>
                <a:off x="6359175" y="3468528"/>
                <a:ext cx="61817" cy="63722"/>
                <a:chOff x="6359175" y="3468528"/>
                <a:chExt cx="61817" cy="63722"/>
              </a:xfrm>
            </p:grpSpPr>
            <p:sp>
              <p:nvSpPr>
                <p:cNvPr id="11139" name="Freeform: Shape 11138">
                  <a:extLst>
                    <a:ext uri="{FF2B5EF4-FFF2-40B4-BE49-F238E27FC236}">
                      <a16:creationId xmlns:a16="http://schemas.microsoft.com/office/drawing/2014/main" id="{BE903293-71D7-8AAD-E25E-C4372B2BA2D6}"/>
                    </a:ext>
                  </a:extLst>
                </p:cNvPr>
                <p:cNvSpPr/>
                <p:nvPr/>
              </p:nvSpPr>
              <p:spPr bwMode="gray">
                <a:xfrm>
                  <a:off x="6390036"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40" name="Freeform: Shape 11139">
                  <a:extLst>
                    <a:ext uri="{FF2B5EF4-FFF2-40B4-BE49-F238E27FC236}">
                      <a16:creationId xmlns:a16="http://schemas.microsoft.com/office/drawing/2014/main" id="{08091EC9-29B9-EBB6-23BA-15FAC9AE1F7E}"/>
                    </a:ext>
                  </a:extLst>
                </p:cNvPr>
                <p:cNvSpPr/>
                <p:nvPr/>
              </p:nvSpPr>
              <p:spPr bwMode="gray">
                <a:xfrm>
                  <a:off x="6359175"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0" name="Graphic 1443">
                <a:extLst>
                  <a:ext uri="{FF2B5EF4-FFF2-40B4-BE49-F238E27FC236}">
                    <a16:creationId xmlns:a16="http://schemas.microsoft.com/office/drawing/2014/main" id="{2E185BCC-CF20-D53D-93CD-79E43525452F}"/>
                  </a:ext>
                </a:extLst>
              </p:cNvPr>
              <p:cNvGrpSpPr/>
              <p:nvPr/>
            </p:nvGrpSpPr>
            <p:grpSpPr bwMode="gray">
              <a:xfrm>
                <a:off x="6322028" y="3468528"/>
                <a:ext cx="61817" cy="63722"/>
                <a:chOff x="6322028" y="3468528"/>
                <a:chExt cx="61817" cy="63722"/>
              </a:xfrm>
            </p:grpSpPr>
            <p:sp>
              <p:nvSpPr>
                <p:cNvPr id="11137" name="Freeform: Shape 11136">
                  <a:extLst>
                    <a:ext uri="{FF2B5EF4-FFF2-40B4-BE49-F238E27FC236}">
                      <a16:creationId xmlns:a16="http://schemas.microsoft.com/office/drawing/2014/main" id="{9C47C50C-3785-831E-AC0F-43C2562D25A3}"/>
                    </a:ext>
                  </a:extLst>
                </p:cNvPr>
                <p:cNvSpPr/>
                <p:nvPr/>
              </p:nvSpPr>
              <p:spPr bwMode="gray">
                <a:xfrm>
                  <a:off x="6352889"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38" name="Freeform: Shape 11137">
                  <a:extLst>
                    <a:ext uri="{FF2B5EF4-FFF2-40B4-BE49-F238E27FC236}">
                      <a16:creationId xmlns:a16="http://schemas.microsoft.com/office/drawing/2014/main" id="{AF02BB49-AFC5-8C1C-2560-6C7BF1C539CC}"/>
                    </a:ext>
                  </a:extLst>
                </p:cNvPr>
                <p:cNvSpPr/>
                <p:nvPr/>
              </p:nvSpPr>
              <p:spPr bwMode="gray">
                <a:xfrm>
                  <a:off x="6322028"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1" name="Graphic 1443">
                <a:extLst>
                  <a:ext uri="{FF2B5EF4-FFF2-40B4-BE49-F238E27FC236}">
                    <a16:creationId xmlns:a16="http://schemas.microsoft.com/office/drawing/2014/main" id="{26B252EF-BD64-CC13-BF17-2204869A8A92}"/>
                  </a:ext>
                </a:extLst>
              </p:cNvPr>
              <p:cNvGrpSpPr/>
              <p:nvPr/>
            </p:nvGrpSpPr>
            <p:grpSpPr bwMode="gray">
              <a:xfrm>
                <a:off x="6228111" y="3468528"/>
                <a:ext cx="61817" cy="63722"/>
                <a:chOff x="6228111" y="3468528"/>
                <a:chExt cx="61817" cy="63722"/>
              </a:xfrm>
            </p:grpSpPr>
            <p:sp>
              <p:nvSpPr>
                <p:cNvPr id="11135" name="Freeform: Shape 11134">
                  <a:extLst>
                    <a:ext uri="{FF2B5EF4-FFF2-40B4-BE49-F238E27FC236}">
                      <a16:creationId xmlns:a16="http://schemas.microsoft.com/office/drawing/2014/main" id="{D0C71079-5F24-CF19-8B57-55276D5A7C71}"/>
                    </a:ext>
                  </a:extLst>
                </p:cNvPr>
                <p:cNvSpPr/>
                <p:nvPr/>
              </p:nvSpPr>
              <p:spPr bwMode="gray">
                <a:xfrm>
                  <a:off x="6259068" y="34685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36" name="Freeform: Shape 11135">
                  <a:extLst>
                    <a:ext uri="{FF2B5EF4-FFF2-40B4-BE49-F238E27FC236}">
                      <a16:creationId xmlns:a16="http://schemas.microsoft.com/office/drawing/2014/main" id="{436609F0-95CB-2D89-7FDD-CEC30EBA8DB8}"/>
                    </a:ext>
                  </a:extLst>
                </p:cNvPr>
                <p:cNvSpPr/>
                <p:nvPr/>
              </p:nvSpPr>
              <p:spPr bwMode="gray">
                <a:xfrm>
                  <a:off x="6228111" y="350043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2" name="Graphic 1443">
                <a:extLst>
                  <a:ext uri="{FF2B5EF4-FFF2-40B4-BE49-F238E27FC236}">
                    <a16:creationId xmlns:a16="http://schemas.microsoft.com/office/drawing/2014/main" id="{07E0BD49-875C-B5CB-EA55-8B98811305F7}"/>
                  </a:ext>
                </a:extLst>
              </p:cNvPr>
              <p:cNvGrpSpPr/>
              <p:nvPr/>
            </p:nvGrpSpPr>
            <p:grpSpPr bwMode="gray">
              <a:xfrm>
                <a:off x="6192869" y="3436714"/>
                <a:ext cx="61817" cy="63722"/>
                <a:chOff x="6192869" y="3436714"/>
                <a:chExt cx="61817" cy="63722"/>
              </a:xfrm>
            </p:grpSpPr>
            <p:sp>
              <p:nvSpPr>
                <p:cNvPr id="11133" name="Freeform: Shape 11132">
                  <a:extLst>
                    <a:ext uri="{FF2B5EF4-FFF2-40B4-BE49-F238E27FC236}">
                      <a16:creationId xmlns:a16="http://schemas.microsoft.com/office/drawing/2014/main" id="{FA3F3904-1611-CF2E-17E3-3B508DDD50FE}"/>
                    </a:ext>
                  </a:extLst>
                </p:cNvPr>
                <p:cNvSpPr/>
                <p:nvPr/>
              </p:nvSpPr>
              <p:spPr bwMode="gray">
                <a:xfrm>
                  <a:off x="622373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34" name="Freeform: Shape 11133">
                  <a:extLst>
                    <a:ext uri="{FF2B5EF4-FFF2-40B4-BE49-F238E27FC236}">
                      <a16:creationId xmlns:a16="http://schemas.microsoft.com/office/drawing/2014/main" id="{398F30AA-C5A9-F8CD-B755-05CD188C80C0}"/>
                    </a:ext>
                  </a:extLst>
                </p:cNvPr>
                <p:cNvSpPr/>
                <p:nvPr/>
              </p:nvSpPr>
              <p:spPr bwMode="gray">
                <a:xfrm>
                  <a:off x="619286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3" name="Graphic 1443">
                <a:extLst>
                  <a:ext uri="{FF2B5EF4-FFF2-40B4-BE49-F238E27FC236}">
                    <a16:creationId xmlns:a16="http://schemas.microsoft.com/office/drawing/2014/main" id="{9B11B6CF-A411-E0C6-ED5D-94B4B194C68E}"/>
                  </a:ext>
                </a:extLst>
              </p:cNvPr>
              <p:cNvGrpSpPr/>
              <p:nvPr/>
            </p:nvGrpSpPr>
            <p:grpSpPr bwMode="gray">
              <a:xfrm>
                <a:off x="6161913" y="3436714"/>
                <a:ext cx="61817" cy="63722"/>
                <a:chOff x="6161913" y="3436714"/>
                <a:chExt cx="61817" cy="63722"/>
              </a:xfrm>
            </p:grpSpPr>
            <p:sp>
              <p:nvSpPr>
                <p:cNvPr id="11131" name="Freeform: Shape 11130">
                  <a:extLst>
                    <a:ext uri="{FF2B5EF4-FFF2-40B4-BE49-F238E27FC236}">
                      <a16:creationId xmlns:a16="http://schemas.microsoft.com/office/drawing/2014/main" id="{795C0F4E-5BCE-8D76-F13A-C85E94FA41B2}"/>
                    </a:ext>
                  </a:extLst>
                </p:cNvPr>
                <p:cNvSpPr/>
                <p:nvPr/>
              </p:nvSpPr>
              <p:spPr bwMode="gray">
                <a:xfrm>
                  <a:off x="619286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32" name="Freeform: Shape 11131">
                  <a:extLst>
                    <a:ext uri="{FF2B5EF4-FFF2-40B4-BE49-F238E27FC236}">
                      <a16:creationId xmlns:a16="http://schemas.microsoft.com/office/drawing/2014/main" id="{405C6E04-A0C2-C76D-BFBC-FB06813174D3}"/>
                    </a:ext>
                  </a:extLst>
                </p:cNvPr>
                <p:cNvSpPr/>
                <p:nvPr/>
              </p:nvSpPr>
              <p:spPr bwMode="gray">
                <a:xfrm>
                  <a:off x="616191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4" name="Graphic 1443">
                <a:extLst>
                  <a:ext uri="{FF2B5EF4-FFF2-40B4-BE49-F238E27FC236}">
                    <a16:creationId xmlns:a16="http://schemas.microsoft.com/office/drawing/2014/main" id="{24A0B1BE-E926-E23F-8FA3-96D537173A4B}"/>
                  </a:ext>
                </a:extLst>
              </p:cNvPr>
              <p:cNvGrpSpPr/>
              <p:nvPr/>
            </p:nvGrpSpPr>
            <p:grpSpPr bwMode="gray">
              <a:xfrm>
                <a:off x="6065043" y="3436714"/>
                <a:ext cx="61817" cy="63722"/>
                <a:chOff x="6065043" y="3436714"/>
                <a:chExt cx="61817" cy="63722"/>
              </a:xfrm>
            </p:grpSpPr>
            <p:sp>
              <p:nvSpPr>
                <p:cNvPr id="11129" name="Freeform: Shape 11128">
                  <a:extLst>
                    <a:ext uri="{FF2B5EF4-FFF2-40B4-BE49-F238E27FC236}">
                      <a16:creationId xmlns:a16="http://schemas.microsoft.com/office/drawing/2014/main" id="{FC7B3334-D543-1F6D-724B-3886890F8F61}"/>
                    </a:ext>
                  </a:extLst>
                </p:cNvPr>
                <p:cNvSpPr/>
                <p:nvPr/>
              </p:nvSpPr>
              <p:spPr bwMode="gray">
                <a:xfrm>
                  <a:off x="6096000"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30" name="Freeform: Shape 11129">
                  <a:extLst>
                    <a:ext uri="{FF2B5EF4-FFF2-40B4-BE49-F238E27FC236}">
                      <a16:creationId xmlns:a16="http://schemas.microsoft.com/office/drawing/2014/main" id="{6ABD4B95-C7A5-87A6-48AB-2398E44E43BB}"/>
                    </a:ext>
                  </a:extLst>
                </p:cNvPr>
                <p:cNvSpPr/>
                <p:nvPr/>
              </p:nvSpPr>
              <p:spPr bwMode="gray">
                <a:xfrm>
                  <a:off x="60650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5" name="Graphic 1443">
                <a:extLst>
                  <a:ext uri="{FF2B5EF4-FFF2-40B4-BE49-F238E27FC236}">
                    <a16:creationId xmlns:a16="http://schemas.microsoft.com/office/drawing/2014/main" id="{4EE0C632-7BEF-CD00-ECC7-47D5B0028C07}"/>
                  </a:ext>
                </a:extLst>
              </p:cNvPr>
              <p:cNvGrpSpPr/>
              <p:nvPr/>
            </p:nvGrpSpPr>
            <p:grpSpPr bwMode="gray">
              <a:xfrm>
                <a:off x="6053137" y="3429856"/>
                <a:ext cx="61817" cy="63722"/>
                <a:chOff x="6053137" y="3429856"/>
                <a:chExt cx="61817" cy="63722"/>
              </a:xfrm>
            </p:grpSpPr>
            <p:sp>
              <p:nvSpPr>
                <p:cNvPr id="11127" name="Freeform: Shape 11126">
                  <a:extLst>
                    <a:ext uri="{FF2B5EF4-FFF2-40B4-BE49-F238E27FC236}">
                      <a16:creationId xmlns:a16="http://schemas.microsoft.com/office/drawing/2014/main" id="{69500D5E-61ED-64A3-37A2-096834CCD008}"/>
                    </a:ext>
                  </a:extLst>
                </p:cNvPr>
                <p:cNvSpPr/>
                <p:nvPr/>
              </p:nvSpPr>
              <p:spPr bwMode="gray">
                <a:xfrm>
                  <a:off x="6084093" y="34298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28" name="Freeform: Shape 11127">
                  <a:extLst>
                    <a:ext uri="{FF2B5EF4-FFF2-40B4-BE49-F238E27FC236}">
                      <a16:creationId xmlns:a16="http://schemas.microsoft.com/office/drawing/2014/main" id="{8B93CA84-BBD2-7256-C5E5-975CCFC48647}"/>
                    </a:ext>
                  </a:extLst>
                </p:cNvPr>
                <p:cNvSpPr/>
                <p:nvPr/>
              </p:nvSpPr>
              <p:spPr bwMode="gray">
                <a:xfrm>
                  <a:off x="6053137" y="34617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6" name="Graphic 1443">
                <a:extLst>
                  <a:ext uri="{FF2B5EF4-FFF2-40B4-BE49-F238E27FC236}">
                    <a16:creationId xmlns:a16="http://schemas.microsoft.com/office/drawing/2014/main" id="{17509CE2-7C73-5D74-425A-95615E7C13B9}"/>
                  </a:ext>
                </a:extLst>
              </p:cNvPr>
              <p:cNvGrpSpPr/>
              <p:nvPr/>
            </p:nvGrpSpPr>
            <p:grpSpPr bwMode="gray">
              <a:xfrm>
                <a:off x="6037326" y="3421474"/>
                <a:ext cx="61817" cy="63627"/>
                <a:chOff x="6037326" y="3421474"/>
                <a:chExt cx="61817" cy="63627"/>
              </a:xfrm>
            </p:grpSpPr>
            <p:sp>
              <p:nvSpPr>
                <p:cNvPr id="11125" name="Freeform: Shape 11124">
                  <a:extLst>
                    <a:ext uri="{FF2B5EF4-FFF2-40B4-BE49-F238E27FC236}">
                      <a16:creationId xmlns:a16="http://schemas.microsoft.com/office/drawing/2014/main" id="{860E2D94-D402-8C54-2B04-5DF6CCD87B2A}"/>
                    </a:ext>
                  </a:extLst>
                </p:cNvPr>
                <p:cNvSpPr/>
                <p:nvPr/>
              </p:nvSpPr>
              <p:spPr bwMode="gray">
                <a:xfrm>
                  <a:off x="6068187" y="34214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26" name="Freeform: Shape 11125">
                  <a:extLst>
                    <a:ext uri="{FF2B5EF4-FFF2-40B4-BE49-F238E27FC236}">
                      <a16:creationId xmlns:a16="http://schemas.microsoft.com/office/drawing/2014/main" id="{32AF9EC4-EE7E-4232-1F1E-158CAA944BE3}"/>
                    </a:ext>
                  </a:extLst>
                </p:cNvPr>
                <p:cNvSpPr/>
                <p:nvPr/>
              </p:nvSpPr>
              <p:spPr bwMode="gray">
                <a:xfrm>
                  <a:off x="6037326" y="34532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7" name="Graphic 1443">
                <a:extLst>
                  <a:ext uri="{FF2B5EF4-FFF2-40B4-BE49-F238E27FC236}">
                    <a16:creationId xmlns:a16="http://schemas.microsoft.com/office/drawing/2014/main" id="{C2625031-F044-5750-1E0D-5B7FC84636BD}"/>
                  </a:ext>
                </a:extLst>
              </p:cNvPr>
              <p:cNvGrpSpPr/>
              <p:nvPr/>
            </p:nvGrpSpPr>
            <p:grpSpPr bwMode="gray">
              <a:xfrm>
                <a:off x="6015228" y="3416426"/>
                <a:ext cx="61817" cy="63626"/>
                <a:chOff x="6015228" y="3416426"/>
                <a:chExt cx="61817" cy="63626"/>
              </a:xfrm>
            </p:grpSpPr>
            <p:sp>
              <p:nvSpPr>
                <p:cNvPr id="11123" name="Freeform: Shape 11122">
                  <a:extLst>
                    <a:ext uri="{FF2B5EF4-FFF2-40B4-BE49-F238E27FC236}">
                      <a16:creationId xmlns:a16="http://schemas.microsoft.com/office/drawing/2014/main" id="{5960EC9C-E883-E0F4-2702-3203EAE08B06}"/>
                    </a:ext>
                  </a:extLst>
                </p:cNvPr>
                <p:cNvSpPr/>
                <p:nvPr/>
              </p:nvSpPr>
              <p:spPr bwMode="gray">
                <a:xfrm>
                  <a:off x="6046089" y="3416426"/>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24" name="Freeform: Shape 11123">
                  <a:extLst>
                    <a:ext uri="{FF2B5EF4-FFF2-40B4-BE49-F238E27FC236}">
                      <a16:creationId xmlns:a16="http://schemas.microsoft.com/office/drawing/2014/main" id="{EE7A0295-B89C-C1E5-C989-19C28907C698}"/>
                    </a:ext>
                  </a:extLst>
                </p:cNvPr>
                <p:cNvSpPr/>
                <p:nvPr/>
              </p:nvSpPr>
              <p:spPr bwMode="gray">
                <a:xfrm>
                  <a:off x="6015228" y="34482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8" name="Graphic 1443">
                <a:extLst>
                  <a:ext uri="{FF2B5EF4-FFF2-40B4-BE49-F238E27FC236}">
                    <a16:creationId xmlns:a16="http://schemas.microsoft.com/office/drawing/2014/main" id="{5F2C7AF3-8B4C-C34B-0331-102642554AAF}"/>
                  </a:ext>
                </a:extLst>
              </p:cNvPr>
              <p:cNvGrpSpPr/>
              <p:nvPr/>
            </p:nvGrpSpPr>
            <p:grpSpPr bwMode="gray">
              <a:xfrm>
                <a:off x="5997606" y="3398043"/>
                <a:ext cx="61817" cy="63722"/>
                <a:chOff x="5997606" y="3398043"/>
                <a:chExt cx="61817" cy="63722"/>
              </a:xfrm>
            </p:grpSpPr>
            <p:sp>
              <p:nvSpPr>
                <p:cNvPr id="11121" name="Freeform: Shape 11120">
                  <a:extLst>
                    <a:ext uri="{FF2B5EF4-FFF2-40B4-BE49-F238E27FC236}">
                      <a16:creationId xmlns:a16="http://schemas.microsoft.com/office/drawing/2014/main" id="{35B645E9-5262-F870-CD2B-0635A0CCCE84}"/>
                    </a:ext>
                  </a:extLst>
                </p:cNvPr>
                <p:cNvSpPr/>
                <p:nvPr/>
              </p:nvSpPr>
              <p:spPr bwMode="gray">
                <a:xfrm>
                  <a:off x="6028467"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22" name="Freeform: Shape 11121">
                  <a:extLst>
                    <a:ext uri="{FF2B5EF4-FFF2-40B4-BE49-F238E27FC236}">
                      <a16:creationId xmlns:a16="http://schemas.microsoft.com/office/drawing/2014/main" id="{61EEB934-9AE8-4865-8AEE-AA04E9E7D1C1}"/>
                    </a:ext>
                  </a:extLst>
                </p:cNvPr>
                <p:cNvSpPr/>
                <p:nvPr/>
              </p:nvSpPr>
              <p:spPr bwMode="gray">
                <a:xfrm>
                  <a:off x="5997606"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29" name="Graphic 1443">
                <a:extLst>
                  <a:ext uri="{FF2B5EF4-FFF2-40B4-BE49-F238E27FC236}">
                    <a16:creationId xmlns:a16="http://schemas.microsoft.com/office/drawing/2014/main" id="{909E5C6B-2BAC-A4C9-F3EE-4FEF4F64FFEE}"/>
                  </a:ext>
                </a:extLst>
              </p:cNvPr>
              <p:cNvGrpSpPr/>
              <p:nvPr/>
            </p:nvGrpSpPr>
            <p:grpSpPr bwMode="gray">
              <a:xfrm>
                <a:off x="5981033" y="3398043"/>
                <a:ext cx="61817" cy="63722"/>
                <a:chOff x="5981033" y="3398043"/>
                <a:chExt cx="61817" cy="63722"/>
              </a:xfrm>
            </p:grpSpPr>
            <p:sp>
              <p:nvSpPr>
                <p:cNvPr id="11119" name="Freeform: Shape 11118">
                  <a:extLst>
                    <a:ext uri="{FF2B5EF4-FFF2-40B4-BE49-F238E27FC236}">
                      <a16:creationId xmlns:a16="http://schemas.microsoft.com/office/drawing/2014/main" id="{E0E60F43-0F32-68C4-D008-04C7EA0848A1}"/>
                    </a:ext>
                  </a:extLst>
                </p:cNvPr>
                <p:cNvSpPr/>
                <p:nvPr/>
              </p:nvSpPr>
              <p:spPr bwMode="gray">
                <a:xfrm>
                  <a:off x="6011894"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20" name="Freeform: Shape 11119">
                  <a:extLst>
                    <a:ext uri="{FF2B5EF4-FFF2-40B4-BE49-F238E27FC236}">
                      <a16:creationId xmlns:a16="http://schemas.microsoft.com/office/drawing/2014/main" id="{4B660473-3D6A-2038-3A71-7DB696A8C311}"/>
                    </a:ext>
                  </a:extLst>
                </p:cNvPr>
                <p:cNvSpPr/>
                <p:nvPr/>
              </p:nvSpPr>
              <p:spPr bwMode="gray">
                <a:xfrm>
                  <a:off x="5981033"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0" name="Graphic 1443">
                <a:extLst>
                  <a:ext uri="{FF2B5EF4-FFF2-40B4-BE49-F238E27FC236}">
                    <a16:creationId xmlns:a16="http://schemas.microsoft.com/office/drawing/2014/main" id="{5B113EBA-9F9B-FD9C-9E04-C3CE46D6956B}"/>
                  </a:ext>
                </a:extLst>
              </p:cNvPr>
              <p:cNvGrpSpPr/>
              <p:nvPr/>
            </p:nvGrpSpPr>
            <p:grpSpPr bwMode="gray">
              <a:xfrm>
                <a:off x="5957220" y="3398043"/>
                <a:ext cx="61817" cy="63722"/>
                <a:chOff x="5957220" y="3398043"/>
                <a:chExt cx="61817" cy="63722"/>
              </a:xfrm>
            </p:grpSpPr>
            <p:sp>
              <p:nvSpPr>
                <p:cNvPr id="11117" name="Freeform: Shape 11116">
                  <a:extLst>
                    <a:ext uri="{FF2B5EF4-FFF2-40B4-BE49-F238E27FC236}">
                      <a16:creationId xmlns:a16="http://schemas.microsoft.com/office/drawing/2014/main" id="{A8C6E451-EC0A-FEE3-69DE-5F44E7C14E35}"/>
                    </a:ext>
                  </a:extLst>
                </p:cNvPr>
                <p:cNvSpPr/>
                <p:nvPr/>
              </p:nvSpPr>
              <p:spPr bwMode="gray">
                <a:xfrm>
                  <a:off x="5988081" y="33980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18" name="Freeform: Shape 11117">
                  <a:extLst>
                    <a:ext uri="{FF2B5EF4-FFF2-40B4-BE49-F238E27FC236}">
                      <a16:creationId xmlns:a16="http://schemas.microsoft.com/office/drawing/2014/main" id="{E9E51C08-A816-775B-FD99-EA81B9745604}"/>
                    </a:ext>
                  </a:extLst>
                </p:cNvPr>
                <p:cNvSpPr/>
                <p:nvPr/>
              </p:nvSpPr>
              <p:spPr bwMode="gray">
                <a:xfrm>
                  <a:off x="5957220" y="342985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1" name="Graphic 1443">
                <a:extLst>
                  <a:ext uri="{FF2B5EF4-FFF2-40B4-BE49-F238E27FC236}">
                    <a16:creationId xmlns:a16="http://schemas.microsoft.com/office/drawing/2014/main" id="{47FFD38A-A858-E0B5-958E-22C9A6BAF1BA}"/>
                  </a:ext>
                </a:extLst>
              </p:cNvPr>
              <p:cNvGrpSpPr/>
              <p:nvPr/>
            </p:nvGrpSpPr>
            <p:grpSpPr bwMode="gray">
              <a:xfrm>
                <a:off x="5943981" y="3384517"/>
                <a:ext cx="61817" cy="63722"/>
                <a:chOff x="5943981" y="3384517"/>
                <a:chExt cx="61817" cy="63722"/>
              </a:xfrm>
            </p:grpSpPr>
            <p:sp>
              <p:nvSpPr>
                <p:cNvPr id="11115" name="Freeform: Shape 11114">
                  <a:extLst>
                    <a:ext uri="{FF2B5EF4-FFF2-40B4-BE49-F238E27FC236}">
                      <a16:creationId xmlns:a16="http://schemas.microsoft.com/office/drawing/2014/main" id="{FC959C1F-3888-AF5C-4C81-A3E24F9E2D13}"/>
                    </a:ext>
                  </a:extLst>
                </p:cNvPr>
                <p:cNvSpPr/>
                <p:nvPr/>
              </p:nvSpPr>
              <p:spPr bwMode="gray">
                <a:xfrm>
                  <a:off x="5974842" y="338451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16" name="Freeform: Shape 11115">
                  <a:extLst>
                    <a:ext uri="{FF2B5EF4-FFF2-40B4-BE49-F238E27FC236}">
                      <a16:creationId xmlns:a16="http://schemas.microsoft.com/office/drawing/2014/main" id="{C387055E-30D7-D6B4-EBB3-C89E77073C39}"/>
                    </a:ext>
                  </a:extLst>
                </p:cNvPr>
                <p:cNvSpPr/>
                <p:nvPr/>
              </p:nvSpPr>
              <p:spPr bwMode="gray">
                <a:xfrm>
                  <a:off x="5943981" y="341642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2" name="Graphic 1443">
                <a:extLst>
                  <a:ext uri="{FF2B5EF4-FFF2-40B4-BE49-F238E27FC236}">
                    <a16:creationId xmlns:a16="http://schemas.microsoft.com/office/drawing/2014/main" id="{0C2B4154-91E2-5369-93A6-43315319C295}"/>
                  </a:ext>
                </a:extLst>
              </p:cNvPr>
              <p:cNvGrpSpPr/>
              <p:nvPr/>
            </p:nvGrpSpPr>
            <p:grpSpPr bwMode="gray">
              <a:xfrm>
                <a:off x="5834062" y="3352704"/>
                <a:ext cx="61817" cy="63722"/>
                <a:chOff x="5834062" y="3352704"/>
                <a:chExt cx="61817" cy="63722"/>
              </a:xfrm>
            </p:grpSpPr>
            <p:sp>
              <p:nvSpPr>
                <p:cNvPr id="11113" name="Freeform: Shape 11112">
                  <a:extLst>
                    <a:ext uri="{FF2B5EF4-FFF2-40B4-BE49-F238E27FC236}">
                      <a16:creationId xmlns:a16="http://schemas.microsoft.com/office/drawing/2014/main" id="{56F2F9DE-446A-EAA3-E3B6-82B0D73E5B97}"/>
                    </a:ext>
                  </a:extLst>
                </p:cNvPr>
                <p:cNvSpPr/>
                <p:nvPr/>
              </p:nvSpPr>
              <p:spPr bwMode="gray">
                <a:xfrm>
                  <a:off x="5864923"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14" name="Freeform: Shape 11113">
                  <a:extLst>
                    <a:ext uri="{FF2B5EF4-FFF2-40B4-BE49-F238E27FC236}">
                      <a16:creationId xmlns:a16="http://schemas.microsoft.com/office/drawing/2014/main" id="{CF232258-1A91-22A9-589D-865FE08E9D02}"/>
                    </a:ext>
                  </a:extLst>
                </p:cNvPr>
                <p:cNvSpPr/>
                <p:nvPr/>
              </p:nvSpPr>
              <p:spPr bwMode="gray">
                <a:xfrm>
                  <a:off x="5834062"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3" name="Graphic 1443">
                <a:extLst>
                  <a:ext uri="{FF2B5EF4-FFF2-40B4-BE49-F238E27FC236}">
                    <a16:creationId xmlns:a16="http://schemas.microsoft.com/office/drawing/2014/main" id="{BE161366-27E3-FB03-13E7-D0C735A9B136}"/>
                  </a:ext>
                </a:extLst>
              </p:cNvPr>
              <p:cNvGrpSpPr/>
              <p:nvPr/>
            </p:nvGrpSpPr>
            <p:grpSpPr bwMode="gray">
              <a:xfrm>
                <a:off x="5803106" y="3352704"/>
                <a:ext cx="61817" cy="63722"/>
                <a:chOff x="5803106" y="3352704"/>
                <a:chExt cx="61817" cy="63722"/>
              </a:xfrm>
            </p:grpSpPr>
            <p:sp>
              <p:nvSpPr>
                <p:cNvPr id="11111" name="Freeform: Shape 11110">
                  <a:extLst>
                    <a:ext uri="{FF2B5EF4-FFF2-40B4-BE49-F238E27FC236}">
                      <a16:creationId xmlns:a16="http://schemas.microsoft.com/office/drawing/2014/main" id="{D595B18C-C750-77CA-19F6-1870A0AF4574}"/>
                    </a:ext>
                  </a:extLst>
                </p:cNvPr>
                <p:cNvSpPr/>
                <p:nvPr/>
              </p:nvSpPr>
              <p:spPr bwMode="gray">
                <a:xfrm>
                  <a:off x="5834062"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12" name="Freeform: Shape 11111">
                  <a:extLst>
                    <a:ext uri="{FF2B5EF4-FFF2-40B4-BE49-F238E27FC236}">
                      <a16:creationId xmlns:a16="http://schemas.microsoft.com/office/drawing/2014/main" id="{865D5084-9C6F-5AA1-C80A-80B3A5F69CEC}"/>
                    </a:ext>
                  </a:extLst>
                </p:cNvPr>
                <p:cNvSpPr/>
                <p:nvPr/>
              </p:nvSpPr>
              <p:spPr bwMode="gray">
                <a:xfrm>
                  <a:off x="5803106"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4" name="Graphic 1443">
                <a:extLst>
                  <a:ext uri="{FF2B5EF4-FFF2-40B4-BE49-F238E27FC236}">
                    <a16:creationId xmlns:a16="http://schemas.microsoft.com/office/drawing/2014/main" id="{C56F33B2-54CF-7F8A-2EA8-3CDE31B3D15A}"/>
                  </a:ext>
                </a:extLst>
              </p:cNvPr>
              <p:cNvGrpSpPr/>
              <p:nvPr/>
            </p:nvGrpSpPr>
            <p:grpSpPr bwMode="gray">
              <a:xfrm>
                <a:off x="5775674" y="3352704"/>
                <a:ext cx="61817" cy="63722"/>
                <a:chOff x="5775674" y="3352704"/>
                <a:chExt cx="61817" cy="63722"/>
              </a:xfrm>
            </p:grpSpPr>
            <p:sp>
              <p:nvSpPr>
                <p:cNvPr id="11109" name="Freeform: Shape 11108">
                  <a:extLst>
                    <a:ext uri="{FF2B5EF4-FFF2-40B4-BE49-F238E27FC236}">
                      <a16:creationId xmlns:a16="http://schemas.microsoft.com/office/drawing/2014/main" id="{67D9949E-3916-ECFB-EFB1-1024FD310D8C}"/>
                    </a:ext>
                  </a:extLst>
                </p:cNvPr>
                <p:cNvSpPr/>
                <p:nvPr/>
              </p:nvSpPr>
              <p:spPr bwMode="gray">
                <a:xfrm>
                  <a:off x="5806630" y="335270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10" name="Freeform: Shape 11109">
                  <a:extLst>
                    <a:ext uri="{FF2B5EF4-FFF2-40B4-BE49-F238E27FC236}">
                      <a16:creationId xmlns:a16="http://schemas.microsoft.com/office/drawing/2014/main" id="{E65DA1BC-F7D5-4E10-EB32-AA73AA9506C6}"/>
                    </a:ext>
                  </a:extLst>
                </p:cNvPr>
                <p:cNvSpPr/>
                <p:nvPr/>
              </p:nvSpPr>
              <p:spPr bwMode="gray">
                <a:xfrm>
                  <a:off x="5775674" y="338451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5" name="Graphic 1443">
                <a:extLst>
                  <a:ext uri="{FF2B5EF4-FFF2-40B4-BE49-F238E27FC236}">
                    <a16:creationId xmlns:a16="http://schemas.microsoft.com/office/drawing/2014/main" id="{5B512FD3-7ECE-11E7-A4E0-2A82411B98C3}"/>
                  </a:ext>
                </a:extLst>
              </p:cNvPr>
              <p:cNvGrpSpPr/>
              <p:nvPr/>
            </p:nvGrpSpPr>
            <p:grpSpPr bwMode="gray">
              <a:xfrm>
                <a:off x="5764244" y="3346513"/>
                <a:ext cx="61817" cy="63722"/>
                <a:chOff x="5764244" y="3346513"/>
                <a:chExt cx="61817" cy="63722"/>
              </a:xfrm>
            </p:grpSpPr>
            <p:sp>
              <p:nvSpPr>
                <p:cNvPr id="11107" name="Freeform: Shape 11106">
                  <a:extLst>
                    <a:ext uri="{FF2B5EF4-FFF2-40B4-BE49-F238E27FC236}">
                      <a16:creationId xmlns:a16="http://schemas.microsoft.com/office/drawing/2014/main" id="{2217EF66-92CC-7D56-C255-EFA2212A301C}"/>
                    </a:ext>
                  </a:extLst>
                </p:cNvPr>
                <p:cNvSpPr/>
                <p:nvPr/>
              </p:nvSpPr>
              <p:spPr bwMode="gray">
                <a:xfrm>
                  <a:off x="5795200" y="334651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08" name="Freeform: Shape 11107">
                  <a:extLst>
                    <a:ext uri="{FF2B5EF4-FFF2-40B4-BE49-F238E27FC236}">
                      <a16:creationId xmlns:a16="http://schemas.microsoft.com/office/drawing/2014/main" id="{08EC66E6-836A-C830-9FEB-0DAC645D0B6C}"/>
                    </a:ext>
                  </a:extLst>
                </p:cNvPr>
                <p:cNvSpPr/>
                <p:nvPr/>
              </p:nvSpPr>
              <p:spPr bwMode="gray">
                <a:xfrm>
                  <a:off x="5764244" y="33784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6" name="Graphic 1443">
                <a:extLst>
                  <a:ext uri="{FF2B5EF4-FFF2-40B4-BE49-F238E27FC236}">
                    <a16:creationId xmlns:a16="http://schemas.microsoft.com/office/drawing/2014/main" id="{77E5125F-A5E8-8F73-99CA-3D9714C54CE4}"/>
                  </a:ext>
                </a:extLst>
              </p:cNvPr>
              <p:cNvGrpSpPr/>
              <p:nvPr/>
            </p:nvGrpSpPr>
            <p:grpSpPr bwMode="gray">
              <a:xfrm>
                <a:off x="5702427" y="3304031"/>
                <a:ext cx="61817" cy="63722"/>
                <a:chOff x="5702427" y="3304031"/>
                <a:chExt cx="61817" cy="63722"/>
              </a:xfrm>
            </p:grpSpPr>
            <p:sp>
              <p:nvSpPr>
                <p:cNvPr id="11105" name="Freeform: Shape 11104">
                  <a:extLst>
                    <a:ext uri="{FF2B5EF4-FFF2-40B4-BE49-F238E27FC236}">
                      <a16:creationId xmlns:a16="http://schemas.microsoft.com/office/drawing/2014/main" id="{3B4F1197-91CA-84C5-1014-DE4E76442ED6}"/>
                    </a:ext>
                  </a:extLst>
                </p:cNvPr>
                <p:cNvSpPr/>
                <p:nvPr/>
              </p:nvSpPr>
              <p:spPr bwMode="gray">
                <a:xfrm>
                  <a:off x="5733383"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06" name="Freeform: Shape 11105">
                  <a:extLst>
                    <a:ext uri="{FF2B5EF4-FFF2-40B4-BE49-F238E27FC236}">
                      <a16:creationId xmlns:a16="http://schemas.microsoft.com/office/drawing/2014/main" id="{141A4EFF-A756-2E10-D6D9-61486A2E6FE2}"/>
                    </a:ext>
                  </a:extLst>
                </p:cNvPr>
                <p:cNvSpPr/>
                <p:nvPr/>
              </p:nvSpPr>
              <p:spPr bwMode="gray">
                <a:xfrm>
                  <a:off x="5702427"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7" name="Graphic 1443">
                <a:extLst>
                  <a:ext uri="{FF2B5EF4-FFF2-40B4-BE49-F238E27FC236}">
                    <a16:creationId xmlns:a16="http://schemas.microsoft.com/office/drawing/2014/main" id="{E9FD7635-0B9D-26F7-FB62-FA987A77DB8E}"/>
                  </a:ext>
                </a:extLst>
              </p:cNvPr>
              <p:cNvGrpSpPr/>
              <p:nvPr/>
            </p:nvGrpSpPr>
            <p:grpSpPr bwMode="gray">
              <a:xfrm>
                <a:off x="5684234" y="3304031"/>
                <a:ext cx="61817" cy="63722"/>
                <a:chOff x="5684234" y="3304031"/>
                <a:chExt cx="61817" cy="63722"/>
              </a:xfrm>
            </p:grpSpPr>
            <p:sp>
              <p:nvSpPr>
                <p:cNvPr id="11103" name="Freeform: Shape 11102">
                  <a:extLst>
                    <a:ext uri="{FF2B5EF4-FFF2-40B4-BE49-F238E27FC236}">
                      <a16:creationId xmlns:a16="http://schemas.microsoft.com/office/drawing/2014/main" id="{02C473A1-BC73-C0BB-F350-9DDAFD1A3A83}"/>
                    </a:ext>
                  </a:extLst>
                </p:cNvPr>
                <p:cNvSpPr/>
                <p:nvPr/>
              </p:nvSpPr>
              <p:spPr bwMode="gray">
                <a:xfrm>
                  <a:off x="571509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04" name="Freeform: Shape 11103">
                  <a:extLst>
                    <a:ext uri="{FF2B5EF4-FFF2-40B4-BE49-F238E27FC236}">
                      <a16:creationId xmlns:a16="http://schemas.microsoft.com/office/drawing/2014/main" id="{D3AF38F5-F8FB-59DF-BB8B-338B087FD509}"/>
                    </a:ext>
                  </a:extLst>
                </p:cNvPr>
                <p:cNvSpPr/>
                <p:nvPr/>
              </p:nvSpPr>
              <p:spPr bwMode="gray">
                <a:xfrm>
                  <a:off x="568423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8" name="Graphic 1443">
                <a:extLst>
                  <a:ext uri="{FF2B5EF4-FFF2-40B4-BE49-F238E27FC236}">
                    <a16:creationId xmlns:a16="http://schemas.microsoft.com/office/drawing/2014/main" id="{0EEF810E-A79F-4DE0-EDD1-742C39A4C59A}"/>
                  </a:ext>
                </a:extLst>
              </p:cNvPr>
              <p:cNvGrpSpPr/>
              <p:nvPr/>
            </p:nvGrpSpPr>
            <p:grpSpPr bwMode="gray">
              <a:xfrm>
                <a:off x="5655564" y="3304031"/>
                <a:ext cx="61817" cy="63722"/>
                <a:chOff x="5655564" y="3304031"/>
                <a:chExt cx="61817" cy="63722"/>
              </a:xfrm>
            </p:grpSpPr>
            <p:sp>
              <p:nvSpPr>
                <p:cNvPr id="11101" name="Freeform: Shape 11100">
                  <a:extLst>
                    <a:ext uri="{FF2B5EF4-FFF2-40B4-BE49-F238E27FC236}">
                      <a16:creationId xmlns:a16="http://schemas.microsoft.com/office/drawing/2014/main" id="{0A9D8CA8-041D-94B3-6994-7A9E5AE7A0DC}"/>
                    </a:ext>
                  </a:extLst>
                </p:cNvPr>
                <p:cNvSpPr/>
                <p:nvPr/>
              </p:nvSpPr>
              <p:spPr bwMode="gray">
                <a:xfrm>
                  <a:off x="5686425"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02" name="Freeform: Shape 11101">
                  <a:extLst>
                    <a:ext uri="{FF2B5EF4-FFF2-40B4-BE49-F238E27FC236}">
                      <a16:creationId xmlns:a16="http://schemas.microsoft.com/office/drawing/2014/main" id="{8459DE80-D95C-ECC4-BE6F-946AE63CD79D}"/>
                    </a:ext>
                  </a:extLst>
                </p:cNvPr>
                <p:cNvSpPr/>
                <p:nvPr/>
              </p:nvSpPr>
              <p:spPr bwMode="gray">
                <a:xfrm>
                  <a:off x="5655564"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39" name="Graphic 1443">
                <a:extLst>
                  <a:ext uri="{FF2B5EF4-FFF2-40B4-BE49-F238E27FC236}">
                    <a16:creationId xmlns:a16="http://schemas.microsoft.com/office/drawing/2014/main" id="{87B2F877-B5BE-FBC9-9308-4F2B3C632CD6}"/>
                  </a:ext>
                </a:extLst>
              </p:cNvPr>
              <p:cNvGrpSpPr/>
              <p:nvPr/>
            </p:nvGrpSpPr>
            <p:grpSpPr bwMode="gray">
              <a:xfrm>
                <a:off x="5591460" y="3304031"/>
                <a:ext cx="61817" cy="63722"/>
                <a:chOff x="5591460" y="3304031"/>
                <a:chExt cx="61817" cy="63722"/>
              </a:xfrm>
            </p:grpSpPr>
            <p:sp>
              <p:nvSpPr>
                <p:cNvPr id="11099" name="Freeform: Shape 11098">
                  <a:extLst>
                    <a:ext uri="{FF2B5EF4-FFF2-40B4-BE49-F238E27FC236}">
                      <a16:creationId xmlns:a16="http://schemas.microsoft.com/office/drawing/2014/main" id="{8105FF9D-71AD-C9D5-E3AE-FACAA2FF7079}"/>
                    </a:ext>
                  </a:extLst>
                </p:cNvPr>
                <p:cNvSpPr/>
                <p:nvPr/>
              </p:nvSpPr>
              <p:spPr bwMode="gray">
                <a:xfrm>
                  <a:off x="5622417"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00" name="Freeform: Shape 11099">
                  <a:extLst>
                    <a:ext uri="{FF2B5EF4-FFF2-40B4-BE49-F238E27FC236}">
                      <a16:creationId xmlns:a16="http://schemas.microsoft.com/office/drawing/2014/main" id="{8A594C8E-842D-E645-E5B2-8343564198D9}"/>
                    </a:ext>
                  </a:extLst>
                </p:cNvPr>
                <p:cNvSpPr/>
                <p:nvPr/>
              </p:nvSpPr>
              <p:spPr bwMode="gray">
                <a:xfrm>
                  <a:off x="5591460"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0" name="Graphic 1443">
                <a:extLst>
                  <a:ext uri="{FF2B5EF4-FFF2-40B4-BE49-F238E27FC236}">
                    <a16:creationId xmlns:a16="http://schemas.microsoft.com/office/drawing/2014/main" id="{A80D4076-8243-C861-9A3F-9649A135BD74}"/>
                  </a:ext>
                </a:extLst>
              </p:cNvPr>
              <p:cNvGrpSpPr/>
              <p:nvPr/>
            </p:nvGrpSpPr>
            <p:grpSpPr bwMode="gray">
              <a:xfrm>
                <a:off x="5538882" y="3294030"/>
                <a:ext cx="61817" cy="63722"/>
                <a:chOff x="5538882" y="3294030"/>
                <a:chExt cx="61817" cy="63722"/>
              </a:xfrm>
            </p:grpSpPr>
            <p:sp>
              <p:nvSpPr>
                <p:cNvPr id="11097" name="Freeform: Shape 11096">
                  <a:extLst>
                    <a:ext uri="{FF2B5EF4-FFF2-40B4-BE49-F238E27FC236}">
                      <a16:creationId xmlns:a16="http://schemas.microsoft.com/office/drawing/2014/main" id="{AD6880A7-FC36-E387-919C-E40BF5020FA9}"/>
                    </a:ext>
                  </a:extLst>
                </p:cNvPr>
                <p:cNvSpPr/>
                <p:nvPr/>
              </p:nvSpPr>
              <p:spPr bwMode="gray">
                <a:xfrm>
                  <a:off x="5569743"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98" name="Freeform: Shape 11097">
                  <a:extLst>
                    <a:ext uri="{FF2B5EF4-FFF2-40B4-BE49-F238E27FC236}">
                      <a16:creationId xmlns:a16="http://schemas.microsoft.com/office/drawing/2014/main" id="{DDA16A4A-9B7D-0265-B95E-0EAF14B185EC}"/>
                    </a:ext>
                  </a:extLst>
                </p:cNvPr>
                <p:cNvSpPr/>
                <p:nvPr/>
              </p:nvSpPr>
              <p:spPr bwMode="gray">
                <a:xfrm>
                  <a:off x="5538882"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1" name="Graphic 1443">
                <a:extLst>
                  <a:ext uri="{FF2B5EF4-FFF2-40B4-BE49-F238E27FC236}">
                    <a16:creationId xmlns:a16="http://schemas.microsoft.com/office/drawing/2014/main" id="{BCAA46DB-F74E-8C13-C412-8ACF9F99CC08}"/>
                  </a:ext>
                </a:extLst>
              </p:cNvPr>
              <p:cNvGrpSpPr/>
              <p:nvPr/>
            </p:nvGrpSpPr>
            <p:grpSpPr bwMode="gray">
              <a:xfrm>
                <a:off x="5552789" y="3294030"/>
                <a:ext cx="61817" cy="63722"/>
                <a:chOff x="5552789" y="3294030"/>
                <a:chExt cx="61817" cy="63722"/>
              </a:xfrm>
            </p:grpSpPr>
            <p:sp>
              <p:nvSpPr>
                <p:cNvPr id="11095" name="Freeform: Shape 11094">
                  <a:extLst>
                    <a:ext uri="{FF2B5EF4-FFF2-40B4-BE49-F238E27FC236}">
                      <a16:creationId xmlns:a16="http://schemas.microsoft.com/office/drawing/2014/main" id="{6F5BB933-2330-B3E9-3962-F638D2441192}"/>
                    </a:ext>
                  </a:extLst>
                </p:cNvPr>
                <p:cNvSpPr/>
                <p:nvPr/>
              </p:nvSpPr>
              <p:spPr bwMode="gray">
                <a:xfrm>
                  <a:off x="558365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96" name="Freeform: Shape 11095">
                  <a:extLst>
                    <a:ext uri="{FF2B5EF4-FFF2-40B4-BE49-F238E27FC236}">
                      <a16:creationId xmlns:a16="http://schemas.microsoft.com/office/drawing/2014/main" id="{B74AC1F2-0588-C0FB-02B1-A4AF71783187}"/>
                    </a:ext>
                  </a:extLst>
                </p:cNvPr>
                <p:cNvSpPr/>
                <p:nvPr/>
              </p:nvSpPr>
              <p:spPr bwMode="gray">
                <a:xfrm>
                  <a:off x="5552789"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2" name="Graphic 1443">
                <a:extLst>
                  <a:ext uri="{FF2B5EF4-FFF2-40B4-BE49-F238E27FC236}">
                    <a16:creationId xmlns:a16="http://schemas.microsoft.com/office/drawing/2014/main" id="{B00BED81-F4B7-229F-2A97-5ED14C193041}"/>
                  </a:ext>
                </a:extLst>
              </p:cNvPr>
              <p:cNvGrpSpPr/>
              <p:nvPr/>
            </p:nvGrpSpPr>
            <p:grpSpPr bwMode="gray">
              <a:xfrm>
                <a:off x="5569743" y="3294030"/>
                <a:ext cx="61817" cy="63722"/>
                <a:chOff x="5569743" y="3294030"/>
                <a:chExt cx="61817" cy="63722"/>
              </a:xfrm>
            </p:grpSpPr>
            <p:sp>
              <p:nvSpPr>
                <p:cNvPr id="11093" name="Freeform: Shape 11092">
                  <a:extLst>
                    <a:ext uri="{FF2B5EF4-FFF2-40B4-BE49-F238E27FC236}">
                      <a16:creationId xmlns:a16="http://schemas.microsoft.com/office/drawing/2014/main" id="{3DA16486-0B76-5B74-EFAE-21CE5B4FA952}"/>
                    </a:ext>
                  </a:extLst>
                </p:cNvPr>
                <p:cNvSpPr/>
                <p:nvPr/>
              </p:nvSpPr>
              <p:spPr bwMode="gray">
                <a:xfrm>
                  <a:off x="5600700" y="329403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94" name="Freeform: Shape 11093">
                  <a:extLst>
                    <a:ext uri="{FF2B5EF4-FFF2-40B4-BE49-F238E27FC236}">
                      <a16:creationId xmlns:a16="http://schemas.microsoft.com/office/drawing/2014/main" id="{45D9BA03-2359-ACA1-7DD6-EDA64B3C659F}"/>
                    </a:ext>
                  </a:extLst>
                </p:cNvPr>
                <p:cNvSpPr/>
                <p:nvPr/>
              </p:nvSpPr>
              <p:spPr bwMode="gray">
                <a:xfrm>
                  <a:off x="5569743" y="33258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3" name="Graphic 1443">
                <a:extLst>
                  <a:ext uri="{FF2B5EF4-FFF2-40B4-BE49-F238E27FC236}">
                    <a16:creationId xmlns:a16="http://schemas.microsoft.com/office/drawing/2014/main" id="{1C772889-60EC-1C8F-5109-5DC8B877BCC1}"/>
                  </a:ext>
                </a:extLst>
              </p:cNvPr>
              <p:cNvGrpSpPr/>
              <p:nvPr/>
            </p:nvGrpSpPr>
            <p:grpSpPr bwMode="gray">
              <a:xfrm>
                <a:off x="5519547" y="3269455"/>
                <a:ext cx="61817" cy="63722"/>
                <a:chOff x="5519547" y="3269455"/>
                <a:chExt cx="61817" cy="63722"/>
              </a:xfrm>
            </p:grpSpPr>
            <p:sp>
              <p:nvSpPr>
                <p:cNvPr id="11091" name="Freeform: Shape 11090">
                  <a:extLst>
                    <a:ext uri="{FF2B5EF4-FFF2-40B4-BE49-F238E27FC236}">
                      <a16:creationId xmlns:a16="http://schemas.microsoft.com/office/drawing/2014/main" id="{78F0F69F-96D1-6549-FFE1-5CFCCA146BA6}"/>
                    </a:ext>
                  </a:extLst>
                </p:cNvPr>
                <p:cNvSpPr/>
                <p:nvPr/>
              </p:nvSpPr>
              <p:spPr bwMode="gray">
                <a:xfrm>
                  <a:off x="5550408"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92" name="Freeform: Shape 11091">
                  <a:extLst>
                    <a:ext uri="{FF2B5EF4-FFF2-40B4-BE49-F238E27FC236}">
                      <a16:creationId xmlns:a16="http://schemas.microsoft.com/office/drawing/2014/main" id="{2FB3F6D8-72BC-9C14-2BDC-1A833455048F}"/>
                    </a:ext>
                  </a:extLst>
                </p:cNvPr>
                <p:cNvSpPr/>
                <p:nvPr/>
              </p:nvSpPr>
              <p:spPr bwMode="gray">
                <a:xfrm>
                  <a:off x="5519547"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4" name="Graphic 1443">
                <a:extLst>
                  <a:ext uri="{FF2B5EF4-FFF2-40B4-BE49-F238E27FC236}">
                    <a16:creationId xmlns:a16="http://schemas.microsoft.com/office/drawing/2014/main" id="{D947D667-87B6-F127-3103-8AD20C4B9848}"/>
                  </a:ext>
                </a:extLst>
              </p:cNvPr>
              <p:cNvGrpSpPr/>
              <p:nvPr/>
            </p:nvGrpSpPr>
            <p:grpSpPr bwMode="gray">
              <a:xfrm>
                <a:off x="5493162" y="3269455"/>
                <a:ext cx="61817" cy="63722"/>
                <a:chOff x="5493162" y="3269455"/>
                <a:chExt cx="61817" cy="63722"/>
              </a:xfrm>
            </p:grpSpPr>
            <p:sp>
              <p:nvSpPr>
                <p:cNvPr id="11089" name="Freeform: Shape 11088">
                  <a:extLst>
                    <a:ext uri="{FF2B5EF4-FFF2-40B4-BE49-F238E27FC236}">
                      <a16:creationId xmlns:a16="http://schemas.microsoft.com/office/drawing/2014/main" id="{FEBD0B1B-2C97-1F3D-0F42-1AB7F7DEE5DA}"/>
                    </a:ext>
                  </a:extLst>
                </p:cNvPr>
                <p:cNvSpPr/>
                <p:nvPr/>
              </p:nvSpPr>
              <p:spPr bwMode="gray">
                <a:xfrm>
                  <a:off x="552411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90" name="Freeform: Shape 11089">
                  <a:extLst>
                    <a:ext uri="{FF2B5EF4-FFF2-40B4-BE49-F238E27FC236}">
                      <a16:creationId xmlns:a16="http://schemas.microsoft.com/office/drawing/2014/main" id="{8C3CED6E-BBB0-6BDF-AF2E-2CE74C22E478}"/>
                    </a:ext>
                  </a:extLst>
                </p:cNvPr>
                <p:cNvSpPr/>
                <p:nvPr/>
              </p:nvSpPr>
              <p:spPr bwMode="gray">
                <a:xfrm>
                  <a:off x="5493162"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5" name="Graphic 1443">
                <a:extLst>
                  <a:ext uri="{FF2B5EF4-FFF2-40B4-BE49-F238E27FC236}">
                    <a16:creationId xmlns:a16="http://schemas.microsoft.com/office/drawing/2014/main" id="{5A8BA54B-8AC9-CF5F-6432-8C7EE2A6B895}"/>
                  </a:ext>
                </a:extLst>
              </p:cNvPr>
              <p:cNvGrpSpPr/>
              <p:nvPr/>
            </p:nvGrpSpPr>
            <p:grpSpPr bwMode="gray">
              <a:xfrm>
                <a:off x="5483733" y="3269455"/>
                <a:ext cx="61817" cy="63722"/>
                <a:chOff x="5483733" y="3269455"/>
                <a:chExt cx="61817" cy="63722"/>
              </a:xfrm>
            </p:grpSpPr>
            <p:sp>
              <p:nvSpPr>
                <p:cNvPr id="11087" name="Freeform: Shape 11086">
                  <a:extLst>
                    <a:ext uri="{FF2B5EF4-FFF2-40B4-BE49-F238E27FC236}">
                      <a16:creationId xmlns:a16="http://schemas.microsoft.com/office/drawing/2014/main" id="{15BD885E-093F-B44E-DE86-77FF6F194D89}"/>
                    </a:ext>
                  </a:extLst>
                </p:cNvPr>
                <p:cNvSpPr/>
                <p:nvPr/>
              </p:nvSpPr>
              <p:spPr bwMode="gray">
                <a:xfrm>
                  <a:off x="551468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88" name="Freeform: Shape 11087">
                  <a:extLst>
                    <a:ext uri="{FF2B5EF4-FFF2-40B4-BE49-F238E27FC236}">
                      <a16:creationId xmlns:a16="http://schemas.microsoft.com/office/drawing/2014/main" id="{58EB4352-C00F-6AD1-6D33-DE10C4DF9CD4}"/>
                    </a:ext>
                  </a:extLst>
                </p:cNvPr>
                <p:cNvSpPr/>
                <p:nvPr/>
              </p:nvSpPr>
              <p:spPr bwMode="gray">
                <a:xfrm>
                  <a:off x="5483733"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6" name="Graphic 1443">
                <a:extLst>
                  <a:ext uri="{FF2B5EF4-FFF2-40B4-BE49-F238E27FC236}">
                    <a16:creationId xmlns:a16="http://schemas.microsoft.com/office/drawing/2014/main" id="{5CA07B1F-C80D-0296-A723-85C14488FB2F}"/>
                  </a:ext>
                </a:extLst>
              </p:cNvPr>
              <p:cNvGrpSpPr/>
              <p:nvPr/>
            </p:nvGrpSpPr>
            <p:grpSpPr bwMode="gray">
              <a:xfrm>
                <a:off x="5457729" y="3269455"/>
                <a:ext cx="61817" cy="63722"/>
                <a:chOff x="5457729" y="3269455"/>
                <a:chExt cx="61817" cy="63722"/>
              </a:xfrm>
            </p:grpSpPr>
            <p:sp>
              <p:nvSpPr>
                <p:cNvPr id="11085" name="Freeform: Shape 11084">
                  <a:extLst>
                    <a:ext uri="{FF2B5EF4-FFF2-40B4-BE49-F238E27FC236}">
                      <a16:creationId xmlns:a16="http://schemas.microsoft.com/office/drawing/2014/main" id="{73B7188C-BD54-4FA1-7120-C95FAF2FE0D3}"/>
                    </a:ext>
                  </a:extLst>
                </p:cNvPr>
                <p:cNvSpPr/>
                <p:nvPr/>
              </p:nvSpPr>
              <p:spPr bwMode="gray">
                <a:xfrm>
                  <a:off x="548859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86" name="Freeform: Shape 11085">
                  <a:extLst>
                    <a:ext uri="{FF2B5EF4-FFF2-40B4-BE49-F238E27FC236}">
                      <a16:creationId xmlns:a16="http://schemas.microsoft.com/office/drawing/2014/main" id="{64AEA440-508A-8C1F-7B5A-1679F96E2537}"/>
                    </a:ext>
                  </a:extLst>
                </p:cNvPr>
                <p:cNvSpPr/>
                <p:nvPr/>
              </p:nvSpPr>
              <p:spPr bwMode="gray">
                <a:xfrm>
                  <a:off x="5457729"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7" name="Graphic 1443">
                <a:extLst>
                  <a:ext uri="{FF2B5EF4-FFF2-40B4-BE49-F238E27FC236}">
                    <a16:creationId xmlns:a16="http://schemas.microsoft.com/office/drawing/2014/main" id="{C0C98691-4741-0E51-2A41-46B40970B345}"/>
                  </a:ext>
                </a:extLst>
              </p:cNvPr>
              <p:cNvGrpSpPr/>
              <p:nvPr/>
            </p:nvGrpSpPr>
            <p:grpSpPr bwMode="gray">
              <a:xfrm>
                <a:off x="5436108" y="3269455"/>
                <a:ext cx="61817" cy="63722"/>
                <a:chOff x="5436108" y="3269455"/>
                <a:chExt cx="61817" cy="63722"/>
              </a:xfrm>
            </p:grpSpPr>
            <p:sp>
              <p:nvSpPr>
                <p:cNvPr id="11083" name="Freeform: Shape 11082">
                  <a:extLst>
                    <a:ext uri="{FF2B5EF4-FFF2-40B4-BE49-F238E27FC236}">
                      <a16:creationId xmlns:a16="http://schemas.microsoft.com/office/drawing/2014/main" id="{98D6DBB8-BE42-96B9-5DA8-7459DD2C0E35}"/>
                    </a:ext>
                  </a:extLst>
                </p:cNvPr>
                <p:cNvSpPr/>
                <p:nvPr/>
              </p:nvSpPr>
              <p:spPr bwMode="gray">
                <a:xfrm>
                  <a:off x="5466969"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84" name="Freeform: Shape 11083">
                  <a:extLst>
                    <a:ext uri="{FF2B5EF4-FFF2-40B4-BE49-F238E27FC236}">
                      <a16:creationId xmlns:a16="http://schemas.microsoft.com/office/drawing/2014/main" id="{B62CF1FD-8E4C-3457-D21E-31861C551FE3}"/>
                    </a:ext>
                  </a:extLst>
                </p:cNvPr>
                <p:cNvSpPr/>
                <p:nvPr/>
              </p:nvSpPr>
              <p:spPr bwMode="gray">
                <a:xfrm>
                  <a:off x="5436108"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8" name="Graphic 1443">
                <a:extLst>
                  <a:ext uri="{FF2B5EF4-FFF2-40B4-BE49-F238E27FC236}">
                    <a16:creationId xmlns:a16="http://schemas.microsoft.com/office/drawing/2014/main" id="{E4E459ED-4630-902C-3DAA-5494CF552957}"/>
                  </a:ext>
                </a:extLst>
              </p:cNvPr>
              <p:cNvGrpSpPr/>
              <p:nvPr/>
            </p:nvGrpSpPr>
            <p:grpSpPr bwMode="gray">
              <a:xfrm>
                <a:off x="5415724" y="3269455"/>
                <a:ext cx="61817" cy="63722"/>
                <a:chOff x="5415724" y="3269455"/>
                <a:chExt cx="61817" cy="63722"/>
              </a:xfrm>
            </p:grpSpPr>
            <p:sp>
              <p:nvSpPr>
                <p:cNvPr id="11081" name="Freeform: Shape 11080">
                  <a:extLst>
                    <a:ext uri="{FF2B5EF4-FFF2-40B4-BE49-F238E27FC236}">
                      <a16:creationId xmlns:a16="http://schemas.microsoft.com/office/drawing/2014/main" id="{3CE4CA83-D957-E202-8C59-FE9966CDE356}"/>
                    </a:ext>
                  </a:extLst>
                </p:cNvPr>
                <p:cNvSpPr/>
                <p:nvPr/>
              </p:nvSpPr>
              <p:spPr bwMode="gray">
                <a:xfrm>
                  <a:off x="5446680" y="326945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82" name="Freeform: Shape 11081">
                  <a:extLst>
                    <a:ext uri="{FF2B5EF4-FFF2-40B4-BE49-F238E27FC236}">
                      <a16:creationId xmlns:a16="http://schemas.microsoft.com/office/drawing/2014/main" id="{E4B60D6E-72D8-EA20-C5DF-0C4BE3559119}"/>
                    </a:ext>
                  </a:extLst>
                </p:cNvPr>
                <p:cNvSpPr/>
                <p:nvPr/>
              </p:nvSpPr>
              <p:spPr bwMode="gray">
                <a:xfrm>
                  <a:off x="5415724" y="33013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49" name="Graphic 1443">
                <a:extLst>
                  <a:ext uri="{FF2B5EF4-FFF2-40B4-BE49-F238E27FC236}">
                    <a16:creationId xmlns:a16="http://schemas.microsoft.com/office/drawing/2014/main" id="{BF1E246E-0AF0-B073-AAE4-4CB2533516A2}"/>
                  </a:ext>
                </a:extLst>
              </p:cNvPr>
              <p:cNvGrpSpPr/>
              <p:nvPr/>
            </p:nvGrpSpPr>
            <p:grpSpPr bwMode="gray">
              <a:xfrm>
                <a:off x="5393531" y="3259168"/>
                <a:ext cx="61817" cy="63627"/>
                <a:chOff x="5393531" y="3259168"/>
                <a:chExt cx="61817" cy="63627"/>
              </a:xfrm>
            </p:grpSpPr>
            <p:sp>
              <p:nvSpPr>
                <p:cNvPr id="11079" name="Freeform: Shape 11078">
                  <a:extLst>
                    <a:ext uri="{FF2B5EF4-FFF2-40B4-BE49-F238E27FC236}">
                      <a16:creationId xmlns:a16="http://schemas.microsoft.com/office/drawing/2014/main" id="{1957802D-975B-1A52-3F8D-6ED7408D5D23}"/>
                    </a:ext>
                  </a:extLst>
                </p:cNvPr>
                <p:cNvSpPr/>
                <p:nvPr/>
              </p:nvSpPr>
              <p:spPr bwMode="gray">
                <a:xfrm>
                  <a:off x="5424392" y="325916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80" name="Freeform: Shape 11079">
                  <a:extLst>
                    <a:ext uri="{FF2B5EF4-FFF2-40B4-BE49-F238E27FC236}">
                      <a16:creationId xmlns:a16="http://schemas.microsoft.com/office/drawing/2014/main" id="{BFFAB1DB-2228-70B6-6454-2B8FC57D23AB}"/>
                    </a:ext>
                  </a:extLst>
                </p:cNvPr>
                <p:cNvSpPr/>
                <p:nvPr/>
              </p:nvSpPr>
              <p:spPr bwMode="gray">
                <a:xfrm>
                  <a:off x="5393531" y="329098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0" name="Graphic 1443">
                <a:extLst>
                  <a:ext uri="{FF2B5EF4-FFF2-40B4-BE49-F238E27FC236}">
                    <a16:creationId xmlns:a16="http://schemas.microsoft.com/office/drawing/2014/main" id="{BDA9EC40-2ED7-AD72-5122-BE684D58D40A}"/>
                  </a:ext>
                </a:extLst>
              </p:cNvPr>
              <p:cNvGrpSpPr/>
              <p:nvPr/>
            </p:nvGrpSpPr>
            <p:grpSpPr bwMode="gray">
              <a:xfrm>
                <a:off x="5377053" y="3250310"/>
                <a:ext cx="61817" cy="63722"/>
                <a:chOff x="5377053" y="3250310"/>
                <a:chExt cx="61817" cy="63722"/>
              </a:xfrm>
            </p:grpSpPr>
            <p:sp>
              <p:nvSpPr>
                <p:cNvPr id="11077" name="Freeform: Shape 11076">
                  <a:extLst>
                    <a:ext uri="{FF2B5EF4-FFF2-40B4-BE49-F238E27FC236}">
                      <a16:creationId xmlns:a16="http://schemas.microsoft.com/office/drawing/2014/main" id="{51F655B7-5F4E-D827-919C-D045BB610772}"/>
                    </a:ext>
                  </a:extLst>
                </p:cNvPr>
                <p:cNvSpPr/>
                <p:nvPr/>
              </p:nvSpPr>
              <p:spPr bwMode="gray">
                <a:xfrm>
                  <a:off x="5407914" y="325031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78" name="Freeform: Shape 11077">
                  <a:extLst>
                    <a:ext uri="{FF2B5EF4-FFF2-40B4-BE49-F238E27FC236}">
                      <a16:creationId xmlns:a16="http://schemas.microsoft.com/office/drawing/2014/main" id="{DC3B07A0-5A12-B0CA-50D6-B086029806FB}"/>
                    </a:ext>
                  </a:extLst>
                </p:cNvPr>
                <p:cNvSpPr/>
                <p:nvPr/>
              </p:nvSpPr>
              <p:spPr bwMode="gray">
                <a:xfrm>
                  <a:off x="5377053" y="328221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1" name="Graphic 1443">
                <a:extLst>
                  <a:ext uri="{FF2B5EF4-FFF2-40B4-BE49-F238E27FC236}">
                    <a16:creationId xmlns:a16="http://schemas.microsoft.com/office/drawing/2014/main" id="{4EFFB7FC-81B5-0834-99F6-AACE025AE218}"/>
                  </a:ext>
                </a:extLst>
              </p:cNvPr>
              <p:cNvGrpSpPr/>
              <p:nvPr/>
            </p:nvGrpSpPr>
            <p:grpSpPr bwMode="gray">
              <a:xfrm>
                <a:off x="5335809" y="3232975"/>
                <a:ext cx="61817" cy="63627"/>
                <a:chOff x="5335809" y="3232975"/>
                <a:chExt cx="61817" cy="63627"/>
              </a:xfrm>
            </p:grpSpPr>
            <p:sp>
              <p:nvSpPr>
                <p:cNvPr id="11075" name="Freeform: Shape 11074">
                  <a:extLst>
                    <a:ext uri="{FF2B5EF4-FFF2-40B4-BE49-F238E27FC236}">
                      <a16:creationId xmlns:a16="http://schemas.microsoft.com/office/drawing/2014/main" id="{678C3DD9-D2D8-D5F3-4483-104CB8CD5D68}"/>
                    </a:ext>
                  </a:extLst>
                </p:cNvPr>
                <p:cNvSpPr/>
                <p:nvPr/>
              </p:nvSpPr>
              <p:spPr bwMode="gray">
                <a:xfrm>
                  <a:off x="5366670" y="3232975"/>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76" name="Freeform: Shape 11075">
                  <a:extLst>
                    <a:ext uri="{FF2B5EF4-FFF2-40B4-BE49-F238E27FC236}">
                      <a16:creationId xmlns:a16="http://schemas.microsoft.com/office/drawing/2014/main" id="{6723B524-1CF1-0FF8-2A22-58EE5EF5DD56}"/>
                    </a:ext>
                  </a:extLst>
                </p:cNvPr>
                <p:cNvSpPr/>
                <p:nvPr/>
              </p:nvSpPr>
              <p:spPr bwMode="gray">
                <a:xfrm>
                  <a:off x="5335809" y="3264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2" name="Graphic 1443">
                <a:extLst>
                  <a:ext uri="{FF2B5EF4-FFF2-40B4-BE49-F238E27FC236}">
                    <a16:creationId xmlns:a16="http://schemas.microsoft.com/office/drawing/2014/main" id="{A10CE352-5FB9-2C68-4757-9141CFBA76F1}"/>
                  </a:ext>
                </a:extLst>
              </p:cNvPr>
              <p:cNvGrpSpPr/>
              <p:nvPr/>
            </p:nvGrpSpPr>
            <p:grpSpPr bwMode="gray">
              <a:xfrm>
                <a:off x="5278659" y="3212972"/>
                <a:ext cx="61817" cy="63722"/>
                <a:chOff x="5278659" y="3212972"/>
                <a:chExt cx="61817" cy="63722"/>
              </a:xfrm>
            </p:grpSpPr>
            <p:sp>
              <p:nvSpPr>
                <p:cNvPr id="11073" name="Freeform: Shape 11072">
                  <a:extLst>
                    <a:ext uri="{FF2B5EF4-FFF2-40B4-BE49-F238E27FC236}">
                      <a16:creationId xmlns:a16="http://schemas.microsoft.com/office/drawing/2014/main" id="{E5AE3BFE-90BC-2958-E22A-3E2E7966EEA5}"/>
                    </a:ext>
                  </a:extLst>
                </p:cNvPr>
                <p:cNvSpPr/>
                <p:nvPr/>
              </p:nvSpPr>
              <p:spPr bwMode="gray">
                <a:xfrm>
                  <a:off x="5309616"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74" name="Freeform: Shape 11073">
                  <a:extLst>
                    <a:ext uri="{FF2B5EF4-FFF2-40B4-BE49-F238E27FC236}">
                      <a16:creationId xmlns:a16="http://schemas.microsoft.com/office/drawing/2014/main" id="{6D85E485-D932-A68E-2C3D-01F4493403BF}"/>
                    </a:ext>
                  </a:extLst>
                </p:cNvPr>
                <p:cNvSpPr/>
                <p:nvPr/>
              </p:nvSpPr>
              <p:spPr bwMode="gray">
                <a:xfrm>
                  <a:off x="527865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3" name="Graphic 1443">
                <a:extLst>
                  <a:ext uri="{FF2B5EF4-FFF2-40B4-BE49-F238E27FC236}">
                    <a16:creationId xmlns:a16="http://schemas.microsoft.com/office/drawing/2014/main" id="{FA1DDBCD-A5DE-C5E6-F224-159B1FF9370E}"/>
                  </a:ext>
                </a:extLst>
              </p:cNvPr>
              <p:cNvGrpSpPr/>
              <p:nvPr/>
            </p:nvGrpSpPr>
            <p:grpSpPr bwMode="gray">
              <a:xfrm>
                <a:off x="5027961" y="3172777"/>
                <a:ext cx="61817" cy="63722"/>
                <a:chOff x="5027961" y="3172777"/>
                <a:chExt cx="61817" cy="63722"/>
              </a:xfrm>
            </p:grpSpPr>
            <p:sp>
              <p:nvSpPr>
                <p:cNvPr id="11071" name="Freeform: Shape 11070">
                  <a:extLst>
                    <a:ext uri="{FF2B5EF4-FFF2-40B4-BE49-F238E27FC236}">
                      <a16:creationId xmlns:a16="http://schemas.microsoft.com/office/drawing/2014/main" id="{987A597A-ED1E-39AB-C3B7-04DADCA153CF}"/>
                    </a:ext>
                  </a:extLst>
                </p:cNvPr>
                <p:cNvSpPr/>
                <p:nvPr/>
              </p:nvSpPr>
              <p:spPr bwMode="gray">
                <a:xfrm>
                  <a:off x="5058918"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72" name="Freeform: Shape 11071">
                  <a:extLst>
                    <a:ext uri="{FF2B5EF4-FFF2-40B4-BE49-F238E27FC236}">
                      <a16:creationId xmlns:a16="http://schemas.microsoft.com/office/drawing/2014/main" id="{5EE41040-EFFA-1C27-1865-4CED59C07FAB}"/>
                    </a:ext>
                  </a:extLst>
                </p:cNvPr>
                <p:cNvSpPr/>
                <p:nvPr/>
              </p:nvSpPr>
              <p:spPr bwMode="gray">
                <a:xfrm>
                  <a:off x="502796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4" name="Graphic 1443">
                <a:extLst>
                  <a:ext uri="{FF2B5EF4-FFF2-40B4-BE49-F238E27FC236}">
                    <a16:creationId xmlns:a16="http://schemas.microsoft.com/office/drawing/2014/main" id="{C071866A-7A2F-06FD-C531-D2891A6CB94F}"/>
                  </a:ext>
                </a:extLst>
              </p:cNvPr>
              <p:cNvGrpSpPr/>
              <p:nvPr/>
            </p:nvGrpSpPr>
            <p:grpSpPr bwMode="gray">
              <a:xfrm>
                <a:off x="5040915" y="3172777"/>
                <a:ext cx="61817" cy="63722"/>
                <a:chOff x="5040915" y="3172777"/>
                <a:chExt cx="61817" cy="63722"/>
              </a:xfrm>
            </p:grpSpPr>
            <p:sp>
              <p:nvSpPr>
                <p:cNvPr id="11069" name="Freeform: Shape 11068">
                  <a:extLst>
                    <a:ext uri="{FF2B5EF4-FFF2-40B4-BE49-F238E27FC236}">
                      <a16:creationId xmlns:a16="http://schemas.microsoft.com/office/drawing/2014/main" id="{E9BCECA7-4866-4EF1-DD43-2D13A56C60D9}"/>
                    </a:ext>
                  </a:extLst>
                </p:cNvPr>
                <p:cNvSpPr/>
                <p:nvPr/>
              </p:nvSpPr>
              <p:spPr bwMode="gray">
                <a:xfrm>
                  <a:off x="507177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70" name="Freeform: Shape 11069">
                  <a:extLst>
                    <a:ext uri="{FF2B5EF4-FFF2-40B4-BE49-F238E27FC236}">
                      <a16:creationId xmlns:a16="http://schemas.microsoft.com/office/drawing/2014/main" id="{9F908A4E-F268-A9FF-16DD-0928CA592906}"/>
                    </a:ext>
                  </a:extLst>
                </p:cNvPr>
                <p:cNvSpPr/>
                <p:nvPr/>
              </p:nvSpPr>
              <p:spPr bwMode="gray">
                <a:xfrm>
                  <a:off x="504091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5" name="Graphic 1443">
                <a:extLst>
                  <a:ext uri="{FF2B5EF4-FFF2-40B4-BE49-F238E27FC236}">
                    <a16:creationId xmlns:a16="http://schemas.microsoft.com/office/drawing/2014/main" id="{E72A02AF-92DC-F480-7DE0-C3722E6BFC9B}"/>
                  </a:ext>
                </a:extLst>
              </p:cNvPr>
              <p:cNvGrpSpPr/>
              <p:nvPr/>
            </p:nvGrpSpPr>
            <p:grpSpPr bwMode="gray">
              <a:xfrm>
                <a:off x="5055774" y="3172777"/>
                <a:ext cx="61817" cy="63722"/>
                <a:chOff x="5055774" y="3172777"/>
                <a:chExt cx="61817" cy="63722"/>
              </a:xfrm>
            </p:grpSpPr>
            <p:sp>
              <p:nvSpPr>
                <p:cNvPr id="11067" name="Freeform: Shape 11066">
                  <a:extLst>
                    <a:ext uri="{FF2B5EF4-FFF2-40B4-BE49-F238E27FC236}">
                      <a16:creationId xmlns:a16="http://schemas.microsoft.com/office/drawing/2014/main" id="{2489289E-BEBC-D8D9-0C16-50D5FD5E2602}"/>
                    </a:ext>
                  </a:extLst>
                </p:cNvPr>
                <p:cNvSpPr/>
                <p:nvPr/>
              </p:nvSpPr>
              <p:spPr bwMode="gray">
                <a:xfrm>
                  <a:off x="508663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68" name="Freeform: Shape 11067">
                  <a:extLst>
                    <a:ext uri="{FF2B5EF4-FFF2-40B4-BE49-F238E27FC236}">
                      <a16:creationId xmlns:a16="http://schemas.microsoft.com/office/drawing/2014/main" id="{E634E2D4-53B3-2D78-A2CF-BEABD05218B7}"/>
                    </a:ext>
                  </a:extLst>
                </p:cNvPr>
                <p:cNvSpPr/>
                <p:nvPr/>
              </p:nvSpPr>
              <p:spPr bwMode="gray">
                <a:xfrm>
                  <a:off x="505577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6" name="Graphic 1443">
                <a:extLst>
                  <a:ext uri="{FF2B5EF4-FFF2-40B4-BE49-F238E27FC236}">
                    <a16:creationId xmlns:a16="http://schemas.microsoft.com/office/drawing/2014/main" id="{DCB281D4-4F4A-1D36-B1FA-4FAB3CE367C9}"/>
                  </a:ext>
                </a:extLst>
              </p:cNvPr>
              <p:cNvGrpSpPr/>
              <p:nvPr/>
            </p:nvGrpSpPr>
            <p:grpSpPr bwMode="gray">
              <a:xfrm>
                <a:off x="5068633" y="3172777"/>
                <a:ext cx="61817" cy="63722"/>
                <a:chOff x="5068633" y="3172777"/>
                <a:chExt cx="61817" cy="63722"/>
              </a:xfrm>
            </p:grpSpPr>
            <p:sp>
              <p:nvSpPr>
                <p:cNvPr id="11065" name="Freeform: Shape 11064">
                  <a:extLst>
                    <a:ext uri="{FF2B5EF4-FFF2-40B4-BE49-F238E27FC236}">
                      <a16:creationId xmlns:a16="http://schemas.microsoft.com/office/drawing/2014/main" id="{65D757D4-3780-A19C-6C6A-4C6642DE65BB}"/>
                    </a:ext>
                  </a:extLst>
                </p:cNvPr>
                <p:cNvSpPr/>
                <p:nvPr/>
              </p:nvSpPr>
              <p:spPr bwMode="gray">
                <a:xfrm>
                  <a:off x="509958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66" name="Freeform: Shape 11065">
                  <a:extLst>
                    <a:ext uri="{FF2B5EF4-FFF2-40B4-BE49-F238E27FC236}">
                      <a16:creationId xmlns:a16="http://schemas.microsoft.com/office/drawing/2014/main" id="{30DF0234-F336-DEEE-0ADF-EC52A78D3691}"/>
                    </a:ext>
                  </a:extLst>
                </p:cNvPr>
                <p:cNvSpPr/>
                <p:nvPr/>
              </p:nvSpPr>
              <p:spPr bwMode="gray">
                <a:xfrm>
                  <a:off x="506863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7" name="Graphic 1443">
                <a:extLst>
                  <a:ext uri="{FF2B5EF4-FFF2-40B4-BE49-F238E27FC236}">
                    <a16:creationId xmlns:a16="http://schemas.microsoft.com/office/drawing/2014/main" id="{5D897127-E1C4-7205-6012-6ECD2DFB57BC}"/>
                  </a:ext>
                </a:extLst>
              </p:cNvPr>
              <p:cNvGrpSpPr/>
              <p:nvPr/>
            </p:nvGrpSpPr>
            <p:grpSpPr bwMode="gray">
              <a:xfrm>
                <a:off x="5083111" y="3172777"/>
                <a:ext cx="61817" cy="63722"/>
                <a:chOff x="5083111" y="3172777"/>
                <a:chExt cx="61817" cy="63722"/>
              </a:xfrm>
            </p:grpSpPr>
            <p:sp>
              <p:nvSpPr>
                <p:cNvPr id="11063" name="Freeform: Shape 11062">
                  <a:extLst>
                    <a:ext uri="{FF2B5EF4-FFF2-40B4-BE49-F238E27FC236}">
                      <a16:creationId xmlns:a16="http://schemas.microsoft.com/office/drawing/2014/main" id="{5FAB5860-90CF-CD39-357A-82AB373B7779}"/>
                    </a:ext>
                  </a:extLst>
                </p:cNvPr>
                <p:cNvSpPr/>
                <p:nvPr/>
              </p:nvSpPr>
              <p:spPr bwMode="gray">
                <a:xfrm>
                  <a:off x="5113972"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64" name="Freeform: Shape 11063">
                  <a:extLst>
                    <a:ext uri="{FF2B5EF4-FFF2-40B4-BE49-F238E27FC236}">
                      <a16:creationId xmlns:a16="http://schemas.microsoft.com/office/drawing/2014/main" id="{8EC4547B-A003-6290-911E-7CD1F3AB735F}"/>
                    </a:ext>
                  </a:extLst>
                </p:cNvPr>
                <p:cNvSpPr/>
                <p:nvPr/>
              </p:nvSpPr>
              <p:spPr bwMode="gray">
                <a:xfrm>
                  <a:off x="5083111"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8" name="Graphic 1443">
                <a:extLst>
                  <a:ext uri="{FF2B5EF4-FFF2-40B4-BE49-F238E27FC236}">
                    <a16:creationId xmlns:a16="http://schemas.microsoft.com/office/drawing/2014/main" id="{16CAAF54-9A16-7BF7-052B-568D77C3F561}"/>
                  </a:ext>
                </a:extLst>
              </p:cNvPr>
              <p:cNvGrpSpPr/>
              <p:nvPr/>
            </p:nvGrpSpPr>
            <p:grpSpPr bwMode="gray">
              <a:xfrm>
                <a:off x="5095970" y="3172777"/>
                <a:ext cx="61817" cy="63722"/>
                <a:chOff x="5095970" y="3172777"/>
                <a:chExt cx="61817" cy="63722"/>
              </a:xfrm>
            </p:grpSpPr>
            <p:sp>
              <p:nvSpPr>
                <p:cNvPr id="11061" name="Freeform: Shape 11060">
                  <a:extLst>
                    <a:ext uri="{FF2B5EF4-FFF2-40B4-BE49-F238E27FC236}">
                      <a16:creationId xmlns:a16="http://schemas.microsoft.com/office/drawing/2014/main" id="{98AA22DD-2E93-94C9-0016-087643D53E04}"/>
                    </a:ext>
                  </a:extLst>
                </p:cNvPr>
                <p:cNvSpPr/>
                <p:nvPr/>
              </p:nvSpPr>
              <p:spPr bwMode="gray">
                <a:xfrm>
                  <a:off x="5126926"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62" name="Freeform: Shape 11061">
                  <a:extLst>
                    <a:ext uri="{FF2B5EF4-FFF2-40B4-BE49-F238E27FC236}">
                      <a16:creationId xmlns:a16="http://schemas.microsoft.com/office/drawing/2014/main" id="{44AC00DF-868E-BF9C-9C2E-19C892D3C9F0}"/>
                    </a:ext>
                  </a:extLst>
                </p:cNvPr>
                <p:cNvSpPr/>
                <p:nvPr/>
              </p:nvSpPr>
              <p:spPr bwMode="gray">
                <a:xfrm>
                  <a:off x="5095970"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59" name="Graphic 1443">
                <a:extLst>
                  <a:ext uri="{FF2B5EF4-FFF2-40B4-BE49-F238E27FC236}">
                    <a16:creationId xmlns:a16="http://schemas.microsoft.com/office/drawing/2014/main" id="{C5435F79-4A57-AFE9-C3C1-645A3C6BE5B9}"/>
                  </a:ext>
                </a:extLst>
              </p:cNvPr>
              <p:cNvGrpSpPr/>
              <p:nvPr/>
            </p:nvGrpSpPr>
            <p:grpSpPr bwMode="gray">
              <a:xfrm>
                <a:off x="5110924" y="3172777"/>
                <a:ext cx="61817" cy="63722"/>
                <a:chOff x="5110924" y="3172777"/>
                <a:chExt cx="61817" cy="63722"/>
              </a:xfrm>
            </p:grpSpPr>
            <p:sp>
              <p:nvSpPr>
                <p:cNvPr id="11059" name="Freeform: Shape 11058">
                  <a:extLst>
                    <a:ext uri="{FF2B5EF4-FFF2-40B4-BE49-F238E27FC236}">
                      <a16:creationId xmlns:a16="http://schemas.microsoft.com/office/drawing/2014/main" id="{67DD89C9-BCB4-F10F-0622-BD9951C2FF09}"/>
                    </a:ext>
                  </a:extLst>
                </p:cNvPr>
                <p:cNvSpPr/>
                <p:nvPr/>
              </p:nvSpPr>
              <p:spPr bwMode="gray">
                <a:xfrm>
                  <a:off x="5141785"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60" name="Freeform: Shape 11059">
                  <a:extLst>
                    <a:ext uri="{FF2B5EF4-FFF2-40B4-BE49-F238E27FC236}">
                      <a16:creationId xmlns:a16="http://schemas.microsoft.com/office/drawing/2014/main" id="{24EFA39D-C021-673D-EDD4-215177F7F4C5}"/>
                    </a:ext>
                  </a:extLst>
                </p:cNvPr>
                <p:cNvSpPr/>
                <p:nvPr/>
              </p:nvSpPr>
              <p:spPr bwMode="gray">
                <a:xfrm>
                  <a:off x="5110924"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0" name="Graphic 1443">
                <a:extLst>
                  <a:ext uri="{FF2B5EF4-FFF2-40B4-BE49-F238E27FC236}">
                    <a16:creationId xmlns:a16="http://schemas.microsoft.com/office/drawing/2014/main" id="{C98529FE-4198-98C4-7AD5-60A2CB09404B}"/>
                  </a:ext>
                </a:extLst>
              </p:cNvPr>
              <p:cNvGrpSpPr/>
              <p:nvPr/>
            </p:nvGrpSpPr>
            <p:grpSpPr bwMode="gray">
              <a:xfrm>
                <a:off x="5154739" y="3172777"/>
                <a:ext cx="61817" cy="63722"/>
                <a:chOff x="5154739" y="3172777"/>
                <a:chExt cx="61817" cy="63722"/>
              </a:xfrm>
            </p:grpSpPr>
            <p:sp>
              <p:nvSpPr>
                <p:cNvPr id="11057" name="Freeform: Shape 11056">
                  <a:extLst>
                    <a:ext uri="{FF2B5EF4-FFF2-40B4-BE49-F238E27FC236}">
                      <a16:creationId xmlns:a16="http://schemas.microsoft.com/office/drawing/2014/main" id="{27927393-1878-C9F6-127D-CF5D24150631}"/>
                    </a:ext>
                  </a:extLst>
                </p:cNvPr>
                <p:cNvSpPr/>
                <p:nvPr/>
              </p:nvSpPr>
              <p:spPr bwMode="gray">
                <a:xfrm>
                  <a:off x="5185600"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58" name="Freeform: Shape 11057">
                  <a:extLst>
                    <a:ext uri="{FF2B5EF4-FFF2-40B4-BE49-F238E27FC236}">
                      <a16:creationId xmlns:a16="http://schemas.microsoft.com/office/drawing/2014/main" id="{91C8BBC7-F46F-68AF-62BB-2C5A4FEE4B52}"/>
                    </a:ext>
                  </a:extLst>
                </p:cNvPr>
                <p:cNvSpPr/>
                <p:nvPr/>
              </p:nvSpPr>
              <p:spPr bwMode="gray">
                <a:xfrm>
                  <a:off x="5154739"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1" name="Graphic 1443">
                <a:extLst>
                  <a:ext uri="{FF2B5EF4-FFF2-40B4-BE49-F238E27FC236}">
                    <a16:creationId xmlns:a16="http://schemas.microsoft.com/office/drawing/2014/main" id="{F12AB8A5-70DA-58F6-486B-9F3E783D0108}"/>
                  </a:ext>
                </a:extLst>
              </p:cNvPr>
              <p:cNvGrpSpPr/>
              <p:nvPr/>
            </p:nvGrpSpPr>
            <p:grpSpPr bwMode="gray">
              <a:xfrm>
                <a:off x="5168455" y="3172777"/>
                <a:ext cx="61817" cy="63722"/>
                <a:chOff x="5168455" y="3172777"/>
                <a:chExt cx="61817" cy="63722"/>
              </a:xfrm>
            </p:grpSpPr>
            <p:sp>
              <p:nvSpPr>
                <p:cNvPr id="11055" name="Freeform: Shape 11054">
                  <a:extLst>
                    <a:ext uri="{FF2B5EF4-FFF2-40B4-BE49-F238E27FC236}">
                      <a16:creationId xmlns:a16="http://schemas.microsoft.com/office/drawing/2014/main" id="{DE578FAE-7FB1-803A-D66A-CE66C785086C}"/>
                    </a:ext>
                  </a:extLst>
                </p:cNvPr>
                <p:cNvSpPr/>
                <p:nvPr/>
              </p:nvSpPr>
              <p:spPr bwMode="gray">
                <a:xfrm>
                  <a:off x="5199411"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56" name="Freeform: Shape 11055">
                  <a:extLst>
                    <a:ext uri="{FF2B5EF4-FFF2-40B4-BE49-F238E27FC236}">
                      <a16:creationId xmlns:a16="http://schemas.microsoft.com/office/drawing/2014/main" id="{07D248BC-849A-B698-EC40-864F3024594F}"/>
                    </a:ext>
                  </a:extLst>
                </p:cNvPr>
                <p:cNvSpPr/>
                <p:nvPr/>
              </p:nvSpPr>
              <p:spPr bwMode="gray">
                <a:xfrm>
                  <a:off x="5168455"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2" name="Graphic 1443">
                <a:extLst>
                  <a:ext uri="{FF2B5EF4-FFF2-40B4-BE49-F238E27FC236}">
                    <a16:creationId xmlns:a16="http://schemas.microsoft.com/office/drawing/2014/main" id="{15D1B453-E68B-6C3D-6BEC-D5517D2E3286}"/>
                  </a:ext>
                </a:extLst>
              </p:cNvPr>
              <p:cNvGrpSpPr/>
              <p:nvPr/>
            </p:nvGrpSpPr>
            <p:grpSpPr bwMode="gray">
              <a:xfrm>
                <a:off x="5199411" y="3192208"/>
                <a:ext cx="61817" cy="63627"/>
                <a:chOff x="5199411" y="3192208"/>
                <a:chExt cx="61817" cy="63627"/>
              </a:xfrm>
            </p:grpSpPr>
            <p:sp>
              <p:nvSpPr>
                <p:cNvPr id="11053" name="Freeform: Shape 11052">
                  <a:extLst>
                    <a:ext uri="{FF2B5EF4-FFF2-40B4-BE49-F238E27FC236}">
                      <a16:creationId xmlns:a16="http://schemas.microsoft.com/office/drawing/2014/main" id="{72858C71-B3A0-FAC1-568F-7E34D15CE56B}"/>
                    </a:ext>
                  </a:extLst>
                </p:cNvPr>
                <p:cNvSpPr/>
                <p:nvPr/>
              </p:nvSpPr>
              <p:spPr bwMode="gray">
                <a:xfrm>
                  <a:off x="5230272"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54" name="Freeform: Shape 11053">
                  <a:extLst>
                    <a:ext uri="{FF2B5EF4-FFF2-40B4-BE49-F238E27FC236}">
                      <a16:creationId xmlns:a16="http://schemas.microsoft.com/office/drawing/2014/main" id="{E29CAD74-F05B-8F49-81C8-DAC6D00BB7C9}"/>
                    </a:ext>
                  </a:extLst>
                </p:cNvPr>
                <p:cNvSpPr/>
                <p:nvPr/>
              </p:nvSpPr>
              <p:spPr bwMode="gray">
                <a:xfrm>
                  <a:off x="5199411"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3" name="Graphic 1443">
                <a:extLst>
                  <a:ext uri="{FF2B5EF4-FFF2-40B4-BE49-F238E27FC236}">
                    <a16:creationId xmlns:a16="http://schemas.microsoft.com/office/drawing/2014/main" id="{278EF5B7-69D1-56C9-977A-73395E14D28B}"/>
                  </a:ext>
                </a:extLst>
              </p:cNvPr>
              <p:cNvGrpSpPr/>
              <p:nvPr/>
            </p:nvGrpSpPr>
            <p:grpSpPr bwMode="gray">
              <a:xfrm>
                <a:off x="5216842" y="3192208"/>
                <a:ext cx="61817" cy="63627"/>
                <a:chOff x="5216842" y="3192208"/>
                <a:chExt cx="61817" cy="63627"/>
              </a:xfrm>
            </p:grpSpPr>
            <p:sp>
              <p:nvSpPr>
                <p:cNvPr id="11051" name="Freeform: Shape 11050">
                  <a:extLst>
                    <a:ext uri="{FF2B5EF4-FFF2-40B4-BE49-F238E27FC236}">
                      <a16:creationId xmlns:a16="http://schemas.microsoft.com/office/drawing/2014/main" id="{539B02C9-19F5-4BB0-4C84-B133915B701B}"/>
                    </a:ext>
                  </a:extLst>
                </p:cNvPr>
                <p:cNvSpPr/>
                <p:nvPr/>
              </p:nvSpPr>
              <p:spPr bwMode="gray">
                <a:xfrm>
                  <a:off x="5247798"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52" name="Freeform: Shape 11051">
                  <a:extLst>
                    <a:ext uri="{FF2B5EF4-FFF2-40B4-BE49-F238E27FC236}">
                      <a16:creationId xmlns:a16="http://schemas.microsoft.com/office/drawing/2014/main" id="{87BE2CF8-BE34-3410-83D0-9B9D69E71556}"/>
                    </a:ext>
                  </a:extLst>
                </p:cNvPr>
                <p:cNvSpPr/>
                <p:nvPr/>
              </p:nvSpPr>
              <p:spPr bwMode="gray">
                <a:xfrm>
                  <a:off x="5216842"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4" name="Graphic 1443">
                <a:extLst>
                  <a:ext uri="{FF2B5EF4-FFF2-40B4-BE49-F238E27FC236}">
                    <a16:creationId xmlns:a16="http://schemas.microsoft.com/office/drawing/2014/main" id="{92FCB232-F2CA-63B5-A20D-338157928DF6}"/>
                  </a:ext>
                </a:extLst>
              </p:cNvPr>
              <p:cNvGrpSpPr/>
              <p:nvPr/>
            </p:nvGrpSpPr>
            <p:grpSpPr bwMode="gray">
              <a:xfrm>
                <a:off x="5239988" y="3192208"/>
                <a:ext cx="61817" cy="63627"/>
                <a:chOff x="5239988" y="3192208"/>
                <a:chExt cx="61817" cy="63627"/>
              </a:xfrm>
            </p:grpSpPr>
            <p:sp>
              <p:nvSpPr>
                <p:cNvPr id="11049" name="Freeform: Shape 11048">
                  <a:extLst>
                    <a:ext uri="{FF2B5EF4-FFF2-40B4-BE49-F238E27FC236}">
                      <a16:creationId xmlns:a16="http://schemas.microsoft.com/office/drawing/2014/main" id="{7864AD10-5E11-1A88-3F1B-A833E7481104}"/>
                    </a:ext>
                  </a:extLst>
                </p:cNvPr>
                <p:cNvSpPr/>
                <p:nvPr/>
              </p:nvSpPr>
              <p:spPr bwMode="gray">
                <a:xfrm>
                  <a:off x="5270849" y="3192208"/>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50" name="Freeform: Shape 11049">
                  <a:extLst>
                    <a:ext uri="{FF2B5EF4-FFF2-40B4-BE49-F238E27FC236}">
                      <a16:creationId xmlns:a16="http://schemas.microsoft.com/office/drawing/2014/main" id="{DB1AB0BA-DC56-3BD0-1EBC-83A73A187175}"/>
                    </a:ext>
                  </a:extLst>
                </p:cNvPr>
                <p:cNvSpPr/>
                <p:nvPr/>
              </p:nvSpPr>
              <p:spPr bwMode="gray">
                <a:xfrm>
                  <a:off x="5239988" y="322402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5" name="Graphic 1443">
                <a:extLst>
                  <a:ext uri="{FF2B5EF4-FFF2-40B4-BE49-F238E27FC236}">
                    <a16:creationId xmlns:a16="http://schemas.microsoft.com/office/drawing/2014/main" id="{4C8436BF-E3FB-5127-C734-C36E092A0972}"/>
                  </a:ext>
                </a:extLst>
              </p:cNvPr>
              <p:cNvGrpSpPr/>
              <p:nvPr/>
            </p:nvGrpSpPr>
            <p:grpSpPr bwMode="gray">
              <a:xfrm>
                <a:off x="5261229" y="3212972"/>
                <a:ext cx="61817" cy="63722"/>
                <a:chOff x="5261229" y="3212972"/>
                <a:chExt cx="61817" cy="63722"/>
              </a:xfrm>
            </p:grpSpPr>
            <p:sp>
              <p:nvSpPr>
                <p:cNvPr id="11047" name="Freeform: Shape 11046">
                  <a:extLst>
                    <a:ext uri="{FF2B5EF4-FFF2-40B4-BE49-F238E27FC236}">
                      <a16:creationId xmlns:a16="http://schemas.microsoft.com/office/drawing/2014/main" id="{04B4C5B8-0C05-C832-936F-4BFBA8A26BBA}"/>
                    </a:ext>
                  </a:extLst>
                </p:cNvPr>
                <p:cNvSpPr/>
                <p:nvPr/>
              </p:nvSpPr>
              <p:spPr bwMode="gray">
                <a:xfrm>
                  <a:off x="5292090" y="321297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48" name="Freeform: Shape 11047">
                  <a:extLst>
                    <a:ext uri="{FF2B5EF4-FFF2-40B4-BE49-F238E27FC236}">
                      <a16:creationId xmlns:a16="http://schemas.microsoft.com/office/drawing/2014/main" id="{F012423D-6567-88EF-1D0A-F29C0A7A7061}"/>
                    </a:ext>
                  </a:extLst>
                </p:cNvPr>
                <p:cNvSpPr/>
                <p:nvPr/>
              </p:nvSpPr>
              <p:spPr bwMode="gray">
                <a:xfrm>
                  <a:off x="5261229" y="324488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6" name="Graphic 1443">
                <a:extLst>
                  <a:ext uri="{FF2B5EF4-FFF2-40B4-BE49-F238E27FC236}">
                    <a16:creationId xmlns:a16="http://schemas.microsoft.com/office/drawing/2014/main" id="{2A49E67F-F20A-BE90-E817-33EF618E0110}"/>
                  </a:ext>
                </a:extLst>
              </p:cNvPr>
              <p:cNvGrpSpPr/>
              <p:nvPr/>
            </p:nvGrpSpPr>
            <p:grpSpPr bwMode="gray">
              <a:xfrm>
                <a:off x="5123783" y="3172777"/>
                <a:ext cx="61817" cy="63722"/>
                <a:chOff x="5123783" y="3172777"/>
                <a:chExt cx="61817" cy="63722"/>
              </a:xfrm>
            </p:grpSpPr>
            <p:sp>
              <p:nvSpPr>
                <p:cNvPr id="11045" name="Freeform: Shape 11044">
                  <a:extLst>
                    <a:ext uri="{FF2B5EF4-FFF2-40B4-BE49-F238E27FC236}">
                      <a16:creationId xmlns:a16="http://schemas.microsoft.com/office/drawing/2014/main" id="{16B65BDF-4D16-CFB8-7079-D980AB9D030D}"/>
                    </a:ext>
                  </a:extLst>
                </p:cNvPr>
                <p:cNvSpPr/>
                <p:nvPr/>
              </p:nvSpPr>
              <p:spPr bwMode="gray">
                <a:xfrm>
                  <a:off x="5154739" y="317277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46" name="Freeform: Shape 11045">
                  <a:extLst>
                    <a:ext uri="{FF2B5EF4-FFF2-40B4-BE49-F238E27FC236}">
                      <a16:creationId xmlns:a16="http://schemas.microsoft.com/office/drawing/2014/main" id="{86844815-6A9B-0FDB-8C3C-00ECE1A25EAE}"/>
                    </a:ext>
                  </a:extLst>
                </p:cNvPr>
                <p:cNvSpPr/>
                <p:nvPr/>
              </p:nvSpPr>
              <p:spPr bwMode="gray">
                <a:xfrm>
                  <a:off x="5123783" y="320459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7" name="Graphic 1443">
                <a:extLst>
                  <a:ext uri="{FF2B5EF4-FFF2-40B4-BE49-F238E27FC236}">
                    <a16:creationId xmlns:a16="http://schemas.microsoft.com/office/drawing/2014/main" id="{B3E83DF8-D660-5878-594E-A4D0C8E80CC0}"/>
                  </a:ext>
                </a:extLst>
              </p:cNvPr>
              <p:cNvGrpSpPr/>
              <p:nvPr/>
            </p:nvGrpSpPr>
            <p:grpSpPr bwMode="gray">
              <a:xfrm>
                <a:off x="5304853" y="3221164"/>
                <a:ext cx="61817" cy="63722"/>
                <a:chOff x="5304853" y="3221164"/>
                <a:chExt cx="61817" cy="63722"/>
              </a:xfrm>
            </p:grpSpPr>
            <p:sp>
              <p:nvSpPr>
                <p:cNvPr id="11043" name="Freeform: Shape 11042">
                  <a:extLst>
                    <a:ext uri="{FF2B5EF4-FFF2-40B4-BE49-F238E27FC236}">
                      <a16:creationId xmlns:a16="http://schemas.microsoft.com/office/drawing/2014/main" id="{5A9F44CC-396F-E053-F535-D01A3523A66F}"/>
                    </a:ext>
                  </a:extLst>
                </p:cNvPr>
                <p:cNvSpPr/>
                <p:nvPr/>
              </p:nvSpPr>
              <p:spPr bwMode="gray">
                <a:xfrm>
                  <a:off x="5335809" y="322116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44" name="Freeform: Shape 11043">
                  <a:extLst>
                    <a:ext uri="{FF2B5EF4-FFF2-40B4-BE49-F238E27FC236}">
                      <a16:creationId xmlns:a16="http://schemas.microsoft.com/office/drawing/2014/main" id="{6774538E-B22D-AC4E-7069-3794295CA410}"/>
                    </a:ext>
                  </a:extLst>
                </p:cNvPr>
                <p:cNvSpPr/>
                <p:nvPr/>
              </p:nvSpPr>
              <p:spPr bwMode="gray">
                <a:xfrm>
                  <a:off x="5304853" y="32529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8" name="Graphic 1443">
                <a:extLst>
                  <a:ext uri="{FF2B5EF4-FFF2-40B4-BE49-F238E27FC236}">
                    <a16:creationId xmlns:a16="http://schemas.microsoft.com/office/drawing/2014/main" id="{2EA79D78-2EB9-26FF-4FC0-FA45ACB743C1}"/>
                  </a:ext>
                </a:extLst>
              </p:cNvPr>
              <p:cNvGrpSpPr/>
              <p:nvPr/>
            </p:nvGrpSpPr>
            <p:grpSpPr bwMode="gray">
              <a:xfrm>
                <a:off x="5611368" y="3304031"/>
                <a:ext cx="61817" cy="63722"/>
                <a:chOff x="5611368" y="3304031"/>
                <a:chExt cx="61817" cy="63722"/>
              </a:xfrm>
            </p:grpSpPr>
            <p:sp>
              <p:nvSpPr>
                <p:cNvPr id="11041" name="Freeform: Shape 11040">
                  <a:extLst>
                    <a:ext uri="{FF2B5EF4-FFF2-40B4-BE49-F238E27FC236}">
                      <a16:creationId xmlns:a16="http://schemas.microsoft.com/office/drawing/2014/main" id="{2EFC2F41-6C2B-FDD9-CAAD-17D444E0D052}"/>
                    </a:ext>
                  </a:extLst>
                </p:cNvPr>
                <p:cNvSpPr/>
                <p:nvPr/>
              </p:nvSpPr>
              <p:spPr bwMode="gray">
                <a:xfrm>
                  <a:off x="564222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42" name="Freeform: Shape 11041">
                  <a:extLst>
                    <a:ext uri="{FF2B5EF4-FFF2-40B4-BE49-F238E27FC236}">
                      <a16:creationId xmlns:a16="http://schemas.microsoft.com/office/drawing/2014/main" id="{4C3F6432-637F-333F-9F12-6CA4A43B5437}"/>
                    </a:ext>
                  </a:extLst>
                </p:cNvPr>
                <p:cNvSpPr/>
                <p:nvPr/>
              </p:nvSpPr>
              <p:spPr bwMode="gray">
                <a:xfrm>
                  <a:off x="561136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69" name="Graphic 1443">
                <a:extLst>
                  <a:ext uri="{FF2B5EF4-FFF2-40B4-BE49-F238E27FC236}">
                    <a16:creationId xmlns:a16="http://schemas.microsoft.com/office/drawing/2014/main" id="{46F78592-B252-4611-0D32-53CDF25B6D82}"/>
                  </a:ext>
                </a:extLst>
              </p:cNvPr>
              <p:cNvGrpSpPr/>
              <p:nvPr/>
            </p:nvGrpSpPr>
            <p:grpSpPr bwMode="gray">
              <a:xfrm>
                <a:off x="5634228" y="3304031"/>
                <a:ext cx="61817" cy="63722"/>
                <a:chOff x="5634228" y="3304031"/>
                <a:chExt cx="61817" cy="63722"/>
              </a:xfrm>
            </p:grpSpPr>
            <p:sp>
              <p:nvSpPr>
                <p:cNvPr id="11039" name="Freeform: Shape 11038">
                  <a:extLst>
                    <a:ext uri="{FF2B5EF4-FFF2-40B4-BE49-F238E27FC236}">
                      <a16:creationId xmlns:a16="http://schemas.microsoft.com/office/drawing/2014/main" id="{A2322810-C19B-A625-AA69-C694793925DD}"/>
                    </a:ext>
                  </a:extLst>
                </p:cNvPr>
                <p:cNvSpPr/>
                <p:nvPr/>
              </p:nvSpPr>
              <p:spPr bwMode="gray">
                <a:xfrm>
                  <a:off x="5665089"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40" name="Freeform: Shape 11039">
                  <a:extLst>
                    <a:ext uri="{FF2B5EF4-FFF2-40B4-BE49-F238E27FC236}">
                      <a16:creationId xmlns:a16="http://schemas.microsoft.com/office/drawing/2014/main" id="{594C119C-8406-6541-684F-29E6FCF1BFDE}"/>
                    </a:ext>
                  </a:extLst>
                </p:cNvPr>
                <p:cNvSpPr/>
                <p:nvPr/>
              </p:nvSpPr>
              <p:spPr bwMode="gray">
                <a:xfrm>
                  <a:off x="5634228"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0" name="Graphic 1443">
                <a:extLst>
                  <a:ext uri="{FF2B5EF4-FFF2-40B4-BE49-F238E27FC236}">
                    <a16:creationId xmlns:a16="http://schemas.microsoft.com/office/drawing/2014/main" id="{E67C8941-2E33-AE93-1ED7-613F55E167D6}"/>
                  </a:ext>
                </a:extLst>
              </p:cNvPr>
              <p:cNvGrpSpPr/>
              <p:nvPr/>
            </p:nvGrpSpPr>
            <p:grpSpPr bwMode="gray">
              <a:xfrm>
                <a:off x="5645086" y="3304031"/>
                <a:ext cx="61817" cy="63722"/>
                <a:chOff x="5645086" y="3304031"/>
                <a:chExt cx="61817" cy="63722"/>
              </a:xfrm>
            </p:grpSpPr>
            <p:sp>
              <p:nvSpPr>
                <p:cNvPr id="11037" name="Freeform: Shape 11036">
                  <a:extLst>
                    <a:ext uri="{FF2B5EF4-FFF2-40B4-BE49-F238E27FC236}">
                      <a16:creationId xmlns:a16="http://schemas.microsoft.com/office/drawing/2014/main" id="{371EEB84-39A9-D4D2-823B-38D7850C2A2E}"/>
                    </a:ext>
                  </a:extLst>
                </p:cNvPr>
                <p:cNvSpPr/>
                <p:nvPr/>
              </p:nvSpPr>
              <p:spPr bwMode="gray">
                <a:xfrm>
                  <a:off x="5676042" y="33040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38" name="Freeform: Shape 11037">
                  <a:extLst>
                    <a:ext uri="{FF2B5EF4-FFF2-40B4-BE49-F238E27FC236}">
                      <a16:creationId xmlns:a16="http://schemas.microsoft.com/office/drawing/2014/main" id="{DF58C9DA-356F-CB38-A805-8C9A3538BF8F}"/>
                    </a:ext>
                  </a:extLst>
                </p:cNvPr>
                <p:cNvSpPr/>
                <p:nvPr/>
              </p:nvSpPr>
              <p:spPr bwMode="gray">
                <a:xfrm>
                  <a:off x="5645086" y="333594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1" name="Graphic 1443">
                <a:extLst>
                  <a:ext uri="{FF2B5EF4-FFF2-40B4-BE49-F238E27FC236}">
                    <a16:creationId xmlns:a16="http://schemas.microsoft.com/office/drawing/2014/main" id="{D3CE754A-4CB8-9646-5013-C4ACEBB73435}"/>
                  </a:ext>
                </a:extLst>
              </p:cNvPr>
              <p:cNvGrpSpPr/>
              <p:nvPr/>
            </p:nvGrpSpPr>
            <p:grpSpPr bwMode="gray">
              <a:xfrm>
                <a:off x="5715095" y="3320795"/>
                <a:ext cx="61817" cy="63722"/>
                <a:chOff x="5715095" y="3320795"/>
                <a:chExt cx="61817" cy="63722"/>
              </a:xfrm>
            </p:grpSpPr>
            <p:sp>
              <p:nvSpPr>
                <p:cNvPr id="11035" name="Freeform: Shape 11034">
                  <a:extLst>
                    <a:ext uri="{FF2B5EF4-FFF2-40B4-BE49-F238E27FC236}">
                      <a16:creationId xmlns:a16="http://schemas.microsoft.com/office/drawing/2014/main" id="{F50015CF-9D63-9DA1-EA06-5A5A3786C8A5}"/>
                    </a:ext>
                  </a:extLst>
                </p:cNvPr>
                <p:cNvSpPr/>
                <p:nvPr/>
              </p:nvSpPr>
              <p:spPr bwMode="gray">
                <a:xfrm>
                  <a:off x="5746051" y="332079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36" name="Freeform: Shape 11035">
                  <a:extLst>
                    <a:ext uri="{FF2B5EF4-FFF2-40B4-BE49-F238E27FC236}">
                      <a16:creationId xmlns:a16="http://schemas.microsoft.com/office/drawing/2014/main" id="{0CBCE88A-A0A5-8897-68C9-3232CCBB723F}"/>
                    </a:ext>
                  </a:extLst>
                </p:cNvPr>
                <p:cNvSpPr/>
                <p:nvPr/>
              </p:nvSpPr>
              <p:spPr bwMode="gray">
                <a:xfrm>
                  <a:off x="5715095" y="335270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2" name="Graphic 1443">
                <a:extLst>
                  <a:ext uri="{FF2B5EF4-FFF2-40B4-BE49-F238E27FC236}">
                    <a16:creationId xmlns:a16="http://schemas.microsoft.com/office/drawing/2014/main" id="{07ACBEE6-2458-9B06-B656-98872760A897}"/>
                  </a:ext>
                </a:extLst>
              </p:cNvPr>
              <p:cNvGrpSpPr/>
              <p:nvPr/>
            </p:nvGrpSpPr>
            <p:grpSpPr bwMode="gray">
              <a:xfrm>
                <a:off x="5729001" y="3325843"/>
                <a:ext cx="61817" cy="63722"/>
                <a:chOff x="5729001" y="3325843"/>
                <a:chExt cx="61817" cy="63722"/>
              </a:xfrm>
            </p:grpSpPr>
            <p:sp>
              <p:nvSpPr>
                <p:cNvPr id="11033" name="Freeform: Shape 11032">
                  <a:extLst>
                    <a:ext uri="{FF2B5EF4-FFF2-40B4-BE49-F238E27FC236}">
                      <a16:creationId xmlns:a16="http://schemas.microsoft.com/office/drawing/2014/main" id="{BDA6974C-2EDC-665E-C6CA-F1A70FBB6C31}"/>
                    </a:ext>
                  </a:extLst>
                </p:cNvPr>
                <p:cNvSpPr/>
                <p:nvPr/>
              </p:nvSpPr>
              <p:spPr bwMode="gray">
                <a:xfrm>
                  <a:off x="5759958"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34" name="Freeform: Shape 11033">
                  <a:extLst>
                    <a:ext uri="{FF2B5EF4-FFF2-40B4-BE49-F238E27FC236}">
                      <a16:creationId xmlns:a16="http://schemas.microsoft.com/office/drawing/2014/main" id="{F92CB475-055A-5FD6-293E-6C24CB66F16F}"/>
                    </a:ext>
                  </a:extLst>
                </p:cNvPr>
                <p:cNvSpPr/>
                <p:nvPr/>
              </p:nvSpPr>
              <p:spPr bwMode="gray">
                <a:xfrm>
                  <a:off x="572900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3" name="Graphic 1443">
                <a:extLst>
                  <a:ext uri="{FF2B5EF4-FFF2-40B4-BE49-F238E27FC236}">
                    <a16:creationId xmlns:a16="http://schemas.microsoft.com/office/drawing/2014/main" id="{D45DF3CB-F627-5798-0F8C-B94432C85FFA}"/>
                  </a:ext>
                </a:extLst>
              </p:cNvPr>
              <p:cNvGrpSpPr/>
              <p:nvPr/>
            </p:nvGrpSpPr>
            <p:grpSpPr bwMode="gray">
              <a:xfrm>
                <a:off x="5738431" y="3325843"/>
                <a:ext cx="61817" cy="63722"/>
                <a:chOff x="5738431" y="3325843"/>
                <a:chExt cx="61817" cy="63722"/>
              </a:xfrm>
            </p:grpSpPr>
            <p:sp>
              <p:nvSpPr>
                <p:cNvPr id="11031" name="Freeform: Shape 11030">
                  <a:extLst>
                    <a:ext uri="{FF2B5EF4-FFF2-40B4-BE49-F238E27FC236}">
                      <a16:creationId xmlns:a16="http://schemas.microsoft.com/office/drawing/2014/main" id="{3DFFD409-1DC7-D68D-E22A-F9FBC823F18A}"/>
                    </a:ext>
                  </a:extLst>
                </p:cNvPr>
                <p:cNvSpPr/>
                <p:nvPr/>
              </p:nvSpPr>
              <p:spPr bwMode="gray">
                <a:xfrm>
                  <a:off x="5769387" y="33258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32" name="Freeform: Shape 11031">
                  <a:extLst>
                    <a:ext uri="{FF2B5EF4-FFF2-40B4-BE49-F238E27FC236}">
                      <a16:creationId xmlns:a16="http://schemas.microsoft.com/office/drawing/2014/main" id="{ECD6CCB4-C619-DF0B-A449-62956AD86449}"/>
                    </a:ext>
                  </a:extLst>
                </p:cNvPr>
                <p:cNvSpPr/>
                <p:nvPr/>
              </p:nvSpPr>
              <p:spPr bwMode="gray">
                <a:xfrm>
                  <a:off x="5738431" y="33577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4" name="Graphic 1443">
                <a:extLst>
                  <a:ext uri="{FF2B5EF4-FFF2-40B4-BE49-F238E27FC236}">
                    <a16:creationId xmlns:a16="http://schemas.microsoft.com/office/drawing/2014/main" id="{FDAAD3BB-3BD9-4739-174E-171B25248D24}"/>
                  </a:ext>
                </a:extLst>
              </p:cNvPr>
              <p:cNvGrpSpPr/>
              <p:nvPr/>
            </p:nvGrpSpPr>
            <p:grpSpPr bwMode="gray">
              <a:xfrm>
                <a:off x="3613689" y="2786252"/>
                <a:ext cx="61817" cy="63722"/>
                <a:chOff x="3613689" y="2786252"/>
                <a:chExt cx="61817" cy="63722"/>
              </a:xfrm>
            </p:grpSpPr>
            <p:sp>
              <p:nvSpPr>
                <p:cNvPr id="11029" name="Freeform: Shape 11028">
                  <a:extLst>
                    <a:ext uri="{FF2B5EF4-FFF2-40B4-BE49-F238E27FC236}">
                      <a16:creationId xmlns:a16="http://schemas.microsoft.com/office/drawing/2014/main" id="{B161A357-4136-8085-7E61-C782B48D5156}"/>
                    </a:ext>
                  </a:extLst>
                </p:cNvPr>
                <p:cNvSpPr/>
                <p:nvPr/>
              </p:nvSpPr>
              <p:spPr bwMode="gray">
                <a:xfrm>
                  <a:off x="3644646" y="27862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30" name="Freeform: Shape 11029">
                  <a:extLst>
                    <a:ext uri="{FF2B5EF4-FFF2-40B4-BE49-F238E27FC236}">
                      <a16:creationId xmlns:a16="http://schemas.microsoft.com/office/drawing/2014/main" id="{332A772F-6819-D62F-C31F-AEB659B342DE}"/>
                    </a:ext>
                  </a:extLst>
                </p:cNvPr>
                <p:cNvSpPr/>
                <p:nvPr/>
              </p:nvSpPr>
              <p:spPr bwMode="gray">
                <a:xfrm>
                  <a:off x="3613689" y="28180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5" name="Graphic 1443">
                <a:extLst>
                  <a:ext uri="{FF2B5EF4-FFF2-40B4-BE49-F238E27FC236}">
                    <a16:creationId xmlns:a16="http://schemas.microsoft.com/office/drawing/2014/main" id="{F9691F7C-5960-395E-CA51-8BF10206AA95}"/>
                  </a:ext>
                </a:extLst>
              </p:cNvPr>
              <p:cNvGrpSpPr/>
              <p:nvPr/>
            </p:nvGrpSpPr>
            <p:grpSpPr bwMode="gray">
              <a:xfrm>
                <a:off x="3843337" y="2797682"/>
                <a:ext cx="61817" cy="63722"/>
                <a:chOff x="3843337" y="2797682"/>
                <a:chExt cx="61817" cy="63722"/>
              </a:xfrm>
            </p:grpSpPr>
            <p:sp>
              <p:nvSpPr>
                <p:cNvPr id="11027" name="Freeform: Shape 11026">
                  <a:extLst>
                    <a:ext uri="{FF2B5EF4-FFF2-40B4-BE49-F238E27FC236}">
                      <a16:creationId xmlns:a16="http://schemas.microsoft.com/office/drawing/2014/main" id="{EC73C3E5-A25B-BA47-AA99-CAA3FA7C62F6}"/>
                    </a:ext>
                  </a:extLst>
                </p:cNvPr>
                <p:cNvSpPr/>
                <p:nvPr/>
              </p:nvSpPr>
              <p:spPr bwMode="gray">
                <a:xfrm>
                  <a:off x="3874293" y="279768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28" name="Freeform: Shape 11027">
                  <a:extLst>
                    <a:ext uri="{FF2B5EF4-FFF2-40B4-BE49-F238E27FC236}">
                      <a16:creationId xmlns:a16="http://schemas.microsoft.com/office/drawing/2014/main" id="{B903C541-5906-8F43-717E-867AEC15A796}"/>
                    </a:ext>
                  </a:extLst>
                </p:cNvPr>
                <p:cNvSpPr/>
                <p:nvPr/>
              </p:nvSpPr>
              <p:spPr bwMode="gray">
                <a:xfrm>
                  <a:off x="3843337" y="282949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6" name="Graphic 1443">
                <a:extLst>
                  <a:ext uri="{FF2B5EF4-FFF2-40B4-BE49-F238E27FC236}">
                    <a16:creationId xmlns:a16="http://schemas.microsoft.com/office/drawing/2014/main" id="{7C08371A-E0A7-C632-09F9-7F5F604B99E6}"/>
                  </a:ext>
                </a:extLst>
              </p:cNvPr>
              <p:cNvGrpSpPr/>
              <p:nvPr/>
            </p:nvGrpSpPr>
            <p:grpSpPr bwMode="gray">
              <a:xfrm>
                <a:off x="4112609" y="2849974"/>
                <a:ext cx="61817" cy="63627"/>
                <a:chOff x="4112609" y="2849974"/>
                <a:chExt cx="61817" cy="63627"/>
              </a:xfrm>
            </p:grpSpPr>
            <p:sp>
              <p:nvSpPr>
                <p:cNvPr id="11025" name="Freeform: Shape 11024">
                  <a:extLst>
                    <a:ext uri="{FF2B5EF4-FFF2-40B4-BE49-F238E27FC236}">
                      <a16:creationId xmlns:a16="http://schemas.microsoft.com/office/drawing/2014/main" id="{4AC19B7B-D8EA-2537-F1BD-62D8CCCE34BD}"/>
                    </a:ext>
                  </a:extLst>
                </p:cNvPr>
                <p:cNvSpPr/>
                <p:nvPr/>
              </p:nvSpPr>
              <p:spPr bwMode="gray">
                <a:xfrm>
                  <a:off x="4143470" y="2849974"/>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26" name="Freeform: Shape 11025">
                  <a:extLst>
                    <a:ext uri="{FF2B5EF4-FFF2-40B4-BE49-F238E27FC236}">
                      <a16:creationId xmlns:a16="http://schemas.microsoft.com/office/drawing/2014/main" id="{DBB4BA8F-31C2-E446-E7F5-73BB3CDDB63A}"/>
                    </a:ext>
                  </a:extLst>
                </p:cNvPr>
                <p:cNvSpPr/>
                <p:nvPr/>
              </p:nvSpPr>
              <p:spPr bwMode="gray">
                <a:xfrm>
                  <a:off x="4112609" y="288178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7" name="Graphic 1443">
                <a:extLst>
                  <a:ext uri="{FF2B5EF4-FFF2-40B4-BE49-F238E27FC236}">
                    <a16:creationId xmlns:a16="http://schemas.microsoft.com/office/drawing/2014/main" id="{A8DE1100-4EF4-4753-983F-ADD5FFDC9BE3}"/>
                  </a:ext>
                </a:extLst>
              </p:cNvPr>
              <p:cNvGrpSpPr/>
              <p:nvPr/>
            </p:nvGrpSpPr>
            <p:grpSpPr bwMode="gray">
              <a:xfrm>
                <a:off x="4233672" y="2891694"/>
                <a:ext cx="61817" cy="63722"/>
                <a:chOff x="4233672" y="2891694"/>
                <a:chExt cx="61817" cy="63722"/>
              </a:xfrm>
            </p:grpSpPr>
            <p:sp>
              <p:nvSpPr>
                <p:cNvPr id="11023" name="Freeform: Shape 11022">
                  <a:extLst>
                    <a:ext uri="{FF2B5EF4-FFF2-40B4-BE49-F238E27FC236}">
                      <a16:creationId xmlns:a16="http://schemas.microsoft.com/office/drawing/2014/main" id="{A89EBF33-5355-CD7A-65CA-DA64EC22E087}"/>
                    </a:ext>
                  </a:extLst>
                </p:cNvPr>
                <p:cNvSpPr/>
                <p:nvPr/>
              </p:nvSpPr>
              <p:spPr bwMode="gray">
                <a:xfrm>
                  <a:off x="4264628" y="289169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24" name="Freeform: Shape 11023">
                  <a:extLst>
                    <a:ext uri="{FF2B5EF4-FFF2-40B4-BE49-F238E27FC236}">
                      <a16:creationId xmlns:a16="http://schemas.microsoft.com/office/drawing/2014/main" id="{9B138676-F134-1CD7-EFD4-A50C2A69B46A}"/>
                    </a:ext>
                  </a:extLst>
                </p:cNvPr>
                <p:cNvSpPr/>
                <p:nvPr/>
              </p:nvSpPr>
              <p:spPr bwMode="gray">
                <a:xfrm>
                  <a:off x="4233672" y="292360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8" name="Graphic 1443">
                <a:extLst>
                  <a:ext uri="{FF2B5EF4-FFF2-40B4-BE49-F238E27FC236}">
                    <a16:creationId xmlns:a16="http://schemas.microsoft.com/office/drawing/2014/main" id="{748C1444-9819-8FDF-A832-86776966D805}"/>
                  </a:ext>
                </a:extLst>
              </p:cNvPr>
              <p:cNvGrpSpPr/>
              <p:nvPr/>
            </p:nvGrpSpPr>
            <p:grpSpPr bwMode="gray">
              <a:xfrm>
                <a:off x="4311205" y="2929222"/>
                <a:ext cx="61817" cy="63722"/>
                <a:chOff x="4311205" y="2929222"/>
                <a:chExt cx="61817" cy="63722"/>
              </a:xfrm>
            </p:grpSpPr>
            <p:sp>
              <p:nvSpPr>
                <p:cNvPr id="11021" name="Freeform: Shape 11020">
                  <a:extLst>
                    <a:ext uri="{FF2B5EF4-FFF2-40B4-BE49-F238E27FC236}">
                      <a16:creationId xmlns:a16="http://schemas.microsoft.com/office/drawing/2014/main" id="{01548A8D-C0BC-B1B6-40D3-C5B62C1628B3}"/>
                    </a:ext>
                  </a:extLst>
                </p:cNvPr>
                <p:cNvSpPr/>
                <p:nvPr/>
              </p:nvSpPr>
              <p:spPr bwMode="gray">
                <a:xfrm>
                  <a:off x="4342066" y="292922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22" name="Freeform: Shape 11021">
                  <a:extLst>
                    <a:ext uri="{FF2B5EF4-FFF2-40B4-BE49-F238E27FC236}">
                      <a16:creationId xmlns:a16="http://schemas.microsoft.com/office/drawing/2014/main" id="{32B4EAA7-2989-04EC-B8B7-778C0647E684}"/>
                    </a:ext>
                  </a:extLst>
                </p:cNvPr>
                <p:cNvSpPr/>
                <p:nvPr/>
              </p:nvSpPr>
              <p:spPr bwMode="gray">
                <a:xfrm>
                  <a:off x="4311205" y="296113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79" name="Graphic 1443">
                <a:extLst>
                  <a:ext uri="{FF2B5EF4-FFF2-40B4-BE49-F238E27FC236}">
                    <a16:creationId xmlns:a16="http://schemas.microsoft.com/office/drawing/2014/main" id="{84DE6205-BC9B-6063-498E-EE86E589C854}"/>
                  </a:ext>
                </a:extLst>
              </p:cNvPr>
              <p:cNvGrpSpPr/>
              <p:nvPr/>
            </p:nvGrpSpPr>
            <p:grpSpPr bwMode="gray">
              <a:xfrm>
                <a:off x="4337018" y="2938176"/>
                <a:ext cx="61817" cy="63627"/>
                <a:chOff x="4337018" y="2938176"/>
                <a:chExt cx="61817" cy="63627"/>
              </a:xfrm>
            </p:grpSpPr>
            <p:sp>
              <p:nvSpPr>
                <p:cNvPr id="11019" name="Freeform: Shape 11018">
                  <a:extLst>
                    <a:ext uri="{FF2B5EF4-FFF2-40B4-BE49-F238E27FC236}">
                      <a16:creationId xmlns:a16="http://schemas.microsoft.com/office/drawing/2014/main" id="{675BE612-E916-A8B1-44E2-5B751AB25E18}"/>
                    </a:ext>
                  </a:extLst>
                </p:cNvPr>
                <p:cNvSpPr/>
                <p:nvPr/>
              </p:nvSpPr>
              <p:spPr bwMode="gray">
                <a:xfrm>
                  <a:off x="4367879" y="2938176"/>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20" name="Freeform: Shape 11019">
                  <a:extLst>
                    <a:ext uri="{FF2B5EF4-FFF2-40B4-BE49-F238E27FC236}">
                      <a16:creationId xmlns:a16="http://schemas.microsoft.com/office/drawing/2014/main" id="{390F879D-3BBE-C037-3089-220C77B90CBF}"/>
                    </a:ext>
                  </a:extLst>
                </p:cNvPr>
                <p:cNvSpPr/>
                <p:nvPr/>
              </p:nvSpPr>
              <p:spPr bwMode="gray">
                <a:xfrm>
                  <a:off x="4337018" y="29699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0" name="Graphic 1443">
                <a:extLst>
                  <a:ext uri="{FF2B5EF4-FFF2-40B4-BE49-F238E27FC236}">
                    <a16:creationId xmlns:a16="http://schemas.microsoft.com/office/drawing/2014/main" id="{A9FC9581-7692-4EBC-F10A-5725A4549FA1}"/>
                  </a:ext>
                </a:extLst>
              </p:cNvPr>
              <p:cNvGrpSpPr/>
              <p:nvPr/>
            </p:nvGrpSpPr>
            <p:grpSpPr bwMode="gray">
              <a:xfrm>
                <a:off x="4373022" y="2949701"/>
                <a:ext cx="61817" cy="63722"/>
                <a:chOff x="4373022" y="2949701"/>
                <a:chExt cx="61817" cy="63722"/>
              </a:xfrm>
            </p:grpSpPr>
            <p:sp>
              <p:nvSpPr>
                <p:cNvPr id="11017" name="Freeform: Shape 11016">
                  <a:extLst>
                    <a:ext uri="{FF2B5EF4-FFF2-40B4-BE49-F238E27FC236}">
                      <a16:creationId xmlns:a16="http://schemas.microsoft.com/office/drawing/2014/main" id="{869A63AE-EA3C-13CD-A5E7-A1078227453C}"/>
                    </a:ext>
                  </a:extLst>
                </p:cNvPr>
                <p:cNvSpPr/>
                <p:nvPr/>
              </p:nvSpPr>
              <p:spPr bwMode="gray">
                <a:xfrm>
                  <a:off x="4403883"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18" name="Freeform: Shape 11017">
                  <a:extLst>
                    <a:ext uri="{FF2B5EF4-FFF2-40B4-BE49-F238E27FC236}">
                      <a16:creationId xmlns:a16="http://schemas.microsoft.com/office/drawing/2014/main" id="{55731D6D-8307-F2CC-A93D-16AA5C2D833F}"/>
                    </a:ext>
                  </a:extLst>
                </p:cNvPr>
                <p:cNvSpPr/>
                <p:nvPr/>
              </p:nvSpPr>
              <p:spPr bwMode="gray">
                <a:xfrm>
                  <a:off x="437302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1" name="Graphic 1443">
                <a:extLst>
                  <a:ext uri="{FF2B5EF4-FFF2-40B4-BE49-F238E27FC236}">
                    <a16:creationId xmlns:a16="http://schemas.microsoft.com/office/drawing/2014/main" id="{40A9D796-0E3F-2DE5-BC9D-2864FE6083E0}"/>
                  </a:ext>
                </a:extLst>
              </p:cNvPr>
              <p:cNvGrpSpPr/>
              <p:nvPr/>
            </p:nvGrpSpPr>
            <p:grpSpPr bwMode="gray">
              <a:xfrm>
                <a:off x="4403883" y="2949701"/>
                <a:ext cx="61817" cy="63722"/>
                <a:chOff x="4403883" y="2949701"/>
                <a:chExt cx="61817" cy="63722"/>
              </a:xfrm>
            </p:grpSpPr>
            <p:sp>
              <p:nvSpPr>
                <p:cNvPr id="11015" name="Freeform: Shape 11014">
                  <a:extLst>
                    <a:ext uri="{FF2B5EF4-FFF2-40B4-BE49-F238E27FC236}">
                      <a16:creationId xmlns:a16="http://schemas.microsoft.com/office/drawing/2014/main" id="{FF1F43A6-88E1-5BA3-92D5-75949DC8C093}"/>
                    </a:ext>
                  </a:extLst>
                </p:cNvPr>
                <p:cNvSpPr/>
                <p:nvPr/>
              </p:nvSpPr>
              <p:spPr bwMode="gray">
                <a:xfrm>
                  <a:off x="4434840"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16" name="Freeform: Shape 11015">
                  <a:extLst>
                    <a:ext uri="{FF2B5EF4-FFF2-40B4-BE49-F238E27FC236}">
                      <a16:creationId xmlns:a16="http://schemas.microsoft.com/office/drawing/2014/main" id="{8A3B0C4E-EB46-E5A0-D5F6-258A652AF378}"/>
                    </a:ext>
                  </a:extLst>
                </p:cNvPr>
                <p:cNvSpPr/>
                <p:nvPr/>
              </p:nvSpPr>
              <p:spPr bwMode="gray">
                <a:xfrm>
                  <a:off x="440388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2" name="Graphic 1443">
                <a:extLst>
                  <a:ext uri="{FF2B5EF4-FFF2-40B4-BE49-F238E27FC236}">
                    <a16:creationId xmlns:a16="http://schemas.microsoft.com/office/drawing/2014/main" id="{B5F364E1-4E36-F101-AD9B-463939F3F15D}"/>
                  </a:ext>
                </a:extLst>
              </p:cNvPr>
              <p:cNvGrpSpPr/>
              <p:nvPr/>
            </p:nvGrpSpPr>
            <p:grpSpPr bwMode="gray">
              <a:xfrm>
                <a:off x="4450842" y="2949701"/>
                <a:ext cx="61817" cy="63722"/>
                <a:chOff x="4450842" y="2949701"/>
                <a:chExt cx="61817" cy="63722"/>
              </a:xfrm>
            </p:grpSpPr>
            <p:sp>
              <p:nvSpPr>
                <p:cNvPr id="11013" name="Freeform: Shape 11012">
                  <a:extLst>
                    <a:ext uri="{FF2B5EF4-FFF2-40B4-BE49-F238E27FC236}">
                      <a16:creationId xmlns:a16="http://schemas.microsoft.com/office/drawing/2014/main" id="{FDBEA963-3CF7-A2F9-88DB-305BE3127D6D}"/>
                    </a:ext>
                  </a:extLst>
                </p:cNvPr>
                <p:cNvSpPr/>
                <p:nvPr/>
              </p:nvSpPr>
              <p:spPr bwMode="gray">
                <a:xfrm>
                  <a:off x="4481798"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14" name="Freeform: Shape 11013">
                  <a:extLst>
                    <a:ext uri="{FF2B5EF4-FFF2-40B4-BE49-F238E27FC236}">
                      <a16:creationId xmlns:a16="http://schemas.microsoft.com/office/drawing/2014/main" id="{C17135B5-D443-5873-2EC8-2B06F1D86354}"/>
                    </a:ext>
                  </a:extLst>
                </p:cNvPr>
                <p:cNvSpPr/>
                <p:nvPr/>
              </p:nvSpPr>
              <p:spPr bwMode="gray">
                <a:xfrm>
                  <a:off x="4450842"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3" name="Graphic 1443">
                <a:extLst>
                  <a:ext uri="{FF2B5EF4-FFF2-40B4-BE49-F238E27FC236}">
                    <a16:creationId xmlns:a16="http://schemas.microsoft.com/office/drawing/2014/main" id="{6178D9E2-E838-5F92-CBBB-B951FB3E5730}"/>
                  </a:ext>
                </a:extLst>
              </p:cNvPr>
              <p:cNvGrpSpPr/>
              <p:nvPr/>
            </p:nvGrpSpPr>
            <p:grpSpPr bwMode="gray">
              <a:xfrm>
                <a:off x="4976526" y="3128485"/>
                <a:ext cx="61817" cy="63722"/>
                <a:chOff x="4976526" y="3128485"/>
                <a:chExt cx="61817" cy="63722"/>
              </a:xfrm>
            </p:grpSpPr>
            <p:sp>
              <p:nvSpPr>
                <p:cNvPr id="11011" name="Freeform: Shape 11010">
                  <a:extLst>
                    <a:ext uri="{FF2B5EF4-FFF2-40B4-BE49-F238E27FC236}">
                      <a16:creationId xmlns:a16="http://schemas.microsoft.com/office/drawing/2014/main" id="{F102B21F-FA35-142D-E3D2-A136042DF675}"/>
                    </a:ext>
                  </a:extLst>
                </p:cNvPr>
                <p:cNvSpPr/>
                <p:nvPr/>
              </p:nvSpPr>
              <p:spPr bwMode="gray">
                <a:xfrm>
                  <a:off x="5007387"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12" name="Freeform: Shape 11011">
                  <a:extLst>
                    <a:ext uri="{FF2B5EF4-FFF2-40B4-BE49-F238E27FC236}">
                      <a16:creationId xmlns:a16="http://schemas.microsoft.com/office/drawing/2014/main" id="{46280472-D600-8023-4689-EF99AC8DE1DA}"/>
                    </a:ext>
                  </a:extLst>
                </p:cNvPr>
                <p:cNvSpPr/>
                <p:nvPr/>
              </p:nvSpPr>
              <p:spPr bwMode="gray">
                <a:xfrm>
                  <a:off x="4976526"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4" name="Graphic 1443">
                <a:extLst>
                  <a:ext uri="{FF2B5EF4-FFF2-40B4-BE49-F238E27FC236}">
                    <a16:creationId xmlns:a16="http://schemas.microsoft.com/office/drawing/2014/main" id="{0DC39BBD-38D0-300F-4B7F-BA65146AA5D0}"/>
                  </a:ext>
                </a:extLst>
              </p:cNvPr>
              <p:cNvGrpSpPr/>
              <p:nvPr/>
            </p:nvGrpSpPr>
            <p:grpSpPr bwMode="gray">
              <a:xfrm>
                <a:off x="4893087" y="3128485"/>
                <a:ext cx="61817" cy="63722"/>
                <a:chOff x="4893087" y="3128485"/>
                <a:chExt cx="61817" cy="63722"/>
              </a:xfrm>
            </p:grpSpPr>
            <p:sp>
              <p:nvSpPr>
                <p:cNvPr id="11009" name="Freeform: Shape 11008">
                  <a:extLst>
                    <a:ext uri="{FF2B5EF4-FFF2-40B4-BE49-F238E27FC236}">
                      <a16:creationId xmlns:a16="http://schemas.microsoft.com/office/drawing/2014/main" id="{B4F38300-521D-366C-1BCC-ABC18D31D9E0}"/>
                    </a:ext>
                  </a:extLst>
                </p:cNvPr>
                <p:cNvSpPr/>
                <p:nvPr/>
              </p:nvSpPr>
              <p:spPr bwMode="gray">
                <a:xfrm>
                  <a:off x="4923948"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10" name="Freeform: Shape 11009">
                  <a:extLst>
                    <a:ext uri="{FF2B5EF4-FFF2-40B4-BE49-F238E27FC236}">
                      <a16:creationId xmlns:a16="http://schemas.microsoft.com/office/drawing/2014/main" id="{1ADCAE1D-61E8-7370-8C96-10E7B39E0194}"/>
                    </a:ext>
                  </a:extLst>
                </p:cNvPr>
                <p:cNvSpPr/>
                <p:nvPr/>
              </p:nvSpPr>
              <p:spPr bwMode="gray">
                <a:xfrm>
                  <a:off x="4893087"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5" name="Graphic 1443">
                <a:extLst>
                  <a:ext uri="{FF2B5EF4-FFF2-40B4-BE49-F238E27FC236}">
                    <a16:creationId xmlns:a16="http://schemas.microsoft.com/office/drawing/2014/main" id="{8ACB706A-68C1-0C04-18AC-8AE4A149E009}"/>
                  </a:ext>
                </a:extLst>
              </p:cNvPr>
              <p:cNvGrpSpPr/>
              <p:nvPr/>
            </p:nvGrpSpPr>
            <p:grpSpPr bwMode="gray">
              <a:xfrm>
                <a:off x="4906518" y="3128485"/>
                <a:ext cx="61817" cy="63722"/>
                <a:chOff x="4906518" y="3128485"/>
                <a:chExt cx="61817" cy="63722"/>
              </a:xfrm>
            </p:grpSpPr>
            <p:sp>
              <p:nvSpPr>
                <p:cNvPr id="11007" name="Freeform: Shape 11006">
                  <a:extLst>
                    <a:ext uri="{FF2B5EF4-FFF2-40B4-BE49-F238E27FC236}">
                      <a16:creationId xmlns:a16="http://schemas.microsoft.com/office/drawing/2014/main" id="{6C72358B-A4C5-95E0-0041-62E1BD9C028C}"/>
                    </a:ext>
                  </a:extLst>
                </p:cNvPr>
                <p:cNvSpPr/>
                <p:nvPr/>
              </p:nvSpPr>
              <p:spPr bwMode="gray">
                <a:xfrm>
                  <a:off x="4937474"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08" name="Freeform: Shape 11007">
                  <a:extLst>
                    <a:ext uri="{FF2B5EF4-FFF2-40B4-BE49-F238E27FC236}">
                      <a16:creationId xmlns:a16="http://schemas.microsoft.com/office/drawing/2014/main" id="{A2C3E660-8A2E-A9EA-6259-B1E6C0CC2EF7}"/>
                    </a:ext>
                  </a:extLst>
                </p:cNvPr>
                <p:cNvSpPr/>
                <p:nvPr/>
              </p:nvSpPr>
              <p:spPr bwMode="gray">
                <a:xfrm>
                  <a:off x="490651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6" name="Graphic 1443">
                <a:extLst>
                  <a:ext uri="{FF2B5EF4-FFF2-40B4-BE49-F238E27FC236}">
                    <a16:creationId xmlns:a16="http://schemas.microsoft.com/office/drawing/2014/main" id="{90D93C40-C391-AF61-68D3-D57416D13DBB}"/>
                  </a:ext>
                </a:extLst>
              </p:cNvPr>
              <p:cNvGrpSpPr/>
              <p:nvPr/>
            </p:nvGrpSpPr>
            <p:grpSpPr bwMode="gray">
              <a:xfrm>
                <a:off x="4846701" y="3109054"/>
                <a:ext cx="61817" cy="63722"/>
                <a:chOff x="4846701" y="3109054"/>
                <a:chExt cx="61817" cy="63722"/>
              </a:xfrm>
            </p:grpSpPr>
            <p:sp>
              <p:nvSpPr>
                <p:cNvPr id="11005" name="Freeform: Shape 11004">
                  <a:extLst>
                    <a:ext uri="{FF2B5EF4-FFF2-40B4-BE49-F238E27FC236}">
                      <a16:creationId xmlns:a16="http://schemas.microsoft.com/office/drawing/2014/main" id="{A44A023A-10D1-8815-099A-AAB622C2678B}"/>
                    </a:ext>
                  </a:extLst>
                </p:cNvPr>
                <p:cNvSpPr/>
                <p:nvPr/>
              </p:nvSpPr>
              <p:spPr bwMode="gray">
                <a:xfrm>
                  <a:off x="4877657"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06" name="Freeform: Shape 11005">
                  <a:extLst>
                    <a:ext uri="{FF2B5EF4-FFF2-40B4-BE49-F238E27FC236}">
                      <a16:creationId xmlns:a16="http://schemas.microsoft.com/office/drawing/2014/main" id="{451829D9-D9B1-7255-7538-448ACB630225}"/>
                    </a:ext>
                  </a:extLst>
                </p:cNvPr>
                <p:cNvSpPr/>
                <p:nvPr/>
              </p:nvSpPr>
              <p:spPr bwMode="gray">
                <a:xfrm>
                  <a:off x="4846701"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7" name="Graphic 1443">
                <a:extLst>
                  <a:ext uri="{FF2B5EF4-FFF2-40B4-BE49-F238E27FC236}">
                    <a16:creationId xmlns:a16="http://schemas.microsoft.com/office/drawing/2014/main" id="{70632010-1734-4497-FBE6-DD763FDB1728}"/>
                  </a:ext>
                </a:extLst>
              </p:cNvPr>
              <p:cNvGrpSpPr/>
              <p:nvPr/>
            </p:nvGrpSpPr>
            <p:grpSpPr bwMode="gray">
              <a:xfrm>
                <a:off x="4866608" y="3109054"/>
                <a:ext cx="61817" cy="63722"/>
                <a:chOff x="4866608" y="3109054"/>
                <a:chExt cx="61817" cy="63722"/>
              </a:xfrm>
            </p:grpSpPr>
            <p:sp>
              <p:nvSpPr>
                <p:cNvPr id="11003" name="Freeform: Shape 11002">
                  <a:extLst>
                    <a:ext uri="{FF2B5EF4-FFF2-40B4-BE49-F238E27FC236}">
                      <a16:creationId xmlns:a16="http://schemas.microsoft.com/office/drawing/2014/main" id="{690B6791-046D-7A63-3576-0A76423852F4}"/>
                    </a:ext>
                  </a:extLst>
                </p:cNvPr>
                <p:cNvSpPr/>
                <p:nvPr/>
              </p:nvSpPr>
              <p:spPr bwMode="gray">
                <a:xfrm>
                  <a:off x="4897469" y="310905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04" name="Freeform: Shape 11003">
                  <a:extLst>
                    <a:ext uri="{FF2B5EF4-FFF2-40B4-BE49-F238E27FC236}">
                      <a16:creationId xmlns:a16="http://schemas.microsoft.com/office/drawing/2014/main" id="{3441A263-162B-7361-B23A-3F4B256024A9}"/>
                    </a:ext>
                  </a:extLst>
                </p:cNvPr>
                <p:cNvSpPr/>
                <p:nvPr/>
              </p:nvSpPr>
              <p:spPr bwMode="gray">
                <a:xfrm>
                  <a:off x="4866608" y="314096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8" name="Graphic 1443">
                <a:extLst>
                  <a:ext uri="{FF2B5EF4-FFF2-40B4-BE49-F238E27FC236}">
                    <a16:creationId xmlns:a16="http://schemas.microsoft.com/office/drawing/2014/main" id="{79AD1F68-079B-293D-0206-928CC1440144}"/>
                  </a:ext>
                </a:extLst>
              </p:cNvPr>
              <p:cNvGrpSpPr/>
              <p:nvPr/>
            </p:nvGrpSpPr>
            <p:grpSpPr bwMode="gray">
              <a:xfrm>
                <a:off x="4826222" y="3086575"/>
                <a:ext cx="61817" cy="63722"/>
                <a:chOff x="4826222" y="3086575"/>
                <a:chExt cx="61817" cy="63722"/>
              </a:xfrm>
            </p:grpSpPr>
            <p:sp>
              <p:nvSpPr>
                <p:cNvPr id="11001" name="Freeform: Shape 11000">
                  <a:extLst>
                    <a:ext uri="{FF2B5EF4-FFF2-40B4-BE49-F238E27FC236}">
                      <a16:creationId xmlns:a16="http://schemas.microsoft.com/office/drawing/2014/main" id="{92C7D30C-2158-B9FD-58A4-63FF0B0E8F73}"/>
                    </a:ext>
                  </a:extLst>
                </p:cNvPr>
                <p:cNvSpPr/>
                <p:nvPr/>
              </p:nvSpPr>
              <p:spPr bwMode="gray">
                <a:xfrm>
                  <a:off x="4857083" y="308657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02" name="Freeform: Shape 11001">
                  <a:extLst>
                    <a:ext uri="{FF2B5EF4-FFF2-40B4-BE49-F238E27FC236}">
                      <a16:creationId xmlns:a16="http://schemas.microsoft.com/office/drawing/2014/main" id="{BC4321C8-384E-B2A2-9DEB-87F109B15387}"/>
                    </a:ext>
                  </a:extLst>
                </p:cNvPr>
                <p:cNvSpPr/>
                <p:nvPr/>
              </p:nvSpPr>
              <p:spPr bwMode="gray">
                <a:xfrm>
                  <a:off x="4826222" y="311838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89" name="Graphic 1443">
                <a:extLst>
                  <a:ext uri="{FF2B5EF4-FFF2-40B4-BE49-F238E27FC236}">
                    <a16:creationId xmlns:a16="http://schemas.microsoft.com/office/drawing/2014/main" id="{ECBF3231-6074-A50C-174B-471B97596033}"/>
                  </a:ext>
                </a:extLst>
              </p:cNvPr>
              <p:cNvGrpSpPr/>
              <p:nvPr/>
            </p:nvGrpSpPr>
            <p:grpSpPr bwMode="gray">
              <a:xfrm>
                <a:off x="4804791" y="3064763"/>
                <a:ext cx="61817" cy="63722"/>
                <a:chOff x="4804791" y="3064763"/>
                <a:chExt cx="61817" cy="63722"/>
              </a:xfrm>
            </p:grpSpPr>
            <p:sp>
              <p:nvSpPr>
                <p:cNvPr id="10999" name="Freeform: Shape 10998">
                  <a:extLst>
                    <a:ext uri="{FF2B5EF4-FFF2-40B4-BE49-F238E27FC236}">
                      <a16:creationId xmlns:a16="http://schemas.microsoft.com/office/drawing/2014/main" id="{923F7FA0-7A2F-88E4-BE3F-FBEB1DDEACAD}"/>
                    </a:ext>
                  </a:extLst>
                </p:cNvPr>
                <p:cNvSpPr/>
                <p:nvPr/>
              </p:nvSpPr>
              <p:spPr bwMode="gray">
                <a:xfrm>
                  <a:off x="4835652" y="30647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00" name="Freeform: Shape 10999">
                  <a:extLst>
                    <a:ext uri="{FF2B5EF4-FFF2-40B4-BE49-F238E27FC236}">
                      <a16:creationId xmlns:a16="http://schemas.microsoft.com/office/drawing/2014/main" id="{FCFDC9B0-3074-68F8-9A53-6072DAF22B76}"/>
                    </a:ext>
                  </a:extLst>
                </p:cNvPr>
                <p:cNvSpPr/>
                <p:nvPr/>
              </p:nvSpPr>
              <p:spPr bwMode="gray">
                <a:xfrm>
                  <a:off x="4804791" y="30965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0" name="Graphic 1443">
                <a:extLst>
                  <a:ext uri="{FF2B5EF4-FFF2-40B4-BE49-F238E27FC236}">
                    <a16:creationId xmlns:a16="http://schemas.microsoft.com/office/drawing/2014/main" id="{499439A0-927D-F761-5F55-892092373D99}"/>
                  </a:ext>
                </a:extLst>
              </p:cNvPr>
              <p:cNvGrpSpPr/>
              <p:nvPr/>
            </p:nvGrpSpPr>
            <p:grpSpPr bwMode="gray">
              <a:xfrm>
                <a:off x="4789170" y="3045808"/>
                <a:ext cx="61817" cy="63722"/>
                <a:chOff x="4789170" y="3045808"/>
                <a:chExt cx="61817" cy="63722"/>
              </a:xfrm>
            </p:grpSpPr>
            <p:sp>
              <p:nvSpPr>
                <p:cNvPr id="10997" name="Freeform: Shape 10996">
                  <a:extLst>
                    <a:ext uri="{FF2B5EF4-FFF2-40B4-BE49-F238E27FC236}">
                      <a16:creationId xmlns:a16="http://schemas.microsoft.com/office/drawing/2014/main" id="{980B8DC1-E967-3052-24E3-29DF0A1314B4}"/>
                    </a:ext>
                  </a:extLst>
                </p:cNvPr>
                <p:cNvSpPr/>
                <p:nvPr/>
              </p:nvSpPr>
              <p:spPr bwMode="gray">
                <a:xfrm>
                  <a:off x="482003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98" name="Freeform: Shape 10997">
                  <a:extLst>
                    <a:ext uri="{FF2B5EF4-FFF2-40B4-BE49-F238E27FC236}">
                      <a16:creationId xmlns:a16="http://schemas.microsoft.com/office/drawing/2014/main" id="{0EEE8518-B7C0-74A0-0E2C-149571498B45}"/>
                    </a:ext>
                  </a:extLst>
                </p:cNvPr>
                <p:cNvSpPr/>
                <p:nvPr/>
              </p:nvSpPr>
              <p:spPr bwMode="gray">
                <a:xfrm>
                  <a:off x="4789170"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1" name="Graphic 1443">
                <a:extLst>
                  <a:ext uri="{FF2B5EF4-FFF2-40B4-BE49-F238E27FC236}">
                    <a16:creationId xmlns:a16="http://schemas.microsoft.com/office/drawing/2014/main" id="{6F43461E-A0F1-75D2-071B-A98097C10C6B}"/>
                  </a:ext>
                </a:extLst>
              </p:cNvPr>
              <p:cNvGrpSpPr/>
              <p:nvPr/>
            </p:nvGrpSpPr>
            <p:grpSpPr bwMode="gray">
              <a:xfrm>
                <a:off x="4773834" y="3045808"/>
                <a:ext cx="61817" cy="63722"/>
                <a:chOff x="4773834" y="3045808"/>
                <a:chExt cx="61817" cy="63722"/>
              </a:xfrm>
            </p:grpSpPr>
            <p:sp>
              <p:nvSpPr>
                <p:cNvPr id="10995" name="Freeform: Shape 10994">
                  <a:extLst>
                    <a:ext uri="{FF2B5EF4-FFF2-40B4-BE49-F238E27FC236}">
                      <a16:creationId xmlns:a16="http://schemas.microsoft.com/office/drawing/2014/main" id="{B5285E7B-7A03-967B-7D1A-AF221B0027F1}"/>
                    </a:ext>
                  </a:extLst>
                </p:cNvPr>
                <p:cNvSpPr/>
                <p:nvPr/>
              </p:nvSpPr>
              <p:spPr bwMode="gray">
                <a:xfrm>
                  <a:off x="4804791" y="304580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96" name="Freeform: Shape 10995">
                  <a:extLst>
                    <a:ext uri="{FF2B5EF4-FFF2-40B4-BE49-F238E27FC236}">
                      <a16:creationId xmlns:a16="http://schemas.microsoft.com/office/drawing/2014/main" id="{3069CDF6-53A7-49D6-2DF3-9416463CDCDF}"/>
                    </a:ext>
                  </a:extLst>
                </p:cNvPr>
                <p:cNvSpPr/>
                <p:nvPr/>
              </p:nvSpPr>
              <p:spPr bwMode="gray">
                <a:xfrm>
                  <a:off x="4773834" y="307762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2" name="Graphic 1443">
                <a:extLst>
                  <a:ext uri="{FF2B5EF4-FFF2-40B4-BE49-F238E27FC236}">
                    <a16:creationId xmlns:a16="http://schemas.microsoft.com/office/drawing/2014/main" id="{AB9D465A-A180-A7D4-0065-13556077D929}"/>
                  </a:ext>
                </a:extLst>
              </p:cNvPr>
              <p:cNvGrpSpPr/>
              <p:nvPr/>
            </p:nvGrpSpPr>
            <p:grpSpPr bwMode="gray">
              <a:xfrm>
                <a:off x="4758213" y="3036950"/>
                <a:ext cx="61817" cy="63722"/>
                <a:chOff x="4758213" y="3036950"/>
                <a:chExt cx="61817" cy="63722"/>
              </a:xfrm>
            </p:grpSpPr>
            <p:sp>
              <p:nvSpPr>
                <p:cNvPr id="10993" name="Freeform: Shape 10992">
                  <a:extLst>
                    <a:ext uri="{FF2B5EF4-FFF2-40B4-BE49-F238E27FC236}">
                      <a16:creationId xmlns:a16="http://schemas.microsoft.com/office/drawing/2014/main" id="{F5317DD1-D289-49D4-A638-64036A4B81FE}"/>
                    </a:ext>
                  </a:extLst>
                </p:cNvPr>
                <p:cNvSpPr/>
                <p:nvPr/>
              </p:nvSpPr>
              <p:spPr bwMode="gray">
                <a:xfrm>
                  <a:off x="4789170" y="303695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94" name="Freeform: Shape 10993">
                  <a:extLst>
                    <a:ext uri="{FF2B5EF4-FFF2-40B4-BE49-F238E27FC236}">
                      <a16:creationId xmlns:a16="http://schemas.microsoft.com/office/drawing/2014/main" id="{117EC3FB-F88D-566E-4D94-A1B63D247B4F}"/>
                    </a:ext>
                  </a:extLst>
                </p:cNvPr>
                <p:cNvSpPr/>
                <p:nvPr/>
              </p:nvSpPr>
              <p:spPr bwMode="gray">
                <a:xfrm>
                  <a:off x="4758213" y="306876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3" name="Graphic 1443">
                <a:extLst>
                  <a:ext uri="{FF2B5EF4-FFF2-40B4-BE49-F238E27FC236}">
                    <a16:creationId xmlns:a16="http://schemas.microsoft.com/office/drawing/2014/main" id="{90EC5FC4-672A-0336-CFAE-7ACA72DD4E22}"/>
                  </a:ext>
                </a:extLst>
              </p:cNvPr>
              <p:cNvGrpSpPr/>
              <p:nvPr/>
            </p:nvGrpSpPr>
            <p:grpSpPr bwMode="gray">
              <a:xfrm>
                <a:off x="4731543" y="3022853"/>
                <a:ext cx="61817" cy="63722"/>
                <a:chOff x="4731543" y="3022853"/>
                <a:chExt cx="61817" cy="63722"/>
              </a:xfrm>
            </p:grpSpPr>
            <p:sp>
              <p:nvSpPr>
                <p:cNvPr id="10991" name="Freeform: Shape 10990">
                  <a:extLst>
                    <a:ext uri="{FF2B5EF4-FFF2-40B4-BE49-F238E27FC236}">
                      <a16:creationId xmlns:a16="http://schemas.microsoft.com/office/drawing/2014/main" id="{BA6EDA0E-C059-AFBF-3881-9183656A9E20}"/>
                    </a:ext>
                  </a:extLst>
                </p:cNvPr>
                <p:cNvSpPr/>
                <p:nvPr/>
              </p:nvSpPr>
              <p:spPr bwMode="gray">
                <a:xfrm>
                  <a:off x="4762500" y="302285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92" name="Freeform: Shape 10991">
                  <a:extLst>
                    <a:ext uri="{FF2B5EF4-FFF2-40B4-BE49-F238E27FC236}">
                      <a16:creationId xmlns:a16="http://schemas.microsoft.com/office/drawing/2014/main" id="{62C5088F-BB0A-E4ED-BA0E-E92B4612027D}"/>
                    </a:ext>
                  </a:extLst>
                </p:cNvPr>
                <p:cNvSpPr/>
                <p:nvPr/>
              </p:nvSpPr>
              <p:spPr bwMode="gray">
                <a:xfrm>
                  <a:off x="4731543" y="305466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4" name="Graphic 1443">
                <a:extLst>
                  <a:ext uri="{FF2B5EF4-FFF2-40B4-BE49-F238E27FC236}">
                    <a16:creationId xmlns:a16="http://schemas.microsoft.com/office/drawing/2014/main" id="{AC0ECD33-5DC0-2DAD-BCFC-B58E432DB53A}"/>
                  </a:ext>
                </a:extLst>
              </p:cNvPr>
              <p:cNvGrpSpPr/>
              <p:nvPr/>
            </p:nvGrpSpPr>
            <p:grpSpPr bwMode="gray">
              <a:xfrm>
                <a:off x="4712017" y="3013900"/>
                <a:ext cx="61817" cy="63722"/>
                <a:chOff x="4712017" y="3013900"/>
                <a:chExt cx="61817" cy="63722"/>
              </a:xfrm>
            </p:grpSpPr>
            <p:sp>
              <p:nvSpPr>
                <p:cNvPr id="10989" name="Freeform: Shape 10988">
                  <a:extLst>
                    <a:ext uri="{FF2B5EF4-FFF2-40B4-BE49-F238E27FC236}">
                      <a16:creationId xmlns:a16="http://schemas.microsoft.com/office/drawing/2014/main" id="{339A7515-E6CC-0EAE-5E42-0067B25B1C7A}"/>
                    </a:ext>
                  </a:extLst>
                </p:cNvPr>
                <p:cNvSpPr/>
                <p:nvPr/>
              </p:nvSpPr>
              <p:spPr bwMode="gray">
                <a:xfrm>
                  <a:off x="4742973" y="301390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90" name="Freeform: Shape 10989">
                  <a:extLst>
                    <a:ext uri="{FF2B5EF4-FFF2-40B4-BE49-F238E27FC236}">
                      <a16:creationId xmlns:a16="http://schemas.microsoft.com/office/drawing/2014/main" id="{51CE2FFD-0110-7EDB-DEFC-DC12F53F86A0}"/>
                    </a:ext>
                  </a:extLst>
                </p:cNvPr>
                <p:cNvSpPr/>
                <p:nvPr/>
              </p:nvSpPr>
              <p:spPr bwMode="gray">
                <a:xfrm>
                  <a:off x="4712017" y="304580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5" name="Graphic 1443">
                <a:extLst>
                  <a:ext uri="{FF2B5EF4-FFF2-40B4-BE49-F238E27FC236}">
                    <a16:creationId xmlns:a16="http://schemas.microsoft.com/office/drawing/2014/main" id="{2872EE0C-721E-A0BA-6EC1-0672F213701D}"/>
                  </a:ext>
                </a:extLst>
              </p:cNvPr>
              <p:cNvGrpSpPr/>
              <p:nvPr/>
            </p:nvGrpSpPr>
            <p:grpSpPr bwMode="gray">
              <a:xfrm>
                <a:off x="4681156" y="3001803"/>
                <a:ext cx="61817" cy="63722"/>
                <a:chOff x="4681156" y="3001803"/>
                <a:chExt cx="61817" cy="63722"/>
              </a:xfrm>
            </p:grpSpPr>
            <p:sp>
              <p:nvSpPr>
                <p:cNvPr id="10987" name="Freeform: Shape 10986">
                  <a:extLst>
                    <a:ext uri="{FF2B5EF4-FFF2-40B4-BE49-F238E27FC236}">
                      <a16:creationId xmlns:a16="http://schemas.microsoft.com/office/drawing/2014/main" id="{6B4DEF17-D320-23F1-0D94-0CA488D79606}"/>
                    </a:ext>
                  </a:extLst>
                </p:cNvPr>
                <p:cNvSpPr/>
                <p:nvPr/>
              </p:nvSpPr>
              <p:spPr bwMode="gray">
                <a:xfrm>
                  <a:off x="471201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88" name="Freeform: Shape 10987">
                  <a:extLst>
                    <a:ext uri="{FF2B5EF4-FFF2-40B4-BE49-F238E27FC236}">
                      <a16:creationId xmlns:a16="http://schemas.microsoft.com/office/drawing/2014/main" id="{3763B9D7-A21A-EF80-EDFC-9DC3328D03A7}"/>
                    </a:ext>
                  </a:extLst>
                </p:cNvPr>
                <p:cNvSpPr/>
                <p:nvPr/>
              </p:nvSpPr>
              <p:spPr bwMode="gray">
                <a:xfrm>
                  <a:off x="468115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6" name="Graphic 1443">
                <a:extLst>
                  <a:ext uri="{FF2B5EF4-FFF2-40B4-BE49-F238E27FC236}">
                    <a16:creationId xmlns:a16="http://schemas.microsoft.com/office/drawing/2014/main" id="{8786A380-1C5E-07FE-9A1A-270381BBBA2D}"/>
                  </a:ext>
                </a:extLst>
              </p:cNvPr>
              <p:cNvGrpSpPr/>
              <p:nvPr/>
            </p:nvGrpSpPr>
            <p:grpSpPr bwMode="gray">
              <a:xfrm>
                <a:off x="4659534" y="3001803"/>
                <a:ext cx="61817" cy="63722"/>
                <a:chOff x="4659534" y="3001803"/>
                <a:chExt cx="61817" cy="63722"/>
              </a:xfrm>
            </p:grpSpPr>
            <p:sp>
              <p:nvSpPr>
                <p:cNvPr id="10985" name="Freeform: Shape 10984">
                  <a:extLst>
                    <a:ext uri="{FF2B5EF4-FFF2-40B4-BE49-F238E27FC236}">
                      <a16:creationId xmlns:a16="http://schemas.microsoft.com/office/drawing/2014/main" id="{6820742D-D82D-7FEE-2E37-65F03A97519D}"/>
                    </a:ext>
                  </a:extLst>
                </p:cNvPr>
                <p:cNvSpPr/>
                <p:nvPr/>
              </p:nvSpPr>
              <p:spPr bwMode="gray">
                <a:xfrm>
                  <a:off x="469049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86" name="Freeform: Shape 10985">
                  <a:extLst>
                    <a:ext uri="{FF2B5EF4-FFF2-40B4-BE49-F238E27FC236}">
                      <a16:creationId xmlns:a16="http://schemas.microsoft.com/office/drawing/2014/main" id="{05FD394A-617C-3BB3-66FF-D18F5C24BB0E}"/>
                    </a:ext>
                  </a:extLst>
                </p:cNvPr>
                <p:cNvSpPr/>
                <p:nvPr/>
              </p:nvSpPr>
              <p:spPr bwMode="gray">
                <a:xfrm>
                  <a:off x="465953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7" name="Graphic 1443">
                <a:extLst>
                  <a:ext uri="{FF2B5EF4-FFF2-40B4-BE49-F238E27FC236}">
                    <a16:creationId xmlns:a16="http://schemas.microsoft.com/office/drawing/2014/main" id="{E5ED0ADD-854E-F498-4520-9C03C58EAFC9}"/>
                  </a:ext>
                </a:extLst>
              </p:cNvPr>
              <p:cNvGrpSpPr/>
              <p:nvPr/>
            </p:nvGrpSpPr>
            <p:grpSpPr bwMode="gray">
              <a:xfrm>
                <a:off x="4632864" y="3001803"/>
                <a:ext cx="61817" cy="63722"/>
                <a:chOff x="4632864" y="3001803"/>
                <a:chExt cx="61817" cy="63722"/>
              </a:xfrm>
            </p:grpSpPr>
            <p:sp>
              <p:nvSpPr>
                <p:cNvPr id="10983" name="Freeform: Shape 10982">
                  <a:extLst>
                    <a:ext uri="{FF2B5EF4-FFF2-40B4-BE49-F238E27FC236}">
                      <a16:creationId xmlns:a16="http://schemas.microsoft.com/office/drawing/2014/main" id="{F2FE36A9-4EB5-D8FE-2E32-6FEE17FFFA3E}"/>
                    </a:ext>
                  </a:extLst>
                </p:cNvPr>
                <p:cNvSpPr/>
                <p:nvPr/>
              </p:nvSpPr>
              <p:spPr bwMode="gray">
                <a:xfrm>
                  <a:off x="4663821"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84" name="Freeform: Shape 10983">
                  <a:extLst>
                    <a:ext uri="{FF2B5EF4-FFF2-40B4-BE49-F238E27FC236}">
                      <a16:creationId xmlns:a16="http://schemas.microsoft.com/office/drawing/2014/main" id="{37D6A582-A347-3AA4-AF83-067098A3E848}"/>
                    </a:ext>
                  </a:extLst>
                </p:cNvPr>
                <p:cNvSpPr/>
                <p:nvPr/>
              </p:nvSpPr>
              <p:spPr bwMode="gray">
                <a:xfrm>
                  <a:off x="4632864"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8" name="Graphic 1443">
                <a:extLst>
                  <a:ext uri="{FF2B5EF4-FFF2-40B4-BE49-F238E27FC236}">
                    <a16:creationId xmlns:a16="http://schemas.microsoft.com/office/drawing/2014/main" id="{579FBA35-5F55-289B-CD68-13D8B38E8DD1}"/>
                  </a:ext>
                </a:extLst>
              </p:cNvPr>
              <p:cNvGrpSpPr/>
              <p:nvPr/>
            </p:nvGrpSpPr>
            <p:grpSpPr bwMode="gray">
              <a:xfrm>
                <a:off x="4606766" y="3001803"/>
                <a:ext cx="61817" cy="63722"/>
                <a:chOff x="4606766" y="3001803"/>
                <a:chExt cx="61817" cy="63722"/>
              </a:xfrm>
            </p:grpSpPr>
            <p:sp>
              <p:nvSpPr>
                <p:cNvPr id="10981" name="Freeform: Shape 10980">
                  <a:extLst>
                    <a:ext uri="{FF2B5EF4-FFF2-40B4-BE49-F238E27FC236}">
                      <a16:creationId xmlns:a16="http://schemas.microsoft.com/office/drawing/2014/main" id="{FBED3541-734D-F576-3D91-FD5D1E940643}"/>
                    </a:ext>
                  </a:extLst>
                </p:cNvPr>
                <p:cNvSpPr/>
                <p:nvPr/>
              </p:nvSpPr>
              <p:spPr bwMode="gray">
                <a:xfrm>
                  <a:off x="4637627" y="300180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82" name="Freeform: Shape 10981">
                  <a:extLst>
                    <a:ext uri="{FF2B5EF4-FFF2-40B4-BE49-F238E27FC236}">
                      <a16:creationId xmlns:a16="http://schemas.microsoft.com/office/drawing/2014/main" id="{7B9B9960-9920-8DA2-AA52-2C4FFBF05D09}"/>
                    </a:ext>
                  </a:extLst>
                </p:cNvPr>
                <p:cNvSpPr/>
                <p:nvPr/>
              </p:nvSpPr>
              <p:spPr bwMode="gray">
                <a:xfrm>
                  <a:off x="4606766" y="303371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99" name="Graphic 1443">
                <a:extLst>
                  <a:ext uri="{FF2B5EF4-FFF2-40B4-BE49-F238E27FC236}">
                    <a16:creationId xmlns:a16="http://schemas.microsoft.com/office/drawing/2014/main" id="{0EE8BF7D-DB0D-EA7B-26CB-D90656A02DCF}"/>
                  </a:ext>
                </a:extLst>
              </p:cNvPr>
              <p:cNvGrpSpPr/>
              <p:nvPr/>
            </p:nvGrpSpPr>
            <p:grpSpPr bwMode="gray">
              <a:xfrm>
                <a:off x="4606766" y="2973228"/>
                <a:ext cx="61817" cy="63722"/>
                <a:chOff x="4606766" y="2973228"/>
                <a:chExt cx="61817" cy="63722"/>
              </a:xfrm>
            </p:grpSpPr>
            <p:sp>
              <p:nvSpPr>
                <p:cNvPr id="10979" name="Freeform: Shape 10978">
                  <a:extLst>
                    <a:ext uri="{FF2B5EF4-FFF2-40B4-BE49-F238E27FC236}">
                      <a16:creationId xmlns:a16="http://schemas.microsoft.com/office/drawing/2014/main" id="{1A22467E-B12E-4AD3-C5E6-5D9ABA5F7EA5}"/>
                    </a:ext>
                  </a:extLst>
                </p:cNvPr>
                <p:cNvSpPr/>
                <p:nvPr/>
              </p:nvSpPr>
              <p:spPr bwMode="gray">
                <a:xfrm>
                  <a:off x="4637627"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80" name="Freeform: Shape 10979">
                  <a:extLst>
                    <a:ext uri="{FF2B5EF4-FFF2-40B4-BE49-F238E27FC236}">
                      <a16:creationId xmlns:a16="http://schemas.microsoft.com/office/drawing/2014/main" id="{0DB3DDC5-69C8-6C6A-CFEA-9B4C706A5DF1}"/>
                    </a:ext>
                  </a:extLst>
                </p:cNvPr>
                <p:cNvSpPr/>
                <p:nvPr/>
              </p:nvSpPr>
              <p:spPr bwMode="gray">
                <a:xfrm>
                  <a:off x="4606766"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0" name="Graphic 1443">
                <a:extLst>
                  <a:ext uri="{FF2B5EF4-FFF2-40B4-BE49-F238E27FC236}">
                    <a16:creationId xmlns:a16="http://schemas.microsoft.com/office/drawing/2014/main" id="{91C25AD2-05DC-3E72-2AAB-F6F2811E61A3}"/>
                  </a:ext>
                </a:extLst>
              </p:cNvPr>
              <p:cNvGrpSpPr/>
              <p:nvPr/>
            </p:nvGrpSpPr>
            <p:grpSpPr bwMode="gray">
              <a:xfrm>
                <a:off x="4587525" y="2973228"/>
                <a:ext cx="61817" cy="63722"/>
                <a:chOff x="4587525" y="2973228"/>
                <a:chExt cx="61817" cy="63722"/>
              </a:xfrm>
            </p:grpSpPr>
            <p:sp>
              <p:nvSpPr>
                <p:cNvPr id="10977" name="Freeform: Shape 10976">
                  <a:extLst>
                    <a:ext uri="{FF2B5EF4-FFF2-40B4-BE49-F238E27FC236}">
                      <a16:creationId xmlns:a16="http://schemas.microsoft.com/office/drawing/2014/main" id="{85D896DD-1ABD-9ACF-8E54-D7B6BE752B1C}"/>
                    </a:ext>
                  </a:extLst>
                </p:cNvPr>
                <p:cNvSpPr/>
                <p:nvPr/>
              </p:nvSpPr>
              <p:spPr bwMode="gray">
                <a:xfrm>
                  <a:off x="4618482"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78" name="Freeform: Shape 10977">
                  <a:extLst>
                    <a:ext uri="{FF2B5EF4-FFF2-40B4-BE49-F238E27FC236}">
                      <a16:creationId xmlns:a16="http://schemas.microsoft.com/office/drawing/2014/main" id="{2A042375-6356-BAED-F9A2-D80F1E911828}"/>
                    </a:ext>
                  </a:extLst>
                </p:cNvPr>
                <p:cNvSpPr/>
                <p:nvPr/>
              </p:nvSpPr>
              <p:spPr bwMode="gray">
                <a:xfrm>
                  <a:off x="4587525"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1" name="Graphic 1443">
                <a:extLst>
                  <a:ext uri="{FF2B5EF4-FFF2-40B4-BE49-F238E27FC236}">
                    <a16:creationId xmlns:a16="http://schemas.microsoft.com/office/drawing/2014/main" id="{CF839105-3B12-6D06-E707-751FBC68F152}"/>
                  </a:ext>
                </a:extLst>
              </p:cNvPr>
              <p:cNvGrpSpPr/>
              <p:nvPr/>
            </p:nvGrpSpPr>
            <p:grpSpPr bwMode="gray">
              <a:xfrm>
                <a:off x="4538948" y="2973228"/>
                <a:ext cx="61817" cy="63722"/>
                <a:chOff x="4538948" y="2973228"/>
                <a:chExt cx="61817" cy="63722"/>
              </a:xfrm>
            </p:grpSpPr>
            <p:sp>
              <p:nvSpPr>
                <p:cNvPr id="10975" name="Freeform: Shape 10974">
                  <a:extLst>
                    <a:ext uri="{FF2B5EF4-FFF2-40B4-BE49-F238E27FC236}">
                      <a16:creationId xmlns:a16="http://schemas.microsoft.com/office/drawing/2014/main" id="{7310EF3C-5857-9E17-0AD5-7EEC10524C6E}"/>
                    </a:ext>
                  </a:extLst>
                </p:cNvPr>
                <p:cNvSpPr/>
                <p:nvPr/>
              </p:nvSpPr>
              <p:spPr bwMode="gray">
                <a:xfrm>
                  <a:off x="4569809"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76" name="Freeform: Shape 10975">
                  <a:extLst>
                    <a:ext uri="{FF2B5EF4-FFF2-40B4-BE49-F238E27FC236}">
                      <a16:creationId xmlns:a16="http://schemas.microsoft.com/office/drawing/2014/main" id="{F5D53580-FA9E-7FA0-55D8-5CE3CD5B4665}"/>
                    </a:ext>
                  </a:extLst>
                </p:cNvPr>
                <p:cNvSpPr/>
                <p:nvPr/>
              </p:nvSpPr>
              <p:spPr bwMode="gray">
                <a:xfrm>
                  <a:off x="4538948"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2" name="Graphic 1443">
                <a:extLst>
                  <a:ext uri="{FF2B5EF4-FFF2-40B4-BE49-F238E27FC236}">
                    <a16:creationId xmlns:a16="http://schemas.microsoft.com/office/drawing/2014/main" id="{B31E4754-DCE3-40A8-7C86-CFDCD95CB69B}"/>
                  </a:ext>
                </a:extLst>
              </p:cNvPr>
              <p:cNvGrpSpPr/>
              <p:nvPr/>
            </p:nvGrpSpPr>
            <p:grpSpPr bwMode="gray">
              <a:xfrm>
                <a:off x="4525708" y="2957893"/>
                <a:ext cx="61817" cy="63722"/>
                <a:chOff x="4525708" y="2957893"/>
                <a:chExt cx="61817" cy="63722"/>
              </a:xfrm>
            </p:grpSpPr>
            <p:sp>
              <p:nvSpPr>
                <p:cNvPr id="10973" name="Freeform: Shape 10972">
                  <a:extLst>
                    <a:ext uri="{FF2B5EF4-FFF2-40B4-BE49-F238E27FC236}">
                      <a16:creationId xmlns:a16="http://schemas.microsoft.com/office/drawing/2014/main" id="{8FD51E05-C539-AFA8-83FC-63A100316252}"/>
                    </a:ext>
                  </a:extLst>
                </p:cNvPr>
                <p:cNvSpPr/>
                <p:nvPr/>
              </p:nvSpPr>
              <p:spPr bwMode="gray">
                <a:xfrm>
                  <a:off x="4556664"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74" name="Freeform: Shape 10973">
                  <a:extLst>
                    <a:ext uri="{FF2B5EF4-FFF2-40B4-BE49-F238E27FC236}">
                      <a16:creationId xmlns:a16="http://schemas.microsoft.com/office/drawing/2014/main" id="{4998B275-A32C-568B-39A6-B1B903F3F764}"/>
                    </a:ext>
                  </a:extLst>
                </p:cNvPr>
                <p:cNvSpPr/>
                <p:nvPr/>
              </p:nvSpPr>
              <p:spPr bwMode="gray">
                <a:xfrm>
                  <a:off x="4525708"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3" name="Graphic 1443">
                <a:extLst>
                  <a:ext uri="{FF2B5EF4-FFF2-40B4-BE49-F238E27FC236}">
                    <a16:creationId xmlns:a16="http://schemas.microsoft.com/office/drawing/2014/main" id="{5A974A9F-208C-5D3B-6502-88C902D14C57}"/>
                  </a:ext>
                </a:extLst>
              </p:cNvPr>
              <p:cNvGrpSpPr/>
              <p:nvPr/>
            </p:nvGrpSpPr>
            <p:grpSpPr bwMode="gray">
              <a:xfrm>
                <a:off x="4512659" y="2957893"/>
                <a:ext cx="61817" cy="63722"/>
                <a:chOff x="4512659" y="2957893"/>
                <a:chExt cx="61817" cy="63722"/>
              </a:xfrm>
            </p:grpSpPr>
            <p:sp>
              <p:nvSpPr>
                <p:cNvPr id="10971" name="Freeform: Shape 10970">
                  <a:extLst>
                    <a:ext uri="{FF2B5EF4-FFF2-40B4-BE49-F238E27FC236}">
                      <a16:creationId xmlns:a16="http://schemas.microsoft.com/office/drawing/2014/main" id="{E0B21225-4AF9-E147-7519-7B1A218F3E37}"/>
                    </a:ext>
                  </a:extLst>
                </p:cNvPr>
                <p:cNvSpPr/>
                <p:nvPr/>
              </p:nvSpPr>
              <p:spPr bwMode="gray">
                <a:xfrm>
                  <a:off x="4543615"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72" name="Freeform: Shape 10971">
                  <a:extLst>
                    <a:ext uri="{FF2B5EF4-FFF2-40B4-BE49-F238E27FC236}">
                      <a16:creationId xmlns:a16="http://schemas.microsoft.com/office/drawing/2014/main" id="{9904D41B-5BEE-0AE6-EC55-10C689781EE3}"/>
                    </a:ext>
                  </a:extLst>
                </p:cNvPr>
                <p:cNvSpPr/>
                <p:nvPr/>
              </p:nvSpPr>
              <p:spPr bwMode="gray">
                <a:xfrm>
                  <a:off x="4512659"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4" name="Graphic 1443">
                <a:extLst>
                  <a:ext uri="{FF2B5EF4-FFF2-40B4-BE49-F238E27FC236}">
                    <a16:creationId xmlns:a16="http://schemas.microsoft.com/office/drawing/2014/main" id="{0FF57220-8FB9-C48B-9E46-96B8B29E49F3}"/>
                  </a:ext>
                </a:extLst>
              </p:cNvPr>
              <p:cNvGrpSpPr/>
              <p:nvPr/>
            </p:nvGrpSpPr>
            <p:grpSpPr bwMode="gray">
              <a:xfrm>
                <a:off x="4490180" y="2957893"/>
                <a:ext cx="61817" cy="63722"/>
                <a:chOff x="4490180" y="2957893"/>
                <a:chExt cx="61817" cy="63722"/>
              </a:xfrm>
            </p:grpSpPr>
            <p:sp>
              <p:nvSpPr>
                <p:cNvPr id="10969" name="Freeform: Shape 10968">
                  <a:extLst>
                    <a:ext uri="{FF2B5EF4-FFF2-40B4-BE49-F238E27FC236}">
                      <a16:creationId xmlns:a16="http://schemas.microsoft.com/office/drawing/2014/main" id="{02569B74-6EC9-58B3-AE1B-FA062E250491}"/>
                    </a:ext>
                  </a:extLst>
                </p:cNvPr>
                <p:cNvSpPr/>
                <p:nvPr/>
              </p:nvSpPr>
              <p:spPr bwMode="gray">
                <a:xfrm>
                  <a:off x="4521041"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70" name="Freeform: Shape 10969">
                  <a:extLst>
                    <a:ext uri="{FF2B5EF4-FFF2-40B4-BE49-F238E27FC236}">
                      <a16:creationId xmlns:a16="http://schemas.microsoft.com/office/drawing/2014/main" id="{D3D33F08-92A3-EB69-E068-B57ABA1B53ED}"/>
                    </a:ext>
                  </a:extLst>
                </p:cNvPr>
                <p:cNvSpPr/>
                <p:nvPr/>
              </p:nvSpPr>
              <p:spPr bwMode="gray">
                <a:xfrm>
                  <a:off x="4490180"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5" name="Graphic 1443">
                <a:extLst>
                  <a:ext uri="{FF2B5EF4-FFF2-40B4-BE49-F238E27FC236}">
                    <a16:creationId xmlns:a16="http://schemas.microsoft.com/office/drawing/2014/main" id="{949E0B3E-77C0-FDB0-85C0-B5225FDBFB05}"/>
                  </a:ext>
                </a:extLst>
              </p:cNvPr>
              <p:cNvGrpSpPr/>
              <p:nvPr/>
            </p:nvGrpSpPr>
            <p:grpSpPr bwMode="gray">
              <a:xfrm>
                <a:off x="4471416" y="2957893"/>
                <a:ext cx="61817" cy="63722"/>
                <a:chOff x="4471416" y="2957893"/>
                <a:chExt cx="61817" cy="63722"/>
              </a:xfrm>
            </p:grpSpPr>
            <p:sp>
              <p:nvSpPr>
                <p:cNvPr id="10967" name="Freeform: Shape 10966">
                  <a:extLst>
                    <a:ext uri="{FF2B5EF4-FFF2-40B4-BE49-F238E27FC236}">
                      <a16:creationId xmlns:a16="http://schemas.microsoft.com/office/drawing/2014/main" id="{482CB42A-46A2-E48A-F070-6D0A34719EF2}"/>
                    </a:ext>
                  </a:extLst>
                </p:cNvPr>
                <p:cNvSpPr/>
                <p:nvPr/>
              </p:nvSpPr>
              <p:spPr bwMode="gray">
                <a:xfrm>
                  <a:off x="4502277" y="295789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68" name="Freeform: Shape 10967">
                  <a:extLst>
                    <a:ext uri="{FF2B5EF4-FFF2-40B4-BE49-F238E27FC236}">
                      <a16:creationId xmlns:a16="http://schemas.microsoft.com/office/drawing/2014/main" id="{EEE83EDA-7FB7-8333-F06D-750F32A91842}"/>
                    </a:ext>
                  </a:extLst>
                </p:cNvPr>
                <p:cNvSpPr/>
                <p:nvPr/>
              </p:nvSpPr>
              <p:spPr bwMode="gray">
                <a:xfrm>
                  <a:off x="4471416" y="298970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6" name="Graphic 1443">
                <a:extLst>
                  <a:ext uri="{FF2B5EF4-FFF2-40B4-BE49-F238E27FC236}">
                    <a16:creationId xmlns:a16="http://schemas.microsoft.com/office/drawing/2014/main" id="{B378A9BD-8899-9DFC-7E14-954C8CD7DF10}"/>
                  </a:ext>
                </a:extLst>
              </p:cNvPr>
              <p:cNvGrpSpPr/>
              <p:nvPr/>
            </p:nvGrpSpPr>
            <p:grpSpPr bwMode="gray">
              <a:xfrm>
                <a:off x="4556664" y="2973228"/>
                <a:ext cx="61817" cy="63722"/>
                <a:chOff x="4556664" y="2973228"/>
                <a:chExt cx="61817" cy="63722"/>
              </a:xfrm>
            </p:grpSpPr>
            <p:sp>
              <p:nvSpPr>
                <p:cNvPr id="10965" name="Freeform: Shape 10964">
                  <a:extLst>
                    <a:ext uri="{FF2B5EF4-FFF2-40B4-BE49-F238E27FC236}">
                      <a16:creationId xmlns:a16="http://schemas.microsoft.com/office/drawing/2014/main" id="{C76C9D40-C56F-5602-50D5-28101213A342}"/>
                    </a:ext>
                  </a:extLst>
                </p:cNvPr>
                <p:cNvSpPr/>
                <p:nvPr/>
              </p:nvSpPr>
              <p:spPr bwMode="gray">
                <a:xfrm>
                  <a:off x="4587525" y="2973228"/>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66" name="Freeform: Shape 10965">
                  <a:extLst>
                    <a:ext uri="{FF2B5EF4-FFF2-40B4-BE49-F238E27FC236}">
                      <a16:creationId xmlns:a16="http://schemas.microsoft.com/office/drawing/2014/main" id="{DA1F76FA-4D46-983E-62A8-5C523958E705}"/>
                    </a:ext>
                  </a:extLst>
                </p:cNvPr>
                <p:cNvSpPr/>
                <p:nvPr/>
              </p:nvSpPr>
              <p:spPr bwMode="gray">
                <a:xfrm>
                  <a:off x="4556664" y="3005041"/>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7" name="Graphic 1443">
                <a:extLst>
                  <a:ext uri="{FF2B5EF4-FFF2-40B4-BE49-F238E27FC236}">
                    <a16:creationId xmlns:a16="http://schemas.microsoft.com/office/drawing/2014/main" id="{32E5CF3F-AE17-1039-6FC0-388CFA82BC2A}"/>
                  </a:ext>
                </a:extLst>
              </p:cNvPr>
              <p:cNvGrpSpPr/>
              <p:nvPr/>
            </p:nvGrpSpPr>
            <p:grpSpPr bwMode="gray">
              <a:xfrm>
                <a:off x="4923948" y="3128485"/>
                <a:ext cx="61817" cy="63722"/>
                <a:chOff x="4923948" y="3128485"/>
                <a:chExt cx="61817" cy="63722"/>
              </a:xfrm>
            </p:grpSpPr>
            <p:sp>
              <p:nvSpPr>
                <p:cNvPr id="10963" name="Freeform: Shape 10962">
                  <a:extLst>
                    <a:ext uri="{FF2B5EF4-FFF2-40B4-BE49-F238E27FC236}">
                      <a16:creationId xmlns:a16="http://schemas.microsoft.com/office/drawing/2014/main" id="{82B85E26-75BA-888B-98E8-F7EEB5BC3A6B}"/>
                    </a:ext>
                  </a:extLst>
                </p:cNvPr>
                <p:cNvSpPr/>
                <p:nvPr/>
              </p:nvSpPr>
              <p:spPr bwMode="gray">
                <a:xfrm>
                  <a:off x="495490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64" name="Freeform: Shape 10963">
                  <a:extLst>
                    <a:ext uri="{FF2B5EF4-FFF2-40B4-BE49-F238E27FC236}">
                      <a16:creationId xmlns:a16="http://schemas.microsoft.com/office/drawing/2014/main" id="{3A8C6834-F872-4B1A-2047-159837DD22EF}"/>
                    </a:ext>
                  </a:extLst>
                </p:cNvPr>
                <p:cNvSpPr/>
                <p:nvPr/>
              </p:nvSpPr>
              <p:spPr bwMode="gray">
                <a:xfrm>
                  <a:off x="4923948"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8" name="Graphic 1443">
                <a:extLst>
                  <a:ext uri="{FF2B5EF4-FFF2-40B4-BE49-F238E27FC236}">
                    <a16:creationId xmlns:a16="http://schemas.microsoft.com/office/drawing/2014/main" id="{E8D5EBE5-4416-741A-DA97-FD82B4B0E076}"/>
                  </a:ext>
                </a:extLst>
              </p:cNvPr>
              <p:cNvGrpSpPr/>
              <p:nvPr/>
            </p:nvGrpSpPr>
            <p:grpSpPr bwMode="gray">
              <a:xfrm>
                <a:off x="4937474" y="3128485"/>
                <a:ext cx="61817" cy="63722"/>
                <a:chOff x="4937474" y="3128485"/>
                <a:chExt cx="61817" cy="63722"/>
              </a:xfrm>
            </p:grpSpPr>
            <p:sp>
              <p:nvSpPr>
                <p:cNvPr id="10961" name="Freeform: Shape 10960">
                  <a:extLst>
                    <a:ext uri="{FF2B5EF4-FFF2-40B4-BE49-F238E27FC236}">
                      <a16:creationId xmlns:a16="http://schemas.microsoft.com/office/drawing/2014/main" id="{D3A107CD-D542-6CA9-1642-5F4EE6D3CEEA}"/>
                    </a:ext>
                  </a:extLst>
                </p:cNvPr>
                <p:cNvSpPr/>
                <p:nvPr/>
              </p:nvSpPr>
              <p:spPr bwMode="gray">
                <a:xfrm>
                  <a:off x="4968335"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62" name="Freeform: Shape 10961">
                  <a:extLst>
                    <a:ext uri="{FF2B5EF4-FFF2-40B4-BE49-F238E27FC236}">
                      <a16:creationId xmlns:a16="http://schemas.microsoft.com/office/drawing/2014/main" id="{8A3E5D7D-744F-5DAD-D8D3-08E17AB722B6}"/>
                    </a:ext>
                  </a:extLst>
                </p:cNvPr>
                <p:cNvSpPr/>
                <p:nvPr/>
              </p:nvSpPr>
              <p:spPr bwMode="gray">
                <a:xfrm>
                  <a:off x="4937474"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09" name="Graphic 1443">
                <a:extLst>
                  <a:ext uri="{FF2B5EF4-FFF2-40B4-BE49-F238E27FC236}">
                    <a16:creationId xmlns:a16="http://schemas.microsoft.com/office/drawing/2014/main" id="{EACAB05F-E0EF-A1B9-8AC7-2CBA15343BA4}"/>
                  </a:ext>
                </a:extLst>
              </p:cNvPr>
              <p:cNvGrpSpPr/>
              <p:nvPr/>
            </p:nvGrpSpPr>
            <p:grpSpPr bwMode="gray">
              <a:xfrm>
                <a:off x="4954905" y="3128485"/>
                <a:ext cx="61817" cy="63722"/>
                <a:chOff x="4954905" y="3128485"/>
                <a:chExt cx="61817" cy="63722"/>
              </a:xfrm>
            </p:grpSpPr>
            <p:sp>
              <p:nvSpPr>
                <p:cNvPr id="10959" name="Freeform: Shape 10958">
                  <a:extLst>
                    <a:ext uri="{FF2B5EF4-FFF2-40B4-BE49-F238E27FC236}">
                      <a16:creationId xmlns:a16="http://schemas.microsoft.com/office/drawing/2014/main" id="{8C88F6D3-828D-2D89-D617-AE6CB0DA4A2E}"/>
                    </a:ext>
                  </a:extLst>
                </p:cNvPr>
                <p:cNvSpPr/>
                <p:nvPr/>
              </p:nvSpPr>
              <p:spPr bwMode="gray">
                <a:xfrm>
                  <a:off x="4985766" y="3128485"/>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60" name="Freeform: Shape 10959">
                  <a:extLst>
                    <a:ext uri="{FF2B5EF4-FFF2-40B4-BE49-F238E27FC236}">
                      <a16:creationId xmlns:a16="http://schemas.microsoft.com/office/drawing/2014/main" id="{7DB7A341-3EB8-1A94-5981-FD6CD2313E53}"/>
                    </a:ext>
                  </a:extLst>
                </p:cNvPr>
                <p:cNvSpPr/>
                <p:nvPr/>
              </p:nvSpPr>
              <p:spPr bwMode="gray">
                <a:xfrm>
                  <a:off x="4954905" y="316029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0" name="Graphic 1443">
                <a:extLst>
                  <a:ext uri="{FF2B5EF4-FFF2-40B4-BE49-F238E27FC236}">
                    <a16:creationId xmlns:a16="http://schemas.microsoft.com/office/drawing/2014/main" id="{F04CD430-AD37-9662-BC2F-FFA07F111301}"/>
                  </a:ext>
                </a:extLst>
              </p:cNvPr>
              <p:cNvGrpSpPr/>
              <p:nvPr/>
            </p:nvGrpSpPr>
            <p:grpSpPr bwMode="gray">
              <a:xfrm>
                <a:off x="4428363" y="2949701"/>
                <a:ext cx="61817" cy="63722"/>
                <a:chOff x="4428363" y="2949701"/>
                <a:chExt cx="61817" cy="63722"/>
              </a:xfrm>
            </p:grpSpPr>
            <p:sp>
              <p:nvSpPr>
                <p:cNvPr id="10957" name="Freeform: Shape 10956">
                  <a:extLst>
                    <a:ext uri="{FF2B5EF4-FFF2-40B4-BE49-F238E27FC236}">
                      <a16:creationId xmlns:a16="http://schemas.microsoft.com/office/drawing/2014/main" id="{8596FD9D-6FA6-7E83-0245-19F6E4CF18CE}"/>
                    </a:ext>
                  </a:extLst>
                </p:cNvPr>
                <p:cNvSpPr/>
                <p:nvPr/>
              </p:nvSpPr>
              <p:spPr bwMode="gray">
                <a:xfrm>
                  <a:off x="4459224" y="294970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58" name="Freeform: Shape 10957">
                  <a:extLst>
                    <a:ext uri="{FF2B5EF4-FFF2-40B4-BE49-F238E27FC236}">
                      <a16:creationId xmlns:a16="http://schemas.microsoft.com/office/drawing/2014/main" id="{7933B7E5-101A-6F21-8FBC-D429DD4B032E}"/>
                    </a:ext>
                  </a:extLst>
                </p:cNvPr>
                <p:cNvSpPr/>
                <p:nvPr/>
              </p:nvSpPr>
              <p:spPr bwMode="gray">
                <a:xfrm>
                  <a:off x="4428363" y="298161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1" name="Graphic 1443">
                <a:extLst>
                  <a:ext uri="{FF2B5EF4-FFF2-40B4-BE49-F238E27FC236}">
                    <a16:creationId xmlns:a16="http://schemas.microsoft.com/office/drawing/2014/main" id="{43C18936-D77F-109D-CEC5-54A4777F802F}"/>
                  </a:ext>
                </a:extLst>
              </p:cNvPr>
              <p:cNvGrpSpPr/>
              <p:nvPr/>
            </p:nvGrpSpPr>
            <p:grpSpPr bwMode="gray">
              <a:xfrm>
                <a:off x="3589210" y="2782156"/>
                <a:ext cx="61722" cy="63722"/>
                <a:chOff x="3589210" y="2782156"/>
                <a:chExt cx="61722" cy="63722"/>
              </a:xfrm>
            </p:grpSpPr>
            <p:sp>
              <p:nvSpPr>
                <p:cNvPr id="10955" name="Freeform: Shape 10954">
                  <a:extLst>
                    <a:ext uri="{FF2B5EF4-FFF2-40B4-BE49-F238E27FC236}">
                      <a16:creationId xmlns:a16="http://schemas.microsoft.com/office/drawing/2014/main" id="{5D842CCB-EBF3-A981-4176-00D15CD54FB6}"/>
                    </a:ext>
                  </a:extLst>
                </p:cNvPr>
                <p:cNvSpPr/>
                <p:nvPr/>
              </p:nvSpPr>
              <p:spPr bwMode="gray">
                <a:xfrm>
                  <a:off x="3620071" y="2782156"/>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56" name="Freeform: Shape 10955">
                  <a:extLst>
                    <a:ext uri="{FF2B5EF4-FFF2-40B4-BE49-F238E27FC236}">
                      <a16:creationId xmlns:a16="http://schemas.microsoft.com/office/drawing/2014/main" id="{4CA38F5C-0F90-9EEE-1D06-8CA76B19C079}"/>
                    </a:ext>
                  </a:extLst>
                </p:cNvPr>
                <p:cNvSpPr/>
                <p:nvPr/>
              </p:nvSpPr>
              <p:spPr bwMode="gray">
                <a:xfrm>
                  <a:off x="3589210" y="2813970"/>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2" name="Graphic 1443">
                <a:extLst>
                  <a:ext uri="{FF2B5EF4-FFF2-40B4-BE49-F238E27FC236}">
                    <a16:creationId xmlns:a16="http://schemas.microsoft.com/office/drawing/2014/main" id="{1A2D9B1F-932E-1AF2-CE39-B68E701864BF}"/>
                  </a:ext>
                </a:extLst>
              </p:cNvPr>
              <p:cNvGrpSpPr/>
              <p:nvPr/>
            </p:nvGrpSpPr>
            <p:grpSpPr bwMode="gray">
              <a:xfrm>
                <a:off x="3558254" y="2774441"/>
                <a:ext cx="61817" cy="63722"/>
                <a:chOff x="3558254" y="2774441"/>
                <a:chExt cx="61817" cy="63722"/>
              </a:xfrm>
            </p:grpSpPr>
            <p:sp>
              <p:nvSpPr>
                <p:cNvPr id="10953" name="Freeform: Shape 10952">
                  <a:extLst>
                    <a:ext uri="{FF2B5EF4-FFF2-40B4-BE49-F238E27FC236}">
                      <a16:creationId xmlns:a16="http://schemas.microsoft.com/office/drawing/2014/main" id="{38B8739D-4048-6933-D899-F5C8886C24C9}"/>
                    </a:ext>
                  </a:extLst>
                </p:cNvPr>
                <p:cNvSpPr/>
                <p:nvPr/>
              </p:nvSpPr>
              <p:spPr bwMode="gray">
                <a:xfrm>
                  <a:off x="3589210"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54" name="Freeform: Shape 10953">
                  <a:extLst>
                    <a:ext uri="{FF2B5EF4-FFF2-40B4-BE49-F238E27FC236}">
                      <a16:creationId xmlns:a16="http://schemas.microsoft.com/office/drawing/2014/main" id="{FBFE8408-468B-79E9-11C2-A2D0AC27B213}"/>
                    </a:ext>
                  </a:extLst>
                </p:cNvPr>
                <p:cNvSpPr/>
                <p:nvPr/>
              </p:nvSpPr>
              <p:spPr bwMode="gray">
                <a:xfrm>
                  <a:off x="3558254"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3" name="Graphic 1443">
                <a:extLst>
                  <a:ext uri="{FF2B5EF4-FFF2-40B4-BE49-F238E27FC236}">
                    <a16:creationId xmlns:a16="http://schemas.microsoft.com/office/drawing/2014/main" id="{125242E1-9222-456C-2CD1-C1868B898954}"/>
                  </a:ext>
                </a:extLst>
              </p:cNvPr>
              <p:cNvGrpSpPr/>
              <p:nvPr/>
            </p:nvGrpSpPr>
            <p:grpSpPr bwMode="gray">
              <a:xfrm>
                <a:off x="3545490" y="2774441"/>
                <a:ext cx="61817" cy="63722"/>
                <a:chOff x="3545490" y="2774441"/>
                <a:chExt cx="61817" cy="63722"/>
              </a:xfrm>
            </p:grpSpPr>
            <p:sp>
              <p:nvSpPr>
                <p:cNvPr id="10951" name="Freeform: Shape 10950">
                  <a:extLst>
                    <a:ext uri="{FF2B5EF4-FFF2-40B4-BE49-F238E27FC236}">
                      <a16:creationId xmlns:a16="http://schemas.microsoft.com/office/drawing/2014/main" id="{951B6FA0-2085-DB69-992F-82313BACC5D0}"/>
                    </a:ext>
                  </a:extLst>
                </p:cNvPr>
                <p:cNvSpPr/>
                <p:nvPr/>
              </p:nvSpPr>
              <p:spPr bwMode="gray">
                <a:xfrm>
                  <a:off x="3576351"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52" name="Freeform: Shape 10951">
                  <a:extLst>
                    <a:ext uri="{FF2B5EF4-FFF2-40B4-BE49-F238E27FC236}">
                      <a16:creationId xmlns:a16="http://schemas.microsoft.com/office/drawing/2014/main" id="{B3C7961D-B844-C7D3-231A-5ADE541AB7D5}"/>
                    </a:ext>
                  </a:extLst>
                </p:cNvPr>
                <p:cNvSpPr/>
                <p:nvPr/>
              </p:nvSpPr>
              <p:spPr bwMode="gray">
                <a:xfrm>
                  <a:off x="3545490"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4" name="Graphic 1443">
                <a:extLst>
                  <a:ext uri="{FF2B5EF4-FFF2-40B4-BE49-F238E27FC236}">
                    <a16:creationId xmlns:a16="http://schemas.microsoft.com/office/drawing/2014/main" id="{9B6AFCA3-D9D3-F28B-29A2-CB99AECEEE2A}"/>
                  </a:ext>
                </a:extLst>
              </p:cNvPr>
              <p:cNvGrpSpPr/>
              <p:nvPr/>
            </p:nvGrpSpPr>
            <p:grpSpPr bwMode="gray">
              <a:xfrm>
                <a:off x="3505295" y="2774441"/>
                <a:ext cx="61817" cy="63722"/>
                <a:chOff x="3505295" y="2774441"/>
                <a:chExt cx="61817" cy="63722"/>
              </a:xfrm>
            </p:grpSpPr>
            <p:sp>
              <p:nvSpPr>
                <p:cNvPr id="10949" name="Freeform: Shape 10948">
                  <a:extLst>
                    <a:ext uri="{FF2B5EF4-FFF2-40B4-BE49-F238E27FC236}">
                      <a16:creationId xmlns:a16="http://schemas.microsoft.com/office/drawing/2014/main" id="{F82AFFE3-2243-5B01-9D39-E050B46CEAD2}"/>
                    </a:ext>
                  </a:extLst>
                </p:cNvPr>
                <p:cNvSpPr/>
                <p:nvPr/>
              </p:nvSpPr>
              <p:spPr bwMode="gray">
                <a:xfrm>
                  <a:off x="3536156" y="277444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50" name="Freeform: Shape 10949">
                  <a:extLst>
                    <a:ext uri="{FF2B5EF4-FFF2-40B4-BE49-F238E27FC236}">
                      <a16:creationId xmlns:a16="http://schemas.microsoft.com/office/drawing/2014/main" id="{5E41A281-A40B-B32D-AC7E-4BD767E834D1}"/>
                    </a:ext>
                  </a:extLst>
                </p:cNvPr>
                <p:cNvSpPr/>
                <p:nvPr/>
              </p:nvSpPr>
              <p:spPr bwMode="gray">
                <a:xfrm>
                  <a:off x="3505295" y="280635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5" name="Graphic 1443">
                <a:extLst>
                  <a:ext uri="{FF2B5EF4-FFF2-40B4-BE49-F238E27FC236}">
                    <a16:creationId xmlns:a16="http://schemas.microsoft.com/office/drawing/2014/main" id="{6C215E62-1E9A-F82E-FA42-EA25C0064BC0}"/>
                  </a:ext>
                </a:extLst>
              </p:cNvPr>
              <p:cNvGrpSpPr/>
              <p:nvPr/>
            </p:nvGrpSpPr>
            <p:grpSpPr bwMode="gray">
              <a:xfrm>
                <a:off x="3489864" y="2754343"/>
                <a:ext cx="61817" cy="63722"/>
                <a:chOff x="3489864" y="2754343"/>
                <a:chExt cx="61817" cy="63722"/>
              </a:xfrm>
            </p:grpSpPr>
            <p:sp>
              <p:nvSpPr>
                <p:cNvPr id="10947" name="Freeform: Shape 10946">
                  <a:extLst>
                    <a:ext uri="{FF2B5EF4-FFF2-40B4-BE49-F238E27FC236}">
                      <a16:creationId xmlns:a16="http://schemas.microsoft.com/office/drawing/2014/main" id="{9BA7893F-DD89-8389-5930-CD33261973C2}"/>
                    </a:ext>
                  </a:extLst>
                </p:cNvPr>
                <p:cNvSpPr/>
                <p:nvPr/>
              </p:nvSpPr>
              <p:spPr bwMode="gray">
                <a:xfrm>
                  <a:off x="3520725" y="27543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48" name="Freeform: Shape 10947">
                  <a:extLst>
                    <a:ext uri="{FF2B5EF4-FFF2-40B4-BE49-F238E27FC236}">
                      <a16:creationId xmlns:a16="http://schemas.microsoft.com/office/drawing/2014/main" id="{8B598E6E-969D-FD01-CA00-46FFB80350AB}"/>
                    </a:ext>
                  </a:extLst>
                </p:cNvPr>
                <p:cNvSpPr/>
                <p:nvPr/>
              </p:nvSpPr>
              <p:spPr bwMode="gray">
                <a:xfrm>
                  <a:off x="3489864" y="27862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6" name="Graphic 1443">
                <a:extLst>
                  <a:ext uri="{FF2B5EF4-FFF2-40B4-BE49-F238E27FC236}">
                    <a16:creationId xmlns:a16="http://schemas.microsoft.com/office/drawing/2014/main" id="{A69C4CCC-0C76-A9F3-D6C0-2C392CD2C4A2}"/>
                  </a:ext>
                </a:extLst>
              </p:cNvPr>
              <p:cNvGrpSpPr/>
              <p:nvPr/>
            </p:nvGrpSpPr>
            <p:grpSpPr bwMode="gray">
              <a:xfrm>
                <a:off x="5848635" y="3357752"/>
                <a:ext cx="61817" cy="63722"/>
                <a:chOff x="5848635" y="3357752"/>
                <a:chExt cx="61817" cy="63722"/>
              </a:xfrm>
            </p:grpSpPr>
            <p:sp>
              <p:nvSpPr>
                <p:cNvPr id="10945" name="Freeform: Shape 10944">
                  <a:extLst>
                    <a:ext uri="{FF2B5EF4-FFF2-40B4-BE49-F238E27FC236}">
                      <a16:creationId xmlns:a16="http://schemas.microsoft.com/office/drawing/2014/main" id="{C68B08D3-09B7-C9B3-C1A7-DD1A207E5F80}"/>
                    </a:ext>
                  </a:extLst>
                </p:cNvPr>
                <p:cNvSpPr/>
                <p:nvPr/>
              </p:nvSpPr>
              <p:spPr bwMode="gray">
                <a:xfrm>
                  <a:off x="5879496" y="3357752"/>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46" name="Freeform: Shape 10945">
                  <a:extLst>
                    <a:ext uri="{FF2B5EF4-FFF2-40B4-BE49-F238E27FC236}">
                      <a16:creationId xmlns:a16="http://schemas.microsoft.com/office/drawing/2014/main" id="{C44BD7C5-AB0A-CA16-098B-F0D5D367F5E2}"/>
                    </a:ext>
                  </a:extLst>
                </p:cNvPr>
                <p:cNvSpPr/>
                <p:nvPr/>
              </p:nvSpPr>
              <p:spPr bwMode="gray">
                <a:xfrm>
                  <a:off x="5848635" y="338956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7" name="Graphic 1443">
                <a:extLst>
                  <a:ext uri="{FF2B5EF4-FFF2-40B4-BE49-F238E27FC236}">
                    <a16:creationId xmlns:a16="http://schemas.microsoft.com/office/drawing/2014/main" id="{7E5D42C7-0D94-2668-5452-9FB159D015E0}"/>
                  </a:ext>
                </a:extLst>
              </p:cNvPr>
              <p:cNvGrpSpPr/>
              <p:nvPr/>
            </p:nvGrpSpPr>
            <p:grpSpPr bwMode="gray">
              <a:xfrm>
                <a:off x="5919216" y="3380803"/>
                <a:ext cx="61817" cy="63627"/>
                <a:chOff x="5919216" y="3380803"/>
                <a:chExt cx="61817" cy="63627"/>
              </a:xfrm>
            </p:grpSpPr>
            <p:sp>
              <p:nvSpPr>
                <p:cNvPr id="10943" name="Freeform: Shape 10942">
                  <a:extLst>
                    <a:ext uri="{FF2B5EF4-FFF2-40B4-BE49-F238E27FC236}">
                      <a16:creationId xmlns:a16="http://schemas.microsoft.com/office/drawing/2014/main" id="{0161ECF2-D754-4287-82DB-DB5DC398550E}"/>
                    </a:ext>
                  </a:extLst>
                </p:cNvPr>
                <p:cNvSpPr/>
                <p:nvPr/>
              </p:nvSpPr>
              <p:spPr bwMode="gray">
                <a:xfrm>
                  <a:off x="5950077" y="338080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44" name="Freeform: Shape 10943">
                  <a:extLst>
                    <a:ext uri="{FF2B5EF4-FFF2-40B4-BE49-F238E27FC236}">
                      <a16:creationId xmlns:a16="http://schemas.microsoft.com/office/drawing/2014/main" id="{D0CB7E6F-8B32-B4D1-2FAD-C64F874004BB}"/>
                    </a:ext>
                  </a:extLst>
                </p:cNvPr>
                <p:cNvSpPr/>
                <p:nvPr/>
              </p:nvSpPr>
              <p:spPr bwMode="gray">
                <a:xfrm>
                  <a:off x="5919216" y="341261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8" name="Graphic 1443">
                <a:extLst>
                  <a:ext uri="{FF2B5EF4-FFF2-40B4-BE49-F238E27FC236}">
                    <a16:creationId xmlns:a16="http://schemas.microsoft.com/office/drawing/2014/main" id="{9EDE55FD-BA8A-7F2D-358C-B67EB08E1019}"/>
                  </a:ext>
                </a:extLst>
              </p:cNvPr>
              <p:cNvGrpSpPr/>
              <p:nvPr/>
            </p:nvGrpSpPr>
            <p:grpSpPr bwMode="gray">
              <a:xfrm>
                <a:off x="5907500" y="3371563"/>
                <a:ext cx="61817" cy="63722"/>
                <a:chOff x="5907500" y="3371563"/>
                <a:chExt cx="61817" cy="63722"/>
              </a:xfrm>
            </p:grpSpPr>
            <p:sp>
              <p:nvSpPr>
                <p:cNvPr id="10941" name="Freeform: Shape 10940">
                  <a:extLst>
                    <a:ext uri="{FF2B5EF4-FFF2-40B4-BE49-F238E27FC236}">
                      <a16:creationId xmlns:a16="http://schemas.microsoft.com/office/drawing/2014/main" id="{2DEFA5C0-86E3-A2EC-F96E-872D6B1A668E}"/>
                    </a:ext>
                  </a:extLst>
                </p:cNvPr>
                <p:cNvSpPr/>
                <p:nvPr/>
              </p:nvSpPr>
              <p:spPr bwMode="gray">
                <a:xfrm>
                  <a:off x="5938456" y="33715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42" name="Freeform: Shape 10941">
                  <a:extLst>
                    <a:ext uri="{FF2B5EF4-FFF2-40B4-BE49-F238E27FC236}">
                      <a16:creationId xmlns:a16="http://schemas.microsoft.com/office/drawing/2014/main" id="{720C355A-0AEE-8E9F-1E42-4EF3C48181F5}"/>
                    </a:ext>
                  </a:extLst>
                </p:cNvPr>
                <p:cNvSpPr/>
                <p:nvPr/>
              </p:nvSpPr>
              <p:spPr bwMode="gray">
                <a:xfrm>
                  <a:off x="5907500" y="340337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19" name="Graphic 1443">
                <a:extLst>
                  <a:ext uri="{FF2B5EF4-FFF2-40B4-BE49-F238E27FC236}">
                    <a16:creationId xmlns:a16="http://schemas.microsoft.com/office/drawing/2014/main" id="{658A3566-4525-CD4A-A71D-C3FB1186BBC2}"/>
                  </a:ext>
                </a:extLst>
              </p:cNvPr>
              <p:cNvGrpSpPr/>
              <p:nvPr/>
            </p:nvGrpSpPr>
            <p:grpSpPr bwMode="gray">
              <a:xfrm>
                <a:off x="5885402" y="3366134"/>
                <a:ext cx="61817" cy="63722"/>
                <a:chOff x="5885402" y="3366134"/>
                <a:chExt cx="61817" cy="63722"/>
              </a:xfrm>
            </p:grpSpPr>
            <p:sp>
              <p:nvSpPr>
                <p:cNvPr id="10939" name="Freeform: Shape 10938">
                  <a:extLst>
                    <a:ext uri="{FF2B5EF4-FFF2-40B4-BE49-F238E27FC236}">
                      <a16:creationId xmlns:a16="http://schemas.microsoft.com/office/drawing/2014/main" id="{971E16DB-B7CB-BFA8-619E-4DF9847BFD87}"/>
                    </a:ext>
                  </a:extLst>
                </p:cNvPr>
                <p:cNvSpPr/>
                <p:nvPr/>
              </p:nvSpPr>
              <p:spPr bwMode="gray">
                <a:xfrm>
                  <a:off x="5916358" y="336613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40" name="Freeform: Shape 10939">
                  <a:extLst>
                    <a:ext uri="{FF2B5EF4-FFF2-40B4-BE49-F238E27FC236}">
                      <a16:creationId xmlns:a16="http://schemas.microsoft.com/office/drawing/2014/main" id="{1D145515-53D0-A398-8978-7B755A78CA83}"/>
                    </a:ext>
                  </a:extLst>
                </p:cNvPr>
                <p:cNvSpPr/>
                <p:nvPr/>
              </p:nvSpPr>
              <p:spPr bwMode="gray">
                <a:xfrm>
                  <a:off x="5885402" y="339804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0" name="Graphic 1443">
                <a:extLst>
                  <a:ext uri="{FF2B5EF4-FFF2-40B4-BE49-F238E27FC236}">
                    <a16:creationId xmlns:a16="http://schemas.microsoft.com/office/drawing/2014/main" id="{EC456204-AD81-FCAB-8178-D38C57C054B6}"/>
                  </a:ext>
                </a:extLst>
              </p:cNvPr>
              <p:cNvGrpSpPr/>
              <p:nvPr/>
            </p:nvGrpSpPr>
            <p:grpSpPr bwMode="gray">
              <a:xfrm>
                <a:off x="5002625" y="3153631"/>
                <a:ext cx="61817" cy="63627"/>
                <a:chOff x="5002625" y="3153631"/>
                <a:chExt cx="61817" cy="63627"/>
              </a:xfrm>
            </p:grpSpPr>
            <p:sp>
              <p:nvSpPr>
                <p:cNvPr id="10937" name="Freeform: Shape 10936">
                  <a:extLst>
                    <a:ext uri="{FF2B5EF4-FFF2-40B4-BE49-F238E27FC236}">
                      <a16:creationId xmlns:a16="http://schemas.microsoft.com/office/drawing/2014/main" id="{6E020EAA-CC70-FCE4-D13B-0520C0CEB2D3}"/>
                    </a:ext>
                  </a:extLst>
                </p:cNvPr>
                <p:cNvSpPr/>
                <p:nvPr/>
              </p:nvSpPr>
              <p:spPr bwMode="gray">
                <a:xfrm>
                  <a:off x="5033581" y="3153631"/>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38" name="Freeform: Shape 10937">
                  <a:extLst>
                    <a:ext uri="{FF2B5EF4-FFF2-40B4-BE49-F238E27FC236}">
                      <a16:creationId xmlns:a16="http://schemas.microsoft.com/office/drawing/2014/main" id="{B0D0680B-29D3-1584-73C3-B533E8E6184E}"/>
                    </a:ext>
                  </a:extLst>
                </p:cNvPr>
                <p:cNvSpPr/>
                <p:nvPr/>
              </p:nvSpPr>
              <p:spPr bwMode="gray">
                <a:xfrm>
                  <a:off x="5002625" y="318544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1" name="Graphic 1443">
                <a:extLst>
                  <a:ext uri="{FF2B5EF4-FFF2-40B4-BE49-F238E27FC236}">
                    <a16:creationId xmlns:a16="http://schemas.microsoft.com/office/drawing/2014/main" id="{AB658520-BB24-6F9B-34F0-F4792FE54B46}"/>
                  </a:ext>
                </a:extLst>
              </p:cNvPr>
              <p:cNvGrpSpPr/>
              <p:nvPr/>
            </p:nvGrpSpPr>
            <p:grpSpPr bwMode="gray">
              <a:xfrm>
                <a:off x="6077045" y="3436714"/>
                <a:ext cx="61817" cy="63722"/>
                <a:chOff x="6077045" y="3436714"/>
                <a:chExt cx="61817" cy="63722"/>
              </a:xfrm>
            </p:grpSpPr>
            <p:sp>
              <p:nvSpPr>
                <p:cNvPr id="10935" name="Freeform: Shape 10934">
                  <a:extLst>
                    <a:ext uri="{FF2B5EF4-FFF2-40B4-BE49-F238E27FC236}">
                      <a16:creationId xmlns:a16="http://schemas.microsoft.com/office/drawing/2014/main" id="{F4DBB32E-7EB0-E12B-C064-968ADEB8EA3F}"/>
                    </a:ext>
                  </a:extLst>
                </p:cNvPr>
                <p:cNvSpPr/>
                <p:nvPr/>
              </p:nvSpPr>
              <p:spPr bwMode="gray">
                <a:xfrm>
                  <a:off x="610790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36" name="Freeform: Shape 10935">
                  <a:extLst>
                    <a:ext uri="{FF2B5EF4-FFF2-40B4-BE49-F238E27FC236}">
                      <a16:creationId xmlns:a16="http://schemas.microsoft.com/office/drawing/2014/main" id="{3AC147F3-04FE-09AD-BCF5-BE86C88D361A}"/>
                    </a:ext>
                  </a:extLst>
                </p:cNvPr>
                <p:cNvSpPr/>
                <p:nvPr/>
              </p:nvSpPr>
              <p:spPr bwMode="gray">
                <a:xfrm>
                  <a:off x="6077045"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2" name="Graphic 1443">
                <a:extLst>
                  <a:ext uri="{FF2B5EF4-FFF2-40B4-BE49-F238E27FC236}">
                    <a16:creationId xmlns:a16="http://schemas.microsoft.com/office/drawing/2014/main" id="{6AD4C8A4-0EBF-0047-55FC-4567FAD34CEB}"/>
                  </a:ext>
                </a:extLst>
              </p:cNvPr>
              <p:cNvGrpSpPr/>
              <p:nvPr/>
            </p:nvGrpSpPr>
            <p:grpSpPr bwMode="gray">
              <a:xfrm>
                <a:off x="6088951" y="3436714"/>
                <a:ext cx="61817" cy="63722"/>
                <a:chOff x="6088951" y="3436714"/>
                <a:chExt cx="61817" cy="63722"/>
              </a:xfrm>
            </p:grpSpPr>
            <p:sp>
              <p:nvSpPr>
                <p:cNvPr id="10933" name="Freeform: Shape 10932">
                  <a:extLst>
                    <a:ext uri="{FF2B5EF4-FFF2-40B4-BE49-F238E27FC236}">
                      <a16:creationId xmlns:a16="http://schemas.microsoft.com/office/drawing/2014/main" id="{AF0647EA-E6E6-3F65-3C5E-68EE155618C0}"/>
                    </a:ext>
                  </a:extLst>
                </p:cNvPr>
                <p:cNvSpPr/>
                <p:nvPr/>
              </p:nvSpPr>
              <p:spPr bwMode="gray">
                <a:xfrm>
                  <a:off x="6119812"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34" name="Freeform: Shape 10933">
                  <a:extLst>
                    <a:ext uri="{FF2B5EF4-FFF2-40B4-BE49-F238E27FC236}">
                      <a16:creationId xmlns:a16="http://schemas.microsoft.com/office/drawing/2014/main" id="{60F7FBE5-EF23-5D01-19F8-BE5E404EEFED}"/>
                    </a:ext>
                  </a:extLst>
                </p:cNvPr>
                <p:cNvSpPr/>
                <p:nvPr/>
              </p:nvSpPr>
              <p:spPr bwMode="gray">
                <a:xfrm>
                  <a:off x="6088951"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3" name="Graphic 1443">
                <a:extLst>
                  <a:ext uri="{FF2B5EF4-FFF2-40B4-BE49-F238E27FC236}">
                    <a16:creationId xmlns:a16="http://schemas.microsoft.com/office/drawing/2014/main" id="{2869C6E1-75B2-4969-F591-267CB2DE9C28}"/>
                  </a:ext>
                </a:extLst>
              </p:cNvPr>
              <p:cNvGrpSpPr/>
              <p:nvPr/>
            </p:nvGrpSpPr>
            <p:grpSpPr bwMode="gray">
              <a:xfrm>
                <a:off x="6105429" y="3436714"/>
                <a:ext cx="61817" cy="63722"/>
                <a:chOff x="6105429" y="3436714"/>
                <a:chExt cx="61817" cy="63722"/>
              </a:xfrm>
            </p:grpSpPr>
            <p:sp>
              <p:nvSpPr>
                <p:cNvPr id="10931" name="Freeform: Shape 10930">
                  <a:extLst>
                    <a:ext uri="{FF2B5EF4-FFF2-40B4-BE49-F238E27FC236}">
                      <a16:creationId xmlns:a16="http://schemas.microsoft.com/office/drawing/2014/main" id="{D9565841-39F4-22B4-D81B-9BEB007D3241}"/>
                    </a:ext>
                  </a:extLst>
                </p:cNvPr>
                <p:cNvSpPr/>
                <p:nvPr/>
              </p:nvSpPr>
              <p:spPr bwMode="gray">
                <a:xfrm>
                  <a:off x="6136386"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32" name="Freeform: Shape 10931">
                  <a:extLst>
                    <a:ext uri="{FF2B5EF4-FFF2-40B4-BE49-F238E27FC236}">
                      <a16:creationId xmlns:a16="http://schemas.microsoft.com/office/drawing/2014/main" id="{AB176F7B-2465-B36F-4B09-9A1D4CD457CA}"/>
                    </a:ext>
                  </a:extLst>
                </p:cNvPr>
                <p:cNvSpPr/>
                <p:nvPr/>
              </p:nvSpPr>
              <p:spPr bwMode="gray">
                <a:xfrm>
                  <a:off x="6105429"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4" name="Graphic 1443">
                <a:extLst>
                  <a:ext uri="{FF2B5EF4-FFF2-40B4-BE49-F238E27FC236}">
                    <a16:creationId xmlns:a16="http://schemas.microsoft.com/office/drawing/2014/main" id="{48CDFE73-D71C-5DDF-32AD-3C18293E6C3D}"/>
                  </a:ext>
                </a:extLst>
              </p:cNvPr>
              <p:cNvGrpSpPr/>
              <p:nvPr/>
            </p:nvGrpSpPr>
            <p:grpSpPr bwMode="gray">
              <a:xfrm>
                <a:off x="6123432" y="3436714"/>
                <a:ext cx="61817" cy="63722"/>
                <a:chOff x="6123432" y="3436714"/>
                <a:chExt cx="61817" cy="63722"/>
              </a:xfrm>
            </p:grpSpPr>
            <p:sp>
              <p:nvSpPr>
                <p:cNvPr id="10929" name="Freeform: Shape 10928">
                  <a:extLst>
                    <a:ext uri="{FF2B5EF4-FFF2-40B4-BE49-F238E27FC236}">
                      <a16:creationId xmlns:a16="http://schemas.microsoft.com/office/drawing/2014/main" id="{F71496AE-4B87-C9DB-32A4-37EB0AED6BBF}"/>
                    </a:ext>
                  </a:extLst>
                </p:cNvPr>
                <p:cNvSpPr/>
                <p:nvPr/>
              </p:nvSpPr>
              <p:spPr bwMode="gray">
                <a:xfrm>
                  <a:off x="6154388"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30" name="Freeform: Shape 10929">
                  <a:extLst>
                    <a:ext uri="{FF2B5EF4-FFF2-40B4-BE49-F238E27FC236}">
                      <a16:creationId xmlns:a16="http://schemas.microsoft.com/office/drawing/2014/main" id="{D94D289F-58D9-10FD-4CFA-64F4DB4D4255}"/>
                    </a:ext>
                  </a:extLst>
                </p:cNvPr>
                <p:cNvSpPr/>
                <p:nvPr/>
              </p:nvSpPr>
              <p:spPr bwMode="gray">
                <a:xfrm>
                  <a:off x="6123432"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5" name="Graphic 1443">
                <a:extLst>
                  <a:ext uri="{FF2B5EF4-FFF2-40B4-BE49-F238E27FC236}">
                    <a16:creationId xmlns:a16="http://schemas.microsoft.com/office/drawing/2014/main" id="{2A34DF3C-275D-E968-80E7-DF239E7D8235}"/>
                  </a:ext>
                </a:extLst>
              </p:cNvPr>
              <p:cNvGrpSpPr/>
              <p:nvPr/>
            </p:nvGrpSpPr>
            <p:grpSpPr bwMode="gray">
              <a:xfrm>
                <a:off x="6139243" y="3436714"/>
                <a:ext cx="61817" cy="63722"/>
                <a:chOff x="6139243" y="3436714"/>
                <a:chExt cx="61817" cy="63722"/>
              </a:xfrm>
            </p:grpSpPr>
            <p:sp>
              <p:nvSpPr>
                <p:cNvPr id="10927" name="Freeform: Shape 10926">
                  <a:extLst>
                    <a:ext uri="{FF2B5EF4-FFF2-40B4-BE49-F238E27FC236}">
                      <a16:creationId xmlns:a16="http://schemas.microsoft.com/office/drawing/2014/main" id="{EE9BFAAB-0389-0D2A-E727-DA41C31C7E6E}"/>
                    </a:ext>
                  </a:extLst>
                </p:cNvPr>
                <p:cNvSpPr/>
                <p:nvPr/>
              </p:nvSpPr>
              <p:spPr bwMode="gray">
                <a:xfrm>
                  <a:off x="617010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28" name="Freeform: Shape 10927">
                  <a:extLst>
                    <a:ext uri="{FF2B5EF4-FFF2-40B4-BE49-F238E27FC236}">
                      <a16:creationId xmlns:a16="http://schemas.microsoft.com/office/drawing/2014/main" id="{54D636F1-8AEB-3B0B-3578-950249C98E61}"/>
                    </a:ext>
                  </a:extLst>
                </p:cNvPr>
                <p:cNvSpPr/>
                <p:nvPr/>
              </p:nvSpPr>
              <p:spPr bwMode="gray">
                <a:xfrm>
                  <a:off x="6139243"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6" name="Graphic 1443">
                <a:extLst>
                  <a:ext uri="{FF2B5EF4-FFF2-40B4-BE49-F238E27FC236}">
                    <a16:creationId xmlns:a16="http://schemas.microsoft.com/office/drawing/2014/main" id="{94322BCE-5DF9-DBB9-4278-699954FFEBD5}"/>
                  </a:ext>
                </a:extLst>
              </p:cNvPr>
              <p:cNvGrpSpPr/>
              <p:nvPr/>
            </p:nvGrpSpPr>
            <p:grpSpPr bwMode="gray">
              <a:xfrm>
                <a:off x="6146768" y="3436714"/>
                <a:ext cx="61817" cy="63722"/>
                <a:chOff x="6146768" y="3436714"/>
                <a:chExt cx="61817" cy="63722"/>
              </a:xfrm>
            </p:grpSpPr>
            <p:sp>
              <p:nvSpPr>
                <p:cNvPr id="10925" name="Freeform: Shape 10924">
                  <a:extLst>
                    <a:ext uri="{FF2B5EF4-FFF2-40B4-BE49-F238E27FC236}">
                      <a16:creationId xmlns:a16="http://schemas.microsoft.com/office/drawing/2014/main" id="{3FE6E84E-71F4-2E2A-9510-24428DC052CC}"/>
                    </a:ext>
                  </a:extLst>
                </p:cNvPr>
                <p:cNvSpPr/>
                <p:nvPr/>
              </p:nvSpPr>
              <p:spPr bwMode="gray">
                <a:xfrm>
                  <a:off x="6177724"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26" name="Freeform: Shape 10925">
                  <a:extLst>
                    <a:ext uri="{FF2B5EF4-FFF2-40B4-BE49-F238E27FC236}">
                      <a16:creationId xmlns:a16="http://schemas.microsoft.com/office/drawing/2014/main" id="{C7220E9F-089A-D032-2AB5-23E4AFC16BA8}"/>
                    </a:ext>
                  </a:extLst>
                </p:cNvPr>
                <p:cNvSpPr/>
                <p:nvPr/>
              </p:nvSpPr>
              <p:spPr bwMode="gray">
                <a:xfrm>
                  <a:off x="614676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7" name="Graphic 1443">
                <a:extLst>
                  <a:ext uri="{FF2B5EF4-FFF2-40B4-BE49-F238E27FC236}">
                    <a16:creationId xmlns:a16="http://schemas.microsoft.com/office/drawing/2014/main" id="{2971B6E1-B918-D136-DBA4-198FF978DED6}"/>
                  </a:ext>
                </a:extLst>
              </p:cNvPr>
              <p:cNvGrpSpPr/>
              <p:nvPr/>
            </p:nvGrpSpPr>
            <p:grpSpPr bwMode="gray">
              <a:xfrm>
                <a:off x="6154388" y="3436714"/>
                <a:ext cx="61817" cy="63722"/>
                <a:chOff x="6154388" y="3436714"/>
                <a:chExt cx="61817" cy="63722"/>
              </a:xfrm>
            </p:grpSpPr>
            <p:sp>
              <p:nvSpPr>
                <p:cNvPr id="10923" name="Freeform: Shape 10922">
                  <a:extLst>
                    <a:ext uri="{FF2B5EF4-FFF2-40B4-BE49-F238E27FC236}">
                      <a16:creationId xmlns:a16="http://schemas.microsoft.com/office/drawing/2014/main" id="{E085BF90-1E53-F19D-97A0-4EBA6940B217}"/>
                    </a:ext>
                  </a:extLst>
                </p:cNvPr>
                <p:cNvSpPr/>
                <p:nvPr/>
              </p:nvSpPr>
              <p:spPr bwMode="gray">
                <a:xfrm>
                  <a:off x="6185249" y="3436714"/>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24" name="Freeform: Shape 10923">
                  <a:extLst>
                    <a:ext uri="{FF2B5EF4-FFF2-40B4-BE49-F238E27FC236}">
                      <a16:creationId xmlns:a16="http://schemas.microsoft.com/office/drawing/2014/main" id="{3C29D5EB-2CD7-F740-58D4-4D3A6A695595}"/>
                    </a:ext>
                  </a:extLst>
                </p:cNvPr>
                <p:cNvSpPr/>
                <p:nvPr/>
              </p:nvSpPr>
              <p:spPr bwMode="gray">
                <a:xfrm>
                  <a:off x="6154388" y="3468528"/>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8" name="Graphic 1443">
                <a:extLst>
                  <a:ext uri="{FF2B5EF4-FFF2-40B4-BE49-F238E27FC236}">
                    <a16:creationId xmlns:a16="http://schemas.microsoft.com/office/drawing/2014/main" id="{C89BED6D-F95C-BD28-5C88-463E09E7D9FD}"/>
                  </a:ext>
                </a:extLst>
              </p:cNvPr>
              <p:cNvGrpSpPr/>
              <p:nvPr/>
            </p:nvGrpSpPr>
            <p:grpSpPr bwMode="gray">
              <a:xfrm>
                <a:off x="6346793" y="3464813"/>
                <a:ext cx="61817" cy="63626"/>
                <a:chOff x="6346793" y="3464813"/>
                <a:chExt cx="61817" cy="63626"/>
              </a:xfrm>
            </p:grpSpPr>
            <p:sp>
              <p:nvSpPr>
                <p:cNvPr id="10921" name="Freeform: Shape 10920">
                  <a:extLst>
                    <a:ext uri="{FF2B5EF4-FFF2-40B4-BE49-F238E27FC236}">
                      <a16:creationId xmlns:a16="http://schemas.microsoft.com/office/drawing/2014/main" id="{7EB490DD-D2E1-72A4-3E2A-CF37E9BBD9B9}"/>
                    </a:ext>
                  </a:extLst>
                </p:cNvPr>
                <p:cNvSpPr/>
                <p:nvPr/>
              </p:nvSpPr>
              <p:spPr bwMode="gray">
                <a:xfrm>
                  <a:off x="6377654" y="3464813"/>
                  <a:ext cx="9525" cy="63626"/>
                </a:xfrm>
                <a:custGeom>
                  <a:avLst/>
                  <a:gdLst>
                    <a:gd name="connsiteX0" fmla="*/ 0 w 9525"/>
                    <a:gd name="connsiteY0" fmla="*/ 0 h 63626"/>
                    <a:gd name="connsiteX1" fmla="*/ 0 w 9525"/>
                    <a:gd name="connsiteY1" fmla="*/ 63627 h 63626"/>
                  </a:gdLst>
                  <a:ahLst/>
                  <a:cxnLst>
                    <a:cxn ang="0">
                      <a:pos x="connsiteX0" y="connsiteY0"/>
                    </a:cxn>
                    <a:cxn ang="0">
                      <a:pos x="connsiteX1" y="connsiteY1"/>
                    </a:cxn>
                  </a:cxnLst>
                  <a:rect l="l" t="t" r="r" b="b"/>
                  <a:pathLst>
                    <a:path w="9525" h="63626">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22" name="Freeform: Shape 10921">
                  <a:extLst>
                    <a:ext uri="{FF2B5EF4-FFF2-40B4-BE49-F238E27FC236}">
                      <a16:creationId xmlns:a16="http://schemas.microsoft.com/office/drawing/2014/main" id="{398975D6-6704-7F96-E2D7-8A105EE8CFFF}"/>
                    </a:ext>
                  </a:extLst>
                </p:cNvPr>
                <p:cNvSpPr/>
                <p:nvPr/>
              </p:nvSpPr>
              <p:spPr bwMode="gray">
                <a:xfrm>
                  <a:off x="6346793" y="3496627"/>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29" name="Graphic 1443">
                <a:extLst>
                  <a:ext uri="{FF2B5EF4-FFF2-40B4-BE49-F238E27FC236}">
                    <a16:creationId xmlns:a16="http://schemas.microsoft.com/office/drawing/2014/main" id="{B2AE8E04-B5AC-DDED-C6AF-9E66FBC7BB04}"/>
                  </a:ext>
                </a:extLst>
              </p:cNvPr>
              <p:cNvGrpSpPr/>
              <p:nvPr/>
            </p:nvGrpSpPr>
            <p:grpSpPr bwMode="gray">
              <a:xfrm>
                <a:off x="6578822" y="3550443"/>
                <a:ext cx="61817" cy="63722"/>
                <a:chOff x="6578822" y="3550443"/>
                <a:chExt cx="61817" cy="63722"/>
              </a:xfrm>
            </p:grpSpPr>
            <p:sp>
              <p:nvSpPr>
                <p:cNvPr id="10919" name="Freeform: Shape 10918">
                  <a:extLst>
                    <a:ext uri="{FF2B5EF4-FFF2-40B4-BE49-F238E27FC236}">
                      <a16:creationId xmlns:a16="http://schemas.microsoft.com/office/drawing/2014/main" id="{24C2FF2F-8D13-D4E9-039E-D2065CF9BDA4}"/>
                    </a:ext>
                  </a:extLst>
                </p:cNvPr>
                <p:cNvSpPr/>
                <p:nvPr/>
              </p:nvSpPr>
              <p:spPr bwMode="gray">
                <a:xfrm>
                  <a:off x="6609683"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20" name="Freeform: Shape 10919">
                  <a:extLst>
                    <a:ext uri="{FF2B5EF4-FFF2-40B4-BE49-F238E27FC236}">
                      <a16:creationId xmlns:a16="http://schemas.microsoft.com/office/drawing/2014/main" id="{233FF3BC-AE69-BD66-E3D8-A6F79EA8A1CE}"/>
                    </a:ext>
                  </a:extLst>
                </p:cNvPr>
                <p:cNvSpPr/>
                <p:nvPr/>
              </p:nvSpPr>
              <p:spPr bwMode="gray">
                <a:xfrm>
                  <a:off x="6578822"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0" name="Graphic 1443">
                <a:extLst>
                  <a:ext uri="{FF2B5EF4-FFF2-40B4-BE49-F238E27FC236}">
                    <a16:creationId xmlns:a16="http://schemas.microsoft.com/office/drawing/2014/main" id="{88D934AB-3AFA-01FC-B462-1F0B98ED3F7E}"/>
                  </a:ext>
                </a:extLst>
              </p:cNvPr>
              <p:cNvGrpSpPr/>
              <p:nvPr/>
            </p:nvGrpSpPr>
            <p:grpSpPr bwMode="gray">
              <a:xfrm>
                <a:off x="6643211" y="3550443"/>
                <a:ext cx="61817" cy="63722"/>
                <a:chOff x="6643211" y="3550443"/>
                <a:chExt cx="61817" cy="63722"/>
              </a:xfrm>
            </p:grpSpPr>
            <p:sp>
              <p:nvSpPr>
                <p:cNvPr id="10917" name="Freeform: Shape 10916">
                  <a:extLst>
                    <a:ext uri="{FF2B5EF4-FFF2-40B4-BE49-F238E27FC236}">
                      <a16:creationId xmlns:a16="http://schemas.microsoft.com/office/drawing/2014/main" id="{FE246963-1370-38CC-F855-7769A7F472C5}"/>
                    </a:ext>
                  </a:extLst>
                </p:cNvPr>
                <p:cNvSpPr/>
                <p:nvPr/>
              </p:nvSpPr>
              <p:spPr bwMode="gray">
                <a:xfrm>
                  <a:off x="6674072"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18" name="Freeform: Shape 10917">
                  <a:extLst>
                    <a:ext uri="{FF2B5EF4-FFF2-40B4-BE49-F238E27FC236}">
                      <a16:creationId xmlns:a16="http://schemas.microsoft.com/office/drawing/2014/main" id="{4B34061E-A9E9-A801-60F2-9323C50B1D46}"/>
                    </a:ext>
                  </a:extLst>
                </p:cNvPr>
                <p:cNvSpPr/>
                <p:nvPr/>
              </p:nvSpPr>
              <p:spPr bwMode="gray">
                <a:xfrm>
                  <a:off x="664321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1" name="Graphic 1443">
                <a:extLst>
                  <a:ext uri="{FF2B5EF4-FFF2-40B4-BE49-F238E27FC236}">
                    <a16:creationId xmlns:a16="http://schemas.microsoft.com/office/drawing/2014/main" id="{67E6D254-9FAC-7B22-3BB4-538F93F3362E}"/>
                  </a:ext>
                </a:extLst>
              </p:cNvPr>
              <p:cNvGrpSpPr/>
              <p:nvPr/>
            </p:nvGrpSpPr>
            <p:grpSpPr bwMode="gray">
              <a:xfrm>
                <a:off x="6560248" y="3550443"/>
                <a:ext cx="61817" cy="63722"/>
                <a:chOff x="6560248" y="3550443"/>
                <a:chExt cx="61817" cy="63722"/>
              </a:xfrm>
            </p:grpSpPr>
            <p:sp>
              <p:nvSpPr>
                <p:cNvPr id="10915" name="Freeform: Shape 10914">
                  <a:extLst>
                    <a:ext uri="{FF2B5EF4-FFF2-40B4-BE49-F238E27FC236}">
                      <a16:creationId xmlns:a16="http://schemas.microsoft.com/office/drawing/2014/main" id="{A9215232-CE09-F22A-299D-61F6AB25F710}"/>
                    </a:ext>
                  </a:extLst>
                </p:cNvPr>
                <p:cNvSpPr/>
                <p:nvPr/>
              </p:nvSpPr>
              <p:spPr bwMode="gray">
                <a:xfrm>
                  <a:off x="659120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16" name="Freeform: Shape 10915">
                  <a:extLst>
                    <a:ext uri="{FF2B5EF4-FFF2-40B4-BE49-F238E27FC236}">
                      <a16:creationId xmlns:a16="http://schemas.microsoft.com/office/drawing/2014/main" id="{8876207A-F13F-B137-7155-7529BA76998D}"/>
                    </a:ext>
                  </a:extLst>
                </p:cNvPr>
                <p:cNvSpPr/>
                <p:nvPr/>
              </p:nvSpPr>
              <p:spPr bwMode="gray">
                <a:xfrm>
                  <a:off x="6560248"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2" name="Graphic 1443">
                <a:extLst>
                  <a:ext uri="{FF2B5EF4-FFF2-40B4-BE49-F238E27FC236}">
                    <a16:creationId xmlns:a16="http://schemas.microsoft.com/office/drawing/2014/main" id="{FD8CD0A7-86C4-4F80-2258-B796B1C2F9D6}"/>
                  </a:ext>
                </a:extLst>
              </p:cNvPr>
              <p:cNvGrpSpPr/>
              <p:nvPr/>
            </p:nvGrpSpPr>
            <p:grpSpPr bwMode="gray">
              <a:xfrm>
                <a:off x="6569583" y="3550443"/>
                <a:ext cx="61817" cy="63722"/>
                <a:chOff x="6569583" y="3550443"/>
                <a:chExt cx="61817" cy="63722"/>
              </a:xfrm>
            </p:grpSpPr>
            <p:sp>
              <p:nvSpPr>
                <p:cNvPr id="10913" name="Freeform: Shape 10912">
                  <a:extLst>
                    <a:ext uri="{FF2B5EF4-FFF2-40B4-BE49-F238E27FC236}">
                      <a16:creationId xmlns:a16="http://schemas.microsoft.com/office/drawing/2014/main" id="{E4DF6962-0FE1-46C0-4E1C-74AD9CFBCE52}"/>
                    </a:ext>
                  </a:extLst>
                </p:cNvPr>
                <p:cNvSpPr/>
                <p:nvPr/>
              </p:nvSpPr>
              <p:spPr bwMode="gray">
                <a:xfrm>
                  <a:off x="6600444"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14" name="Freeform: Shape 10913">
                  <a:extLst>
                    <a:ext uri="{FF2B5EF4-FFF2-40B4-BE49-F238E27FC236}">
                      <a16:creationId xmlns:a16="http://schemas.microsoft.com/office/drawing/2014/main" id="{AB4206E7-63D2-AA25-DF52-A962423613B2}"/>
                    </a:ext>
                  </a:extLst>
                </p:cNvPr>
                <p:cNvSpPr/>
                <p:nvPr/>
              </p:nvSpPr>
              <p:spPr bwMode="gray">
                <a:xfrm>
                  <a:off x="6569583"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3" name="Graphic 1443">
                <a:extLst>
                  <a:ext uri="{FF2B5EF4-FFF2-40B4-BE49-F238E27FC236}">
                    <a16:creationId xmlns:a16="http://schemas.microsoft.com/office/drawing/2014/main" id="{659E194D-65F2-EDE8-C096-B6948E0AAD49}"/>
                  </a:ext>
                </a:extLst>
              </p:cNvPr>
              <p:cNvGrpSpPr/>
              <p:nvPr/>
            </p:nvGrpSpPr>
            <p:grpSpPr bwMode="gray">
              <a:xfrm>
                <a:off x="6588061" y="3550443"/>
                <a:ext cx="61817" cy="63722"/>
                <a:chOff x="6588061" y="3550443"/>
                <a:chExt cx="61817" cy="63722"/>
              </a:xfrm>
            </p:grpSpPr>
            <p:sp>
              <p:nvSpPr>
                <p:cNvPr id="10911" name="Freeform: Shape 10910">
                  <a:extLst>
                    <a:ext uri="{FF2B5EF4-FFF2-40B4-BE49-F238E27FC236}">
                      <a16:creationId xmlns:a16="http://schemas.microsoft.com/office/drawing/2014/main" id="{A79D3E01-4358-1B39-70AD-347CB6764F1D}"/>
                    </a:ext>
                  </a:extLst>
                </p:cNvPr>
                <p:cNvSpPr/>
                <p:nvPr/>
              </p:nvSpPr>
              <p:spPr bwMode="gray">
                <a:xfrm>
                  <a:off x="661901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12" name="Freeform: Shape 10911">
                  <a:extLst>
                    <a:ext uri="{FF2B5EF4-FFF2-40B4-BE49-F238E27FC236}">
                      <a16:creationId xmlns:a16="http://schemas.microsoft.com/office/drawing/2014/main" id="{0EECC97C-4FD0-03B5-2523-2EE5DAEE1DD4}"/>
                    </a:ext>
                  </a:extLst>
                </p:cNvPr>
                <p:cNvSpPr/>
                <p:nvPr/>
              </p:nvSpPr>
              <p:spPr bwMode="gray">
                <a:xfrm>
                  <a:off x="658806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4" name="Graphic 1443">
                <a:extLst>
                  <a:ext uri="{FF2B5EF4-FFF2-40B4-BE49-F238E27FC236}">
                    <a16:creationId xmlns:a16="http://schemas.microsoft.com/office/drawing/2014/main" id="{52FD51C8-45EC-6C39-7437-E01F0C5466DC}"/>
                  </a:ext>
                </a:extLst>
              </p:cNvPr>
              <p:cNvGrpSpPr/>
              <p:nvPr/>
            </p:nvGrpSpPr>
            <p:grpSpPr bwMode="gray">
              <a:xfrm>
                <a:off x="6612255" y="3550443"/>
                <a:ext cx="61817" cy="63722"/>
                <a:chOff x="6612255" y="3550443"/>
                <a:chExt cx="61817" cy="63722"/>
              </a:xfrm>
            </p:grpSpPr>
            <p:sp>
              <p:nvSpPr>
                <p:cNvPr id="10909" name="Freeform: Shape 10908">
                  <a:extLst>
                    <a:ext uri="{FF2B5EF4-FFF2-40B4-BE49-F238E27FC236}">
                      <a16:creationId xmlns:a16="http://schemas.microsoft.com/office/drawing/2014/main" id="{5FB8F5FB-4255-04E3-CD65-416C4CA922DD}"/>
                    </a:ext>
                  </a:extLst>
                </p:cNvPr>
                <p:cNvSpPr/>
                <p:nvPr/>
              </p:nvSpPr>
              <p:spPr bwMode="gray">
                <a:xfrm>
                  <a:off x="6643211"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10" name="Freeform: Shape 10909">
                  <a:extLst>
                    <a:ext uri="{FF2B5EF4-FFF2-40B4-BE49-F238E27FC236}">
                      <a16:creationId xmlns:a16="http://schemas.microsoft.com/office/drawing/2014/main" id="{A41B0843-3B36-9D6F-6B12-83AB1C662F9E}"/>
                    </a:ext>
                  </a:extLst>
                </p:cNvPr>
                <p:cNvSpPr/>
                <p:nvPr/>
              </p:nvSpPr>
              <p:spPr bwMode="gray">
                <a:xfrm>
                  <a:off x="6612255"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5" name="Graphic 1443">
                <a:extLst>
                  <a:ext uri="{FF2B5EF4-FFF2-40B4-BE49-F238E27FC236}">
                    <a16:creationId xmlns:a16="http://schemas.microsoft.com/office/drawing/2014/main" id="{F4AD4F2A-1589-4EBA-CEED-E16469120C2C}"/>
                  </a:ext>
                </a:extLst>
              </p:cNvPr>
              <p:cNvGrpSpPr/>
              <p:nvPr/>
            </p:nvGrpSpPr>
            <p:grpSpPr bwMode="gray">
              <a:xfrm>
                <a:off x="6627780" y="3550443"/>
                <a:ext cx="61817" cy="63722"/>
                <a:chOff x="6627780" y="3550443"/>
                <a:chExt cx="61817" cy="63722"/>
              </a:xfrm>
            </p:grpSpPr>
            <p:sp>
              <p:nvSpPr>
                <p:cNvPr id="10907" name="Freeform: Shape 10906">
                  <a:extLst>
                    <a:ext uri="{FF2B5EF4-FFF2-40B4-BE49-F238E27FC236}">
                      <a16:creationId xmlns:a16="http://schemas.microsoft.com/office/drawing/2014/main" id="{E74B6990-39C3-43CD-DB4F-A14E49E37B9A}"/>
                    </a:ext>
                  </a:extLst>
                </p:cNvPr>
                <p:cNvSpPr/>
                <p:nvPr/>
              </p:nvSpPr>
              <p:spPr bwMode="gray">
                <a:xfrm>
                  <a:off x="665873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08" name="Freeform: Shape 10907">
                  <a:extLst>
                    <a:ext uri="{FF2B5EF4-FFF2-40B4-BE49-F238E27FC236}">
                      <a16:creationId xmlns:a16="http://schemas.microsoft.com/office/drawing/2014/main" id="{A8DBE845-86C9-DEF0-6B48-2EE33DDD96F5}"/>
                    </a:ext>
                  </a:extLst>
                </p:cNvPr>
                <p:cNvSpPr/>
                <p:nvPr/>
              </p:nvSpPr>
              <p:spPr bwMode="gray">
                <a:xfrm>
                  <a:off x="6627780"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6" name="Graphic 1443">
                <a:extLst>
                  <a:ext uri="{FF2B5EF4-FFF2-40B4-BE49-F238E27FC236}">
                    <a16:creationId xmlns:a16="http://schemas.microsoft.com/office/drawing/2014/main" id="{DF9A22E2-D787-7004-8C94-89560640046D}"/>
                  </a:ext>
                </a:extLst>
              </p:cNvPr>
              <p:cNvGrpSpPr/>
              <p:nvPr/>
            </p:nvGrpSpPr>
            <p:grpSpPr bwMode="gray">
              <a:xfrm>
                <a:off x="6603301" y="3550443"/>
                <a:ext cx="61817" cy="63722"/>
                <a:chOff x="6603301" y="3550443"/>
                <a:chExt cx="61817" cy="63722"/>
              </a:xfrm>
            </p:grpSpPr>
            <p:sp>
              <p:nvSpPr>
                <p:cNvPr id="10905" name="Freeform: Shape 10904">
                  <a:extLst>
                    <a:ext uri="{FF2B5EF4-FFF2-40B4-BE49-F238E27FC236}">
                      <a16:creationId xmlns:a16="http://schemas.microsoft.com/office/drawing/2014/main" id="{44D42665-664C-727B-993F-78B795B73A8A}"/>
                    </a:ext>
                  </a:extLst>
                </p:cNvPr>
                <p:cNvSpPr/>
                <p:nvPr/>
              </p:nvSpPr>
              <p:spPr bwMode="gray">
                <a:xfrm>
                  <a:off x="6634257"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06" name="Freeform: Shape 10905">
                  <a:extLst>
                    <a:ext uri="{FF2B5EF4-FFF2-40B4-BE49-F238E27FC236}">
                      <a16:creationId xmlns:a16="http://schemas.microsoft.com/office/drawing/2014/main" id="{7C5C5EB5-F12A-DD27-7286-C4273F6D1E59}"/>
                    </a:ext>
                  </a:extLst>
                </p:cNvPr>
                <p:cNvSpPr/>
                <p:nvPr/>
              </p:nvSpPr>
              <p:spPr bwMode="gray">
                <a:xfrm>
                  <a:off x="6603301"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7" name="Graphic 1443">
                <a:extLst>
                  <a:ext uri="{FF2B5EF4-FFF2-40B4-BE49-F238E27FC236}">
                    <a16:creationId xmlns:a16="http://schemas.microsoft.com/office/drawing/2014/main" id="{53762EB9-424C-F57A-540F-92AF4B3DE837}"/>
                  </a:ext>
                </a:extLst>
              </p:cNvPr>
              <p:cNvGrpSpPr/>
              <p:nvPr/>
            </p:nvGrpSpPr>
            <p:grpSpPr bwMode="gray">
              <a:xfrm>
                <a:off x="6652164" y="3550443"/>
                <a:ext cx="61817" cy="63722"/>
                <a:chOff x="6652164" y="3550443"/>
                <a:chExt cx="61817" cy="63722"/>
              </a:xfrm>
            </p:grpSpPr>
            <p:sp>
              <p:nvSpPr>
                <p:cNvPr id="10903" name="Freeform: Shape 10902">
                  <a:extLst>
                    <a:ext uri="{FF2B5EF4-FFF2-40B4-BE49-F238E27FC236}">
                      <a16:creationId xmlns:a16="http://schemas.microsoft.com/office/drawing/2014/main" id="{81A6547E-7E2C-1907-07D1-A9A86878B08E}"/>
                    </a:ext>
                  </a:extLst>
                </p:cNvPr>
                <p:cNvSpPr/>
                <p:nvPr/>
              </p:nvSpPr>
              <p:spPr bwMode="gray">
                <a:xfrm>
                  <a:off x="6683025" y="355044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04" name="Freeform: Shape 10903">
                  <a:extLst>
                    <a:ext uri="{FF2B5EF4-FFF2-40B4-BE49-F238E27FC236}">
                      <a16:creationId xmlns:a16="http://schemas.microsoft.com/office/drawing/2014/main" id="{DE458D94-BB88-F102-DCF5-5D87DE8AB9AA}"/>
                    </a:ext>
                  </a:extLst>
                </p:cNvPr>
                <p:cNvSpPr/>
                <p:nvPr/>
              </p:nvSpPr>
              <p:spPr bwMode="gray">
                <a:xfrm>
                  <a:off x="6652164" y="3582352"/>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8" name="Graphic 1443">
                <a:extLst>
                  <a:ext uri="{FF2B5EF4-FFF2-40B4-BE49-F238E27FC236}">
                    <a16:creationId xmlns:a16="http://schemas.microsoft.com/office/drawing/2014/main" id="{2CAAF77E-AF62-BE3D-FE99-254E57AEC856}"/>
                  </a:ext>
                </a:extLst>
              </p:cNvPr>
              <p:cNvGrpSpPr/>
              <p:nvPr/>
            </p:nvGrpSpPr>
            <p:grpSpPr bwMode="gray">
              <a:xfrm>
                <a:off x="6726269" y="3582352"/>
                <a:ext cx="61817" cy="63627"/>
                <a:chOff x="6726269" y="3582352"/>
                <a:chExt cx="61817" cy="63627"/>
              </a:xfrm>
            </p:grpSpPr>
            <p:sp>
              <p:nvSpPr>
                <p:cNvPr id="10901" name="Freeform: Shape 10900">
                  <a:extLst>
                    <a:ext uri="{FF2B5EF4-FFF2-40B4-BE49-F238E27FC236}">
                      <a16:creationId xmlns:a16="http://schemas.microsoft.com/office/drawing/2014/main" id="{13A19D56-7610-D284-13CD-492E8742F86A}"/>
                    </a:ext>
                  </a:extLst>
                </p:cNvPr>
                <p:cNvSpPr/>
                <p:nvPr/>
              </p:nvSpPr>
              <p:spPr bwMode="gray">
                <a:xfrm>
                  <a:off x="675713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02" name="Freeform: Shape 10901">
                  <a:extLst>
                    <a:ext uri="{FF2B5EF4-FFF2-40B4-BE49-F238E27FC236}">
                      <a16:creationId xmlns:a16="http://schemas.microsoft.com/office/drawing/2014/main" id="{5E38AC03-DE5E-DC1B-9672-A802DC64BCEB}"/>
                    </a:ext>
                  </a:extLst>
                </p:cNvPr>
                <p:cNvSpPr/>
                <p:nvPr/>
              </p:nvSpPr>
              <p:spPr bwMode="gray">
                <a:xfrm>
                  <a:off x="672626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39" name="Graphic 1443">
                <a:extLst>
                  <a:ext uri="{FF2B5EF4-FFF2-40B4-BE49-F238E27FC236}">
                    <a16:creationId xmlns:a16="http://schemas.microsoft.com/office/drawing/2014/main" id="{360EB4C4-A773-889A-CEBB-AD8EF74776BD}"/>
                  </a:ext>
                </a:extLst>
              </p:cNvPr>
              <p:cNvGrpSpPr/>
              <p:nvPr/>
            </p:nvGrpSpPr>
            <p:grpSpPr bwMode="gray">
              <a:xfrm>
                <a:off x="6847141" y="3582352"/>
                <a:ext cx="61817" cy="63627"/>
                <a:chOff x="6847141" y="3582352"/>
                <a:chExt cx="61817" cy="63627"/>
              </a:xfrm>
            </p:grpSpPr>
            <p:sp>
              <p:nvSpPr>
                <p:cNvPr id="10899" name="Freeform: Shape 10898">
                  <a:extLst>
                    <a:ext uri="{FF2B5EF4-FFF2-40B4-BE49-F238E27FC236}">
                      <a16:creationId xmlns:a16="http://schemas.microsoft.com/office/drawing/2014/main" id="{3B44EACA-2161-5283-253C-9DAEDA5C3DF5}"/>
                    </a:ext>
                  </a:extLst>
                </p:cNvPr>
                <p:cNvSpPr/>
                <p:nvPr/>
              </p:nvSpPr>
              <p:spPr bwMode="gray">
                <a:xfrm>
                  <a:off x="6878002"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00" name="Freeform: Shape 10899">
                  <a:extLst>
                    <a:ext uri="{FF2B5EF4-FFF2-40B4-BE49-F238E27FC236}">
                      <a16:creationId xmlns:a16="http://schemas.microsoft.com/office/drawing/2014/main" id="{A0CFAF5C-6AF9-3202-3110-57CFF928DA1C}"/>
                    </a:ext>
                  </a:extLst>
                </p:cNvPr>
                <p:cNvSpPr/>
                <p:nvPr/>
              </p:nvSpPr>
              <p:spPr bwMode="gray">
                <a:xfrm>
                  <a:off x="684714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0" name="Graphic 1443">
                <a:extLst>
                  <a:ext uri="{FF2B5EF4-FFF2-40B4-BE49-F238E27FC236}">
                    <a16:creationId xmlns:a16="http://schemas.microsoft.com/office/drawing/2014/main" id="{3F59C690-AD55-1E39-1AE5-784E45968687}"/>
                  </a:ext>
                </a:extLst>
              </p:cNvPr>
              <p:cNvGrpSpPr/>
              <p:nvPr/>
            </p:nvGrpSpPr>
            <p:grpSpPr bwMode="gray">
              <a:xfrm>
                <a:off x="6819423" y="3582352"/>
                <a:ext cx="61817" cy="63627"/>
                <a:chOff x="6819423" y="3582352"/>
                <a:chExt cx="61817" cy="63627"/>
              </a:xfrm>
            </p:grpSpPr>
            <p:sp>
              <p:nvSpPr>
                <p:cNvPr id="10897" name="Freeform: Shape 10896">
                  <a:extLst>
                    <a:ext uri="{FF2B5EF4-FFF2-40B4-BE49-F238E27FC236}">
                      <a16:creationId xmlns:a16="http://schemas.microsoft.com/office/drawing/2014/main" id="{5C9C2927-E904-78A8-724C-370F62BAF642}"/>
                    </a:ext>
                  </a:extLst>
                </p:cNvPr>
                <p:cNvSpPr/>
                <p:nvPr/>
              </p:nvSpPr>
              <p:spPr bwMode="gray">
                <a:xfrm>
                  <a:off x="685038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98" name="Freeform: Shape 10897">
                  <a:extLst>
                    <a:ext uri="{FF2B5EF4-FFF2-40B4-BE49-F238E27FC236}">
                      <a16:creationId xmlns:a16="http://schemas.microsoft.com/office/drawing/2014/main" id="{C61B5840-9072-508D-F943-B1C9D937AC40}"/>
                    </a:ext>
                  </a:extLst>
                </p:cNvPr>
                <p:cNvSpPr/>
                <p:nvPr/>
              </p:nvSpPr>
              <p:spPr bwMode="gray">
                <a:xfrm>
                  <a:off x="6819423"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1" name="Graphic 1443">
                <a:extLst>
                  <a:ext uri="{FF2B5EF4-FFF2-40B4-BE49-F238E27FC236}">
                    <a16:creationId xmlns:a16="http://schemas.microsoft.com/office/drawing/2014/main" id="{56D369E2-AC4B-C91D-79B3-29B6BE7BBB6A}"/>
                  </a:ext>
                </a:extLst>
              </p:cNvPr>
              <p:cNvGrpSpPr/>
              <p:nvPr/>
            </p:nvGrpSpPr>
            <p:grpSpPr bwMode="gray">
              <a:xfrm>
                <a:off x="6788562" y="3582352"/>
                <a:ext cx="61817" cy="63627"/>
                <a:chOff x="6788562" y="3582352"/>
                <a:chExt cx="61817" cy="63627"/>
              </a:xfrm>
            </p:grpSpPr>
            <p:sp>
              <p:nvSpPr>
                <p:cNvPr id="10895" name="Freeform: Shape 10894">
                  <a:extLst>
                    <a:ext uri="{FF2B5EF4-FFF2-40B4-BE49-F238E27FC236}">
                      <a16:creationId xmlns:a16="http://schemas.microsoft.com/office/drawing/2014/main" id="{EDA3964F-E98A-CFA4-1901-6FCEB3009D7E}"/>
                    </a:ext>
                  </a:extLst>
                </p:cNvPr>
                <p:cNvSpPr/>
                <p:nvPr/>
              </p:nvSpPr>
              <p:spPr bwMode="gray">
                <a:xfrm>
                  <a:off x="6819423"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96" name="Freeform: Shape 10895">
                  <a:extLst>
                    <a:ext uri="{FF2B5EF4-FFF2-40B4-BE49-F238E27FC236}">
                      <a16:creationId xmlns:a16="http://schemas.microsoft.com/office/drawing/2014/main" id="{D2118399-7DF6-CB61-089F-CBD06E2814DF}"/>
                    </a:ext>
                  </a:extLst>
                </p:cNvPr>
                <p:cNvSpPr/>
                <p:nvPr/>
              </p:nvSpPr>
              <p:spPr bwMode="gray">
                <a:xfrm>
                  <a:off x="6788562"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2" name="Graphic 1443">
                <a:extLst>
                  <a:ext uri="{FF2B5EF4-FFF2-40B4-BE49-F238E27FC236}">
                    <a16:creationId xmlns:a16="http://schemas.microsoft.com/office/drawing/2014/main" id="{DA5AF81F-35A3-DBA7-41A9-F69AA588CE1F}"/>
                  </a:ext>
                </a:extLst>
              </p:cNvPr>
              <p:cNvGrpSpPr/>
              <p:nvPr/>
            </p:nvGrpSpPr>
            <p:grpSpPr bwMode="gray">
              <a:xfrm>
                <a:off x="6754939" y="3582352"/>
                <a:ext cx="61817" cy="63627"/>
                <a:chOff x="6754939" y="3582352"/>
                <a:chExt cx="61817" cy="63627"/>
              </a:xfrm>
            </p:grpSpPr>
            <p:sp>
              <p:nvSpPr>
                <p:cNvPr id="10893" name="Freeform: Shape 10892">
                  <a:extLst>
                    <a:ext uri="{FF2B5EF4-FFF2-40B4-BE49-F238E27FC236}">
                      <a16:creationId xmlns:a16="http://schemas.microsoft.com/office/drawing/2014/main" id="{DB8C3ECB-01CA-90A4-1061-CF0038DFAA71}"/>
                    </a:ext>
                  </a:extLst>
                </p:cNvPr>
                <p:cNvSpPr/>
                <p:nvPr/>
              </p:nvSpPr>
              <p:spPr bwMode="gray">
                <a:xfrm>
                  <a:off x="678580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94" name="Freeform: Shape 10893">
                  <a:extLst>
                    <a:ext uri="{FF2B5EF4-FFF2-40B4-BE49-F238E27FC236}">
                      <a16:creationId xmlns:a16="http://schemas.microsoft.com/office/drawing/2014/main" id="{842509CB-1134-A501-442C-373EEB54788D}"/>
                    </a:ext>
                  </a:extLst>
                </p:cNvPr>
                <p:cNvSpPr/>
                <p:nvPr/>
              </p:nvSpPr>
              <p:spPr bwMode="gray">
                <a:xfrm>
                  <a:off x="675493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3" name="Graphic 1443">
                <a:extLst>
                  <a:ext uri="{FF2B5EF4-FFF2-40B4-BE49-F238E27FC236}">
                    <a16:creationId xmlns:a16="http://schemas.microsoft.com/office/drawing/2014/main" id="{110C4BC2-D4A9-B292-A399-52D3A97FF05E}"/>
                  </a:ext>
                </a:extLst>
              </p:cNvPr>
              <p:cNvGrpSpPr/>
              <p:nvPr/>
            </p:nvGrpSpPr>
            <p:grpSpPr bwMode="gray">
              <a:xfrm>
                <a:off x="6765321" y="3582352"/>
                <a:ext cx="61817" cy="63627"/>
                <a:chOff x="6765321" y="3582352"/>
                <a:chExt cx="61817" cy="63627"/>
              </a:xfrm>
            </p:grpSpPr>
            <p:sp>
              <p:nvSpPr>
                <p:cNvPr id="10891" name="Freeform: Shape 10890">
                  <a:extLst>
                    <a:ext uri="{FF2B5EF4-FFF2-40B4-BE49-F238E27FC236}">
                      <a16:creationId xmlns:a16="http://schemas.microsoft.com/office/drawing/2014/main" id="{863372BB-275A-0702-08C1-BAB2E0187160}"/>
                    </a:ext>
                  </a:extLst>
                </p:cNvPr>
                <p:cNvSpPr/>
                <p:nvPr/>
              </p:nvSpPr>
              <p:spPr bwMode="gray">
                <a:xfrm>
                  <a:off x="6796278"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92" name="Freeform: Shape 10891">
                  <a:extLst>
                    <a:ext uri="{FF2B5EF4-FFF2-40B4-BE49-F238E27FC236}">
                      <a16:creationId xmlns:a16="http://schemas.microsoft.com/office/drawing/2014/main" id="{D3D17498-1B1F-2688-BC97-692A34441945}"/>
                    </a:ext>
                  </a:extLst>
                </p:cNvPr>
                <p:cNvSpPr/>
                <p:nvPr/>
              </p:nvSpPr>
              <p:spPr bwMode="gray">
                <a:xfrm>
                  <a:off x="6765321"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4" name="Graphic 1443">
                <a:extLst>
                  <a:ext uri="{FF2B5EF4-FFF2-40B4-BE49-F238E27FC236}">
                    <a16:creationId xmlns:a16="http://schemas.microsoft.com/office/drawing/2014/main" id="{316C887D-4920-D0AA-713F-1631F7C190AF}"/>
                  </a:ext>
                </a:extLst>
              </p:cNvPr>
              <p:cNvGrpSpPr/>
              <p:nvPr/>
            </p:nvGrpSpPr>
            <p:grpSpPr bwMode="gray">
              <a:xfrm>
                <a:off x="6775799" y="3582352"/>
                <a:ext cx="61817" cy="63627"/>
                <a:chOff x="6775799" y="3582352"/>
                <a:chExt cx="61817" cy="63627"/>
              </a:xfrm>
            </p:grpSpPr>
            <p:sp>
              <p:nvSpPr>
                <p:cNvPr id="10889" name="Freeform: Shape 10888">
                  <a:extLst>
                    <a:ext uri="{FF2B5EF4-FFF2-40B4-BE49-F238E27FC236}">
                      <a16:creationId xmlns:a16="http://schemas.microsoft.com/office/drawing/2014/main" id="{85DCB8A7-A682-6899-38DD-EB69CFE5DBD7}"/>
                    </a:ext>
                  </a:extLst>
                </p:cNvPr>
                <p:cNvSpPr/>
                <p:nvPr/>
              </p:nvSpPr>
              <p:spPr bwMode="gray">
                <a:xfrm>
                  <a:off x="6806660" y="3582352"/>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90" name="Freeform: Shape 10889">
                  <a:extLst>
                    <a:ext uri="{FF2B5EF4-FFF2-40B4-BE49-F238E27FC236}">
                      <a16:creationId xmlns:a16="http://schemas.microsoft.com/office/drawing/2014/main" id="{08A85DE3-0E75-7C32-1454-E743916521BB}"/>
                    </a:ext>
                  </a:extLst>
                </p:cNvPr>
                <p:cNvSpPr/>
                <p:nvPr/>
              </p:nvSpPr>
              <p:spPr bwMode="gray">
                <a:xfrm>
                  <a:off x="6775799" y="3614165"/>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5" name="Graphic 1443">
                <a:extLst>
                  <a:ext uri="{FF2B5EF4-FFF2-40B4-BE49-F238E27FC236}">
                    <a16:creationId xmlns:a16="http://schemas.microsoft.com/office/drawing/2014/main" id="{39413420-038A-6955-823F-D2443B4324A6}"/>
                  </a:ext>
                </a:extLst>
              </p:cNvPr>
              <p:cNvGrpSpPr/>
              <p:nvPr/>
            </p:nvGrpSpPr>
            <p:grpSpPr bwMode="gray">
              <a:xfrm>
                <a:off x="6925722" y="3601211"/>
                <a:ext cx="61817" cy="63722"/>
                <a:chOff x="6925722" y="3601211"/>
                <a:chExt cx="61817" cy="63722"/>
              </a:xfrm>
            </p:grpSpPr>
            <p:sp>
              <p:nvSpPr>
                <p:cNvPr id="10887" name="Freeform: Shape 10886">
                  <a:extLst>
                    <a:ext uri="{FF2B5EF4-FFF2-40B4-BE49-F238E27FC236}">
                      <a16:creationId xmlns:a16="http://schemas.microsoft.com/office/drawing/2014/main" id="{79114700-3AE5-9B76-3259-44BBA1184059}"/>
                    </a:ext>
                  </a:extLst>
                </p:cNvPr>
                <p:cNvSpPr/>
                <p:nvPr/>
              </p:nvSpPr>
              <p:spPr bwMode="gray">
                <a:xfrm>
                  <a:off x="695658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88" name="Freeform: Shape 10887">
                  <a:extLst>
                    <a:ext uri="{FF2B5EF4-FFF2-40B4-BE49-F238E27FC236}">
                      <a16:creationId xmlns:a16="http://schemas.microsoft.com/office/drawing/2014/main" id="{40BAF1F7-D985-2D8C-56B9-D5D54AEA7435}"/>
                    </a:ext>
                  </a:extLst>
                </p:cNvPr>
                <p:cNvSpPr/>
                <p:nvPr/>
              </p:nvSpPr>
              <p:spPr bwMode="gray">
                <a:xfrm>
                  <a:off x="692572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6" name="Graphic 1443">
                <a:extLst>
                  <a:ext uri="{FF2B5EF4-FFF2-40B4-BE49-F238E27FC236}">
                    <a16:creationId xmlns:a16="http://schemas.microsoft.com/office/drawing/2014/main" id="{CA97AA8D-50EE-4AEE-454C-809DE679ED22}"/>
                  </a:ext>
                </a:extLst>
              </p:cNvPr>
              <p:cNvGrpSpPr/>
              <p:nvPr/>
            </p:nvGrpSpPr>
            <p:grpSpPr bwMode="gray">
              <a:xfrm>
                <a:off x="6915816" y="3601211"/>
                <a:ext cx="61817" cy="63722"/>
                <a:chOff x="6915816" y="3601211"/>
                <a:chExt cx="61817" cy="63722"/>
              </a:xfrm>
            </p:grpSpPr>
            <p:sp>
              <p:nvSpPr>
                <p:cNvPr id="10885" name="Freeform: Shape 10884">
                  <a:extLst>
                    <a:ext uri="{FF2B5EF4-FFF2-40B4-BE49-F238E27FC236}">
                      <a16:creationId xmlns:a16="http://schemas.microsoft.com/office/drawing/2014/main" id="{7412F530-694A-33C9-6FE1-B20E386ED2C1}"/>
                    </a:ext>
                  </a:extLst>
                </p:cNvPr>
                <p:cNvSpPr/>
                <p:nvPr/>
              </p:nvSpPr>
              <p:spPr bwMode="gray">
                <a:xfrm>
                  <a:off x="6946677"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86" name="Freeform: Shape 10885">
                  <a:extLst>
                    <a:ext uri="{FF2B5EF4-FFF2-40B4-BE49-F238E27FC236}">
                      <a16:creationId xmlns:a16="http://schemas.microsoft.com/office/drawing/2014/main" id="{6209C27D-54BD-26C7-6B68-D7318F258E37}"/>
                    </a:ext>
                  </a:extLst>
                </p:cNvPr>
                <p:cNvSpPr/>
                <p:nvPr/>
              </p:nvSpPr>
              <p:spPr bwMode="gray">
                <a:xfrm>
                  <a:off x="6915816"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7" name="Graphic 1443">
                <a:extLst>
                  <a:ext uri="{FF2B5EF4-FFF2-40B4-BE49-F238E27FC236}">
                    <a16:creationId xmlns:a16="http://schemas.microsoft.com/office/drawing/2014/main" id="{B6CE53C4-4268-708D-D4C4-2654F95364D2}"/>
                  </a:ext>
                </a:extLst>
              </p:cNvPr>
              <p:cNvGrpSpPr/>
              <p:nvPr/>
            </p:nvGrpSpPr>
            <p:grpSpPr bwMode="gray">
              <a:xfrm>
                <a:off x="6905815" y="3601211"/>
                <a:ext cx="61817" cy="63722"/>
                <a:chOff x="6905815" y="3601211"/>
                <a:chExt cx="61817" cy="63722"/>
              </a:xfrm>
            </p:grpSpPr>
            <p:sp>
              <p:nvSpPr>
                <p:cNvPr id="10883" name="Freeform: Shape 10882">
                  <a:extLst>
                    <a:ext uri="{FF2B5EF4-FFF2-40B4-BE49-F238E27FC236}">
                      <a16:creationId xmlns:a16="http://schemas.microsoft.com/office/drawing/2014/main" id="{4EF4AF61-75A7-F0BF-377B-DF9BEFBB2004}"/>
                    </a:ext>
                  </a:extLst>
                </p:cNvPr>
                <p:cNvSpPr/>
                <p:nvPr/>
              </p:nvSpPr>
              <p:spPr bwMode="gray">
                <a:xfrm>
                  <a:off x="6936771"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84" name="Freeform: Shape 10883">
                  <a:extLst>
                    <a:ext uri="{FF2B5EF4-FFF2-40B4-BE49-F238E27FC236}">
                      <a16:creationId xmlns:a16="http://schemas.microsoft.com/office/drawing/2014/main" id="{46E65E8B-C157-5311-D6AA-61EB92044CB9}"/>
                    </a:ext>
                  </a:extLst>
                </p:cNvPr>
                <p:cNvSpPr/>
                <p:nvPr/>
              </p:nvSpPr>
              <p:spPr bwMode="gray">
                <a:xfrm>
                  <a:off x="6905815"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8" name="Graphic 1443">
                <a:extLst>
                  <a:ext uri="{FF2B5EF4-FFF2-40B4-BE49-F238E27FC236}">
                    <a16:creationId xmlns:a16="http://schemas.microsoft.com/office/drawing/2014/main" id="{967EFE03-F01C-D858-C177-7999BD1CF8BA}"/>
                  </a:ext>
                </a:extLst>
              </p:cNvPr>
              <p:cNvGrpSpPr/>
              <p:nvPr/>
            </p:nvGrpSpPr>
            <p:grpSpPr bwMode="gray">
              <a:xfrm>
                <a:off x="6946677" y="3601211"/>
                <a:ext cx="61817" cy="63722"/>
                <a:chOff x="6946677" y="3601211"/>
                <a:chExt cx="61817" cy="63722"/>
              </a:xfrm>
            </p:grpSpPr>
            <p:sp>
              <p:nvSpPr>
                <p:cNvPr id="10881" name="Freeform: Shape 10880">
                  <a:extLst>
                    <a:ext uri="{FF2B5EF4-FFF2-40B4-BE49-F238E27FC236}">
                      <a16:creationId xmlns:a16="http://schemas.microsoft.com/office/drawing/2014/main" id="{02A33D64-9F0C-356C-23EF-E1BD8C9A45F7}"/>
                    </a:ext>
                  </a:extLst>
                </p:cNvPr>
                <p:cNvSpPr/>
                <p:nvPr/>
              </p:nvSpPr>
              <p:spPr bwMode="gray">
                <a:xfrm>
                  <a:off x="6977634"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82" name="Freeform: Shape 10881">
                  <a:extLst>
                    <a:ext uri="{FF2B5EF4-FFF2-40B4-BE49-F238E27FC236}">
                      <a16:creationId xmlns:a16="http://schemas.microsoft.com/office/drawing/2014/main" id="{D21FBEA9-651D-6B39-1A85-612641E9290E}"/>
                    </a:ext>
                  </a:extLst>
                </p:cNvPr>
                <p:cNvSpPr/>
                <p:nvPr/>
              </p:nvSpPr>
              <p:spPr bwMode="gray">
                <a:xfrm>
                  <a:off x="694667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49" name="Graphic 1443">
                <a:extLst>
                  <a:ext uri="{FF2B5EF4-FFF2-40B4-BE49-F238E27FC236}">
                    <a16:creationId xmlns:a16="http://schemas.microsoft.com/office/drawing/2014/main" id="{714B92FB-10AE-4960-05F7-A97A0CDA5634}"/>
                  </a:ext>
                </a:extLst>
              </p:cNvPr>
              <p:cNvGrpSpPr/>
              <p:nvPr/>
            </p:nvGrpSpPr>
            <p:grpSpPr bwMode="gray">
              <a:xfrm>
                <a:off x="6967632" y="3601211"/>
                <a:ext cx="61817" cy="63722"/>
                <a:chOff x="6967632" y="3601211"/>
                <a:chExt cx="61817" cy="63722"/>
              </a:xfrm>
            </p:grpSpPr>
            <p:sp>
              <p:nvSpPr>
                <p:cNvPr id="10879" name="Freeform: Shape 10878">
                  <a:extLst>
                    <a:ext uri="{FF2B5EF4-FFF2-40B4-BE49-F238E27FC236}">
                      <a16:creationId xmlns:a16="http://schemas.microsoft.com/office/drawing/2014/main" id="{17F8A895-6E47-2E90-59B5-77D16F367A37}"/>
                    </a:ext>
                  </a:extLst>
                </p:cNvPr>
                <p:cNvSpPr/>
                <p:nvPr/>
              </p:nvSpPr>
              <p:spPr bwMode="gray">
                <a:xfrm>
                  <a:off x="699858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80" name="Freeform: Shape 10879">
                  <a:extLst>
                    <a:ext uri="{FF2B5EF4-FFF2-40B4-BE49-F238E27FC236}">
                      <a16:creationId xmlns:a16="http://schemas.microsoft.com/office/drawing/2014/main" id="{15023C19-1CE8-E563-D5D8-7F9545A5D104}"/>
                    </a:ext>
                  </a:extLst>
                </p:cNvPr>
                <p:cNvSpPr/>
                <p:nvPr/>
              </p:nvSpPr>
              <p:spPr bwMode="gray">
                <a:xfrm>
                  <a:off x="6967632"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0" name="Graphic 1443">
                <a:extLst>
                  <a:ext uri="{FF2B5EF4-FFF2-40B4-BE49-F238E27FC236}">
                    <a16:creationId xmlns:a16="http://schemas.microsoft.com/office/drawing/2014/main" id="{CA37FD27-DFC3-A337-EEB9-3733D3B7B1E0}"/>
                  </a:ext>
                </a:extLst>
              </p:cNvPr>
              <p:cNvGrpSpPr/>
              <p:nvPr/>
            </p:nvGrpSpPr>
            <p:grpSpPr bwMode="gray">
              <a:xfrm>
                <a:off x="6956583" y="3601211"/>
                <a:ext cx="61817" cy="63722"/>
                <a:chOff x="6956583" y="3601211"/>
                <a:chExt cx="61817" cy="63722"/>
              </a:xfrm>
            </p:grpSpPr>
            <p:sp>
              <p:nvSpPr>
                <p:cNvPr id="10877" name="Freeform: Shape 10876">
                  <a:extLst>
                    <a:ext uri="{FF2B5EF4-FFF2-40B4-BE49-F238E27FC236}">
                      <a16:creationId xmlns:a16="http://schemas.microsoft.com/office/drawing/2014/main" id="{273CF402-D13D-5817-E3EB-2F241ADE8873}"/>
                    </a:ext>
                  </a:extLst>
                </p:cNvPr>
                <p:cNvSpPr/>
                <p:nvPr/>
              </p:nvSpPr>
              <p:spPr bwMode="gray">
                <a:xfrm>
                  <a:off x="6987540"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78" name="Freeform: Shape 10877">
                  <a:extLst>
                    <a:ext uri="{FF2B5EF4-FFF2-40B4-BE49-F238E27FC236}">
                      <a16:creationId xmlns:a16="http://schemas.microsoft.com/office/drawing/2014/main" id="{D8F25D0E-CBE9-F9EF-2529-88612B43F732}"/>
                    </a:ext>
                  </a:extLst>
                </p:cNvPr>
                <p:cNvSpPr/>
                <p:nvPr/>
              </p:nvSpPr>
              <p:spPr bwMode="gray">
                <a:xfrm>
                  <a:off x="6956583"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1" name="Graphic 1443">
                <a:extLst>
                  <a:ext uri="{FF2B5EF4-FFF2-40B4-BE49-F238E27FC236}">
                    <a16:creationId xmlns:a16="http://schemas.microsoft.com/office/drawing/2014/main" id="{1983D1E5-71CF-B008-BDAE-E18C96C8AC30}"/>
                  </a:ext>
                </a:extLst>
              </p:cNvPr>
              <p:cNvGrpSpPr/>
              <p:nvPr/>
            </p:nvGrpSpPr>
            <p:grpSpPr bwMode="gray">
              <a:xfrm>
                <a:off x="7005637" y="3601211"/>
                <a:ext cx="61817" cy="63722"/>
                <a:chOff x="7005637" y="3601211"/>
                <a:chExt cx="61817" cy="63722"/>
              </a:xfrm>
            </p:grpSpPr>
            <p:sp>
              <p:nvSpPr>
                <p:cNvPr id="10875" name="Freeform: Shape 10874">
                  <a:extLst>
                    <a:ext uri="{FF2B5EF4-FFF2-40B4-BE49-F238E27FC236}">
                      <a16:creationId xmlns:a16="http://schemas.microsoft.com/office/drawing/2014/main" id="{EABE99AE-3D16-DC43-1BFB-CB3C6242309B}"/>
                    </a:ext>
                  </a:extLst>
                </p:cNvPr>
                <p:cNvSpPr/>
                <p:nvPr/>
              </p:nvSpPr>
              <p:spPr bwMode="gray">
                <a:xfrm>
                  <a:off x="7036593"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76" name="Freeform: Shape 10875">
                  <a:extLst>
                    <a:ext uri="{FF2B5EF4-FFF2-40B4-BE49-F238E27FC236}">
                      <a16:creationId xmlns:a16="http://schemas.microsoft.com/office/drawing/2014/main" id="{4748D4D0-8DB3-7C35-C673-C623B64E140B}"/>
                    </a:ext>
                  </a:extLst>
                </p:cNvPr>
                <p:cNvSpPr/>
                <p:nvPr/>
              </p:nvSpPr>
              <p:spPr bwMode="gray">
                <a:xfrm>
                  <a:off x="7005637"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2" name="Graphic 1443">
                <a:extLst>
                  <a:ext uri="{FF2B5EF4-FFF2-40B4-BE49-F238E27FC236}">
                    <a16:creationId xmlns:a16="http://schemas.microsoft.com/office/drawing/2014/main" id="{BD1B3B06-C5C5-181D-686C-142732A0B921}"/>
                  </a:ext>
                </a:extLst>
              </p:cNvPr>
              <p:cNvGrpSpPr/>
              <p:nvPr/>
            </p:nvGrpSpPr>
            <p:grpSpPr bwMode="gray">
              <a:xfrm>
                <a:off x="7030688" y="3601211"/>
                <a:ext cx="61817" cy="63722"/>
                <a:chOff x="7030688" y="3601211"/>
                <a:chExt cx="61817" cy="63722"/>
              </a:xfrm>
            </p:grpSpPr>
            <p:sp>
              <p:nvSpPr>
                <p:cNvPr id="10873" name="Freeform: Shape 10872">
                  <a:extLst>
                    <a:ext uri="{FF2B5EF4-FFF2-40B4-BE49-F238E27FC236}">
                      <a16:creationId xmlns:a16="http://schemas.microsoft.com/office/drawing/2014/main" id="{9E02FB4D-F307-B734-5B02-2052EA565EB1}"/>
                    </a:ext>
                  </a:extLst>
                </p:cNvPr>
                <p:cNvSpPr/>
                <p:nvPr/>
              </p:nvSpPr>
              <p:spPr bwMode="gray">
                <a:xfrm>
                  <a:off x="7061549" y="360121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74" name="Freeform: Shape 10873">
                  <a:extLst>
                    <a:ext uri="{FF2B5EF4-FFF2-40B4-BE49-F238E27FC236}">
                      <a16:creationId xmlns:a16="http://schemas.microsoft.com/office/drawing/2014/main" id="{9E6C604A-6F64-A99F-7AB7-157ADEEE29F7}"/>
                    </a:ext>
                  </a:extLst>
                </p:cNvPr>
                <p:cNvSpPr/>
                <p:nvPr/>
              </p:nvSpPr>
              <p:spPr bwMode="gray">
                <a:xfrm>
                  <a:off x="7030688" y="363312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3" name="Graphic 1443">
                <a:extLst>
                  <a:ext uri="{FF2B5EF4-FFF2-40B4-BE49-F238E27FC236}">
                    <a16:creationId xmlns:a16="http://schemas.microsoft.com/office/drawing/2014/main" id="{3A001302-B2CB-CF7C-855E-E06C2793194B}"/>
                  </a:ext>
                </a:extLst>
              </p:cNvPr>
              <p:cNvGrpSpPr/>
              <p:nvPr/>
            </p:nvGrpSpPr>
            <p:grpSpPr bwMode="gray">
              <a:xfrm>
                <a:off x="7043356" y="3617880"/>
                <a:ext cx="61817" cy="63722"/>
                <a:chOff x="7043356" y="3617880"/>
                <a:chExt cx="61817" cy="63722"/>
              </a:xfrm>
            </p:grpSpPr>
            <p:sp>
              <p:nvSpPr>
                <p:cNvPr id="10871" name="Freeform: Shape 10870">
                  <a:extLst>
                    <a:ext uri="{FF2B5EF4-FFF2-40B4-BE49-F238E27FC236}">
                      <a16:creationId xmlns:a16="http://schemas.microsoft.com/office/drawing/2014/main" id="{4537CE7A-1C6C-635E-E074-5BDC588AB605}"/>
                    </a:ext>
                  </a:extLst>
                </p:cNvPr>
                <p:cNvSpPr/>
                <p:nvPr/>
              </p:nvSpPr>
              <p:spPr bwMode="gray">
                <a:xfrm>
                  <a:off x="707431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72" name="Freeform: Shape 10871">
                  <a:extLst>
                    <a:ext uri="{FF2B5EF4-FFF2-40B4-BE49-F238E27FC236}">
                      <a16:creationId xmlns:a16="http://schemas.microsoft.com/office/drawing/2014/main" id="{7C16B570-8D9D-C4E5-5168-3F38048420FE}"/>
                    </a:ext>
                  </a:extLst>
                </p:cNvPr>
                <p:cNvSpPr/>
                <p:nvPr/>
              </p:nvSpPr>
              <p:spPr bwMode="gray">
                <a:xfrm>
                  <a:off x="7043356"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4" name="Graphic 1443">
                <a:extLst>
                  <a:ext uri="{FF2B5EF4-FFF2-40B4-BE49-F238E27FC236}">
                    <a16:creationId xmlns:a16="http://schemas.microsoft.com/office/drawing/2014/main" id="{3E18B000-08FF-6B4B-F9FA-FEBBE636887F}"/>
                  </a:ext>
                </a:extLst>
              </p:cNvPr>
              <p:cNvGrpSpPr/>
              <p:nvPr/>
            </p:nvGrpSpPr>
            <p:grpSpPr bwMode="gray">
              <a:xfrm>
                <a:off x="7053072" y="3617880"/>
                <a:ext cx="61817" cy="63722"/>
                <a:chOff x="7053072" y="3617880"/>
                <a:chExt cx="61817" cy="63722"/>
              </a:xfrm>
            </p:grpSpPr>
            <p:sp>
              <p:nvSpPr>
                <p:cNvPr id="10869" name="Freeform: Shape 10868">
                  <a:extLst>
                    <a:ext uri="{FF2B5EF4-FFF2-40B4-BE49-F238E27FC236}">
                      <a16:creationId xmlns:a16="http://schemas.microsoft.com/office/drawing/2014/main" id="{BBDC8A23-BBC6-D249-6AF2-45645529D861}"/>
                    </a:ext>
                  </a:extLst>
                </p:cNvPr>
                <p:cNvSpPr/>
                <p:nvPr/>
              </p:nvSpPr>
              <p:spPr bwMode="gray">
                <a:xfrm>
                  <a:off x="7083933"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70" name="Freeform: Shape 10869">
                  <a:extLst>
                    <a:ext uri="{FF2B5EF4-FFF2-40B4-BE49-F238E27FC236}">
                      <a16:creationId xmlns:a16="http://schemas.microsoft.com/office/drawing/2014/main" id="{7DF470B8-BCCB-D4A7-990A-4F5ED19EA395}"/>
                    </a:ext>
                  </a:extLst>
                </p:cNvPr>
                <p:cNvSpPr/>
                <p:nvPr/>
              </p:nvSpPr>
              <p:spPr bwMode="gray">
                <a:xfrm>
                  <a:off x="7053072"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5" name="Graphic 1443">
                <a:extLst>
                  <a:ext uri="{FF2B5EF4-FFF2-40B4-BE49-F238E27FC236}">
                    <a16:creationId xmlns:a16="http://schemas.microsoft.com/office/drawing/2014/main" id="{21A540E3-6575-5AD6-DFCE-2E471B5C2E96}"/>
                  </a:ext>
                </a:extLst>
              </p:cNvPr>
              <p:cNvGrpSpPr/>
              <p:nvPr/>
            </p:nvGrpSpPr>
            <p:grpSpPr bwMode="gray">
              <a:xfrm>
                <a:off x="7071931" y="3617880"/>
                <a:ext cx="61817" cy="63722"/>
                <a:chOff x="7071931" y="3617880"/>
                <a:chExt cx="61817" cy="63722"/>
              </a:xfrm>
            </p:grpSpPr>
            <p:sp>
              <p:nvSpPr>
                <p:cNvPr id="10867" name="Freeform: Shape 10866">
                  <a:extLst>
                    <a:ext uri="{FF2B5EF4-FFF2-40B4-BE49-F238E27FC236}">
                      <a16:creationId xmlns:a16="http://schemas.microsoft.com/office/drawing/2014/main" id="{871A5326-C999-8256-C807-1F3A3D6AD68C}"/>
                    </a:ext>
                  </a:extLst>
                </p:cNvPr>
                <p:cNvSpPr/>
                <p:nvPr/>
              </p:nvSpPr>
              <p:spPr bwMode="gray">
                <a:xfrm>
                  <a:off x="7102792" y="361788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68" name="Freeform: Shape 10867">
                  <a:extLst>
                    <a:ext uri="{FF2B5EF4-FFF2-40B4-BE49-F238E27FC236}">
                      <a16:creationId xmlns:a16="http://schemas.microsoft.com/office/drawing/2014/main" id="{14E98F6E-EC7A-620C-93B8-C4DF77D840F0}"/>
                    </a:ext>
                  </a:extLst>
                </p:cNvPr>
                <p:cNvSpPr/>
                <p:nvPr/>
              </p:nvSpPr>
              <p:spPr bwMode="gray">
                <a:xfrm>
                  <a:off x="7071931" y="3649693"/>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6" name="Graphic 1443">
                <a:extLst>
                  <a:ext uri="{FF2B5EF4-FFF2-40B4-BE49-F238E27FC236}">
                    <a16:creationId xmlns:a16="http://schemas.microsoft.com/office/drawing/2014/main" id="{6146F6C1-D449-C82C-4B44-64E9E225A23A}"/>
                  </a:ext>
                </a:extLst>
              </p:cNvPr>
              <p:cNvGrpSpPr/>
              <p:nvPr/>
            </p:nvGrpSpPr>
            <p:grpSpPr bwMode="gray">
              <a:xfrm>
                <a:off x="7083933" y="3636073"/>
                <a:ext cx="61817" cy="63627"/>
                <a:chOff x="7083933" y="3636073"/>
                <a:chExt cx="61817" cy="63627"/>
              </a:xfrm>
            </p:grpSpPr>
            <p:sp>
              <p:nvSpPr>
                <p:cNvPr id="10865" name="Freeform: Shape 10864">
                  <a:extLst>
                    <a:ext uri="{FF2B5EF4-FFF2-40B4-BE49-F238E27FC236}">
                      <a16:creationId xmlns:a16="http://schemas.microsoft.com/office/drawing/2014/main" id="{6E311BF5-2A1F-CF16-B9CD-BEEB15F6E95B}"/>
                    </a:ext>
                  </a:extLst>
                </p:cNvPr>
                <p:cNvSpPr/>
                <p:nvPr/>
              </p:nvSpPr>
              <p:spPr bwMode="gray">
                <a:xfrm>
                  <a:off x="7114889" y="3636073"/>
                  <a:ext cx="9525" cy="63627"/>
                </a:xfrm>
                <a:custGeom>
                  <a:avLst/>
                  <a:gdLst>
                    <a:gd name="connsiteX0" fmla="*/ 0 w 9525"/>
                    <a:gd name="connsiteY0" fmla="*/ 0 h 63627"/>
                    <a:gd name="connsiteX1" fmla="*/ 0 w 9525"/>
                    <a:gd name="connsiteY1" fmla="*/ 63627 h 63627"/>
                  </a:gdLst>
                  <a:ahLst/>
                  <a:cxnLst>
                    <a:cxn ang="0">
                      <a:pos x="connsiteX0" y="connsiteY0"/>
                    </a:cxn>
                    <a:cxn ang="0">
                      <a:pos x="connsiteX1" y="connsiteY1"/>
                    </a:cxn>
                  </a:cxnLst>
                  <a:rect l="l" t="t" r="r" b="b"/>
                  <a:pathLst>
                    <a:path w="9525" h="63627">
                      <a:moveTo>
                        <a:pt x="0" y="0"/>
                      </a:moveTo>
                      <a:lnTo>
                        <a:pt x="0" y="63627"/>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66" name="Freeform: Shape 10865">
                  <a:extLst>
                    <a:ext uri="{FF2B5EF4-FFF2-40B4-BE49-F238E27FC236}">
                      <a16:creationId xmlns:a16="http://schemas.microsoft.com/office/drawing/2014/main" id="{3E25A712-5645-8519-D27D-32433E97EC45}"/>
                    </a:ext>
                  </a:extLst>
                </p:cNvPr>
                <p:cNvSpPr/>
                <p:nvPr/>
              </p:nvSpPr>
              <p:spPr bwMode="gray">
                <a:xfrm>
                  <a:off x="7083933" y="3667886"/>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7" name="Graphic 1443">
                <a:extLst>
                  <a:ext uri="{FF2B5EF4-FFF2-40B4-BE49-F238E27FC236}">
                    <a16:creationId xmlns:a16="http://schemas.microsoft.com/office/drawing/2014/main" id="{75530BE5-DCCC-87E1-5C81-12B13F3A7FA7}"/>
                  </a:ext>
                </a:extLst>
              </p:cNvPr>
              <p:cNvGrpSpPr/>
              <p:nvPr/>
            </p:nvGrpSpPr>
            <p:grpSpPr bwMode="gray">
              <a:xfrm>
                <a:off x="7197756" y="3711987"/>
                <a:ext cx="61817" cy="63722"/>
                <a:chOff x="7197756" y="3711987"/>
                <a:chExt cx="61817" cy="63722"/>
              </a:xfrm>
            </p:grpSpPr>
            <p:sp>
              <p:nvSpPr>
                <p:cNvPr id="10863" name="Freeform: Shape 10862">
                  <a:extLst>
                    <a:ext uri="{FF2B5EF4-FFF2-40B4-BE49-F238E27FC236}">
                      <a16:creationId xmlns:a16="http://schemas.microsoft.com/office/drawing/2014/main" id="{97D18184-A575-5D9E-718D-518031C13E48}"/>
                    </a:ext>
                  </a:extLst>
                </p:cNvPr>
                <p:cNvSpPr/>
                <p:nvPr/>
              </p:nvSpPr>
              <p:spPr bwMode="gray">
                <a:xfrm>
                  <a:off x="7228713"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64" name="Freeform: Shape 10863">
                  <a:extLst>
                    <a:ext uri="{FF2B5EF4-FFF2-40B4-BE49-F238E27FC236}">
                      <a16:creationId xmlns:a16="http://schemas.microsoft.com/office/drawing/2014/main" id="{32F348C8-3832-ED1A-105B-7E7F6A2EB23B}"/>
                    </a:ext>
                  </a:extLst>
                </p:cNvPr>
                <p:cNvSpPr/>
                <p:nvPr/>
              </p:nvSpPr>
              <p:spPr bwMode="gray">
                <a:xfrm>
                  <a:off x="7197756"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8" name="Graphic 1443">
                <a:extLst>
                  <a:ext uri="{FF2B5EF4-FFF2-40B4-BE49-F238E27FC236}">
                    <a16:creationId xmlns:a16="http://schemas.microsoft.com/office/drawing/2014/main" id="{DA90ABB8-8A1E-EBE0-D8C9-E01CEAA1A9D3}"/>
                  </a:ext>
                </a:extLst>
              </p:cNvPr>
              <p:cNvGrpSpPr/>
              <p:nvPr/>
            </p:nvGrpSpPr>
            <p:grpSpPr bwMode="gray">
              <a:xfrm>
                <a:off x="7216140" y="3711987"/>
                <a:ext cx="61817" cy="63722"/>
                <a:chOff x="7216140" y="3711987"/>
                <a:chExt cx="61817" cy="63722"/>
              </a:xfrm>
            </p:grpSpPr>
            <p:sp>
              <p:nvSpPr>
                <p:cNvPr id="10861" name="Freeform: Shape 10860">
                  <a:extLst>
                    <a:ext uri="{FF2B5EF4-FFF2-40B4-BE49-F238E27FC236}">
                      <a16:creationId xmlns:a16="http://schemas.microsoft.com/office/drawing/2014/main" id="{D7CC258A-2101-13DF-69EA-CF369B0109C9}"/>
                    </a:ext>
                  </a:extLst>
                </p:cNvPr>
                <p:cNvSpPr/>
                <p:nvPr/>
              </p:nvSpPr>
              <p:spPr bwMode="gray">
                <a:xfrm>
                  <a:off x="7247096"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62" name="Freeform: Shape 10861">
                  <a:extLst>
                    <a:ext uri="{FF2B5EF4-FFF2-40B4-BE49-F238E27FC236}">
                      <a16:creationId xmlns:a16="http://schemas.microsoft.com/office/drawing/2014/main" id="{C363D8F4-403E-059F-AB19-A903077195E1}"/>
                    </a:ext>
                  </a:extLst>
                </p:cNvPr>
                <p:cNvSpPr/>
                <p:nvPr/>
              </p:nvSpPr>
              <p:spPr bwMode="gray">
                <a:xfrm>
                  <a:off x="721614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59" name="Graphic 1443">
                <a:extLst>
                  <a:ext uri="{FF2B5EF4-FFF2-40B4-BE49-F238E27FC236}">
                    <a16:creationId xmlns:a16="http://schemas.microsoft.com/office/drawing/2014/main" id="{17C5E0F5-95C3-977D-7868-CE22548AA625}"/>
                  </a:ext>
                </a:extLst>
              </p:cNvPr>
              <p:cNvGrpSpPr/>
              <p:nvPr/>
            </p:nvGrpSpPr>
            <p:grpSpPr bwMode="gray">
              <a:xfrm>
                <a:off x="7235571" y="3711987"/>
                <a:ext cx="61817" cy="63722"/>
                <a:chOff x="7235571" y="3711987"/>
                <a:chExt cx="61817" cy="63722"/>
              </a:xfrm>
            </p:grpSpPr>
            <p:sp>
              <p:nvSpPr>
                <p:cNvPr id="10859" name="Freeform: Shape 10858">
                  <a:extLst>
                    <a:ext uri="{FF2B5EF4-FFF2-40B4-BE49-F238E27FC236}">
                      <a16:creationId xmlns:a16="http://schemas.microsoft.com/office/drawing/2014/main" id="{73ADA8E5-1D00-2B2C-7C24-E5CF45912E41}"/>
                    </a:ext>
                  </a:extLst>
                </p:cNvPr>
                <p:cNvSpPr/>
                <p:nvPr/>
              </p:nvSpPr>
              <p:spPr bwMode="gray">
                <a:xfrm>
                  <a:off x="7266432"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60" name="Freeform: Shape 10859">
                  <a:extLst>
                    <a:ext uri="{FF2B5EF4-FFF2-40B4-BE49-F238E27FC236}">
                      <a16:creationId xmlns:a16="http://schemas.microsoft.com/office/drawing/2014/main" id="{0D8FE36F-A7DA-7C70-C0DC-0AEE1718A85E}"/>
                    </a:ext>
                  </a:extLst>
                </p:cNvPr>
                <p:cNvSpPr/>
                <p:nvPr/>
              </p:nvSpPr>
              <p:spPr bwMode="gray">
                <a:xfrm>
                  <a:off x="723557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0" name="Graphic 1443">
                <a:extLst>
                  <a:ext uri="{FF2B5EF4-FFF2-40B4-BE49-F238E27FC236}">
                    <a16:creationId xmlns:a16="http://schemas.microsoft.com/office/drawing/2014/main" id="{EEAA375A-0C4A-D38E-81DE-2F34E927FA68}"/>
                  </a:ext>
                </a:extLst>
              </p:cNvPr>
              <p:cNvGrpSpPr/>
              <p:nvPr/>
            </p:nvGrpSpPr>
            <p:grpSpPr bwMode="gray">
              <a:xfrm>
                <a:off x="7266432" y="3711987"/>
                <a:ext cx="61817" cy="63722"/>
                <a:chOff x="7266432" y="3711987"/>
                <a:chExt cx="61817" cy="63722"/>
              </a:xfrm>
            </p:grpSpPr>
            <p:sp>
              <p:nvSpPr>
                <p:cNvPr id="10857" name="Freeform: Shape 10856">
                  <a:extLst>
                    <a:ext uri="{FF2B5EF4-FFF2-40B4-BE49-F238E27FC236}">
                      <a16:creationId xmlns:a16="http://schemas.microsoft.com/office/drawing/2014/main" id="{EAAFDAEB-3A08-CEC8-9399-B7936A0E3DA4}"/>
                    </a:ext>
                  </a:extLst>
                </p:cNvPr>
                <p:cNvSpPr/>
                <p:nvPr/>
              </p:nvSpPr>
              <p:spPr bwMode="gray">
                <a:xfrm>
                  <a:off x="729738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58" name="Freeform: Shape 10857">
                  <a:extLst>
                    <a:ext uri="{FF2B5EF4-FFF2-40B4-BE49-F238E27FC236}">
                      <a16:creationId xmlns:a16="http://schemas.microsoft.com/office/drawing/2014/main" id="{FB868522-DF2F-574F-EE5D-173C99BA6C89}"/>
                    </a:ext>
                  </a:extLst>
                </p:cNvPr>
                <p:cNvSpPr/>
                <p:nvPr/>
              </p:nvSpPr>
              <p:spPr bwMode="gray">
                <a:xfrm>
                  <a:off x="7266432"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1" name="Graphic 1443">
                <a:extLst>
                  <a:ext uri="{FF2B5EF4-FFF2-40B4-BE49-F238E27FC236}">
                    <a16:creationId xmlns:a16="http://schemas.microsoft.com/office/drawing/2014/main" id="{65FF524B-71E2-DE60-15CB-0F3969E8FBD1}"/>
                  </a:ext>
                </a:extLst>
              </p:cNvPr>
              <p:cNvGrpSpPr/>
              <p:nvPr/>
            </p:nvGrpSpPr>
            <p:grpSpPr bwMode="gray">
              <a:xfrm>
                <a:off x="7259574" y="3711987"/>
                <a:ext cx="61817" cy="63722"/>
                <a:chOff x="7259574" y="3711987"/>
                <a:chExt cx="61817" cy="63722"/>
              </a:xfrm>
            </p:grpSpPr>
            <p:sp>
              <p:nvSpPr>
                <p:cNvPr id="10855" name="Freeform: Shape 10854">
                  <a:extLst>
                    <a:ext uri="{FF2B5EF4-FFF2-40B4-BE49-F238E27FC236}">
                      <a16:creationId xmlns:a16="http://schemas.microsoft.com/office/drawing/2014/main" id="{86D14EEC-A31D-2D24-C089-12FBA215A164}"/>
                    </a:ext>
                  </a:extLst>
                </p:cNvPr>
                <p:cNvSpPr/>
                <p:nvPr/>
              </p:nvSpPr>
              <p:spPr bwMode="gray">
                <a:xfrm>
                  <a:off x="729053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56" name="Freeform: Shape 10855">
                  <a:extLst>
                    <a:ext uri="{FF2B5EF4-FFF2-40B4-BE49-F238E27FC236}">
                      <a16:creationId xmlns:a16="http://schemas.microsoft.com/office/drawing/2014/main" id="{84078E4F-9408-9DC1-E9E4-E491AB72099A}"/>
                    </a:ext>
                  </a:extLst>
                </p:cNvPr>
                <p:cNvSpPr/>
                <p:nvPr/>
              </p:nvSpPr>
              <p:spPr bwMode="gray">
                <a:xfrm>
                  <a:off x="725957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2" name="Graphic 1443">
                <a:extLst>
                  <a:ext uri="{FF2B5EF4-FFF2-40B4-BE49-F238E27FC236}">
                    <a16:creationId xmlns:a16="http://schemas.microsoft.com/office/drawing/2014/main" id="{58672064-CA3F-A268-DC10-63CA2C714842}"/>
                  </a:ext>
                </a:extLst>
              </p:cNvPr>
              <p:cNvGrpSpPr/>
              <p:nvPr/>
            </p:nvGrpSpPr>
            <p:grpSpPr bwMode="gray">
              <a:xfrm>
                <a:off x="7290530" y="3711987"/>
                <a:ext cx="61817" cy="63722"/>
                <a:chOff x="7290530" y="3711987"/>
                <a:chExt cx="61817" cy="63722"/>
              </a:xfrm>
            </p:grpSpPr>
            <p:sp>
              <p:nvSpPr>
                <p:cNvPr id="10853" name="Freeform: Shape 10852">
                  <a:extLst>
                    <a:ext uri="{FF2B5EF4-FFF2-40B4-BE49-F238E27FC236}">
                      <a16:creationId xmlns:a16="http://schemas.microsoft.com/office/drawing/2014/main" id="{C960F14A-4B13-A44D-AA06-B34B34282370}"/>
                    </a:ext>
                  </a:extLst>
                </p:cNvPr>
                <p:cNvSpPr/>
                <p:nvPr/>
              </p:nvSpPr>
              <p:spPr bwMode="gray">
                <a:xfrm>
                  <a:off x="732139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54" name="Freeform: Shape 10853">
                  <a:extLst>
                    <a:ext uri="{FF2B5EF4-FFF2-40B4-BE49-F238E27FC236}">
                      <a16:creationId xmlns:a16="http://schemas.microsoft.com/office/drawing/2014/main" id="{47467552-6C2C-3491-2EB5-72E3275F7BC8}"/>
                    </a:ext>
                  </a:extLst>
                </p:cNvPr>
                <p:cNvSpPr/>
                <p:nvPr/>
              </p:nvSpPr>
              <p:spPr bwMode="gray">
                <a:xfrm>
                  <a:off x="729053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3" name="Graphic 1443">
                <a:extLst>
                  <a:ext uri="{FF2B5EF4-FFF2-40B4-BE49-F238E27FC236}">
                    <a16:creationId xmlns:a16="http://schemas.microsoft.com/office/drawing/2014/main" id="{250575E0-C2DE-358A-6B5A-326759241CC3}"/>
                  </a:ext>
                </a:extLst>
              </p:cNvPr>
              <p:cNvGrpSpPr/>
              <p:nvPr/>
            </p:nvGrpSpPr>
            <p:grpSpPr bwMode="gray">
              <a:xfrm>
                <a:off x="7311390" y="3711987"/>
                <a:ext cx="61817" cy="63722"/>
                <a:chOff x="7311390" y="3711987"/>
                <a:chExt cx="61817" cy="63722"/>
              </a:xfrm>
            </p:grpSpPr>
            <p:sp>
              <p:nvSpPr>
                <p:cNvPr id="10851" name="Freeform: Shape 10850">
                  <a:extLst>
                    <a:ext uri="{FF2B5EF4-FFF2-40B4-BE49-F238E27FC236}">
                      <a16:creationId xmlns:a16="http://schemas.microsoft.com/office/drawing/2014/main" id="{C914BD95-FA9A-8DED-98C5-4DF85CB66D77}"/>
                    </a:ext>
                  </a:extLst>
                </p:cNvPr>
                <p:cNvSpPr/>
                <p:nvPr/>
              </p:nvSpPr>
              <p:spPr bwMode="gray">
                <a:xfrm>
                  <a:off x="7342251"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52" name="Freeform: Shape 10851">
                  <a:extLst>
                    <a:ext uri="{FF2B5EF4-FFF2-40B4-BE49-F238E27FC236}">
                      <a16:creationId xmlns:a16="http://schemas.microsoft.com/office/drawing/2014/main" id="{C2D40610-3546-51AD-29AF-AC6DF1E3A6DA}"/>
                    </a:ext>
                  </a:extLst>
                </p:cNvPr>
                <p:cNvSpPr/>
                <p:nvPr/>
              </p:nvSpPr>
              <p:spPr bwMode="gray">
                <a:xfrm>
                  <a:off x="7311390"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4" name="Graphic 1443">
                <a:extLst>
                  <a:ext uri="{FF2B5EF4-FFF2-40B4-BE49-F238E27FC236}">
                    <a16:creationId xmlns:a16="http://schemas.microsoft.com/office/drawing/2014/main" id="{A5A0E93C-0BE8-AE50-67E1-A3B94FBDA67B}"/>
                  </a:ext>
                </a:extLst>
              </p:cNvPr>
              <p:cNvGrpSpPr/>
              <p:nvPr/>
            </p:nvGrpSpPr>
            <p:grpSpPr bwMode="gray">
              <a:xfrm>
                <a:off x="7321391" y="3711987"/>
                <a:ext cx="61817" cy="63722"/>
                <a:chOff x="7321391" y="3711987"/>
                <a:chExt cx="61817" cy="63722"/>
              </a:xfrm>
            </p:grpSpPr>
            <p:sp>
              <p:nvSpPr>
                <p:cNvPr id="10849" name="Freeform: Shape 10848">
                  <a:extLst>
                    <a:ext uri="{FF2B5EF4-FFF2-40B4-BE49-F238E27FC236}">
                      <a16:creationId xmlns:a16="http://schemas.microsoft.com/office/drawing/2014/main" id="{A6310C8E-EDDB-D3A4-6D62-64D5D7973BD7}"/>
                    </a:ext>
                  </a:extLst>
                </p:cNvPr>
                <p:cNvSpPr/>
                <p:nvPr/>
              </p:nvSpPr>
              <p:spPr bwMode="gray">
                <a:xfrm>
                  <a:off x="7352347"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50" name="Freeform: Shape 10849">
                  <a:extLst>
                    <a:ext uri="{FF2B5EF4-FFF2-40B4-BE49-F238E27FC236}">
                      <a16:creationId xmlns:a16="http://schemas.microsoft.com/office/drawing/2014/main" id="{973B94C1-EE8C-C337-17F2-70A319DF25B9}"/>
                    </a:ext>
                  </a:extLst>
                </p:cNvPr>
                <p:cNvSpPr/>
                <p:nvPr/>
              </p:nvSpPr>
              <p:spPr bwMode="gray">
                <a:xfrm>
                  <a:off x="7321391"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5" name="Graphic 1443">
                <a:extLst>
                  <a:ext uri="{FF2B5EF4-FFF2-40B4-BE49-F238E27FC236}">
                    <a16:creationId xmlns:a16="http://schemas.microsoft.com/office/drawing/2014/main" id="{0C1E83D7-653C-9293-E1BE-DF5828B81448}"/>
                  </a:ext>
                </a:extLst>
              </p:cNvPr>
              <p:cNvGrpSpPr/>
              <p:nvPr/>
            </p:nvGrpSpPr>
            <p:grpSpPr bwMode="gray">
              <a:xfrm>
                <a:off x="7335297" y="3711987"/>
                <a:ext cx="61817" cy="63722"/>
                <a:chOff x="7335297" y="3711987"/>
                <a:chExt cx="61817" cy="63722"/>
              </a:xfrm>
            </p:grpSpPr>
            <p:sp>
              <p:nvSpPr>
                <p:cNvPr id="10847" name="Freeform: Shape 10846">
                  <a:extLst>
                    <a:ext uri="{FF2B5EF4-FFF2-40B4-BE49-F238E27FC236}">
                      <a16:creationId xmlns:a16="http://schemas.microsoft.com/office/drawing/2014/main" id="{C4394CAD-A4E9-DCF3-FBE3-9A99898EDDA7}"/>
                    </a:ext>
                  </a:extLst>
                </p:cNvPr>
                <p:cNvSpPr/>
                <p:nvPr/>
              </p:nvSpPr>
              <p:spPr bwMode="gray">
                <a:xfrm>
                  <a:off x="7366158"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48" name="Freeform: Shape 10847">
                  <a:extLst>
                    <a:ext uri="{FF2B5EF4-FFF2-40B4-BE49-F238E27FC236}">
                      <a16:creationId xmlns:a16="http://schemas.microsoft.com/office/drawing/2014/main" id="{98DD473D-2497-6EB0-8F1C-02D54EF5C7EF}"/>
                    </a:ext>
                  </a:extLst>
                </p:cNvPr>
                <p:cNvSpPr/>
                <p:nvPr/>
              </p:nvSpPr>
              <p:spPr bwMode="gray">
                <a:xfrm>
                  <a:off x="7335297"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6" name="Graphic 1443">
                <a:extLst>
                  <a:ext uri="{FF2B5EF4-FFF2-40B4-BE49-F238E27FC236}">
                    <a16:creationId xmlns:a16="http://schemas.microsoft.com/office/drawing/2014/main" id="{09150C81-1B46-BFA9-82D4-1E1B250FBEC2}"/>
                  </a:ext>
                </a:extLst>
              </p:cNvPr>
              <p:cNvGrpSpPr/>
              <p:nvPr/>
            </p:nvGrpSpPr>
            <p:grpSpPr bwMode="gray">
              <a:xfrm>
                <a:off x="7349204" y="3711987"/>
                <a:ext cx="61817" cy="63722"/>
                <a:chOff x="7349204" y="3711987"/>
                <a:chExt cx="61817" cy="63722"/>
              </a:xfrm>
            </p:grpSpPr>
            <p:sp>
              <p:nvSpPr>
                <p:cNvPr id="10845" name="Freeform: Shape 10844">
                  <a:extLst>
                    <a:ext uri="{FF2B5EF4-FFF2-40B4-BE49-F238E27FC236}">
                      <a16:creationId xmlns:a16="http://schemas.microsoft.com/office/drawing/2014/main" id="{E19044E9-B540-3F88-CB36-FD031D4EA7AD}"/>
                    </a:ext>
                  </a:extLst>
                </p:cNvPr>
                <p:cNvSpPr/>
                <p:nvPr/>
              </p:nvSpPr>
              <p:spPr bwMode="gray">
                <a:xfrm>
                  <a:off x="7380160" y="3711987"/>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46" name="Freeform: Shape 10845">
                  <a:extLst>
                    <a:ext uri="{FF2B5EF4-FFF2-40B4-BE49-F238E27FC236}">
                      <a16:creationId xmlns:a16="http://schemas.microsoft.com/office/drawing/2014/main" id="{F1C87B4F-8822-A7AB-0B1E-AA65CC2599CC}"/>
                    </a:ext>
                  </a:extLst>
                </p:cNvPr>
                <p:cNvSpPr/>
                <p:nvPr/>
              </p:nvSpPr>
              <p:spPr bwMode="gray">
                <a:xfrm>
                  <a:off x="7349204" y="3743800"/>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7" name="Graphic 1443">
                <a:extLst>
                  <a:ext uri="{FF2B5EF4-FFF2-40B4-BE49-F238E27FC236}">
                    <a16:creationId xmlns:a16="http://schemas.microsoft.com/office/drawing/2014/main" id="{A59E0681-3988-7CA1-850F-C8761BFC9AE3}"/>
                  </a:ext>
                </a:extLst>
              </p:cNvPr>
              <p:cNvGrpSpPr/>
              <p:nvPr/>
            </p:nvGrpSpPr>
            <p:grpSpPr bwMode="gray">
              <a:xfrm>
                <a:off x="7373207" y="3764660"/>
                <a:ext cx="61817" cy="63722"/>
                <a:chOff x="7373207" y="3764660"/>
                <a:chExt cx="61817" cy="63722"/>
              </a:xfrm>
            </p:grpSpPr>
            <p:sp>
              <p:nvSpPr>
                <p:cNvPr id="10843" name="Freeform: Shape 10842">
                  <a:extLst>
                    <a:ext uri="{FF2B5EF4-FFF2-40B4-BE49-F238E27FC236}">
                      <a16:creationId xmlns:a16="http://schemas.microsoft.com/office/drawing/2014/main" id="{3966723D-00A3-948E-AC8A-EFFE9CBFC0A2}"/>
                    </a:ext>
                  </a:extLst>
                </p:cNvPr>
                <p:cNvSpPr/>
                <p:nvPr/>
              </p:nvSpPr>
              <p:spPr bwMode="gray">
                <a:xfrm>
                  <a:off x="7404068"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44" name="Freeform: Shape 10843">
                  <a:extLst>
                    <a:ext uri="{FF2B5EF4-FFF2-40B4-BE49-F238E27FC236}">
                      <a16:creationId xmlns:a16="http://schemas.microsoft.com/office/drawing/2014/main" id="{7AFC46EA-3145-F5A1-A89E-AB8B65F32D47}"/>
                    </a:ext>
                  </a:extLst>
                </p:cNvPr>
                <p:cNvSpPr/>
                <p:nvPr/>
              </p:nvSpPr>
              <p:spPr bwMode="gray">
                <a:xfrm>
                  <a:off x="7373207"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8" name="Graphic 1443">
                <a:extLst>
                  <a:ext uri="{FF2B5EF4-FFF2-40B4-BE49-F238E27FC236}">
                    <a16:creationId xmlns:a16="http://schemas.microsoft.com/office/drawing/2014/main" id="{D42C4526-87F4-11F6-ABD9-6002EA33DA71}"/>
                  </a:ext>
                </a:extLst>
              </p:cNvPr>
              <p:cNvGrpSpPr/>
              <p:nvPr/>
            </p:nvGrpSpPr>
            <p:grpSpPr bwMode="gray">
              <a:xfrm>
                <a:off x="7503414" y="3764660"/>
                <a:ext cx="61817" cy="63722"/>
                <a:chOff x="7503414" y="3764660"/>
                <a:chExt cx="61817" cy="63722"/>
              </a:xfrm>
            </p:grpSpPr>
            <p:sp>
              <p:nvSpPr>
                <p:cNvPr id="10841" name="Freeform: Shape 10840">
                  <a:extLst>
                    <a:ext uri="{FF2B5EF4-FFF2-40B4-BE49-F238E27FC236}">
                      <a16:creationId xmlns:a16="http://schemas.microsoft.com/office/drawing/2014/main" id="{C61E4B45-B608-7DB7-4224-5A9763F1F530}"/>
                    </a:ext>
                  </a:extLst>
                </p:cNvPr>
                <p:cNvSpPr/>
                <p:nvPr/>
              </p:nvSpPr>
              <p:spPr bwMode="gray">
                <a:xfrm>
                  <a:off x="7534275"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42" name="Freeform: Shape 10841">
                  <a:extLst>
                    <a:ext uri="{FF2B5EF4-FFF2-40B4-BE49-F238E27FC236}">
                      <a16:creationId xmlns:a16="http://schemas.microsoft.com/office/drawing/2014/main" id="{BC06DB9B-1DD5-B119-E00A-11A3750E1F29}"/>
                    </a:ext>
                  </a:extLst>
                </p:cNvPr>
                <p:cNvSpPr/>
                <p:nvPr/>
              </p:nvSpPr>
              <p:spPr bwMode="gray">
                <a:xfrm>
                  <a:off x="7503414"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69" name="Graphic 1443">
                <a:extLst>
                  <a:ext uri="{FF2B5EF4-FFF2-40B4-BE49-F238E27FC236}">
                    <a16:creationId xmlns:a16="http://schemas.microsoft.com/office/drawing/2014/main" id="{548F9116-2D16-233A-A963-4C0787A69B79}"/>
                  </a:ext>
                </a:extLst>
              </p:cNvPr>
              <p:cNvGrpSpPr/>
              <p:nvPr/>
            </p:nvGrpSpPr>
            <p:grpSpPr bwMode="gray">
              <a:xfrm>
                <a:off x="7512843" y="3764660"/>
                <a:ext cx="61817" cy="63722"/>
                <a:chOff x="7512843" y="3764660"/>
                <a:chExt cx="61817" cy="63722"/>
              </a:xfrm>
            </p:grpSpPr>
            <p:sp>
              <p:nvSpPr>
                <p:cNvPr id="10839" name="Freeform: Shape 10838">
                  <a:extLst>
                    <a:ext uri="{FF2B5EF4-FFF2-40B4-BE49-F238E27FC236}">
                      <a16:creationId xmlns:a16="http://schemas.microsoft.com/office/drawing/2014/main" id="{A97CCF1D-BC92-ABD0-3B92-832EF5992E8C}"/>
                    </a:ext>
                  </a:extLst>
                </p:cNvPr>
                <p:cNvSpPr/>
                <p:nvPr/>
              </p:nvSpPr>
              <p:spPr bwMode="gray">
                <a:xfrm>
                  <a:off x="754370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40" name="Freeform: Shape 10839">
                  <a:extLst>
                    <a:ext uri="{FF2B5EF4-FFF2-40B4-BE49-F238E27FC236}">
                      <a16:creationId xmlns:a16="http://schemas.microsoft.com/office/drawing/2014/main" id="{1C76F3D3-1AA8-0F44-BA8E-BB3215317475}"/>
                    </a:ext>
                  </a:extLst>
                </p:cNvPr>
                <p:cNvSpPr/>
                <p:nvPr/>
              </p:nvSpPr>
              <p:spPr bwMode="gray">
                <a:xfrm>
                  <a:off x="7512843"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0" name="Graphic 1443">
                <a:extLst>
                  <a:ext uri="{FF2B5EF4-FFF2-40B4-BE49-F238E27FC236}">
                    <a16:creationId xmlns:a16="http://schemas.microsoft.com/office/drawing/2014/main" id="{584B15AA-C2A4-9CAC-2414-8A38040E4D31}"/>
                  </a:ext>
                </a:extLst>
              </p:cNvPr>
              <p:cNvGrpSpPr/>
              <p:nvPr/>
            </p:nvGrpSpPr>
            <p:grpSpPr bwMode="gray">
              <a:xfrm>
                <a:off x="7541228" y="3764660"/>
                <a:ext cx="61817" cy="63722"/>
                <a:chOff x="7541228" y="3764660"/>
                <a:chExt cx="61817" cy="63722"/>
              </a:xfrm>
            </p:grpSpPr>
            <p:sp>
              <p:nvSpPr>
                <p:cNvPr id="10837" name="Freeform: Shape 10836">
                  <a:extLst>
                    <a:ext uri="{FF2B5EF4-FFF2-40B4-BE49-F238E27FC236}">
                      <a16:creationId xmlns:a16="http://schemas.microsoft.com/office/drawing/2014/main" id="{F148D6ED-7374-9620-BF26-82939B31CFBF}"/>
                    </a:ext>
                  </a:extLst>
                </p:cNvPr>
                <p:cNvSpPr/>
                <p:nvPr/>
              </p:nvSpPr>
              <p:spPr bwMode="gray">
                <a:xfrm>
                  <a:off x="7572184"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38" name="Freeform: Shape 10837">
                  <a:extLst>
                    <a:ext uri="{FF2B5EF4-FFF2-40B4-BE49-F238E27FC236}">
                      <a16:creationId xmlns:a16="http://schemas.microsoft.com/office/drawing/2014/main" id="{766C3DEB-631C-42DF-A12C-8157188229FB}"/>
                    </a:ext>
                  </a:extLst>
                </p:cNvPr>
                <p:cNvSpPr/>
                <p:nvPr/>
              </p:nvSpPr>
              <p:spPr bwMode="gray">
                <a:xfrm>
                  <a:off x="7541228"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1" name="Graphic 1443">
                <a:extLst>
                  <a:ext uri="{FF2B5EF4-FFF2-40B4-BE49-F238E27FC236}">
                    <a16:creationId xmlns:a16="http://schemas.microsoft.com/office/drawing/2014/main" id="{7DFC792E-6375-B66F-5E5F-4D6309742F19}"/>
                  </a:ext>
                </a:extLst>
              </p:cNvPr>
              <p:cNvGrpSpPr/>
              <p:nvPr/>
            </p:nvGrpSpPr>
            <p:grpSpPr bwMode="gray">
              <a:xfrm>
                <a:off x="7557039" y="3764660"/>
                <a:ext cx="61817" cy="63722"/>
                <a:chOff x="7557039" y="3764660"/>
                <a:chExt cx="61817" cy="63722"/>
              </a:xfrm>
            </p:grpSpPr>
            <p:sp>
              <p:nvSpPr>
                <p:cNvPr id="10835" name="Freeform: Shape 10834">
                  <a:extLst>
                    <a:ext uri="{FF2B5EF4-FFF2-40B4-BE49-F238E27FC236}">
                      <a16:creationId xmlns:a16="http://schemas.microsoft.com/office/drawing/2014/main" id="{17CE1402-419D-0C64-7A74-9048E8B596C2}"/>
                    </a:ext>
                  </a:extLst>
                </p:cNvPr>
                <p:cNvSpPr/>
                <p:nvPr/>
              </p:nvSpPr>
              <p:spPr bwMode="gray">
                <a:xfrm>
                  <a:off x="7587900" y="3764660"/>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36" name="Freeform: Shape 10835">
                  <a:extLst>
                    <a:ext uri="{FF2B5EF4-FFF2-40B4-BE49-F238E27FC236}">
                      <a16:creationId xmlns:a16="http://schemas.microsoft.com/office/drawing/2014/main" id="{916EDB86-3613-F175-5BA4-CAF3BB61A100}"/>
                    </a:ext>
                  </a:extLst>
                </p:cNvPr>
                <p:cNvSpPr/>
                <p:nvPr/>
              </p:nvSpPr>
              <p:spPr bwMode="gray">
                <a:xfrm>
                  <a:off x="7557039" y="3796569"/>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2" name="Graphic 1443">
                <a:extLst>
                  <a:ext uri="{FF2B5EF4-FFF2-40B4-BE49-F238E27FC236}">
                    <a16:creationId xmlns:a16="http://schemas.microsoft.com/office/drawing/2014/main" id="{20873460-52ED-B7B1-1600-DBF45EDF75BB}"/>
                  </a:ext>
                </a:extLst>
              </p:cNvPr>
              <p:cNvGrpSpPr/>
              <p:nvPr/>
            </p:nvGrpSpPr>
            <p:grpSpPr bwMode="gray">
              <a:xfrm>
                <a:off x="8074723" y="3833431"/>
                <a:ext cx="61817" cy="63722"/>
                <a:chOff x="8074723" y="3833431"/>
                <a:chExt cx="61817" cy="63722"/>
              </a:xfrm>
            </p:grpSpPr>
            <p:sp>
              <p:nvSpPr>
                <p:cNvPr id="10833" name="Freeform: Shape 10832">
                  <a:extLst>
                    <a:ext uri="{FF2B5EF4-FFF2-40B4-BE49-F238E27FC236}">
                      <a16:creationId xmlns:a16="http://schemas.microsoft.com/office/drawing/2014/main" id="{11DB0E9A-9518-C737-6EA8-21BDF1B82D4B}"/>
                    </a:ext>
                  </a:extLst>
                </p:cNvPr>
                <p:cNvSpPr/>
                <p:nvPr/>
              </p:nvSpPr>
              <p:spPr bwMode="gray">
                <a:xfrm>
                  <a:off x="810558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34" name="Freeform: Shape 10833">
                  <a:extLst>
                    <a:ext uri="{FF2B5EF4-FFF2-40B4-BE49-F238E27FC236}">
                      <a16:creationId xmlns:a16="http://schemas.microsoft.com/office/drawing/2014/main" id="{FA118B43-42D5-92B7-0001-F3632F6EADC0}"/>
                    </a:ext>
                  </a:extLst>
                </p:cNvPr>
                <p:cNvSpPr/>
                <p:nvPr/>
              </p:nvSpPr>
              <p:spPr bwMode="gray">
                <a:xfrm>
                  <a:off x="8074723"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3" name="Graphic 1443">
                <a:extLst>
                  <a:ext uri="{FF2B5EF4-FFF2-40B4-BE49-F238E27FC236}">
                    <a16:creationId xmlns:a16="http://schemas.microsoft.com/office/drawing/2014/main" id="{7123C4B0-D000-5CEA-619D-0CB6C91EC0C2}"/>
                  </a:ext>
                </a:extLst>
              </p:cNvPr>
              <p:cNvGrpSpPr/>
              <p:nvPr/>
            </p:nvGrpSpPr>
            <p:grpSpPr bwMode="gray">
              <a:xfrm>
                <a:off x="8066151" y="3833431"/>
                <a:ext cx="61817" cy="63722"/>
                <a:chOff x="8066151" y="3833431"/>
                <a:chExt cx="61817" cy="63722"/>
              </a:xfrm>
            </p:grpSpPr>
            <p:sp>
              <p:nvSpPr>
                <p:cNvPr id="10831" name="Freeform: Shape 10830">
                  <a:extLst>
                    <a:ext uri="{FF2B5EF4-FFF2-40B4-BE49-F238E27FC236}">
                      <a16:creationId xmlns:a16="http://schemas.microsoft.com/office/drawing/2014/main" id="{34DABB00-1883-C6A5-BD94-C1760FBFF726}"/>
                    </a:ext>
                  </a:extLst>
                </p:cNvPr>
                <p:cNvSpPr/>
                <p:nvPr/>
              </p:nvSpPr>
              <p:spPr bwMode="gray">
                <a:xfrm>
                  <a:off x="80970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32" name="Freeform: Shape 10831">
                  <a:extLst>
                    <a:ext uri="{FF2B5EF4-FFF2-40B4-BE49-F238E27FC236}">
                      <a16:creationId xmlns:a16="http://schemas.microsoft.com/office/drawing/2014/main" id="{28376711-2736-2D03-944F-8EC49F82BC7B}"/>
                    </a:ext>
                  </a:extLst>
                </p:cNvPr>
                <p:cNvSpPr/>
                <p:nvPr/>
              </p:nvSpPr>
              <p:spPr bwMode="gray">
                <a:xfrm>
                  <a:off x="80661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4" name="Graphic 1443">
                <a:extLst>
                  <a:ext uri="{FF2B5EF4-FFF2-40B4-BE49-F238E27FC236}">
                    <a16:creationId xmlns:a16="http://schemas.microsoft.com/office/drawing/2014/main" id="{2B390838-A0DB-BA3E-CF19-063DE94A5A2C}"/>
                  </a:ext>
                </a:extLst>
              </p:cNvPr>
              <p:cNvGrpSpPr/>
              <p:nvPr/>
            </p:nvGrpSpPr>
            <p:grpSpPr bwMode="gray">
              <a:xfrm>
                <a:off x="8053482" y="3833431"/>
                <a:ext cx="61817" cy="63722"/>
                <a:chOff x="8053482" y="3833431"/>
                <a:chExt cx="61817" cy="63722"/>
              </a:xfrm>
            </p:grpSpPr>
            <p:sp>
              <p:nvSpPr>
                <p:cNvPr id="10829" name="Freeform: Shape 10828">
                  <a:extLst>
                    <a:ext uri="{FF2B5EF4-FFF2-40B4-BE49-F238E27FC236}">
                      <a16:creationId xmlns:a16="http://schemas.microsoft.com/office/drawing/2014/main" id="{3F8BB227-900E-B09C-E1BF-64A885EF9494}"/>
                    </a:ext>
                  </a:extLst>
                </p:cNvPr>
                <p:cNvSpPr/>
                <p:nvPr/>
              </p:nvSpPr>
              <p:spPr bwMode="gray">
                <a:xfrm>
                  <a:off x="8084343"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30" name="Freeform: Shape 10829">
                  <a:extLst>
                    <a:ext uri="{FF2B5EF4-FFF2-40B4-BE49-F238E27FC236}">
                      <a16:creationId xmlns:a16="http://schemas.microsoft.com/office/drawing/2014/main" id="{4AD48D6F-BD8E-6827-9F0B-92C9AEC3EE39}"/>
                    </a:ext>
                  </a:extLst>
                </p:cNvPr>
                <p:cNvSpPr/>
                <p:nvPr/>
              </p:nvSpPr>
              <p:spPr bwMode="gray">
                <a:xfrm>
                  <a:off x="8053482"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5" name="Graphic 1443">
                <a:extLst>
                  <a:ext uri="{FF2B5EF4-FFF2-40B4-BE49-F238E27FC236}">
                    <a16:creationId xmlns:a16="http://schemas.microsoft.com/office/drawing/2014/main" id="{872311B7-B95B-E9F2-D0C4-367892F483DC}"/>
                  </a:ext>
                </a:extLst>
              </p:cNvPr>
              <p:cNvGrpSpPr/>
              <p:nvPr/>
            </p:nvGrpSpPr>
            <p:grpSpPr bwMode="gray">
              <a:xfrm>
                <a:off x="8031099" y="3833431"/>
                <a:ext cx="61817" cy="63722"/>
                <a:chOff x="8031099" y="3833431"/>
                <a:chExt cx="61817" cy="63722"/>
              </a:xfrm>
            </p:grpSpPr>
            <p:sp>
              <p:nvSpPr>
                <p:cNvPr id="10827" name="Freeform: Shape 10826">
                  <a:extLst>
                    <a:ext uri="{FF2B5EF4-FFF2-40B4-BE49-F238E27FC236}">
                      <a16:creationId xmlns:a16="http://schemas.microsoft.com/office/drawing/2014/main" id="{E61F4EE5-7856-A41C-231E-9628B60DB118}"/>
                    </a:ext>
                  </a:extLst>
                </p:cNvPr>
                <p:cNvSpPr/>
                <p:nvPr/>
              </p:nvSpPr>
              <p:spPr bwMode="gray">
                <a:xfrm>
                  <a:off x="8062055"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28" name="Freeform: Shape 10827">
                  <a:extLst>
                    <a:ext uri="{FF2B5EF4-FFF2-40B4-BE49-F238E27FC236}">
                      <a16:creationId xmlns:a16="http://schemas.microsoft.com/office/drawing/2014/main" id="{2D06842B-9767-ABDF-2AAA-53A7B2A8AF39}"/>
                    </a:ext>
                  </a:extLst>
                </p:cNvPr>
                <p:cNvSpPr/>
                <p:nvPr/>
              </p:nvSpPr>
              <p:spPr bwMode="gray">
                <a:xfrm>
                  <a:off x="8031099"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6" name="Graphic 1443">
                <a:extLst>
                  <a:ext uri="{FF2B5EF4-FFF2-40B4-BE49-F238E27FC236}">
                    <a16:creationId xmlns:a16="http://schemas.microsoft.com/office/drawing/2014/main" id="{C5DD2AB3-8BC0-20C6-2397-A79FEDBEC91E}"/>
                  </a:ext>
                </a:extLst>
              </p:cNvPr>
              <p:cNvGrpSpPr/>
              <p:nvPr/>
            </p:nvGrpSpPr>
            <p:grpSpPr bwMode="gray">
              <a:xfrm>
                <a:off x="8022526" y="3833431"/>
                <a:ext cx="61817" cy="63722"/>
                <a:chOff x="8022526" y="3833431"/>
                <a:chExt cx="61817" cy="63722"/>
              </a:xfrm>
            </p:grpSpPr>
            <p:sp>
              <p:nvSpPr>
                <p:cNvPr id="10825" name="Freeform: Shape 10824">
                  <a:extLst>
                    <a:ext uri="{FF2B5EF4-FFF2-40B4-BE49-F238E27FC236}">
                      <a16:creationId xmlns:a16="http://schemas.microsoft.com/office/drawing/2014/main" id="{96CB6D05-B0BF-46C9-F78F-C278D1602F8E}"/>
                    </a:ext>
                  </a:extLst>
                </p:cNvPr>
                <p:cNvSpPr/>
                <p:nvPr/>
              </p:nvSpPr>
              <p:spPr bwMode="gray">
                <a:xfrm>
                  <a:off x="805348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26" name="Freeform: Shape 10825">
                  <a:extLst>
                    <a:ext uri="{FF2B5EF4-FFF2-40B4-BE49-F238E27FC236}">
                      <a16:creationId xmlns:a16="http://schemas.microsoft.com/office/drawing/2014/main" id="{D8FE9C25-78CD-AB09-2107-31B0B0D9C709}"/>
                    </a:ext>
                  </a:extLst>
                </p:cNvPr>
                <p:cNvSpPr/>
                <p:nvPr/>
              </p:nvSpPr>
              <p:spPr bwMode="gray">
                <a:xfrm>
                  <a:off x="8022526"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7" name="Graphic 1443">
                <a:extLst>
                  <a:ext uri="{FF2B5EF4-FFF2-40B4-BE49-F238E27FC236}">
                    <a16:creationId xmlns:a16="http://schemas.microsoft.com/office/drawing/2014/main" id="{BE9F8BC5-3680-8FC9-1085-627C5C9FA102}"/>
                  </a:ext>
                </a:extLst>
              </p:cNvPr>
              <p:cNvGrpSpPr/>
              <p:nvPr/>
            </p:nvGrpSpPr>
            <p:grpSpPr bwMode="gray">
              <a:xfrm>
                <a:off x="8004524" y="3833431"/>
                <a:ext cx="61817" cy="63722"/>
                <a:chOff x="8004524" y="3833431"/>
                <a:chExt cx="61817" cy="63722"/>
              </a:xfrm>
            </p:grpSpPr>
            <p:sp>
              <p:nvSpPr>
                <p:cNvPr id="10823" name="Freeform: Shape 10822">
                  <a:extLst>
                    <a:ext uri="{FF2B5EF4-FFF2-40B4-BE49-F238E27FC236}">
                      <a16:creationId xmlns:a16="http://schemas.microsoft.com/office/drawing/2014/main" id="{25564BE9-3557-4FAC-FAE9-5B451B028CCA}"/>
                    </a:ext>
                  </a:extLst>
                </p:cNvPr>
                <p:cNvSpPr/>
                <p:nvPr/>
              </p:nvSpPr>
              <p:spPr bwMode="gray">
                <a:xfrm>
                  <a:off x="8035480"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24" name="Freeform: Shape 10823">
                  <a:extLst>
                    <a:ext uri="{FF2B5EF4-FFF2-40B4-BE49-F238E27FC236}">
                      <a16:creationId xmlns:a16="http://schemas.microsoft.com/office/drawing/2014/main" id="{B104D21B-0BE5-FDEF-A387-5900DEAA5191}"/>
                    </a:ext>
                  </a:extLst>
                </p:cNvPr>
                <p:cNvSpPr/>
                <p:nvPr/>
              </p:nvSpPr>
              <p:spPr bwMode="gray">
                <a:xfrm>
                  <a:off x="8004524"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8" name="Graphic 1443">
                <a:extLst>
                  <a:ext uri="{FF2B5EF4-FFF2-40B4-BE49-F238E27FC236}">
                    <a16:creationId xmlns:a16="http://schemas.microsoft.com/office/drawing/2014/main" id="{A758CDDB-8280-CA38-F244-76CA6A0F0EF6}"/>
                  </a:ext>
                </a:extLst>
              </p:cNvPr>
              <p:cNvGrpSpPr/>
              <p:nvPr/>
            </p:nvGrpSpPr>
            <p:grpSpPr bwMode="gray">
              <a:xfrm>
                <a:off x="7995951" y="3833431"/>
                <a:ext cx="61817" cy="63722"/>
                <a:chOff x="7995951" y="3833431"/>
                <a:chExt cx="61817" cy="63722"/>
              </a:xfrm>
            </p:grpSpPr>
            <p:sp>
              <p:nvSpPr>
                <p:cNvPr id="10821" name="Freeform: Shape 10820">
                  <a:extLst>
                    <a:ext uri="{FF2B5EF4-FFF2-40B4-BE49-F238E27FC236}">
                      <a16:creationId xmlns:a16="http://schemas.microsoft.com/office/drawing/2014/main" id="{6FB04FEE-D1C3-D345-4DBF-3F97A56F8F45}"/>
                    </a:ext>
                  </a:extLst>
                </p:cNvPr>
                <p:cNvSpPr/>
                <p:nvPr/>
              </p:nvSpPr>
              <p:spPr bwMode="gray">
                <a:xfrm>
                  <a:off x="8026812"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22" name="Freeform: Shape 10821">
                  <a:extLst>
                    <a:ext uri="{FF2B5EF4-FFF2-40B4-BE49-F238E27FC236}">
                      <a16:creationId xmlns:a16="http://schemas.microsoft.com/office/drawing/2014/main" id="{523BEB90-14A4-5FAB-9E05-8FE1F1D38AC6}"/>
                    </a:ext>
                  </a:extLst>
                </p:cNvPr>
                <p:cNvSpPr/>
                <p:nvPr/>
              </p:nvSpPr>
              <p:spPr bwMode="gray">
                <a:xfrm>
                  <a:off x="7995951"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79" name="Graphic 1443">
                <a:extLst>
                  <a:ext uri="{FF2B5EF4-FFF2-40B4-BE49-F238E27FC236}">
                    <a16:creationId xmlns:a16="http://schemas.microsoft.com/office/drawing/2014/main" id="{60125A46-B008-E89C-AE37-DF2F7F64DAE3}"/>
                  </a:ext>
                </a:extLst>
              </p:cNvPr>
              <p:cNvGrpSpPr/>
              <p:nvPr/>
            </p:nvGrpSpPr>
            <p:grpSpPr bwMode="gray">
              <a:xfrm>
                <a:off x="7702105" y="3833431"/>
                <a:ext cx="61817" cy="63722"/>
                <a:chOff x="7702105" y="3833431"/>
                <a:chExt cx="61817" cy="63722"/>
              </a:xfrm>
            </p:grpSpPr>
            <p:sp>
              <p:nvSpPr>
                <p:cNvPr id="10819" name="Freeform: Shape 10818">
                  <a:extLst>
                    <a:ext uri="{FF2B5EF4-FFF2-40B4-BE49-F238E27FC236}">
                      <a16:creationId xmlns:a16="http://schemas.microsoft.com/office/drawing/2014/main" id="{5807BEFF-6CDB-E52B-73C1-BB6DC0E7B2DC}"/>
                    </a:ext>
                  </a:extLst>
                </p:cNvPr>
                <p:cNvSpPr/>
                <p:nvPr/>
              </p:nvSpPr>
              <p:spPr bwMode="gray">
                <a:xfrm>
                  <a:off x="77330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20" name="Freeform: Shape 10819">
                  <a:extLst>
                    <a:ext uri="{FF2B5EF4-FFF2-40B4-BE49-F238E27FC236}">
                      <a16:creationId xmlns:a16="http://schemas.microsoft.com/office/drawing/2014/main" id="{1F095947-184B-C6CE-2471-92BBE0EAFE29}"/>
                    </a:ext>
                  </a:extLst>
                </p:cNvPr>
                <p:cNvSpPr/>
                <p:nvPr/>
              </p:nvSpPr>
              <p:spPr bwMode="gray">
                <a:xfrm>
                  <a:off x="77021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0" name="Graphic 1443">
                <a:extLst>
                  <a:ext uri="{FF2B5EF4-FFF2-40B4-BE49-F238E27FC236}">
                    <a16:creationId xmlns:a16="http://schemas.microsoft.com/office/drawing/2014/main" id="{1A79EC2D-4875-CCF7-B90E-AA4F686E1526}"/>
                  </a:ext>
                </a:extLst>
              </p:cNvPr>
              <p:cNvGrpSpPr/>
              <p:nvPr/>
            </p:nvGrpSpPr>
            <p:grpSpPr bwMode="gray">
              <a:xfrm>
                <a:off x="7688865" y="3833431"/>
                <a:ext cx="61817" cy="63722"/>
                <a:chOff x="7688865" y="3833431"/>
                <a:chExt cx="61817" cy="63722"/>
              </a:xfrm>
            </p:grpSpPr>
            <p:sp>
              <p:nvSpPr>
                <p:cNvPr id="10817" name="Freeform: Shape 10816">
                  <a:extLst>
                    <a:ext uri="{FF2B5EF4-FFF2-40B4-BE49-F238E27FC236}">
                      <a16:creationId xmlns:a16="http://schemas.microsoft.com/office/drawing/2014/main" id="{462498F5-EE33-304B-4BAA-7A5422D5E8B5}"/>
                    </a:ext>
                  </a:extLst>
                </p:cNvPr>
                <p:cNvSpPr/>
                <p:nvPr/>
              </p:nvSpPr>
              <p:spPr bwMode="gray">
                <a:xfrm>
                  <a:off x="771972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18" name="Freeform: Shape 10817">
                  <a:extLst>
                    <a:ext uri="{FF2B5EF4-FFF2-40B4-BE49-F238E27FC236}">
                      <a16:creationId xmlns:a16="http://schemas.microsoft.com/office/drawing/2014/main" id="{D5F287C0-4255-7DB6-46BB-53BCF2C2E9C8}"/>
                    </a:ext>
                  </a:extLst>
                </p:cNvPr>
                <p:cNvSpPr/>
                <p:nvPr/>
              </p:nvSpPr>
              <p:spPr bwMode="gray">
                <a:xfrm>
                  <a:off x="768886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1" name="Graphic 1443">
                <a:extLst>
                  <a:ext uri="{FF2B5EF4-FFF2-40B4-BE49-F238E27FC236}">
                    <a16:creationId xmlns:a16="http://schemas.microsoft.com/office/drawing/2014/main" id="{6BE881B6-DABE-ECB8-0B23-CAB398B662FF}"/>
                  </a:ext>
                </a:extLst>
              </p:cNvPr>
              <p:cNvGrpSpPr/>
              <p:nvPr/>
            </p:nvGrpSpPr>
            <p:grpSpPr bwMode="gray">
              <a:xfrm>
                <a:off x="7795260" y="3833431"/>
                <a:ext cx="61817" cy="63722"/>
                <a:chOff x="7795260" y="3833431"/>
                <a:chExt cx="61817" cy="63722"/>
              </a:xfrm>
            </p:grpSpPr>
            <p:sp>
              <p:nvSpPr>
                <p:cNvPr id="10815" name="Freeform: Shape 10814">
                  <a:extLst>
                    <a:ext uri="{FF2B5EF4-FFF2-40B4-BE49-F238E27FC236}">
                      <a16:creationId xmlns:a16="http://schemas.microsoft.com/office/drawing/2014/main" id="{2DC7F6F7-43A0-C93B-5721-EF6F4C04A336}"/>
                    </a:ext>
                  </a:extLst>
                </p:cNvPr>
                <p:cNvSpPr/>
                <p:nvPr/>
              </p:nvSpPr>
              <p:spPr bwMode="gray">
                <a:xfrm>
                  <a:off x="782621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16" name="Freeform: Shape 10815">
                  <a:extLst>
                    <a:ext uri="{FF2B5EF4-FFF2-40B4-BE49-F238E27FC236}">
                      <a16:creationId xmlns:a16="http://schemas.microsoft.com/office/drawing/2014/main" id="{219D8D54-EF55-A781-F95E-B5A56C38E7BF}"/>
                    </a:ext>
                  </a:extLst>
                </p:cNvPr>
                <p:cNvSpPr/>
                <p:nvPr/>
              </p:nvSpPr>
              <p:spPr bwMode="gray">
                <a:xfrm>
                  <a:off x="779526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2" name="Graphic 1443">
                <a:extLst>
                  <a:ext uri="{FF2B5EF4-FFF2-40B4-BE49-F238E27FC236}">
                    <a16:creationId xmlns:a16="http://schemas.microsoft.com/office/drawing/2014/main" id="{075F488A-0808-F357-3A3D-CE1D6F6B1A88}"/>
                  </a:ext>
                </a:extLst>
              </p:cNvPr>
              <p:cNvGrpSpPr/>
              <p:nvPr/>
            </p:nvGrpSpPr>
            <p:grpSpPr bwMode="gray">
              <a:xfrm>
                <a:off x="7781925" y="3833431"/>
                <a:ext cx="61817" cy="63722"/>
                <a:chOff x="7781925" y="3833431"/>
                <a:chExt cx="61817" cy="63722"/>
              </a:xfrm>
            </p:grpSpPr>
            <p:sp>
              <p:nvSpPr>
                <p:cNvPr id="10813" name="Freeform: Shape 10812">
                  <a:extLst>
                    <a:ext uri="{FF2B5EF4-FFF2-40B4-BE49-F238E27FC236}">
                      <a16:creationId xmlns:a16="http://schemas.microsoft.com/office/drawing/2014/main" id="{C08D0ACB-B11E-9688-253D-662F0E6AC27D}"/>
                    </a:ext>
                  </a:extLst>
                </p:cNvPr>
                <p:cNvSpPr/>
                <p:nvPr/>
              </p:nvSpPr>
              <p:spPr bwMode="gray">
                <a:xfrm>
                  <a:off x="781288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14" name="Freeform: Shape 10813">
                  <a:extLst>
                    <a:ext uri="{FF2B5EF4-FFF2-40B4-BE49-F238E27FC236}">
                      <a16:creationId xmlns:a16="http://schemas.microsoft.com/office/drawing/2014/main" id="{B4BA5F44-0AAA-10F4-34DC-BC337336E37E}"/>
                    </a:ext>
                  </a:extLst>
                </p:cNvPr>
                <p:cNvSpPr/>
                <p:nvPr/>
              </p:nvSpPr>
              <p:spPr bwMode="gray">
                <a:xfrm>
                  <a:off x="778192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3" name="Graphic 1443">
                <a:extLst>
                  <a:ext uri="{FF2B5EF4-FFF2-40B4-BE49-F238E27FC236}">
                    <a16:creationId xmlns:a16="http://schemas.microsoft.com/office/drawing/2014/main" id="{18D32CB7-92B8-7893-54AF-46D025298FCB}"/>
                  </a:ext>
                </a:extLst>
              </p:cNvPr>
              <p:cNvGrpSpPr/>
              <p:nvPr/>
            </p:nvGrpSpPr>
            <p:grpSpPr bwMode="gray">
              <a:xfrm>
                <a:off x="7821930" y="3833431"/>
                <a:ext cx="61817" cy="63722"/>
                <a:chOff x="7821930" y="3833431"/>
                <a:chExt cx="61817" cy="63722"/>
              </a:xfrm>
            </p:grpSpPr>
            <p:sp>
              <p:nvSpPr>
                <p:cNvPr id="10811" name="Freeform: Shape 10810">
                  <a:extLst>
                    <a:ext uri="{FF2B5EF4-FFF2-40B4-BE49-F238E27FC236}">
                      <a16:creationId xmlns:a16="http://schemas.microsoft.com/office/drawing/2014/main" id="{BD295336-C275-F191-EBE4-D9A485B00EA0}"/>
                    </a:ext>
                  </a:extLst>
                </p:cNvPr>
                <p:cNvSpPr/>
                <p:nvPr/>
              </p:nvSpPr>
              <p:spPr bwMode="gray">
                <a:xfrm>
                  <a:off x="785279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12" name="Freeform: Shape 10811">
                  <a:extLst>
                    <a:ext uri="{FF2B5EF4-FFF2-40B4-BE49-F238E27FC236}">
                      <a16:creationId xmlns:a16="http://schemas.microsoft.com/office/drawing/2014/main" id="{044B7452-E694-8882-C51E-70AEF974C8C3}"/>
                    </a:ext>
                  </a:extLst>
                </p:cNvPr>
                <p:cNvSpPr/>
                <p:nvPr/>
              </p:nvSpPr>
              <p:spPr bwMode="gray">
                <a:xfrm>
                  <a:off x="782193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4" name="Graphic 1443">
                <a:extLst>
                  <a:ext uri="{FF2B5EF4-FFF2-40B4-BE49-F238E27FC236}">
                    <a16:creationId xmlns:a16="http://schemas.microsoft.com/office/drawing/2014/main" id="{1E098C13-328C-5642-D8A1-A88B0D7C7991}"/>
                  </a:ext>
                </a:extLst>
              </p:cNvPr>
              <p:cNvGrpSpPr/>
              <p:nvPr/>
            </p:nvGrpSpPr>
            <p:grpSpPr bwMode="gray">
              <a:xfrm>
                <a:off x="7808595" y="3833431"/>
                <a:ext cx="61817" cy="63722"/>
                <a:chOff x="7808595" y="3833431"/>
                <a:chExt cx="61817" cy="63722"/>
              </a:xfrm>
            </p:grpSpPr>
            <p:sp>
              <p:nvSpPr>
                <p:cNvPr id="10809" name="Freeform: Shape 10808">
                  <a:extLst>
                    <a:ext uri="{FF2B5EF4-FFF2-40B4-BE49-F238E27FC236}">
                      <a16:creationId xmlns:a16="http://schemas.microsoft.com/office/drawing/2014/main" id="{D591A807-FF74-6FED-A787-3FACC3C6714B}"/>
                    </a:ext>
                  </a:extLst>
                </p:cNvPr>
                <p:cNvSpPr/>
                <p:nvPr/>
              </p:nvSpPr>
              <p:spPr bwMode="gray">
                <a:xfrm>
                  <a:off x="783945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10" name="Freeform: Shape 10809">
                  <a:extLst>
                    <a:ext uri="{FF2B5EF4-FFF2-40B4-BE49-F238E27FC236}">
                      <a16:creationId xmlns:a16="http://schemas.microsoft.com/office/drawing/2014/main" id="{AD9EB40C-70A2-BEBB-7663-D1318205F5EC}"/>
                    </a:ext>
                  </a:extLst>
                </p:cNvPr>
                <p:cNvSpPr/>
                <p:nvPr/>
              </p:nvSpPr>
              <p:spPr bwMode="gray">
                <a:xfrm>
                  <a:off x="780859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5" name="Graphic 1443">
                <a:extLst>
                  <a:ext uri="{FF2B5EF4-FFF2-40B4-BE49-F238E27FC236}">
                    <a16:creationId xmlns:a16="http://schemas.microsoft.com/office/drawing/2014/main" id="{A5D34F90-27A7-9F44-601D-E9A72D8E2571}"/>
                  </a:ext>
                </a:extLst>
              </p:cNvPr>
              <p:cNvGrpSpPr/>
              <p:nvPr/>
            </p:nvGrpSpPr>
            <p:grpSpPr bwMode="gray">
              <a:xfrm>
                <a:off x="7863078" y="3833431"/>
                <a:ext cx="61817" cy="63722"/>
                <a:chOff x="7863078" y="3833431"/>
                <a:chExt cx="61817" cy="63722"/>
              </a:xfrm>
            </p:grpSpPr>
            <p:sp>
              <p:nvSpPr>
                <p:cNvPr id="10807" name="Freeform: Shape 10806">
                  <a:extLst>
                    <a:ext uri="{FF2B5EF4-FFF2-40B4-BE49-F238E27FC236}">
                      <a16:creationId xmlns:a16="http://schemas.microsoft.com/office/drawing/2014/main" id="{CD6F4E83-E9E8-816D-4161-77BC2B61AA86}"/>
                    </a:ext>
                  </a:extLst>
                </p:cNvPr>
                <p:cNvSpPr/>
                <p:nvPr/>
              </p:nvSpPr>
              <p:spPr bwMode="gray">
                <a:xfrm>
                  <a:off x="7894034"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08" name="Freeform: Shape 10807">
                  <a:extLst>
                    <a:ext uri="{FF2B5EF4-FFF2-40B4-BE49-F238E27FC236}">
                      <a16:creationId xmlns:a16="http://schemas.microsoft.com/office/drawing/2014/main" id="{7079C6D3-18AF-ABF2-F1D9-07A3E8D3DE95}"/>
                    </a:ext>
                  </a:extLst>
                </p:cNvPr>
                <p:cNvSpPr/>
                <p:nvPr/>
              </p:nvSpPr>
              <p:spPr bwMode="gray">
                <a:xfrm>
                  <a:off x="7863078"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6" name="Graphic 1443">
                <a:extLst>
                  <a:ext uri="{FF2B5EF4-FFF2-40B4-BE49-F238E27FC236}">
                    <a16:creationId xmlns:a16="http://schemas.microsoft.com/office/drawing/2014/main" id="{C39BDC28-B7DF-D58F-8881-9F9B7006E28D}"/>
                  </a:ext>
                </a:extLst>
              </p:cNvPr>
              <p:cNvGrpSpPr/>
              <p:nvPr/>
            </p:nvGrpSpPr>
            <p:grpSpPr bwMode="gray">
              <a:xfrm>
                <a:off x="7854505" y="3833431"/>
                <a:ext cx="61817" cy="63722"/>
                <a:chOff x="7854505" y="3833431"/>
                <a:chExt cx="61817" cy="63722"/>
              </a:xfrm>
            </p:grpSpPr>
            <p:sp>
              <p:nvSpPr>
                <p:cNvPr id="10805" name="Freeform: Shape 10804">
                  <a:extLst>
                    <a:ext uri="{FF2B5EF4-FFF2-40B4-BE49-F238E27FC236}">
                      <a16:creationId xmlns:a16="http://schemas.microsoft.com/office/drawing/2014/main" id="{F0C27471-4B67-4CE4-AF61-F7DD3D7664DE}"/>
                    </a:ext>
                  </a:extLst>
                </p:cNvPr>
                <p:cNvSpPr/>
                <p:nvPr/>
              </p:nvSpPr>
              <p:spPr bwMode="gray">
                <a:xfrm>
                  <a:off x="788546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06" name="Freeform: Shape 10805">
                  <a:extLst>
                    <a:ext uri="{FF2B5EF4-FFF2-40B4-BE49-F238E27FC236}">
                      <a16:creationId xmlns:a16="http://schemas.microsoft.com/office/drawing/2014/main" id="{43F96DA8-76C0-D3DA-06F2-550C95C43C96}"/>
                    </a:ext>
                  </a:extLst>
                </p:cNvPr>
                <p:cNvSpPr/>
                <p:nvPr/>
              </p:nvSpPr>
              <p:spPr bwMode="gray">
                <a:xfrm>
                  <a:off x="785450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7" name="Graphic 1443">
                <a:extLst>
                  <a:ext uri="{FF2B5EF4-FFF2-40B4-BE49-F238E27FC236}">
                    <a16:creationId xmlns:a16="http://schemas.microsoft.com/office/drawing/2014/main" id="{CD6E79A4-61C4-A4DC-1427-E20AE14B154E}"/>
                  </a:ext>
                </a:extLst>
              </p:cNvPr>
              <p:cNvGrpSpPr/>
              <p:nvPr/>
            </p:nvGrpSpPr>
            <p:grpSpPr bwMode="gray">
              <a:xfrm>
                <a:off x="7768685" y="3833431"/>
                <a:ext cx="61817" cy="63722"/>
                <a:chOff x="7768685" y="3833431"/>
                <a:chExt cx="61817" cy="63722"/>
              </a:xfrm>
            </p:grpSpPr>
            <p:sp>
              <p:nvSpPr>
                <p:cNvPr id="10803" name="Freeform: Shape 10802">
                  <a:extLst>
                    <a:ext uri="{FF2B5EF4-FFF2-40B4-BE49-F238E27FC236}">
                      <a16:creationId xmlns:a16="http://schemas.microsoft.com/office/drawing/2014/main" id="{F2525C2A-2B92-A8C9-5176-0EAD5E8295EC}"/>
                    </a:ext>
                  </a:extLst>
                </p:cNvPr>
                <p:cNvSpPr/>
                <p:nvPr/>
              </p:nvSpPr>
              <p:spPr bwMode="gray">
                <a:xfrm>
                  <a:off x="779954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04" name="Freeform: Shape 10803">
                  <a:extLst>
                    <a:ext uri="{FF2B5EF4-FFF2-40B4-BE49-F238E27FC236}">
                      <a16:creationId xmlns:a16="http://schemas.microsoft.com/office/drawing/2014/main" id="{A39CDE02-0B71-9900-1277-58558393BE03}"/>
                    </a:ext>
                  </a:extLst>
                </p:cNvPr>
                <p:cNvSpPr/>
                <p:nvPr/>
              </p:nvSpPr>
              <p:spPr bwMode="gray">
                <a:xfrm>
                  <a:off x="776868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8" name="Graphic 1443">
                <a:extLst>
                  <a:ext uri="{FF2B5EF4-FFF2-40B4-BE49-F238E27FC236}">
                    <a16:creationId xmlns:a16="http://schemas.microsoft.com/office/drawing/2014/main" id="{9C51E199-F8E1-DF5E-6B6A-B4DEB772A8CF}"/>
                  </a:ext>
                </a:extLst>
              </p:cNvPr>
              <p:cNvGrpSpPr/>
              <p:nvPr/>
            </p:nvGrpSpPr>
            <p:grpSpPr bwMode="gray">
              <a:xfrm>
                <a:off x="7755350" y="3833431"/>
                <a:ext cx="61817" cy="63722"/>
                <a:chOff x="7755350" y="3833431"/>
                <a:chExt cx="61817" cy="63722"/>
              </a:xfrm>
            </p:grpSpPr>
            <p:sp>
              <p:nvSpPr>
                <p:cNvPr id="10801" name="Freeform: Shape 10800">
                  <a:extLst>
                    <a:ext uri="{FF2B5EF4-FFF2-40B4-BE49-F238E27FC236}">
                      <a16:creationId xmlns:a16="http://schemas.microsoft.com/office/drawing/2014/main" id="{A983345E-3CB3-8D7D-E4DB-FFF778EE3FC2}"/>
                    </a:ext>
                  </a:extLst>
                </p:cNvPr>
                <p:cNvSpPr/>
                <p:nvPr/>
              </p:nvSpPr>
              <p:spPr bwMode="gray">
                <a:xfrm>
                  <a:off x="778630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02" name="Freeform: Shape 10801">
                  <a:extLst>
                    <a:ext uri="{FF2B5EF4-FFF2-40B4-BE49-F238E27FC236}">
                      <a16:creationId xmlns:a16="http://schemas.microsoft.com/office/drawing/2014/main" id="{62F52780-C73E-0BD2-9E4D-EA25C8F9644F}"/>
                    </a:ext>
                  </a:extLst>
                </p:cNvPr>
                <p:cNvSpPr/>
                <p:nvPr/>
              </p:nvSpPr>
              <p:spPr bwMode="gray">
                <a:xfrm>
                  <a:off x="775535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89" name="Graphic 1443">
                <a:extLst>
                  <a:ext uri="{FF2B5EF4-FFF2-40B4-BE49-F238E27FC236}">
                    <a16:creationId xmlns:a16="http://schemas.microsoft.com/office/drawing/2014/main" id="{E092F347-1B8B-E973-17C0-125FEEB32465}"/>
                  </a:ext>
                </a:extLst>
              </p:cNvPr>
              <p:cNvGrpSpPr/>
              <p:nvPr/>
            </p:nvGrpSpPr>
            <p:grpSpPr bwMode="gray">
              <a:xfrm>
                <a:off x="7742015" y="3833431"/>
                <a:ext cx="61817" cy="63722"/>
                <a:chOff x="7742015" y="3833431"/>
                <a:chExt cx="61817" cy="63722"/>
              </a:xfrm>
            </p:grpSpPr>
            <p:sp>
              <p:nvSpPr>
                <p:cNvPr id="10799" name="Freeform: Shape 10798">
                  <a:extLst>
                    <a:ext uri="{FF2B5EF4-FFF2-40B4-BE49-F238E27FC236}">
                      <a16:creationId xmlns:a16="http://schemas.microsoft.com/office/drawing/2014/main" id="{86141CA2-EBF3-29B7-B4BE-607E5F99091E}"/>
                    </a:ext>
                  </a:extLst>
                </p:cNvPr>
                <p:cNvSpPr/>
                <p:nvPr/>
              </p:nvSpPr>
              <p:spPr bwMode="gray">
                <a:xfrm>
                  <a:off x="777297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00" name="Freeform: Shape 10799">
                  <a:extLst>
                    <a:ext uri="{FF2B5EF4-FFF2-40B4-BE49-F238E27FC236}">
                      <a16:creationId xmlns:a16="http://schemas.microsoft.com/office/drawing/2014/main" id="{9DE79932-94AD-3DFA-9C4E-EF3BEFB0DE02}"/>
                    </a:ext>
                  </a:extLst>
                </p:cNvPr>
                <p:cNvSpPr/>
                <p:nvPr/>
              </p:nvSpPr>
              <p:spPr bwMode="gray">
                <a:xfrm>
                  <a:off x="774201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90" name="Graphic 1443">
                <a:extLst>
                  <a:ext uri="{FF2B5EF4-FFF2-40B4-BE49-F238E27FC236}">
                    <a16:creationId xmlns:a16="http://schemas.microsoft.com/office/drawing/2014/main" id="{5D0C5028-E814-0463-C5D1-F9462C68B583}"/>
                  </a:ext>
                </a:extLst>
              </p:cNvPr>
              <p:cNvGrpSpPr/>
              <p:nvPr/>
            </p:nvGrpSpPr>
            <p:grpSpPr bwMode="gray">
              <a:xfrm>
                <a:off x="7728775" y="3833431"/>
                <a:ext cx="61817" cy="63722"/>
                <a:chOff x="7728775" y="3833431"/>
                <a:chExt cx="61817" cy="63722"/>
              </a:xfrm>
            </p:grpSpPr>
            <p:sp>
              <p:nvSpPr>
                <p:cNvPr id="10797" name="Freeform: Shape 10796">
                  <a:extLst>
                    <a:ext uri="{FF2B5EF4-FFF2-40B4-BE49-F238E27FC236}">
                      <a16:creationId xmlns:a16="http://schemas.microsoft.com/office/drawing/2014/main" id="{E60BF978-1E93-C444-951A-B4EF16D05B38}"/>
                    </a:ext>
                  </a:extLst>
                </p:cNvPr>
                <p:cNvSpPr/>
                <p:nvPr/>
              </p:nvSpPr>
              <p:spPr bwMode="gray">
                <a:xfrm>
                  <a:off x="7759636"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798" name="Freeform: Shape 10797">
                  <a:extLst>
                    <a:ext uri="{FF2B5EF4-FFF2-40B4-BE49-F238E27FC236}">
                      <a16:creationId xmlns:a16="http://schemas.microsoft.com/office/drawing/2014/main" id="{1E85D2DB-C32E-F442-4B83-C953DE409AF4}"/>
                    </a:ext>
                  </a:extLst>
                </p:cNvPr>
                <p:cNvSpPr/>
                <p:nvPr/>
              </p:nvSpPr>
              <p:spPr bwMode="gray">
                <a:xfrm>
                  <a:off x="7728775"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91" name="Graphic 1443">
                <a:extLst>
                  <a:ext uri="{FF2B5EF4-FFF2-40B4-BE49-F238E27FC236}">
                    <a16:creationId xmlns:a16="http://schemas.microsoft.com/office/drawing/2014/main" id="{E436A6BB-1C4B-0BD9-1A9A-E1B681DFF795}"/>
                  </a:ext>
                </a:extLst>
              </p:cNvPr>
              <p:cNvGrpSpPr/>
              <p:nvPr/>
            </p:nvGrpSpPr>
            <p:grpSpPr bwMode="gray">
              <a:xfrm>
                <a:off x="7715440" y="3833431"/>
                <a:ext cx="61817" cy="63722"/>
                <a:chOff x="7715440" y="3833431"/>
                <a:chExt cx="61817" cy="63722"/>
              </a:xfrm>
            </p:grpSpPr>
            <p:sp>
              <p:nvSpPr>
                <p:cNvPr id="10795" name="Freeform: Shape 10794">
                  <a:extLst>
                    <a:ext uri="{FF2B5EF4-FFF2-40B4-BE49-F238E27FC236}">
                      <a16:creationId xmlns:a16="http://schemas.microsoft.com/office/drawing/2014/main" id="{E0DEA02D-FD3A-73FF-3380-CA3F2AA6C597}"/>
                    </a:ext>
                  </a:extLst>
                </p:cNvPr>
                <p:cNvSpPr/>
                <p:nvPr/>
              </p:nvSpPr>
              <p:spPr bwMode="gray">
                <a:xfrm>
                  <a:off x="7746301" y="3833431"/>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796" name="Freeform: Shape 10795">
                  <a:extLst>
                    <a:ext uri="{FF2B5EF4-FFF2-40B4-BE49-F238E27FC236}">
                      <a16:creationId xmlns:a16="http://schemas.microsoft.com/office/drawing/2014/main" id="{2A3DAB17-F3E5-B255-A2FC-D4EC94AD3B73}"/>
                    </a:ext>
                  </a:extLst>
                </p:cNvPr>
                <p:cNvSpPr/>
                <p:nvPr/>
              </p:nvSpPr>
              <p:spPr bwMode="gray">
                <a:xfrm>
                  <a:off x="7715440" y="3865244"/>
                  <a:ext cx="61817" cy="9525"/>
                </a:xfrm>
                <a:custGeom>
                  <a:avLst/>
                  <a:gdLst>
                    <a:gd name="connsiteX0" fmla="*/ 61817 w 61817"/>
                    <a:gd name="connsiteY0" fmla="*/ 0 h 9525"/>
                    <a:gd name="connsiteX1" fmla="*/ 0 w 61817"/>
                    <a:gd name="connsiteY1" fmla="*/ 0 h 9525"/>
                  </a:gdLst>
                  <a:ahLst/>
                  <a:cxnLst>
                    <a:cxn ang="0">
                      <a:pos x="connsiteX0" y="connsiteY0"/>
                    </a:cxn>
                    <a:cxn ang="0">
                      <a:pos x="connsiteX1" y="connsiteY1"/>
                    </a:cxn>
                  </a:cxnLst>
                  <a:rect l="l" t="t" r="r" b="b"/>
                  <a:pathLst>
                    <a:path w="61817" h="9525">
                      <a:moveTo>
                        <a:pt x="61817"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792" name="Graphic 1443">
                <a:extLst>
                  <a:ext uri="{FF2B5EF4-FFF2-40B4-BE49-F238E27FC236}">
                    <a16:creationId xmlns:a16="http://schemas.microsoft.com/office/drawing/2014/main" id="{5A260A5B-EAE4-2C0E-E795-C9AB07AF538B}"/>
                  </a:ext>
                </a:extLst>
              </p:cNvPr>
              <p:cNvGrpSpPr/>
              <p:nvPr/>
            </p:nvGrpSpPr>
            <p:grpSpPr bwMode="gray">
              <a:xfrm>
                <a:off x="8131016" y="3937063"/>
                <a:ext cx="61722" cy="63722"/>
                <a:chOff x="8131016" y="3937063"/>
                <a:chExt cx="61722" cy="63722"/>
              </a:xfrm>
            </p:grpSpPr>
            <p:sp>
              <p:nvSpPr>
                <p:cNvPr id="10793" name="Freeform: Shape 10792">
                  <a:extLst>
                    <a:ext uri="{FF2B5EF4-FFF2-40B4-BE49-F238E27FC236}">
                      <a16:creationId xmlns:a16="http://schemas.microsoft.com/office/drawing/2014/main" id="{DF13CA7B-5973-2E97-A5C9-30161BA25E6C}"/>
                    </a:ext>
                  </a:extLst>
                </p:cNvPr>
                <p:cNvSpPr/>
                <p:nvPr/>
              </p:nvSpPr>
              <p:spPr bwMode="gray">
                <a:xfrm>
                  <a:off x="8161877" y="3937063"/>
                  <a:ext cx="9525" cy="63722"/>
                </a:xfrm>
                <a:custGeom>
                  <a:avLst/>
                  <a:gdLst>
                    <a:gd name="connsiteX0" fmla="*/ 0 w 9525"/>
                    <a:gd name="connsiteY0" fmla="*/ 0 h 63722"/>
                    <a:gd name="connsiteX1" fmla="*/ 0 w 9525"/>
                    <a:gd name="connsiteY1" fmla="*/ 63722 h 63722"/>
                  </a:gdLst>
                  <a:ahLst/>
                  <a:cxnLst>
                    <a:cxn ang="0">
                      <a:pos x="connsiteX0" y="connsiteY0"/>
                    </a:cxn>
                    <a:cxn ang="0">
                      <a:pos x="connsiteX1" y="connsiteY1"/>
                    </a:cxn>
                  </a:cxnLst>
                  <a:rect l="l" t="t" r="r" b="b"/>
                  <a:pathLst>
                    <a:path w="9525" h="63722">
                      <a:moveTo>
                        <a:pt x="0" y="0"/>
                      </a:moveTo>
                      <a:lnTo>
                        <a:pt x="0" y="63722"/>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794" name="Freeform: Shape 10793">
                  <a:extLst>
                    <a:ext uri="{FF2B5EF4-FFF2-40B4-BE49-F238E27FC236}">
                      <a16:creationId xmlns:a16="http://schemas.microsoft.com/office/drawing/2014/main" id="{471B8863-5CD8-7216-227F-2D41A1C86536}"/>
                    </a:ext>
                  </a:extLst>
                </p:cNvPr>
                <p:cNvSpPr/>
                <p:nvPr/>
              </p:nvSpPr>
              <p:spPr bwMode="gray">
                <a:xfrm>
                  <a:off x="8131016" y="3968971"/>
                  <a:ext cx="61722" cy="9525"/>
                </a:xfrm>
                <a:custGeom>
                  <a:avLst/>
                  <a:gdLst>
                    <a:gd name="connsiteX0" fmla="*/ 61722 w 61722"/>
                    <a:gd name="connsiteY0" fmla="*/ 0 h 9525"/>
                    <a:gd name="connsiteX1" fmla="*/ 0 w 61722"/>
                    <a:gd name="connsiteY1" fmla="*/ 0 h 9525"/>
                  </a:gdLst>
                  <a:ahLst/>
                  <a:cxnLst>
                    <a:cxn ang="0">
                      <a:pos x="connsiteX0" y="connsiteY0"/>
                    </a:cxn>
                    <a:cxn ang="0">
                      <a:pos x="connsiteX1" y="connsiteY1"/>
                    </a:cxn>
                  </a:cxnLst>
                  <a:rect l="l" t="t" r="r" b="b"/>
                  <a:pathLst>
                    <a:path w="61722" h="9525">
                      <a:moveTo>
                        <a:pt x="61722"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0564" name="Freeform: Shape 10563">
              <a:extLst>
                <a:ext uri="{FF2B5EF4-FFF2-40B4-BE49-F238E27FC236}">
                  <a16:creationId xmlns:a16="http://schemas.microsoft.com/office/drawing/2014/main" id="{F8F68A3F-AF3A-9A15-460F-258EB2B4D149}"/>
                </a:ext>
              </a:extLst>
            </p:cNvPr>
            <p:cNvSpPr/>
            <p:nvPr/>
          </p:nvSpPr>
          <p:spPr bwMode="gray">
            <a:xfrm>
              <a:off x="3457575" y="2751867"/>
              <a:ext cx="5242750" cy="1329023"/>
            </a:xfrm>
            <a:custGeom>
              <a:avLst/>
              <a:gdLst>
                <a:gd name="connsiteX0" fmla="*/ 5242751 w 5242750"/>
                <a:gd name="connsiteY0" fmla="*/ 1329023 h 1329023"/>
                <a:gd name="connsiteX1" fmla="*/ 4728782 w 5242750"/>
                <a:gd name="connsiteY1" fmla="*/ 1329023 h 1329023"/>
                <a:gd name="connsiteX2" fmla="*/ 4728782 w 5242750"/>
                <a:gd name="connsiteY2" fmla="*/ 1217105 h 1329023"/>
                <a:gd name="connsiteX3" fmla="*/ 4681728 w 5242750"/>
                <a:gd name="connsiteY3" fmla="*/ 1217105 h 1329023"/>
                <a:gd name="connsiteX4" fmla="*/ 4681728 w 5242750"/>
                <a:gd name="connsiteY4" fmla="*/ 1113377 h 1329023"/>
                <a:gd name="connsiteX5" fmla="*/ 4209765 w 5242750"/>
                <a:gd name="connsiteY5" fmla="*/ 1113377 h 1329023"/>
                <a:gd name="connsiteX6" fmla="*/ 4209765 w 5242750"/>
                <a:gd name="connsiteY6" fmla="*/ 1076611 h 1329023"/>
                <a:gd name="connsiteX7" fmla="*/ 4157472 w 5242750"/>
                <a:gd name="connsiteY7" fmla="*/ 1076611 h 1329023"/>
                <a:gd name="connsiteX8" fmla="*/ 4157472 w 5242750"/>
                <a:gd name="connsiteY8" fmla="*/ 1044512 h 1329023"/>
                <a:gd name="connsiteX9" fmla="*/ 3946493 w 5242750"/>
                <a:gd name="connsiteY9" fmla="*/ 1044512 h 1329023"/>
                <a:gd name="connsiteX10" fmla="*/ 3946493 w 5242750"/>
                <a:gd name="connsiteY10" fmla="*/ 990600 h 1329023"/>
                <a:gd name="connsiteX11" fmla="*/ 3754279 w 5242750"/>
                <a:gd name="connsiteY11" fmla="*/ 990600 h 1329023"/>
                <a:gd name="connsiteX12" fmla="*/ 3754279 w 5242750"/>
                <a:gd name="connsiteY12" fmla="*/ 972312 h 1329023"/>
                <a:gd name="connsiteX13" fmla="*/ 3743039 w 5242750"/>
                <a:gd name="connsiteY13" fmla="*/ 972312 h 1329023"/>
                <a:gd name="connsiteX14" fmla="*/ 3743039 w 5242750"/>
                <a:gd name="connsiteY14" fmla="*/ 935355 h 1329023"/>
                <a:gd name="connsiteX15" fmla="*/ 3674174 w 5242750"/>
                <a:gd name="connsiteY15" fmla="*/ 935355 h 1329023"/>
                <a:gd name="connsiteX16" fmla="*/ 3674174 w 5242750"/>
                <a:gd name="connsiteY16" fmla="*/ 915543 h 1329023"/>
                <a:gd name="connsiteX17" fmla="*/ 3653028 w 5242750"/>
                <a:gd name="connsiteY17" fmla="*/ 915543 h 1329023"/>
                <a:gd name="connsiteX18" fmla="*/ 3653028 w 5242750"/>
                <a:gd name="connsiteY18" fmla="*/ 897827 h 1329023"/>
                <a:gd name="connsiteX19" fmla="*/ 3603974 w 5242750"/>
                <a:gd name="connsiteY19" fmla="*/ 897827 h 1329023"/>
                <a:gd name="connsiteX20" fmla="*/ 3603974 w 5242750"/>
                <a:gd name="connsiteY20" fmla="*/ 880777 h 1329023"/>
                <a:gd name="connsiteX21" fmla="*/ 3443097 w 5242750"/>
                <a:gd name="connsiteY21" fmla="*/ 880777 h 1329023"/>
                <a:gd name="connsiteX22" fmla="*/ 3443097 w 5242750"/>
                <a:gd name="connsiteY22" fmla="*/ 863060 h 1329023"/>
                <a:gd name="connsiteX23" fmla="*/ 3268695 w 5242750"/>
                <a:gd name="connsiteY23" fmla="*/ 863060 h 1329023"/>
                <a:gd name="connsiteX24" fmla="*/ 3268695 w 5242750"/>
                <a:gd name="connsiteY24" fmla="*/ 830961 h 1329023"/>
                <a:gd name="connsiteX25" fmla="*/ 3110770 w 5242750"/>
                <a:gd name="connsiteY25" fmla="*/ 830961 h 1329023"/>
                <a:gd name="connsiteX26" fmla="*/ 3110770 w 5242750"/>
                <a:gd name="connsiteY26" fmla="*/ 808482 h 1329023"/>
                <a:gd name="connsiteX27" fmla="*/ 3077051 w 5242750"/>
                <a:gd name="connsiteY27" fmla="*/ 808482 h 1329023"/>
                <a:gd name="connsiteX28" fmla="*/ 3077051 w 5242750"/>
                <a:gd name="connsiteY28" fmla="*/ 796195 h 1329023"/>
                <a:gd name="connsiteX29" fmla="*/ 3041904 w 5242750"/>
                <a:gd name="connsiteY29" fmla="*/ 796195 h 1329023"/>
                <a:gd name="connsiteX30" fmla="*/ 3041904 w 5242750"/>
                <a:gd name="connsiteY30" fmla="*/ 778478 h 1329023"/>
                <a:gd name="connsiteX31" fmla="*/ 3028664 w 5242750"/>
                <a:gd name="connsiteY31" fmla="*/ 778478 h 1329023"/>
                <a:gd name="connsiteX32" fmla="*/ 3028664 w 5242750"/>
                <a:gd name="connsiteY32" fmla="*/ 755237 h 1329023"/>
                <a:gd name="connsiteX33" fmla="*/ 2995613 w 5242750"/>
                <a:gd name="connsiteY33" fmla="*/ 755237 h 1329023"/>
                <a:gd name="connsiteX34" fmla="*/ 2995613 w 5242750"/>
                <a:gd name="connsiteY34" fmla="*/ 745046 h 1329023"/>
                <a:gd name="connsiteX35" fmla="*/ 2783777 w 5242750"/>
                <a:gd name="connsiteY35" fmla="*/ 745046 h 1329023"/>
                <a:gd name="connsiteX36" fmla="*/ 2783777 w 5242750"/>
                <a:gd name="connsiteY36" fmla="*/ 734092 h 1329023"/>
                <a:gd name="connsiteX37" fmla="*/ 2767870 w 5242750"/>
                <a:gd name="connsiteY37" fmla="*/ 734092 h 1329023"/>
                <a:gd name="connsiteX38" fmla="*/ 2767870 w 5242750"/>
                <a:gd name="connsiteY38" fmla="*/ 717709 h 1329023"/>
                <a:gd name="connsiteX39" fmla="*/ 2636806 w 5242750"/>
                <a:gd name="connsiteY39" fmla="*/ 717709 h 1329023"/>
                <a:gd name="connsiteX40" fmla="*/ 2636806 w 5242750"/>
                <a:gd name="connsiteY40" fmla="*/ 704088 h 1329023"/>
                <a:gd name="connsiteX41" fmla="*/ 2594420 w 5242750"/>
                <a:gd name="connsiteY41" fmla="*/ 704088 h 1329023"/>
                <a:gd name="connsiteX42" fmla="*/ 2594420 w 5242750"/>
                <a:gd name="connsiteY42" fmla="*/ 688372 h 1329023"/>
                <a:gd name="connsiteX43" fmla="*/ 2569274 w 5242750"/>
                <a:gd name="connsiteY43" fmla="*/ 688372 h 1329023"/>
                <a:gd name="connsiteX44" fmla="*/ 2569274 w 5242750"/>
                <a:gd name="connsiteY44" fmla="*/ 674751 h 1329023"/>
                <a:gd name="connsiteX45" fmla="*/ 2504408 w 5242750"/>
                <a:gd name="connsiteY45" fmla="*/ 674751 h 1329023"/>
                <a:gd name="connsiteX46" fmla="*/ 2504408 w 5242750"/>
                <a:gd name="connsiteY46" fmla="*/ 662464 h 1329023"/>
                <a:gd name="connsiteX47" fmla="*/ 2488502 w 5242750"/>
                <a:gd name="connsiteY47" fmla="*/ 662464 h 1329023"/>
                <a:gd name="connsiteX48" fmla="*/ 2488502 w 5242750"/>
                <a:gd name="connsiteY48" fmla="*/ 652939 h 1329023"/>
                <a:gd name="connsiteX49" fmla="*/ 2448782 w 5242750"/>
                <a:gd name="connsiteY49" fmla="*/ 652939 h 1329023"/>
                <a:gd name="connsiteX50" fmla="*/ 2448782 w 5242750"/>
                <a:gd name="connsiteY50" fmla="*/ 638556 h 1329023"/>
                <a:gd name="connsiteX51" fmla="*/ 2425637 w 5242750"/>
                <a:gd name="connsiteY51" fmla="*/ 638556 h 1329023"/>
                <a:gd name="connsiteX52" fmla="*/ 2425637 w 5242750"/>
                <a:gd name="connsiteY52" fmla="*/ 632460 h 1329023"/>
                <a:gd name="connsiteX53" fmla="*/ 2348198 w 5242750"/>
                <a:gd name="connsiteY53" fmla="*/ 632460 h 1329023"/>
                <a:gd name="connsiteX54" fmla="*/ 2348198 w 5242750"/>
                <a:gd name="connsiteY54" fmla="*/ 624935 h 1329023"/>
                <a:gd name="connsiteX55" fmla="*/ 2320385 w 5242750"/>
                <a:gd name="connsiteY55" fmla="*/ 624935 h 1329023"/>
                <a:gd name="connsiteX56" fmla="*/ 2320385 w 5242750"/>
                <a:gd name="connsiteY56" fmla="*/ 606552 h 1329023"/>
                <a:gd name="connsiteX57" fmla="*/ 2295906 w 5242750"/>
                <a:gd name="connsiteY57" fmla="*/ 606552 h 1329023"/>
                <a:gd name="connsiteX58" fmla="*/ 2295906 w 5242750"/>
                <a:gd name="connsiteY58" fmla="*/ 598361 h 1329023"/>
                <a:gd name="connsiteX59" fmla="*/ 2273332 w 5242750"/>
                <a:gd name="connsiteY59" fmla="*/ 598361 h 1329023"/>
                <a:gd name="connsiteX60" fmla="*/ 2273332 w 5242750"/>
                <a:gd name="connsiteY60" fmla="*/ 583311 h 1329023"/>
                <a:gd name="connsiteX61" fmla="*/ 2164080 w 5242750"/>
                <a:gd name="connsiteY61" fmla="*/ 583311 h 1329023"/>
                <a:gd name="connsiteX62" fmla="*/ 2164080 w 5242750"/>
                <a:gd name="connsiteY62" fmla="*/ 573786 h 1329023"/>
                <a:gd name="connsiteX63" fmla="*/ 2104549 w 5242750"/>
                <a:gd name="connsiteY63" fmla="*/ 573786 h 1329023"/>
                <a:gd name="connsiteX64" fmla="*/ 2104549 w 5242750"/>
                <a:gd name="connsiteY64" fmla="*/ 549878 h 1329023"/>
                <a:gd name="connsiteX65" fmla="*/ 1966817 w 5242750"/>
                <a:gd name="connsiteY65" fmla="*/ 549878 h 1329023"/>
                <a:gd name="connsiteX66" fmla="*/ 1966817 w 5242750"/>
                <a:gd name="connsiteY66" fmla="*/ 528733 h 1329023"/>
                <a:gd name="connsiteX67" fmla="*/ 1942338 w 5242750"/>
                <a:gd name="connsiteY67" fmla="*/ 528733 h 1329023"/>
                <a:gd name="connsiteX68" fmla="*/ 1942338 w 5242750"/>
                <a:gd name="connsiteY68" fmla="*/ 513112 h 1329023"/>
                <a:gd name="connsiteX69" fmla="*/ 1877473 w 5242750"/>
                <a:gd name="connsiteY69" fmla="*/ 513112 h 1329023"/>
                <a:gd name="connsiteX70" fmla="*/ 1877473 w 5242750"/>
                <a:gd name="connsiteY70" fmla="*/ 493300 h 1329023"/>
                <a:gd name="connsiteX71" fmla="*/ 1822514 w 5242750"/>
                <a:gd name="connsiteY71" fmla="*/ 493300 h 1329023"/>
                <a:gd name="connsiteX72" fmla="*/ 1822514 w 5242750"/>
                <a:gd name="connsiteY72" fmla="*/ 472821 h 1329023"/>
                <a:gd name="connsiteX73" fmla="*/ 1762982 w 5242750"/>
                <a:gd name="connsiteY73" fmla="*/ 472821 h 1329023"/>
                <a:gd name="connsiteX74" fmla="*/ 1762982 w 5242750"/>
                <a:gd name="connsiteY74" fmla="*/ 452342 h 1329023"/>
                <a:gd name="connsiteX75" fmla="*/ 1592104 w 5242750"/>
                <a:gd name="connsiteY75" fmla="*/ 452342 h 1329023"/>
                <a:gd name="connsiteX76" fmla="*/ 1592104 w 5242750"/>
                <a:gd name="connsiteY76" fmla="*/ 433292 h 1329023"/>
                <a:gd name="connsiteX77" fmla="*/ 1558385 w 5242750"/>
                <a:gd name="connsiteY77" fmla="*/ 433292 h 1329023"/>
                <a:gd name="connsiteX78" fmla="*/ 1558385 w 5242750"/>
                <a:gd name="connsiteY78" fmla="*/ 409385 h 1329023"/>
                <a:gd name="connsiteX79" fmla="*/ 1461040 w 5242750"/>
                <a:gd name="connsiteY79" fmla="*/ 409385 h 1329023"/>
                <a:gd name="connsiteX80" fmla="*/ 1461040 w 5242750"/>
                <a:gd name="connsiteY80" fmla="*/ 387572 h 1329023"/>
                <a:gd name="connsiteX81" fmla="*/ 1412748 w 5242750"/>
                <a:gd name="connsiteY81" fmla="*/ 387572 h 1329023"/>
                <a:gd name="connsiteX82" fmla="*/ 1412748 w 5242750"/>
                <a:gd name="connsiteY82" fmla="*/ 366427 h 1329023"/>
                <a:gd name="connsiteX83" fmla="*/ 1387602 w 5242750"/>
                <a:gd name="connsiteY83" fmla="*/ 366427 h 1329023"/>
                <a:gd name="connsiteX84" fmla="*/ 1387602 w 5242750"/>
                <a:gd name="connsiteY84" fmla="*/ 344519 h 1329023"/>
                <a:gd name="connsiteX85" fmla="*/ 1365028 w 5242750"/>
                <a:gd name="connsiteY85" fmla="*/ 344519 h 1329023"/>
                <a:gd name="connsiteX86" fmla="*/ 1365028 w 5242750"/>
                <a:gd name="connsiteY86" fmla="*/ 327470 h 1329023"/>
                <a:gd name="connsiteX87" fmla="*/ 1327976 w 5242750"/>
                <a:gd name="connsiteY87" fmla="*/ 327470 h 1329023"/>
                <a:gd name="connsiteX88" fmla="*/ 1327976 w 5242750"/>
                <a:gd name="connsiteY88" fmla="*/ 307086 h 1329023"/>
                <a:gd name="connsiteX89" fmla="*/ 1302830 w 5242750"/>
                <a:gd name="connsiteY89" fmla="*/ 307086 h 1329023"/>
                <a:gd name="connsiteX90" fmla="*/ 1302830 w 5242750"/>
                <a:gd name="connsiteY90" fmla="*/ 295466 h 1329023"/>
                <a:gd name="connsiteX91" fmla="*/ 1267111 w 5242750"/>
                <a:gd name="connsiteY91" fmla="*/ 295466 h 1329023"/>
                <a:gd name="connsiteX92" fmla="*/ 1267111 w 5242750"/>
                <a:gd name="connsiteY92" fmla="*/ 283845 h 1329023"/>
                <a:gd name="connsiteX93" fmla="*/ 1180338 w 5242750"/>
                <a:gd name="connsiteY93" fmla="*/ 283845 h 1329023"/>
                <a:gd name="connsiteX94" fmla="*/ 1180338 w 5242750"/>
                <a:gd name="connsiteY94" fmla="*/ 255175 h 1329023"/>
                <a:gd name="connsiteX95" fmla="*/ 1110901 w 5242750"/>
                <a:gd name="connsiteY95" fmla="*/ 255175 h 1329023"/>
                <a:gd name="connsiteX96" fmla="*/ 1110901 w 5242750"/>
                <a:gd name="connsiteY96" fmla="*/ 238125 h 1329023"/>
                <a:gd name="connsiteX97" fmla="*/ 1028129 w 5242750"/>
                <a:gd name="connsiteY97" fmla="*/ 238125 h 1329023"/>
                <a:gd name="connsiteX98" fmla="*/ 1028129 w 5242750"/>
                <a:gd name="connsiteY98" fmla="*/ 229267 h 1329023"/>
                <a:gd name="connsiteX99" fmla="*/ 938689 w 5242750"/>
                <a:gd name="connsiteY99" fmla="*/ 229267 h 1329023"/>
                <a:gd name="connsiteX100" fmla="*/ 938689 w 5242750"/>
                <a:gd name="connsiteY100" fmla="*/ 219075 h 1329023"/>
                <a:gd name="connsiteX101" fmla="*/ 885158 w 5242750"/>
                <a:gd name="connsiteY101" fmla="*/ 219075 h 1329023"/>
                <a:gd name="connsiteX102" fmla="*/ 885158 w 5242750"/>
                <a:gd name="connsiteY102" fmla="*/ 200597 h 1329023"/>
                <a:gd name="connsiteX103" fmla="*/ 868585 w 5242750"/>
                <a:gd name="connsiteY103" fmla="*/ 200597 h 1329023"/>
                <a:gd name="connsiteX104" fmla="*/ 868585 w 5242750"/>
                <a:gd name="connsiteY104" fmla="*/ 180118 h 1329023"/>
                <a:gd name="connsiteX105" fmla="*/ 839438 w 5242750"/>
                <a:gd name="connsiteY105" fmla="*/ 180118 h 1329023"/>
                <a:gd name="connsiteX106" fmla="*/ 839438 w 5242750"/>
                <a:gd name="connsiteY106" fmla="*/ 171260 h 1329023"/>
                <a:gd name="connsiteX107" fmla="*/ 793718 w 5242750"/>
                <a:gd name="connsiteY107" fmla="*/ 171260 h 1329023"/>
                <a:gd name="connsiteX108" fmla="*/ 793718 w 5242750"/>
                <a:gd name="connsiteY108" fmla="*/ 158306 h 1329023"/>
                <a:gd name="connsiteX109" fmla="*/ 772573 w 5242750"/>
                <a:gd name="connsiteY109" fmla="*/ 158306 h 1329023"/>
                <a:gd name="connsiteX110" fmla="*/ 772573 w 5242750"/>
                <a:gd name="connsiteY110" fmla="*/ 147447 h 1329023"/>
                <a:gd name="connsiteX111" fmla="*/ 738188 w 5242750"/>
                <a:gd name="connsiteY111" fmla="*/ 147447 h 1329023"/>
                <a:gd name="connsiteX112" fmla="*/ 738188 w 5242750"/>
                <a:gd name="connsiteY112" fmla="*/ 138494 h 1329023"/>
                <a:gd name="connsiteX113" fmla="*/ 691801 w 5242750"/>
                <a:gd name="connsiteY113" fmla="*/ 138494 h 1329023"/>
                <a:gd name="connsiteX114" fmla="*/ 691801 w 5242750"/>
                <a:gd name="connsiteY114" fmla="*/ 126206 h 1329023"/>
                <a:gd name="connsiteX115" fmla="*/ 597789 w 5242750"/>
                <a:gd name="connsiteY115" fmla="*/ 126206 h 1329023"/>
                <a:gd name="connsiteX116" fmla="*/ 597789 w 5242750"/>
                <a:gd name="connsiteY116" fmla="*/ 114014 h 1329023"/>
                <a:gd name="connsiteX117" fmla="*/ 561404 w 5242750"/>
                <a:gd name="connsiteY117" fmla="*/ 114014 h 1329023"/>
                <a:gd name="connsiteX118" fmla="*/ 561404 w 5242750"/>
                <a:gd name="connsiteY118" fmla="*/ 105061 h 1329023"/>
                <a:gd name="connsiteX119" fmla="*/ 533591 w 5242750"/>
                <a:gd name="connsiteY119" fmla="*/ 105061 h 1329023"/>
                <a:gd name="connsiteX120" fmla="*/ 533591 w 5242750"/>
                <a:gd name="connsiteY120" fmla="*/ 83915 h 1329023"/>
                <a:gd name="connsiteX121" fmla="*/ 446818 w 5242750"/>
                <a:gd name="connsiteY121" fmla="*/ 83915 h 1329023"/>
                <a:gd name="connsiteX122" fmla="*/ 446818 w 5242750"/>
                <a:gd name="connsiteY122" fmla="*/ 77819 h 1329023"/>
                <a:gd name="connsiteX123" fmla="*/ 349568 w 5242750"/>
                <a:gd name="connsiteY123" fmla="*/ 77819 h 1329023"/>
                <a:gd name="connsiteX124" fmla="*/ 349568 w 5242750"/>
                <a:gd name="connsiteY124" fmla="*/ 70961 h 1329023"/>
                <a:gd name="connsiteX125" fmla="*/ 277368 w 5242750"/>
                <a:gd name="connsiteY125" fmla="*/ 70961 h 1329023"/>
                <a:gd name="connsiteX126" fmla="*/ 277368 w 5242750"/>
                <a:gd name="connsiteY126" fmla="*/ 66199 h 1329023"/>
                <a:gd name="connsiteX127" fmla="*/ 166211 w 5242750"/>
                <a:gd name="connsiteY127" fmla="*/ 66199 h 1329023"/>
                <a:gd name="connsiteX128" fmla="*/ 166211 w 5242750"/>
                <a:gd name="connsiteY128" fmla="*/ 52578 h 1329023"/>
                <a:gd name="connsiteX129" fmla="*/ 125825 w 5242750"/>
                <a:gd name="connsiteY129" fmla="*/ 52578 h 1329023"/>
                <a:gd name="connsiteX130" fmla="*/ 125825 w 5242750"/>
                <a:gd name="connsiteY130" fmla="*/ 43053 h 1329023"/>
                <a:gd name="connsiteX131" fmla="*/ 63151 w 5242750"/>
                <a:gd name="connsiteY131" fmla="*/ 43053 h 1329023"/>
                <a:gd name="connsiteX132" fmla="*/ 63151 w 5242750"/>
                <a:gd name="connsiteY132" fmla="*/ 23908 h 1329023"/>
                <a:gd name="connsiteX133" fmla="*/ 14573 w 5242750"/>
                <a:gd name="connsiteY133" fmla="*/ 23908 h 1329023"/>
                <a:gd name="connsiteX134" fmla="*/ 14573 w 5242750"/>
                <a:gd name="connsiteY134" fmla="*/ 0 h 1329023"/>
                <a:gd name="connsiteX135" fmla="*/ 0 w 5242750"/>
                <a:gd name="connsiteY135" fmla="*/ 0 h 13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5242750" h="1329023">
                  <a:moveTo>
                    <a:pt x="5242751" y="1329023"/>
                  </a:moveTo>
                  <a:lnTo>
                    <a:pt x="4728782" y="1329023"/>
                  </a:lnTo>
                  <a:lnTo>
                    <a:pt x="4728782" y="1217105"/>
                  </a:lnTo>
                  <a:lnTo>
                    <a:pt x="4681728" y="1217105"/>
                  </a:lnTo>
                  <a:lnTo>
                    <a:pt x="4681728" y="1113377"/>
                  </a:lnTo>
                  <a:lnTo>
                    <a:pt x="4209765" y="1113377"/>
                  </a:lnTo>
                  <a:lnTo>
                    <a:pt x="4209765" y="1076611"/>
                  </a:lnTo>
                  <a:lnTo>
                    <a:pt x="4157472" y="1076611"/>
                  </a:lnTo>
                  <a:lnTo>
                    <a:pt x="4157472" y="1044512"/>
                  </a:lnTo>
                  <a:lnTo>
                    <a:pt x="3946493" y="1044512"/>
                  </a:lnTo>
                  <a:lnTo>
                    <a:pt x="3946493" y="990600"/>
                  </a:lnTo>
                  <a:lnTo>
                    <a:pt x="3754279" y="990600"/>
                  </a:lnTo>
                  <a:lnTo>
                    <a:pt x="3754279" y="972312"/>
                  </a:lnTo>
                  <a:lnTo>
                    <a:pt x="3743039" y="972312"/>
                  </a:lnTo>
                  <a:lnTo>
                    <a:pt x="3743039" y="935355"/>
                  </a:lnTo>
                  <a:lnTo>
                    <a:pt x="3674174" y="935355"/>
                  </a:lnTo>
                  <a:lnTo>
                    <a:pt x="3674174" y="915543"/>
                  </a:lnTo>
                  <a:lnTo>
                    <a:pt x="3653028" y="915543"/>
                  </a:lnTo>
                  <a:lnTo>
                    <a:pt x="3653028" y="897827"/>
                  </a:lnTo>
                  <a:lnTo>
                    <a:pt x="3603974" y="897827"/>
                  </a:lnTo>
                  <a:lnTo>
                    <a:pt x="3603974" y="880777"/>
                  </a:lnTo>
                  <a:lnTo>
                    <a:pt x="3443097" y="880777"/>
                  </a:lnTo>
                  <a:lnTo>
                    <a:pt x="3443097" y="863060"/>
                  </a:lnTo>
                  <a:lnTo>
                    <a:pt x="3268695" y="863060"/>
                  </a:lnTo>
                  <a:lnTo>
                    <a:pt x="3268695" y="830961"/>
                  </a:lnTo>
                  <a:lnTo>
                    <a:pt x="3110770" y="830961"/>
                  </a:lnTo>
                  <a:lnTo>
                    <a:pt x="3110770" y="808482"/>
                  </a:lnTo>
                  <a:lnTo>
                    <a:pt x="3077051" y="808482"/>
                  </a:lnTo>
                  <a:lnTo>
                    <a:pt x="3077051" y="796195"/>
                  </a:lnTo>
                  <a:lnTo>
                    <a:pt x="3041904" y="796195"/>
                  </a:lnTo>
                  <a:lnTo>
                    <a:pt x="3041904" y="778478"/>
                  </a:lnTo>
                  <a:lnTo>
                    <a:pt x="3028664" y="778478"/>
                  </a:lnTo>
                  <a:lnTo>
                    <a:pt x="3028664" y="755237"/>
                  </a:lnTo>
                  <a:lnTo>
                    <a:pt x="2995613" y="755237"/>
                  </a:lnTo>
                  <a:lnTo>
                    <a:pt x="2995613" y="745046"/>
                  </a:lnTo>
                  <a:lnTo>
                    <a:pt x="2783777" y="745046"/>
                  </a:lnTo>
                  <a:lnTo>
                    <a:pt x="2783777" y="734092"/>
                  </a:lnTo>
                  <a:lnTo>
                    <a:pt x="2767870" y="734092"/>
                  </a:lnTo>
                  <a:lnTo>
                    <a:pt x="2767870" y="717709"/>
                  </a:lnTo>
                  <a:lnTo>
                    <a:pt x="2636806" y="717709"/>
                  </a:lnTo>
                  <a:lnTo>
                    <a:pt x="2636806" y="704088"/>
                  </a:lnTo>
                  <a:lnTo>
                    <a:pt x="2594420" y="704088"/>
                  </a:lnTo>
                  <a:lnTo>
                    <a:pt x="2594420" y="688372"/>
                  </a:lnTo>
                  <a:lnTo>
                    <a:pt x="2569274" y="688372"/>
                  </a:lnTo>
                  <a:lnTo>
                    <a:pt x="2569274" y="674751"/>
                  </a:lnTo>
                  <a:lnTo>
                    <a:pt x="2504408" y="674751"/>
                  </a:lnTo>
                  <a:lnTo>
                    <a:pt x="2504408" y="662464"/>
                  </a:lnTo>
                  <a:lnTo>
                    <a:pt x="2488502" y="662464"/>
                  </a:lnTo>
                  <a:lnTo>
                    <a:pt x="2488502" y="652939"/>
                  </a:lnTo>
                  <a:lnTo>
                    <a:pt x="2448782" y="652939"/>
                  </a:lnTo>
                  <a:lnTo>
                    <a:pt x="2448782" y="638556"/>
                  </a:lnTo>
                  <a:lnTo>
                    <a:pt x="2425637" y="638556"/>
                  </a:lnTo>
                  <a:lnTo>
                    <a:pt x="2425637" y="632460"/>
                  </a:lnTo>
                  <a:lnTo>
                    <a:pt x="2348198" y="632460"/>
                  </a:lnTo>
                  <a:lnTo>
                    <a:pt x="2348198" y="624935"/>
                  </a:lnTo>
                  <a:lnTo>
                    <a:pt x="2320385" y="624935"/>
                  </a:lnTo>
                  <a:lnTo>
                    <a:pt x="2320385" y="606552"/>
                  </a:lnTo>
                  <a:lnTo>
                    <a:pt x="2295906" y="606552"/>
                  </a:lnTo>
                  <a:lnTo>
                    <a:pt x="2295906" y="598361"/>
                  </a:lnTo>
                  <a:lnTo>
                    <a:pt x="2273332" y="598361"/>
                  </a:lnTo>
                  <a:lnTo>
                    <a:pt x="2273332" y="583311"/>
                  </a:lnTo>
                  <a:lnTo>
                    <a:pt x="2164080" y="583311"/>
                  </a:lnTo>
                  <a:lnTo>
                    <a:pt x="2164080" y="573786"/>
                  </a:lnTo>
                  <a:lnTo>
                    <a:pt x="2104549" y="573786"/>
                  </a:lnTo>
                  <a:lnTo>
                    <a:pt x="2104549" y="549878"/>
                  </a:lnTo>
                  <a:lnTo>
                    <a:pt x="1966817" y="549878"/>
                  </a:lnTo>
                  <a:lnTo>
                    <a:pt x="1966817" y="528733"/>
                  </a:lnTo>
                  <a:lnTo>
                    <a:pt x="1942338" y="528733"/>
                  </a:lnTo>
                  <a:lnTo>
                    <a:pt x="1942338" y="513112"/>
                  </a:lnTo>
                  <a:lnTo>
                    <a:pt x="1877473" y="513112"/>
                  </a:lnTo>
                  <a:lnTo>
                    <a:pt x="1877473" y="493300"/>
                  </a:lnTo>
                  <a:lnTo>
                    <a:pt x="1822514" y="493300"/>
                  </a:lnTo>
                  <a:lnTo>
                    <a:pt x="1822514" y="472821"/>
                  </a:lnTo>
                  <a:lnTo>
                    <a:pt x="1762982" y="472821"/>
                  </a:lnTo>
                  <a:lnTo>
                    <a:pt x="1762982" y="452342"/>
                  </a:lnTo>
                  <a:lnTo>
                    <a:pt x="1592104" y="452342"/>
                  </a:lnTo>
                  <a:lnTo>
                    <a:pt x="1592104" y="433292"/>
                  </a:lnTo>
                  <a:lnTo>
                    <a:pt x="1558385" y="433292"/>
                  </a:lnTo>
                  <a:lnTo>
                    <a:pt x="1558385" y="409385"/>
                  </a:lnTo>
                  <a:lnTo>
                    <a:pt x="1461040" y="409385"/>
                  </a:lnTo>
                  <a:lnTo>
                    <a:pt x="1461040" y="387572"/>
                  </a:lnTo>
                  <a:lnTo>
                    <a:pt x="1412748" y="387572"/>
                  </a:lnTo>
                  <a:lnTo>
                    <a:pt x="1412748" y="366427"/>
                  </a:lnTo>
                  <a:lnTo>
                    <a:pt x="1387602" y="366427"/>
                  </a:lnTo>
                  <a:lnTo>
                    <a:pt x="1387602" y="344519"/>
                  </a:lnTo>
                  <a:lnTo>
                    <a:pt x="1365028" y="344519"/>
                  </a:lnTo>
                  <a:lnTo>
                    <a:pt x="1365028" y="327470"/>
                  </a:lnTo>
                  <a:lnTo>
                    <a:pt x="1327976" y="327470"/>
                  </a:lnTo>
                  <a:lnTo>
                    <a:pt x="1327976" y="307086"/>
                  </a:lnTo>
                  <a:lnTo>
                    <a:pt x="1302830" y="307086"/>
                  </a:lnTo>
                  <a:lnTo>
                    <a:pt x="1302830" y="295466"/>
                  </a:lnTo>
                  <a:lnTo>
                    <a:pt x="1267111" y="295466"/>
                  </a:lnTo>
                  <a:lnTo>
                    <a:pt x="1267111" y="283845"/>
                  </a:lnTo>
                  <a:lnTo>
                    <a:pt x="1180338" y="283845"/>
                  </a:lnTo>
                  <a:lnTo>
                    <a:pt x="1180338" y="255175"/>
                  </a:lnTo>
                  <a:lnTo>
                    <a:pt x="1110901" y="255175"/>
                  </a:lnTo>
                  <a:lnTo>
                    <a:pt x="1110901" y="238125"/>
                  </a:lnTo>
                  <a:lnTo>
                    <a:pt x="1028129" y="238125"/>
                  </a:lnTo>
                  <a:lnTo>
                    <a:pt x="1028129" y="229267"/>
                  </a:lnTo>
                  <a:lnTo>
                    <a:pt x="938689" y="229267"/>
                  </a:lnTo>
                  <a:lnTo>
                    <a:pt x="938689" y="219075"/>
                  </a:lnTo>
                  <a:lnTo>
                    <a:pt x="885158" y="219075"/>
                  </a:lnTo>
                  <a:lnTo>
                    <a:pt x="885158" y="200597"/>
                  </a:lnTo>
                  <a:lnTo>
                    <a:pt x="868585" y="200597"/>
                  </a:lnTo>
                  <a:lnTo>
                    <a:pt x="868585" y="180118"/>
                  </a:lnTo>
                  <a:lnTo>
                    <a:pt x="839438" y="180118"/>
                  </a:lnTo>
                  <a:lnTo>
                    <a:pt x="839438" y="171260"/>
                  </a:lnTo>
                  <a:lnTo>
                    <a:pt x="793718" y="171260"/>
                  </a:lnTo>
                  <a:lnTo>
                    <a:pt x="793718" y="158306"/>
                  </a:lnTo>
                  <a:lnTo>
                    <a:pt x="772573" y="158306"/>
                  </a:lnTo>
                  <a:lnTo>
                    <a:pt x="772573" y="147447"/>
                  </a:lnTo>
                  <a:lnTo>
                    <a:pt x="738188" y="147447"/>
                  </a:lnTo>
                  <a:lnTo>
                    <a:pt x="738188" y="138494"/>
                  </a:lnTo>
                  <a:lnTo>
                    <a:pt x="691801" y="138494"/>
                  </a:lnTo>
                  <a:lnTo>
                    <a:pt x="691801" y="126206"/>
                  </a:lnTo>
                  <a:lnTo>
                    <a:pt x="597789" y="126206"/>
                  </a:lnTo>
                  <a:lnTo>
                    <a:pt x="597789" y="114014"/>
                  </a:lnTo>
                  <a:lnTo>
                    <a:pt x="561404" y="114014"/>
                  </a:lnTo>
                  <a:lnTo>
                    <a:pt x="561404" y="105061"/>
                  </a:lnTo>
                  <a:lnTo>
                    <a:pt x="533591" y="105061"/>
                  </a:lnTo>
                  <a:lnTo>
                    <a:pt x="533591" y="83915"/>
                  </a:lnTo>
                  <a:lnTo>
                    <a:pt x="446818" y="83915"/>
                  </a:lnTo>
                  <a:lnTo>
                    <a:pt x="446818" y="77819"/>
                  </a:lnTo>
                  <a:lnTo>
                    <a:pt x="349568" y="77819"/>
                  </a:lnTo>
                  <a:lnTo>
                    <a:pt x="349568" y="70961"/>
                  </a:lnTo>
                  <a:lnTo>
                    <a:pt x="277368" y="70961"/>
                  </a:lnTo>
                  <a:lnTo>
                    <a:pt x="277368" y="66199"/>
                  </a:lnTo>
                  <a:lnTo>
                    <a:pt x="166211" y="66199"/>
                  </a:lnTo>
                  <a:lnTo>
                    <a:pt x="166211" y="52578"/>
                  </a:lnTo>
                  <a:lnTo>
                    <a:pt x="125825" y="52578"/>
                  </a:lnTo>
                  <a:lnTo>
                    <a:pt x="125825" y="43053"/>
                  </a:lnTo>
                  <a:lnTo>
                    <a:pt x="63151" y="43053"/>
                  </a:lnTo>
                  <a:lnTo>
                    <a:pt x="63151" y="23908"/>
                  </a:lnTo>
                  <a:lnTo>
                    <a:pt x="14573" y="23908"/>
                  </a:lnTo>
                  <a:lnTo>
                    <a:pt x="14573"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83" name="Group 11982">
            <a:extLst>
              <a:ext uri="{FF2B5EF4-FFF2-40B4-BE49-F238E27FC236}">
                <a16:creationId xmlns:a16="http://schemas.microsoft.com/office/drawing/2014/main" id="{A3B1963A-3BF3-F02A-E64B-D99246F818D8}"/>
              </a:ext>
            </a:extLst>
          </p:cNvPr>
          <p:cNvGrpSpPr/>
          <p:nvPr/>
        </p:nvGrpSpPr>
        <p:grpSpPr bwMode="gray">
          <a:xfrm>
            <a:off x="690321" y="1476354"/>
            <a:ext cx="6893112" cy="1527810"/>
            <a:chOff x="2981325" y="2665285"/>
            <a:chExt cx="6231350" cy="1527810"/>
          </a:xfrm>
        </p:grpSpPr>
        <p:grpSp>
          <p:nvGrpSpPr>
            <p:cNvPr id="12533" name="Graphic 1498">
              <a:extLst>
                <a:ext uri="{FF2B5EF4-FFF2-40B4-BE49-F238E27FC236}">
                  <a16:creationId xmlns:a16="http://schemas.microsoft.com/office/drawing/2014/main" id="{CFA2253F-5BD0-B696-AC51-3E8A515C7231}"/>
                </a:ext>
              </a:extLst>
            </p:cNvPr>
            <p:cNvGrpSpPr/>
            <p:nvPr/>
          </p:nvGrpSpPr>
          <p:grpSpPr bwMode="gray">
            <a:xfrm>
              <a:off x="3038570" y="2665285"/>
              <a:ext cx="6174105" cy="1527810"/>
              <a:chOff x="3038570" y="2665285"/>
              <a:chExt cx="6174105" cy="1527810"/>
            </a:xfrm>
          </p:grpSpPr>
          <p:grpSp>
            <p:nvGrpSpPr>
              <p:cNvPr id="12535" name="Graphic 1498">
                <a:extLst>
                  <a:ext uri="{FF2B5EF4-FFF2-40B4-BE49-F238E27FC236}">
                    <a16:creationId xmlns:a16="http://schemas.microsoft.com/office/drawing/2014/main" id="{611669C8-AEA4-C92F-4503-8FF050D7504D}"/>
                  </a:ext>
                </a:extLst>
              </p:cNvPr>
              <p:cNvGrpSpPr/>
              <p:nvPr/>
            </p:nvGrpSpPr>
            <p:grpSpPr bwMode="gray">
              <a:xfrm>
                <a:off x="9136951" y="4117371"/>
                <a:ext cx="75723" cy="75723"/>
                <a:chOff x="9136951" y="4117371"/>
                <a:chExt cx="75723" cy="75723"/>
              </a:xfrm>
            </p:grpSpPr>
            <p:sp>
              <p:nvSpPr>
                <p:cNvPr id="13109" name="Freeform: Shape 13108">
                  <a:extLst>
                    <a:ext uri="{FF2B5EF4-FFF2-40B4-BE49-F238E27FC236}">
                      <a16:creationId xmlns:a16="http://schemas.microsoft.com/office/drawing/2014/main" id="{C669DBF7-D501-EBE2-9607-A81A0B54F491}"/>
                    </a:ext>
                  </a:extLst>
                </p:cNvPr>
                <p:cNvSpPr/>
                <p:nvPr/>
              </p:nvSpPr>
              <p:spPr bwMode="gray">
                <a:xfrm>
                  <a:off x="9174765"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10" name="Freeform: Shape 13109">
                  <a:extLst>
                    <a:ext uri="{FF2B5EF4-FFF2-40B4-BE49-F238E27FC236}">
                      <a16:creationId xmlns:a16="http://schemas.microsoft.com/office/drawing/2014/main" id="{7090D001-C41C-37D6-25E8-6EE4C9F6A5F4}"/>
                    </a:ext>
                  </a:extLst>
                </p:cNvPr>
                <p:cNvSpPr/>
                <p:nvPr/>
              </p:nvSpPr>
              <p:spPr bwMode="gray">
                <a:xfrm>
                  <a:off x="913695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36" name="Graphic 1498">
                <a:extLst>
                  <a:ext uri="{FF2B5EF4-FFF2-40B4-BE49-F238E27FC236}">
                    <a16:creationId xmlns:a16="http://schemas.microsoft.com/office/drawing/2014/main" id="{4BCB5D6A-94E1-30C4-9D6F-CA0371E073FC}"/>
                  </a:ext>
                </a:extLst>
              </p:cNvPr>
              <p:cNvGrpSpPr/>
              <p:nvPr/>
            </p:nvGrpSpPr>
            <p:grpSpPr bwMode="gray">
              <a:xfrm>
                <a:off x="9016269" y="4117371"/>
                <a:ext cx="75723" cy="75723"/>
                <a:chOff x="9016269" y="4117371"/>
                <a:chExt cx="75723" cy="75723"/>
              </a:xfrm>
            </p:grpSpPr>
            <p:sp>
              <p:nvSpPr>
                <p:cNvPr id="13107" name="Freeform: Shape 13106">
                  <a:extLst>
                    <a:ext uri="{FF2B5EF4-FFF2-40B4-BE49-F238E27FC236}">
                      <a16:creationId xmlns:a16="http://schemas.microsoft.com/office/drawing/2014/main" id="{1E2A18AA-95E6-114B-DF10-CB17A49CEA54}"/>
                    </a:ext>
                  </a:extLst>
                </p:cNvPr>
                <p:cNvSpPr/>
                <p:nvPr/>
              </p:nvSpPr>
              <p:spPr bwMode="gray">
                <a:xfrm>
                  <a:off x="9054179"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08" name="Freeform: Shape 13107">
                  <a:extLst>
                    <a:ext uri="{FF2B5EF4-FFF2-40B4-BE49-F238E27FC236}">
                      <a16:creationId xmlns:a16="http://schemas.microsoft.com/office/drawing/2014/main" id="{2276C9EA-0097-6EBD-2E0A-A9E28386C2C7}"/>
                    </a:ext>
                  </a:extLst>
                </p:cNvPr>
                <p:cNvSpPr/>
                <p:nvPr/>
              </p:nvSpPr>
              <p:spPr bwMode="gray">
                <a:xfrm>
                  <a:off x="9016269"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37" name="Graphic 1498">
                <a:extLst>
                  <a:ext uri="{FF2B5EF4-FFF2-40B4-BE49-F238E27FC236}">
                    <a16:creationId xmlns:a16="http://schemas.microsoft.com/office/drawing/2014/main" id="{0FD58A28-81CC-5802-D528-BE595684DB6D}"/>
                  </a:ext>
                </a:extLst>
              </p:cNvPr>
              <p:cNvGrpSpPr/>
              <p:nvPr/>
            </p:nvGrpSpPr>
            <p:grpSpPr bwMode="gray">
              <a:xfrm>
                <a:off x="8981027" y="4117371"/>
                <a:ext cx="75723" cy="75723"/>
                <a:chOff x="8981027" y="4117371"/>
                <a:chExt cx="75723" cy="75723"/>
              </a:xfrm>
            </p:grpSpPr>
            <p:sp>
              <p:nvSpPr>
                <p:cNvPr id="13105" name="Freeform: Shape 13104">
                  <a:extLst>
                    <a:ext uri="{FF2B5EF4-FFF2-40B4-BE49-F238E27FC236}">
                      <a16:creationId xmlns:a16="http://schemas.microsoft.com/office/drawing/2014/main" id="{CD98CC55-A13D-B683-841B-270139A1630A}"/>
                    </a:ext>
                  </a:extLst>
                </p:cNvPr>
                <p:cNvSpPr/>
                <p:nvPr/>
              </p:nvSpPr>
              <p:spPr bwMode="gray">
                <a:xfrm>
                  <a:off x="9018841"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06" name="Freeform: Shape 13105">
                  <a:extLst>
                    <a:ext uri="{FF2B5EF4-FFF2-40B4-BE49-F238E27FC236}">
                      <a16:creationId xmlns:a16="http://schemas.microsoft.com/office/drawing/2014/main" id="{CABB8F7F-40B5-056C-C5C7-711E3BA0FEB4}"/>
                    </a:ext>
                  </a:extLst>
                </p:cNvPr>
                <p:cNvSpPr/>
                <p:nvPr/>
              </p:nvSpPr>
              <p:spPr bwMode="gray">
                <a:xfrm>
                  <a:off x="898102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38" name="Graphic 1498">
                <a:extLst>
                  <a:ext uri="{FF2B5EF4-FFF2-40B4-BE49-F238E27FC236}">
                    <a16:creationId xmlns:a16="http://schemas.microsoft.com/office/drawing/2014/main" id="{764F8960-FEA0-AB6B-0E50-E5E1100A3222}"/>
                  </a:ext>
                </a:extLst>
              </p:cNvPr>
              <p:cNvGrpSpPr/>
              <p:nvPr/>
            </p:nvGrpSpPr>
            <p:grpSpPr bwMode="gray">
              <a:xfrm>
                <a:off x="8929020" y="4117371"/>
                <a:ext cx="75723" cy="75723"/>
                <a:chOff x="8929020" y="4117371"/>
                <a:chExt cx="75723" cy="75723"/>
              </a:xfrm>
            </p:grpSpPr>
            <p:sp>
              <p:nvSpPr>
                <p:cNvPr id="13103" name="Freeform: Shape 13102">
                  <a:extLst>
                    <a:ext uri="{FF2B5EF4-FFF2-40B4-BE49-F238E27FC236}">
                      <a16:creationId xmlns:a16="http://schemas.microsoft.com/office/drawing/2014/main" id="{0B14825D-8234-32A0-639E-F19EDAE4D739}"/>
                    </a:ext>
                  </a:extLst>
                </p:cNvPr>
                <p:cNvSpPr/>
                <p:nvPr/>
              </p:nvSpPr>
              <p:spPr bwMode="gray">
                <a:xfrm>
                  <a:off x="896693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04" name="Freeform: Shape 13103">
                  <a:extLst>
                    <a:ext uri="{FF2B5EF4-FFF2-40B4-BE49-F238E27FC236}">
                      <a16:creationId xmlns:a16="http://schemas.microsoft.com/office/drawing/2014/main" id="{974C861B-7C90-BE3E-6331-BF018EB61511}"/>
                    </a:ext>
                  </a:extLst>
                </p:cNvPr>
                <p:cNvSpPr/>
                <p:nvPr/>
              </p:nvSpPr>
              <p:spPr bwMode="gray">
                <a:xfrm>
                  <a:off x="8929020"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39" name="Graphic 1498">
                <a:extLst>
                  <a:ext uri="{FF2B5EF4-FFF2-40B4-BE49-F238E27FC236}">
                    <a16:creationId xmlns:a16="http://schemas.microsoft.com/office/drawing/2014/main" id="{6D6980C4-79FA-37DF-F5CA-D6D529E97EC1}"/>
                  </a:ext>
                </a:extLst>
              </p:cNvPr>
              <p:cNvGrpSpPr/>
              <p:nvPr/>
            </p:nvGrpSpPr>
            <p:grpSpPr bwMode="gray">
              <a:xfrm>
                <a:off x="8863965" y="4117371"/>
                <a:ext cx="75723" cy="75723"/>
                <a:chOff x="8863965" y="4117371"/>
                <a:chExt cx="75723" cy="75723"/>
              </a:xfrm>
            </p:grpSpPr>
            <p:sp>
              <p:nvSpPr>
                <p:cNvPr id="13101" name="Freeform: Shape 13100">
                  <a:extLst>
                    <a:ext uri="{FF2B5EF4-FFF2-40B4-BE49-F238E27FC236}">
                      <a16:creationId xmlns:a16="http://schemas.microsoft.com/office/drawing/2014/main" id="{18B75AA7-1273-C612-1339-E07426F73CC7}"/>
                    </a:ext>
                  </a:extLst>
                </p:cNvPr>
                <p:cNvSpPr/>
                <p:nvPr/>
              </p:nvSpPr>
              <p:spPr bwMode="gray">
                <a:xfrm>
                  <a:off x="8901874"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02" name="Freeform: Shape 13101">
                  <a:extLst>
                    <a:ext uri="{FF2B5EF4-FFF2-40B4-BE49-F238E27FC236}">
                      <a16:creationId xmlns:a16="http://schemas.microsoft.com/office/drawing/2014/main" id="{1B11DFDF-9C63-4739-3F04-F9D110FE02D7}"/>
                    </a:ext>
                  </a:extLst>
                </p:cNvPr>
                <p:cNvSpPr/>
                <p:nvPr/>
              </p:nvSpPr>
              <p:spPr bwMode="gray">
                <a:xfrm>
                  <a:off x="8863965"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0" name="Graphic 1498">
                <a:extLst>
                  <a:ext uri="{FF2B5EF4-FFF2-40B4-BE49-F238E27FC236}">
                    <a16:creationId xmlns:a16="http://schemas.microsoft.com/office/drawing/2014/main" id="{0952F42C-5765-CECE-3A16-0D9F6961E949}"/>
                  </a:ext>
                </a:extLst>
              </p:cNvPr>
              <p:cNvGrpSpPr/>
              <p:nvPr/>
            </p:nvGrpSpPr>
            <p:grpSpPr bwMode="gray">
              <a:xfrm>
                <a:off x="8697087" y="4117371"/>
                <a:ext cx="75723" cy="75723"/>
                <a:chOff x="8697087" y="4117371"/>
                <a:chExt cx="75723" cy="75723"/>
              </a:xfrm>
            </p:grpSpPr>
            <p:sp>
              <p:nvSpPr>
                <p:cNvPr id="13099" name="Freeform: Shape 13098">
                  <a:extLst>
                    <a:ext uri="{FF2B5EF4-FFF2-40B4-BE49-F238E27FC236}">
                      <a16:creationId xmlns:a16="http://schemas.microsoft.com/office/drawing/2014/main" id="{0DD5C3A1-7380-87DA-12FB-F744D79AA211}"/>
                    </a:ext>
                  </a:extLst>
                </p:cNvPr>
                <p:cNvSpPr/>
                <p:nvPr/>
              </p:nvSpPr>
              <p:spPr bwMode="gray">
                <a:xfrm>
                  <a:off x="8734996"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100" name="Freeform: Shape 13099">
                  <a:extLst>
                    <a:ext uri="{FF2B5EF4-FFF2-40B4-BE49-F238E27FC236}">
                      <a16:creationId xmlns:a16="http://schemas.microsoft.com/office/drawing/2014/main" id="{B4268F14-BF6B-05D7-98BB-9177A894DA76}"/>
                    </a:ext>
                  </a:extLst>
                </p:cNvPr>
                <p:cNvSpPr/>
                <p:nvPr/>
              </p:nvSpPr>
              <p:spPr bwMode="gray">
                <a:xfrm>
                  <a:off x="869708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1" name="Graphic 1498">
                <a:extLst>
                  <a:ext uri="{FF2B5EF4-FFF2-40B4-BE49-F238E27FC236}">
                    <a16:creationId xmlns:a16="http://schemas.microsoft.com/office/drawing/2014/main" id="{1056A98B-0531-3BC5-6588-3D73F4DE4CE2}"/>
                  </a:ext>
                </a:extLst>
              </p:cNvPr>
              <p:cNvGrpSpPr/>
              <p:nvPr/>
            </p:nvGrpSpPr>
            <p:grpSpPr bwMode="gray">
              <a:xfrm>
                <a:off x="8602218" y="4117371"/>
                <a:ext cx="75723" cy="75723"/>
                <a:chOff x="8602218" y="4117371"/>
                <a:chExt cx="75723" cy="75723"/>
              </a:xfrm>
            </p:grpSpPr>
            <p:sp>
              <p:nvSpPr>
                <p:cNvPr id="13097" name="Freeform: Shape 13096">
                  <a:extLst>
                    <a:ext uri="{FF2B5EF4-FFF2-40B4-BE49-F238E27FC236}">
                      <a16:creationId xmlns:a16="http://schemas.microsoft.com/office/drawing/2014/main" id="{0BF2CD6B-C1A4-FBA6-CCA3-BAE688E30092}"/>
                    </a:ext>
                  </a:extLst>
                </p:cNvPr>
                <p:cNvSpPr/>
                <p:nvPr/>
              </p:nvSpPr>
              <p:spPr bwMode="gray">
                <a:xfrm>
                  <a:off x="8640127"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98" name="Freeform: Shape 13097">
                  <a:extLst>
                    <a:ext uri="{FF2B5EF4-FFF2-40B4-BE49-F238E27FC236}">
                      <a16:creationId xmlns:a16="http://schemas.microsoft.com/office/drawing/2014/main" id="{933BF5BB-86C9-F897-A76D-CCEA88CECE06}"/>
                    </a:ext>
                  </a:extLst>
                </p:cNvPr>
                <p:cNvSpPr/>
                <p:nvPr/>
              </p:nvSpPr>
              <p:spPr bwMode="gray">
                <a:xfrm>
                  <a:off x="8602218"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2" name="Graphic 1498">
                <a:extLst>
                  <a:ext uri="{FF2B5EF4-FFF2-40B4-BE49-F238E27FC236}">
                    <a16:creationId xmlns:a16="http://schemas.microsoft.com/office/drawing/2014/main" id="{833C7636-0352-8C4D-146A-6B6014F88170}"/>
                  </a:ext>
                </a:extLst>
              </p:cNvPr>
              <p:cNvGrpSpPr/>
              <p:nvPr/>
            </p:nvGrpSpPr>
            <p:grpSpPr bwMode="gray">
              <a:xfrm>
                <a:off x="8574881" y="4117371"/>
                <a:ext cx="75723" cy="75723"/>
                <a:chOff x="8574881" y="4117371"/>
                <a:chExt cx="75723" cy="75723"/>
              </a:xfrm>
            </p:grpSpPr>
            <p:sp>
              <p:nvSpPr>
                <p:cNvPr id="13095" name="Freeform: Shape 13094">
                  <a:extLst>
                    <a:ext uri="{FF2B5EF4-FFF2-40B4-BE49-F238E27FC236}">
                      <a16:creationId xmlns:a16="http://schemas.microsoft.com/office/drawing/2014/main" id="{4A56DAA1-D4C5-F180-87E5-FA9D6A489B4B}"/>
                    </a:ext>
                  </a:extLst>
                </p:cNvPr>
                <p:cNvSpPr/>
                <p:nvPr/>
              </p:nvSpPr>
              <p:spPr bwMode="gray">
                <a:xfrm>
                  <a:off x="861279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96" name="Freeform: Shape 13095">
                  <a:extLst>
                    <a:ext uri="{FF2B5EF4-FFF2-40B4-BE49-F238E27FC236}">
                      <a16:creationId xmlns:a16="http://schemas.microsoft.com/office/drawing/2014/main" id="{771AC5C5-9C3B-52E2-1382-74377DE38A89}"/>
                    </a:ext>
                  </a:extLst>
                </p:cNvPr>
                <p:cNvSpPr/>
                <p:nvPr/>
              </p:nvSpPr>
              <p:spPr bwMode="gray">
                <a:xfrm>
                  <a:off x="857488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3" name="Graphic 1498">
                <a:extLst>
                  <a:ext uri="{FF2B5EF4-FFF2-40B4-BE49-F238E27FC236}">
                    <a16:creationId xmlns:a16="http://schemas.microsoft.com/office/drawing/2014/main" id="{9EF1BD7F-BC1F-1D9F-B269-15E6A06C9ED1}"/>
                  </a:ext>
                </a:extLst>
              </p:cNvPr>
              <p:cNvGrpSpPr/>
              <p:nvPr/>
            </p:nvGrpSpPr>
            <p:grpSpPr bwMode="gray">
              <a:xfrm>
                <a:off x="8541734" y="4117371"/>
                <a:ext cx="75723" cy="75723"/>
                <a:chOff x="8541734" y="4117371"/>
                <a:chExt cx="75723" cy="75723"/>
              </a:xfrm>
            </p:grpSpPr>
            <p:sp>
              <p:nvSpPr>
                <p:cNvPr id="13093" name="Freeform: Shape 13092">
                  <a:extLst>
                    <a:ext uri="{FF2B5EF4-FFF2-40B4-BE49-F238E27FC236}">
                      <a16:creationId xmlns:a16="http://schemas.microsoft.com/office/drawing/2014/main" id="{8A71D899-E9CD-4FDA-6222-3464217E696E}"/>
                    </a:ext>
                  </a:extLst>
                </p:cNvPr>
                <p:cNvSpPr/>
                <p:nvPr/>
              </p:nvSpPr>
              <p:spPr bwMode="gray">
                <a:xfrm>
                  <a:off x="8579643"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94" name="Freeform: Shape 13093">
                  <a:extLst>
                    <a:ext uri="{FF2B5EF4-FFF2-40B4-BE49-F238E27FC236}">
                      <a16:creationId xmlns:a16="http://schemas.microsoft.com/office/drawing/2014/main" id="{2FEE9BED-7FE2-DD34-44DA-17275D5FE29F}"/>
                    </a:ext>
                  </a:extLst>
                </p:cNvPr>
                <p:cNvSpPr/>
                <p:nvPr/>
              </p:nvSpPr>
              <p:spPr bwMode="gray">
                <a:xfrm>
                  <a:off x="8541734" y="415518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4" name="Graphic 1498">
                <a:extLst>
                  <a:ext uri="{FF2B5EF4-FFF2-40B4-BE49-F238E27FC236}">
                    <a16:creationId xmlns:a16="http://schemas.microsoft.com/office/drawing/2014/main" id="{D4B3DABD-56FE-B7E4-1CE4-9C07CC05F32E}"/>
                  </a:ext>
                </a:extLst>
              </p:cNvPr>
              <p:cNvGrpSpPr/>
              <p:nvPr/>
            </p:nvGrpSpPr>
            <p:grpSpPr bwMode="gray">
              <a:xfrm>
                <a:off x="8541734" y="3920299"/>
                <a:ext cx="75723" cy="75723"/>
                <a:chOff x="8541734" y="3920299"/>
                <a:chExt cx="75723" cy="75723"/>
              </a:xfrm>
            </p:grpSpPr>
            <p:sp>
              <p:nvSpPr>
                <p:cNvPr id="13091" name="Freeform: Shape 13090">
                  <a:extLst>
                    <a:ext uri="{FF2B5EF4-FFF2-40B4-BE49-F238E27FC236}">
                      <a16:creationId xmlns:a16="http://schemas.microsoft.com/office/drawing/2014/main" id="{4905281D-D3AB-242C-9610-005F893205FF}"/>
                    </a:ext>
                  </a:extLst>
                </p:cNvPr>
                <p:cNvSpPr/>
                <p:nvPr/>
              </p:nvSpPr>
              <p:spPr bwMode="gray">
                <a:xfrm>
                  <a:off x="857964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92" name="Freeform: Shape 13091">
                  <a:extLst>
                    <a:ext uri="{FF2B5EF4-FFF2-40B4-BE49-F238E27FC236}">
                      <a16:creationId xmlns:a16="http://schemas.microsoft.com/office/drawing/2014/main" id="{0C7D5208-D735-99A9-6577-338CC6631A38}"/>
                    </a:ext>
                  </a:extLst>
                </p:cNvPr>
                <p:cNvSpPr/>
                <p:nvPr/>
              </p:nvSpPr>
              <p:spPr bwMode="gray">
                <a:xfrm>
                  <a:off x="8541734" y="395820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5" name="Graphic 1498">
                <a:extLst>
                  <a:ext uri="{FF2B5EF4-FFF2-40B4-BE49-F238E27FC236}">
                    <a16:creationId xmlns:a16="http://schemas.microsoft.com/office/drawing/2014/main" id="{82041D7B-087F-29C7-5479-E05B4C902CCA}"/>
                  </a:ext>
                </a:extLst>
              </p:cNvPr>
              <p:cNvGrpSpPr/>
              <p:nvPr/>
            </p:nvGrpSpPr>
            <p:grpSpPr bwMode="gray">
              <a:xfrm>
                <a:off x="7976139" y="3920299"/>
                <a:ext cx="75723" cy="75723"/>
                <a:chOff x="7976139" y="3920299"/>
                <a:chExt cx="75723" cy="75723"/>
              </a:xfrm>
            </p:grpSpPr>
            <p:sp>
              <p:nvSpPr>
                <p:cNvPr id="13089" name="Freeform: Shape 13088">
                  <a:extLst>
                    <a:ext uri="{FF2B5EF4-FFF2-40B4-BE49-F238E27FC236}">
                      <a16:creationId xmlns:a16="http://schemas.microsoft.com/office/drawing/2014/main" id="{0B417A64-9A1D-7B0B-87CA-34BC0D458A7C}"/>
                    </a:ext>
                  </a:extLst>
                </p:cNvPr>
                <p:cNvSpPr/>
                <p:nvPr/>
              </p:nvSpPr>
              <p:spPr bwMode="gray">
                <a:xfrm>
                  <a:off x="80139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90" name="Freeform: Shape 13089">
                  <a:extLst>
                    <a:ext uri="{FF2B5EF4-FFF2-40B4-BE49-F238E27FC236}">
                      <a16:creationId xmlns:a16="http://schemas.microsoft.com/office/drawing/2014/main" id="{22AF6425-818B-6246-8ADA-96719C51D257}"/>
                    </a:ext>
                  </a:extLst>
                </p:cNvPr>
                <p:cNvSpPr/>
                <p:nvPr/>
              </p:nvSpPr>
              <p:spPr bwMode="gray">
                <a:xfrm>
                  <a:off x="7976139"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6" name="Graphic 1498">
                <a:extLst>
                  <a:ext uri="{FF2B5EF4-FFF2-40B4-BE49-F238E27FC236}">
                    <a16:creationId xmlns:a16="http://schemas.microsoft.com/office/drawing/2014/main" id="{9FF21C1E-D68C-0411-9A85-E2239AA60A7D}"/>
                  </a:ext>
                </a:extLst>
              </p:cNvPr>
              <p:cNvGrpSpPr/>
              <p:nvPr/>
            </p:nvGrpSpPr>
            <p:grpSpPr bwMode="gray">
              <a:xfrm>
                <a:off x="7750302" y="3863911"/>
                <a:ext cx="75723" cy="75628"/>
                <a:chOff x="7750302" y="3863911"/>
                <a:chExt cx="75723" cy="75628"/>
              </a:xfrm>
            </p:grpSpPr>
            <p:sp>
              <p:nvSpPr>
                <p:cNvPr id="13087" name="Freeform: Shape 13086">
                  <a:extLst>
                    <a:ext uri="{FF2B5EF4-FFF2-40B4-BE49-F238E27FC236}">
                      <a16:creationId xmlns:a16="http://schemas.microsoft.com/office/drawing/2014/main" id="{75C8BB7A-AFA1-F67F-832D-23FBD1528A93}"/>
                    </a:ext>
                  </a:extLst>
                </p:cNvPr>
                <p:cNvSpPr/>
                <p:nvPr/>
              </p:nvSpPr>
              <p:spPr bwMode="gray">
                <a:xfrm>
                  <a:off x="7788116"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88" name="Freeform: Shape 13087">
                  <a:extLst>
                    <a:ext uri="{FF2B5EF4-FFF2-40B4-BE49-F238E27FC236}">
                      <a16:creationId xmlns:a16="http://schemas.microsoft.com/office/drawing/2014/main" id="{6A15CEC5-6942-6E97-D9D0-01CDF302964B}"/>
                    </a:ext>
                  </a:extLst>
                </p:cNvPr>
                <p:cNvSpPr/>
                <p:nvPr/>
              </p:nvSpPr>
              <p:spPr bwMode="gray">
                <a:xfrm>
                  <a:off x="7750302"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7" name="Graphic 1498">
                <a:extLst>
                  <a:ext uri="{FF2B5EF4-FFF2-40B4-BE49-F238E27FC236}">
                    <a16:creationId xmlns:a16="http://schemas.microsoft.com/office/drawing/2014/main" id="{4F81CAB7-A50B-26AA-E4CA-33F142DE4C52}"/>
                  </a:ext>
                </a:extLst>
              </p:cNvPr>
              <p:cNvGrpSpPr/>
              <p:nvPr/>
            </p:nvGrpSpPr>
            <p:grpSpPr bwMode="gray">
              <a:xfrm>
                <a:off x="7908988" y="3863911"/>
                <a:ext cx="75628" cy="75628"/>
                <a:chOff x="7908988" y="3863911"/>
                <a:chExt cx="75628" cy="75628"/>
              </a:xfrm>
            </p:grpSpPr>
            <p:sp>
              <p:nvSpPr>
                <p:cNvPr id="13085" name="Freeform: Shape 13084">
                  <a:extLst>
                    <a:ext uri="{FF2B5EF4-FFF2-40B4-BE49-F238E27FC236}">
                      <a16:creationId xmlns:a16="http://schemas.microsoft.com/office/drawing/2014/main" id="{F915A514-8407-6241-30AC-8044AC58E973}"/>
                    </a:ext>
                  </a:extLst>
                </p:cNvPr>
                <p:cNvSpPr/>
                <p:nvPr/>
              </p:nvSpPr>
              <p:spPr bwMode="gray">
                <a:xfrm>
                  <a:off x="794680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86" name="Freeform: Shape 13085">
                  <a:extLst>
                    <a:ext uri="{FF2B5EF4-FFF2-40B4-BE49-F238E27FC236}">
                      <a16:creationId xmlns:a16="http://schemas.microsoft.com/office/drawing/2014/main" id="{47A11C88-DD46-39B0-D605-3982013CEF1E}"/>
                    </a:ext>
                  </a:extLst>
                </p:cNvPr>
                <p:cNvSpPr/>
                <p:nvPr/>
              </p:nvSpPr>
              <p:spPr bwMode="gray">
                <a:xfrm>
                  <a:off x="790898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8" name="Graphic 1498">
                <a:extLst>
                  <a:ext uri="{FF2B5EF4-FFF2-40B4-BE49-F238E27FC236}">
                    <a16:creationId xmlns:a16="http://schemas.microsoft.com/office/drawing/2014/main" id="{454BF9D4-8655-4A20-26A2-72503485D4C9}"/>
                  </a:ext>
                </a:extLst>
              </p:cNvPr>
              <p:cNvGrpSpPr/>
              <p:nvPr/>
            </p:nvGrpSpPr>
            <p:grpSpPr bwMode="gray">
              <a:xfrm>
                <a:off x="7873650" y="3863911"/>
                <a:ext cx="75723" cy="75628"/>
                <a:chOff x="7873650" y="3863911"/>
                <a:chExt cx="75723" cy="75628"/>
              </a:xfrm>
            </p:grpSpPr>
            <p:sp>
              <p:nvSpPr>
                <p:cNvPr id="13083" name="Freeform: Shape 13082">
                  <a:extLst>
                    <a:ext uri="{FF2B5EF4-FFF2-40B4-BE49-F238E27FC236}">
                      <a16:creationId xmlns:a16="http://schemas.microsoft.com/office/drawing/2014/main" id="{563B527C-4199-6A5E-64AA-4E33F5F2D406}"/>
                    </a:ext>
                  </a:extLst>
                </p:cNvPr>
                <p:cNvSpPr/>
                <p:nvPr/>
              </p:nvSpPr>
              <p:spPr bwMode="gray">
                <a:xfrm>
                  <a:off x="791156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84" name="Freeform: Shape 13083">
                  <a:extLst>
                    <a:ext uri="{FF2B5EF4-FFF2-40B4-BE49-F238E27FC236}">
                      <a16:creationId xmlns:a16="http://schemas.microsoft.com/office/drawing/2014/main" id="{E855B093-3183-309A-F4C9-CB846AD981A1}"/>
                    </a:ext>
                  </a:extLst>
                </p:cNvPr>
                <p:cNvSpPr/>
                <p:nvPr/>
              </p:nvSpPr>
              <p:spPr bwMode="gray">
                <a:xfrm>
                  <a:off x="787365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49" name="Graphic 1498">
                <a:extLst>
                  <a:ext uri="{FF2B5EF4-FFF2-40B4-BE49-F238E27FC236}">
                    <a16:creationId xmlns:a16="http://schemas.microsoft.com/office/drawing/2014/main" id="{EC33A23A-2527-32D1-38FC-5DA41D6E2F6A}"/>
                  </a:ext>
                </a:extLst>
              </p:cNvPr>
              <p:cNvGrpSpPr/>
              <p:nvPr/>
            </p:nvGrpSpPr>
            <p:grpSpPr bwMode="gray">
              <a:xfrm>
                <a:off x="7882604" y="3863911"/>
                <a:ext cx="75723" cy="75628"/>
                <a:chOff x="7882604" y="3863911"/>
                <a:chExt cx="75723" cy="75628"/>
              </a:xfrm>
            </p:grpSpPr>
            <p:sp>
              <p:nvSpPr>
                <p:cNvPr id="13081" name="Freeform: Shape 13080">
                  <a:extLst>
                    <a:ext uri="{FF2B5EF4-FFF2-40B4-BE49-F238E27FC236}">
                      <a16:creationId xmlns:a16="http://schemas.microsoft.com/office/drawing/2014/main" id="{83016E0D-315A-57AC-3AA2-F2C174389F3C}"/>
                    </a:ext>
                  </a:extLst>
                </p:cNvPr>
                <p:cNvSpPr/>
                <p:nvPr/>
              </p:nvSpPr>
              <p:spPr bwMode="gray">
                <a:xfrm>
                  <a:off x="792051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82" name="Freeform: Shape 13081">
                  <a:extLst>
                    <a:ext uri="{FF2B5EF4-FFF2-40B4-BE49-F238E27FC236}">
                      <a16:creationId xmlns:a16="http://schemas.microsoft.com/office/drawing/2014/main" id="{C3EA6BA5-1A3C-5894-F8CC-DFAE87EF4A5D}"/>
                    </a:ext>
                  </a:extLst>
                </p:cNvPr>
                <p:cNvSpPr/>
                <p:nvPr/>
              </p:nvSpPr>
              <p:spPr bwMode="gray">
                <a:xfrm>
                  <a:off x="7882604"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0" name="Graphic 1498">
                <a:extLst>
                  <a:ext uri="{FF2B5EF4-FFF2-40B4-BE49-F238E27FC236}">
                    <a16:creationId xmlns:a16="http://schemas.microsoft.com/office/drawing/2014/main" id="{1E149ECD-104E-718D-DF89-CE7962FC3EEB}"/>
                  </a:ext>
                </a:extLst>
              </p:cNvPr>
              <p:cNvGrpSpPr/>
              <p:nvPr/>
            </p:nvGrpSpPr>
            <p:grpSpPr bwMode="gray">
              <a:xfrm>
                <a:off x="7785925" y="3863911"/>
                <a:ext cx="75628" cy="75628"/>
                <a:chOff x="7785925" y="3863911"/>
                <a:chExt cx="75628" cy="75628"/>
              </a:xfrm>
            </p:grpSpPr>
            <p:sp>
              <p:nvSpPr>
                <p:cNvPr id="13079" name="Freeform: Shape 13078">
                  <a:extLst>
                    <a:ext uri="{FF2B5EF4-FFF2-40B4-BE49-F238E27FC236}">
                      <a16:creationId xmlns:a16="http://schemas.microsoft.com/office/drawing/2014/main" id="{75F922DD-EE3C-C75B-2F4A-AD349E3A2918}"/>
                    </a:ext>
                  </a:extLst>
                </p:cNvPr>
                <p:cNvSpPr/>
                <p:nvPr/>
              </p:nvSpPr>
              <p:spPr bwMode="gray">
                <a:xfrm>
                  <a:off x="782373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80" name="Freeform: Shape 13079">
                  <a:extLst>
                    <a:ext uri="{FF2B5EF4-FFF2-40B4-BE49-F238E27FC236}">
                      <a16:creationId xmlns:a16="http://schemas.microsoft.com/office/drawing/2014/main" id="{73B5AE07-FCE7-AB0D-EA4F-B353D2810080}"/>
                    </a:ext>
                  </a:extLst>
                </p:cNvPr>
                <p:cNvSpPr/>
                <p:nvPr/>
              </p:nvSpPr>
              <p:spPr bwMode="gray">
                <a:xfrm>
                  <a:off x="7785925" y="3901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1" name="Graphic 1498">
                <a:extLst>
                  <a:ext uri="{FF2B5EF4-FFF2-40B4-BE49-F238E27FC236}">
                    <a16:creationId xmlns:a16="http://schemas.microsoft.com/office/drawing/2014/main" id="{92FA9177-A05B-D41B-803B-056E510B024E}"/>
                  </a:ext>
                </a:extLst>
              </p:cNvPr>
              <p:cNvGrpSpPr/>
              <p:nvPr/>
            </p:nvGrpSpPr>
            <p:grpSpPr bwMode="gray">
              <a:xfrm>
                <a:off x="7794879" y="3863911"/>
                <a:ext cx="75723" cy="75628"/>
                <a:chOff x="7794879" y="3863911"/>
                <a:chExt cx="75723" cy="75628"/>
              </a:xfrm>
            </p:grpSpPr>
            <p:sp>
              <p:nvSpPr>
                <p:cNvPr id="13077" name="Freeform: Shape 13076">
                  <a:extLst>
                    <a:ext uri="{FF2B5EF4-FFF2-40B4-BE49-F238E27FC236}">
                      <a16:creationId xmlns:a16="http://schemas.microsoft.com/office/drawing/2014/main" id="{DAAD19FB-ED02-EB09-3149-E030D5C7485F}"/>
                    </a:ext>
                  </a:extLst>
                </p:cNvPr>
                <p:cNvSpPr/>
                <p:nvPr/>
              </p:nvSpPr>
              <p:spPr bwMode="gray">
                <a:xfrm>
                  <a:off x="783269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78" name="Freeform: Shape 13077">
                  <a:extLst>
                    <a:ext uri="{FF2B5EF4-FFF2-40B4-BE49-F238E27FC236}">
                      <a16:creationId xmlns:a16="http://schemas.microsoft.com/office/drawing/2014/main" id="{9B1E7F5F-E5BA-9374-E0C7-40E882203D7D}"/>
                    </a:ext>
                  </a:extLst>
                </p:cNvPr>
                <p:cNvSpPr/>
                <p:nvPr/>
              </p:nvSpPr>
              <p:spPr bwMode="gray">
                <a:xfrm>
                  <a:off x="7794879"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2" name="Graphic 1498">
                <a:extLst>
                  <a:ext uri="{FF2B5EF4-FFF2-40B4-BE49-F238E27FC236}">
                    <a16:creationId xmlns:a16="http://schemas.microsoft.com/office/drawing/2014/main" id="{A6D3E85A-057F-BC87-09C8-00F65808753A}"/>
                  </a:ext>
                </a:extLst>
              </p:cNvPr>
              <p:cNvGrpSpPr/>
              <p:nvPr/>
            </p:nvGrpSpPr>
            <p:grpSpPr bwMode="gray">
              <a:xfrm>
                <a:off x="7805356" y="3863911"/>
                <a:ext cx="75628" cy="75628"/>
                <a:chOff x="7805356" y="3863911"/>
                <a:chExt cx="75628" cy="75628"/>
              </a:xfrm>
            </p:grpSpPr>
            <p:sp>
              <p:nvSpPr>
                <p:cNvPr id="13075" name="Freeform: Shape 13074">
                  <a:extLst>
                    <a:ext uri="{FF2B5EF4-FFF2-40B4-BE49-F238E27FC236}">
                      <a16:creationId xmlns:a16="http://schemas.microsoft.com/office/drawing/2014/main" id="{D5B13EFA-6296-DB96-FEC6-6413E4FFD122}"/>
                    </a:ext>
                  </a:extLst>
                </p:cNvPr>
                <p:cNvSpPr/>
                <p:nvPr/>
              </p:nvSpPr>
              <p:spPr bwMode="gray">
                <a:xfrm>
                  <a:off x="784317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76" name="Freeform: Shape 13075">
                  <a:extLst>
                    <a:ext uri="{FF2B5EF4-FFF2-40B4-BE49-F238E27FC236}">
                      <a16:creationId xmlns:a16="http://schemas.microsoft.com/office/drawing/2014/main" id="{E0112906-E652-6085-8F93-E2AFA2C90165}"/>
                    </a:ext>
                  </a:extLst>
                </p:cNvPr>
                <p:cNvSpPr/>
                <p:nvPr/>
              </p:nvSpPr>
              <p:spPr bwMode="gray">
                <a:xfrm>
                  <a:off x="7805356"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3" name="Graphic 1498">
                <a:extLst>
                  <a:ext uri="{FF2B5EF4-FFF2-40B4-BE49-F238E27FC236}">
                    <a16:creationId xmlns:a16="http://schemas.microsoft.com/office/drawing/2014/main" id="{D4C00118-EA70-03BB-E656-75BE1C6C2F1B}"/>
                  </a:ext>
                </a:extLst>
              </p:cNvPr>
              <p:cNvGrpSpPr/>
              <p:nvPr/>
            </p:nvGrpSpPr>
            <p:grpSpPr bwMode="gray">
              <a:xfrm>
                <a:off x="7840980" y="3863911"/>
                <a:ext cx="75723" cy="75628"/>
                <a:chOff x="7840980" y="3863911"/>
                <a:chExt cx="75723" cy="75628"/>
              </a:xfrm>
            </p:grpSpPr>
            <p:sp>
              <p:nvSpPr>
                <p:cNvPr id="13073" name="Freeform: Shape 13072">
                  <a:extLst>
                    <a:ext uri="{FF2B5EF4-FFF2-40B4-BE49-F238E27FC236}">
                      <a16:creationId xmlns:a16="http://schemas.microsoft.com/office/drawing/2014/main" id="{ED5C354E-E1C0-29DB-EDC9-1C337AA1C502}"/>
                    </a:ext>
                  </a:extLst>
                </p:cNvPr>
                <p:cNvSpPr/>
                <p:nvPr/>
              </p:nvSpPr>
              <p:spPr bwMode="gray">
                <a:xfrm>
                  <a:off x="787888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74" name="Freeform: Shape 13073">
                  <a:extLst>
                    <a:ext uri="{FF2B5EF4-FFF2-40B4-BE49-F238E27FC236}">
                      <a16:creationId xmlns:a16="http://schemas.microsoft.com/office/drawing/2014/main" id="{79D6F556-3AD0-57CC-E06A-2DDD6F145881}"/>
                    </a:ext>
                  </a:extLst>
                </p:cNvPr>
                <p:cNvSpPr/>
                <p:nvPr/>
              </p:nvSpPr>
              <p:spPr bwMode="gray">
                <a:xfrm>
                  <a:off x="784098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4" name="Graphic 1498">
                <a:extLst>
                  <a:ext uri="{FF2B5EF4-FFF2-40B4-BE49-F238E27FC236}">
                    <a16:creationId xmlns:a16="http://schemas.microsoft.com/office/drawing/2014/main" id="{D9258449-AA06-95E5-ABD7-955F36E54288}"/>
                  </a:ext>
                </a:extLst>
              </p:cNvPr>
              <p:cNvGrpSpPr/>
              <p:nvPr/>
            </p:nvGrpSpPr>
            <p:grpSpPr bwMode="gray">
              <a:xfrm>
                <a:off x="7648289" y="3863911"/>
                <a:ext cx="75628" cy="75628"/>
                <a:chOff x="7648289" y="3863911"/>
                <a:chExt cx="75628" cy="75628"/>
              </a:xfrm>
            </p:grpSpPr>
            <p:sp>
              <p:nvSpPr>
                <p:cNvPr id="13071" name="Freeform: Shape 13070">
                  <a:extLst>
                    <a:ext uri="{FF2B5EF4-FFF2-40B4-BE49-F238E27FC236}">
                      <a16:creationId xmlns:a16="http://schemas.microsoft.com/office/drawing/2014/main" id="{E79D03F0-2C82-4CF3-0264-B38B68DEB2AD}"/>
                    </a:ext>
                  </a:extLst>
                </p:cNvPr>
                <p:cNvSpPr/>
                <p:nvPr/>
              </p:nvSpPr>
              <p:spPr bwMode="gray">
                <a:xfrm>
                  <a:off x="768610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72" name="Freeform: Shape 13071">
                  <a:extLst>
                    <a:ext uri="{FF2B5EF4-FFF2-40B4-BE49-F238E27FC236}">
                      <a16:creationId xmlns:a16="http://schemas.microsoft.com/office/drawing/2014/main" id="{467DEC34-83F4-2543-A980-C80343A0443E}"/>
                    </a:ext>
                  </a:extLst>
                </p:cNvPr>
                <p:cNvSpPr/>
                <p:nvPr/>
              </p:nvSpPr>
              <p:spPr bwMode="gray">
                <a:xfrm>
                  <a:off x="7648289"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5" name="Graphic 1498">
                <a:extLst>
                  <a:ext uri="{FF2B5EF4-FFF2-40B4-BE49-F238E27FC236}">
                    <a16:creationId xmlns:a16="http://schemas.microsoft.com/office/drawing/2014/main" id="{074CB967-107B-9DB0-3AC6-A46E4444B9BA}"/>
                  </a:ext>
                </a:extLst>
              </p:cNvPr>
              <p:cNvGrpSpPr/>
              <p:nvPr/>
            </p:nvGrpSpPr>
            <p:grpSpPr bwMode="gray">
              <a:xfrm>
                <a:off x="7621238" y="3863911"/>
                <a:ext cx="75628" cy="75628"/>
                <a:chOff x="7621238" y="3863911"/>
                <a:chExt cx="75628" cy="75628"/>
              </a:xfrm>
            </p:grpSpPr>
            <p:sp>
              <p:nvSpPr>
                <p:cNvPr id="13069" name="Freeform: Shape 13068">
                  <a:extLst>
                    <a:ext uri="{FF2B5EF4-FFF2-40B4-BE49-F238E27FC236}">
                      <a16:creationId xmlns:a16="http://schemas.microsoft.com/office/drawing/2014/main" id="{0DC9EEC9-FC20-0145-042F-F0C7617C18DC}"/>
                    </a:ext>
                  </a:extLst>
                </p:cNvPr>
                <p:cNvSpPr/>
                <p:nvPr/>
              </p:nvSpPr>
              <p:spPr bwMode="gray">
                <a:xfrm>
                  <a:off x="765905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70" name="Freeform: Shape 13069">
                  <a:extLst>
                    <a:ext uri="{FF2B5EF4-FFF2-40B4-BE49-F238E27FC236}">
                      <a16:creationId xmlns:a16="http://schemas.microsoft.com/office/drawing/2014/main" id="{437BBD72-3215-D364-BCF2-F70139EFFD6C}"/>
                    </a:ext>
                  </a:extLst>
                </p:cNvPr>
                <p:cNvSpPr/>
                <p:nvPr/>
              </p:nvSpPr>
              <p:spPr bwMode="gray">
                <a:xfrm>
                  <a:off x="762123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6" name="Graphic 1498">
                <a:extLst>
                  <a:ext uri="{FF2B5EF4-FFF2-40B4-BE49-F238E27FC236}">
                    <a16:creationId xmlns:a16="http://schemas.microsoft.com/office/drawing/2014/main" id="{9A44A993-928C-8B20-B3B5-4FB73A90B272}"/>
                  </a:ext>
                </a:extLst>
              </p:cNvPr>
              <p:cNvGrpSpPr/>
              <p:nvPr/>
            </p:nvGrpSpPr>
            <p:grpSpPr bwMode="gray">
              <a:xfrm>
                <a:off x="7397781" y="3779138"/>
                <a:ext cx="75723" cy="75723"/>
                <a:chOff x="7397781" y="3779138"/>
                <a:chExt cx="75723" cy="75723"/>
              </a:xfrm>
            </p:grpSpPr>
            <p:sp>
              <p:nvSpPr>
                <p:cNvPr id="13067" name="Freeform: Shape 13066">
                  <a:extLst>
                    <a:ext uri="{FF2B5EF4-FFF2-40B4-BE49-F238E27FC236}">
                      <a16:creationId xmlns:a16="http://schemas.microsoft.com/office/drawing/2014/main" id="{F5124D89-B4AB-5A41-EEA6-DB53CA54A45F}"/>
                    </a:ext>
                  </a:extLst>
                </p:cNvPr>
                <p:cNvSpPr/>
                <p:nvPr/>
              </p:nvSpPr>
              <p:spPr bwMode="gray">
                <a:xfrm>
                  <a:off x="7435596"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68" name="Freeform: Shape 13067">
                  <a:extLst>
                    <a:ext uri="{FF2B5EF4-FFF2-40B4-BE49-F238E27FC236}">
                      <a16:creationId xmlns:a16="http://schemas.microsoft.com/office/drawing/2014/main" id="{88FF25BA-31D6-9F6D-DE1E-7E6029B7AD61}"/>
                    </a:ext>
                  </a:extLst>
                </p:cNvPr>
                <p:cNvSpPr/>
                <p:nvPr/>
              </p:nvSpPr>
              <p:spPr bwMode="gray">
                <a:xfrm>
                  <a:off x="7397781"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7" name="Graphic 1498">
                <a:extLst>
                  <a:ext uri="{FF2B5EF4-FFF2-40B4-BE49-F238E27FC236}">
                    <a16:creationId xmlns:a16="http://schemas.microsoft.com/office/drawing/2014/main" id="{322EB25C-0A82-CDBB-49F7-1CDEB969261D}"/>
                  </a:ext>
                </a:extLst>
              </p:cNvPr>
              <p:cNvGrpSpPr/>
              <p:nvPr/>
            </p:nvGrpSpPr>
            <p:grpSpPr bwMode="gray">
              <a:xfrm>
                <a:off x="7370540" y="3741324"/>
                <a:ext cx="75723" cy="75628"/>
                <a:chOff x="7370540" y="3741324"/>
                <a:chExt cx="75723" cy="75628"/>
              </a:xfrm>
            </p:grpSpPr>
            <p:sp>
              <p:nvSpPr>
                <p:cNvPr id="13065" name="Freeform: Shape 13064">
                  <a:extLst>
                    <a:ext uri="{FF2B5EF4-FFF2-40B4-BE49-F238E27FC236}">
                      <a16:creationId xmlns:a16="http://schemas.microsoft.com/office/drawing/2014/main" id="{FD3D33C2-BB1C-030B-51D3-6A0EF7FE1296}"/>
                    </a:ext>
                  </a:extLst>
                </p:cNvPr>
                <p:cNvSpPr/>
                <p:nvPr/>
              </p:nvSpPr>
              <p:spPr bwMode="gray">
                <a:xfrm>
                  <a:off x="7408449" y="37413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66" name="Freeform: Shape 13065">
                  <a:extLst>
                    <a:ext uri="{FF2B5EF4-FFF2-40B4-BE49-F238E27FC236}">
                      <a16:creationId xmlns:a16="http://schemas.microsoft.com/office/drawing/2014/main" id="{53DE7D96-7E8F-1A54-BD55-D8B7C247C9AF}"/>
                    </a:ext>
                  </a:extLst>
                </p:cNvPr>
                <p:cNvSpPr/>
                <p:nvPr/>
              </p:nvSpPr>
              <p:spPr bwMode="gray">
                <a:xfrm>
                  <a:off x="7370540" y="37791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8" name="Graphic 1498">
                <a:extLst>
                  <a:ext uri="{FF2B5EF4-FFF2-40B4-BE49-F238E27FC236}">
                    <a16:creationId xmlns:a16="http://schemas.microsoft.com/office/drawing/2014/main" id="{5D3DF2E0-47C8-1AAA-EE0E-0EC16788EAE5}"/>
                  </a:ext>
                </a:extLst>
              </p:cNvPr>
              <p:cNvGrpSpPr/>
              <p:nvPr/>
            </p:nvGrpSpPr>
            <p:grpSpPr bwMode="gray">
              <a:xfrm>
                <a:off x="7370540" y="3715797"/>
                <a:ext cx="75723" cy="75628"/>
                <a:chOff x="7370540" y="3715797"/>
                <a:chExt cx="75723" cy="75628"/>
              </a:xfrm>
            </p:grpSpPr>
            <p:sp>
              <p:nvSpPr>
                <p:cNvPr id="13063" name="Freeform: Shape 13062">
                  <a:extLst>
                    <a:ext uri="{FF2B5EF4-FFF2-40B4-BE49-F238E27FC236}">
                      <a16:creationId xmlns:a16="http://schemas.microsoft.com/office/drawing/2014/main" id="{FCAF6124-CF1D-43D1-F8C2-1A7B40552DB6}"/>
                    </a:ext>
                  </a:extLst>
                </p:cNvPr>
                <p:cNvSpPr/>
                <p:nvPr/>
              </p:nvSpPr>
              <p:spPr bwMode="gray">
                <a:xfrm>
                  <a:off x="7408449"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64" name="Freeform: Shape 13063">
                  <a:extLst>
                    <a:ext uri="{FF2B5EF4-FFF2-40B4-BE49-F238E27FC236}">
                      <a16:creationId xmlns:a16="http://schemas.microsoft.com/office/drawing/2014/main" id="{727B310F-7AD8-376C-B97F-36DF8333519C}"/>
                    </a:ext>
                  </a:extLst>
                </p:cNvPr>
                <p:cNvSpPr/>
                <p:nvPr/>
              </p:nvSpPr>
              <p:spPr bwMode="gray">
                <a:xfrm>
                  <a:off x="737054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59" name="Graphic 1498">
                <a:extLst>
                  <a:ext uri="{FF2B5EF4-FFF2-40B4-BE49-F238E27FC236}">
                    <a16:creationId xmlns:a16="http://schemas.microsoft.com/office/drawing/2014/main" id="{0767D4D4-B1DC-32F4-F1D4-2202BB8FE6FC}"/>
                  </a:ext>
                </a:extLst>
              </p:cNvPr>
              <p:cNvGrpSpPr/>
              <p:nvPr/>
            </p:nvGrpSpPr>
            <p:grpSpPr bwMode="gray">
              <a:xfrm>
                <a:off x="7307770" y="3715797"/>
                <a:ext cx="75723" cy="75628"/>
                <a:chOff x="7307770" y="3715797"/>
                <a:chExt cx="75723" cy="75628"/>
              </a:xfrm>
            </p:grpSpPr>
            <p:sp>
              <p:nvSpPr>
                <p:cNvPr id="13061" name="Freeform: Shape 13060">
                  <a:extLst>
                    <a:ext uri="{FF2B5EF4-FFF2-40B4-BE49-F238E27FC236}">
                      <a16:creationId xmlns:a16="http://schemas.microsoft.com/office/drawing/2014/main" id="{4CA56C69-75C1-9A0A-93B7-EEA7DE3BDD09}"/>
                    </a:ext>
                  </a:extLst>
                </p:cNvPr>
                <p:cNvSpPr/>
                <p:nvPr/>
              </p:nvSpPr>
              <p:spPr bwMode="gray">
                <a:xfrm>
                  <a:off x="7345680"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62" name="Freeform: Shape 13061">
                  <a:extLst>
                    <a:ext uri="{FF2B5EF4-FFF2-40B4-BE49-F238E27FC236}">
                      <a16:creationId xmlns:a16="http://schemas.microsoft.com/office/drawing/2014/main" id="{37C2CF9C-752D-E568-D934-7127B1795907}"/>
                    </a:ext>
                  </a:extLst>
                </p:cNvPr>
                <p:cNvSpPr/>
                <p:nvPr/>
              </p:nvSpPr>
              <p:spPr bwMode="gray">
                <a:xfrm>
                  <a:off x="730777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0" name="Graphic 1498">
                <a:extLst>
                  <a:ext uri="{FF2B5EF4-FFF2-40B4-BE49-F238E27FC236}">
                    <a16:creationId xmlns:a16="http://schemas.microsoft.com/office/drawing/2014/main" id="{467D77C5-48E8-1A62-1060-0272E02C7DA9}"/>
                  </a:ext>
                </a:extLst>
              </p:cNvPr>
              <p:cNvGrpSpPr/>
              <p:nvPr/>
            </p:nvGrpSpPr>
            <p:grpSpPr bwMode="gray">
              <a:xfrm>
                <a:off x="7036689" y="3653599"/>
                <a:ext cx="75628" cy="75723"/>
                <a:chOff x="7036689" y="3653599"/>
                <a:chExt cx="75628" cy="75723"/>
              </a:xfrm>
            </p:grpSpPr>
            <p:sp>
              <p:nvSpPr>
                <p:cNvPr id="13059" name="Freeform: Shape 13058">
                  <a:extLst>
                    <a:ext uri="{FF2B5EF4-FFF2-40B4-BE49-F238E27FC236}">
                      <a16:creationId xmlns:a16="http://schemas.microsoft.com/office/drawing/2014/main" id="{0FD46510-CA0B-6DD4-389F-0393E95CF163}"/>
                    </a:ext>
                  </a:extLst>
                </p:cNvPr>
                <p:cNvSpPr/>
                <p:nvPr/>
              </p:nvSpPr>
              <p:spPr bwMode="gray">
                <a:xfrm>
                  <a:off x="707450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60" name="Freeform: Shape 13059">
                  <a:extLst>
                    <a:ext uri="{FF2B5EF4-FFF2-40B4-BE49-F238E27FC236}">
                      <a16:creationId xmlns:a16="http://schemas.microsoft.com/office/drawing/2014/main" id="{D1F749FC-F22E-7DA0-81E9-5D69B7816D94}"/>
                    </a:ext>
                  </a:extLst>
                </p:cNvPr>
                <p:cNvSpPr/>
                <p:nvPr/>
              </p:nvSpPr>
              <p:spPr bwMode="gray">
                <a:xfrm>
                  <a:off x="7036689"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1" name="Graphic 1498">
                <a:extLst>
                  <a:ext uri="{FF2B5EF4-FFF2-40B4-BE49-F238E27FC236}">
                    <a16:creationId xmlns:a16="http://schemas.microsoft.com/office/drawing/2014/main" id="{DDC6350C-863C-A442-CD0B-4FD2270D3F2A}"/>
                  </a:ext>
                </a:extLst>
              </p:cNvPr>
              <p:cNvGrpSpPr/>
              <p:nvPr/>
            </p:nvGrpSpPr>
            <p:grpSpPr bwMode="gray">
              <a:xfrm>
                <a:off x="7048309" y="3653599"/>
                <a:ext cx="75723" cy="75723"/>
                <a:chOff x="7048309" y="3653599"/>
                <a:chExt cx="75723" cy="75723"/>
              </a:xfrm>
            </p:grpSpPr>
            <p:sp>
              <p:nvSpPr>
                <p:cNvPr id="13057" name="Freeform: Shape 13056">
                  <a:extLst>
                    <a:ext uri="{FF2B5EF4-FFF2-40B4-BE49-F238E27FC236}">
                      <a16:creationId xmlns:a16="http://schemas.microsoft.com/office/drawing/2014/main" id="{72B14767-E2BD-0327-A07B-31F62D6C7818}"/>
                    </a:ext>
                  </a:extLst>
                </p:cNvPr>
                <p:cNvSpPr/>
                <p:nvPr/>
              </p:nvSpPr>
              <p:spPr bwMode="gray">
                <a:xfrm>
                  <a:off x="708612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58" name="Freeform: Shape 13057">
                  <a:extLst>
                    <a:ext uri="{FF2B5EF4-FFF2-40B4-BE49-F238E27FC236}">
                      <a16:creationId xmlns:a16="http://schemas.microsoft.com/office/drawing/2014/main" id="{6DA6072B-8D9E-39C0-C969-D2CBF20C2EA0}"/>
                    </a:ext>
                  </a:extLst>
                </p:cNvPr>
                <p:cNvSpPr/>
                <p:nvPr/>
              </p:nvSpPr>
              <p:spPr bwMode="gray">
                <a:xfrm>
                  <a:off x="7048309"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2" name="Graphic 1498">
                <a:extLst>
                  <a:ext uri="{FF2B5EF4-FFF2-40B4-BE49-F238E27FC236}">
                    <a16:creationId xmlns:a16="http://schemas.microsoft.com/office/drawing/2014/main" id="{3402AA4F-435E-C59E-B8FE-1B2563AF9ED0}"/>
                  </a:ext>
                </a:extLst>
              </p:cNvPr>
              <p:cNvGrpSpPr/>
              <p:nvPr/>
            </p:nvGrpSpPr>
            <p:grpSpPr bwMode="gray">
              <a:xfrm>
                <a:off x="6957060" y="3627024"/>
                <a:ext cx="75723" cy="75628"/>
                <a:chOff x="6957060" y="3627024"/>
                <a:chExt cx="75723" cy="75628"/>
              </a:xfrm>
            </p:grpSpPr>
            <p:sp>
              <p:nvSpPr>
                <p:cNvPr id="13055" name="Freeform: Shape 13054">
                  <a:extLst>
                    <a:ext uri="{FF2B5EF4-FFF2-40B4-BE49-F238E27FC236}">
                      <a16:creationId xmlns:a16="http://schemas.microsoft.com/office/drawing/2014/main" id="{4AA58DFA-9AF8-3B6D-DB4D-1FD2CB658AE4}"/>
                    </a:ext>
                  </a:extLst>
                </p:cNvPr>
                <p:cNvSpPr/>
                <p:nvPr/>
              </p:nvSpPr>
              <p:spPr bwMode="gray">
                <a:xfrm>
                  <a:off x="6994874"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56" name="Freeform: Shape 13055">
                  <a:extLst>
                    <a:ext uri="{FF2B5EF4-FFF2-40B4-BE49-F238E27FC236}">
                      <a16:creationId xmlns:a16="http://schemas.microsoft.com/office/drawing/2014/main" id="{F662B26C-925D-8609-188A-319AEA64A1CF}"/>
                    </a:ext>
                  </a:extLst>
                </p:cNvPr>
                <p:cNvSpPr/>
                <p:nvPr/>
              </p:nvSpPr>
              <p:spPr bwMode="gray">
                <a:xfrm>
                  <a:off x="695706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3" name="Graphic 1498">
                <a:extLst>
                  <a:ext uri="{FF2B5EF4-FFF2-40B4-BE49-F238E27FC236}">
                    <a16:creationId xmlns:a16="http://schemas.microsoft.com/office/drawing/2014/main" id="{B1F33188-5EA7-6C77-EEBA-2296165FF0EA}"/>
                  </a:ext>
                </a:extLst>
              </p:cNvPr>
              <p:cNvGrpSpPr/>
              <p:nvPr/>
            </p:nvGrpSpPr>
            <p:grpSpPr bwMode="gray">
              <a:xfrm>
                <a:off x="6950106" y="3627024"/>
                <a:ext cx="75723" cy="75628"/>
                <a:chOff x="6950106" y="3627024"/>
                <a:chExt cx="75723" cy="75628"/>
              </a:xfrm>
            </p:grpSpPr>
            <p:sp>
              <p:nvSpPr>
                <p:cNvPr id="13053" name="Freeform: Shape 13052">
                  <a:extLst>
                    <a:ext uri="{FF2B5EF4-FFF2-40B4-BE49-F238E27FC236}">
                      <a16:creationId xmlns:a16="http://schemas.microsoft.com/office/drawing/2014/main" id="{65BB225D-1284-9CFF-3BDE-3643CA9C8CCD}"/>
                    </a:ext>
                  </a:extLst>
                </p:cNvPr>
                <p:cNvSpPr/>
                <p:nvPr/>
              </p:nvSpPr>
              <p:spPr bwMode="gray">
                <a:xfrm>
                  <a:off x="6988016"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54" name="Freeform: Shape 13053">
                  <a:extLst>
                    <a:ext uri="{FF2B5EF4-FFF2-40B4-BE49-F238E27FC236}">
                      <a16:creationId xmlns:a16="http://schemas.microsoft.com/office/drawing/2014/main" id="{FF26AF86-DE37-34C1-1B97-4CFC920F5239}"/>
                    </a:ext>
                  </a:extLst>
                </p:cNvPr>
                <p:cNvSpPr/>
                <p:nvPr/>
              </p:nvSpPr>
              <p:spPr bwMode="gray">
                <a:xfrm>
                  <a:off x="6950106"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4" name="Graphic 1498">
                <a:extLst>
                  <a:ext uri="{FF2B5EF4-FFF2-40B4-BE49-F238E27FC236}">
                    <a16:creationId xmlns:a16="http://schemas.microsoft.com/office/drawing/2014/main" id="{76968623-9081-241B-52F4-E95F36C36628}"/>
                  </a:ext>
                </a:extLst>
              </p:cNvPr>
              <p:cNvGrpSpPr/>
              <p:nvPr/>
            </p:nvGrpSpPr>
            <p:grpSpPr bwMode="gray">
              <a:xfrm>
                <a:off x="6927723" y="3627024"/>
                <a:ext cx="75723" cy="75628"/>
                <a:chOff x="6927723" y="3627024"/>
                <a:chExt cx="75723" cy="75628"/>
              </a:xfrm>
            </p:grpSpPr>
            <p:sp>
              <p:nvSpPr>
                <p:cNvPr id="13051" name="Freeform: Shape 13050">
                  <a:extLst>
                    <a:ext uri="{FF2B5EF4-FFF2-40B4-BE49-F238E27FC236}">
                      <a16:creationId xmlns:a16="http://schemas.microsoft.com/office/drawing/2014/main" id="{611BCF1B-AF18-2722-CBBD-175479B69CDB}"/>
                    </a:ext>
                  </a:extLst>
                </p:cNvPr>
                <p:cNvSpPr/>
                <p:nvPr/>
              </p:nvSpPr>
              <p:spPr bwMode="gray">
                <a:xfrm>
                  <a:off x="696553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52" name="Freeform: Shape 13051">
                  <a:extLst>
                    <a:ext uri="{FF2B5EF4-FFF2-40B4-BE49-F238E27FC236}">
                      <a16:creationId xmlns:a16="http://schemas.microsoft.com/office/drawing/2014/main" id="{C8E0AF4B-2F08-EBF3-1128-B32E0501E6BB}"/>
                    </a:ext>
                  </a:extLst>
                </p:cNvPr>
                <p:cNvSpPr/>
                <p:nvPr/>
              </p:nvSpPr>
              <p:spPr bwMode="gray">
                <a:xfrm>
                  <a:off x="692772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5" name="Graphic 1498">
                <a:extLst>
                  <a:ext uri="{FF2B5EF4-FFF2-40B4-BE49-F238E27FC236}">
                    <a16:creationId xmlns:a16="http://schemas.microsoft.com/office/drawing/2014/main" id="{8E12C01A-AE6C-75D0-89C4-3921E5E91820}"/>
                  </a:ext>
                </a:extLst>
              </p:cNvPr>
              <p:cNvGrpSpPr/>
              <p:nvPr/>
            </p:nvGrpSpPr>
            <p:grpSpPr bwMode="gray">
              <a:xfrm>
                <a:off x="6902767" y="3627024"/>
                <a:ext cx="75628" cy="75628"/>
                <a:chOff x="6902767" y="3627024"/>
                <a:chExt cx="75628" cy="75628"/>
              </a:xfrm>
            </p:grpSpPr>
            <p:sp>
              <p:nvSpPr>
                <p:cNvPr id="13049" name="Freeform: Shape 13048">
                  <a:extLst>
                    <a:ext uri="{FF2B5EF4-FFF2-40B4-BE49-F238E27FC236}">
                      <a16:creationId xmlns:a16="http://schemas.microsoft.com/office/drawing/2014/main" id="{4EB9574B-3134-B8A5-7E5E-AF49B8C4E2CD}"/>
                    </a:ext>
                  </a:extLst>
                </p:cNvPr>
                <p:cNvSpPr/>
                <p:nvPr/>
              </p:nvSpPr>
              <p:spPr bwMode="gray">
                <a:xfrm>
                  <a:off x="6940581"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50" name="Freeform: Shape 13049">
                  <a:extLst>
                    <a:ext uri="{FF2B5EF4-FFF2-40B4-BE49-F238E27FC236}">
                      <a16:creationId xmlns:a16="http://schemas.microsoft.com/office/drawing/2014/main" id="{9F8D25A9-C238-4DFE-6C8C-560EACCE37FE}"/>
                    </a:ext>
                  </a:extLst>
                </p:cNvPr>
                <p:cNvSpPr/>
                <p:nvPr/>
              </p:nvSpPr>
              <p:spPr bwMode="gray">
                <a:xfrm>
                  <a:off x="6902767" y="36648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6" name="Graphic 1498">
                <a:extLst>
                  <a:ext uri="{FF2B5EF4-FFF2-40B4-BE49-F238E27FC236}">
                    <a16:creationId xmlns:a16="http://schemas.microsoft.com/office/drawing/2014/main" id="{61AF518C-B5F5-3C55-3183-C235DC18CC5E}"/>
                  </a:ext>
                </a:extLst>
              </p:cNvPr>
              <p:cNvGrpSpPr/>
              <p:nvPr/>
            </p:nvGrpSpPr>
            <p:grpSpPr bwMode="gray">
              <a:xfrm>
                <a:off x="6878383" y="3627024"/>
                <a:ext cx="75723" cy="75628"/>
                <a:chOff x="6878383" y="3627024"/>
                <a:chExt cx="75723" cy="75628"/>
              </a:xfrm>
            </p:grpSpPr>
            <p:sp>
              <p:nvSpPr>
                <p:cNvPr id="13047" name="Freeform: Shape 13046">
                  <a:extLst>
                    <a:ext uri="{FF2B5EF4-FFF2-40B4-BE49-F238E27FC236}">
                      <a16:creationId xmlns:a16="http://schemas.microsoft.com/office/drawing/2014/main" id="{137242E3-C05B-7552-F158-12B2CABA2E8A}"/>
                    </a:ext>
                  </a:extLst>
                </p:cNvPr>
                <p:cNvSpPr/>
                <p:nvPr/>
              </p:nvSpPr>
              <p:spPr bwMode="gray">
                <a:xfrm>
                  <a:off x="6916293"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48" name="Freeform: Shape 13047">
                  <a:extLst>
                    <a:ext uri="{FF2B5EF4-FFF2-40B4-BE49-F238E27FC236}">
                      <a16:creationId xmlns:a16="http://schemas.microsoft.com/office/drawing/2014/main" id="{746958D2-1D28-6357-3CE9-76C172E9E32B}"/>
                    </a:ext>
                  </a:extLst>
                </p:cNvPr>
                <p:cNvSpPr/>
                <p:nvPr/>
              </p:nvSpPr>
              <p:spPr bwMode="gray">
                <a:xfrm>
                  <a:off x="687838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7" name="Graphic 1498">
                <a:extLst>
                  <a:ext uri="{FF2B5EF4-FFF2-40B4-BE49-F238E27FC236}">
                    <a16:creationId xmlns:a16="http://schemas.microsoft.com/office/drawing/2014/main" id="{0C85FD9F-AE36-A9A2-2CA9-3E1EB8096FA7}"/>
                  </a:ext>
                </a:extLst>
              </p:cNvPr>
              <p:cNvGrpSpPr/>
              <p:nvPr/>
            </p:nvGrpSpPr>
            <p:grpSpPr bwMode="gray">
              <a:xfrm>
                <a:off x="6864858" y="3627024"/>
                <a:ext cx="75723" cy="75628"/>
                <a:chOff x="6864858" y="3627024"/>
                <a:chExt cx="75723" cy="75628"/>
              </a:xfrm>
            </p:grpSpPr>
            <p:sp>
              <p:nvSpPr>
                <p:cNvPr id="13045" name="Freeform: Shape 13044">
                  <a:extLst>
                    <a:ext uri="{FF2B5EF4-FFF2-40B4-BE49-F238E27FC236}">
                      <a16:creationId xmlns:a16="http://schemas.microsoft.com/office/drawing/2014/main" id="{1F9C7D52-61B2-B322-8F2F-E74B3BCD9DF7}"/>
                    </a:ext>
                  </a:extLst>
                </p:cNvPr>
                <p:cNvSpPr/>
                <p:nvPr/>
              </p:nvSpPr>
              <p:spPr bwMode="gray">
                <a:xfrm>
                  <a:off x="690276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46" name="Freeform: Shape 13045">
                  <a:extLst>
                    <a:ext uri="{FF2B5EF4-FFF2-40B4-BE49-F238E27FC236}">
                      <a16:creationId xmlns:a16="http://schemas.microsoft.com/office/drawing/2014/main" id="{3F9A704E-195D-56BA-B5A2-53B6DD941A31}"/>
                    </a:ext>
                  </a:extLst>
                </p:cNvPr>
                <p:cNvSpPr/>
                <p:nvPr/>
              </p:nvSpPr>
              <p:spPr bwMode="gray">
                <a:xfrm>
                  <a:off x="6864858"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8" name="Graphic 1498">
                <a:extLst>
                  <a:ext uri="{FF2B5EF4-FFF2-40B4-BE49-F238E27FC236}">
                    <a16:creationId xmlns:a16="http://schemas.microsoft.com/office/drawing/2014/main" id="{A8519069-7785-2A94-4919-916C9305C30B}"/>
                  </a:ext>
                </a:extLst>
              </p:cNvPr>
              <p:cNvGrpSpPr/>
              <p:nvPr/>
            </p:nvGrpSpPr>
            <p:grpSpPr bwMode="gray">
              <a:xfrm>
                <a:off x="6829710" y="3627024"/>
                <a:ext cx="75723" cy="75628"/>
                <a:chOff x="6829710" y="3627024"/>
                <a:chExt cx="75723" cy="75628"/>
              </a:xfrm>
            </p:grpSpPr>
            <p:sp>
              <p:nvSpPr>
                <p:cNvPr id="13043" name="Freeform: Shape 13042">
                  <a:extLst>
                    <a:ext uri="{FF2B5EF4-FFF2-40B4-BE49-F238E27FC236}">
                      <a16:creationId xmlns:a16="http://schemas.microsoft.com/office/drawing/2014/main" id="{2C6AD3C5-576D-0518-6BDA-BB5E6E66904D}"/>
                    </a:ext>
                  </a:extLst>
                </p:cNvPr>
                <p:cNvSpPr/>
                <p:nvPr/>
              </p:nvSpPr>
              <p:spPr bwMode="gray">
                <a:xfrm>
                  <a:off x="6867620"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44" name="Freeform: Shape 13043">
                  <a:extLst>
                    <a:ext uri="{FF2B5EF4-FFF2-40B4-BE49-F238E27FC236}">
                      <a16:creationId xmlns:a16="http://schemas.microsoft.com/office/drawing/2014/main" id="{143EAEE6-FEBE-046D-5509-3F98EFBE4B63}"/>
                    </a:ext>
                  </a:extLst>
                </p:cNvPr>
                <p:cNvSpPr/>
                <p:nvPr/>
              </p:nvSpPr>
              <p:spPr bwMode="gray">
                <a:xfrm>
                  <a:off x="682971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69" name="Graphic 1498">
                <a:extLst>
                  <a:ext uri="{FF2B5EF4-FFF2-40B4-BE49-F238E27FC236}">
                    <a16:creationId xmlns:a16="http://schemas.microsoft.com/office/drawing/2014/main" id="{20A5C72E-6206-7C2C-FB75-01D04A5E5DA8}"/>
                  </a:ext>
                </a:extLst>
              </p:cNvPr>
              <p:cNvGrpSpPr/>
              <p:nvPr/>
            </p:nvGrpSpPr>
            <p:grpSpPr bwMode="gray">
              <a:xfrm>
                <a:off x="6642068" y="3582637"/>
                <a:ext cx="75723" cy="75628"/>
                <a:chOff x="6642068" y="3582637"/>
                <a:chExt cx="75723" cy="75628"/>
              </a:xfrm>
            </p:grpSpPr>
            <p:sp>
              <p:nvSpPr>
                <p:cNvPr id="13041" name="Freeform: Shape 13040">
                  <a:extLst>
                    <a:ext uri="{FF2B5EF4-FFF2-40B4-BE49-F238E27FC236}">
                      <a16:creationId xmlns:a16="http://schemas.microsoft.com/office/drawing/2014/main" id="{C205775A-23EA-49D0-817C-0B1F79E1A3B7}"/>
                    </a:ext>
                  </a:extLst>
                </p:cNvPr>
                <p:cNvSpPr/>
                <p:nvPr/>
              </p:nvSpPr>
              <p:spPr bwMode="gray">
                <a:xfrm>
                  <a:off x="6679882"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42" name="Freeform: Shape 13041">
                  <a:extLst>
                    <a:ext uri="{FF2B5EF4-FFF2-40B4-BE49-F238E27FC236}">
                      <a16:creationId xmlns:a16="http://schemas.microsoft.com/office/drawing/2014/main" id="{BB471D1E-9CB7-6B02-129C-5D17D8412EF4}"/>
                    </a:ext>
                  </a:extLst>
                </p:cNvPr>
                <p:cNvSpPr/>
                <p:nvPr/>
              </p:nvSpPr>
              <p:spPr bwMode="gray">
                <a:xfrm>
                  <a:off x="664206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0" name="Graphic 1498">
                <a:extLst>
                  <a:ext uri="{FF2B5EF4-FFF2-40B4-BE49-F238E27FC236}">
                    <a16:creationId xmlns:a16="http://schemas.microsoft.com/office/drawing/2014/main" id="{BB8AC288-52DC-04F0-A951-89E2FC43BD91}"/>
                  </a:ext>
                </a:extLst>
              </p:cNvPr>
              <p:cNvGrpSpPr/>
              <p:nvPr/>
            </p:nvGrpSpPr>
            <p:grpSpPr bwMode="gray">
              <a:xfrm>
                <a:off x="6594538" y="3542347"/>
                <a:ext cx="75723" cy="75723"/>
                <a:chOff x="6594538" y="3542347"/>
                <a:chExt cx="75723" cy="75723"/>
              </a:xfrm>
            </p:grpSpPr>
            <p:sp>
              <p:nvSpPr>
                <p:cNvPr id="13039" name="Freeform: Shape 13038">
                  <a:extLst>
                    <a:ext uri="{FF2B5EF4-FFF2-40B4-BE49-F238E27FC236}">
                      <a16:creationId xmlns:a16="http://schemas.microsoft.com/office/drawing/2014/main" id="{B795535F-8402-2798-89DA-EB2657DCC656}"/>
                    </a:ext>
                  </a:extLst>
                </p:cNvPr>
                <p:cNvSpPr/>
                <p:nvPr/>
              </p:nvSpPr>
              <p:spPr bwMode="gray">
                <a:xfrm>
                  <a:off x="6632448" y="3542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40" name="Freeform: Shape 13039">
                  <a:extLst>
                    <a:ext uri="{FF2B5EF4-FFF2-40B4-BE49-F238E27FC236}">
                      <a16:creationId xmlns:a16="http://schemas.microsoft.com/office/drawing/2014/main" id="{D4489700-E077-A0C2-E30B-EF7B4B4BF9B0}"/>
                    </a:ext>
                  </a:extLst>
                </p:cNvPr>
                <p:cNvSpPr/>
                <p:nvPr/>
              </p:nvSpPr>
              <p:spPr bwMode="gray">
                <a:xfrm>
                  <a:off x="6594538" y="3580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1" name="Graphic 1498">
                <a:extLst>
                  <a:ext uri="{FF2B5EF4-FFF2-40B4-BE49-F238E27FC236}">
                    <a16:creationId xmlns:a16="http://schemas.microsoft.com/office/drawing/2014/main" id="{BDF0D6FC-AE82-CD7C-B335-533FF5BC5EB0}"/>
                  </a:ext>
                </a:extLst>
              </p:cNvPr>
              <p:cNvGrpSpPr/>
              <p:nvPr/>
            </p:nvGrpSpPr>
            <p:grpSpPr bwMode="gray">
              <a:xfrm>
                <a:off x="6538912" y="3506914"/>
                <a:ext cx="75723" cy="75723"/>
                <a:chOff x="6538912" y="3506914"/>
                <a:chExt cx="75723" cy="75723"/>
              </a:xfrm>
            </p:grpSpPr>
            <p:sp>
              <p:nvSpPr>
                <p:cNvPr id="13037" name="Freeform: Shape 13036">
                  <a:extLst>
                    <a:ext uri="{FF2B5EF4-FFF2-40B4-BE49-F238E27FC236}">
                      <a16:creationId xmlns:a16="http://schemas.microsoft.com/office/drawing/2014/main" id="{2ACC74AF-1418-17CC-43F4-4F0DDF9BE433}"/>
                    </a:ext>
                  </a:extLst>
                </p:cNvPr>
                <p:cNvSpPr/>
                <p:nvPr/>
              </p:nvSpPr>
              <p:spPr bwMode="gray">
                <a:xfrm>
                  <a:off x="6576726"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38" name="Freeform: Shape 13037">
                  <a:extLst>
                    <a:ext uri="{FF2B5EF4-FFF2-40B4-BE49-F238E27FC236}">
                      <a16:creationId xmlns:a16="http://schemas.microsoft.com/office/drawing/2014/main" id="{2C404267-0599-A84F-8981-D7119CEDB191}"/>
                    </a:ext>
                  </a:extLst>
                </p:cNvPr>
                <p:cNvSpPr/>
                <p:nvPr/>
              </p:nvSpPr>
              <p:spPr bwMode="gray">
                <a:xfrm>
                  <a:off x="6538912" y="35447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2" name="Graphic 1498">
                <a:extLst>
                  <a:ext uri="{FF2B5EF4-FFF2-40B4-BE49-F238E27FC236}">
                    <a16:creationId xmlns:a16="http://schemas.microsoft.com/office/drawing/2014/main" id="{D9846558-E995-7FE6-563C-4ADBB34EC0A7}"/>
                  </a:ext>
                </a:extLst>
              </p:cNvPr>
              <p:cNvGrpSpPr/>
              <p:nvPr/>
            </p:nvGrpSpPr>
            <p:grpSpPr bwMode="gray">
              <a:xfrm>
                <a:off x="6524910" y="3506914"/>
                <a:ext cx="75628" cy="75723"/>
                <a:chOff x="6524910" y="3506914"/>
                <a:chExt cx="75628" cy="75723"/>
              </a:xfrm>
            </p:grpSpPr>
            <p:sp>
              <p:nvSpPr>
                <p:cNvPr id="13035" name="Freeform: Shape 13034">
                  <a:extLst>
                    <a:ext uri="{FF2B5EF4-FFF2-40B4-BE49-F238E27FC236}">
                      <a16:creationId xmlns:a16="http://schemas.microsoft.com/office/drawing/2014/main" id="{4915B107-D46E-C23B-55AD-6AE0084EB1C6}"/>
                    </a:ext>
                  </a:extLst>
                </p:cNvPr>
                <p:cNvSpPr/>
                <p:nvPr/>
              </p:nvSpPr>
              <p:spPr bwMode="gray">
                <a:xfrm>
                  <a:off x="6562725"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36" name="Freeform: Shape 13035">
                  <a:extLst>
                    <a:ext uri="{FF2B5EF4-FFF2-40B4-BE49-F238E27FC236}">
                      <a16:creationId xmlns:a16="http://schemas.microsoft.com/office/drawing/2014/main" id="{BFD7794C-02D8-55C3-9833-060CE34A12FB}"/>
                    </a:ext>
                  </a:extLst>
                </p:cNvPr>
                <p:cNvSpPr/>
                <p:nvPr/>
              </p:nvSpPr>
              <p:spPr bwMode="gray">
                <a:xfrm>
                  <a:off x="6524910" y="35447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3" name="Graphic 1498">
                <a:extLst>
                  <a:ext uri="{FF2B5EF4-FFF2-40B4-BE49-F238E27FC236}">
                    <a16:creationId xmlns:a16="http://schemas.microsoft.com/office/drawing/2014/main" id="{7F43C0F2-72BF-448A-3547-18C5F7ADECDC}"/>
                  </a:ext>
                </a:extLst>
              </p:cNvPr>
              <p:cNvGrpSpPr/>
              <p:nvPr/>
            </p:nvGrpSpPr>
            <p:grpSpPr bwMode="gray">
              <a:xfrm>
                <a:off x="6476428" y="3492340"/>
                <a:ext cx="75723" cy="75723"/>
                <a:chOff x="6476428" y="3492340"/>
                <a:chExt cx="75723" cy="75723"/>
              </a:xfrm>
            </p:grpSpPr>
            <p:sp>
              <p:nvSpPr>
                <p:cNvPr id="13033" name="Freeform: Shape 13032">
                  <a:extLst>
                    <a:ext uri="{FF2B5EF4-FFF2-40B4-BE49-F238E27FC236}">
                      <a16:creationId xmlns:a16="http://schemas.microsoft.com/office/drawing/2014/main" id="{6AAF023A-0CD6-FD8C-16A1-BD733BC8B302}"/>
                    </a:ext>
                  </a:extLst>
                </p:cNvPr>
                <p:cNvSpPr/>
                <p:nvPr/>
              </p:nvSpPr>
              <p:spPr bwMode="gray">
                <a:xfrm>
                  <a:off x="651424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34" name="Freeform: Shape 13033">
                  <a:extLst>
                    <a:ext uri="{FF2B5EF4-FFF2-40B4-BE49-F238E27FC236}">
                      <a16:creationId xmlns:a16="http://schemas.microsoft.com/office/drawing/2014/main" id="{AD85DEDF-9694-C332-9A70-D657201BA9C2}"/>
                    </a:ext>
                  </a:extLst>
                </p:cNvPr>
                <p:cNvSpPr/>
                <p:nvPr/>
              </p:nvSpPr>
              <p:spPr bwMode="gray">
                <a:xfrm>
                  <a:off x="6476428"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4" name="Graphic 1498">
                <a:extLst>
                  <a:ext uri="{FF2B5EF4-FFF2-40B4-BE49-F238E27FC236}">
                    <a16:creationId xmlns:a16="http://schemas.microsoft.com/office/drawing/2014/main" id="{920B0E24-555D-4973-5A1A-89363CF7BACD}"/>
                  </a:ext>
                </a:extLst>
              </p:cNvPr>
              <p:cNvGrpSpPr/>
              <p:nvPr/>
            </p:nvGrpSpPr>
            <p:grpSpPr bwMode="gray">
              <a:xfrm>
                <a:off x="6444329" y="3492340"/>
                <a:ext cx="75628" cy="75723"/>
                <a:chOff x="6444329" y="3492340"/>
                <a:chExt cx="75628" cy="75723"/>
              </a:xfrm>
            </p:grpSpPr>
            <p:sp>
              <p:nvSpPr>
                <p:cNvPr id="13031" name="Freeform: Shape 13030">
                  <a:extLst>
                    <a:ext uri="{FF2B5EF4-FFF2-40B4-BE49-F238E27FC236}">
                      <a16:creationId xmlns:a16="http://schemas.microsoft.com/office/drawing/2014/main" id="{77E7E393-A799-C64D-18D5-9B84C204F9F6}"/>
                    </a:ext>
                  </a:extLst>
                </p:cNvPr>
                <p:cNvSpPr/>
                <p:nvPr/>
              </p:nvSpPr>
              <p:spPr bwMode="gray">
                <a:xfrm>
                  <a:off x="648214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32" name="Freeform: Shape 13031">
                  <a:extLst>
                    <a:ext uri="{FF2B5EF4-FFF2-40B4-BE49-F238E27FC236}">
                      <a16:creationId xmlns:a16="http://schemas.microsoft.com/office/drawing/2014/main" id="{674873E9-F63F-4A06-C06D-432ABE2A8745}"/>
                    </a:ext>
                  </a:extLst>
                </p:cNvPr>
                <p:cNvSpPr/>
                <p:nvPr/>
              </p:nvSpPr>
              <p:spPr bwMode="gray">
                <a:xfrm>
                  <a:off x="6444329" y="3530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5" name="Graphic 1498">
                <a:extLst>
                  <a:ext uri="{FF2B5EF4-FFF2-40B4-BE49-F238E27FC236}">
                    <a16:creationId xmlns:a16="http://schemas.microsoft.com/office/drawing/2014/main" id="{85D216AA-F26E-0CDD-DBFE-0256CE715A2E}"/>
                  </a:ext>
                </a:extLst>
              </p:cNvPr>
              <p:cNvGrpSpPr/>
              <p:nvPr/>
            </p:nvGrpSpPr>
            <p:grpSpPr bwMode="gray">
              <a:xfrm>
                <a:off x="6431280" y="3492340"/>
                <a:ext cx="75723" cy="75723"/>
                <a:chOff x="6431280" y="3492340"/>
                <a:chExt cx="75723" cy="75723"/>
              </a:xfrm>
            </p:grpSpPr>
            <p:sp>
              <p:nvSpPr>
                <p:cNvPr id="13029" name="Freeform: Shape 13028">
                  <a:extLst>
                    <a:ext uri="{FF2B5EF4-FFF2-40B4-BE49-F238E27FC236}">
                      <a16:creationId xmlns:a16="http://schemas.microsoft.com/office/drawing/2014/main" id="{20BDC2DF-0243-E94F-5AAD-2BD07D7068EA}"/>
                    </a:ext>
                  </a:extLst>
                </p:cNvPr>
                <p:cNvSpPr/>
                <p:nvPr/>
              </p:nvSpPr>
              <p:spPr bwMode="gray">
                <a:xfrm>
                  <a:off x="6469189"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30" name="Freeform: Shape 13029">
                  <a:extLst>
                    <a:ext uri="{FF2B5EF4-FFF2-40B4-BE49-F238E27FC236}">
                      <a16:creationId xmlns:a16="http://schemas.microsoft.com/office/drawing/2014/main" id="{669315AF-7F8F-8083-FAC2-D8E99DF0D845}"/>
                    </a:ext>
                  </a:extLst>
                </p:cNvPr>
                <p:cNvSpPr/>
                <p:nvPr/>
              </p:nvSpPr>
              <p:spPr bwMode="gray">
                <a:xfrm>
                  <a:off x="6431280"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6" name="Graphic 1498">
                <a:extLst>
                  <a:ext uri="{FF2B5EF4-FFF2-40B4-BE49-F238E27FC236}">
                    <a16:creationId xmlns:a16="http://schemas.microsoft.com/office/drawing/2014/main" id="{ACCCBC87-1785-2B4A-9C04-E813B9323C60}"/>
                  </a:ext>
                </a:extLst>
              </p:cNvPr>
              <p:cNvGrpSpPr/>
              <p:nvPr/>
            </p:nvGrpSpPr>
            <p:grpSpPr bwMode="gray">
              <a:xfrm>
                <a:off x="6418802" y="3492340"/>
                <a:ext cx="75628" cy="75723"/>
                <a:chOff x="6418802" y="3492340"/>
                <a:chExt cx="75628" cy="75723"/>
              </a:xfrm>
            </p:grpSpPr>
            <p:sp>
              <p:nvSpPr>
                <p:cNvPr id="13027" name="Freeform: Shape 13026">
                  <a:extLst>
                    <a:ext uri="{FF2B5EF4-FFF2-40B4-BE49-F238E27FC236}">
                      <a16:creationId xmlns:a16="http://schemas.microsoft.com/office/drawing/2014/main" id="{1B342706-466E-EBC2-433F-986036C2FD6B}"/>
                    </a:ext>
                  </a:extLst>
                </p:cNvPr>
                <p:cNvSpPr/>
                <p:nvPr/>
              </p:nvSpPr>
              <p:spPr bwMode="gray">
                <a:xfrm>
                  <a:off x="6456616"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28" name="Freeform: Shape 13027">
                  <a:extLst>
                    <a:ext uri="{FF2B5EF4-FFF2-40B4-BE49-F238E27FC236}">
                      <a16:creationId xmlns:a16="http://schemas.microsoft.com/office/drawing/2014/main" id="{3CAA3F21-F2D6-59A2-D993-1D58F4DF85B5}"/>
                    </a:ext>
                  </a:extLst>
                </p:cNvPr>
                <p:cNvSpPr/>
                <p:nvPr/>
              </p:nvSpPr>
              <p:spPr bwMode="gray">
                <a:xfrm>
                  <a:off x="6418802"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7" name="Graphic 1498">
                <a:extLst>
                  <a:ext uri="{FF2B5EF4-FFF2-40B4-BE49-F238E27FC236}">
                    <a16:creationId xmlns:a16="http://schemas.microsoft.com/office/drawing/2014/main" id="{D19D3CD1-BCF5-766F-DB4D-AB769E4F19F2}"/>
                  </a:ext>
                </a:extLst>
              </p:cNvPr>
              <p:cNvGrpSpPr/>
              <p:nvPr/>
            </p:nvGrpSpPr>
            <p:grpSpPr bwMode="gray">
              <a:xfrm>
                <a:off x="6387179" y="3492340"/>
                <a:ext cx="75723" cy="75723"/>
                <a:chOff x="6387179" y="3492340"/>
                <a:chExt cx="75723" cy="75723"/>
              </a:xfrm>
            </p:grpSpPr>
            <p:sp>
              <p:nvSpPr>
                <p:cNvPr id="13025" name="Freeform: Shape 13024">
                  <a:extLst>
                    <a:ext uri="{FF2B5EF4-FFF2-40B4-BE49-F238E27FC236}">
                      <a16:creationId xmlns:a16="http://schemas.microsoft.com/office/drawing/2014/main" id="{D4DDE128-C64F-A713-4976-DA8CF9250A08}"/>
                    </a:ext>
                  </a:extLst>
                </p:cNvPr>
                <p:cNvSpPr/>
                <p:nvPr/>
              </p:nvSpPr>
              <p:spPr bwMode="gray">
                <a:xfrm>
                  <a:off x="64249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26" name="Freeform: Shape 13025">
                  <a:extLst>
                    <a:ext uri="{FF2B5EF4-FFF2-40B4-BE49-F238E27FC236}">
                      <a16:creationId xmlns:a16="http://schemas.microsoft.com/office/drawing/2014/main" id="{F0177863-40F8-FF66-F07A-78CE6EE60022}"/>
                    </a:ext>
                  </a:extLst>
                </p:cNvPr>
                <p:cNvSpPr/>
                <p:nvPr/>
              </p:nvSpPr>
              <p:spPr bwMode="gray">
                <a:xfrm>
                  <a:off x="6387179"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8" name="Graphic 1498">
                <a:extLst>
                  <a:ext uri="{FF2B5EF4-FFF2-40B4-BE49-F238E27FC236}">
                    <a16:creationId xmlns:a16="http://schemas.microsoft.com/office/drawing/2014/main" id="{2160A4BD-2ED2-0B5C-7CD3-87DE2609F845}"/>
                  </a:ext>
                </a:extLst>
              </p:cNvPr>
              <p:cNvGrpSpPr/>
              <p:nvPr/>
            </p:nvGrpSpPr>
            <p:grpSpPr bwMode="gray">
              <a:xfrm>
                <a:off x="6344983" y="3492340"/>
                <a:ext cx="75723" cy="75723"/>
                <a:chOff x="6344983" y="3492340"/>
                <a:chExt cx="75723" cy="75723"/>
              </a:xfrm>
            </p:grpSpPr>
            <p:sp>
              <p:nvSpPr>
                <p:cNvPr id="13023" name="Freeform: Shape 13022">
                  <a:extLst>
                    <a:ext uri="{FF2B5EF4-FFF2-40B4-BE49-F238E27FC236}">
                      <a16:creationId xmlns:a16="http://schemas.microsoft.com/office/drawing/2014/main" id="{B7CABE76-1E87-15A5-9CAB-40EC3A9FD69C}"/>
                    </a:ext>
                  </a:extLst>
                </p:cNvPr>
                <p:cNvSpPr/>
                <p:nvPr/>
              </p:nvSpPr>
              <p:spPr bwMode="gray">
                <a:xfrm>
                  <a:off x="63828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24" name="Freeform: Shape 13023">
                  <a:extLst>
                    <a:ext uri="{FF2B5EF4-FFF2-40B4-BE49-F238E27FC236}">
                      <a16:creationId xmlns:a16="http://schemas.microsoft.com/office/drawing/2014/main" id="{53927092-8B6C-88B7-584B-CB95E897D8D7}"/>
                    </a:ext>
                  </a:extLst>
                </p:cNvPr>
                <p:cNvSpPr/>
                <p:nvPr/>
              </p:nvSpPr>
              <p:spPr bwMode="gray">
                <a:xfrm>
                  <a:off x="6344983"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79" name="Graphic 1498">
                <a:extLst>
                  <a:ext uri="{FF2B5EF4-FFF2-40B4-BE49-F238E27FC236}">
                    <a16:creationId xmlns:a16="http://schemas.microsoft.com/office/drawing/2014/main" id="{8A5F50C5-0AC6-B8D9-DAA9-8D2EAE84459D}"/>
                  </a:ext>
                </a:extLst>
              </p:cNvPr>
              <p:cNvGrpSpPr/>
              <p:nvPr/>
            </p:nvGrpSpPr>
            <p:grpSpPr bwMode="gray">
              <a:xfrm>
                <a:off x="6321742" y="3492340"/>
                <a:ext cx="75723" cy="75723"/>
                <a:chOff x="6321742" y="3492340"/>
                <a:chExt cx="75723" cy="75723"/>
              </a:xfrm>
            </p:grpSpPr>
            <p:sp>
              <p:nvSpPr>
                <p:cNvPr id="13021" name="Freeform: Shape 13020">
                  <a:extLst>
                    <a:ext uri="{FF2B5EF4-FFF2-40B4-BE49-F238E27FC236}">
                      <a16:creationId xmlns:a16="http://schemas.microsoft.com/office/drawing/2014/main" id="{8E4DF6FB-88BE-0E4C-45FF-E848AA717A55}"/>
                    </a:ext>
                  </a:extLst>
                </p:cNvPr>
                <p:cNvSpPr/>
                <p:nvPr/>
              </p:nvSpPr>
              <p:spPr bwMode="gray">
                <a:xfrm>
                  <a:off x="635965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22" name="Freeform: Shape 13021">
                  <a:extLst>
                    <a:ext uri="{FF2B5EF4-FFF2-40B4-BE49-F238E27FC236}">
                      <a16:creationId xmlns:a16="http://schemas.microsoft.com/office/drawing/2014/main" id="{C6DA5917-5E83-EB69-AF74-8090F6CFCA36}"/>
                    </a:ext>
                  </a:extLst>
                </p:cNvPr>
                <p:cNvSpPr/>
                <p:nvPr/>
              </p:nvSpPr>
              <p:spPr bwMode="gray">
                <a:xfrm>
                  <a:off x="6321742"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0" name="Graphic 1498">
                <a:extLst>
                  <a:ext uri="{FF2B5EF4-FFF2-40B4-BE49-F238E27FC236}">
                    <a16:creationId xmlns:a16="http://schemas.microsoft.com/office/drawing/2014/main" id="{55A249DD-7C0E-75EC-4059-AD1F3B1F0561}"/>
                  </a:ext>
                </a:extLst>
              </p:cNvPr>
              <p:cNvGrpSpPr/>
              <p:nvPr/>
            </p:nvGrpSpPr>
            <p:grpSpPr bwMode="gray">
              <a:xfrm>
                <a:off x="6296787" y="3492340"/>
                <a:ext cx="75628" cy="75723"/>
                <a:chOff x="6296787" y="3492340"/>
                <a:chExt cx="75628" cy="75723"/>
              </a:xfrm>
            </p:grpSpPr>
            <p:sp>
              <p:nvSpPr>
                <p:cNvPr id="13019" name="Freeform: Shape 13018">
                  <a:extLst>
                    <a:ext uri="{FF2B5EF4-FFF2-40B4-BE49-F238E27FC236}">
                      <a16:creationId xmlns:a16="http://schemas.microsoft.com/office/drawing/2014/main" id="{94F13C37-615C-9A3E-B0C7-65E119136B26}"/>
                    </a:ext>
                  </a:extLst>
                </p:cNvPr>
                <p:cNvSpPr/>
                <p:nvPr/>
              </p:nvSpPr>
              <p:spPr bwMode="gray">
                <a:xfrm>
                  <a:off x="6334601"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20" name="Freeform: Shape 13019">
                  <a:extLst>
                    <a:ext uri="{FF2B5EF4-FFF2-40B4-BE49-F238E27FC236}">
                      <a16:creationId xmlns:a16="http://schemas.microsoft.com/office/drawing/2014/main" id="{EAEFC07D-4867-8864-B2B4-D10DCC8AFEEB}"/>
                    </a:ext>
                  </a:extLst>
                </p:cNvPr>
                <p:cNvSpPr/>
                <p:nvPr/>
              </p:nvSpPr>
              <p:spPr bwMode="gray">
                <a:xfrm>
                  <a:off x="6296787"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1" name="Graphic 1498">
                <a:extLst>
                  <a:ext uri="{FF2B5EF4-FFF2-40B4-BE49-F238E27FC236}">
                    <a16:creationId xmlns:a16="http://schemas.microsoft.com/office/drawing/2014/main" id="{A5A9EA23-9428-8FCF-F683-750A5E61B526}"/>
                  </a:ext>
                </a:extLst>
              </p:cNvPr>
              <p:cNvGrpSpPr/>
              <p:nvPr/>
            </p:nvGrpSpPr>
            <p:grpSpPr bwMode="gray">
              <a:xfrm>
                <a:off x="6237541" y="3476148"/>
                <a:ext cx="75723" cy="75628"/>
                <a:chOff x="6237541" y="3476148"/>
                <a:chExt cx="75723" cy="75628"/>
              </a:xfrm>
            </p:grpSpPr>
            <p:sp>
              <p:nvSpPr>
                <p:cNvPr id="13017" name="Freeform: Shape 13016">
                  <a:extLst>
                    <a:ext uri="{FF2B5EF4-FFF2-40B4-BE49-F238E27FC236}">
                      <a16:creationId xmlns:a16="http://schemas.microsoft.com/office/drawing/2014/main" id="{4938A651-A615-6824-0D1E-67DEF2CA0A35}"/>
                    </a:ext>
                  </a:extLst>
                </p:cNvPr>
                <p:cNvSpPr/>
                <p:nvPr/>
              </p:nvSpPr>
              <p:spPr bwMode="gray">
                <a:xfrm>
                  <a:off x="6275451" y="3476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18" name="Freeform: Shape 13017">
                  <a:extLst>
                    <a:ext uri="{FF2B5EF4-FFF2-40B4-BE49-F238E27FC236}">
                      <a16:creationId xmlns:a16="http://schemas.microsoft.com/office/drawing/2014/main" id="{09BFC21F-67E7-FE7A-9EFB-8AFE79D5E014}"/>
                    </a:ext>
                  </a:extLst>
                </p:cNvPr>
                <p:cNvSpPr/>
                <p:nvPr/>
              </p:nvSpPr>
              <p:spPr bwMode="gray">
                <a:xfrm>
                  <a:off x="6237541" y="3513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2" name="Graphic 1498">
                <a:extLst>
                  <a:ext uri="{FF2B5EF4-FFF2-40B4-BE49-F238E27FC236}">
                    <a16:creationId xmlns:a16="http://schemas.microsoft.com/office/drawing/2014/main" id="{A4A5511C-CFC1-D6BB-15D3-C6BCD20CEA3D}"/>
                  </a:ext>
                </a:extLst>
              </p:cNvPr>
              <p:cNvGrpSpPr/>
              <p:nvPr/>
            </p:nvGrpSpPr>
            <p:grpSpPr bwMode="gray">
              <a:xfrm>
                <a:off x="6225444" y="3458050"/>
                <a:ext cx="75628" cy="75723"/>
                <a:chOff x="6225444" y="3458050"/>
                <a:chExt cx="75628" cy="75723"/>
              </a:xfrm>
            </p:grpSpPr>
            <p:sp>
              <p:nvSpPr>
                <p:cNvPr id="13015" name="Freeform: Shape 13014">
                  <a:extLst>
                    <a:ext uri="{FF2B5EF4-FFF2-40B4-BE49-F238E27FC236}">
                      <a16:creationId xmlns:a16="http://schemas.microsoft.com/office/drawing/2014/main" id="{43CB5777-D36D-4514-7C07-59FBD3FAFD40}"/>
                    </a:ext>
                  </a:extLst>
                </p:cNvPr>
                <p:cNvSpPr/>
                <p:nvPr/>
              </p:nvSpPr>
              <p:spPr bwMode="gray">
                <a:xfrm>
                  <a:off x="6263259"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16" name="Freeform: Shape 13015">
                  <a:extLst>
                    <a:ext uri="{FF2B5EF4-FFF2-40B4-BE49-F238E27FC236}">
                      <a16:creationId xmlns:a16="http://schemas.microsoft.com/office/drawing/2014/main" id="{542A94F2-79CC-8CC1-9D24-FF0B44FFD4F8}"/>
                    </a:ext>
                  </a:extLst>
                </p:cNvPr>
                <p:cNvSpPr/>
                <p:nvPr/>
              </p:nvSpPr>
              <p:spPr bwMode="gray">
                <a:xfrm>
                  <a:off x="6225444" y="34959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3" name="Graphic 1498">
                <a:extLst>
                  <a:ext uri="{FF2B5EF4-FFF2-40B4-BE49-F238E27FC236}">
                    <a16:creationId xmlns:a16="http://schemas.microsoft.com/office/drawing/2014/main" id="{BFD5F53D-1AA2-6A1D-3405-04FA561AFDF4}"/>
                  </a:ext>
                </a:extLst>
              </p:cNvPr>
              <p:cNvGrpSpPr/>
              <p:nvPr/>
            </p:nvGrpSpPr>
            <p:grpSpPr bwMode="gray">
              <a:xfrm>
                <a:off x="6073521" y="3458050"/>
                <a:ext cx="75723" cy="75723"/>
                <a:chOff x="6073521" y="3458050"/>
                <a:chExt cx="75723" cy="75723"/>
              </a:xfrm>
            </p:grpSpPr>
            <p:sp>
              <p:nvSpPr>
                <p:cNvPr id="13013" name="Freeform: Shape 13012">
                  <a:extLst>
                    <a:ext uri="{FF2B5EF4-FFF2-40B4-BE49-F238E27FC236}">
                      <a16:creationId xmlns:a16="http://schemas.microsoft.com/office/drawing/2014/main" id="{10D1A145-901F-18DB-993C-E26AE5477A0F}"/>
                    </a:ext>
                  </a:extLst>
                </p:cNvPr>
                <p:cNvSpPr/>
                <p:nvPr/>
              </p:nvSpPr>
              <p:spPr bwMode="gray">
                <a:xfrm>
                  <a:off x="611133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14" name="Freeform: Shape 13013">
                  <a:extLst>
                    <a:ext uri="{FF2B5EF4-FFF2-40B4-BE49-F238E27FC236}">
                      <a16:creationId xmlns:a16="http://schemas.microsoft.com/office/drawing/2014/main" id="{9E4BA9CA-E1A6-29D2-94ED-23BE68009672}"/>
                    </a:ext>
                  </a:extLst>
                </p:cNvPr>
                <p:cNvSpPr/>
                <p:nvPr/>
              </p:nvSpPr>
              <p:spPr bwMode="gray">
                <a:xfrm>
                  <a:off x="6073521"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4" name="Graphic 1498">
                <a:extLst>
                  <a:ext uri="{FF2B5EF4-FFF2-40B4-BE49-F238E27FC236}">
                    <a16:creationId xmlns:a16="http://schemas.microsoft.com/office/drawing/2014/main" id="{F8FAA43E-CC29-9F81-2FE3-4A9D5835A405}"/>
                  </a:ext>
                </a:extLst>
              </p:cNvPr>
              <p:cNvGrpSpPr/>
              <p:nvPr/>
            </p:nvGrpSpPr>
            <p:grpSpPr bwMode="gray">
              <a:xfrm>
                <a:off x="5793009" y="3340988"/>
                <a:ext cx="75723" cy="75628"/>
                <a:chOff x="5793009" y="3340988"/>
                <a:chExt cx="75723" cy="75628"/>
              </a:xfrm>
            </p:grpSpPr>
            <p:sp>
              <p:nvSpPr>
                <p:cNvPr id="13011" name="Freeform: Shape 13010">
                  <a:extLst>
                    <a:ext uri="{FF2B5EF4-FFF2-40B4-BE49-F238E27FC236}">
                      <a16:creationId xmlns:a16="http://schemas.microsoft.com/office/drawing/2014/main" id="{6F61AD1E-DE43-4D15-7C34-0CF35A27D0E6}"/>
                    </a:ext>
                  </a:extLst>
                </p:cNvPr>
                <p:cNvSpPr/>
                <p:nvPr/>
              </p:nvSpPr>
              <p:spPr bwMode="gray">
                <a:xfrm>
                  <a:off x="583091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12" name="Freeform: Shape 13011">
                  <a:extLst>
                    <a:ext uri="{FF2B5EF4-FFF2-40B4-BE49-F238E27FC236}">
                      <a16:creationId xmlns:a16="http://schemas.microsoft.com/office/drawing/2014/main" id="{1C321917-688C-E130-1DF5-BA88B02F3273}"/>
                    </a:ext>
                  </a:extLst>
                </p:cNvPr>
                <p:cNvSpPr/>
                <p:nvPr/>
              </p:nvSpPr>
              <p:spPr bwMode="gray">
                <a:xfrm>
                  <a:off x="5793009"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5" name="Graphic 1498">
                <a:extLst>
                  <a:ext uri="{FF2B5EF4-FFF2-40B4-BE49-F238E27FC236}">
                    <a16:creationId xmlns:a16="http://schemas.microsoft.com/office/drawing/2014/main" id="{7C22CD7D-D39D-84D6-803D-DFAF31EC1EE8}"/>
                  </a:ext>
                </a:extLst>
              </p:cNvPr>
              <p:cNvGrpSpPr/>
              <p:nvPr/>
            </p:nvGrpSpPr>
            <p:grpSpPr bwMode="gray">
              <a:xfrm>
                <a:off x="5755195" y="3340988"/>
                <a:ext cx="75723" cy="75628"/>
                <a:chOff x="5755195" y="3340988"/>
                <a:chExt cx="75723" cy="75628"/>
              </a:xfrm>
            </p:grpSpPr>
            <p:sp>
              <p:nvSpPr>
                <p:cNvPr id="13009" name="Freeform: Shape 13008">
                  <a:extLst>
                    <a:ext uri="{FF2B5EF4-FFF2-40B4-BE49-F238E27FC236}">
                      <a16:creationId xmlns:a16="http://schemas.microsoft.com/office/drawing/2014/main" id="{27D179BE-0DA7-CFC3-36B6-4391118248AC}"/>
                    </a:ext>
                  </a:extLst>
                </p:cNvPr>
                <p:cNvSpPr/>
                <p:nvPr/>
              </p:nvSpPr>
              <p:spPr bwMode="gray">
                <a:xfrm>
                  <a:off x="579300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10" name="Freeform: Shape 13009">
                  <a:extLst>
                    <a:ext uri="{FF2B5EF4-FFF2-40B4-BE49-F238E27FC236}">
                      <a16:creationId xmlns:a16="http://schemas.microsoft.com/office/drawing/2014/main" id="{68E00432-8C5E-D9F5-6A9B-25050A1ECDE8}"/>
                    </a:ext>
                  </a:extLst>
                </p:cNvPr>
                <p:cNvSpPr/>
                <p:nvPr/>
              </p:nvSpPr>
              <p:spPr bwMode="gray">
                <a:xfrm>
                  <a:off x="5755195"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6" name="Graphic 1498">
                <a:extLst>
                  <a:ext uri="{FF2B5EF4-FFF2-40B4-BE49-F238E27FC236}">
                    <a16:creationId xmlns:a16="http://schemas.microsoft.com/office/drawing/2014/main" id="{DC0F5F42-5DDA-4118-7969-83B2E9E3CF6B}"/>
                  </a:ext>
                </a:extLst>
              </p:cNvPr>
              <p:cNvGrpSpPr/>
              <p:nvPr/>
            </p:nvGrpSpPr>
            <p:grpSpPr bwMode="gray">
              <a:xfrm>
                <a:off x="5738336" y="3340988"/>
                <a:ext cx="75723" cy="75628"/>
                <a:chOff x="5738336" y="3340988"/>
                <a:chExt cx="75723" cy="75628"/>
              </a:xfrm>
            </p:grpSpPr>
            <p:sp>
              <p:nvSpPr>
                <p:cNvPr id="13007" name="Freeform: Shape 13006">
                  <a:extLst>
                    <a:ext uri="{FF2B5EF4-FFF2-40B4-BE49-F238E27FC236}">
                      <a16:creationId xmlns:a16="http://schemas.microsoft.com/office/drawing/2014/main" id="{B91B4426-68E3-9B90-80FA-5F6971717182}"/>
                    </a:ext>
                  </a:extLst>
                </p:cNvPr>
                <p:cNvSpPr/>
                <p:nvPr/>
              </p:nvSpPr>
              <p:spPr bwMode="gray">
                <a:xfrm>
                  <a:off x="5776150"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08" name="Freeform: Shape 13007">
                  <a:extLst>
                    <a:ext uri="{FF2B5EF4-FFF2-40B4-BE49-F238E27FC236}">
                      <a16:creationId xmlns:a16="http://schemas.microsoft.com/office/drawing/2014/main" id="{713FE07B-4C48-42B1-EEC6-5E61F1D15D8A}"/>
                    </a:ext>
                  </a:extLst>
                </p:cNvPr>
                <p:cNvSpPr/>
                <p:nvPr/>
              </p:nvSpPr>
              <p:spPr bwMode="gray">
                <a:xfrm>
                  <a:off x="5738336"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7" name="Graphic 1498">
                <a:extLst>
                  <a:ext uri="{FF2B5EF4-FFF2-40B4-BE49-F238E27FC236}">
                    <a16:creationId xmlns:a16="http://schemas.microsoft.com/office/drawing/2014/main" id="{3F695978-E49D-1347-EEFA-F56DA9EFFAB2}"/>
                  </a:ext>
                </a:extLst>
              </p:cNvPr>
              <p:cNvGrpSpPr/>
              <p:nvPr/>
            </p:nvGrpSpPr>
            <p:grpSpPr bwMode="gray">
              <a:xfrm>
                <a:off x="5700522" y="3324319"/>
                <a:ext cx="75628" cy="75723"/>
                <a:chOff x="5700522" y="3324319"/>
                <a:chExt cx="75628" cy="75723"/>
              </a:xfrm>
            </p:grpSpPr>
            <p:sp>
              <p:nvSpPr>
                <p:cNvPr id="13005" name="Freeform: Shape 13004">
                  <a:extLst>
                    <a:ext uri="{FF2B5EF4-FFF2-40B4-BE49-F238E27FC236}">
                      <a16:creationId xmlns:a16="http://schemas.microsoft.com/office/drawing/2014/main" id="{3394265F-BEF4-B028-5366-877BDC9D434B}"/>
                    </a:ext>
                  </a:extLst>
                </p:cNvPr>
                <p:cNvSpPr/>
                <p:nvPr/>
              </p:nvSpPr>
              <p:spPr bwMode="gray">
                <a:xfrm>
                  <a:off x="5738336"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06" name="Freeform: Shape 13005">
                  <a:extLst>
                    <a:ext uri="{FF2B5EF4-FFF2-40B4-BE49-F238E27FC236}">
                      <a16:creationId xmlns:a16="http://schemas.microsoft.com/office/drawing/2014/main" id="{EC2EFBBB-9A2F-CF39-0B2E-EA54B4FAB877}"/>
                    </a:ext>
                  </a:extLst>
                </p:cNvPr>
                <p:cNvSpPr/>
                <p:nvPr/>
              </p:nvSpPr>
              <p:spPr bwMode="gray">
                <a:xfrm>
                  <a:off x="5700522" y="33621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8" name="Graphic 1498">
                <a:extLst>
                  <a:ext uri="{FF2B5EF4-FFF2-40B4-BE49-F238E27FC236}">
                    <a16:creationId xmlns:a16="http://schemas.microsoft.com/office/drawing/2014/main" id="{B98B1528-0BE8-9A8E-36B1-4378A211A457}"/>
                  </a:ext>
                </a:extLst>
              </p:cNvPr>
              <p:cNvGrpSpPr/>
              <p:nvPr/>
            </p:nvGrpSpPr>
            <p:grpSpPr bwMode="gray">
              <a:xfrm>
                <a:off x="5448966" y="3300412"/>
                <a:ext cx="75628" cy="75723"/>
                <a:chOff x="5448966" y="3300412"/>
                <a:chExt cx="75628" cy="75723"/>
              </a:xfrm>
            </p:grpSpPr>
            <p:sp>
              <p:nvSpPr>
                <p:cNvPr id="13003" name="Freeform: Shape 13002">
                  <a:extLst>
                    <a:ext uri="{FF2B5EF4-FFF2-40B4-BE49-F238E27FC236}">
                      <a16:creationId xmlns:a16="http://schemas.microsoft.com/office/drawing/2014/main" id="{D96A1AA8-C871-71DC-21AD-DFAFACDBD990}"/>
                    </a:ext>
                  </a:extLst>
                </p:cNvPr>
                <p:cNvSpPr/>
                <p:nvPr/>
              </p:nvSpPr>
              <p:spPr bwMode="gray">
                <a:xfrm>
                  <a:off x="5486781"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04" name="Freeform: Shape 13003">
                  <a:extLst>
                    <a:ext uri="{FF2B5EF4-FFF2-40B4-BE49-F238E27FC236}">
                      <a16:creationId xmlns:a16="http://schemas.microsoft.com/office/drawing/2014/main" id="{A4316C43-A443-09D3-5BF2-C59D52BA9EE2}"/>
                    </a:ext>
                  </a:extLst>
                </p:cNvPr>
                <p:cNvSpPr/>
                <p:nvPr/>
              </p:nvSpPr>
              <p:spPr bwMode="gray">
                <a:xfrm>
                  <a:off x="5448966" y="33382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89" name="Graphic 1498">
                <a:extLst>
                  <a:ext uri="{FF2B5EF4-FFF2-40B4-BE49-F238E27FC236}">
                    <a16:creationId xmlns:a16="http://schemas.microsoft.com/office/drawing/2014/main" id="{D5646AD6-DA7E-2BDB-2660-A6713960B44B}"/>
                  </a:ext>
                </a:extLst>
              </p:cNvPr>
              <p:cNvGrpSpPr/>
              <p:nvPr/>
            </p:nvGrpSpPr>
            <p:grpSpPr bwMode="gray">
              <a:xfrm>
                <a:off x="5329904" y="3262597"/>
                <a:ext cx="75723" cy="75628"/>
                <a:chOff x="5329904" y="3262597"/>
                <a:chExt cx="75723" cy="75628"/>
              </a:xfrm>
            </p:grpSpPr>
            <p:sp>
              <p:nvSpPr>
                <p:cNvPr id="13001" name="Freeform: Shape 13000">
                  <a:extLst>
                    <a:ext uri="{FF2B5EF4-FFF2-40B4-BE49-F238E27FC236}">
                      <a16:creationId xmlns:a16="http://schemas.microsoft.com/office/drawing/2014/main" id="{3F3B7DDA-4605-533E-9005-E4194CD63FAC}"/>
                    </a:ext>
                  </a:extLst>
                </p:cNvPr>
                <p:cNvSpPr/>
                <p:nvPr/>
              </p:nvSpPr>
              <p:spPr bwMode="gray">
                <a:xfrm>
                  <a:off x="5367718"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02" name="Freeform: Shape 13001">
                  <a:extLst>
                    <a:ext uri="{FF2B5EF4-FFF2-40B4-BE49-F238E27FC236}">
                      <a16:creationId xmlns:a16="http://schemas.microsoft.com/office/drawing/2014/main" id="{97C8CF29-A9B6-3728-B197-FB84DD7604E3}"/>
                    </a:ext>
                  </a:extLst>
                </p:cNvPr>
                <p:cNvSpPr/>
                <p:nvPr/>
              </p:nvSpPr>
              <p:spPr bwMode="gray">
                <a:xfrm>
                  <a:off x="5329904"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0" name="Graphic 1498">
                <a:extLst>
                  <a:ext uri="{FF2B5EF4-FFF2-40B4-BE49-F238E27FC236}">
                    <a16:creationId xmlns:a16="http://schemas.microsoft.com/office/drawing/2014/main" id="{976DB792-9535-6A11-53AF-5CE3452FC22B}"/>
                  </a:ext>
                </a:extLst>
              </p:cNvPr>
              <p:cNvGrpSpPr/>
              <p:nvPr/>
            </p:nvGrpSpPr>
            <p:grpSpPr bwMode="gray">
              <a:xfrm>
                <a:off x="5276659" y="3244976"/>
                <a:ext cx="75723" cy="75628"/>
                <a:chOff x="5276659" y="3244976"/>
                <a:chExt cx="75723" cy="75628"/>
              </a:xfrm>
            </p:grpSpPr>
            <p:sp>
              <p:nvSpPr>
                <p:cNvPr id="12999" name="Freeform: Shape 12998">
                  <a:extLst>
                    <a:ext uri="{FF2B5EF4-FFF2-40B4-BE49-F238E27FC236}">
                      <a16:creationId xmlns:a16="http://schemas.microsoft.com/office/drawing/2014/main" id="{C0509A70-8B28-56BA-3D3C-427556C55E0D}"/>
                    </a:ext>
                  </a:extLst>
                </p:cNvPr>
                <p:cNvSpPr/>
                <p:nvPr/>
              </p:nvSpPr>
              <p:spPr bwMode="gray">
                <a:xfrm>
                  <a:off x="5314473" y="32449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000" name="Freeform: Shape 12999">
                  <a:extLst>
                    <a:ext uri="{FF2B5EF4-FFF2-40B4-BE49-F238E27FC236}">
                      <a16:creationId xmlns:a16="http://schemas.microsoft.com/office/drawing/2014/main" id="{D4050AC3-6EFF-6DF0-FD52-8C2C2B4FE8E8}"/>
                    </a:ext>
                  </a:extLst>
                </p:cNvPr>
                <p:cNvSpPr/>
                <p:nvPr/>
              </p:nvSpPr>
              <p:spPr bwMode="gray">
                <a:xfrm>
                  <a:off x="5276659" y="32827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1" name="Graphic 1498">
                <a:extLst>
                  <a:ext uri="{FF2B5EF4-FFF2-40B4-BE49-F238E27FC236}">
                    <a16:creationId xmlns:a16="http://schemas.microsoft.com/office/drawing/2014/main" id="{E6E5E4F3-3A0D-DAB7-0983-699D9D899DEC}"/>
                  </a:ext>
                </a:extLst>
              </p:cNvPr>
              <p:cNvGrpSpPr/>
              <p:nvPr/>
            </p:nvGrpSpPr>
            <p:grpSpPr bwMode="gray">
              <a:xfrm>
                <a:off x="5229510" y="3226593"/>
                <a:ext cx="75628" cy="75723"/>
                <a:chOff x="5229510" y="3226593"/>
                <a:chExt cx="75628" cy="75723"/>
              </a:xfrm>
            </p:grpSpPr>
            <p:sp>
              <p:nvSpPr>
                <p:cNvPr id="12997" name="Freeform: Shape 12996">
                  <a:extLst>
                    <a:ext uri="{FF2B5EF4-FFF2-40B4-BE49-F238E27FC236}">
                      <a16:creationId xmlns:a16="http://schemas.microsoft.com/office/drawing/2014/main" id="{602AEDF6-090E-0F04-25DC-7557D1775DCF}"/>
                    </a:ext>
                  </a:extLst>
                </p:cNvPr>
                <p:cNvSpPr/>
                <p:nvPr/>
              </p:nvSpPr>
              <p:spPr bwMode="gray">
                <a:xfrm>
                  <a:off x="526732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98" name="Freeform: Shape 12997">
                  <a:extLst>
                    <a:ext uri="{FF2B5EF4-FFF2-40B4-BE49-F238E27FC236}">
                      <a16:creationId xmlns:a16="http://schemas.microsoft.com/office/drawing/2014/main" id="{64811A48-6A4F-B54B-A0A3-36AC9324FAB7}"/>
                    </a:ext>
                  </a:extLst>
                </p:cNvPr>
                <p:cNvSpPr/>
                <p:nvPr/>
              </p:nvSpPr>
              <p:spPr bwMode="gray">
                <a:xfrm>
                  <a:off x="5229510" y="32645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2" name="Graphic 1498">
                <a:extLst>
                  <a:ext uri="{FF2B5EF4-FFF2-40B4-BE49-F238E27FC236}">
                    <a16:creationId xmlns:a16="http://schemas.microsoft.com/office/drawing/2014/main" id="{495DEFA9-1736-C4AE-F760-EFC0D8E84E61}"/>
                  </a:ext>
                </a:extLst>
              </p:cNvPr>
              <p:cNvGrpSpPr/>
              <p:nvPr/>
            </p:nvGrpSpPr>
            <p:grpSpPr bwMode="gray">
              <a:xfrm>
                <a:off x="5214461" y="3226593"/>
                <a:ext cx="75628" cy="75723"/>
                <a:chOff x="5214461" y="3226593"/>
                <a:chExt cx="75628" cy="75723"/>
              </a:xfrm>
            </p:grpSpPr>
            <p:sp>
              <p:nvSpPr>
                <p:cNvPr id="12995" name="Freeform: Shape 12994">
                  <a:extLst>
                    <a:ext uri="{FF2B5EF4-FFF2-40B4-BE49-F238E27FC236}">
                      <a16:creationId xmlns:a16="http://schemas.microsoft.com/office/drawing/2014/main" id="{28801B1E-E6D7-9B13-0849-1AC71F2A0365}"/>
                    </a:ext>
                  </a:extLst>
                </p:cNvPr>
                <p:cNvSpPr/>
                <p:nvPr/>
              </p:nvSpPr>
              <p:spPr bwMode="gray">
                <a:xfrm>
                  <a:off x="525227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96" name="Freeform: Shape 12995">
                  <a:extLst>
                    <a:ext uri="{FF2B5EF4-FFF2-40B4-BE49-F238E27FC236}">
                      <a16:creationId xmlns:a16="http://schemas.microsoft.com/office/drawing/2014/main" id="{4A4A6C80-A02F-DB03-CC7D-2DC6EFF1758B}"/>
                    </a:ext>
                  </a:extLst>
                </p:cNvPr>
                <p:cNvSpPr/>
                <p:nvPr/>
              </p:nvSpPr>
              <p:spPr bwMode="gray">
                <a:xfrm>
                  <a:off x="5214461" y="32645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3" name="Graphic 1498">
                <a:extLst>
                  <a:ext uri="{FF2B5EF4-FFF2-40B4-BE49-F238E27FC236}">
                    <a16:creationId xmlns:a16="http://schemas.microsoft.com/office/drawing/2014/main" id="{6F88B542-1D9B-F428-F401-6CBC2C353C3A}"/>
                  </a:ext>
                </a:extLst>
              </p:cNvPr>
              <p:cNvGrpSpPr/>
              <p:nvPr/>
            </p:nvGrpSpPr>
            <p:grpSpPr bwMode="gray">
              <a:xfrm>
                <a:off x="5180171" y="3203923"/>
                <a:ext cx="75628" cy="75723"/>
                <a:chOff x="5180171" y="3203923"/>
                <a:chExt cx="75628" cy="75723"/>
              </a:xfrm>
            </p:grpSpPr>
            <p:sp>
              <p:nvSpPr>
                <p:cNvPr id="12993" name="Freeform: Shape 12992">
                  <a:extLst>
                    <a:ext uri="{FF2B5EF4-FFF2-40B4-BE49-F238E27FC236}">
                      <a16:creationId xmlns:a16="http://schemas.microsoft.com/office/drawing/2014/main" id="{183669AB-C6EF-1932-3AA3-E4FA39DAA8CA}"/>
                    </a:ext>
                  </a:extLst>
                </p:cNvPr>
                <p:cNvSpPr/>
                <p:nvPr/>
              </p:nvSpPr>
              <p:spPr bwMode="gray">
                <a:xfrm>
                  <a:off x="521798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94" name="Freeform: Shape 12993">
                  <a:extLst>
                    <a:ext uri="{FF2B5EF4-FFF2-40B4-BE49-F238E27FC236}">
                      <a16:creationId xmlns:a16="http://schemas.microsoft.com/office/drawing/2014/main" id="{BE53EEF5-486E-C248-A44C-E1D87DE6D1CF}"/>
                    </a:ext>
                  </a:extLst>
                </p:cNvPr>
                <p:cNvSpPr/>
                <p:nvPr/>
              </p:nvSpPr>
              <p:spPr bwMode="gray">
                <a:xfrm>
                  <a:off x="518017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4" name="Graphic 1498">
                <a:extLst>
                  <a:ext uri="{FF2B5EF4-FFF2-40B4-BE49-F238E27FC236}">
                    <a16:creationId xmlns:a16="http://schemas.microsoft.com/office/drawing/2014/main" id="{CD7E926F-E8E1-30F2-9FB5-B19D131D60FA}"/>
                  </a:ext>
                </a:extLst>
              </p:cNvPr>
              <p:cNvGrpSpPr/>
              <p:nvPr/>
            </p:nvGrpSpPr>
            <p:grpSpPr bwMode="gray">
              <a:xfrm>
                <a:off x="5155501" y="3203923"/>
                <a:ext cx="75628" cy="75723"/>
                <a:chOff x="5155501" y="3203923"/>
                <a:chExt cx="75628" cy="75723"/>
              </a:xfrm>
            </p:grpSpPr>
            <p:sp>
              <p:nvSpPr>
                <p:cNvPr id="12991" name="Freeform: Shape 12990">
                  <a:extLst>
                    <a:ext uri="{FF2B5EF4-FFF2-40B4-BE49-F238E27FC236}">
                      <a16:creationId xmlns:a16="http://schemas.microsoft.com/office/drawing/2014/main" id="{96138D7A-BFCE-F4BA-43D9-44EA8F400EBF}"/>
                    </a:ext>
                  </a:extLst>
                </p:cNvPr>
                <p:cNvSpPr/>
                <p:nvPr/>
              </p:nvSpPr>
              <p:spPr bwMode="gray">
                <a:xfrm>
                  <a:off x="519331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92" name="Freeform: Shape 12991">
                  <a:extLst>
                    <a:ext uri="{FF2B5EF4-FFF2-40B4-BE49-F238E27FC236}">
                      <a16:creationId xmlns:a16="http://schemas.microsoft.com/office/drawing/2014/main" id="{27893C44-A174-4C0B-0CFF-1905C3CE7014}"/>
                    </a:ext>
                  </a:extLst>
                </p:cNvPr>
                <p:cNvSpPr/>
                <p:nvPr/>
              </p:nvSpPr>
              <p:spPr bwMode="gray">
                <a:xfrm>
                  <a:off x="515550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5" name="Graphic 1498">
                <a:extLst>
                  <a:ext uri="{FF2B5EF4-FFF2-40B4-BE49-F238E27FC236}">
                    <a16:creationId xmlns:a16="http://schemas.microsoft.com/office/drawing/2014/main" id="{2FD97049-F515-29A1-ECD0-01639984188E}"/>
                  </a:ext>
                </a:extLst>
              </p:cNvPr>
              <p:cNvGrpSpPr/>
              <p:nvPr/>
            </p:nvGrpSpPr>
            <p:grpSpPr bwMode="gray">
              <a:xfrm>
                <a:off x="5131593" y="3192589"/>
                <a:ext cx="75723" cy="75723"/>
                <a:chOff x="5131593" y="3192589"/>
                <a:chExt cx="75723" cy="75723"/>
              </a:xfrm>
            </p:grpSpPr>
            <p:sp>
              <p:nvSpPr>
                <p:cNvPr id="12989" name="Freeform: Shape 12988">
                  <a:extLst>
                    <a:ext uri="{FF2B5EF4-FFF2-40B4-BE49-F238E27FC236}">
                      <a16:creationId xmlns:a16="http://schemas.microsoft.com/office/drawing/2014/main" id="{B5B0079D-6E77-BDC1-C48D-09B3FF6E0C76}"/>
                    </a:ext>
                  </a:extLst>
                </p:cNvPr>
                <p:cNvSpPr/>
                <p:nvPr/>
              </p:nvSpPr>
              <p:spPr bwMode="gray">
                <a:xfrm>
                  <a:off x="5169408" y="31925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90" name="Freeform: Shape 12989">
                  <a:extLst>
                    <a:ext uri="{FF2B5EF4-FFF2-40B4-BE49-F238E27FC236}">
                      <a16:creationId xmlns:a16="http://schemas.microsoft.com/office/drawing/2014/main" id="{4CF99E36-E433-E116-A0F7-610BD2085A16}"/>
                    </a:ext>
                  </a:extLst>
                </p:cNvPr>
                <p:cNvSpPr/>
                <p:nvPr/>
              </p:nvSpPr>
              <p:spPr bwMode="gray">
                <a:xfrm>
                  <a:off x="5131593" y="32304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6" name="Graphic 1498">
                <a:extLst>
                  <a:ext uri="{FF2B5EF4-FFF2-40B4-BE49-F238E27FC236}">
                    <a16:creationId xmlns:a16="http://schemas.microsoft.com/office/drawing/2014/main" id="{B2D3034E-C91A-2902-00FE-98FD7F8B87EE}"/>
                  </a:ext>
                </a:extLst>
              </p:cNvPr>
              <p:cNvGrpSpPr/>
              <p:nvPr/>
            </p:nvGrpSpPr>
            <p:grpSpPr bwMode="gray">
              <a:xfrm>
                <a:off x="5106638" y="3173158"/>
                <a:ext cx="75723" cy="75628"/>
                <a:chOff x="5106638" y="3173158"/>
                <a:chExt cx="75723" cy="75628"/>
              </a:xfrm>
            </p:grpSpPr>
            <p:sp>
              <p:nvSpPr>
                <p:cNvPr id="12987" name="Freeform: Shape 12986">
                  <a:extLst>
                    <a:ext uri="{FF2B5EF4-FFF2-40B4-BE49-F238E27FC236}">
                      <a16:creationId xmlns:a16="http://schemas.microsoft.com/office/drawing/2014/main" id="{87D2331E-C6C5-EC05-A8B8-34610DA98774}"/>
                    </a:ext>
                  </a:extLst>
                </p:cNvPr>
                <p:cNvSpPr/>
                <p:nvPr/>
              </p:nvSpPr>
              <p:spPr bwMode="gray">
                <a:xfrm>
                  <a:off x="5144452"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88" name="Freeform: Shape 12987">
                  <a:extLst>
                    <a:ext uri="{FF2B5EF4-FFF2-40B4-BE49-F238E27FC236}">
                      <a16:creationId xmlns:a16="http://schemas.microsoft.com/office/drawing/2014/main" id="{9B909017-7567-7B27-7DE2-8B4C3256CBC4}"/>
                    </a:ext>
                  </a:extLst>
                </p:cNvPr>
                <p:cNvSpPr/>
                <p:nvPr/>
              </p:nvSpPr>
              <p:spPr bwMode="gray">
                <a:xfrm>
                  <a:off x="5106638"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7" name="Graphic 1498">
                <a:extLst>
                  <a:ext uri="{FF2B5EF4-FFF2-40B4-BE49-F238E27FC236}">
                    <a16:creationId xmlns:a16="http://schemas.microsoft.com/office/drawing/2014/main" id="{D42B4A05-D680-4EC8-B43A-D7FE44B47354}"/>
                  </a:ext>
                </a:extLst>
              </p:cNvPr>
              <p:cNvGrpSpPr/>
              <p:nvPr/>
            </p:nvGrpSpPr>
            <p:grpSpPr bwMode="gray">
              <a:xfrm>
                <a:off x="5088159" y="3173158"/>
                <a:ext cx="75628" cy="75628"/>
                <a:chOff x="5088159" y="3173158"/>
                <a:chExt cx="75628" cy="75628"/>
              </a:xfrm>
            </p:grpSpPr>
            <p:sp>
              <p:nvSpPr>
                <p:cNvPr id="12985" name="Freeform: Shape 12984">
                  <a:extLst>
                    <a:ext uri="{FF2B5EF4-FFF2-40B4-BE49-F238E27FC236}">
                      <a16:creationId xmlns:a16="http://schemas.microsoft.com/office/drawing/2014/main" id="{289DE0C0-6F71-E5D5-39BA-7020BDD84152}"/>
                    </a:ext>
                  </a:extLst>
                </p:cNvPr>
                <p:cNvSpPr/>
                <p:nvPr/>
              </p:nvSpPr>
              <p:spPr bwMode="gray">
                <a:xfrm>
                  <a:off x="5125974"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86" name="Freeform: Shape 12985">
                  <a:extLst>
                    <a:ext uri="{FF2B5EF4-FFF2-40B4-BE49-F238E27FC236}">
                      <a16:creationId xmlns:a16="http://schemas.microsoft.com/office/drawing/2014/main" id="{C0A48F75-971D-4957-8E0A-FCD9227F60A7}"/>
                    </a:ext>
                  </a:extLst>
                </p:cNvPr>
                <p:cNvSpPr/>
                <p:nvPr/>
              </p:nvSpPr>
              <p:spPr bwMode="gray">
                <a:xfrm>
                  <a:off x="508815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8" name="Graphic 1498">
                <a:extLst>
                  <a:ext uri="{FF2B5EF4-FFF2-40B4-BE49-F238E27FC236}">
                    <a16:creationId xmlns:a16="http://schemas.microsoft.com/office/drawing/2014/main" id="{51799F49-BE18-272B-FB4B-C58BC3CD386A}"/>
                  </a:ext>
                </a:extLst>
              </p:cNvPr>
              <p:cNvGrpSpPr/>
              <p:nvPr/>
            </p:nvGrpSpPr>
            <p:grpSpPr bwMode="gray">
              <a:xfrm>
                <a:off x="5068824" y="3173158"/>
                <a:ext cx="75628" cy="75628"/>
                <a:chOff x="5068824" y="3173158"/>
                <a:chExt cx="75628" cy="75628"/>
              </a:xfrm>
            </p:grpSpPr>
            <p:sp>
              <p:nvSpPr>
                <p:cNvPr id="12983" name="Freeform: Shape 12982">
                  <a:extLst>
                    <a:ext uri="{FF2B5EF4-FFF2-40B4-BE49-F238E27FC236}">
                      <a16:creationId xmlns:a16="http://schemas.microsoft.com/office/drawing/2014/main" id="{859E13FD-783C-6419-8ED4-A97032E69881}"/>
                    </a:ext>
                  </a:extLst>
                </p:cNvPr>
                <p:cNvSpPr/>
                <p:nvPr/>
              </p:nvSpPr>
              <p:spPr bwMode="gray">
                <a:xfrm>
                  <a:off x="5106638"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84" name="Freeform: Shape 12983">
                  <a:extLst>
                    <a:ext uri="{FF2B5EF4-FFF2-40B4-BE49-F238E27FC236}">
                      <a16:creationId xmlns:a16="http://schemas.microsoft.com/office/drawing/2014/main" id="{DA02C37E-CC15-28AB-4582-C4F9859F8A2D}"/>
                    </a:ext>
                  </a:extLst>
                </p:cNvPr>
                <p:cNvSpPr/>
                <p:nvPr/>
              </p:nvSpPr>
              <p:spPr bwMode="gray">
                <a:xfrm>
                  <a:off x="5068824"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599" name="Graphic 1498">
                <a:extLst>
                  <a:ext uri="{FF2B5EF4-FFF2-40B4-BE49-F238E27FC236}">
                    <a16:creationId xmlns:a16="http://schemas.microsoft.com/office/drawing/2014/main" id="{DE9E9A75-0ED4-ACE1-078B-B4130AD332BE}"/>
                  </a:ext>
                </a:extLst>
              </p:cNvPr>
              <p:cNvGrpSpPr/>
              <p:nvPr/>
            </p:nvGrpSpPr>
            <p:grpSpPr bwMode="gray">
              <a:xfrm>
                <a:off x="5050250" y="3173158"/>
                <a:ext cx="75723" cy="75628"/>
                <a:chOff x="5050250" y="3173158"/>
                <a:chExt cx="75723" cy="75628"/>
              </a:xfrm>
            </p:grpSpPr>
            <p:sp>
              <p:nvSpPr>
                <p:cNvPr id="12981" name="Freeform: Shape 12980">
                  <a:extLst>
                    <a:ext uri="{FF2B5EF4-FFF2-40B4-BE49-F238E27FC236}">
                      <a16:creationId xmlns:a16="http://schemas.microsoft.com/office/drawing/2014/main" id="{52859D35-86AC-CFF8-B528-12F56D74A8F3}"/>
                    </a:ext>
                  </a:extLst>
                </p:cNvPr>
                <p:cNvSpPr/>
                <p:nvPr/>
              </p:nvSpPr>
              <p:spPr bwMode="gray">
                <a:xfrm>
                  <a:off x="5088159"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82" name="Freeform: Shape 12981">
                  <a:extLst>
                    <a:ext uri="{FF2B5EF4-FFF2-40B4-BE49-F238E27FC236}">
                      <a16:creationId xmlns:a16="http://schemas.microsoft.com/office/drawing/2014/main" id="{EF1BCAFB-5B62-BF17-C468-5AE40F48A315}"/>
                    </a:ext>
                  </a:extLst>
                </p:cNvPr>
                <p:cNvSpPr/>
                <p:nvPr/>
              </p:nvSpPr>
              <p:spPr bwMode="gray">
                <a:xfrm>
                  <a:off x="5050250"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0" name="Graphic 1498">
                <a:extLst>
                  <a:ext uri="{FF2B5EF4-FFF2-40B4-BE49-F238E27FC236}">
                    <a16:creationId xmlns:a16="http://schemas.microsoft.com/office/drawing/2014/main" id="{CB5B4E48-606F-64CA-C317-7585A6EBA4C9}"/>
                  </a:ext>
                </a:extLst>
              </p:cNvPr>
              <p:cNvGrpSpPr/>
              <p:nvPr/>
            </p:nvGrpSpPr>
            <p:grpSpPr bwMode="gray">
              <a:xfrm>
                <a:off x="5036629" y="3173158"/>
                <a:ext cx="75628" cy="75628"/>
                <a:chOff x="5036629" y="3173158"/>
                <a:chExt cx="75628" cy="75628"/>
              </a:xfrm>
            </p:grpSpPr>
            <p:sp>
              <p:nvSpPr>
                <p:cNvPr id="12979" name="Freeform: Shape 12978">
                  <a:extLst>
                    <a:ext uri="{FF2B5EF4-FFF2-40B4-BE49-F238E27FC236}">
                      <a16:creationId xmlns:a16="http://schemas.microsoft.com/office/drawing/2014/main" id="{84182FD6-4447-9549-28BC-FC09D20E278D}"/>
                    </a:ext>
                  </a:extLst>
                </p:cNvPr>
                <p:cNvSpPr/>
                <p:nvPr/>
              </p:nvSpPr>
              <p:spPr bwMode="gray">
                <a:xfrm>
                  <a:off x="5074443"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80" name="Freeform: Shape 12979">
                  <a:extLst>
                    <a:ext uri="{FF2B5EF4-FFF2-40B4-BE49-F238E27FC236}">
                      <a16:creationId xmlns:a16="http://schemas.microsoft.com/office/drawing/2014/main" id="{161370B2-86DA-6A98-F029-6E09C8DA4A53}"/>
                    </a:ext>
                  </a:extLst>
                </p:cNvPr>
                <p:cNvSpPr/>
                <p:nvPr/>
              </p:nvSpPr>
              <p:spPr bwMode="gray">
                <a:xfrm>
                  <a:off x="503662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1" name="Graphic 1498">
                <a:extLst>
                  <a:ext uri="{FF2B5EF4-FFF2-40B4-BE49-F238E27FC236}">
                    <a16:creationId xmlns:a16="http://schemas.microsoft.com/office/drawing/2014/main" id="{6D479BD9-8876-EC67-9647-A6FBFED1A228}"/>
                  </a:ext>
                </a:extLst>
              </p:cNvPr>
              <p:cNvGrpSpPr/>
              <p:nvPr/>
            </p:nvGrpSpPr>
            <p:grpSpPr bwMode="gray">
              <a:xfrm>
                <a:off x="5005292" y="3147535"/>
                <a:ext cx="75723" cy="75723"/>
                <a:chOff x="5005292" y="3147535"/>
                <a:chExt cx="75723" cy="75723"/>
              </a:xfrm>
            </p:grpSpPr>
            <p:sp>
              <p:nvSpPr>
                <p:cNvPr id="12977" name="Freeform: Shape 12976">
                  <a:extLst>
                    <a:ext uri="{FF2B5EF4-FFF2-40B4-BE49-F238E27FC236}">
                      <a16:creationId xmlns:a16="http://schemas.microsoft.com/office/drawing/2014/main" id="{C5422E9C-C9FB-30F7-2CC0-C6A93C813FFD}"/>
                    </a:ext>
                  </a:extLst>
                </p:cNvPr>
                <p:cNvSpPr/>
                <p:nvPr/>
              </p:nvSpPr>
              <p:spPr bwMode="gray">
                <a:xfrm>
                  <a:off x="5043201"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78" name="Freeform: Shape 12977">
                  <a:extLst>
                    <a:ext uri="{FF2B5EF4-FFF2-40B4-BE49-F238E27FC236}">
                      <a16:creationId xmlns:a16="http://schemas.microsoft.com/office/drawing/2014/main" id="{6B98DD83-76FC-D285-616F-0B1EBC691478}"/>
                    </a:ext>
                  </a:extLst>
                </p:cNvPr>
                <p:cNvSpPr/>
                <p:nvPr/>
              </p:nvSpPr>
              <p:spPr bwMode="gray">
                <a:xfrm>
                  <a:off x="5005292"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2" name="Graphic 1498">
                <a:extLst>
                  <a:ext uri="{FF2B5EF4-FFF2-40B4-BE49-F238E27FC236}">
                    <a16:creationId xmlns:a16="http://schemas.microsoft.com/office/drawing/2014/main" id="{78D5CA61-0587-0A7B-BD4F-87C7A0A2732F}"/>
                  </a:ext>
                </a:extLst>
              </p:cNvPr>
              <p:cNvGrpSpPr/>
              <p:nvPr/>
            </p:nvGrpSpPr>
            <p:grpSpPr bwMode="gray">
              <a:xfrm>
                <a:off x="4987194" y="3147535"/>
                <a:ext cx="75628" cy="75723"/>
                <a:chOff x="4987194" y="3147535"/>
                <a:chExt cx="75628" cy="75723"/>
              </a:xfrm>
            </p:grpSpPr>
            <p:sp>
              <p:nvSpPr>
                <p:cNvPr id="12975" name="Freeform: Shape 12974">
                  <a:extLst>
                    <a:ext uri="{FF2B5EF4-FFF2-40B4-BE49-F238E27FC236}">
                      <a16:creationId xmlns:a16="http://schemas.microsoft.com/office/drawing/2014/main" id="{F8752A29-EEEF-EB0B-34D3-2AEDC57100CA}"/>
                    </a:ext>
                  </a:extLst>
                </p:cNvPr>
                <p:cNvSpPr/>
                <p:nvPr/>
              </p:nvSpPr>
              <p:spPr bwMode="gray">
                <a:xfrm>
                  <a:off x="5025009"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76" name="Freeform: Shape 12975">
                  <a:extLst>
                    <a:ext uri="{FF2B5EF4-FFF2-40B4-BE49-F238E27FC236}">
                      <a16:creationId xmlns:a16="http://schemas.microsoft.com/office/drawing/2014/main" id="{2CE54832-2CF1-7A22-E68C-7AABA636A8D9}"/>
                    </a:ext>
                  </a:extLst>
                </p:cNvPr>
                <p:cNvSpPr/>
                <p:nvPr/>
              </p:nvSpPr>
              <p:spPr bwMode="gray">
                <a:xfrm>
                  <a:off x="4987194" y="31853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3" name="Graphic 1498">
                <a:extLst>
                  <a:ext uri="{FF2B5EF4-FFF2-40B4-BE49-F238E27FC236}">
                    <a16:creationId xmlns:a16="http://schemas.microsoft.com/office/drawing/2014/main" id="{D143BA25-6E20-9FE9-5AF5-E65081AE2240}"/>
                  </a:ext>
                </a:extLst>
              </p:cNvPr>
              <p:cNvGrpSpPr/>
              <p:nvPr/>
            </p:nvGrpSpPr>
            <p:grpSpPr bwMode="gray">
              <a:xfrm>
                <a:off x="4974621" y="3147535"/>
                <a:ext cx="75628" cy="75723"/>
                <a:chOff x="4974621" y="3147535"/>
                <a:chExt cx="75628" cy="75723"/>
              </a:xfrm>
            </p:grpSpPr>
            <p:sp>
              <p:nvSpPr>
                <p:cNvPr id="12973" name="Freeform: Shape 12972">
                  <a:extLst>
                    <a:ext uri="{FF2B5EF4-FFF2-40B4-BE49-F238E27FC236}">
                      <a16:creationId xmlns:a16="http://schemas.microsoft.com/office/drawing/2014/main" id="{5C5C5FE1-417E-87D4-2C56-43C436B458C8}"/>
                    </a:ext>
                  </a:extLst>
                </p:cNvPr>
                <p:cNvSpPr/>
                <p:nvPr/>
              </p:nvSpPr>
              <p:spPr bwMode="gray">
                <a:xfrm>
                  <a:off x="5012436"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74" name="Freeform: Shape 12973">
                  <a:extLst>
                    <a:ext uri="{FF2B5EF4-FFF2-40B4-BE49-F238E27FC236}">
                      <a16:creationId xmlns:a16="http://schemas.microsoft.com/office/drawing/2014/main" id="{10955641-FAFD-AA8C-E432-5A98B1A3248B}"/>
                    </a:ext>
                  </a:extLst>
                </p:cNvPr>
                <p:cNvSpPr/>
                <p:nvPr/>
              </p:nvSpPr>
              <p:spPr bwMode="gray">
                <a:xfrm>
                  <a:off x="4974621" y="31853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4" name="Graphic 1498">
                <a:extLst>
                  <a:ext uri="{FF2B5EF4-FFF2-40B4-BE49-F238E27FC236}">
                    <a16:creationId xmlns:a16="http://schemas.microsoft.com/office/drawing/2014/main" id="{B9D50F64-3FE0-FFA1-57AC-522A741F8C38}"/>
                  </a:ext>
                </a:extLst>
              </p:cNvPr>
              <p:cNvGrpSpPr/>
              <p:nvPr/>
            </p:nvGrpSpPr>
            <p:grpSpPr bwMode="gray">
              <a:xfrm>
                <a:off x="4942998" y="3147535"/>
                <a:ext cx="75723" cy="75723"/>
                <a:chOff x="4942998" y="3147535"/>
                <a:chExt cx="75723" cy="75723"/>
              </a:xfrm>
            </p:grpSpPr>
            <p:sp>
              <p:nvSpPr>
                <p:cNvPr id="12971" name="Freeform: Shape 12970">
                  <a:extLst>
                    <a:ext uri="{FF2B5EF4-FFF2-40B4-BE49-F238E27FC236}">
                      <a16:creationId xmlns:a16="http://schemas.microsoft.com/office/drawing/2014/main" id="{0A92EC25-2780-5C11-001E-C6F2DD0821EB}"/>
                    </a:ext>
                  </a:extLst>
                </p:cNvPr>
                <p:cNvSpPr/>
                <p:nvPr/>
              </p:nvSpPr>
              <p:spPr bwMode="gray">
                <a:xfrm>
                  <a:off x="4980908"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72" name="Freeform: Shape 12971">
                  <a:extLst>
                    <a:ext uri="{FF2B5EF4-FFF2-40B4-BE49-F238E27FC236}">
                      <a16:creationId xmlns:a16="http://schemas.microsoft.com/office/drawing/2014/main" id="{D16C2E1A-AC89-3561-3EB2-28C97186F64F}"/>
                    </a:ext>
                  </a:extLst>
                </p:cNvPr>
                <p:cNvSpPr/>
                <p:nvPr/>
              </p:nvSpPr>
              <p:spPr bwMode="gray">
                <a:xfrm>
                  <a:off x="49429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5" name="Graphic 1498">
                <a:extLst>
                  <a:ext uri="{FF2B5EF4-FFF2-40B4-BE49-F238E27FC236}">
                    <a16:creationId xmlns:a16="http://schemas.microsoft.com/office/drawing/2014/main" id="{E3AADC57-FACB-C751-8DAE-408242AA2440}"/>
                  </a:ext>
                </a:extLst>
              </p:cNvPr>
              <p:cNvGrpSpPr/>
              <p:nvPr/>
            </p:nvGrpSpPr>
            <p:grpSpPr bwMode="gray">
              <a:xfrm>
                <a:off x="4930425" y="3147535"/>
                <a:ext cx="75723" cy="75723"/>
                <a:chOff x="4930425" y="3147535"/>
                <a:chExt cx="75723" cy="75723"/>
              </a:xfrm>
            </p:grpSpPr>
            <p:sp>
              <p:nvSpPr>
                <p:cNvPr id="12969" name="Freeform: Shape 12968">
                  <a:extLst>
                    <a:ext uri="{FF2B5EF4-FFF2-40B4-BE49-F238E27FC236}">
                      <a16:creationId xmlns:a16="http://schemas.microsoft.com/office/drawing/2014/main" id="{9D4728B2-C577-84B8-BFC0-5B6B0A4F0943}"/>
                    </a:ext>
                  </a:extLst>
                </p:cNvPr>
                <p:cNvSpPr/>
                <p:nvPr/>
              </p:nvSpPr>
              <p:spPr bwMode="gray">
                <a:xfrm>
                  <a:off x="496833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70" name="Freeform: Shape 12969">
                  <a:extLst>
                    <a:ext uri="{FF2B5EF4-FFF2-40B4-BE49-F238E27FC236}">
                      <a16:creationId xmlns:a16="http://schemas.microsoft.com/office/drawing/2014/main" id="{9C5136BE-3ED0-CF3F-A227-5C17B42CD31C}"/>
                    </a:ext>
                  </a:extLst>
                </p:cNvPr>
                <p:cNvSpPr/>
                <p:nvPr/>
              </p:nvSpPr>
              <p:spPr bwMode="gray">
                <a:xfrm>
                  <a:off x="4930425"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6" name="Graphic 1498">
                <a:extLst>
                  <a:ext uri="{FF2B5EF4-FFF2-40B4-BE49-F238E27FC236}">
                    <a16:creationId xmlns:a16="http://schemas.microsoft.com/office/drawing/2014/main" id="{1C37DA4F-4290-9A0C-48E1-1CEC6B76CCFE}"/>
                  </a:ext>
                </a:extLst>
              </p:cNvPr>
              <p:cNvGrpSpPr/>
              <p:nvPr/>
            </p:nvGrpSpPr>
            <p:grpSpPr bwMode="gray">
              <a:xfrm>
                <a:off x="4911471" y="3147535"/>
                <a:ext cx="75723" cy="75723"/>
                <a:chOff x="4911471" y="3147535"/>
                <a:chExt cx="75723" cy="75723"/>
              </a:xfrm>
            </p:grpSpPr>
            <p:sp>
              <p:nvSpPr>
                <p:cNvPr id="12967" name="Freeform: Shape 12966">
                  <a:extLst>
                    <a:ext uri="{FF2B5EF4-FFF2-40B4-BE49-F238E27FC236}">
                      <a16:creationId xmlns:a16="http://schemas.microsoft.com/office/drawing/2014/main" id="{EE0F5FC1-298A-8C48-5E2C-B59A2BFF36A3}"/>
                    </a:ext>
                  </a:extLst>
                </p:cNvPr>
                <p:cNvSpPr/>
                <p:nvPr/>
              </p:nvSpPr>
              <p:spPr bwMode="gray">
                <a:xfrm>
                  <a:off x="494928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68" name="Freeform: Shape 12967">
                  <a:extLst>
                    <a:ext uri="{FF2B5EF4-FFF2-40B4-BE49-F238E27FC236}">
                      <a16:creationId xmlns:a16="http://schemas.microsoft.com/office/drawing/2014/main" id="{10907358-179D-B2CC-709D-8EDBE04B8657}"/>
                    </a:ext>
                  </a:extLst>
                </p:cNvPr>
                <p:cNvSpPr/>
                <p:nvPr/>
              </p:nvSpPr>
              <p:spPr bwMode="gray">
                <a:xfrm>
                  <a:off x="4911471"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7" name="Graphic 1498">
                <a:extLst>
                  <a:ext uri="{FF2B5EF4-FFF2-40B4-BE49-F238E27FC236}">
                    <a16:creationId xmlns:a16="http://schemas.microsoft.com/office/drawing/2014/main" id="{9680C454-9EA2-DE92-59E9-AB898F8CC69C}"/>
                  </a:ext>
                </a:extLst>
              </p:cNvPr>
              <p:cNvGrpSpPr/>
              <p:nvPr/>
            </p:nvGrpSpPr>
            <p:grpSpPr bwMode="gray">
              <a:xfrm>
                <a:off x="4898898" y="3147535"/>
                <a:ext cx="75723" cy="75723"/>
                <a:chOff x="4898898" y="3147535"/>
                <a:chExt cx="75723" cy="75723"/>
              </a:xfrm>
            </p:grpSpPr>
            <p:sp>
              <p:nvSpPr>
                <p:cNvPr id="12965" name="Freeform: Shape 12964">
                  <a:extLst>
                    <a:ext uri="{FF2B5EF4-FFF2-40B4-BE49-F238E27FC236}">
                      <a16:creationId xmlns:a16="http://schemas.microsoft.com/office/drawing/2014/main" id="{7834E744-1A37-73C1-61A5-84C37FB0F78C}"/>
                    </a:ext>
                  </a:extLst>
                </p:cNvPr>
                <p:cNvSpPr/>
                <p:nvPr/>
              </p:nvSpPr>
              <p:spPr bwMode="gray">
                <a:xfrm>
                  <a:off x="4936712"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66" name="Freeform: Shape 12965">
                  <a:extLst>
                    <a:ext uri="{FF2B5EF4-FFF2-40B4-BE49-F238E27FC236}">
                      <a16:creationId xmlns:a16="http://schemas.microsoft.com/office/drawing/2014/main" id="{D3CAB244-9933-17CB-DD2D-78A83561B864}"/>
                    </a:ext>
                  </a:extLst>
                </p:cNvPr>
                <p:cNvSpPr/>
                <p:nvPr/>
              </p:nvSpPr>
              <p:spPr bwMode="gray">
                <a:xfrm>
                  <a:off x="48988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8" name="Graphic 1498">
                <a:extLst>
                  <a:ext uri="{FF2B5EF4-FFF2-40B4-BE49-F238E27FC236}">
                    <a16:creationId xmlns:a16="http://schemas.microsoft.com/office/drawing/2014/main" id="{72CB367B-3991-C292-F76E-32400D13DF68}"/>
                  </a:ext>
                </a:extLst>
              </p:cNvPr>
              <p:cNvGrpSpPr/>
              <p:nvPr/>
            </p:nvGrpSpPr>
            <p:grpSpPr bwMode="gray">
              <a:xfrm>
                <a:off x="4863846" y="3141820"/>
                <a:ext cx="75723" cy="75628"/>
                <a:chOff x="4863846" y="3141820"/>
                <a:chExt cx="75723" cy="75628"/>
              </a:xfrm>
            </p:grpSpPr>
            <p:sp>
              <p:nvSpPr>
                <p:cNvPr id="12963" name="Freeform: Shape 12962">
                  <a:extLst>
                    <a:ext uri="{FF2B5EF4-FFF2-40B4-BE49-F238E27FC236}">
                      <a16:creationId xmlns:a16="http://schemas.microsoft.com/office/drawing/2014/main" id="{3859096B-4E52-5F7F-03E9-F04D07E5100A}"/>
                    </a:ext>
                  </a:extLst>
                </p:cNvPr>
                <p:cNvSpPr/>
                <p:nvPr/>
              </p:nvSpPr>
              <p:spPr bwMode="gray">
                <a:xfrm>
                  <a:off x="4901660"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64" name="Freeform: Shape 12963">
                  <a:extLst>
                    <a:ext uri="{FF2B5EF4-FFF2-40B4-BE49-F238E27FC236}">
                      <a16:creationId xmlns:a16="http://schemas.microsoft.com/office/drawing/2014/main" id="{99863892-CC23-C4B2-FE7D-626C93937884}"/>
                    </a:ext>
                  </a:extLst>
                </p:cNvPr>
                <p:cNvSpPr/>
                <p:nvPr/>
              </p:nvSpPr>
              <p:spPr bwMode="gray">
                <a:xfrm>
                  <a:off x="4863846"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09" name="Graphic 1498">
                <a:extLst>
                  <a:ext uri="{FF2B5EF4-FFF2-40B4-BE49-F238E27FC236}">
                    <a16:creationId xmlns:a16="http://schemas.microsoft.com/office/drawing/2014/main" id="{E27A1B09-2428-CC07-74DB-83D38D43AE0C}"/>
                  </a:ext>
                </a:extLst>
              </p:cNvPr>
              <p:cNvGrpSpPr/>
              <p:nvPr/>
            </p:nvGrpSpPr>
            <p:grpSpPr bwMode="gray">
              <a:xfrm>
                <a:off x="4838604" y="3141820"/>
                <a:ext cx="75723" cy="75628"/>
                <a:chOff x="4838604" y="3141820"/>
                <a:chExt cx="75723" cy="75628"/>
              </a:xfrm>
            </p:grpSpPr>
            <p:sp>
              <p:nvSpPr>
                <p:cNvPr id="12961" name="Freeform: Shape 12960">
                  <a:extLst>
                    <a:ext uri="{FF2B5EF4-FFF2-40B4-BE49-F238E27FC236}">
                      <a16:creationId xmlns:a16="http://schemas.microsoft.com/office/drawing/2014/main" id="{C3E96E53-B285-E76E-8AB3-478383A88FA7}"/>
                    </a:ext>
                  </a:extLst>
                </p:cNvPr>
                <p:cNvSpPr/>
                <p:nvPr/>
              </p:nvSpPr>
              <p:spPr bwMode="gray">
                <a:xfrm>
                  <a:off x="4876514"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62" name="Freeform: Shape 12961">
                  <a:extLst>
                    <a:ext uri="{FF2B5EF4-FFF2-40B4-BE49-F238E27FC236}">
                      <a16:creationId xmlns:a16="http://schemas.microsoft.com/office/drawing/2014/main" id="{98B689E3-BF72-0097-803B-6D3247388279}"/>
                    </a:ext>
                  </a:extLst>
                </p:cNvPr>
                <p:cNvSpPr/>
                <p:nvPr/>
              </p:nvSpPr>
              <p:spPr bwMode="gray">
                <a:xfrm>
                  <a:off x="4838604"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0" name="Graphic 1498">
                <a:extLst>
                  <a:ext uri="{FF2B5EF4-FFF2-40B4-BE49-F238E27FC236}">
                    <a16:creationId xmlns:a16="http://schemas.microsoft.com/office/drawing/2014/main" id="{62AACF93-170D-EC13-0B0C-013D22F9A945}"/>
                  </a:ext>
                </a:extLst>
              </p:cNvPr>
              <p:cNvGrpSpPr/>
              <p:nvPr/>
            </p:nvGrpSpPr>
            <p:grpSpPr bwMode="gray">
              <a:xfrm>
                <a:off x="4822507" y="3135248"/>
                <a:ext cx="75628" cy="75723"/>
                <a:chOff x="4822507" y="3135248"/>
                <a:chExt cx="75628" cy="75723"/>
              </a:xfrm>
            </p:grpSpPr>
            <p:sp>
              <p:nvSpPr>
                <p:cNvPr id="12959" name="Freeform: Shape 12958">
                  <a:extLst>
                    <a:ext uri="{FF2B5EF4-FFF2-40B4-BE49-F238E27FC236}">
                      <a16:creationId xmlns:a16="http://schemas.microsoft.com/office/drawing/2014/main" id="{02089B77-D01D-591A-420D-DE1FAC540D49}"/>
                    </a:ext>
                  </a:extLst>
                </p:cNvPr>
                <p:cNvSpPr/>
                <p:nvPr/>
              </p:nvSpPr>
              <p:spPr bwMode="gray">
                <a:xfrm>
                  <a:off x="4860321" y="31352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60" name="Freeform: Shape 12959">
                  <a:extLst>
                    <a:ext uri="{FF2B5EF4-FFF2-40B4-BE49-F238E27FC236}">
                      <a16:creationId xmlns:a16="http://schemas.microsoft.com/office/drawing/2014/main" id="{17C30943-0146-986E-B527-74D971479859}"/>
                    </a:ext>
                  </a:extLst>
                </p:cNvPr>
                <p:cNvSpPr/>
                <p:nvPr/>
              </p:nvSpPr>
              <p:spPr bwMode="gray">
                <a:xfrm>
                  <a:off x="4822507" y="31731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1" name="Graphic 1498">
                <a:extLst>
                  <a:ext uri="{FF2B5EF4-FFF2-40B4-BE49-F238E27FC236}">
                    <a16:creationId xmlns:a16="http://schemas.microsoft.com/office/drawing/2014/main" id="{DC8AF979-8DA2-AA91-4AEB-C06FC9BE8583}"/>
                  </a:ext>
                </a:extLst>
              </p:cNvPr>
              <p:cNvGrpSpPr/>
              <p:nvPr/>
            </p:nvGrpSpPr>
            <p:grpSpPr bwMode="gray">
              <a:xfrm>
                <a:off x="4713065" y="3101530"/>
                <a:ext cx="75723" cy="75723"/>
                <a:chOff x="4713065" y="3101530"/>
                <a:chExt cx="75723" cy="75723"/>
              </a:xfrm>
            </p:grpSpPr>
            <p:sp>
              <p:nvSpPr>
                <p:cNvPr id="12957" name="Freeform: Shape 12956">
                  <a:extLst>
                    <a:ext uri="{FF2B5EF4-FFF2-40B4-BE49-F238E27FC236}">
                      <a16:creationId xmlns:a16="http://schemas.microsoft.com/office/drawing/2014/main" id="{56333342-115B-9975-9627-11AE0DDACAFD}"/>
                    </a:ext>
                  </a:extLst>
                </p:cNvPr>
                <p:cNvSpPr/>
                <p:nvPr/>
              </p:nvSpPr>
              <p:spPr bwMode="gray">
                <a:xfrm>
                  <a:off x="4750879"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58" name="Freeform: Shape 12957">
                  <a:extLst>
                    <a:ext uri="{FF2B5EF4-FFF2-40B4-BE49-F238E27FC236}">
                      <a16:creationId xmlns:a16="http://schemas.microsoft.com/office/drawing/2014/main" id="{23C0AC75-09B7-D923-61B7-D689A93AB6AE}"/>
                    </a:ext>
                  </a:extLst>
                </p:cNvPr>
                <p:cNvSpPr/>
                <p:nvPr/>
              </p:nvSpPr>
              <p:spPr bwMode="gray">
                <a:xfrm>
                  <a:off x="4713065"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2" name="Graphic 1498">
                <a:extLst>
                  <a:ext uri="{FF2B5EF4-FFF2-40B4-BE49-F238E27FC236}">
                    <a16:creationId xmlns:a16="http://schemas.microsoft.com/office/drawing/2014/main" id="{A3BA83A8-336A-0C72-A896-797A702C551D}"/>
                  </a:ext>
                </a:extLst>
              </p:cNvPr>
              <p:cNvGrpSpPr/>
              <p:nvPr/>
            </p:nvGrpSpPr>
            <p:grpSpPr bwMode="gray">
              <a:xfrm>
                <a:off x="4685157" y="3090576"/>
                <a:ext cx="75628" cy="75723"/>
                <a:chOff x="4685157" y="3090576"/>
                <a:chExt cx="75628" cy="75723"/>
              </a:xfrm>
            </p:grpSpPr>
            <p:sp>
              <p:nvSpPr>
                <p:cNvPr id="12955" name="Freeform: Shape 12954">
                  <a:extLst>
                    <a:ext uri="{FF2B5EF4-FFF2-40B4-BE49-F238E27FC236}">
                      <a16:creationId xmlns:a16="http://schemas.microsoft.com/office/drawing/2014/main" id="{59609257-33B6-60C9-3562-F223968C6C3F}"/>
                    </a:ext>
                  </a:extLst>
                </p:cNvPr>
                <p:cNvSpPr/>
                <p:nvPr/>
              </p:nvSpPr>
              <p:spPr bwMode="gray">
                <a:xfrm>
                  <a:off x="4722971" y="30905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56" name="Freeform: Shape 12955">
                  <a:extLst>
                    <a:ext uri="{FF2B5EF4-FFF2-40B4-BE49-F238E27FC236}">
                      <a16:creationId xmlns:a16="http://schemas.microsoft.com/office/drawing/2014/main" id="{C9CF7167-BE82-9696-BF4F-78777D380330}"/>
                    </a:ext>
                  </a:extLst>
                </p:cNvPr>
                <p:cNvSpPr/>
                <p:nvPr/>
              </p:nvSpPr>
              <p:spPr bwMode="gray">
                <a:xfrm>
                  <a:off x="4685157" y="31283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3" name="Graphic 1498">
                <a:extLst>
                  <a:ext uri="{FF2B5EF4-FFF2-40B4-BE49-F238E27FC236}">
                    <a16:creationId xmlns:a16="http://schemas.microsoft.com/office/drawing/2014/main" id="{4864A83A-D05B-0B05-D7FC-F0F9D74197E7}"/>
                  </a:ext>
                </a:extLst>
              </p:cNvPr>
              <p:cNvGrpSpPr/>
              <p:nvPr/>
            </p:nvGrpSpPr>
            <p:grpSpPr bwMode="gray">
              <a:xfrm>
                <a:off x="4659630" y="3078384"/>
                <a:ext cx="75628" cy="75628"/>
                <a:chOff x="4659630" y="3078384"/>
                <a:chExt cx="75628" cy="75628"/>
              </a:xfrm>
            </p:grpSpPr>
            <p:sp>
              <p:nvSpPr>
                <p:cNvPr id="12953" name="Freeform: Shape 12952">
                  <a:extLst>
                    <a:ext uri="{FF2B5EF4-FFF2-40B4-BE49-F238E27FC236}">
                      <a16:creationId xmlns:a16="http://schemas.microsoft.com/office/drawing/2014/main" id="{AD987890-0F4B-683C-747F-F1543C220546}"/>
                    </a:ext>
                  </a:extLst>
                </p:cNvPr>
                <p:cNvSpPr/>
                <p:nvPr/>
              </p:nvSpPr>
              <p:spPr bwMode="gray">
                <a:xfrm>
                  <a:off x="4697444"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54" name="Freeform: Shape 12953">
                  <a:extLst>
                    <a:ext uri="{FF2B5EF4-FFF2-40B4-BE49-F238E27FC236}">
                      <a16:creationId xmlns:a16="http://schemas.microsoft.com/office/drawing/2014/main" id="{838569A3-B967-604E-C522-8EFDDFC21305}"/>
                    </a:ext>
                  </a:extLst>
                </p:cNvPr>
                <p:cNvSpPr/>
                <p:nvPr/>
              </p:nvSpPr>
              <p:spPr bwMode="gray">
                <a:xfrm>
                  <a:off x="4659630" y="31161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4" name="Graphic 1498">
                <a:extLst>
                  <a:ext uri="{FF2B5EF4-FFF2-40B4-BE49-F238E27FC236}">
                    <a16:creationId xmlns:a16="http://schemas.microsoft.com/office/drawing/2014/main" id="{139A385B-6D9A-877E-B4CA-47A3FAC9844E}"/>
                  </a:ext>
                </a:extLst>
              </p:cNvPr>
              <p:cNvGrpSpPr/>
              <p:nvPr/>
            </p:nvGrpSpPr>
            <p:grpSpPr bwMode="gray">
              <a:xfrm>
                <a:off x="4647247" y="3078384"/>
                <a:ext cx="75723" cy="75628"/>
                <a:chOff x="4647247" y="3078384"/>
                <a:chExt cx="75723" cy="75628"/>
              </a:xfrm>
            </p:grpSpPr>
            <p:sp>
              <p:nvSpPr>
                <p:cNvPr id="12951" name="Freeform: Shape 12950">
                  <a:extLst>
                    <a:ext uri="{FF2B5EF4-FFF2-40B4-BE49-F238E27FC236}">
                      <a16:creationId xmlns:a16="http://schemas.microsoft.com/office/drawing/2014/main" id="{995B0874-EDC7-E499-00E2-E06786E7E9F6}"/>
                    </a:ext>
                  </a:extLst>
                </p:cNvPr>
                <p:cNvSpPr/>
                <p:nvPr/>
              </p:nvSpPr>
              <p:spPr bwMode="gray">
                <a:xfrm>
                  <a:off x="4685157"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52" name="Freeform: Shape 12951">
                  <a:extLst>
                    <a:ext uri="{FF2B5EF4-FFF2-40B4-BE49-F238E27FC236}">
                      <a16:creationId xmlns:a16="http://schemas.microsoft.com/office/drawing/2014/main" id="{B83E9685-79CA-151E-A3AA-0B94C57DF5B1}"/>
                    </a:ext>
                  </a:extLst>
                </p:cNvPr>
                <p:cNvSpPr/>
                <p:nvPr/>
              </p:nvSpPr>
              <p:spPr bwMode="gray">
                <a:xfrm>
                  <a:off x="4647247" y="31161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5" name="Graphic 1498">
                <a:extLst>
                  <a:ext uri="{FF2B5EF4-FFF2-40B4-BE49-F238E27FC236}">
                    <a16:creationId xmlns:a16="http://schemas.microsoft.com/office/drawing/2014/main" id="{FF41B30F-06E4-AF9B-0840-B77BF1849AC5}"/>
                  </a:ext>
                </a:extLst>
              </p:cNvPr>
              <p:cNvGrpSpPr/>
              <p:nvPr/>
            </p:nvGrpSpPr>
            <p:grpSpPr bwMode="gray">
              <a:xfrm>
                <a:off x="4621720" y="3061715"/>
                <a:ext cx="75723" cy="75723"/>
                <a:chOff x="4621720" y="3061715"/>
                <a:chExt cx="75723" cy="75723"/>
              </a:xfrm>
            </p:grpSpPr>
            <p:sp>
              <p:nvSpPr>
                <p:cNvPr id="12949" name="Freeform: Shape 12948">
                  <a:extLst>
                    <a:ext uri="{FF2B5EF4-FFF2-40B4-BE49-F238E27FC236}">
                      <a16:creationId xmlns:a16="http://schemas.microsoft.com/office/drawing/2014/main" id="{C63B8651-7818-2A28-2BA7-F2257FEC8DB1}"/>
                    </a:ext>
                  </a:extLst>
                </p:cNvPr>
                <p:cNvSpPr/>
                <p:nvPr/>
              </p:nvSpPr>
              <p:spPr bwMode="gray">
                <a:xfrm>
                  <a:off x="4659630" y="30617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50" name="Freeform: Shape 12949">
                  <a:extLst>
                    <a:ext uri="{FF2B5EF4-FFF2-40B4-BE49-F238E27FC236}">
                      <a16:creationId xmlns:a16="http://schemas.microsoft.com/office/drawing/2014/main" id="{5EE17C93-5A27-B97E-FBA3-D4066BCA1FDA}"/>
                    </a:ext>
                  </a:extLst>
                </p:cNvPr>
                <p:cNvSpPr/>
                <p:nvPr/>
              </p:nvSpPr>
              <p:spPr bwMode="gray">
                <a:xfrm>
                  <a:off x="4621720" y="30995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6" name="Graphic 1498">
                <a:extLst>
                  <a:ext uri="{FF2B5EF4-FFF2-40B4-BE49-F238E27FC236}">
                    <a16:creationId xmlns:a16="http://schemas.microsoft.com/office/drawing/2014/main" id="{AFE36374-556C-062A-23B8-6765B0018B08}"/>
                  </a:ext>
                </a:extLst>
              </p:cNvPr>
              <p:cNvGrpSpPr/>
              <p:nvPr/>
            </p:nvGrpSpPr>
            <p:grpSpPr bwMode="gray">
              <a:xfrm>
                <a:off x="4580382" y="3023901"/>
                <a:ext cx="75628" cy="75628"/>
                <a:chOff x="4580382" y="3023901"/>
                <a:chExt cx="75628" cy="75628"/>
              </a:xfrm>
            </p:grpSpPr>
            <p:sp>
              <p:nvSpPr>
                <p:cNvPr id="12947" name="Freeform: Shape 12946">
                  <a:extLst>
                    <a:ext uri="{FF2B5EF4-FFF2-40B4-BE49-F238E27FC236}">
                      <a16:creationId xmlns:a16="http://schemas.microsoft.com/office/drawing/2014/main" id="{7F511280-0248-5F87-9A9B-0C83A74B2127}"/>
                    </a:ext>
                  </a:extLst>
                </p:cNvPr>
                <p:cNvSpPr/>
                <p:nvPr/>
              </p:nvSpPr>
              <p:spPr bwMode="gray">
                <a:xfrm>
                  <a:off x="4618196" y="302390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48" name="Freeform: Shape 12947">
                  <a:extLst>
                    <a:ext uri="{FF2B5EF4-FFF2-40B4-BE49-F238E27FC236}">
                      <a16:creationId xmlns:a16="http://schemas.microsoft.com/office/drawing/2014/main" id="{C6A9C8AF-EEDC-2AB4-F733-1A8ECBBBC600}"/>
                    </a:ext>
                  </a:extLst>
                </p:cNvPr>
                <p:cNvSpPr/>
                <p:nvPr/>
              </p:nvSpPr>
              <p:spPr bwMode="gray">
                <a:xfrm>
                  <a:off x="4580382" y="306171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7" name="Graphic 1498">
                <a:extLst>
                  <a:ext uri="{FF2B5EF4-FFF2-40B4-BE49-F238E27FC236}">
                    <a16:creationId xmlns:a16="http://schemas.microsoft.com/office/drawing/2014/main" id="{1F899F8B-9C88-F011-5FCC-5530F60B7B73}"/>
                  </a:ext>
                </a:extLst>
              </p:cNvPr>
              <p:cNvGrpSpPr/>
              <p:nvPr/>
            </p:nvGrpSpPr>
            <p:grpSpPr bwMode="gray">
              <a:xfrm>
                <a:off x="4551140" y="3007994"/>
                <a:ext cx="75723" cy="75723"/>
                <a:chOff x="4551140" y="3007994"/>
                <a:chExt cx="75723" cy="75723"/>
              </a:xfrm>
            </p:grpSpPr>
            <p:sp>
              <p:nvSpPr>
                <p:cNvPr id="12945" name="Freeform: Shape 12944">
                  <a:extLst>
                    <a:ext uri="{FF2B5EF4-FFF2-40B4-BE49-F238E27FC236}">
                      <a16:creationId xmlns:a16="http://schemas.microsoft.com/office/drawing/2014/main" id="{65DC07FE-3311-F1F7-D0C5-B095AB66ADAD}"/>
                    </a:ext>
                  </a:extLst>
                </p:cNvPr>
                <p:cNvSpPr/>
                <p:nvPr/>
              </p:nvSpPr>
              <p:spPr bwMode="gray">
                <a:xfrm>
                  <a:off x="4589049" y="3007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46" name="Freeform: Shape 12945">
                  <a:extLst>
                    <a:ext uri="{FF2B5EF4-FFF2-40B4-BE49-F238E27FC236}">
                      <a16:creationId xmlns:a16="http://schemas.microsoft.com/office/drawing/2014/main" id="{4E6C42BB-9311-8FE5-D889-C3B4C5D53289}"/>
                    </a:ext>
                  </a:extLst>
                </p:cNvPr>
                <p:cNvSpPr/>
                <p:nvPr/>
              </p:nvSpPr>
              <p:spPr bwMode="gray">
                <a:xfrm>
                  <a:off x="4551140" y="30458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8" name="Graphic 1498">
                <a:extLst>
                  <a:ext uri="{FF2B5EF4-FFF2-40B4-BE49-F238E27FC236}">
                    <a16:creationId xmlns:a16="http://schemas.microsoft.com/office/drawing/2014/main" id="{60AB787F-9159-4373-8F28-5B1E8C1EEDEC}"/>
                  </a:ext>
                </a:extLst>
              </p:cNvPr>
              <p:cNvGrpSpPr/>
              <p:nvPr/>
            </p:nvGrpSpPr>
            <p:grpSpPr bwMode="gray">
              <a:xfrm>
                <a:off x="4535328" y="2999898"/>
                <a:ext cx="75723" cy="75723"/>
                <a:chOff x="4535328" y="2999898"/>
                <a:chExt cx="75723" cy="75723"/>
              </a:xfrm>
            </p:grpSpPr>
            <p:sp>
              <p:nvSpPr>
                <p:cNvPr id="12943" name="Freeform: Shape 12942">
                  <a:extLst>
                    <a:ext uri="{FF2B5EF4-FFF2-40B4-BE49-F238E27FC236}">
                      <a16:creationId xmlns:a16="http://schemas.microsoft.com/office/drawing/2014/main" id="{BA919CBF-B0FA-B08E-2D20-9F125D66EEF1}"/>
                    </a:ext>
                  </a:extLst>
                </p:cNvPr>
                <p:cNvSpPr/>
                <p:nvPr/>
              </p:nvSpPr>
              <p:spPr bwMode="gray">
                <a:xfrm>
                  <a:off x="4573238" y="2999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44" name="Freeform: Shape 12943">
                  <a:extLst>
                    <a:ext uri="{FF2B5EF4-FFF2-40B4-BE49-F238E27FC236}">
                      <a16:creationId xmlns:a16="http://schemas.microsoft.com/office/drawing/2014/main" id="{0C23E602-533F-540C-D3EC-28F0155BC0FC}"/>
                    </a:ext>
                  </a:extLst>
                </p:cNvPr>
                <p:cNvSpPr/>
                <p:nvPr/>
              </p:nvSpPr>
              <p:spPr bwMode="gray">
                <a:xfrm>
                  <a:off x="4535328" y="3037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19" name="Graphic 1498">
                <a:extLst>
                  <a:ext uri="{FF2B5EF4-FFF2-40B4-BE49-F238E27FC236}">
                    <a16:creationId xmlns:a16="http://schemas.microsoft.com/office/drawing/2014/main" id="{2ABAA953-8DBA-99AF-9C02-ACE45F5D1A9D}"/>
                  </a:ext>
                </a:extLst>
              </p:cNvPr>
              <p:cNvGrpSpPr/>
              <p:nvPr/>
            </p:nvGrpSpPr>
            <p:grpSpPr bwMode="gray">
              <a:xfrm>
                <a:off x="4504658" y="2977038"/>
                <a:ext cx="75723" cy="75723"/>
                <a:chOff x="4504658" y="2977038"/>
                <a:chExt cx="75723" cy="75723"/>
              </a:xfrm>
            </p:grpSpPr>
            <p:sp>
              <p:nvSpPr>
                <p:cNvPr id="12941" name="Freeform: Shape 12940">
                  <a:extLst>
                    <a:ext uri="{FF2B5EF4-FFF2-40B4-BE49-F238E27FC236}">
                      <a16:creationId xmlns:a16="http://schemas.microsoft.com/office/drawing/2014/main" id="{C0ED93D3-12E6-818A-F643-9C601A1C2C7B}"/>
                    </a:ext>
                  </a:extLst>
                </p:cNvPr>
                <p:cNvSpPr/>
                <p:nvPr/>
              </p:nvSpPr>
              <p:spPr bwMode="gray">
                <a:xfrm>
                  <a:off x="4542472"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42" name="Freeform: Shape 12941">
                  <a:extLst>
                    <a:ext uri="{FF2B5EF4-FFF2-40B4-BE49-F238E27FC236}">
                      <a16:creationId xmlns:a16="http://schemas.microsoft.com/office/drawing/2014/main" id="{D2422B57-F881-5A65-31B3-84CE0B4B0672}"/>
                    </a:ext>
                  </a:extLst>
                </p:cNvPr>
                <p:cNvSpPr/>
                <p:nvPr/>
              </p:nvSpPr>
              <p:spPr bwMode="gray">
                <a:xfrm>
                  <a:off x="4504658" y="30148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0" name="Graphic 1498">
                <a:extLst>
                  <a:ext uri="{FF2B5EF4-FFF2-40B4-BE49-F238E27FC236}">
                    <a16:creationId xmlns:a16="http://schemas.microsoft.com/office/drawing/2014/main" id="{89B981B7-A810-4720-83B0-774FCE8E5D73}"/>
                  </a:ext>
                </a:extLst>
              </p:cNvPr>
              <p:cNvGrpSpPr/>
              <p:nvPr/>
            </p:nvGrpSpPr>
            <p:grpSpPr bwMode="gray">
              <a:xfrm>
                <a:off x="4469034" y="2970180"/>
                <a:ext cx="75723" cy="75628"/>
                <a:chOff x="4469034" y="2970180"/>
                <a:chExt cx="75723" cy="75628"/>
              </a:xfrm>
            </p:grpSpPr>
            <p:sp>
              <p:nvSpPr>
                <p:cNvPr id="12939" name="Freeform: Shape 12938">
                  <a:extLst>
                    <a:ext uri="{FF2B5EF4-FFF2-40B4-BE49-F238E27FC236}">
                      <a16:creationId xmlns:a16="http://schemas.microsoft.com/office/drawing/2014/main" id="{4AFD30A8-4FEE-1D12-149A-7BC5DA574FA2}"/>
                    </a:ext>
                  </a:extLst>
                </p:cNvPr>
                <p:cNvSpPr/>
                <p:nvPr/>
              </p:nvSpPr>
              <p:spPr bwMode="gray">
                <a:xfrm>
                  <a:off x="450694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40" name="Freeform: Shape 12939">
                  <a:extLst>
                    <a:ext uri="{FF2B5EF4-FFF2-40B4-BE49-F238E27FC236}">
                      <a16:creationId xmlns:a16="http://schemas.microsoft.com/office/drawing/2014/main" id="{E5DD596E-723C-D1EF-66CF-E656B9EE1AA8}"/>
                    </a:ext>
                  </a:extLst>
                </p:cNvPr>
                <p:cNvSpPr/>
                <p:nvPr/>
              </p:nvSpPr>
              <p:spPr bwMode="gray">
                <a:xfrm>
                  <a:off x="4469034"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1" name="Graphic 1498">
                <a:extLst>
                  <a:ext uri="{FF2B5EF4-FFF2-40B4-BE49-F238E27FC236}">
                    <a16:creationId xmlns:a16="http://schemas.microsoft.com/office/drawing/2014/main" id="{5C9E41FE-D206-38B5-B99F-33002FDB67B6}"/>
                  </a:ext>
                </a:extLst>
              </p:cNvPr>
              <p:cNvGrpSpPr/>
              <p:nvPr/>
            </p:nvGrpSpPr>
            <p:grpSpPr bwMode="gray">
              <a:xfrm>
                <a:off x="4452937" y="2970180"/>
                <a:ext cx="75723" cy="75628"/>
                <a:chOff x="4452937" y="2970180"/>
                <a:chExt cx="75723" cy="75628"/>
              </a:xfrm>
            </p:grpSpPr>
            <p:sp>
              <p:nvSpPr>
                <p:cNvPr id="12937" name="Freeform: Shape 12936">
                  <a:extLst>
                    <a:ext uri="{FF2B5EF4-FFF2-40B4-BE49-F238E27FC236}">
                      <a16:creationId xmlns:a16="http://schemas.microsoft.com/office/drawing/2014/main" id="{4552B3C0-B58F-BE59-318D-7E161B429911}"/>
                    </a:ext>
                  </a:extLst>
                </p:cNvPr>
                <p:cNvSpPr/>
                <p:nvPr/>
              </p:nvSpPr>
              <p:spPr bwMode="gray">
                <a:xfrm>
                  <a:off x="4490751"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38" name="Freeform: Shape 12937">
                  <a:extLst>
                    <a:ext uri="{FF2B5EF4-FFF2-40B4-BE49-F238E27FC236}">
                      <a16:creationId xmlns:a16="http://schemas.microsoft.com/office/drawing/2014/main" id="{40A74D86-0F7A-94AA-C861-F6AB9F0A7BCF}"/>
                    </a:ext>
                  </a:extLst>
                </p:cNvPr>
                <p:cNvSpPr/>
                <p:nvPr/>
              </p:nvSpPr>
              <p:spPr bwMode="gray">
                <a:xfrm>
                  <a:off x="4452937"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2" name="Graphic 1498">
                <a:extLst>
                  <a:ext uri="{FF2B5EF4-FFF2-40B4-BE49-F238E27FC236}">
                    <a16:creationId xmlns:a16="http://schemas.microsoft.com/office/drawing/2014/main" id="{936CAD53-9954-3BA2-9087-0CDBDDF2110C}"/>
                  </a:ext>
                </a:extLst>
              </p:cNvPr>
              <p:cNvGrpSpPr/>
              <p:nvPr/>
            </p:nvGrpSpPr>
            <p:grpSpPr bwMode="gray">
              <a:xfrm>
                <a:off x="4425410" y="2970180"/>
                <a:ext cx="75628" cy="75628"/>
                <a:chOff x="4425410" y="2970180"/>
                <a:chExt cx="75628" cy="75628"/>
              </a:xfrm>
            </p:grpSpPr>
            <p:sp>
              <p:nvSpPr>
                <p:cNvPr id="12935" name="Freeform: Shape 12934">
                  <a:extLst>
                    <a:ext uri="{FF2B5EF4-FFF2-40B4-BE49-F238E27FC236}">
                      <a16:creationId xmlns:a16="http://schemas.microsoft.com/office/drawing/2014/main" id="{516CA1D5-C5E2-26E2-F4A4-64BA666644C3}"/>
                    </a:ext>
                  </a:extLst>
                </p:cNvPr>
                <p:cNvSpPr/>
                <p:nvPr/>
              </p:nvSpPr>
              <p:spPr bwMode="gray">
                <a:xfrm>
                  <a:off x="446322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36" name="Freeform: Shape 12935">
                  <a:extLst>
                    <a:ext uri="{FF2B5EF4-FFF2-40B4-BE49-F238E27FC236}">
                      <a16:creationId xmlns:a16="http://schemas.microsoft.com/office/drawing/2014/main" id="{DA4BA36E-B202-6D50-1A9E-C5FBC7D7B46C}"/>
                    </a:ext>
                  </a:extLst>
                </p:cNvPr>
                <p:cNvSpPr/>
                <p:nvPr/>
              </p:nvSpPr>
              <p:spPr bwMode="gray">
                <a:xfrm>
                  <a:off x="4425410" y="30079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3" name="Graphic 1498">
                <a:extLst>
                  <a:ext uri="{FF2B5EF4-FFF2-40B4-BE49-F238E27FC236}">
                    <a16:creationId xmlns:a16="http://schemas.microsoft.com/office/drawing/2014/main" id="{343D4E5F-2AE0-2B36-0643-3CE73D050D03}"/>
                  </a:ext>
                </a:extLst>
              </p:cNvPr>
              <p:cNvGrpSpPr/>
              <p:nvPr/>
            </p:nvGrpSpPr>
            <p:grpSpPr bwMode="gray">
              <a:xfrm>
                <a:off x="4383976" y="2970180"/>
                <a:ext cx="75723" cy="75628"/>
                <a:chOff x="4383976" y="2970180"/>
                <a:chExt cx="75723" cy="75628"/>
              </a:xfrm>
            </p:grpSpPr>
            <p:sp>
              <p:nvSpPr>
                <p:cNvPr id="12933" name="Freeform: Shape 12932">
                  <a:extLst>
                    <a:ext uri="{FF2B5EF4-FFF2-40B4-BE49-F238E27FC236}">
                      <a16:creationId xmlns:a16="http://schemas.microsoft.com/office/drawing/2014/main" id="{D1129F4D-466E-079E-06EF-483222A1189A}"/>
                    </a:ext>
                  </a:extLst>
                </p:cNvPr>
                <p:cNvSpPr/>
                <p:nvPr/>
              </p:nvSpPr>
              <p:spPr bwMode="gray">
                <a:xfrm>
                  <a:off x="4421790"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34" name="Freeform: Shape 12933">
                  <a:extLst>
                    <a:ext uri="{FF2B5EF4-FFF2-40B4-BE49-F238E27FC236}">
                      <a16:creationId xmlns:a16="http://schemas.microsoft.com/office/drawing/2014/main" id="{D27B17AF-2902-12CB-B0D8-456A1F1E4F52}"/>
                    </a:ext>
                  </a:extLst>
                </p:cNvPr>
                <p:cNvSpPr/>
                <p:nvPr/>
              </p:nvSpPr>
              <p:spPr bwMode="gray">
                <a:xfrm>
                  <a:off x="4383976"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4" name="Graphic 1498">
                <a:extLst>
                  <a:ext uri="{FF2B5EF4-FFF2-40B4-BE49-F238E27FC236}">
                    <a16:creationId xmlns:a16="http://schemas.microsoft.com/office/drawing/2014/main" id="{23BBDBDA-B780-C1CA-CA6C-2FC162B5B1A8}"/>
                  </a:ext>
                </a:extLst>
              </p:cNvPr>
              <p:cNvGrpSpPr/>
              <p:nvPr/>
            </p:nvGrpSpPr>
            <p:grpSpPr bwMode="gray">
              <a:xfrm>
                <a:off x="4353115" y="2926936"/>
                <a:ext cx="75628" cy="75723"/>
                <a:chOff x="4353115" y="2926936"/>
                <a:chExt cx="75628" cy="75723"/>
              </a:xfrm>
            </p:grpSpPr>
            <p:sp>
              <p:nvSpPr>
                <p:cNvPr id="12931" name="Freeform: Shape 12930">
                  <a:extLst>
                    <a:ext uri="{FF2B5EF4-FFF2-40B4-BE49-F238E27FC236}">
                      <a16:creationId xmlns:a16="http://schemas.microsoft.com/office/drawing/2014/main" id="{94B92F88-35C6-87CB-E88C-37AE0532A3EB}"/>
                    </a:ext>
                  </a:extLst>
                </p:cNvPr>
                <p:cNvSpPr/>
                <p:nvPr/>
              </p:nvSpPr>
              <p:spPr bwMode="gray">
                <a:xfrm>
                  <a:off x="4390929"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32" name="Freeform: Shape 12931">
                  <a:extLst>
                    <a:ext uri="{FF2B5EF4-FFF2-40B4-BE49-F238E27FC236}">
                      <a16:creationId xmlns:a16="http://schemas.microsoft.com/office/drawing/2014/main" id="{4F8B6C41-D7E5-735D-4C35-41962B036911}"/>
                    </a:ext>
                  </a:extLst>
                </p:cNvPr>
                <p:cNvSpPr/>
                <p:nvPr/>
              </p:nvSpPr>
              <p:spPr bwMode="gray">
                <a:xfrm>
                  <a:off x="4353115" y="29648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5" name="Graphic 1498">
                <a:extLst>
                  <a:ext uri="{FF2B5EF4-FFF2-40B4-BE49-F238E27FC236}">
                    <a16:creationId xmlns:a16="http://schemas.microsoft.com/office/drawing/2014/main" id="{9714505B-A23E-D88F-45AE-C2EC7B5420D9}"/>
                  </a:ext>
                </a:extLst>
              </p:cNvPr>
              <p:cNvGrpSpPr/>
              <p:nvPr/>
            </p:nvGrpSpPr>
            <p:grpSpPr bwMode="gray">
              <a:xfrm>
                <a:off x="4335399" y="2926936"/>
                <a:ext cx="75723" cy="75723"/>
                <a:chOff x="4335399" y="2926936"/>
                <a:chExt cx="75723" cy="75723"/>
              </a:xfrm>
            </p:grpSpPr>
            <p:sp>
              <p:nvSpPr>
                <p:cNvPr id="12929" name="Freeform: Shape 12928">
                  <a:extLst>
                    <a:ext uri="{FF2B5EF4-FFF2-40B4-BE49-F238E27FC236}">
                      <a16:creationId xmlns:a16="http://schemas.microsoft.com/office/drawing/2014/main" id="{C5755AEA-E3B7-B4B6-368F-CBF32D8437C0}"/>
                    </a:ext>
                  </a:extLst>
                </p:cNvPr>
                <p:cNvSpPr/>
                <p:nvPr/>
              </p:nvSpPr>
              <p:spPr bwMode="gray">
                <a:xfrm>
                  <a:off x="4373213"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30" name="Freeform: Shape 12929">
                  <a:extLst>
                    <a:ext uri="{FF2B5EF4-FFF2-40B4-BE49-F238E27FC236}">
                      <a16:creationId xmlns:a16="http://schemas.microsoft.com/office/drawing/2014/main" id="{2B6DE278-A881-3E6C-26E9-C87E4CF3974A}"/>
                    </a:ext>
                  </a:extLst>
                </p:cNvPr>
                <p:cNvSpPr/>
                <p:nvPr/>
              </p:nvSpPr>
              <p:spPr bwMode="gray">
                <a:xfrm>
                  <a:off x="4335399"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6" name="Graphic 1498">
                <a:extLst>
                  <a:ext uri="{FF2B5EF4-FFF2-40B4-BE49-F238E27FC236}">
                    <a16:creationId xmlns:a16="http://schemas.microsoft.com/office/drawing/2014/main" id="{FE6F94F6-91A2-93F4-89B1-9400BDD8F1E3}"/>
                  </a:ext>
                </a:extLst>
              </p:cNvPr>
              <p:cNvGrpSpPr/>
              <p:nvPr/>
            </p:nvGrpSpPr>
            <p:grpSpPr bwMode="gray">
              <a:xfrm>
                <a:off x="4307395" y="2926936"/>
                <a:ext cx="75723" cy="75723"/>
                <a:chOff x="4307395" y="2926936"/>
                <a:chExt cx="75723" cy="75723"/>
              </a:xfrm>
            </p:grpSpPr>
            <p:sp>
              <p:nvSpPr>
                <p:cNvPr id="12927" name="Freeform: Shape 12926">
                  <a:extLst>
                    <a:ext uri="{FF2B5EF4-FFF2-40B4-BE49-F238E27FC236}">
                      <a16:creationId xmlns:a16="http://schemas.microsoft.com/office/drawing/2014/main" id="{6DE13372-8272-A91B-4DB8-040B98337980}"/>
                    </a:ext>
                  </a:extLst>
                </p:cNvPr>
                <p:cNvSpPr/>
                <p:nvPr/>
              </p:nvSpPr>
              <p:spPr bwMode="gray">
                <a:xfrm>
                  <a:off x="4345305"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28" name="Freeform: Shape 12927">
                  <a:extLst>
                    <a:ext uri="{FF2B5EF4-FFF2-40B4-BE49-F238E27FC236}">
                      <a16:creationId xmlns:a16="http://schemas.microsoft.com/office/drawing/2014/main" id="{6BD36BB8-D112-8578-D99F-6741C82F37FC}"/>
                    </a:ext>
                  </a:extLst>
                </p:cNvPr>
                <p:cNvSpPr/>
                <p:nvPr/>
              </p:nvSpPr>
              <p:spPr bwMode="gray">
                <a:xfrm>
                  <a:off x="4307395"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7" name="Graphic 1498">
                <a:extLst>
                  <a:ext uri="{FF2B5EF4-FFF2-40B4-BE49-F238E27FC236}">
                    <a16:creationId xmlns:a16="http://schemas.microsoft.com/office/drawing/2014/main" id="{FA815F5B-4A5E-DAF6-1FCF-FF0DE27D6538}"/>
                  </a:ext>
                </a:extLst>
              </p:cNvPr>
              <p:cNvGrpSpPr/>
              <p:nvPr/>
            </p:nvGrpSpPr>
            <p:grpSpPr bwMode="gray">
              <a:xfrm>
                <a:off x="4259675" y="2912077"/>
                <a:ext cx="75723" cy="75628"/>
                <a:chOff x="4259675" y="2912077"/>
                <a:chExt cx="75723" cy="75628"/>
              </a:xfrm>
            </p:grpSpPr>
            <p:sp>
              <p:nvSpPr>
                <p:cNvPr id="12925" name="Freeform: Shape 12924">
                  <a:extLst>
                    <a:ext uri="{FF2B5EF4-FFF2-40B4-BE49-F238E27FC236}">
                      <a16:creationId xmlns:a16="http://schemas.microsoft.com/office/drawing/2014/main" id="{6038E72F-F88F-011A-78F3-FE658E01651D}"/>
                    </a:ext>
                  </a:extLst>
                </p:cNvPr>
                <p:cNvSpPr/>
                <p:nvPr/>
              </p:nvSpPr>
              <p:spPr bwMode="gray">
                <a:xfrm>
                  <a:off x="4297584"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26" name="Freeform: Shape 12925">
                  <a:extLst>
                    <a:ext uri="{FF2B5EF4-FFF2-40B4-BE49-F238E27FC236}">
                      <a16:creationId xmlns:a16="http://schemas.microsoft.com/office/drawing/2014/main" id="{1F1787F6-732F-18A2-E973-E6C5E93DAC82}"/>
                    </a:ext>
                  </a:extLst>
                </p:cNvPr>
                <p:cNvSpPr/>
                <p:nvPr/>
              </p:nvSpPr>
              <p:spPr bwMode="gray">
                <a:xfrm>
                  <a:off x="4259675"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8" name="Graphic 1498">
                <a:extLst>
                  <a:ext uri="{FF2B5EF4-FFF2-40B4-BE49-F238E27FC236}">
                    <a16:creationId xmlns:a16="http://schemas.microsoft.com/office/drawing/2014/main" id="{38CA5BEC-0CA8-17E7-334F-24617436B89D}"/>
                  </a:ext>
                </a:extLst>
              </p:cNvPr>
              <p:cNvGrpSpPr/>
              <p:nvPr/>
            </p:nvGrpSpPr>
            <p:grpSpPr bwMode="gray">
              <a:xfrm>
                <a:off x="4238053" y="2912077"/>
                <a:ext cx="75723" cy="75628"/>
                <a:chOff x="4238053" y="2912077"/>
                <a:chExt cx="75723" cy="75628"/>
              </a:xfrm>
            </p:grpSpPr>
            <p:sp>
              <p:nvSpPr>
                <p:cNvPr id="12923" name="Freeform: Shape 12922">
                  <a:extLst>
                    <a:ext uri="{FF2B5EF4-FFF2-40B4-BE49-F238E27FC236}">
                      <a16:creationId xmlns:a16="http://schemas.microsoft.com/office/drawing/2014/main" id="{B3788FE7-5A6B-D1EF-83DF-AFF409EC4861}"/>
                    </a:ext>
                  </a:extLst>
                </p:cNvPr>
                <p:cNvSpPr/>
                <p:nvPr/>
              </p:nvSpPr>
              <p:spPr bwMode="gray">
                <a:xfrm>
                  <a:off x="4275867"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24" name="Freeform: Shape 12923">
                  <a:extLst>
                    <a:ext uri="{FF2B5EF4-FFF2-40B4-BE49-F238E27FC236}">
                      <a16:creationId xmlns:a16="http://schemas.microsoft.com/office/drawing/2014/main" id="{94942B0D-9DF8-995A-9529-ED302553F7A2}"/>
                    </a:ext>
                  </a:extLst>
                </p:cNvPr>
                <p:cNvSpPr/>
                <p:nvPr/>
              </p:nvSpPr>
              <p:spPr bwMode="gray">
                <a:xfrm>
                  <a:off x="4238053"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29" name="Graphic 1498">
                <a:extLst>
                  <a:ext uri="{FF2B5EF4-FFF2-40B4-BE49-F238E27FC236}">
                    <a16:creationId xmlns:a16="http://schemas.microsoft.com/office/drawing/2014/main" id="{47CCB835-7A71-B782-351A-024D63A79039}"/>
                  </a:ext>
                </a:extLst>
              </p:cNvPr>
              <p:cNvGrpSpPr/>
              <p:nvPr/>
            </p:nvGrpSpPr>
            <p:grpSpPr bwMode="gray">
              <a:xfrm>
                <a:off x="4209478" y="2912077"/>
                <a:ext cx="75723" cy="75628"/>
                <a:chOff x="4209478" y="2912077"/>
                <a:chExt cx="75723" cy="75628"/>
              </a:xfrm>
            </p:grpSpPr>
            <p:sp>
              <p:nvSpPr>
                <p:cNvPr id="12921" name="Freeform: Shape 12920">
                  <a:extLst>
                    <a:ext uri="{FF2B5EF4-FFF2-40B4-BE49-F238E27FC236}">
                      <a16:creationId xmlns:a16="http://schemas.microsoft.com/office/drawing/2014/main" id="{DACEBDAE-27CB-CCCB-14D0-5C10F45F86A5}"/>
                    </a:ext>
                  </a:extLst>
                </p:cNvPr>
                <p:cNvSpPr/>
                <p:nvPr/>
              </p:nvSpPr>
              <p:spPr bwMode="gray">
                <a:xfrm>
                  <a:off x="4247292"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22" name="Freeform: Shape 12921">
                  <a:extLst>
                    <a:ext uri="{FF2B5EF4-FFF2-40B4-BE49-F238E27FC236}">
                      <a16:creationId xmlns:a16="http://schemas.microsoft.com/office/drawing/2014/main" id="{8B82815D-EC01-509B-5B18-5514E5517E54}"/>
                    </a:ext>
                  </a:extLst>
                </p:cNvPr>
                <p:cNvSpPr/>
                <p:nvPr/>
              </p:nvSpPr>
              <p:spPr bwMode="gray">
                <a:xfrm>
                  <a:off x="4209478"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0" name="Graphic 1498">
                <a:extLst>
                  <a:ext uri="{FF2B5EF4-FFF2-40B4-BE49-F238E27FC236}">
                    <a16:creationId xmlns:a16="http://schemas.microsoft.com/office/drawing/2014/main" id="{86D968A5-5DC2-2666-9CED-BFCD4B8D6D09}"/>
                  </a:ext>
                </a:extLst>
              </p:cNvPr>
              <p:cNvGrpSpPr/>
              <p:nvPr/>
            </p:nvGrpSpPr>
            <p:grpSpPr bwMode="gray">
              <a:xfrm>
                <a:off x="4171664" y="2896933"/>
                <a:ext cx="75628" cy="75723"/>
                <a:chOff x="4171664" y="2896933"/>
                <a:chExt cx="75628" cy="75723"/>
              </a:xfrm>
            </p:grpSpPr>
            <p:sp>
              <p:nvSpPr>
                <p:cNvPr id="12919" name="Freeform: Shape 12918">
                  <a:extLst>
                    <a:ext uri="{FF2B5EF4-FFF2-40B4-BE49-F238E27FC236}">
                      <a16:creationId xmlns:a16="http://schemas.microsoft.com/office/drawing/2014/main" id="{2F000E0F-70FF-9130-6743-EFC2AAF94749}"/>
                    </a:ext>
                  </a:extLst>
                </p:cNvPr>
                <p:cNvSpPr/>
                <p:nvPr/>
              </p:nvSpPr>
              <p:spPr bwMode="gray">
                <a:xfrm>
                  <a:off x="4209478"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20" name="Freeform: Shape 12919">
                  <a:extLst>
                    <a:ext uri="{FF2B5EF4-FFF2-40B4-BE49-F238E27FC236}">
                      <a16:creationId xmlns:a16="http://schemas.microsoft.com/office/drawing/2014/main" id="{0023AE24-B108-A2C1-F025-DF2876A0D97E}"/>
                    </a:ext>
                  </a:extLst>
                </p:cNvPr>
                <p:cNvSpPr/>
                <p:nvPr/>
              </p:nvSpPr>
              <p:spPr bwMode="gray">
                <a:xfrm>
                  <a:off x="4171664" y="29348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1" name="Graphic 1498">
                <a:extLst>
                  <a:ext uri="{FF2B5EF4-FFF2-40B4-BE49-F238E27FC236}">
                    <a16:creationId xmlns:a16="http://schemas.microsoft.com/office/drawing/2014/main" id="{43E26386-135E-291C-B685-C65B008109E3}"/>
                  </a:ext>
                </a:extLst>
              </p:cNvPr>
              <p:cNvGrpSpPr/>
              <p:nvPr/>
            </p:nvGrpSpPr>
            <p:grpSpPr bwMode="gray">
              <a:xfrm>
                <a:off x="4147661" y="2896933"/>
                <a:ext cx="75723" cy="75723"/>
                <a:chOff x="4147661" y="2896933"/>
                <a:chExt cx="75723" cy="75723"/>
              </a:xfrm>
            </p:grpSpPr>
            <p:sp>
              <p:nvSpPr>
                <p:cNvPr id="12917" name="Freeform: Shape 12916">
                  <a:extLst>
                    <a:ext uri="{FF2B5EF4-FFF2-40B4-BE49-F238E27FC236}">
                      <a16:creationId xmlns:a16="http://schemas.microsoft.com/office/drawing/2014/main" id="{859B1730-D5CC-4414-FFAA-F8C774E173B1}"/>
                    </a:ext>
                  </a:extLst>
                </p:cNvPr>
                <p:cNvSpPr/>
                <p:nvPr/>
              </p:nvSpPr>
              <p:spPr bwMode="gray">
                <a:xfrm>
                  <a:off x="4185475"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18" name="Freeform: Shape 12917">
                  <a:extLst>
                    <a:ext uri="{FF2B5EF4-FFF2-40B4-BE49-F238E27FC236}">
                      <a16:creationId xmlns:a16="http://schemas.microsoft.com/office/drawing/2014/main" id="{2FB24E1A-264F-AFAE-6F70-5323B56FF33B}"/>
                    </a:ext>
                  </a:extLst>
                </p:cNvPr>
                <p:cNvSpPr/>
                <p:nvPr/>
              </p:nvSpPr>
              <p:spPr bwMode="gray">
                <a:xfrm>
                  <a:off x="4147661"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2" name="Graphic 1498">
                <a:extLst>
                  <a:ext uri="{FF2B5EF4-FFF2-40B4-BE49-F238E27FC236}">
                    <a16:creationId xmlns:a16="http://schemas.microsoft.com/office/drawing/2014/main" id="{7ED6AA39-437E-76E5-AC64-CF1EEAF4D3EB}"/>
                  </a:ext>
                </a:extLst>
              </p:cNvPr>
              <p:cNvGrpSpPr/>
              <p:nvPr/>
            </p:nvGrpSpPr>
            <p:grpSpPr bwMode="gray">
              <a:xfrm>
                <a:off x="4133754" y="2896933"/>
                <a:ext cx="75723" cy="75723"/>
                <a:chOff x="4133754" y="2896933"/>
                <a:chExt cx="75723" cy="75723"/>
              </a:xfrm>
            </p:grpSpPr>
            <p:sp>
              <p:nvSpPr>
                <p:cNvPr id="12915" name="Freeform: Shape 12914">
                  <a:extLst>
                    <a:ext uri="{FF2B5EF4-FFF2-40B4-BE49-F238E27FC236}">
                      <a16:creationId xmlns:a16="http://schemas.microsoft.com/office/drawing/2014/main" id="{B08C4097-5DED-D462-C63F-0F83BC9A6615}"/>
                    </a:ext>
                  </a:extLst>
                </p:cNvPr>
                <p:cNvSpPr/>
                <p:nvPr/>
              </p:nvSpPr>
              <p:spPr bwMode="gray">
                <a:xfrm>
                  <a:off x="417166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16" name="Freeform: Shape 12915">
                  <a:extLst>
                    <a:ext uri="{FF2B5EF4-FFF2-40B4-BE49-F238E27FC236}">
                      <a16:creationId xmlns:a16="http://schemas.microsoft.com/office/drawing/2014/main" id="{707A74A2-841D-B680-C010-453659F9EBAD}"/>
                    </a:ext>
                  </a:extLst>
                </p:cNvPr>
                <p:cNvSpPr/>
                <p:nvPr/>
              </p:nvSpPr>
              <p:spPr bwMode="gray">
                <a:xfrm>
                  <a:off x="413375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3" name="Graphic 1498">
                <a:extLst>
                  <a:ext uri="{FF2B5EF4-FFF2-40B4-BE49-F238E27FC236}">
                    <a16:creationId xmlns:a16="http://schemas.microsoft.com/office/drawing/2014/main" id="{66AB871D-BACD-8EDD-19C2-387495BD4D78}"/>
                  </a:ext>
                </a:extLst>
              </p:cNvPr>
              <p:cNvGrpSpPr/>
              <p:nvPr/>
            </p:nvGrpSpPr>
            <p:grpSpPr bwMode="gray">
              <a:xfrm>
                <a:off x="4118514" y="2896933"/>
                <a:ext cx="75723" cy="75723"/>
                <a:chOff x="4118514" y="2896933"/>
                <a:chExt cx="75723" cy="75723"/>
              </a:xfrm>
            </p:grpSpPr>
            <p:sp>
              <p:nvSpPr>
                <p:cNvPr id="12913" name="Freeform: Shape 12912">
                  <a:extLst>
                    <a:ext uri="{FF2B5EF4-FFF2-40B4-BE49-F238E27FC236}">
                      <a16:creationId xmlns:a16="http://schemas.microsoft.com/office/drawing/2014/main" id="{E55937F6-2C63-173E-E862-ABDD35F1DE4C}"/>
                    </a:ext>
                  </a:extLst>
                </p:cNvPr>
                <p:cNvSpPr/>
                <p:nvPr/>
              </p:nvSpPr>
              <p:spPr bwMode="gray">
                <a:xfrm>
                  <a:off x="415642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14" name="Freeform: Shape 12913">
                  <a:extLst>
                    <a:ext uri="{FF2B5EF4-FFF2-40B4-BE49-F238E27FC236}">
                      <a16:creationId xmlns:a16="http://schemas.microsoft.com/office/drawing/2014/main" id="{F8F945F4-8F45-9805-6683-A4B31773D651}"/>
                    </a:ext>
                  </a:extLst>
                </p:cNvPr>
                <p:cNvSpPr/>
                <p:nvPr/>
              </p:nvSpPr>
              <p:spPr bwMode="gray">
                <a:xfrm>
                  <a:off x="411851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4" name="Graphic 1498">
                <a:extLst>
                  <a:ext uri="{FF2B5EF4-FFF2-40B4-BE49-F238E27FC236}">
                    <a16:creationId xmlns:a16="http://schemas.microsoft.com/office/drawing/2014/main" id="{09479870-2356-3A09-B795-AE1C0E2EC800}"/>
                  </a:ext>
                </a:extLst>
              </p:cNvPr>
              <p:cNvGrpSpPr/>
              <p:nvPr/>
            </p:nvGrpSpPr>
            <p:grpSpPr bwMode="gray">
              <a:xfrm>
                <a:off x="4104322" y="2896933"/>
                <a:ext cx="75628" cy="75723"/>
                <a:chOff x="4104322" y="2896933"/>
                <a:chExt cx="75628" cy="75723"/>
              </a:xfrm>
            </p:grpSpPr>
            <p:sp>
              <p:nvSpPr>
                <p:cNvPr id="12911" name="Freeform: Shape 12910">
                  <a:extLst>
                    <a:ext uri="{FF2B5EF4-FFF2-40B4-BE49-F238E27FC236}">
                      <a16:creationId xmlns:a16="http://schemas.microsoft.com/office/drawing/2014/main" id="{AD25096B-F147-15E5-3F70-3312D743869E}"/>
                    </a:ext>
                  </a:extLst>
                </p:cNvPr>
                <p:cNvSpPr/>
                <p:nvPr/>
              </p:nvSpPr>
              <p:spPr bwMode="gray">
                <a:xfrm>
                  <a:off x="4142136"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12" name="Freeform: Shape 12911">
                  <a:extLst>
                    <a:ext uri="{FF2B5EF4-FFF2-40B4-BE49-F238E27FC236}">
                      <a16:creationId xmlns:a16="http://schemas.microsoft.com/office/drawing/2014/main" id="{72A0125E-1C3B-6AA5-8B38-63C3CC472406}"/>
                    </a:ext>
                  </a:extLst>
                </p:cNvPr>
                <p:cNvSpPr/>
                <p:nvPr/>
              </p:nvSpPr>
              <p:spPr bwMode="gray">
                <a:xfrm>
                  <a:off x="4104322" y="29348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5" name="Graphic 1498">
                <a:extLst>
                  <a:ext uri="{FF2B5EF4-FFF2-40B4-BE49-F238E27FC236}">
                    <a16:creationId xmlns:a16="http://schemas.microsoft.com/office/drawing/2014/main" id="{CC4094ED-FC75-375F-5B95-890A974A9E2C}"/>
                  </a:ext>
                </a:extLst>
              </p:cNvPr>
              <p:cNvGrpSpPr/>
              <p:nvPr/>
            </p:nvGrpSpPr>
            <p:grpSpPr bwMode="gray">
              <a:xfrm>
                <a:off x="4050792" y="2889122"/>
                <a:ext cx="75723" cy="75723"/>
                <a:chOff x="4050792" y="2889122"/>
                <a:chExt cx="75723" cy="75723"/>
              </a:xfrm>
            </p:grpSpPr>
            <p:sp>
              <p:nvSpPr>
                <p:cNvPr id="12909" name="Freeform: Shape 12908">
                  <a:extLst>
                    <a:ext uri="{FF2B5EF4-FFF2-40B4-BE49-F238E27FC236}">
                      <a16:creationId xmlns:a16="http://schemas.microsoft.com/office/drawing/2014/main" id="{760802D7-9D6B-EBE0-9E1C-247822E42295}"/>
                    </a:ext>
                  </a:extLst>
                </p:cNvPr>
                <p:cNvSpPr/>
                <p:nvPr/>
              </p:nvSpPr>
              <p:spPr bwMode="gray">
                <a:xfrm>
                  <a:off x="4088606" y="2889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10" name="Freeform: Shape 12909">
                  <a:extLst>
                    <a:ext uri="{FF2B5EF4-FFF2-40B4-BE49-F238E27FC236}">
                      <a16:creationId xmlns:a16="http://schemas.microsoft.com/office/drawing/2014/main" id="{55879B73-0F22-9AD4-1CEA-8EC8BA4B3631}"/>
                    </a:ext>
                  </a:extLst>
                </p:cNvPr>
                <p:cNvSpPr/>
                <p:nvPr/>
              </p:nvSpPr>
              <p:spPr bwMode="gray">
                <a:xfrm>
                  <a:off x="4050792" y="2926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6" name="Graphic 1498">
                <a:extLst>
                  <a:ext uri="{FF2B5EF4-FFF2-40B4-BE49-F238E27FC236}">
                    <a16:creationId xmlns:a16="http://schemas.microsoft.com/office/drawing/2014/main" id="{3602B976-5BF9-2517-FF5D-A7D0604E819E}"/>
                  </a:ext>
                </a:extLst>
              </p:cNvPr>
              <p:cNvGrpSpPr/>
              <p:nvPr/>
            </p:nvGrpSpPr>
            <p:grpSpPr bwMode="gray">
              <a:xfrm>
                <a:off x="4012977" y="2879121"/>
                <a:ext cx="75628" cy="75723"/>
                <a:chOff x="4012977" y="2879121"/>
                <a:chExt cx="75628" cy="75723"/>
              </a:xfrm>
            </p:grpSpPr>
            <p:sp>
              <p:nvSpPr>
                <p:cNvPr id="12907" name="Freeform: Shape 12906">
                  <a:extLst>
                    <a:ext uri="{FF2B5EF4-FFF2-40B4-BE49-F238E27FC236}">
                      <a16:creationId xmlns:a16="http://schemas.microsoft.com/office/drawing/2014/main" id="{C5CDB05A-DD35-9696-E8EE-4FC93A6CFA97}"/>
                    </a:ext>
                  </a:extLst>
                </p:cNvPr>
                <p:cNvSpPr/>
                <p:nvPr/>
              </p:nvSpPr>
              <p:spPr bwMode="gray">
                <a:xfrm>
                  <a:off x="4050792" y="28791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08" name="Freeform: Shape 12907">
                  <a:extLst>
                    <a:ext uri="{FF2B5EF4-FFF2-40B4-BE49-F238E27FC236}">
                      <a16:creationId xmlns:a16="http://schemas.microsoft.com/office/drawing/2014/main" id="{0772A42C-F5B5-D281-9C01-D02F150CFB13}"/>
                    </a:ext>
                  </a:extLst>
                </p:cNvPr>
                <p:cNvSpPr/>
                <p:nvPr/>
              </p:nvSpPr>
              <p:spPr bwMode="gray">
                <a:xfrm>
                  <a:off x="4012977" y="29169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7" name="Graphic 1498">
                <a:extLst>
                  <a:ext uri="{FF2B5EF4-FFF2-40B4-BE49-F238E27FC236}">
                    <a16:creationId xmlns:a16="http://schemas.microsoft.com/office/drawing/2014/main" id="{6F07A2D3-4004-891E-BE39-44CDEEEBC144}"/>
                  </a:ext>
                </a:extLst>
              </p:cNvPr>
              <p:cNvGrpSpPr/>
              <p:nvPr/>
            </p:nvGrpSpPr>
            <p:grpSpPr bwMode="gray">
              <a:xfrm>
                <a:off x="3779234" y="2788729"/>
                <a:ext cx="75723" cy="75723"/>
                <a:chOff x="3779234" y="2788729"/>
                <a:chExt cx="75723" cy="75723"/>
              </a:xfrm>
            </p:grpSpPr>
            <p:sp>
              <p:nvSpPr>
                <p:cNvPr id="12905" name="Freeform: Shape 12904">
                  <a:extLst>
                    <a:ext uri="{FF2B5EF4-FFF2-40B4-BE49-F238E27FC236}">
                      <a16:creationId xmlns:a16="http://schemas.microsoft.com/office/drawing/2014/main" id="{708C2AAF-E5E4-C038-F62C-EFE08B528B71}"/>
                    </a:ext>
                  </a:extLst>
                </p:cNvPr>
                <p:cNvSpPr/>
                <p:nvPr/>
              </p:nvSpPr>
              <p:spPr bwMode="gray">
                <a:xfrm>
                  <a:off x="3817048" y="2788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06" name="Freeform: Shape 12905">
                  <a:extLst>
                    <a:ext uri="{FF2B5EF4-FFF2-40B4-BE49-F238E27FC236}">
                      <a16:creationId xmlns:a16="http://schemas.microsoft.com/office/drawing/2014/main" id="{65FCA4D7-31CD-B951-5946-DCCF9FBC6E26}"/>
                    </a:ext>
                  </a:extLst>
                </p:cNvPr>
                <p:cNvSpPr/>
                <p:nvPr/>
              </p:nvSpPr>
              <p:spPr bwMode="gray">
                <a:xfrm>
                  <a:off x="3779234" y="28265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8" name="Graphic 1498">
                <a:extLst>
                  <a:ext uri="{FF2B5EF4-FFF2-40B4-BE49-F238E27FC236}">
                    <a16:creationId xmlns:a16="http://schemas.microsoft.com/office/drawing/2014/main" id="{09798ED6-E78E-D93D-901B-5B481F82F333}"/>
                  </a:ext>
                </a:extLst>
              </p:cNvPr>
              <p:cNvGrpSpPr/>
              <p:nvPr/>
            </p:nvGrpSpPr>
            <p:grpSpPr bwMode="gray">
              <a:xfrm>
                <a:off x="3464242" y="2727864"/>
                <a:ext cx="75723" cy="75628"/>
                <a:chOff x="3464242" y="2727864"/>
                <a:chExt cx="75723" cy="75628"/>
              </a:xfrm>
            </p:grpSpPr>
            <p:sp>
              <p:nvSpPr>
                <p:cNvPr id="12903" name="Freeform: Shape 12902">
                  <a:extLst>
                    <a:ext uri="{FF2B5EF4-FFF2-40B4-BE49-F238E27FC236}">
                      <a16:creationId xmlns:a16="http://schemas.microsoft.com/office/drawing/2014/main" id="{5E3BF518-5D30-5952-3A25-5792F32D2E97}"/>
                    </a:ext>
                  </a:extLst>
                </p:cNvPr>
                <p:cNvSpPr/>
                <p:nvPr/>
              </p:nvSpPr>
              <p:spPr bwMode="gray">
                <a:xfrm>
                  <a:off x="3502152" y="27278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04" name="Freeform: Shape 12903">
                  <a:extLst>
                    <a:ext uri="{FF2B5EF4-FFF2-40B4-BE49-F238E27FC236}">
                      <a16:creationId xmlns:a16="http://schemas.microsoft.com/office/drawing/2014/main" id="{A5ADBAD4-ED27-7FED-847B-B07A4773956D}"/>
                    </a:ext>
                  </a:extLst>
                </p:cNvPr>
                <p:cNvSpPr/>
                <p:nvPr/>
              </p:nvSpPr>
              <p:spPr bwMode="gray">
                <a:xfrm>
                  <a:off x="3464242" y="27656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39" name="Graphic 1498">
                <a:extLst>
                  <a:ext uri="{FF2B5EF4-FFF2-40B4-BE49-F238E27FC236}">
                    <a16:creationId xmlns:a16="http://schemas.microsoft.com/office/drawing/2014/main" id="{D6F791FD-8212-7A5D-2007-16720F1410C4}"/>
                  </a:ext>
                </a:extLst>
              </p:cNvPr>
              <p:cNvGrpSpPr/>
              <p:nvPr/>
            </p:nvGrpSpPr>
            <p:grpSpPr bwMode="gray">
              <a:xfrm>
                <a:off x="3190589" y="2710433"/>
                <a:ext cx="75628" cy="75628"/>
                <a:chOff x="3190589" y="2710433"/>
                <a:chExt cx="75628" cy="75628"/>
              </a:xfrm>
            </p:grpSpPr>
            <p:sp>
              <p:nvSpPr>
                <p:cNvPr id="12901" name="Freeform: Shape 12900">
                  <a:extLst>
                    <a:ext uri="{FF2B5EF4-FFF2-40B4-BE49-F238E27FC236}">
                      <a16:creationId xmlns:a16="http://schemas.microsoft.com/office/drawing/2014/main" id="{8B14D31B-409E-9F65-0043-1089876E5065}"/>
                    </a:ext>
                  </a:extLst>
                </p:cNvPr>
                <p:cNvSpPr/>
                <p:nvPr/>
              </p:nvSpPr>
              <p:spPr bwMode="gray">
                <a:xfrm>
                  <a:off x="3228403"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02" name="Freeform: Shape 12901">
                  <a:extLst>
                    <a:ext uri="{FF2B5EF4-FFF2-40B4-BE49-F238E27FC236}">
                      <a16:creationId xmlns:a16="http://schemas.microsoft.com/office/drawing/2014/main" id="{E22223E0-D14E-3260-D78E-3D7CB7858DB3}"/>
                    </a:ext>
                  </a:extLst>
                </p:cNvPr>
                <p:cNvSpPr/>
                <p:nvPr/>
              </p:nvSpPr>
              <p:spPr bwMode="gray">
                <a:xfrm>
                  <a:off x="3190589" y="274824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0" name="Graphic 1498">
                <a:extLst>
                  <a:ext uri="{FF2B5EF4-FFF2-40B4-BE49-F238E27FC236}">
                    <a16:creationId xmlns:a16="http://schemas.microsoft.com/office/drawing/2014/main" id="{F32243A0-1B9B-FC7F-4739-AD1376EE6462}"/>
                  </a:ext>
                </a:extLst>
              </p:cNvPr>
              <p:cNvGrpSpPr/>
              <p:nvPr/>
            </p:nvGrpSpPr>
            <p:grpSpPr bwMode="gray">
              <a:xfrm>
                <a:off x="3132201" y="2697479"/>
                <a:ext cx="75628" cy="75628"/>
                <a:chOff x="3132201" y="2697479"/>
                <a:chExt cx="75628" cy="75628"/>
              </a:xfrm>
            </p:grpSpPr>
            <p:sp>
              <p:nvSpPr>
                <p:cNvPr id="12899" name="Freeform: Shape 12898">
                  <a:extLst>
                    <a:ext uri="{FF2B5EF4-FFF2-40B4-BE49-F238E27FC236}">
                      <a16:creationId xmlns:a16="http://schemas.microsoft.com/office/drawing/2014/main" id="{9DACD098-9785-0750-490E-ECCB00FB8B23}"/>
                    </a:ext>
                  </a:extLst>
                </p:cNvPr>
                <p:cNvSpPr/>
                <p:nvPr/>
              </p:nvSpPr>
              <p:spPr bwMode="gray">
                <a:xfrm>
                  <a:off x="3170015"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00" name="Freeform: Shape 12899">
                  <a:extLst>
                    <a:ext uri="{FF2B5EF4-FFF2-40B4-BE49-F238E27FC236}">
                      <a16:creationId xmlns:a16="http://schemas.microsoft.com/office/drawing/2014/main" id="{0175C9A9-7A06-3270-3CF3-526287F2F608}"/>
                    </a:ext>
                  </a:extLst>
                </p:cNvPr>
                <p:cNvSpPr/>
                <p:nvPr/>
              </p:nvSpPr>
              <p:spPr bwMode="gray">
                <a:xfrm>
                  <a:off x="3132201" y="27352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1" name="Graphic 1498">
                <a:extLst>
                  <a:ext uri="{FF2B5EF4-FFF2-40B4-BE49-F238E27FC236}">
                    <a16:creationId xmlns:a16="http://schemas.microsoft.com/office/drawing/2014/main" id="{9C2FE460-BA1D-602D-3C1D-F79155AC8131}"/>
                  </a:ext>
                </a:extLst>
              </p:cNvPr>
              <p:cNvGrpSpPr/>
              <p:nvPr/>
            </p:nvGrpSpPr>
            <p:grpSpPr bwMode="gray">
              <a:xfrm>
                <a:off x="3094291" y="2697479"/>
                <a:ext cx="75723" cy="75628"/>
                <a:chOff x="3094291" y="2697479"/>
                <a:chExt cx="75723" cy="75628"/>
              </a:xfrm>
            </p:grpSpPr>
            <p:sp>
              <p:nvSpPr>
                <p:cNvPr id="12897" name="Freeform: Shape 12896">
                  <a:extLst>
                    <a:ext uri="{FF2B5EF4-FFF2-40B4-BE49-F238E27FC236}">
                      <a16:creationId xmlns:a16="http://schemas.microsoft.com/office/drawing/2014/main" id="{AC94BD31-75F4-18E1-7AEA-EF46C08996CD}"/>
                    </a:ext>
                  </a:extLst>
                </p:cNvPr>
                <p:cNvSpPr/>
                <p:nvPr/>
              </p:nvSpPr>
              <p:spPr bwMode="gray">
                <a:xfrm>
                  <a:off x="3132201"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98" name="Freeform: Shape 12897">
                  <a:extLst>
                    <a:ext uri="{FF2B5EF4-FFF2-40B4-BE49-F238E27FC236}">
                      <a16:creationId xmlns:a16="http://schemas.microsoft.com/office/drawing/2014/main" id="{D14600F7-4D73-DCA0-6F09-F2839C409A08}"/>
                    </a:ext>
                  </a:extLst>
                </p:cNvPr>
                <p:cNvSpPr/>
                <p:nvPr/>
              </p:nvSpPr>
              <p:spPr bwMode="gray">
                <a:xfrm>
                  <a:off x="3094291"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2" name="Graphic 1498">
                <a:extLst>
                  <a:ext uri="{FF2B5EF4-FFF2-40B4-BE49-F238E27FC236}">
                    <a16:creationId xmlns:a16="http://schemas.microsoft.com/office/drawing/2014/main" id="{48465B02-B405-ADD9-F742-CDBFF5AF45ED}"/>
                  </a:ext>
                </a:extLst>
              </p:cNvPr>
              <p:cNvGrpSpPr/>
              <p:nvPr/>
            </p:nvGrpSpPr>
            <p:grpSpPr bwMode="gray">
              <a:xfrm>
                <a:off x="3081528" y="2697479"/>
                <a:ext cx="75723" cy="75628"/>
                <a:chOff x="3081528" y="2697479"/>
                <a:chExt cx="75723" cy="75628"/>
              </a:xfrm>
            </p:grpSpPr>
            <p:sp>
              <p:nvSpPr>
                <p:cNvPr id="12895" name="Freeform: Shape 12894">
                  <a:extLst>
                    <a:ext uri="{FF2B5EF4-FFF2-40B4-BE49-F238E27FC236}">
                      <a16:creationId xmlns:a16="http://schemas.microsoft.com/office/drawing/2014/main" id="{9006BE3F-80AA-7534-B4CE-69293F9B2FFA}"/>
                    </a:ext>
                  </a:extLst>
                </p:cNvPr>
                <p:cNvSpPr/>
                <p:nvPr/>
              </p:nvSpPr>
              <p:spPr bwMode="gray">
                <a:xfrm>
                  <a:off x="3119342"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96" name="Freeform: Shape 12895">
                  <a:extLst>
                    <a:ext uri="{FF2B5EF4-FFF2-40B4-BE49-F238E27FC236}">
                      <a16:creationId xmlns:a16="http://schemas.microsoft.com/office/drawing/2014/main" id="{A6114902-4325-0359-C5CB-5070F79EC655}"/>
                    </a:ext>
                  </a:extLst>
                </p:cNvPr>
                <p:cNvSpPr/>
                <p:nvPr/>
              </p:nvSpPr>
              <p:spPr bwMode="gray">
                <a:xfrm>
                  <a:off x="3081528"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3" name="Graphic 1498">
                <a:extLst>
                  <a:ext uri="{FF2B5EF4-FFF2-40B4-BE49-F238E27FC236}">
                    <a16:creationId xmlns:a16="http://schemas.microsoft.com/office/drawing/2014/main" id="{9429F491-0541-4D05-F431-E3DBD0DBA159}"/>
                  </a:ext>
                </a:extLst>
              </p:cNvPr>
              <p:cNvGrpSpPr/>
              <p:nvPr/>
            </p:nvGrpSpPr>
            <p:grpSpPr bwMode="gray">
              <a:xfrm>
                <a:off x="3052762" y="2681763"/>
                <a:ext cx="75628" cy="75628"/>
                <a:chOff x="3052762" y="2681763"/>
                <a:chExt cx="75628" cy="75628"/>
              </a:xfrm>
            </p:grpSpPr>
            <p:sp>
              <p:nvSpPr>
                <p:cNvPr id="12893" name="Freeform: Shape 12892">
                  <a:extLst>
                    <a:ext uri="{FF2B5EF4-FFF2-40B4-BE49-F238E27FC236}">
                      <a16:creationId xmlns:a16="http://schemas.microsoft.com/office/drawing/2014/main" id="{3BB5A81E-9F71-FFEB-6D23-6C8C41D9C05B}"/>
                    </a:ext>
                  </a:extLst>
                </p:cNvPr>
                <p:cNvSpPr/>
                <p:nvPr/>
              </p:nvSpPr>
              <p:spPr bwMode="gray">
                <a:xfrm>
                  <a:off x="3090576" y="2681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94" name="Freeform: Shape 12893">
                  <a:extLst>
                    <a:ext uri="{FF2B5EF4-FFF2-40B4-BE49-F238E27FC236}">
                      <a16:creationId xmlns:a16="http://schemas.microsoft.com/office/drawing/2014/main" id="{E85E96FB-7195-221C-D289-D47459920BE7}"/>
                    </a:ext>
                  </a:extLst>
                </p:cNvPr>
                <p:cNvSpPr/>
                <p:nvPr/>
              </p:nvSpPr>
              <p:spPr bwMode="gray">
                <a:xfrm>
                  <a:off x="3052762" y="271957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4" name="Graphic 1498">
                <a:extLst>
                  <a:ext uri="{FF2B5EF4-FFF2-40B4-BE49-F238E27FC236}">
                    <a16:creationId xmlns:a16="http://schemas.microsoft.com/office/drawing/2014/main" id="{20EC2ABC-F7A0-1217-2D9D-E4C43FF5A63B}"/>
                  </a:ext>
                </a:extLst>
              </p:cNvPr>
              <p:cNvGrpSpPr/>
              <p:nvPr/>
            </p:nvGrpSpPr>
            <p:grpSpPr bwMode="gray">
              <a:xfrm>
                <a:off x="3038570" y="2665285"/>
                <a:ext cx="75628" cy="75723"/>
                <a:chOff x="3038570" y="2665285"/>
                <a:chExt cx="75628" cy="75723"/>
              </a:xfrm>
            </p:grpSpPr>
            <p:sp>
              <p:nvSpPr>
                <p:cNvPr id="12891" name="Freeform: Shape 12890">
                  <a:extLst>
                    <a:ext uri="{FF2B5EF4-FFF2-40B4-BE49-F238E27FC236}">
                      <a16:creationId xmlns:a16="http://schemas.microsoft.com/office/drawing/2014/main" id="{FD58BE8A-4D9F-D68C-1138-BFEAFED6D4DC}"/>
                    </a:ext>
                  </a:extLst>
                </p:cNvPr>
                <p:cNvSpPr/>
                <p:nvPr/>
              </p:nvSpPr>
              <p:spPr bwMode="gray">
                <a:xfrm>
                  <a:off x="3076384" y="26652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92" name="Freeform: Shape 12891">
                  <a:extLst>
                    <a:ext uri="{FF2B5EF4-FFF2-40B4-BE49-F238E27FC236}">
                      <a16:creationId xmlns:a16="http://schemas.microsoft.com/office/drawing/2014/main" id="{1AF93330-44C4-0451-383D-C91149B91A3B}"/>
                    </a:ext>
                  </a:extLst>
                </p:cNvPr>
                <p:cNvSpPr/>
                <p:nvPr/>
              </p:nvSpPr>
              <p:spPr bwMode="gray">
                <a:xfrm>
                  <a:off x="3038570" y="27030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5" name="Graphic 1498">
                <a:extLst>
                  <a:ext uri="{FF2B5EF4-FFF2-40B4-BE49-F238E27FC236}">
                    <a16:creationId xmlns:a16="http://schemas.microsoft.com/office/drawing/2014/main" id="{3CCEE89F-DDDE-B405-8509-A7BCFB07B0D4}"/>
                  </a:ext>
                </a:extLst>
              </p:cNvPr>
              <p:cNvGrpSpPr/>
              <p:nvPr/>
            </p:nvGrpSpPr>
            <p:grpSpPr bwMode="gray">
              <a:xfrm>
                <a:off x="3163347" y="2710433"/>
                <a:ext cx="75723" cy="75628"/>
                <a:chOff x="3163347" y="2710433"/>
                <a:chExt cx="75723" cy="75628"/>
              </a:xfrm>
            </p:grpSpPr>
            <p:sp>
              <p:nvSpPr>
                <p:cNvPr id="12889" name="Freeform: Shape 12888">
                  <a:extLst>
                    <a:ext uri="{FF2B5EF4-FFF2-40B4-BE49-F238E27FC236}">
                      <a16:creationId xmlns:a16="http://schemas.microsoft.com/office/drawing/2014/main" id="{50DB57FA-1894-957C-DF59-C78722FD460E}"/>
                    </a:ext>
                  </a:extLst>
                </p:cNvPr>
                <p:cNvSpPr/>
                <p:nvPr/>
              </p:nvSpPr>
              <p:spPr bwMode="gray">
                <a:xfrm>
                  <a:off x="3201257"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90" name="Freeform: Shape 12889">
                  <a:extLst>
                    <a:ext uri="{FF2B5EF4-FFF2-40B4-BE49-F238E27FC236}">
                      <a16:creationId xmlns:a16="http://schemas.microsoft.com/office/drawing/2014/main" id="{803B5395-31FA-EFC6-A3B3-4FEABFE69580}"/>
                    </a:ext>
                  </a:extLst>
                </p:cNvPr>
                <p:cNvSpPr/>
                <p:nvPr/>
              </p:nvSpPr>
              <p:spPr bwMode="gray">
                <a:xfrm>
                  <a:off x="3163347" y="2748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6" name="Graphic 1498">
                <a:extLst>
                  <a:ext uri="{FF2B5EF4-FFF2-40B4-BE49-F238E27FC236}">
                    <a16:creationId xmlns:a16="http://schemas.microsoft.com/office/drawing/2014/main" id="{4A5CE899-A619-BC2F-B742-A85871CECBFB}"/>
                  </a:ext>
                </a:extLst>
              </p:cNvPr>
              <p:cNvGrpSpPr/>
              <p:nvPr/>
            </p:nvGrpSpPr>
            <p:grpSpPr bwMode="gray">
              <a:xfrm>
                <a:off x="4746783" y="3101530"/>
                <a:ext cx="75723" cy="75723"/>
                <a:chOff x="4746783" y="3101530"/>
                <a:chExt cx="75723" cy="75723"/>
              </a:xfrm>
            </p:grpSpPr>
            <p:sp>
              <p:nvSpPr>
                <p:cNvPr id="12887" name="Freeform: Shape 12886">
                  <a:extLst>
                    <a:ext uri="{FF2B5EF4-FFF2-40B4-BE49-F238E27FC236}">
                      <a16:creationId xmlns:a16="http://schemas.microsoft.com/office/drawing/2014/main" id="{A85F8763-5DCC-F651-F615-EC07A2CF0694}"/>
                    </a:ext>
                  </a:extLst>
                </p:cNvPr>
                <p:cNvSpPr/>
                <p:nvPr/>
              </p:nvSpPr>
              <p:spPr bwMode="gray">
                <a:xfrm>
                  <a:off x="4784598"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88" name="Freeform: Shape 12887">
                  <a:extLst>
                    <a:ext uri="{FF2B5EF4-FFF2-40B4-BE49-F238E27FC236}">
                      <a16:creationId xmlns:a16="http://schemas.microsoft.com/office/drawing/2014/main" id="{CAAF1580-C4CE-1AF0-116A-B407ED7A30C7}"/>
                    </a:ext>
                  </a:extLst>
                </p:cNvPr>
                <p:cNvSpPr/>
                <p:nvPr/>
              </p:nvSpPr>
              <p:spPr bwMode="gray">
                <a:xfrm>
                  <a:off x="4746783"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7" name="Graphic 1498">
                <a:extLst>
                  <a:ext uri="{FF2B5EF4-FFF2-40B4-BE49-F238E27FC236}">
                    <a16:creationId xmlns:a16="http://schemas.microsoft.com/office/drawing/2014/main" id="{5AB96953-61E1-5090-D005-C7ADDE5BFB14}"/>
                  </a:ext>
                </a:extLst>
              </p:cNvPr>
              <p:cNvGrpSpPr/>
              <p:nvPr/>
            </p:nvGrpSpPr>
            <p:grpSpPr bwMode="gray">
              <a:xfrm>
                <a:off x="4768977" y="3101530"/>
                <a:ext cx="75723" cy="75723"/>
                <a:chOff x="4768977" y="3101530"/>
                <a:chExt cx="75723" cy="75723"/>
              </a:xfrm>
            </p:grpSpPr>
            <p:sp>
              <p:nvSpPr>
                <p:cNvPr id="12885" name="Freeform: Shape 12884">
                  <a:extLst>
                    <a:ext uri="{FF2B5EF4-FFF2-40B4-BE49-F238E27FC236}">
                      <a16:creationId xmlns:a16="http://schemas.microsoft.com/office/drawing/2014/main" id="{B8B44F46-3D08-364E-B9B7-86C8117F266F}"/>
                    </a:ext>
                  </a:extLst>
                </p:cNvPr>
                <p:cNvSpPr/>
                <p:nvPr/>
              </p:nvSpPr>
              <p:spPr bwMode="gray">
                <a:xfrm>
                  <a:off x="4806886"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86" name="Freeform: Shape 12885">
                  <a:extLst>
                    <a:ext uri="{FF2B5EF4-FFF2-40B4-BE49-F238E27FC236}">
                      <a16:creationId xmlns:a16="http://schemas.microsoft.com/office/drawing/2014/main" id="{6DC185FB-3750-9389-F4CB-0407BD29E5F4}"/>
                    </a:ext>
                  </a:extLst>
                </p:cNvPr>
                <p:cNvSpPr/>
                <p:nvPr/>
              </p:nvSpPr>
              <p:spPr bwMode="gray">
                <a:xfrm>
                  <a:off x="4768977"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8" name="Graphic 1498">
                <a:extLst>
                  <a:ext uri="{FF2B5EF4-FFF2-40B4-BE49-F238E27FC236}">
                    <a16:creationId xmlns:a16="http://schemas.microsoft.com/office/drawing/2014/main" id="{7678550C-E0D5-FA36-E772-918A1F1AFB8A}"/>
                  </a:ext>
                </a:extLst>
              </p:cNvPr>
              <p:cNvGrpSpPr/>
              <p:nvPr/>
            </p:nvGrpSpPr>
            <p:grpSpPr bwMode="gray">
              <a:xfrm>
                <a:off x="4788789" y="3101530"/>
                <a:ext cx="75628" cy="75723"/>
                <a:chOff x="4788789" y="3101530"/>
                <a:chExt cx="75628" cy="75723"/>
              </a:xfrm>
            </p:grpSpPr>
            <p:sp>
              <p:nvSpPr>
                <p:cNvPr id="12883" name="Freeform: Shape 12882">
                  <a:extLst>
                    <a:ext uri="{FF2B5EF4-FFF2-40B4-BE49-F238E27FC236}">
                      <a16:creationId xmlns:a16="http://schemas.microsoft.com/office/drawing/2014/main" id="{2F1D7A70-F6F8-8349-7441-A20313750FD1}"/>
                    </a:ext>
                  </a:extLst>
                </p:cNvPr>
                <p:cNvSpPr/>
                <p:nvPr/>
              </p:nvSpPr>
              <p:spPr bwMode="gray">
                <a:xfrm>
                  <a:off x="4826603"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84" name="Freeform: Shape 12883">
                  <a:extLst>
                    <a:ext uri="{FF2B5EF4-FFF2-40B4-BE49-F238E27FC236}">
                      <a16:creationId xmlns:a16="http://schemas.microsoft.com/office/drawing/2014/main" id="{A8D262AA-648B-49E2-E463-E91B68366D67}"/>
                    </a:ext>
                  </a:extLst>
                </p:cNvPr>
                <p:cNvSpPr/>
                <p:nvPr/>
              </p:nvSpPr>
              <p:spPr bwMode="gray">
                <a:xfrm>
                  <a:off x="4788789" y="31394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49" name="Graphic 1498">
                <a:extLst>
                  <a:ext uri="{FF2B5EF4-FFF2-40B4-BE49-F238E27FC236}">
                    <a16:creationId xmlns:a16="http://schemas.microsoft.com/office/drawing/2014/main" id="{509D9E1C-B091-CCC9-FF90-4150A29803CB}"/>
                  </a:ext>
                </a:extLst>
              </p:cNvPr>
              <p:cNvGrpSpPr/>
              <p:nvPr/>
            </p:nvGrpSpPr>
            <p:grpSpPr bwMode="gray">
              <a:xfrm>
                <a:off x="4810982" y="3124580"/>
                <a:ext cx="75723" cy="75723"/>
                <a:chOff x="4810982" y="3124580"/>
                <a:chExt cx="75723" cy="75723"/>
              </a:xfrm>
            </p:grpSpPr>
            <p:sp>
              <p:nvSpPr>
                <p:cNvPr id="12881" name="Freeform: Shape 12880">
                  <a:extLst>
                    <a:ext uri="{FF2B5EF4-FFF2-40B4-BE49-F238E27FC236}">
                      <a16:creationId xmlns:a16="http://schemas.microsoft.com/office/drawing/2014/main" id="{DEEE0B3C-137A-EA0C-7F41-E3431B072F11}"/>
                    </a:ext>
                  </a:extLst>
                </p:cNvPr>
                <p:cNvSpPr/>
                <p:nvPr/>
              </p:nvSpPr>
              <p:spPr bwMode="gray">
                <a:xfrm>
                  <a:off x="4848796" y="3124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82" name="Freeform: Shape 12881">
                  <a:extLst>
                    <a:ext uri="{FF2B5EF4-FFF2-40B4-BE49-F238E27FC236}">
                      <a16:creationId xmlns:a16="http://schemas.microsoft.com/office/drawing/2014/main" id="{1F044A7F-0731-70EB-6997-357BE58FC949}"/>
                    </a:ext>
                  </a:extLst>
                </p:cNvPr>
                <p:cNvSpPr/>
                <p:nvPr/>
              </p:nvSpPr>
              <p:spPr bwMode="gray">
                <a:xfrm>
                  <a:off x="4810982" y="31624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0" name="Graphic 1498">
                <a:extLst>
                  <a:ext uri="{FF2B5EF4-FFF2-40B4-BE49-F238E27FC236}">
                    <a16:creationId xmlns:a16="http://schemas.microsoft.com/office/drawing/2014/main" id="{FB9F2090-0047-5699-3051-C8699B705D66}"/>
                  </a:ext>
                </a:extLst>
              </p:cNvPr>
              <p:cNvGrpSpPr/>
              <p:nvPr/>
            </p:nvGrpSpPr>
            <p:grpSpPr bwMode="gray">
              <a:xfrm>
                <a:off x="5354383" y="3262597"/>
                <a:ext cx="75723" cy="75628"/>
                <a:chOff x="5354383" y="3262597"/>
                <a:chExt cx="75723" cy="75628"/>
              </a:xfrm>
            </p:grpSpPr>
            <p:sp>
              <p:nvSpPr>
                <p:cNvPr id="12879" name="Freeform: Shape 12878">
                  <a:extLst>
                    <a:ext uri="{FF2B5EF4-FFF2-40B4-BE49-F238E27FC236}">
                      <a16:creationId xmlns:a16="http://schemas.microsoft.com/office/drawing/2014/main" id="{8FC801F1-3F15-3641-AA5B-A6365A59E81A}"/>
                    </a:ext>
                  </a:extLst>
                </p:cNvPr>
                <p:cNvSpPr/>
                <p:nvPr/>
              </p:nvSpPr>
              <p:spPr bwMode="gray">
                <a:xfrm>
                  <a:off x="539219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80" name="Freeform: Shape 12879">
                  <a:extLst>
                    <a:ext uri="{FF2B5EF4-FFF2-40B4-BE49-F238E27FC236}">
                      <a16:creationId xmlns:a16="http://schemas.microsoft.com/office/drawing/2014/main" id="{A25B5A1E-8D54-5297-84DC-0D27E6EC6588}"/>
                    </a:ext>
                  </a:extLst>
                </p:cNvPr>
                <p:cNvSpPr/>
                <p:nvPr/>
              </p:nvSpPr>
              <p:spPr bwMode="gray">
                <a:xfrm>
                  <a:off x="5354383"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1" name="Graphic 1498">
                <a:extLst>
                  <a:ext uri="{FF2B5EF4-FFF2-40B4-BE49-F238E27FC236}">
                    <a16:creationId xmlns:a16="http://schemas.microsoft.com/office/drawing/2014/main" id="{7015B261-674B-8A90-DF30-CA6EAF35D139}"/>
                  </a:ext>
                </a:extLst>
              </p:cNvPr>
              <p:cNvGrpSpPr/>
              <p:nvPr/>
            </p:nvGrpSpPr>
            <p:grpSpPr bwMode="gray">
              <a:xfrm>
                <a:off x="5378862" y="3262597"/>
                <a:ext cx="75723" cy="75628"/>
                <a:chOff x="5378862" y="3262597"/>
                <a:chExt cx="75723" cy="75628"/>
              </a:xfrm>
            </p:grpSpPr>
            <p:sp>
              <p:nvSpPr>
                <p:cNvPr id="12877" name="Freeform: Shape 12876">
                  <a:extLst>
                    <a:ext uri="{FF2B5EF4-FFF2-40B4-BE49-F238E27FC236}">
                      <a16:creationId xmlns:a16="http://schemas.microsoft.com/office/drawing/2014/main" id="{AF0E5284-A96C-29E8-5627-0C7499F479DE}"/>
                    </a:ext>
                  </a:extLst>
                </p:cNvPr>
                <p:cNvSpPr/>
                <p:nvPr/>
              </p:nvSpPr>
              <p:spPr bwMode="gray">
                <a:xfrm>
                  <a:off x="541667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78" name="Freeform: Shape 12877">
                  <a:extLst>
                    <a:ext uri="{FF2B5EF4-FFF2-40B4-BE49-F238E27FC236}">
                      <a16:creationId xmlns:a16="http://schemas.microsoft.com/office/drawing/2014/main" id="{0C0FC630-1A7D-2EE7-1197-08AC580C57B9}"/>
                    </a:ext>
                  </a:extLst>
                </p:cNvPr>
                <p:cNvSpPr/>
                <p:nvPr/>
              </p:nvSpPr>
              <p:spPr bwMode="gray">
                <a:xfrm>
                  <a:off x="537886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2" name="Graphic 1498">
                <a:extLst>
                  <a:ext uri="{FF2B5EF4-FFF2-40B4-BE49-F238E27FC236}">
                    <a16:creationId xmlns:a16="http://schemas.microsoft.com/office/drawing/2014/main" id="{3F636178-23D6-36A4-5220-0C87E494214A}"/>
                  </a:ext>
                </a:extLst>
              </p:cNvPr>
              <p:cNvGrpSpPr/>
              <p:nvPr/>
            </p:nvGrpSpPr>
            <p:grpSpPr bwMode="gray">
              <a:xfrm>
                <a:off x="5427821" y="3262597"/>
                <a:ext cx="75723" cy="75628"/>
                <a:chOff x="5427821" y="3262597"/>
                <a:chExt cx="75723" cy="75628"/>
              </a:xfrm>
            </p:grpSpPr>
            <p:sp>
              <p:nvSpPr>
                <p:cNvPr id="12875" name="Freeform: Shape 12874">
                  <a:extLst>
                    <a:ext uri="{FF2B5EF4-FFF2-40B4-BE49-F238E27FC236}">
                      <a16:creationId xmlns:a16="http://schemas.microsoft.com/office/drawing/2014/main" id="{39FBD1FC-55B1-6C4B-738F-3F5339218C1F}"/>
                    </a:ext>
                  </a:extLst>
                </p:cNvPr>
                <p:cNvSpPr/>
                <p:nvPr/>
              </p:nvSpPr>
              <p:spPr bwMode="gray">
                <a:xfrm>
                  <a:off x="5465730"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76" name="Freeform: Shape 12875">
                  <a:extLst>
                    <a:ext uri="{FF2B5EF4-FFF2-40B4-BE49-F238E27FC236}">
                      <a16:creationId xmlns:a16="http://schemas.microsoft.com/office/drawing/2014/main" id="{B23521C3-4EFA-2556-7B0F-E2D41B4D0E86}"/>
                    </a:ext>
                  </a:extLst>
                </p:cNvPr>
                <p:cNvSpPr/>
                <p:nvPr/>
              </p:nvSpPr>
              <p:spPr bwMode="gray">
                <a:xfrm>
                  <a:off x="5427821"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3" name="Graphic 1498">
                <a:extLst>
                  <a:ext uri="{FF2B5EF4-FFF2-40B4-BE49-F238E27FC236}">
                    <a16:creationId xmlns:a16="http://schemas.microsoft.com/office/drawing/2014/main" id="{BF0B99DC-52EE-E82D-58A6-19E73C81EEE8}"/>
                  </a:ext>
                </a:extLst>
              </p:cNvPr>
              <p:cNvGrpSpPr/>
              <p:nvPr/>
            </p:nvGrpSpPr>
            <p:grpSpPr bwMode="gray">
              <a:xfrm>
                <a:off x="5403342" y="3262597"/>
                <a:ext cx="75723" cy="75628"/>
                <a:chOff x="5403342" y="3262597"/>
                <a:chExt cx="75723" cy="75628"/>
              </a:xfrm>
            </p:grpSpPr>
            <p:sp>
              <p:nvSpPr>
                <p:cNvPr id="12873" name="Freeform: Shape 12872">
                  <a:extLst>
                    <a:ext uri="{FF2B5EF4-FFF2-40B4-BE49-F238E27FC236}">
                      <a16:creationId xmlns:a16="http://schemas.microsoft.com/office/drawing/2014/main" id="{C04272F3-11C7-9C1E-22E9-0BF619C91060}"/>
                    </a:ext>
                  </a:extLst>
                </p:cNvPr>
                <p:cNvSpPr/>
                <p:nvPr/>
              </p:nvSpPr>
              <p:spPr bwMode="gray">
                <a:xfrm>
                  <a:off x="5441251"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74" name="Freeform: Shape 12873">
                  <a:extLst>
                    <a:ext uri="{FF2B5EF4-FFF2-40B4-BE49-F238E27FC236}">
                      <a16:creationId xmlns:a16="http://schemas.microsoft.com/office/drawing/2014/main" id="{12FE61E0-B863-C77C-5C66-1E83000962BA}"/>
                    </a:ext>
                  </a:extLst>
                </p:cNvPr>
                <p:cNvSpPr/>
                <p:nvPr/>
              </p:nvSpPr>
              <p:spPr bwMode="gray">
                <a:xfrm>
                  <a:off x="540334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4" name="Graphic 1498">
                <a:extLst>
                  <a:ext uri="{FF2B5EF4-FFF2-40B4-BE49-F238E27FC236}">
                    <a16:creationId xmlns:a16="http://schemas.microsoft.com/office/drawing/2014/main" id="{F1BFDAE7-F949-AB6A-796B-4B38D0AA2779}"/>
                  </a:ext>
                </a:extLst>
              </p:cNvPr>
              <p:cNvGrpSpPr/>
              <p:nvPr/>
            </p:nvGrpSpPr>
            <p:grpSpPr bwMode="gray">
              <a:xfrm>
                <a:off x="5482494" y="3300412"/>
                <a:ext cx="75628" cy="75723"/>
                <a:chOff x="5482494" y="3300412"/>
                <a:chExt cx="75628" cy="75723"/>
              </a:xfrm>
            </p:grpSpPr>
            <p:sp>
              <p:nvSpPr>
                <p:cNvPr id="12871" name="Freeform: Shape 12870">
                  <a:extLst>
                    <a:ext uri="{FF2B5EF4-FFF2-40B4-BE49-F238E27FC236}">
                      <a16:creationId xmlns:a16="http://schemas.microsoft.com/office/drawing/2014/main" id="{CB596289-9D59-422C-55FA-A3AB52056355}"/>
                    </a:ext>
                  </a:extLst>
                </p:cNvPr>
                <p:cNvSpPr/>
                <p:nvPr/>
              </p:nvSpPr>
              <p:spPr bwMode="gray">
                <a:xfrm>
                  <a:off x="5520309"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72" name="Freeform: Shape 12871">
                  <a:extLst>
                    <a:ext uri="{FF2B5EF4-FFF2-40B4-BE49-F238E27FC236}">
                      <a16:creationId xmlns:a16="http://schemas.microsoft.com/office/drawing/2014/main" id="{F9A57823-ED05-A22A-F9C2-E49EC6093607}"/>
                    </a:ext>
                  </a:extLst>
                </p:cNvPr>
                <p:cNvSpPr/>
                <p:nvPr/>
              </p:nvSpPr>
              <p:spPr bwMode="gray">
                <a:xfrm>
                  <a:off x="5482494" y="33382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5" name="Graphic 1498">
                <a:extLst>
                  <a:ext uri="{FF2B5EF4-FFF2-40B4-BE49-F238E27FC236}">
                    <a16:creationId xmlns:a16="http://schemas.microsoft.com/office/drawing/2014/main" id="{6798317C-FB00-E475-10EF-ABC3A5120DD0}"/>
                  </a:ext>
                </a:extLst>
              </p:cNvPr>
              <p:cNvGrpSpPr/>
              <p:nvPr/>
            </p:nvGrpSpPr>
            <p:grpSpPr bwMode="gray">
              <a:xfrm>
                <a:off x="5520309" y="3300412"/>
                <a:ext cx="75723" cy="75723"/>
                <a:chOff x="5520309" y="3300412"/>
                <a:chExt cx="75723" cy="75723"/>
              </a:xfrm>
            </p:grpSpPr>
            <p:sp>
              <p:nvSpPr>
                <p:cNvPr id="12869" name="Freeform: Shape 12868">
                  <a:extLst>
                    <a:ext uri="{FF2B5EF4-FFF2-40B4-BE49-F238E27FC236}">
                      <a16:creationId xmlns:a16="http://schemas.microsoft.com/office/drawing/2014/main" id="{F278BEB0-7579-EDDE-428F-65F11594AC0A}"/>
                    </a:ext>
                  </a:extLst>
                </p:cNvPr>
                <p:cNvSpPr/>
                <p:nvPr/>
              </p:nvSpPr>
              <p:spPr bwMode="gray">
                <a:xfrm>
                  <a:off x="5558123"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70" name="Freeform: Shape 12869">
                  <a:extLst>
                    <a:ext uri="{FF2B5EF4-FFF2-40B4-BE49-F238E27FC236}">
                      <a16:creationId xmlns:a16="http://schemas.microsoft.com/office/drawing/2014/main" id="{E1DB82EF-893D-49E6-F9C8-131BC980B6BC}"/>
                    </a:ext>
                  </a:extLst>
                </p:cNvPr>
                <p:cNvSpPr/>
                <p:nvPr/>
              </p:nvSpPr>
              <p:spPr bwMode="gray">
                <a:xfrm>
                  <a:off x="5520309" y="33382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6" name="Graphic 1498">
                <a:extLst>
                  <a:ext uri="{FF2B5EF4-FFF2-40B4-BE49-F238E27FC236}">
                    <a16:creationId xmlns:a16="http://schemas.microsoft.com/office/drawing/2014/main" id="{98E53926-C4C2-0D3F-83F3-644944F31491}"/>
                  </a:ext>
                </a:extLst>
              </p:cNvPr>
              <p:cNvGrpSpPr/>
              <p:nvPr/>
            </p:nvGrpSpPr>
            <p:grpSpPr bwMode="gray">
              <a:xfrm>
                <a:off x="5533834" y="3311651"/>
                <a:ext cx="75723" cy="75723"/>
                <a:chOff x="5533834" y="3311651"/>
                <a:chExt cx="75723" cy="75723"/>
              </a:xfrm>
            </p:grpSpPr>
            <p:sp>
              <p:nvSpPr>
                <p:cNvPr id="12867" name="Freeform: Shape 12866">
                  <a:extLst>
                    <a:ext uri="{FF2B5EF4-FFF2-40B4-BE49-F238E27FC236}">
                      <a16:creationId xmlns:a16="http://schemas.microsoft.com/office/drawing/2014/main" id="{0D9C39BD-7511-0B30-C03F-39C527AC284E}"/>
                    </a:ext>
                  </a:extLst>
                </p:cNvPr>
                <p:cNvSpPr/>
                <p:nvPr/>
              </p:nvSpPr>
              <p:spPr bwMode="gray">
                <a:xfrm>
                  <a:off x="5571648"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68" name="Freeform: Shape 12867">
                  <a:extLst>
                    <a:ext uri="{FF2B5EF4-FFF2-40B4-BE49-F238E27FC236}">
                      <a16:creationId xmlns:a16="http://schemas.microsoft.com/office/drawing/2014/main" id="{F5289022-2036-6C26-271C-3CB6BBFF7AFE}"/>
                    </a:ext>
                  </a:extLst>
                </p:cNvPr>
                <p:cNvSpPr/>
                <p:nvPr/>
              </p:nvSpPr>
              <p:spPr bwMode="gray">
                <a:xfrm>
                  <a:off x="5533834"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7" name="Graphic 1498">
                <a:extLst>
                  <a:ext uri="{FF2B5EF4-FFF2-40B4-BE49-F238E27FC236}">
                    <a16:creationId xmlns:a16="http://schemas.microsoft.com/office/drawing/2014/main" id="{4B9FB628-ADF5-CF79-C0DC-91F4D8B83528}"/>
                  </a:ext>
                </a:extLst>
              </p:cNvPr>
              <p:cNvGrpSpPr/>
              <p:nvPr/>
            </p:nvGrpSpPr>
            <p:grpSpPr bwMode="gray">
              <a:xfrm>
                <a:off x="5550217" y="3311651"/>
                <a:ext cx="75723" cy="75723"/>
                <a:chOff x="5550217" y="3311651"/>
                <a:chExt cx="75723" cy="75723"/>
              </a:xfrm>
            </p:grpSpPr>
            <p:sp>
              <p:nvSpPr>
                <p:cNvPr id="12865" name="Freeform: Shape 12864">
                  <a:extLst>
                    <a:ext uri="{FF2B5EF4-FFF2-40B4-BE49-F238E27FC236}">
                      <a16:creationId xmlns:a16="http://schemas.microsoft.com/office/drawing/2014/main" id="{99E167A4-BD16-BF9F-D74C-E162EBD27F61}"/>
                    </a:ext>
                  </a:extLst>
                </p:cNvPr>
                <p:cNvSpPr/>
                <p:nvPr/>
              </p:nvSpPr>
              <p:spPr bwMode="gray">
                <a:xfrm>
                  <a:off x="5588127"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66" name="Freeform: Shape 12865">
                  <a:extLst>
                    <a:ext uri="{FF2B5EF4-FFF2-40B4-BE49-F238E27FC236}">
                      <a16:creationId xmlns:a16="http://schemas.microsoft.com/office/drawing/2014/main" id="{CBE6ED4C-8FB6-A729-F046-DAE9171ADF20}"/>
                    </a:ext>
                  </a:extLst>
                </p:cNvPr>
                <p:cNvSpPr/>
                <p:nvPr/>
              </p:nvSpPr>
              <p:spPr bwMode="gray">
                <a:xfrm>
                  <a:off x="5550217"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8" name="Graphic 1498">
                <a:extLst>
                  <a:ext uri="{FF2B5EF4-FFF2-40B4-BE49-F238E27FC236}">
                    <a16:creationId xmlns:a16="http://schemas.microsoft.com/office/drawing/2014/main" id="{93ED4D6E-4E7B-E7DD-416E-42C8CF806B8B}"/>
                  </a:ext>
                </a:extLst>
              </p:cNvPr>
              <p:cNvGrpSpPr/>
              <p:nvPr/>
            </p:nvGrpSpPr>
            <p:grpSpPr bwMode="gray">
              <a:xfrm>
                <a:off x="5608701" y="3311651"/>
                <a:ext cx="75628" cy="75723"/>
                <a:chOff x="5608701" y="3311651"/>
                <a:chExt cx="75628" cy="75723"/>
              </a:xfrm>
            </p:grpSpPr>
            <p:sp>
              <p:nvSpPr>
                <p:cNvPr id="12863" name="Freeform: Shape 12862">
                  <a:extLst>
                    <a:ext uri="{FF2B5EF4-FFF2-40B4-BE49-F238E27FC236}">
                      <a16:creationId xmlns:a16="http://schemas.microsoft.com/office/drawing/2014/main" id="{D039E7DD-71CD-2E87-7780-820282A1A90F}"/>
                    </a:ext>
                  </a:extLst>
                </p:cNvPr>
                <p:cNvSpPr/>
                <p:nvPr/>
              </p:nvSpPr>
              <p:spPr bwMode="gray">
                <a:xfrm>
                  <a:off x="5646515"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64" name="Freeform: Shape 12863">
                  <a:extLst>
                    <a:ext uri="{FF2B5EF4-FFF2-40B4-BE49-F238E27FC236}">
                      <a16:creationId xmlns:a16="http://schemas.microsoft.com/office/drawing/2014/main" id="{A279F18B-2244-7099-8142-2C461B7C0215}"/>
                    </a:ext>
                  </a:extLst>
                </p:cNvPr>
                <p:cNvSpPr/>
                <p:nvPr/>
              </p:nvSpPr>
              <p:spPr bwMode="gray">
                <a:xfrm>
                  <a:off x="5608701" y="33495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59" name="Graphic 1498">
                <a:extLst>
                  <a:ext uri="{FF2B5EF4-FFF2-40B4-BE49-F238E27FC236}">
                    <a16:creationId xmlns:a16="http://schemas.microsoft.com/office/drawing/2014/main" id="{FA3F017B-3D62-A97B-F191-BF8881A11983}"/>
                  </a:ext>
                </a:extLst>
              </p:cNvPr>
              <p:cNvGrpSpPr/>
              <p:nvPr/>
            </p:nvGrpSpPr>
            <p:grpSpPr bwMode="gray">
              <a:xfrm>
                <a:off x="5629275" y="3311651"/>
                <a:ext cx="75723" cy="75723"/>
                <a:chOff x="5629275" y="3311651"/>
                <a:chExt cx="75723" cy="75723"/>
              </a:xfrm>
            </p:grpSpPr>
            <p:sp>
              <p:nvSpPr>
                <p:cNvPr id="12861" name="Freeform: Shape 12860">
                  <a:extLst>
                    <a:ext uri="{FF2B5EF4-FFF2-40B4-BE49-F238E27FC236}">
                      <a16:creationId xmlns:a16="http://schemas.microsoft.com/office/drawing/2014/main" id="{E21E62C2-45D6-AE85-4380-40B1E48ED20B}"/>
                    </a:ext>
                  </a:extLst>
                </p:cNvPr>
                <p:cNvSpPr/>
                <p:nvPr/>
              </p:nvSpPr>
              <p:spPr bwMode="gray">
                <a:xfrm>
                  <a:off x="5667184"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62" name="Freeform: Shape 12861">
                  <a:extLst>
                    <a:ext uri="{FF2B5EF4-FFF2-40B4-BE49-F238E27FC236}">
                      <a16:creationId xmlns:a16="http://schemas.microsoft.com/office/drawing/2014/main" id="{C0EA0E27-00E5-094E-B51B-7C345CD3B8A6}"/>
                    </a:ext>
                  </a:extLst>
                </p:cNvPr>
                <p:cNvSpPr/>
                <p:nvPr/>
              </p:nvSpPr>
              <p:spPr bwMode="gray">
                <a:xfrm>
                  <a:off x="562927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0" name="Graphic 1498">
                <a:extLst>
                  <a:ext uri="{FF2B5EF4-FFF2-40B4-BE49-F238E27FC236}">
                    <a16:creationId xmlns:a16="http://schemas.microsoft.com/office/drawing/2014/main" id="{31E9C322-64B7-F985-C0C8-A3DE880184E5}"/>
                  </a:ext>
                </a:extLst>
              </p:cNvPr>
              <p:cNvGrpSpPr/>
              <p:nvPr/>
            </p:nvGrpSpPr>
            <p:grpSpPr bwMode="gray">
              <a:xfrm>
                <a:off x="5652135" y="3311651"/>
                <a:ext cx="75723" cy="75723"/>
                <a:chOff x="5652135" y="3311651"/>
                <a:chExt cx="75723" cy="75723"/>
              </a:xfrm>
            </p:grpSpPr>
            <p:sp>
              <p:nvSpPr>
                <p:cNvPr id="12859" name="Freeform: Shape 12858">
                  <a:extLst>
                    <a:ext uri="{FF2B5EF4-FFF2-40B4-BE49-F238E27FC236}">
                      <a16:creationId xmlns:a16="http://schemas.microsoft.com/office/drawing/2014/main" id="{B1E04969-3328-DCE1-DAC0-7FE7C9616001}"/>
                    </a:ext>
                  </a:extLst>
                </p:cNvPr>
                <p:cNvSpPr/>
                <p:nvPr/>
              </p:nvSpPr>
              <p:spPr bwMode="gray">
                <a:xfrm>
                  <a:off x="5689949"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60" name="Freeform: Shape 12859">
                  <a:extLst>
                    <a:ext uri="{FF2B5EF4-FFF2-40B4-BE49-F238E27FC236}">
                      <a16:creationId xmlns:a16="http://schemas.microsoft.com/office/drawing/2014/main" id="{ECD2AABC-1755-55F9-AF9E-4EF7964F036B}"/>
                    </a:ext>
                  </a:extLst>
                </p:cNvPr>
                <p:cNvSpPr/>
                <p:nvPr/>
              </p:nvSpPr>
              <p:spPr bwMode="gray">
                <a:xfrm>
                  <a:off x="565213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1" name="Graphic 1498">
                <a:extLst>
                  <a:ext uri="{FF2B5EF4-FFF2-40B4-BE49-F238E27FC236}">
                    <a16:creationId xmlns:a16="http://schemas.microsoft.com/office/drawing/2014/main" id="{4F32DF60-F545-71DD-7497-6FF0AF34AF61}"/>
                  </a:ext>
                </a:extLst>
              </p:cNvPr>
              <p:cNvGrpSpPr/>
              <p:nvPr/>
            </p:nvGrpSpPr>
            <p:grpSpPr bwMode="gray">
              <a:xfrm>
                <a:off x="5662612" y="3311651"/>
                <a:ext cx="75723" cy="75723"/>
                <a:chOff x="5662612" y="3311651"/>
                <a:chExt cx="75723" cy="75723"/>
              </a:xfrm>
            </p:grpSpPr>
            <p:sp>
              <p:nvSpPr>
                <p:cNvPr id="12857" name="Freeform: Shape 12856">
                  <a:extLst>
                    <a:ext uri="{FF2B5EF4-FFF2-40B4-BE49-F238E27FC236}">
                      <a16:creationId xmlns:a16="http://schemas.microsoft.com/office/drawing/2014/main" id="{2681CD57-29E4-2C9C-57AC-128CA162A06A}"/>
                    </a:ext>
                  </a:extLst>
                </p:cNvPr>
                <p:cNvSpPr/>
                <p:nvPr/>
              </p:nvSpPr>
              <p:spPr bwMode="gray">
                <a:xfrm>
                  <a:off x="5700522"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58" name="Freeform: Shape 12857">
                  <a:extLst>
                    <a:ext uri="{FF2B5EF4-FFF2-40B4-BE49-F238E27FC236}">
                      <a16:creationId xmlns:a16="http://schemas.microsoft.com/office/drawing/2014/main" id="{0881EC74-4048-0CE4-068D-D97F902B8475}"/>
                    </a:ext>
                  </a:extLst>
                </p:cNvPr>
                <p:cNvSpPr/>
                <p:nvPr/>
              </p:nvSpPr>
              <p:spPr bwMode="gray">
                <a:xfrm>
                  <a:off x="5662612"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2" name="Graphic 1498">
                <a:extLst>
                  <a:ext uri="{FF2B5EF4-FFF2-40B4-BE49-F238E27FC236}">
                    <a16:creationId xmlns:a16="http://schemas.microsoft.com/office/drawing/2014/main" id="{A4ECA6C2-8405-4A9C-5A89-4AC7DF2B0D51}"/>
                  </a:ext>
                </a:extLst>
              </p:cNvPr>
              <p:cNvGrpSpPr/>
              <p:nvPr/>
            </p:nvGrpSpPr>
            <p:grpSpPr bwMode="gray">
              <a:xfrm>
                <a:off x="5687663" y="3324319"/>
                <a:ext cx="75723" cy="75723"/>
                <a:chOff x="5687663" y="3324319"/>
                <a:chExt cx="75723" cy="75723"/>
              </a:xfrm>
            </p:grpSpPr>
            <p:sp>
              <p:nvSpPr>
                <p:cNvPr id="12855" name="Freeform: Shape 12854">
                  <a:extLst>
                    <a:ext uri="{FF2B5EF4-FFF2-40B4-BE49-F238E27FC236}">
                      <a16:creationId xmlns:a16="http://schemas.microsoft.com/office/drawing/2014/main" id="{38F43CC3-C58F-0E20-292D-56975E092951}"/>
                    </a:ext>
                  </a:extLst>
                </p:cNvPr>
                <p:cNvSpPr/>
                <p:nvPr/>
              </p:nvSpPr>
              <p:spPr bwMode="gray">
                <a:xfrm>
                  <a:off x="5725477"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56" name="Freeform: Shape 12855">
                  <a:extLst>
                    <a:ext uri="{FF2B5EF4-FFF2-40B4-BE49-F238E27FC236}">
                      <a16:creationId xmlns:a16="http://schemas.microsoft.com/office/drawing/2014/main" id="{225D0362-B548-A278-628A-4367544DC3FE}"/>
                    </a:ext>
                  </a:extLst>
                </p:cNvPr>
                <p:cNvSpPr/>
                <p:nvPr/>
              </p:nvSpPr>
              <p:spPr bwMode="gray">
                <a:xfrm>
                  <a:off x="5687663" y="33621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3" name="Graphic 1498">
                <a:extLst>
                  <a:ext uri="{FF2B5EF4-FFF2-40B4-BE49-F238E27FC236}">
                    <a16:creationId xmlns:a16="http://schemas.microsoft.com/office/drawing/2014/main" id="{BE174F45-9271-EA93-536E-A3DA12A6CD57}"/>
                  </a:ext>
                </a:extLst>
              </p:cNvPr>
              <p:cNvGrpSpPr/>
              <p:nvPr/>
            </p:nvGrpSpPr>
            <p:grpSpPr bwMode="gray">
              <a:xfrm>
                <a:off x="5837205" y="3352323"/>
                <a:ext cx="75723" cy="75628"/>
                <a:chOff x="5837205" y="3352323"/>
                <a:chExt cx="75723" cy="75628"/>
              </a:xfrm>
            </p:grpSpPr>
            <p:sp>
              <p:nvSpPr>
                <p:cNvPr id="12853" name="Freeform: Shape 12852">
                  <a:extLst>
                    <a:ext uri="{FF2B5EF4-FFF2-40B4-BE49-F238E27FC236}">
                      <a16:creationId xmlns:a16="http://schemas.microsoft.com/office/drawing/2014/main" id="{84571DEA-3EC5-E606-B8D7-2FB9EC5AF840}"/>
                    </a:ext>
                  </a:extLst>
                </p:cNvPr>
                <p:cNvSpPr/>
                <p:nvPr/>
              </p:nvSpPr>
              <p:spPr bwMode="gray">
                <a:xfrm>
                  <a:off x="5875115"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54" name="Freeform: Shape 12853">
                  <a:extLst>
                    <a:ext uri="{FF2B5EF4-FFF2-40B4-BE49-F238E27FC236}">
                      <a16:creationId xmlns:a16="http://schemas.microsoft.com/office/drawing/2014/main" id="{2CEDE09D-97C7-68D1-06EC-989B0E5D45BD}"/>
                    </a:ext>
                  </a:extLst>
                </p:cNvPr>
                <p:cNvSpPr/>
                <p:nvPr/>
              </p:nvSpPr>
              <p:spPr bwMode="gray">
                <a:xfrm>
                  <a:off x="583720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4" name="Graphic 1498">
                <a:extLst>
                  <a:ext uri="{FF2B5EF4-FFF2-40B4-BE49-F238E27FC236}">
                    <a16:creationId xmlns:a16="http://schemas.microsoft.com/office/drawing/2014/main" id="{BFFFBC00-1665-F533-744B-F394C86B6E4D}"/>
                  </a:ext>
                </a:extLst>
              </p:cNvPr>
              <p:cNvGrpSpPr/>
              <p:nvPr/>
            </p:nvGrpSpPr>
            <p:grpSpPr bwMode="gray">
              <a:xfrm>
                <a:off x="5852445" y="3352323"/>
                <a:ext cx="75723" cy="75628"/>
                <a:chOff x="5852445" y="3352323"/>
                <a:chExt cx="75723" cy="75628"/>
              </a:xfrm>
            </p:grpSpPr>
            <p:sp>
              <p:nvSpPr>
                <p:cNvPr id="12851" name="Freeform: Shape 12850">
                  <a:extLst>
                    <a:ext uri="{FF2B5EF4-FFF2-40B4-BE49-F238E27FC236}">
                      <a16:creationId xmlns:a16="http://schemas.microsoft.com/office/drawing/2014/main" id="{EF4D261A-DE22-0A99-6B8F-97CEB0032B5F}"/>
                    </a:ext>
                  </a:extLst>
                </p:cNvPr>
                <p:cNvSpPr/>
                <p:nvPr/>
              </p:nvSpPr>
              <p:spPr bwMode="gray">
                <a:xfrm>
                  <a:off x="5890260"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52" name="Freeform: Shape 12851">
                  <a:extLst>
                    <a:ext uri="{FF2B5EF4-FFF2-40B4-BE49-F238E27FC236}">
                      <a16:creationId xmlns:a16="http://schemas.microsoft.com/office/drawing/2014/main" id="{DAF29FD0-3C0B-CC1C-A82F-CD39A004DCD2}"/>
                    </a:ext>
                  </a:extLst>
                </p:cNvPr>
                <p:cNvSpPr/>
                <p:nvPr/>
              </p:nvSpPr>
              <p:spPr bwMode="gray">
                <a:xfrm>
                  <a:off x="585244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5" name="Graphic 1498">
                <a:extLst>
                  <a:ext uri="{FF2B5EF4-FFF2-40B4-BE49-F238E27FC236}">
                    <a16:creationId xmlns:a16="http://schemas.microsoft.com/office/drawing/2014/main" id="{5CDCB2F1-C323-08E5-D904-DD62FEDC6820}"/>
                  </a:ext>
                </a:extLst>
              </p:cNvPr>
              <p:cNvGrpSpPr/>
              <p:nvPr/>
            </p:nvGrpSpPr>
            <p:grpSpPr bwMode="gray">
              <a:xfrm>
                <a:off x="5870829" y="3352323"/>
                <a:ext cx="75723" cy="75628"/>
                <a:chOff x="5870829" y="3352323"/>
                <a:chExt cx="75723" cy="75628"/>
              </a:xfrm>
            </p:grpSpPr>
            <p:sp>
              <p:nvSpPr>
                <p:cNvPr id="12849" name="Freeform: Shape 12848">
                  <a:extLst>
                    <a:ext uri="{FF2B5EF4-FFF2-40B4-BE49-F238E27FC236}">
                      <a16:creationId xmlns:a16="http://schemas.microsoft.com/office/drawing/2014/main" id="{FD743B36-47AF-6711-D0A7-01C33BC01F56}"/>
                    </a:ext>
                  </a:extLst>
                </p:cNvPr>
                <p:cNvSpPr/>
                <p:nvPr/>
              </p:nvSpPr>
              <p:spPr bwMode="gray">
                <a:xfrm>
                  <a:off x="5908738"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50" name="Freeform: Shape 12849">
                  <a:extLst>
                    <a:ext uri="{FF2B5EF4-FFF2-40B4-BE49-F238E27FC236}">
                      <a16:creationId xmlns:a16="http://schemas.microsoft.com/office/drawing/2014/main" id="{A7D5F4B7-D1C0-4DB0-2C9B-DA7A8511968F}"/>
                    </a:ext>
                  </a:extLst>
                </p:cNvPr>
                <p:cNvSpPr/>
                <p:nvPr/>
              </p:nvSpPr>
              <p:spPr bwMode="gray">
                <a:xfrm>
                  <a:off x="5870829"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6" name="Graphic 1498">
                <a:extLst>
                  <a:ext uri="{FF2B5EF4-FFF2-40B4-BE49-F238E27FC236}">
                    <a16:creationId xmlns:a16="http://schemas.microsoft.com/office/drawing/2014/main" id="{B2F2A76A-7EB1-A5A9-06BC-B8EA37C0CE88}"/>
                  </a:ext>
                </a:extLst>
              </p:cNvPr>
              <p:cNvGrpSpPr/>
              <p:nvPr/>
            </p:nvGrpSpPr>
            <p:grpSpPr bwMode="gray">
              <a:xfrm>
                <a:off x="5897022" y="3367468"/>
                <a:ext cx="75723" cy="75723"/>
                <a:chOff x="5897022" y="3367468"/>
                <a:chExt cx="75723" cy="75723"/>
              </a:xfrm>
            </p:grpSpPr>
            <p:sp>
              <p:nvSpPr>
                <p:cNvPr id="12847" name="Freeform: Shape 12846">
                  <a:extLst>
                    <a:ext uri="{FF2B5EF4-FFF2-40B4-BE49-F238E27FC236}">
                      <a16:creationId xmlns:a16="http://schemas.microsoft.com/office/drawing/2014/main" id="{4914ABEC-C043-ADD3-13E5-607DF7709649}"/>
                    </a:ext>
                  </a:extLst>
                </p:cNvPr>
                <p:cNvSpPr/>
                <p:nvPr/>
              </p:nvSpPr>
              <p:spPr bwMode="gray">
                <a:xfrm>
                  <a:off x="5934932"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48" name="Freeform: Shape 12847">
                  <a:extLst>
                    <a:ext uri="{FF2B5EF4-FFF2-40B4-BE49-F238E27FC236}">
                      <a16:creationId xmlns:a16="http://schemas.microsoft.com/office/drawing/2014/main" id="{115D5902-3618-A52F-5045-94E0B010075B}"/>
                    </a:ext>
                  </a:extLst>
                </p:cNvPr>
                <p:cNvSpPr/>
                <p:nvPr/>
              </p:nvSpPr>
              <p:spPr bwMode="gray">
                <a:xfrm>
                  <a:off x="5897022"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7" name="Graphic 1498">
                <a:extLst>
                  <a:ext uri="{FF2B5EF4-FFF2-40B4-BE49-F238E27FC236}">
                    <a16:creationId xmlns:a16="http://schemas.microsoft.com/office/drawing/2014/main" id="{27EE7000-65C8-E699-C081-074DD937F4D4}"/>
                  </a:ext>
                </a:extLst>
              </p:cNvPr>
              <p:cNvGrpSpPr/>
              <p:nvPr/>
            </p:nvGrpSpPr>
            <p:grpSpPr bwMode="gray">
              <a:xfrm>
                <a:off x="5910929" y="3367468"/>
                <a:ext cx="75723" cy="75723"/>
                <a:chOff x="5910929" y="3367468"/>
                <a:chExt cx="75723" cy="75723"/>
              </a:xfrm>
            </p:grpSpPr>
            <p:sp>
              <p:nvSpPr>
                <p:cNvPr id="12845" name="Freeform: Shape 12844">
                  <a:extLst>
                    <a:ext uri="{FF2B5EF4-FFF2-40B4-BE49-F238E27FC236}">
                      <a16:creationId xmlns:a16="http://schemas.microsoft.com/office/drawing/2014/main" id="{2277F010-AF3B-C97F-58BA-A6C6544455EA}"/>
                    </a:ext>
                  </a:extLst>
                </p:cNvPr>
                <p:cNvSpPr/>
                <p:nvPr/>
              </p:nvSpPr>
              <p:spPr bwMode="gray">
                <a:xfrm>
                  <a:off x="5948838"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46" name="Freeform: Shape 12845">
                  <a:extLst>
                    <a:ext uri="{FF2B5EF4-FFF2-40B4-BE49-F238E27FC236}">
                      <a16:creationId xmlns:a16="http://schemas.microsoft.com/office/drawing/2014/main" id="{C73B3B1D-0093-BFA6-E400-E8DB93759496}"/>
                    </a:ext>
                  </a:extLst>
                </p:cNvPr>
                <p:cNvSpPr/>
                <p:nvPr/>
              </p:nvSpPr>
              <p:spPr bwMode="gray">
                <a:xfrm>
                  <a:off x="5910929"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8" name="Graphic 1498">
                <a:extLst>
                  <a:ext uri="{FF2B5EF4-FFF2-40B4-BE49-F238E27FC236}">
                    <a16:creationId xmlns:a16="http://schemas.microsoft.com/office/drawing/2014/main" id="{7BBECC17-7FE6-E821-8B71-7A12FF89456F}"/>
                  </a:ext>
                </a:extLst>
              </p:cNvPr>
              <p:cNvGrpSpPr/>
              <p:nvPr/>
            </p:nvGrpSpPr>
            <p:grpSpPr bwMode="gray">
              <a:xfrm>
                <a:off x="5936932" y="3385756"/>
                <a:ext cx="75723" cy="75628"/>
                <a:chOff x="5936932" y="3385756"/>
                <a:chExt cx="75723" cy="75628"/>
              </a:xfrm>
            </p:grpSpPr>
            <p:sp>
              <p:nvSpPr>
                <p:cNvPr id="12843" name="Freeform: Shape 12842">
                  <a:extLst>
                    <a:ext uri="{FF2B5EF4-FFF2-40B4-BE49-F238E27FC236}">
                      <a16:creationId xmlns:a16="http://schemas.microsoft.com/office/drawing/2014/main" id="{9AE5673D-97B6-2E3E-957F-95D30B1D55BB}"/>
                    </a:ext>
                  </a:extLst>
                </p:cNvPr>
                <p:cNvSpPr/>
                <p:nvPr/>
              </p:nvSpPr>
              <p:spPr bwMode="gray">
                <a:xfrm>
                  <a:off x="5974746" y="33857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44" name="Freeform: Shape 12843">
                  <a:extLst>
                    <a:ext uri="{FF2B5EF4-FFF2-40B4-BE49-F238E27FC236}">
                      <a16:creationId xmlns:a16="http://schemas.microsoft.com/office/drawing/2014/main" id="{7AC42867-BEE1-7701-995B-AE213FC4D8B1}"/>
                    </a:ext>
                  </a:extLst>
                </p:cNvPr>
                <p:cNvSpPr/>
                <p:nvPr/>
              </p:nvSpPr>
              <p:spPr bwMode="gray">
                <a:xfrm>
                  <a:off x="5936932"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69" name="Graphic 1498">
                <a:extLst>
                  <a:ext uri="{FF2B5EF4-FFF2-40B4-BE49-F238E27FC236}">
                    <a16:creationId xmlns:a16="http://schemas.microsoft.com/office/drawing/2014/main" id="{33993D8F-E5B7-C4AB-0D1A-2DDDD734CDD2}"/>
                  </a:ext>
                </a:extLst>
              </p:cNvPr>
              <p:cNvGrpSpPr/>
              <p:nvPr/>
            </p:nvGrpSpPr>
            <p:grpSpPr bwMode="gray">
              <a:xfrm>
                <a:off x="5962269" y="3397471"/>
                <a:ext cx="75628" cy="75723"/>
                <a:chOff x="5962269" y="3397471"/>
                <a:chExt cx="75628" cy="75723"/>
              </a:xfrm>
            </p:grpSpPr>
            <p:sp>
              <p:nvSpPr>
                <p:cNvPr id="12841" name="Freeform: Shape 12840">
                  <a:extLst>
                    <a:ext uri="{FF2B5EF4-FFF2-40B4-BE49-F238E27FC236}">
                      <a16:creationId xmlns:a16="http://schemas.microsoft.com/office/drawing/2014/main" id="{BDD87F3A-1F84-B4D5-AFA9-E7FCD9EFCC2F}"/>
                    </a:ext>
                  </a:extLst>
                </p:cNvPr>
                <p:cNvSpPr/>
                <p:nvPr/>
              </p:nvSpPr>
              <p:spPr bwMode="gray">
                <a:xfrm>
                  <a:off x="6000083"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42" name="Freeform: Shape 12841">
                  <a:extLst>
                    <a:ext uri="{FF2B5EF4-FFF2-40B4-BE49-F238E27FC236}">
                      <a16:creationId xmlns:a16="http://schemas.microsoft.com/office/drawing/2014/main" id="{E2129CD4-3621-40FA-D50C-BA658B0A78E4}"/>
                    </a:ext>
                  </a:extLst>
                </p:cNvPr>
                <p:cNvSpPr/>
                <p:nvPr/>
              </p:nvSpPr>
              <p:spPr bwMode="gray">
                <a:xfrm>
                  <a:off x="5962269"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0" name="Graphic 1498">
                <a:extLst>
                  <a:ext uri="{FF2B5EF4-FFF2-40B4-BE49-F238E27FC236}">
                    <a16:creationId xmlns:a16="http://schemas.microsoft.com/office/drawing/2014/main" id="{968F8EF5-D1E0-7F16-75E2-866C3A31B5B8}"/>
                  </a:ext>
                </a:extLst>
              </p:cNvPr>
              <p:cNvGrpSpPr/>
              <p:nvPr/>
            </p:nvGrpSpPr>
            <p:grpSpPr bwMode="gray">
              <a:xfrm>
                <a:off x="5990463" y="3397471"/>
                <a:ext cx="75628" cy="75723"/>
                <a:chOff x="5990463" y="3397471"/>
                <a:chExt cx="75628" cy="75723"/>
              </a:xfrm>
            </p:grpSpPr>
            <p:sp>
              <p:nvSpPr>
                <p:cNvPr id="12839" name="Freeform: Shape 12838">
                  <a:extLst>
                    <a:ext uri="{FF2B5EF4-FFF2-40B4-BE49-F238E27FC236}">
                      <a16:creationId xmlns:a16="http://schemas.microsoft.com/office/drawing/2014/main" id="{8E52992A-BCC1-4895-8B20-20748C5060B1}"/>
                    </a:ext>
                  </a:extLst>
                </p:cNvPr>
                <p:cNvSpPr/>
                <p:nvPr/>
              </p:nvSpPr>
              <p:spPr bwMode="gray">
                <a:xfrm>
                  <a:off x="6028277"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40" name="Freeform: Shape 12839">
                  <a:extLst>
                    <a:ext uri="{FF2B5EF4-FFF2-40B4-BE49-F238E27FC236}">
                      <a16:creationId xmlns:a16="http://schemas.microsoft.com/office/drawing/2014/main" id="{F0477EA8-784F-4AEC-512B-A0A359D31167}"/>
                    </a:ext>
                  </a:extLst>
                </p:cNvPr>
                <p:cNvSpPr/>
                <p:nvPr/>
              </p:nvSpPr>
              <p:spPr bwMode="gray">
                <a:xfrm>
                  <a:off x="5990463"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1" name="Graphic 1498">
                <a:extLst>
                  <a:ext uri="{FF2B5EF4-FFF2-40B4-BE49-F238E27FC236}">
                    <a16:creationId xmlns:a16="http://schemas.microsoft.com/office/drawing/2014/main" id="{153D8035-9D18-62BD-24D2-FAADBC2E3892}"/>
                  </a:ext>
                </a:extLst>
              </p:cNvPr>
              <p:cNvGrpSpPr/>
              <p:nvPr/>
            </p:nvGrpSpPr>
            <p:grpSpPr bwMode="gray">
              <a:xfrm>
                <a:off x="6017990" y="3413283"/>
                <a:ext cx="75723" cy="75723"/>
                <a:chOff x="6017990" y="3413283"/>
                <a:chExt cx="75723" cy="75723"/>
              </a:xfrm>
            </p:grpSpPr>
            <p:sp>
              <p:nvSpPr>
                <p:cNvPr id="12837" name="Freeform: Shape 12836">
                  <a:extLst>
                    <a:ext uri="{FF2B5EF4-FFF2-40B4-BE49-F238E27FC236}">
                      <a16:creationId xmlns:a16="http://schemas.microsoft.com/office/drawing/2014/main" id="{D47D3736-C88C-926A-8555-93E0AD772A9A}"/>
                    </a:ext>
                  </a:extLst>
                </p:cNvPr>
                <p:cNvSpPr/>
                <p:nvPr/>
              </p:nvSpPr>
              <p:spPr bwMode="gray">
                <a:xfrm>
                  <a:off x="6055804" y="34132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38" name="Freeform: Shape 12837">
                  <a:extLst>
                    <a:ext uri="{FF2B5EF4-FFF2-40B4-BE49-F238E27FC236}">
                      <a16:creationId xmlns:a16="http://schemas.microsoft.com/office/drawing/2014/main" id="{16A3D579-4BF3-7011-1623-5CC966278440}"/>
                    </a:ext>
                  </a:extLst>
                </p:cNvPr>
                <p:cNvSpPr/>
                <p:nvPr/>
              </p:nvSpPr>
              <p:spPr bwMode="gray">
                <a:xfrm>
                  <a:off x="6017990" y="34510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2" name="Graphic 1498">
                <a:extLst>
                  <a:ext uri="{FF2B5EF4-FFF2-40B4-BE49-F238E27FC236}">
                    <a16:creationId xmlns:a16="http://schemas.microsoft.com/office/drawing/2014/main" id="{95ED601F-25F0-1B82-7F1D-58730D23CCCA}"/>
                  </a:ext>
                </a:extLst>
              </p:cNvPr>
              <p:cNvGrpSpPr/>
              <p:nvPr/>
            </p:nvGrpSpPr>
            <p:grpSpPr bwMode="gray">
              <a:xfrm>
                <a:off x="6035611" y="3431190"/>
                <a:ext cx="75723" cy="75723"/>
                <a:chOff x="6035611" y="3431190"/>
                <a:chExt cx="75723" cy="75723"/>
              </a:xfrm>
            </p:grpSpPr>
            <p:sp>
              <p:nvSpPr>
                <p:cNvPr id="12835" name="Freeform: Shape 12834">
                  <a:extLst>
                    <a:ext uri="{FF2B5EF4-FFF2-40B4-BE49-F238E27FC236}">
                      <a16:creationId xmlns:a16="http://schemas.microsoft.com/office/drawing/2014/main" id="{99DBBAD4-C870-0147-0813-38DA55774DC6}"/>
                    </a:ext>
                  </a:extLst>
                </p:cNvPr>
                <p:cNvSpPr/>
                <p:nvPr/>
              </p:nvSpPr>
              <p:spPr bwMode="gray">
                <a:xfrm>
                  <a:off x="6073521" y="34311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36" name="Freeform: Shape 12835">
                  <a:extLst>
                    <a:ext uri="{FF2B5EF4-FFF2-40B4-BE49-F238E27FC236}">
                      <a16:creationId xmlns:a16="http://schemas.microsoft.com/office/drawing/2014/main" id="{912AAD94-2074-9B9A-559B-CEA482F73523}"/>
                    </a:ext>
                  </a:extLst>
                </p:cNvPr>
                <p:cNvSpPr/>
                <p:nvPr/>
              </p:nvSpPr>
              <p:spPr bwMode="gray">
                <a:xfrm>
                  <a:off x="6035611" y="34690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3" name="Graphic 1498">
                <a:extLst>
                  <a:ext uri="{FF2B5EF4-FFF2-40B4-BE49-F238E27FC236}">
                    <a16:creationId xmlns:a16="http://schemas.microsoft.com/office/drawing/2014/main" id="{651141F8-38F0-32B5-4219-EDBED31813E3}"/>
                  </a:ext>
                </a:extLst>
              </p:cNvPr>
              <p:cNvGrpSpPr/>
              <p:nvPr/>
            </p:nvGrpSpPr>
            <p:grpSpPr bwMode="gray">
              <a:xfrm>
                <a:off x="6054566" y="3443191"/>
                <a:ext cx="75723" cy="75723"/>
                <a:chOff x="6054566" y="3443191"/>
                <a:chExt cx="75723" cy="75723"/>
              </a:xfrm>
            </p:grpSpPr>
            <p:sp>
              <p:nvSpPr>
                <p:cNvPr id="12833" name="Freeform: Shape 12832">
                  <a:extLst>
                    <a:ext uri="{FF2B5EF4-FFF2-40B4-BE49-F238E27FC236}">
                      <a16:creationId xmlns:a16="http://schemas.microsoft.com/office/drawing/2014/main" id="{5F8CBABB-6277-2C33-5531-2CF66B632F8B}"/>
                    </a:ext>
                  </a:extLst>
                </p:cNvPr>
                <p:cNvSpPr/>
                <p:nvPr/>
              </p:nvSpPr>
              <p:spPr bwMode="gray">
                <a:xfrm>
                  <a:off x="6092475" y="34431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34" name="Freeform: Shape 12833">
                  <a:extLst>
                    <a:ext uri="{FF2B5EF4-FFF2-40B4-BE49-F238E27FC236}">
                      <a16:creationId xmlns:a16="http://schemas.microsoft.com/office/drawing/2014/main" id="{9AF9CDE4-A317-278D-E6B8-F9D529B98F88}"/>
                    </a:ext>
                  </a:extLst>
                </p:cNvPr>
                <p:cNvSpPr/>
                <p:nvPr/>
              </p:nvSpPr>
              <p:spPr bwMode="gray">
                <a:xfrm>
                  <a:off x="6054566" y="3481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4" name="Graphic 1498">
                <a:extLst>
                  <a:ext uri="{FF2B5EF4-FFF2-40B4-BE49-F238E27FC236}">
                    <a16:creationId xmlns:a16="http://schemas.microsoft.com/office/drawing/2014/main" id="{1DD382AD-3299-DF36-C867-A1A1334DD7F9}"/>
                  </a:ext>
                </a:extLst>
              </p:cNvPr>
              <p:cNvGrpSpPr/>
              <p:nvPr/>
            </p:nvGrpSpPr>
            <p:grpSpPr bwMode="gray">
              <a:xfrm>
                <a:off x="6108001" y="3458050"/>
                <a:ext cx="75628" cy="75723"/>
                <a:chOff x="6108001" y="3458050"/>
                <a:chExt cx="75628" cy="75723"/>
              </a:xfrm>
            </p:grpSpPr>
            <p:sp>
              <p:nvSpPr>
                <p:cNvPr id="12831" name="Freeform: Shape 12830">
                  <a:extLst>
                    <a:ext uri="{FF2B5EF4-FFF2-40B4-BE49-F238E27FC236}">
                      <a16:creationId xmlns:a16="http://schemas.microsoft.com/office/drawing/2014/main" id="{8C8D0B83-FA4A-FD83-9FA3-A89A6164CE5A}"/>
                    </a:ext>
                  </a:extLst>
                </p:cNvPr>
                <p:cNvSpPr/>
                <p:nvPr/>
              </p:nvSpPr>
              <p:spPr bwMode="gray">
                <a:xfrm>
                  <a:off x="614581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32" name="Freeform: Shape 12831">
                  <a:extLst>
                    <a:ext uri="{FF2B5EF4-FFF2-40B4-BE49-F238E27FC236}">
                      <a16:creationId xmlns:a16="http://schemas.microsoft.com/office/drawing/2014/main" id="{A2A72A1B-17C3-4D3B-EEC0-02D718517DEC}"/>
                    </a:ext>
                  </a:extLst>
                </p:cNvPr>
                <p:cNvSpPr/>
                <p:nvPr/>
              </p:nvSpPr>
              <p:spPr bwMode="gray">
                <a:xfrm>
                  <a:off x="6108001" y="34959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5" name="Graphic 1498">
                <a:extLst>
                  <a:ext uri="{FF2B5EF4-FFF2-40B4-BE49-F238E27FC236}">
                    <a16:creationId xmlns:a16="http://schemas.microsoft.com/office/drawing/2014/main" id="{A314094E-F82C-A4BF-6744-2D4C0152A086}"/>
                  </a:ext>
                </a:extLst>
              </p:cNvPr>
              <p:cNvGrpSpPr/>
              <p:nvPr/>
            </p:nvGrpSpPr>
            <p:grpSpPr bwMode="gray">
              <a:xfrm>
                <a:off x="6130290" y="3458050"/>
                <a:ext cx="75723" cy="75723"/>
                <a:chOff x="6130290" y="3458050"/>
                <a:chExt cx="75723" cy="75723"/>
              </a:xfrm>
            </p:grpSpPr>
            <p:sp>
              <p:nvSpPr>
                <p:cNvPr id="12829" name="Freeform: Shape 12828">
                  <a:extLst>
                    <a:ext uri="{FF2B5EF4-FFF2-40B4-BE49-F238E27FC236}">
                      <a16:creationId xmlns:a16="http://schemas.microsoft.com/office/drawing/2014/main" id="{DED04E66-AE87-5452-9580-EE3030422D92}"/>
                    </a:ext>
                  </a:extLst>
                </p:cNvPr>
                <p:cNvSpPr/>
                <p:nvPr/>
              </p:nvSpPr>
              <p:spPr bwMode="gray">
                <a:xfrm>
                  <a:off x="616810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30" name="Freeform: Shape 12829">
                  <a:extLst>
                    <a:ext uri="{FF2B5EF4-FFF2-40B4-BE49-F238E27FC236}">
                      <a16:creationId xmlns:a16="http://schemas.microsoft.com/office/drawing/2014/main" id="{A2159C40-3DF4-C3B6-49BD-69D1D283084C}"/>
                    </a:ext>
                  </a:extLst>
                </p:cNvPr>
                <p:cNvSpPr/>
                <p:nvPr/>
              </p:nvSpPr>
              <p:spPr bwMode="gray">
                <a:xfrm>
                  <a:off x="6130290"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6" name="Graphic 1498">
                <a:extLst>
                  <a:ext uri="{FF2B5EF4-FFF2-40B4-BE49-F238E27FC236}">
                    <a16:creationId xmlns:a16="http://schemas.microsoft.com/office/drawing/2014/main" id="{08B6C60E-A1CE-C45D-C338-BD15B7AC735B}"/>
                  </a:ext>
                </a:extLst>
              </p:cNvPr>
              <p:cNvGrpSpPr/>
              <p:nvPr/>
            </p:nvGrpSpPr>
            <p:grpSpPr bwMode="gray">
              <a:xfrm>
                <a:off x="6141624" y="3458050"/>
                <a:ext cx="75723" cy="75723"/>
                <a:chOff x="6141624" y="3458050"/>
                <a:chExt cx="75723" cy="75723"/>
              </a:xfrm>
            </p:grpSpPr>
            <p:sp>
              <p:nvSpPr>
                <p:cNvPr id="12827" name="Freeform: Shape 12826">
                  <a:extLst>
                    <a:ext uri="{FF2B5EF4-FFF2-40B4-BE49-F238E27FC236}">
                      <a16:creationId xmlns:a16="http://schemas.microsoft.com/office/drawing/2014/main" id="{B3AC5B82-BC03-11B8-AB39-82B77C6D0AB9}"/>
                    </a:ext>
                  </a:extLst>
                </p:cNvPr>
                <p:cNvSpPr/>
                <p:nvPr/>
              </p:nvSpPr>
              <p:spPr bwMode="gray">
                <a:xfrm>
                  <a:off x="617953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28" name="Freeform: Shape 12827">
                  <a:extLst>
                    <a:ext uri="{FF2B5EF4-FFF2-40B4-BE49-F238E27FC236}">
                      <a16:creationId xmlns:a16="http://schemas.microsoft.com/office/drawing/2014/main" id="{C1C077AB-2305-55D6-9DDC-6EFDD2AAC361}"/>
                    </a:ext>
                  </a:extLst>
                </p:cNvPr>
                <p:cNvSpPr/>
                <p:nvPr/>
              </p:nvSpPr>
              <p:spPr bwMode="gray">
                <a:xfrm>
                  <a:off x="6141624"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7" name="Graphic 1498">
                <a:extLst>
                  <a:ext uri="{FF2B5EF4-FFF2-40B4-BE49-F238E27FC236}">
                    <a16:creationId xmlns:a16="http://schemas.microsoft.com/office/drawing/2014/main" id="{0FF7B9AC-6D88-D074-20D9-8F5ADFC10B9E}"/>
                  </a:ext>
                </a:extLst>
              </p:cNvPr>
              <p:cNvGrpSpPr/>
              <p:nvPr/>
            </p:nvGrpSpPr>
            <p:grpSpPr bwMode="gray">
              <a:xfrm>
                <a:off x="6152578" y="3458050"/>
                <a:ext cx="75723" cy="75723"/>
                <a:chOff x="6152578" y="3458050"/>
                <a:chExt cx="75723" cy="75723"/>
              </a:xfrm>
            </p:grpSpPr>
            <p:sp>
              <p:nvSpPr>
                <p:cNvPr id="12825" name="Freeform: Shape 12824">
                  <a:extLst>
                    <a:ext uri="{FF2B5EF4-FFF2-40B4-BE49-F238E27FC236}">
                      <a16:creationId xmlns:a16="http://schemas.microsoft.com/office/drawing/2014/main" id="{163905D0-A3DF-CBF0-CD97-789128C24811}"/>
                    </a:ext>
                  </a:extLst>
                </p:cNvPr>
                <p:cNvSpPr/>
                <p:nvPr/>
              </p:nvSpPr>
              <p:spPr bwMode="gray">
                <a:xfrm>
                  <a:off x="6190392"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26" name="Freeform: Shape 12825">
                  <a:extLst>
                    <a:ext uri="{FF2B5EF4-FFF2-40B4-BE49-F238E27FC236}">
                      <a16:creationId xmlns:a16="http://schemas.microsoft.com/office/drawing/2014/main" id="{7F47AD25-B1DB-EB52-B8E7-438195772702}"/>
                    </a:ext>
                  </a:extLst>
                </p:cNvPr>
                <p:cNvSpPr/>
                <p:nvPr/>
              </p:nvSpPr>
              <p:spPr bwMode="gray">
                <a:xfrm>
                  <a:off x="615257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8" name="Graphic 1498">
                <a:extLst>
                  <a:ext uri="{FF2B5EF4-FFF2-40B4-BE49-F238E27FC236}">
                    <a16:creationId xmlns:a16="http://schemas.microsoft.com/office/drawing/2014/main" id="{71D1ECC1-F109-013D-B41A-EF431420E814}"/>
                  </a:ext>
                </a:extLst>
              </p:cNvPr>
              <p:cNvGrpSpPr/>
              <p:nvPr/>
            </p:nvGrpSpPr>
            <p:grpSpPr bwMode="gray">
              <a:xfrm>
                <a:off x="6177248" y="3458050"/>
                <a:ext cx="75723" cy="75723"/>
                <a:chOff x="6177248" y="3458050"/>
                <a:chExt cx="75723" cy="75723"/>
              </a:xfrm>
            </p:grpSpPr>
            <p:sp>
              <p:nvSpPr>
                <p:cNvPr id="12823" name="Freeform: Shape 12822">
                  <a:extLst>
                    <a:ext uri="{FF2B5EF4-FFF2-40B4-BE49-F238E27FC236}">
                      <a16:creationId xmlns:a16="http://schemas.microsoft.com/office/drawing/2014/main" id="{0BF032F5-CC01-9320-CA99-30689290C25A}"/>
                    </a:ext>
                  </a:extLst>
                </p:cNvPr>
                <p:cNvSpPr/>
                <p:nvPr/>
              </p:nvSpPr>
              <p:spPr bwMode="gray">
                <a:xfrm>
                  <a:off x="6215157"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24" name="Freeform: Shape 12823">
                  <a:extLst>
                    <a:ext uri="{FF2B5EF4-FFF2-40B4-BE49-F238E27FC236}">
                      <a16:creationId xmlns:a16="http://schemas.microsoft.com/office/drawing/2014/main" id="{01450DDF-2055-7F9F-7C7A-D1385536A9E6}"/>
                    </a:ext>
                  </a:extLst>
                </p:cNvPr>
                <p:cNvSpPr/>
                <p:nvPr/>
              </p:nvSpPr>
              <p:spPr bwMode="gray">
                <a:xfrm>
                  <a:off x="617724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79" name="Graphic 1498">
                <a:extLst>
                  <a:ext uri="{FF2B5EF4-FFF2-40B4-BE49-F238E27FC236}">
                    <a16:creationId xmlns:a16="http://schemas.microsoft.com/office/drawing/2014/main" id="{D9D355DB-8162-EA72-81E3-2A39C1B3D6F3}"/>
                  </a:ext>
                </a:extLst>
              </p:cNvPr>
              <p:cNvGrpSpPr/>
              <p:nvPr/>
            </p:nvGrpSpPr>
            <p:grpSpPr bwMode="gray">
              <a:xfrm>
                <a:off x="6662166" y="3582637"/>
                <a:ext cx="75628" cy="75628"/>
                <a:chOff x="6662166" y="3582637"/>
                <a:chExt cx="75628" cy="75628"/>
              </a:xfrm>
            </p:grpSpPr>
            <p:sp>
              <p:nvSpPr>
                <p:cNvPr id="12821" name="Freeform: Shape 12820">
                  <a:extLst>
                    <a:ext uri="{FF2B5EF4-FFF2-40B4-BE49-F238E27FC236}">
                      <a16:creationId xmlns:a16="http://schemas.microsoft.com/office/drawing/2014/main" id="{9E3D2B42-C093-3DC9-112F-64D335B3834B}"/>
                    </a:ext>
                  </a:extLst>
                </p:cNvPr>
                <p:cNvSpPr/>
                <p:nvPr/>
              </p:nvSpPr>
              <p:spPr bwMode="gray">
                <a:xfrm>
                  <a:off x="6699980"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22" name="Freeform: Shape 12821">
                  <a:extLst>
                    <a:ext uri="{FF2B5EF4-FFF2-40B4-BE49-F238E27FC236}">
                      <a16:creationId xmlns:a16="http://schemas.microsoft.com/office/drawing/2014/main" id="{C5ED2C40-917A-94A8-395A-EA007AE4444C}"/>
                    </a:ext>
                  </a:extLst>
                </p:cNvPr>
                <p:cNvSpPr/>
                <p:nvPr/>
              </p:nvSpPr>
              <p:spPr bwMode="gray">
                <a:xfrm>
                  <a:off x="6662166"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0" name="Graphic 1498">
                <a:extLst>
                  <a:ext uri="{FF2B5EF4-FFF2-40B4-BE49-F238E27FC236}">
                    <a16:creationId xmlns:a16="http://schemas.microsoft.com/office/drawing/2014/main" id="{8A32D0D5-3001-4361-2083-070411A26D5C}"/>
                  </a:ext>
                </a:extLst>
              </p:cNvPr>
              <p:cNvGrpSpPr/>
              <p:nvPr/>
            </p:nvGrpSpPr>
            <p:grpSpPr bwMode="gray">
              <a:xfrm>
                <a:off x="6668928" y="3582637"/>
                <a:ext cx="75723" cy="75628"/>
                <a:chOff x="6668928" y="3582637"/>
                <a:chExt cx="75723" cy="75628"/>
              </a:xfrm>
            </p:grpSpPr>
            <p:sp>
              <p:nvSpPr>
                <p:cNvPr id="12819" name="Freeform: Shape 12818">
                  <a:extLst>
                    <a:ext uri="{FF2B5EF4-FFF2-40B4-BE49-F238E27FC236}">
                      <a16:creationId xmlns:a16="http://schemas.microsoft.com/office/drawing/2014/main" id="{40F2E7B6-3837-38F0-01F7-F893B9C5F50B}"/>
                    </a:ext>
                  </a:extLst>
                </p:cNvPr>
                <p:cNvSpPr/>
                <p:nvPr/>
              </p:nvSpPr>
              <p:spPr bwMode="gray">
                <a:xfrm>
                  <a:off x="6706838"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20" name="Freeform: Shape 12819">
                  <a:extLst>
                    <a:ext uri="{FF2B5EF4-FFF2-40B4-BE49-F238E27FC236}">
                      <a16:creationId xmlns:a16="http://schemas.microsoft.com/office/drawing/2014/main" id="{F3802AB9-5740-5655-DBBB-1A9F3031D8DB}"/>
                    </a:ext>
                  </a:extLst>
                </p:cNvPr>
                <p:cNvSpPr/>
                <p:nvPr/>
              </p:nvSpPr>
              <p:spPr bwMode="gray">
                <a:xfrm>
                  <a:off x="666892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1" name="Graphic 1498">
                <a:extLst>
                  <a:ext uri="{FF2B5EF4-FFF2-40B4-BE49-F238E27FC236}">
                    <a16:creationId xmlns:a16="http://schemas.microsoft.com/office/drawing/2014/main" id="{28AD414B-AF70-571F-1C41-78B9941B1B6A}"/>
                  </a:ext>
                </a:extLst>
              </p:cNvPr>
              <p:cNvGrpSpPr/>
              <p:nvPr/>
            </p:nvGrpSpPr>
            <p:grpSpPr bwMode="gray">
              <a:xfrm>
                <a:off x="6696741" y="3582637"/>
                <a:ext cx="75723" cy="75628"/>
                <a:chOff x="6696741" y="3582637"/>
                <a:chExt cx="75723" cy="75628"/>
              </a:xfrm>
            </p:grpSpPr>
            <p:sp>
              <p:nvSpPr>
                <p:cNvPr id="12817" name="Freeform: Shape 12816">
                  <a:extLst>
                    <a:ext uri="{FF2B5EF4-FFF2-40B4-BE49-F238E27FC236}">
                      <a16:creationId xmlns:a16="http://schemas.microsoft.com/office/drawing/2014/main" id="{3F7479F8-F7FC-FFEB-3534-C7F969147F2E}"/>
                    </a:ext>
                  </a:extLst>
                </p:cNvPr>
                <p:cNvSpPr/>
                <p:nvPr/>
              </p:nvSpPr>
              <p:spPr bwMode="gray">
                <a:xfrm>
                  <a:off x="6734651"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18" name="Freeform: Shape 12817">
                  <a:extLst>
                    <a:ext uri="{FF2B5EF4-FFF2-40B4-BE49-F238E27FC236}">
                      <a16:creationId xmlns:a16="http://schemas.microsoft.com/office/drawing/2014/main" id="{9824C789-FF1C-1574-28A9-8F8B76212B77}"/>
                    </a:ext>
                  </a:extLst>
                </p:cNvPr>
                <p:cNvSpPr/>
                <p:nvPr/>
              </p:nvSpPr>
              <p:spPr bwMode="gray">
                <a:xfrm>
                  <a:off x="6696741"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2" name="Graphic 1498">
                <a:extLst>
                  <a:ext uri="{FF2B5EF4-FFF2-40B4-BE49-F238E27FC236}">
                    <a16:creationId xmlns:a16="http://schemas.microsoft.com/office/drawing/2014/main" id="{19B0DF46-B0EA-41F4-C81E-92167D170DD6}"/>
                  </a:ext>
                </a:extLst>
              </p:cNvPr>
              <p:cNvGrpSpPr/>
              <p:nvPr/>
            </p:nvGrpSpPr>
            <p:grpSpPr bwMode="gray">
              <a:xfrm>
                <a:off x="6718363" y="3582637"/>
                <a:ext cx="75723" cy="75628"/>
                <a:chOff x="6718363" y="3582637"/>
                <a:chExt cx="75723" cy="75628"/>
              </a:xfrm>
            </p:grpSpPr>
            <p:sp>
              <p:nvSpPr>
                <p:cNvPr id="12815" name="Freeform: Shape 12814">
                  <a:extLst>
                    <a:ext uri="{FF2B5EF4-FFF2-40B4-BE49-F238E27FC236}">
                      <a16:creationId xmlns:a16="http://schemas.microsoft.com/office/drawing/2014/main" id="{E6FFAD4D-1B38-D6DB-600C-91AA9A03FADF}"/>
                    </a:ext>
                  </a:extLst>
                </p:cNvPr>
                <p:cNvSpPr/>
                <p:nvPr/>
              </p:nvSpPr>
              <p:spPr bwMode="gray">
                <a:xfrm>
                  <a:off x="6756177"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16" name="Freeform: Shape 12815">
                  <a:extLst>
                    <a:ext uri="{FF2B5EF4-FFF2-40B4-BE49-F238E27FC236}">
                      <a16:creationId xmlns:a16="http://schemas.microsoft.com/office/drawing/2014/main" id="{5B3D931E-7E43-190C-F1B7-9ABCAD427C7B}"/>
                    </a:ext>
                  </a:extLst>
                </p:cNvPr>
                <p:cNvSpPr/>
                <p:nvPr/>
              </p:nvSpPr>
              <p:spPr bwMode="gray">
                <a:xfrm>
                  <a:off x="6718363"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3" name="Graphic 1498">
                <a:extLst>
                  <a:ext uri="{FF2B5EF4-FFF2-40B4-BE49-F238E27FC236}">
                    <a16:creationId xmlns:a16="http://schemas.microsoft.com/office/drawing/2014/main" id="{84F85BA8-FCDF-64D1-9CDB-2D172CCC1EB9}"/>
                  </a:ext>
                </a:extLst>
              </p:cNvPr>
              <p:cNvGrpSpPr/>
              <p:nvPr/>
            </p:nvGrpSpPr>
            <p:grpSpPr bwMode="gray">
              <a:xfrm>
                <a:off x="6741795" y="3582637"/>
                <a:ext cx="75628" cy="75628"/>
                <a:chOff x="6741795" y="3582637"/>
                <a:chExt cx="75628" cy="75628"/>
              </a:xfrm>
            </p:grpSpPr>
            <p:sp>
              <p:nvSpPr>
                <p:cNvPr id="12813" name="Freeform: Shape 12812">
                  <a:extLst>
                    <a:ext uri="{FF2B5EF4-FFF2-40B4-BE49-F238E27FC236}">
                      <a16:creationId xmlns:a16="http://schemas.microsoft.com/office/drawing/2014/main" id="{234812FD-BF9B-2A2C-2C54-73EAEDDE2FCC}"/>
                    </a:ext>
                  </a:extLst>
                </p:cNvPr>
                <p:cNvSpPr/>
                <p:nvPr/>
              </p:nvSpPr>
              <p:spPr bwMode="gray">
                <a:xfrm>
                  <a:off x="677960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14" name="Freeform: Shape 12813">
                  <a:extLst>
                    <a:ext uri="{FF2B5EF4-FFF2-40B4-BE49-F238E27FC236}">
                      <a16:creationId xmlns:a16="http://schemas.microsoft.com/office/drawing/2014/main" id="{DD025281-8F24-1C6E-7CDA-1345BC4E2D16}"/>
                    </a:ext>
                  </a:extLst>
                </p:cNvPr>
                <p:cNvSpPr/>
                <p:nvPr/>
              </p:nvSpPr>
              <p:spPr bwMode="gray">
                <a:xfrm>
                  <a:off x="6741795" y="3620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4" name="Graphic 1498">
                <a:extLst>
                  <a:ext uri="{FF2B5EF4-FFF2-40B4-BE49-F238E27FC236}">
                    <a16:creationId xmlns:a16="http://schemas.microsoft.com/office/drawing/2014/main" id="{C0A46A62-6F09-2139-B29B-CECEA4D9FF5D}"/>
                  </a:ext>
                </a:extLst>
              </p:cNvPr>
              <p:cNvGrpSpPr/>
              <p:nvPr/>
            </p:nvGrpSpPr>
            <p:grpSpPr bwMode="gray">
              <a:xfrm>
                <a:off x="6772465" y="3582637"/>
                <a:ext cx="75723" cy="75628"/>
                <a:chOff x="6772465" y="3582637"/>
                <a:chExt cx="75723" cy="75628"/>
              </a:xfrm>
            </p:grpSpPr>
            <p:sp>
              <p:nvSpPr>
                <p:cNvPr id="12811" name="Freeform: Shape 12810">
                  <a:extLst>
                    <a:ext uri="{FF2B5EF4-FFF2-40B4-BE49-F238E27FC236}">
                      <a16:creationId xmlns:a16="http://schemas.microsoft.com/office/drawing/2014/main" id="{2FF5DF1D-905C-39C8-C33D-E8FC0480C45E}"/>
                    </a:ext>
                  </a:extLst>
                </p:cNvPr>
                <p:cNvSpPr/>
                <p:nvPr/>
              </p:nvSpPr>
              <p:spPr bwMode="gray">
                <a:xfrm>
                  <a:off x="681027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12" name="Freeform: Shape 12811">
                  <a:extLst>
                    <a:ext uri="{FF2B5EF4-FFF2-40B4-BE49-F238E27FC236}">
                      <a16:creationId xmlns:a16="http://schemas.microsoft.com/office/drawing/2014/main" id="{211A4949-E063-E11B-18A9-D7F309DF7166}"/>
                    </a:ext>
                  </a:extLst>
                </p:cNvPr>
                <p:cNvSpPr/>
                <p:nvPr/>
              </p:nvSpPr>
              <p:spPr bwMode="gray">
                <a:xfrm>
                  <a:off x="6772465"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5" name="Graphic 1498">
                <a:extLst>
                  <a:ext uri="{FF2B5EF4-FFF2-40B4-BE49-F238E27FC236}">
                    <a16:creationId xmlns:a16="http://schemas.microsoft.com/office/drawing/2014/main" id="{1AB1C342-4CE3-C179-CBE6-2D8CF728AD53}"/>
                  </a:ext>
                </a:extLst>
              </p:cNvPr>
              <p:cNvGrpSpPr/>
              <p:nvPr/>
            </p:nvGrpSpPr>
            <p:grpSpPr bwMode="gray">
              <a:xfrm>
                <a:off x="6802755" y="3582637"/>
                <a:ext cx="75628" cy="75628"/>
                <a:chOff x="6802755" y="3582637"/>
                <a:chExt cx="75628" cy="75628"/>
              </a:xfrm>
            </p:grpSpPr>
            <p:sp>
              <p:nvSpPr>
                <p:cNvPr id="12809" name="Freeform: Shape 12808">
                  <a:extLst>
                    <a:ext uri="{FF2B5EF4-FFF2-40B4-BE49-F238E27FC236}">
                      <a16:creationId xmlns:a16="http://schemas.microsoft.com/office/drawing/2014/main" id="{F34BB239-2A3D-0DF8-F510-847E8C5E9B04}"/>
                    </a:ext>
                  </a:extLst>
                </p:cNvPr>
                <p:cNvSpPr/>
                <p:nvPr/>
              </p:nvSpPr>
              <p:spPr bwMode="gray">
                <a:xfrm>
                  <a:off x="684056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10" name="Freeform: Shape 12809">
                  <a:extLst>
                    <a:ext uri="{FF2B5EF4-FFF2-40B4-BE49-F238E27FC236}">
                      <a16:creationId xmlns:a16="http://schemas.microsoft.com/office/drawing/2014/main" id="{96B709B4-6EE2-7ECF-8B22-7C93467B2027}"/>
                    </a:ext>
                  </a:extLst>
                </p:cNvPr>
                <p:cNvSpPr/>
                <p:nvPr/>
              </p:nvSpPr>
              <p:spPr bwMode="gray">
                <a:xfrm>
                  <a:off x="6802755"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6" name="Graphic 1498">
                <a:extLst>
                  <a:ext uri="{FF2B5EF4-FFF2-40B4-BE49-F238E27FC236}">
                    <a16:creationId xmlns:a16="http://schemas.microsoft.com/office/drawing/2014/main" id="{00C6F103-567F-C117-B209-A94B48A287D3}"/>
                  </a:ext>
                </a:extLst>
              </p:cNvPr>
              <p:cNvGrpSpPr/>
              <p:nvPr/>
            </p:nvGrpSpPr>
            <p:grpSpPr bwMode="gray">
              <a:xfrm>
                <a:off x="7077456" y="3653599"/>
                <a:ext cx="75628" cy="75723"/>
                <a:chOff x="7077456" y="3653599"/>
                <a:chExt cx="75628" cy="75723"/>
              </a:xfrm>
            </p:grpSpPr>
            <p:sp>
              <p:nvSpPr>
                <p:cNvPr id="12807" name="Freeform: Shape 12806">
                  <a:extLst>
                    <a:ext uri="{FF2B5EF4-FFF2-40B4-BE49-F238E27FC236}">
                      <a16:creationId xmlns:a16="http://schemas.microsoft.com/office/drawing/2014/main" id="{3C86C9A5-966F-7A70-47D4-823460633DB7}"/>
                    </a:ext>
                  </a:extLst>
                </p:cNvPr>
                <p:cNvSpPr/>
                <p:nvPr/>
              </p:nvSpPr>
              <p:spPr bwMode="gray">
                <a:xfrm>
                  <a:off x="71152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08" name="Freeform: Shape 12807">
                  <a:extLst>
                    <a:ext uri="{FF2B5EF4-FFF2-40B4-BE49-F238E27FC236}">
                      <a16:creationId xmlns:a16="http://schemas.microsoft.com/office/drawing/2014/main" id="{F7E0692B-00A6-1050-17A7-0BAC576020B1}"/>
                    </a:ext>
                  </a:extLst>
                </p:cNvPr>
                <p:cNvSpPr/>
                <p:nvPr/>
              </p:nvSpPr>
              <p:spPr bwMode="gray">
                <a:xfrm>
                  <a:off x="7077456"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7" name="Graphic 1498">
                <a:extLst>
                  <a:ext uri="{FF2B5EF4-FFF2-40B4-BE49-F238E27FC236}">
                    <a16:creationId xmlns:a16="http://schemas.microsoft.com/office/drawing/2014/main" id="{F04B5F16-D300-8713-2236-35F9ABD6C5F2}"/>
                  </a:ext>
                </a:extLst>
              </p:cNvPr>
              <p:cNvGrpSpPr/>
              <p:nvPr/>
            </p:nvGrpSpPr>
            <p:grpSpPr bwMode="gray">
              <a:xfrm>
                <a:off x="7096220" y="3653599"/>
                <a:ext cx="75723" cy="75723"/>
                <a:chOff x="7096220" y="3653599"/>
                <a:chExt cx="75723" cy="75723"/>
              </a:xfrm>
            </p:grpSpPr>
            <p:sp>
              <p:nvSpPr>
                <p:cNvPr id="12805" name="Freeform: Shape 12804">
                  <a:extLst>
                    <a:ext uri="{FF2B5EF4-FFF2-40B4-BE49-F238E27FC236}">
                      <a16:creationId xmlns:a16="http://schemas.microsoft.com/office/drawing/2014/main" id="{D7F185CD-025E-B1B3-41F8-B26F3AD0D1C6}"/>
                    </a:ext>
                  </a:extLst>
                </p:cNvPr>
                <p:cNvSpPr/>
                <p:nvPr/>
              </p:nvSpPr>
              <p:spPr bwMode="gray">
                <a:xfrm>
                  <a:off x="713403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06" name="Freeform: Shape 12805">
                  <a:extLst>
                    <a:ext uri="{FF2B5EF4-FFF2-40B4-BE49-F238E27FC236}">
                      <a16:creationId xmlns:a16="http://schemas.microsoft.com/office/drawing/2014/main" id="{C3DA2280-5BF5-17F8-A04C-8FE46EB67525}"/>
                    </a:ext>
                  </a:extLst>
                </p:cNvPr>
                <p:cNvSpPr/>
                <p:nvPr/>
              </p:nvSpPr>
              <p:spPr bwMode="gray">
                <a:xfrm>
                  <a:off x="7096220"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8" name="Graphic 1498">
                <a:extLst>
                  <a:ext uri="{FF2B5EF4-FFF2-40B4-BE49-F238E27FC236}">
                    <a16:creationId xmlns:a16="http://schemas.microsoft.com/office/drawing/2014/main" id="{CB1C74A3-2975-F228-E713-B3FA68723F46}"/>
                  </a:ext>
                </a:extLst>
              </p:cNvPr>
              <p:cNvGrpSpPr/>
              <p:nvPr/>
            </p:nvGrpSpPr>
            <p:grpSpPr bwMode="gray">
              <a:xfrm>
                <a:off x="7108412" y="3653599"/>
                <a:ext cx="75723" cy="75723"/>
                <a:chOff x="7108412" y="3653599"/>
                <a:chExt cx="75723" cy="75723"/>
              </a:xfrm>
            </p:grpSpPr>
            <p:sp>
              <p:nvSpPr>
                <p:cNvPr id="12803" name="Freeform: Shape 12802">
                  <a:extLst>
                    <a:ext uri="{FF2B5EF4-FFF2-40B4-BE49-F238E27FC236}">
                      <a16:creationId xmlns:a16="http://schemas.microsoft.com/office/drawing/2014/main" id="{F8738895-7BA4-D951-5A97-9DA0874BB3FB}"/>
                    </a:ext>
                  </a:extLst>
                </p:cNvPr>
                <p:cNvSpPr/>
                <p:nvPr/>
              </p:nvSpPr>
              <p:spPr bwMode="gray">
                <a:xfrm>
                  <a:off x="7146321"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04" name="Freeform: Shape 12803">
                  <a:extLst>
                    <a:ext uri="{FF2B5EF4-FFF2-40B4-BE49-F238E27FC236}">
                      <a16:creationId xmlns:a16="http://schemas.microsoft.com/office/drawing/2014/main" id="{19318A42-2465-7704-325E-0EE2C2D4EABF}"/>
                    </a:ext>
                  </a:extLst>
                </p:cNvPr>
                <p:cNvSpPr/>
                <p:nvPr/>
              </p:nvSpPr>
              <p:spPr bwMode="gray">
                <a:xfrm>
                  <a:off x="7108412"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89" name="Graphic 1498">
                <a:extLst>
                  <a:ext uri="{FF2B5EF4-FFF2-40B4-BE49-F238E27FC236}">
                    <a16:creationId xmlns:a16="http://schemas.microsoft.com/office/drawing/2014/main" id="{AB6604BF-839E-06BF-68E9-9E3B46A13B05}"/>
                  </a:ext>
                </a:extLst>
              </p:cNvPr>
              <p:cNvGrpSpPr/>
              <p:nvPr/>
            </p:nvGrpSpPr>
            <p:grpSpPr bwMode="gray">
              <a:xfrm>
                <a:off x="7157561" y="3653599"/>
                <a:ext cx="75723" cy="75723"/>
                <a:chOff x="7157561" y="3653599"/>
                <a:chExt cx="75723" cy="75723"/>
              </a:xfrm>
            </p:grpSpPr>
            <p:sp>
              <p:nvSpPr>
                <p:cNvPr id="12801" name="Freeform: Shape 12800">
                  <a:extLst>
                    <a:ext uri="{FF2B5EF4-FFF2-40B4-BE49-F238E27FC236}">
                      <a16:creationId xmlns:a16="http://schemas.microsoft.com/office/drawing/2014/main" id="{5BCB7E98-5B11-1AE2-6C54-284BF89F01C7}"/>
                    </a:ext>
                  </a:extLst>
                </p:cNvPr>
                <p:cNvSpPr/>
                <p:nvPr/>
              </p:nvSpPr>
              <p:spPr bwMode="gray">
                <a:xfrm>
                  <a:off x="71954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02" name="Freeform: Shape 12801">
                  <a:extLst>
                    <a:ext uri="{FF2B5EF4-FFF2-40B4-BE49-F238E27FC236}">
                      <a16:creationId xmlns:a16="http://schemas.microsoft.com/office/drawing/2014/main" id="{4E120656-54BF-077D-82CA-28439D355635}"/>
                    </a:ext>
                  </a:extLst>
                </p:cNvPr>
                <p:cNvSpPr/>
                <p:nvPr/>
              </p:nvSpPr>
              <p:spPr bwMode="gray">
                <a:xfrm>
                  <a:off x="7157561"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0" name="Graphic 1498">
                <a:extLst>
                  <a:ext uri="{FF2B5EF4-FFF2-40B4-BE49-F238E27FC236}">
                    <a16:creationId xmlns:a16="http://schemas.microsoft.com/office/drawing/2014/main" id="{C1768C0E-0366-70EA-DF7A-638CC2E23C24}"/>
                  </a:ext>
                </a:extLst>
              </p:cNvPr>
              <p:cNvGrpSpPr/>
              <p:nvPr/>
            </p:nvGrpSpPr>
            <p:grpSpPr bwMode="gray">
              <a:xfrm>
                <a:off x="7169753" y="3653599"/>
                <a:ext cx="75723" cy="75723"/>
                <a:chOff x="7169753" y="3653599"/>
                <a:chExt cx="75723" cy="75723"/>
              </a:xfrm>
            </p:grpSpPr>
            <p:sp>
              <p:nvSpPr>
                <p:cNvPr id="12799" name="Freeform: Shape 12798">
                  <a:extLst>
                    <a:ext uri="{FF2B5EF4-FFF2-40B4-BE49-F238E27FC236}">
                      <a16:creationId xmlns:a16="http://schemas.microsoft.com/office/drawing/2014/main" id="{0A92C9F2-2554-EE56-E01B-CF80C3E73E57}"/>
                    </a:ext>
                  </a:extLst>
                </p:cNvPr>
                <p:cNvSpPr/>
                <p:nvPr/>
              </p:nvSpPr>
              <p:spPr bwMode="gray">
                <a:xfrm>
                  <a:off x="7207662"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00" name="Freeform: Shape 12799">
                  <a:extLst>
                    <a:ext uri="{FF2B5EF4-FFF2-40B4-BE49-F238E27FC236}">
                      <a16:creationId xmlns:a16="http://schemas.microsoft.com/office/drawing/2014/main" id="{84897860-D973-7E88-2A73-620B3EB1845D}"/>
                    </a:ext>
                  </a:extLst>
                </p:cNvPr>
                <p:cNvSpPr/>
                <p:nvPr/>
              </p:nvSpPr>
              <p:spPr bwMode="gray">
                <a:xfrm>
                  <a:off x="7169753"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1" name="Graphic 1498">
                <a:extLst>
                  <a:ext uri="{FF2B5EF4-FFF2-40B4-BE49-F238E27FC236}">
                    <a16:creationId xmlns:a16="http://schemas.microsoft.com/office/drawing/2014/main" id="{08520E62-EDBE-9B08-2B62-904A6EB04259}"/>
                  </a:ext>
                </a:extLst>
              </p:cNvPr>
              <p:cNvGrpSpPr/>
              <p:nvPr/>
            </p:nvGrpSpPr>
            <p:grpSpPr bwMode="gray">
              <a:xfrm>
                <a:off x="7219854" y="3653599"/>
                <a:ext cx="75723" cy="75723"/>
                <a:chOff x="7219854" y="3653599"/>
                <a:chExt cx="75723" cy="75723"/>
              </a:xfrm>
            </p:grpSpPr>
            <p:sp>
              <p:nvSpPr>
                <p:cNvPr id="12797" name="Freeform: Shape 12796">
                  <a:extLst>
                    <a:ext uri="{FF2B5EF4-FFF2-40B4-BE49-F238E27FC236}">
                      <a16:creationId xmlns:a16="http://schemas.microsoft.com/office/drawing/2014/main" id="{AC92D8F7-E3A4-18A7-A97B-E0D7E1355205}"/>
                    </a:ext>
                  </a:extLst>
                </p:cNvPr>
                <p:cNvSpPr/>
                <p:nvPr/>
              </p:nvSpPr>
              <p:spPr bwMode="gray">
                <a:xfrm>
                  <a:off x="725776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98" name="Freeform: Shape 12797">
                  <a:extLst>
                    <a:ext uri="{FF2B5EF4-FFF2-40B4-BE49-F238E27FC236}">
                      <a16:creationId xmlns:a16="http://schemas.microsoft.com/office/drawing/2014/main" id="{8D06C411-C27B-E954-40A0-A8D6731C0E50}"/>
                    </a:ext>
                  </a:extLst>
                </p:cNvPr>
                <p:cNvSpPr/>
                <p:nvPr/>
              </p:nvSpPr>
              <p:spPr bwMode="gray">
                <a:xfrm>
                  <a:off x="7219854"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2" name="Graphic 1498">
                <a:extLst>
                  <a:ext uri="{FF2B5EF4-FFF2-40B4-BE49-F238E27FC236}">
                    <a16:creationId xmlns:a16="http://schemas.microsoft.com/office/drawing/2014/main" id="{2022863B-727A-40FE-CD23-87E63DDCE1FA}"/>
                  </a:ext>
                </a:extLst>
              </p:cNvPr>
              <p:cNvGrpSpPr/>
              <p:nvPr/>
            </p:nvGrpSpPr>
            <p:grpSpPr bwMode="gray">
              <a:xfrm>
                <a:off x="7249096" y="3653599"/>
                <a:ext cx="75723" cy="75723"/>
                <a:chOff x="7249096" y="3653599"/>
                <a:chExt cx="75723" cy="75723"/>
              </a:xfrm>
            </p:grpSpPr>
            <p:sp>
              <p:nvSpPr>
                <p:cNvPr id="12795" name="Freeform: Shape 12794">
                  <a:extLst>
                    <a:ext uri="{FF2B5EF4-FFF2-40B4-BE49-F238E27FC236}">
                      <a16:creationId xmlns:a16="http://schemas.microsoft.com/office/drawing/2014/main" id="{2BAEAE38-903E-F21B-B182-98C25051E35B}"/>
                    </a:ext>
                  </a:extLst>
                </p:cNvPr>
                <p:cNvSpPr/>
                <p:nvPr/>
              </p:nvSpPr>
              <p:spPr bwMode="gray">
                <a:xfrm>
                  <a:off x="7287006"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96" name="Freeform: Shape 12795">
                  <a:extLst>
                    <a:ext uri="{FF2B5EF4-FFF2-40B4-BE49-F238E27FC236}">
                      <a16:creationId xmlns:a16="http://schemas.microsoft.com/office/drawing/2014/main" id="{575B557B-28B7-F639-2F99-60EDE06CA4DA}"/>
                    </a:ext>
                  </a:extLst>
                </p:cNvPr>
                <p:cNvSpPr/>
                <p:nvPr/>
              </p:nvSpPr>
              <p:spPr bwMode="gray">
                <a:xfrm>
                  <a:off x="7249096"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3" name="Graphic 1498">
                <a:extLst>
                  <a:ext uri="{FF2B5EF4-FFF2-40B4-BE49-F238E27FC236}">
                    <a16:creationId xmlns:a16="http://schemas.microsoft.com/office/drawing/2014/main" id="{F988ECFD-6D32-A3A1-B6E7-38E7872CA0B1}"/>
                  </a:ext>
                </a:extLst>
              </p:cNvPr>
              <p:cNvGrpSpPr/>
              <p:nvPr/>
            </p:nvGrpSpPr>
            <p:grpSpPr bwMode="gray">
              <a:xfrm>
                <a:off x="7287006" y="3680459"/>
                <a:ext cx="75628" cy="75723"/>
                <a:chOff x="7287006" y="3680459"/>
                <a:chExt cx="75628" cy="75723"/>
              </a:xfrm>
            </p:grpSpPr>
            <p:sp>
              <p:nvSpPr>
                <p:cNvPr id="12793" name="Freeform: Shape 12792">
                  <a:extLst>
                    <a:ext uri="{FF2B5EF4-FFF2-40B4-BE49-F238E27FC236}">
                      <a16:creationId xmlns:a16="http://schemas.microsoft.com/office/drawing/2014/main" id="{249FB6D1-7F64-7129-275F-02494E841327}"/>
                    </a:ext>
                  </a:extLst>
                </p:cNvPr>
                <p:cNvSpPr/>
                <p:nvPr/>
              </p:nvSpPr>
              <p:spPr bwMode="gray">
                <a:xfrm>
                  <a:off x="7324820" y="3680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94" name="Freeform: Shape 12793">
                  <a:extLst>
                    <a:ext uri="{FF2B5EF4-FFF2-40B4-BE49-F238E27FC236}">
                      <a16:creationId xmlns:a16="http://schemas.microsoft.com/office/drawing/2014/main" id="{34B823C0-E491-AB1E-A520-4EF64E974B92}"/>
                    </a:ext>
                  </a:extLst>
                </p:cNvPr>
                <p:cNvSpPr/>
                <p:nvPr/>
              </p:nvSpPr>
              <p:spPr bwMode="gray">
                <a:xfrm>
                  <a:off x="7287006" y="37183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4" name="Graphic 1498">
                <a:extLst>
                  <a:ext uri="{FF2B5EF4-FFF2-40B4-BE49-F238E27FC236}">
                    <a16:creationId xmlns:a16="http://schemas.microsoft.com/office/drawing/2014/main" id="{4F22CDFA-3EE3-E312-4CCF-25963EC1E22E}"/>
                  </a:ext>
                </a:extLst>
              </p:cNvPr>
              <p:cNvGrpSpPr/>
              <p:nvPr/>
            </p:nvGrpSpPr>
            <p:grpSpPr bwMode="gray">
              <a:xfrm>
                <a:off x="7324820" y="3715797"/>
                <a:ext cx="75723" cy="75628"/>
                <a:chOff x="7324820" y="3715797"/>
                <a:chExt cx="75723" cy="75628"/>
              </a:xfrm>
            </p:grpSpPr>
            <p:sp>
              <p:nvSpPr>
                <p:cNvPr id="12791" name="Freeform: Shape 12790">
                  <a:extLst>
                    <a:ext uri="{FF2B5EF4-FFF2-40B4-BE49-F238E27FC236}">
                      <a16:creationId xmlns:a16="http://schemas.microsoft.com/office/drawing/2014/main" id="{6EDF2C14-C8D7-F4D0-DC7A-8A66D1FE3079}"/>
                    </a:ext>
                  </a:extLst>
                </p:cNvPr>
                <p:cNvSpPr/>
                <p:nvPr/>
              </p:nvSpPr>
              <p:spPr bwMode="gray">
                <a:xfrm>
                  <a:off x="736263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92" name="Freeform: Shape 12791">
                  <a:extLst>
                    <a:ext uri="{FF2B5EF4-FFF2-40B4-BE49-F238E27FC236}">
                      <a16:creationId xmlns:a16="http://schemas.microsoft.com/office/drawing/2014/main" id="{29EE541B-2381-1ED6-D76D-9A3D2E42203B}"/>
                    </a:ext>
                  </a:extLst>
                </p:cNvPr>
                <p:cNvSpPr/>
                <p:nvPr/>
              </p:nvSpPr>
              <p:spPr bwMode="gray">
                <a:xfrm>
                  <a:off x="732482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5" name="Graphic 1498">
                <a:extLst>
                  <a:ext uri="{FF2B5EF4-FFF2-40B4-BE49-F238E27FC236}">
                    <a16:creationId xmlns:a16="http://schemas.microsoft.com/office/drawing/2014/main" id="{2B54A937-9DC3-F1C9-0CE7-290F6A2F5B2F}"/>
                  </a:ext>
                </a:extLst>
              </p:cNvPr>
              <p:cNvGrpSpPr/>
              <p:nvPr/>
            </p:nvGrpSpPr>
            <p:grpSpPr bwMode="gray">
              <a:xfrm>
                <a:off x="7337012" y="3715797"/>
                <a:ext cx="75628" cy="75628"/>
                <a:chOff x="7337012" y="3715797"/>
                <a:chExt cx="75628" cy="75628"/>
              </a:xfrm>
            </p:grpSpPr>
            <p:sp>
              <p:nvSpPr>
                <p:cNvPr id="12789" name="Freeform: Shape 12788">
                  <a:extLst>
                    <a:ext uri="{FF2B5EF4-FFF2-40B4-BE49-F238E27FC236}">
                      <a16:creationId xmlns:a16="http://schemas.microsoft.com/office/drawing/2014/main" id="{005E982D-A824-42CE-8A8E-341887410541}"/>
                    </a:ext>
                  </a:extLst>
                </p:cNvPr>
                <p:cNvSpPr/>
                <p:nvPr/>
              </p:nvSpPr>
              <p:spPr bwMode="gray">
                <a:xfrm>
                  <a:off x="7374826"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90" name="Freeform: Shape 12789">
                  <a:extLst>
                    <a:ext uri="{FF2B5EF4-FFF2-40B4-BE49-F238E27FC236}">
                      <a16:creationId xmlns:a16="http://schemas.microsoft.com/office/drawing/2014/main" id="{3A618A77-419F-21F3-FF1C-FC9333831AE5}"/>
                    </a:ext>
                  </a:extLst>
                </p:cNvPr>
                <p:cNvSpPr/>
                <p:nvPr/>
              </p:nvSpPr>
              <p:spPr bwMode="gray">
                <a:xfrm>
                  <a:off x="7337012"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6" name="Graphic 1498">
                <a:extLst>
                  <a:ext uri="{FF2B5EF4-FFF2-40B4-BE49-F238E27FC236}">
                    <a16:creationId xmlns:a16="http://schemas.microsoft.com/office/drawing/2014/main" id="{ACE3F006-41E1-9788-A08B-9E7EAFE305A7}"/>
                  </a:ext>
                </a:extLst>
              </p:cNvPr>
              <p:cNvGrpSpPr/>
              <p:nvPr/>
            </p:nvGrpSpPr>
            <p:grpSpPr bwMode="gray">
              <a:xfrm>
                <a:off x="7359967" y="3715797"/>
                <a:ext cx="75628" cy="75628"/>
                <a:chOff x="7359967" y="3715797"/>
                <a:chExt cx="75628" cy="75628"/>
              </a:xfrm>
            </p:grpSpPr>
            <p:sp>
              <p:nvSpPr>
                <p:cNvPr id="12787" name="Freeform: Shape 12786">
                  <a:extLst>
                    <a:ext uri="{FF2B5EF4-FFF2-40B4-BE49-F238E27FC236}">
                      <a16:creationId xmlns:a16="http://schemas.microsoft.com/office/drawing/2014/main" id="{71F688B3-C397-4732-338F-2A20215B362D}"/>
                    </a:ext>
                  </a:extLst>
                </p:cNvPr>
                <p:cNvSpPr/>
                <p:nvPr/>
              </p:nvSpPr>
              <p:spPr bwMode="gray">
                <a:xfrm>
                  <a:off x="7397781"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88" name="Freeform: Shape 12787">
                  <a:extLst>
                    <a:ext uri="{FF2B5EF4-FFF2-40B4-BE49-F238E27FC236}">
                      <a16:creationId xmlns:a16="http://schemas.microsoft.com/office/drawing/2014/main" id="{455F2125-C749-1933-4EDD-F6DF34738114}"/>
                    </a:ext>
                  </a:extLst>
                </p:cNvPr>
                <p:cNvSpPr/>
                <p:nvPr/>
              </p:nvSpPr>
              <p:spPr bwMode="gray">
                <a:xfrm>
                  <a:off x="7359967"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7" name="Graphic 1498">
                <a:extLst>
                  <a:ext uri="{FF2B5EF4-FFF2-40B4-BE49-F238E27FC236}">
                    <a16:creationId xmlns:a16="http://schemas.microsoft.com/office/drawing/2014/main" id="{9A0A2C16-0C75-0E9E-08DD-FEC5F3CD1ADB}"/>
                  </a:ext>
                </a:extLst>
              </p:cNvPr>
              <p:cNvGrpSpPr/>
              <p:nvPr/>
            </p:nvGrpSpPr>
            <p:grpSpPr bwMode="gray">
              <a:xfrm>
                <a:off x="7349490" y="3715797"/>
                <a:ext cx="75628" cy="75628"/>
                <a:chOff x="7349490" y="3715797"/>
                <a:chExt cx="75628" cy="75628"/>
              </a:xfrm>
            </p:grpSpPr>
            <p:sp>
              <p:nvSpPr>
                <p:cNvPr id="12785" name="Freeform: Shape 12784">
                  <a:extLst>
                    <a:ext uri="{FF2B5EF4-FFF2-40B4-BE49-F238E27FC236}">
                      <a16:creationId xmlns:a16="http://schemas.microsoft.com/office/drawing/2014/main" id="{29F1C85E-7D5D-E45C-AE4D-7E269AFCF74F}"/>
                    </a:ext>
                  </a:extLst>
                </p:cNvPr>
                <p:cNvSpPr/>
                <p:nvPr/>
              </p:nvSpPr>
              <p:spPr bwMode="gray">
                <a:xfrm>
                  <a:off x="738730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86" name="Freeform: Shape 12785">
                  <a:extLst>
                    <a:ext uri="{FF2B5EF4-FFF2-40B4-BE49-F238E27FC236}">
                      <a16:creationId xmlns:a16="http://schemas.microsoft.com/office/drawing/2014/main" id="{08F56C3C-91AC-0E81-8E58-F7A03E78296A}"/>
                    </a:ext>
                  </a:extLst>
                </p:cNvPr>
                <p:cNvSpPr/>
                <p:nvPr/>
              </p:nvSpPr>
              <p:spPr bwMode="gray">
                <a:xfrm>
                  <a:off x="7349490"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8" name="Graphic 1498">
                <a:extLst>
                  <a:ext uri="{FF2B5EF4-FFF2-40B4-BE49-F238E27FC236}">
                    <a16:creationId xmlns:a16="http://schemas.microsoft.com/office/drawing/2014/main" id="{088CAA49-46CD-BB6A-F5AC-BE2EF8B69018}"/>
                  </a:ext>
                </a:extLst>
              </p:cNvPr>
              <p:cNvGrpSpPr/>
              <p:nvPr/>
            </p:nvGrpSpPr>
            <p:grpSpPr bwMode="gray">
              <a:xfrm>
                <a:off x="7425118" y="3779138"/>
                <a:ext cx="75723" cy="75723"/>
                <a:chOff x="7425118" y="3779138"/>
                <a:chExt cx="75723" cy="75723"/>
              </a:xfrm>
            </p:grpSpPr>
            <p:sp>
              <p:nvSpPr>
                <p:cNvPr id="12783" name="Freeform: Shape 12782">
                  <a:extLst>
                    <a:ext uri="{FF2B5EF4-FFF2-40B4-BE49-F238E27FC236}">
                      <a16:creationId xmlns:a16="http://schemas.microsoft.com/office/drawing/2014/main" id="{DA174AEB-71F2-B98A-1693-EA82D589B662}"/>
                    </a:ext>
                  </a:extLst>
                </p:cNvPr>
                <p:cNvSpPr/>
                <p:nvPr/>
              </p:nvSpPr>
              <p:spPr bwMode="gray">
                <a:xfrm>
                  <a:off x="7463028"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84" name="Freeform: Shape 12783">
                  <a:extLst>
                    <a:ext uri="{FF2B5EF4-FFF2-40B4-BE49-F238E27FC236}">
                      <a16:creationId xmlns:a16="http://schemas.microsoft.com/office/drawing/2014/main" id="{793183FE-263E-040A-5909-0294F32DF3D5}"/>
                    </a:ext>
                  </a:extLst>
                </p:cNvPr>
                <p:cNvSpPr/>
                <p:nvPr/>
              </p:nvSpPr>
              <p:spPr bwMode="gray">
                <a:xfrm>
                  <a:off x="7425118"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699" name="Graphic 1498">
                <a:extLst>
                  <a:ext uri="{FF2B5EF4-FFF2-40B4-BE49-F238E27FC236}">
                    <a16:creationId xmlns:a16="http://schemas.microsoft.com/office/drawing/2014/main" id="{C9885275-78D7-C6E7-5C28-A056256F5C96}"/>
                  </a:ext>
                </a:extLst>
              </p:cNvPr>
              <p:cNvGrpSpPr/>
              <p:nvPr/>
            </p:nvGrpSpPr>
            <p:grpSpPr bwMode="gray">
              <a:xfrm>
                <a:off x="7457503" y="3779138"/>
                <a:ext cx="75723" cy="75723"/>
                <a:chOff x="7457503" y="3779138"/>
                <a:chExt cx="75723" cy="75723"/>
              </a:xfrm>
            </p:grpSpPr>
            <p:sp>
              <p:nvSpPr>
                <p:cNvPr id="12781" name="Freeform: Shape 12780">
                  <a:extLst>
                    <a:ext uri="{FF2B5EF4-FFF2-40B4-BE49-F238E27FC236}">
                      <a16:creationId xmlns:a16="http://schemas.microsoft.com/office/drawing/2014/main" id="{81EB5498-1C14-3463-4FD8-FFADB6D9647E}"/>
                    </a:ext>
                  </a:extLst>
                </p:cNvPr>
                <p:cNvSpPr/>
                <p:nvPr/>
              </p:nvSpPr>
              <p:spPr bwMode="gray">
                <a:xfrm>
                  <a:off x="749531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82" name="Freeform: Shape 12781">
                  <a:extLst>
                    <a:ext uri="{FF2B5EF4-FFF2-40B4-BE49-F238E27FC236}">
                      <a16:creationId xmlns:a16="http://schemas.microsoft.com/office/drawing/2014/main" id="{6D7790F1-1D40-4A5D-3E1F-EFAB3FA6A4D7}"/>
                    </a:ext>
                  </a:extLst>
                </p:cNvPr>
                <p:cNvSpPr/>
                <p:nvPr/>
              </p:nvSpPr>
              <p:spPr bwMode="gray">
                <a:xfrm>
                  <a:off x="745750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0" name="Graphic 1498">
                <a:extLst>
                  <a:ext uri="{FF2B5EF4-FFF2-40B4-BE49-F238E27FC236}">
                    <a16:creationId xmlns:a16="http://schemas.microsoft.com/office/drawing/2014/main" id="{E5C1DFDC-3165-0586-77EB-16EB6AB3AA4E}"/>
                  </a:ext>
                </a:extLst>
              </p:cNvPr>
              <p:cNvGrpSpPr/>
              <p:nvPr/>
            </p:nvGrpSpPr>
            <p:grpSpPr bwMode="gray">
              <a:xfrm>
                <a:off x="7487126" y="3779138"/>
                <a:ext cx="75723" cy="75723"/>
                <a:chOff x="7487126" y="3779138"/>
                <a:chExt cx="75723" cy="75723"/>
              </a:xfrm>
            </p:grpSpPr>
            <p:sp>
              <p:nvSpPr>
                <p:cNvPr id="12779" name="Freeform: Shape 12778">
                  <a:extLst>
                    <a:ext uri="{FF2B5EF4-FFF2-40B4-BE49-F238E27FC236}">
                      <a16:creationId xmlns:a16="http://schemas.microsoft.com/office/drawing/2014/main" id="{C95EC0EE-1694-C6C1-EBB8-42C102EBC08E}"/>
                    </a:ext>
                  </a:extLst>
                </p:cNvPr>
                <p:cNvSpPr/>
                <p:nvPr/>
              </p:nvSpPr>
              <p:spPr bwMode="gray">
                <a:xfrm>
                  <a:off x="7525035"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80" name="Freeform: Shape 12779">
                  <a:extLst>
                    <a:ext uri="{FF2B5EF4-FFF2-40B4-BE49-F238E27FC236}">
                      <a16:creationId xmlns:a16="http://schemas.microsoft.com/office/drawing/2014/main" id="{E8035F43-94F3-284F-0B7D-F660A682AE1F}"/>
                    </a:ext>
                  </a:extLst>
                </p:cNvPr>
                <p:cNvSpPr/>
                <p:nvPr/>
              </p:nvSpPr>
              <p:spPr bwMode="gray">
                <a:xfrm>
                  <a:off x="7487126"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1" name="Graphic 1498">
                <a:extLst>
                  <a:ext uri="{FF2B5EF4-FFF2-40B4-BE49-F238E27FC236}">
                    <a16:creationId xmlns:a16="http://schemas.microsoft.com/office/drawing/2014/main" id="{3B6BDDFD-1AD5-5B13-E4A3-7937D481DA6F}"/>
                  </a:ext>
                </a:extLst>
              </p:cNvPr>
              <p:cNvGrpSpPr/>
              <p:nvPr/>
            </p:nvGrpSpPr>
            <p:grpSpPr bwMode="gray">
              <a:xfrm>
                <a:off x="7495317" y="3779138"/>
                <a:ext cx="75723" cy="75723"/>
                <a:chOff x="7495317" y="3779138"/>
                <a:chExt cx="75723" cy="75723"/>
              </a:xfrm>
            </p:grpSpPr>
            <p:sp>
              <p:nvSpPr>
                <p:cNvPr id="12777" name="Freeform: Shape 12776">
                  <a:extLst>
                    <a:ext uri="{FF2B5EF4-FFF2-40B4-BE49-F238E27FC236}">
                      <a16:creationId xmlns:a16="http://schemas.microsoft.com/office/drawing/2014/main" id="{8A2CBBD4-EC94-B9F9-8AC9-2AE9BCBB16B7}"/>
                    </a:ext>
                  </a:extLst>
                </p:cNvPr>
                <p:cNvSpPr/>
                <p:nvPr/>
              </p:nvSpPr>
              <p:spPr bwMode="gray">
                <a:xfrm>
                  <a:off x="753322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78" name="Freeform: Shape 12777">
                  <a:extLst>
                    <a:ext uri="{FF2B5EF4-FFF2-40B4-BE49-F238E27FC236}">
                      <a16:creationId xmlns:a16="http://schemas.microsoft.com/office/drawing/2014/main" id="{4C0A8607-42C3-B1DC-860D-5F478B68A878}"/>
                    </a:ext>
                  </a:extLst>
                </p:cNvPr>
                <p:cNvSpPr/>
                <p:nvPr/>
              </p:nvSpPr>
              <p:spPr bwMode="gray">
                <a:xfrm>
                  <a:off x="7495317"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2" name="Graphic 1498">
                <a:extLst>
                  <a:ext uri="{FF2B5EF4-FFF2-40B4-BE49-F238E27FC236}">
                    <a16:creationId xmlns:a16="http://schemas.microsoft.com/office/drawing/2014/main" id="{BCE7AF75-D178-558E-BCDF-AE78332B28A7}"/>
                  </a:ext>
                </a:extLst>
              </p:cNvPr>
              <p:cNvGrpSpPr/>
              <p:nvPr/>
            </p:nvGrpSpPr>
            <p:grpSpPr bwMode="gray">
              <a:xfrm>
                <a:off x="7525035" y="3779138"/>
                <a:ext cx="75628" cy="75723"/>
                <a:chOff x="7525035" y="3779138"/>
                <a:chExt cx="75628" cy="75723"/>
              </a:xfrm>
            </p:grpSpPr>
            <p:sp>
              <p:nvSpPr>
                <p:cNvPr id="12775" name="Freeform: Shape 12774">
                  <a:extLst>
                    <a:ext uri="{FF2B5EF4-FFF2-40B4-BE49-F238E27FC236}">
                      <a16:creationId xmlns:a16="http://schemas.microsoft.com/office/drawing/2014/main" id="{A0C6C869-A0D0-A65D-CAB4-0A31BDF1ED1D}"/>
                    </a:ext>
                  </a:extLst>
                </p:cNvPr>
                <p:cNvSpPr/>
                <p:nvPr/>
              </p:nvSpPr>
              <p:spPr bwMode="gray">
                <a:xfrm>
                  <a:off x="7562850"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76" name="Freeform: Shape 12775">
                  <a:extLst>
                    <a:ext uri="{FF2B5EF4-FFF2-40B4-BE49-F238E27FC236}">
                      <a16:creationId xmlns:a16="http://schemas.microsoft.com/office/drawing/2014/main" id="{BEB29D89-AD3C-25CF-C138-D34D68207ABB}"/>
                    </a:ext>
                  </a:extLst>
                </p:cNvPr>
                <p:cNvSpPr/>
                <p:nvPr/>
              </p:nvSpPr>
              <p:spPr bwMode="gray">
                <a:xfrm>
                  <a:off x="7525035" y="38169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3" name="Graphic 1498">
                <a:extLst>
                  <a:ext uri="{FF2B5EF4-FFF2-40B4-BE49-F238E27FC236}">
                    <a16:creationId xmlns:a16="http://schemas.microsoft.com/office/drawing/2014/main" id="{0C4E4F7C-EC0B-E32D-AECB-134D471E0B87}"/>
                  </a:ext>
                </a:extLst>
              </p:cNvPr>
              <p:cNvGrpSpPr/>
              <p:nvPr/>
            </p:nvGrpSpPr>
            <p:grpSpPr bwMode="gray">
              <a:xfrm>
                <a:off x="7555230" y="3779138"/>
                <a:ext cx="75723" cy="75723"/>
                <a:chOff x="7555230" y="3779138"/>
                <a:chExt cx="75723" cy="75723"/>
              </a:xfrm>
            </p:grpSpPr>
            <p:sp>
              <p:nvSpPr>
                <p:cNvPr id="12773" name="Freeform: Shape 12772">
                  <a:extLst>
                    <a:ext uri="{FF2B5EF4-FFF2-40B4-BE49-F238E27FC236}">
                      <a16:creationId xmlns:a16="http://schemas.microsoft.com/office/drawing/2014/main" id="{9ED3C141-1B15-71CF-D98C-92F81723CFF5}"/>
                    </a:ext>
                  </a:extLst>
                </p:cNvPr>
                <p:cNvSpPr/>
                <p:nvPr/>
              </p:nvSpPr>
              <p:spPr bwMode="gray">
                <a:xfrm>
                  <a:off x="759313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74" name="Freeform: Shape 12773">
                  <a:extLst>
                    <a:ext uri="{FF2B5EF4-FFF2-40B4-BE49-F238E27FC236}">
                      <a16:creationId xmlns:a16="http://schemas.microsoft.com/office/drawing/2014/main" id="{B1D032DB-D3CB-9B28-7F43-28AAED5219BC}"/>
                    </a:ext>
                  </a:extLst>
                </p:cNvPr>
                <p:cNvSpPr/>
                <p:nvPr/>
              </p:nvSpPr>
              <p:spPr bwMode="gray">
                <a:xfrm>
                  <a:off x="7555230"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4" name="Graphic 1498">
                <a:extLst>
                  <a:ext uri="{FF2B5EF4-FFF2-40B4-BE49-F238E27FC236}">
                    <a16:creationId xmlns:a16="http://schemas.microsoft.com/office/drawing/2014/main" id="{7092AAAB-567B-93EB-E81F-A6DB533FE35B}"/>
                  </a:ext>
                </a:extLst>
              </p:cNvPr>
              <p:cNvGrpSpPr/>
              <p:nvPr/>
            </p:nvGrpSpPr>
            <p:grpSpPr bwMode="gray">
              <a:xfrm>
                <a:off x="7567993" y="3779138"/>
                <a:ext cx="75723" cy="75723"/>
                <a:chOff x="7567993" y="3779138"/>
                <a:chExt cx="75723" cy="75723"/>
              </a:xfrm>
            </p:grpSpPr>
            <p:sp>
              <p:nvSpPr>
                <p:cNvPr id="12771" name="Freeform: Shape 12770">
                  <a:extLst>
                    <a:ext uri="{FF2B5EF4-FFF2-40B4-BE49-F238E27FC236}">
                      <a16:creationId xmlns:a16="http://schemas.microsoft.com/office/drawing/2014/main" id="{D65BB261-9859-2F95-0A74-CA65F51932B8}"/>
                    </a:ext>
                  </a:extLst>
                </p:cNvPr>
                <p:cNvSpPr/>
                <p:nvPr/>
              </p:nvSpPr>
              <p:spPr bwMode="gray">
                <a:xfrm>
                  <a:off x="7605903"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72" name="Freeform: Shape 12771">
                  <a:extLst>
                    <a:ext uri="{FF2B5EF4-FFF2-40B4-BE49-F238E27FC236}">
                      <a16:creationId xmlns:a16="http://schemas.microsoft.com/office/drawing/2014/main" id="{5271185B-E43C-C9B8-647C-329BA9BEB3B3}"/>
                    </a:ext>
                  </a:extLst>
                </p:cNvPr>
                <p:cNvSpPr/>
                <p:nvPr/>
              </p:nvSpPr>
              <p:spPr bwMode="gray">
                <a:xfrm>
                  <a:off x="756799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5" name="Graphic 1498">
                <a:extLst>
                  <a:ext uri="{FF2B5EF4-FFF2-40B4-BE49-F238E27FC236}">
                    <a16:creationId xmlns:a16="http://schemas.microsoft.com/office/drawing/2014/main" id="{767A5FA1-42C4-AE28-239B-73F9E248869D}"/>
                  </a:ext>
                </a:extLst>
              </p:cNvPr>
              <p:cNvGrpSpPr/>
              <p:nvPr/>
            </p:nvGrpSpPr>
            <p:grpSpPr bwMode="gray">
              <a:xfrm>
                <a:off x="7581995" y="3779138"/>
                <a:ext cx="75723" cy="75723"/>
                <a:chOff x="7581995" y="3779138"/>
                <a:chExt cx="75723" cy="75723"/>
              </a:xfrm>
            </p:grpSpPr>
            <p:sp>
              <p:nvSpPr>
                <p:cNvPr id="12769" name="Freeform: Shape 12768">
                  <a:extLst>
                    <a:ext uri="{FF2B5EF4-FFF2-40B4-BE49-F238E27FC236}">
                      <a16:creationId xmlns:a16="http://schemas.microsoft.com/office/drawing/2014/main" id="{505CC356-0D37-29A1-A4F8-E534644207E7}"/>
                    </a:ext>
                  </a:extLst>
                </p:cNvPr>
                <p:cNvSpPr/>
                <p:nvPr/>
              </p:nvSpPr>
              <p:spPr bwMode="gray">
                <a:xfrm>
                  <a:off x="761980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70" name="Freeform: Shape 12769">
                  <a:extLst>
                    <a:ext uri="{FF2B5EF4-FFF2-40B4-BE49-F238E27FC236}">
                      <a16:creationId xmlns:a16="http://schemas.microsoft.com/office/drawing/2014/main" id="{33402B3B-6731-23CD-7C24-D54465DD5379}"/>
                    </a:ext>
                  </a:extLst>
                </p:cNvPr>
                <p:cNvSpPr/>
                <p:nvPr/>
              </p:nvSpPr>
              <p:spPr bwMode="gray">
                <a:xfrm>
                  <a:off x="7581995"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6" name="Graphic 1498">
                <a:extLst>
                  <a:ext uri="{FF2B5EF4-FFF2-40B4-BE49-F238E27FC236}">
                    <a16:creationId xmlns:a16="http://schemas.microsoft.com/office/drawing/2014/main" id="{B9D1B249-D4BE-38F4-C4D1-C7D9376600C4}"/>
                  </a:ext>
                </a:extLst>
              </p:cNvPr>
              <p:cNvGrpSpPr/>
              <p:nvPr/>
            </p:nvGrpSpPr>
            <p:grpSpPr bwMode="gray">
              <a:xfrm>
                <a:off x="8005572" y="3920299"/>
                <a:ext cx="75723" cy="75723"/>
                <a:chOff x="8005572" y="3920299"/>
                <a:chExt cx="75723" cy="75723"/>
              </a:xfrm>
            </p:grpSpPr>
            <p:sp>
              <p:nvSpPr>
                <p:cNvPr id="12767" name="Freeform: Shape 12766">
                  <a:extLst>
                    <a:ext uri="{FF2B5EF4-FFF2-40B4-BE49-F238E27FC236}">
                      <a16:creationId xmlns:a16="http://schemas.microsoft.com/office/drawing/2014/main" id="{F6C40103-4742-88BD-9B28-A646653D30AC}"/>
                    </a:ext>
                  </a:extLst>
                </p:cNvPr>
                <p:cNvSpPr/>
                <p:nvPr/>
              </p:nvSpPr>
              <p:spPr bwMode="gray">
                <a:xfrm>
                  <a:off x="8043481"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68" name="Freeform: Shape 12767">
                  <a:extLst>
                    <a:ext uri="{FF2B5EF4-FFF2-40B4-BE49-F238E27FC236}">
                      <a16:creationId xmlns:a16="http://schemas.microsoft.com/office/drawing/2014/main" id="{2799AE33-7936-0082-ABCB-3A2342E812A3}"/>
                    </a:ext>
                  </a:extLst>
                </p:cNvPr>
                <p:cNvSpPr/>
                <p:nvPr/>
              </p:nvSpPr>
              <p:spPr bwMode="gray">
                <a:xfrm>
                  <a:off x="80055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7" name="Graphic 1498">
                <a:extLst>
                  <a:ext uri="{FF2B5EF4-FFF2-40B4-BE49-F238E27FC236}">
                    <a16:creationId xmlns:a16="http://schemas.microsoft.com/office/drawing/2014/main" id="{22FBDA91-FB84-C299-1CD9-FF9F2F7B7C7E}"/>
                  </a:ext>
                </a:extLst>
              </p:cNvPr>
              <p:cNvGrpSpPr/>
              <p:nvPr/>
            </p:nvGrpSpPr>
            <p:grpSpPr bwMode="gray">
              <a:xfrm>
                <a:off x="8021955" y="3920299"/>
                <a:ext cx="75628" cy="75723"/>
                <a:chOff x="8021955" y="3920299"/>
                <a:chExt cx="75628" cy="75723"/>
              </a:xfrm>
            </p:grpSpPr>
            <p:sp>
              <p:nvSpPr>
                <p:cNvPr id="12765" name="Freeform: Shape 12764">
                  <a:extLst>
                    <a:ext uri="{FF2B5EF4-FFF2-40B4-BE49-F238E27FC236}">
                      <a16:creationId xmlns:a16="http://schemas.microsoft.com/office/drawing/2014/main" id="{864D2EB0-5005-6FAD-1B9C-BDDAFDFAB00D}"/>
                    </a:ext>
                  </a:extLst>
                </p:cNvPr>
                <p:cNvSpPr/>
                <p:nvPr/>
              </p:nvSpPr>
              <p:spPr bwMode="gray">
                <a:xfrm>
                  <a:off x="805976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66" name="Freeform: Shape 12765">
                  <a:extLst>
                    <a:ext uri="{FF2B5EF4-FFF2-40B4-BE49-F238E27FC236}">
                      <a16:creationId xmlns:a16="http://schemas.microsoft.com/office/drawing/2014/main" id="{4C340EA9-3AA4-4316-4C74-E03B8E4326A5}"/>
                    </a:ext>
                  </a:extLst>
                </p:cNvPr>
                <p:cNvSpPr/>
                <p:nvPr/>
              </p:nvSpPr>
              <p:spPr bwMode="gray">
                <a:xfrm>
                  <a:off x="802195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8" name="Graphic 1498">
                <a:extLst>
                  <a:ext uri="{FF2B5EF4-FFF2-40B4-BE49-F238E27FC236}">
                    <a16:creationId xmlns:a16="http://schemas.microsoft.com/office/drawing/2014/main" id="{83FECC4F-BA98-042F-EA65-33218778F809}"/>
                  </a:ext>
                </a:extLst>
              </p:cNvPr>
              <p:cNvGrpSpPr/>
              <p:nvPr/>
            </p:nvGrpSpPr>
            <p:grpSpPr bwMode="gray">
              <a:xfrm>
                <a:off x="8032623" y="3920299"/>
                <a:ext cx="75723" cy="75723"/>
                <a:chOff x="8032623" y="3920299"/>
                <a:chExt cx="75723" cy="75723"/>
              </a:xfrm>
            </p:grpSpPr>
            <p:sp>
              <p:nvSpPr>
                <p:cNvPr id="12763" name="Freeform: Shape 12762">
                  <a:extLst>
                    <a:ext uri="{FF2B5EF4-FFF2-40B4-BE49-F238E27FC236}">
                      <a16:creationId xmlns:a16="http://schemas.microsoft.com/office/drawing/2014/main" id="{33340BD0-298B-2C14-529D-5565DC8F6D95}"/>
                    </a:ext>
                  </a:extLst>
                </p:cNvPr>
                <p:cNvSpPr/>
                <p:nvPr/>
              </p:nvSpPr>
              <p:spPr bwMode="gray">
                <a:xfrm>
                  <a:off x="8070532"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64" name="Freeform: Shape 12763">
                  <a:extLst>
                    <a:ext uri="{FF2B5EF4-FFF2-40B4-BE49-F238E27FC236}">
                      <a16:creationId xmlns:a16="http://schemas.microsoft.com/office/drawing/2014/main" id="{E4ADB4BC-B3E4-DEAF-AA92-FB1A8907C831}"/>
                    </a:ext>
                  </a:extLst>
                </p:cNvPr>
                <p:cNvSpPr/>
                <p:nvPr/>
              </p:nvSpPr>
              <p:spPr bwMode="gray">
                <a:xfrm>
                  <a:off x="803262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09" name="Graphic 1498">
                <a:extLst>
                  <a:ext uri="{FF2B5EF4-FFF2-40B4-BE49-F238E27FC236}">
                    <a16:creationId xmlns:a16="http://schemas.microsoft.com/office/drawing/2014/main" id="{1C220667-CA7C-E952-1904-518C0B7FB826}"/>
                  </a:ext>
                </a:extLst>
              </p:cNvPr>
              <p:cNvGrpSpPr/>
              <p:nvPr/>
            </p:nvGrpSpPr>
            <p:grpSpPr bwMode="gray">
              <a:xfrm>
                <a:off x="8054721" y="3920299"/>
                <a:ext cx="75723" cy="75723"/>
                <a:chOff x="8054721" y="3920299"/>
                <a:chExt cx="75723" cy="75723"/>
              </a:xfrm>
            </p:grpSpPr>
            <p:sp>
              <p:nvSpPr>
                <p:cNvPr id="12761" name="Freeform: Shape 12760">
                  <a:extLst>
                    <a:ext uri="{FF2B5EF4-FFF2-40B4-BE49-F238E27FC236}">
                      <a16:creationId xmlns:a16="http://schemas.microsoft.com/office/drawing/2014/main" id="{8010E091-9A5B-9A73-C744-3C8A79FD0D03}"/>
                    </a:ext>
                  </a:extLst>
                </p:cNvPr>
                <p:cNvSpPr/>
                <p:nvPr/>
              </p:nvSpPr>
              <p:spPr bwMode="gray">
                <a:xfrm>
                  <a:off x="809263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62" name="Freeform: Shape 12761">
                  <a:extLst>
                    <a:ext uri="{FF2B5EF4-FFF2-40B4-BE49-F238E27FC236}">
                      <a16:creationId xmlns:a16="http://schemas.microsoft.com/office/drawing/2014/main" id="{C61684D5-95B3-307D-B517-0247F0FFCCAE}"/>
                    </a:ext>
                  </a:extLst>
                </p:cNvPr>
                <p:cNvSpPr/>
                <p:nvPr/>
              </p:nvSpPr>
              <p:spPr bwMode="gray">
                <a:xfrm>
                  <a:off x="805472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0" name="Graphic 1498">
                <a:extLst>
                  <a:ext uri="{FF2B5EF4-FFF2-40B4-BE49-F238E27FC236}">
                    <a16:creationId xmlns:a16="http://schemas.microsoft.com/office/drawing/2014/main" id="{D66C4F5B-02FC-478B-8118-B5034627EA8D}"/>
                  </a:ext>
                </a:extLst>
              </p:cNvPr>
              <p:cNvGrpSpPr/>
              <p:nvPr/>
            </p:nvGrpSpPr>
            <p:grpSpPr bwMode="gray">
              <a:xfrm>
                <a:off x="8079486" y="3920299"/>
                <a:ext cx="75723" cy="75723"/>
                <a:chOff x="8079486" y="3920299"/>
                <a:chExt cx="75723" cy="75723"/>
              </a:xfrm>
            </p:grpSpPr>
            <p:sp>
              <p:nvSpPr>
                <p:cNvPr id="12759" name="Freeform: Shape 12758">
                  <a:extLst>
                    <a:ext uri="{FF2B5EF4-FFF2-40B4-BE49-F238E27FC236}">
                      <a16:creationId xmlns:a16="http://schemas.microsoft.com/office/drawing/2014/main" id="{C7E2B2CE-7DA5-9D79-EA2D-CF9672214658}"/>
                    </a:ext>
                  </a:extLst>
                </p:cNvPr>
                <p:cNvSpPr/>
                <p:nvPr/>
              </p:nvSpPr>
              <p:spPr bwMode="gray">
                <a:xfrm>
                  <a:off x="81173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60" name="Freeform: Shape 12759">
                  <a:extLst>
                    <a:ext uri="{FF2B5EF4-FFF2-40B4-BE49-F238E27FC236}">
                      <a16:creationId xmlns:a16="http://schemas.microsoft.com/office/drawing/2014/main" id="{98DE89E2-EB5F-0AFA-922A-99DDD015E59D}"/>
                    </a:ext>
                  </a:extLst>
                </p:cNvPr>
                <p:cNvSpPr/>
                <p:nvPr/>
              </p:nvSpPr>
              <p:spPr bwMode="gray">
                <a:xfrm>
                  <a:off x="8079486"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1" name="Graphic 1498">
                <a:extLst>
                  <a:ext uri="{FF2B5EF4-FFF2-40B4-BE49-F238E27FC236}">
                    <a16:creationId xmlns:a16="http://schemas.microsoft.com/office/drawing/2014/main" id="{617E2D01-E4EA-9E77-7443-96FAE8070C13}"/>
                  </a:ext>
                </a:extLst>
              </p:cNvPr>
              <p:cNvGrpSpPr/>
              <p:nvPr/>
            </p:nvGrpSpPr>
            <p:grpSpPr bwMode="gray">
              <a:xfrm>
                <a:off x="8088820" y="3920299"/>
                <a:ext cx="75628" cy="75723"/>
                <a:chOff x="8088820" y="3920299"/>
                <a:chExt cx="75628" cy="75723"/>
              </a:xfrm>
            </p:grpSpPr>
            <p:sp>
              <p:nvSpPr>
                <p:cNvPr id="12757" name="Freeform: Shape 12756">
                  <a:extLst>
                    <a:ext uri="{FF2B5EF4-FFF2-40B4-BE49-F238E27FC236}">
                      <a16:creationId xmlns:a16="http://schemas.microsoft.com/office/drawing/2014/main" id="{58755B08-E1C2-98CF-7EE7-6921CD207E89}"/>
                    </a:ext>
                  </a:extLst>
                </p:cNvPr>
                <p:cNvSpPr/>
                <p:nvPr/>
              </p:nvSpPr>
              <p:spPr bwMode="gray">
                <a:xfrm>
                  <a:off x="812663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58" name="Freeform: Shape 12757">
                  <a:extLst>
                    <a:ext uri="{FF2B5EF4-FFF2-40B4-BE49-F238E27FC236}">
                      <a16:creationId xmlns:a16="http://schemas.microsoft.com/office/drawing/2014/main" id="{5C6246C3-8991-5A89-1AF6-8D7E91C3E61B}"/>
                    </a:ext>
                  </a:extLst>
                </p:cNvPr>
                <p:cNvSpPr/>
                <p:nvPr/>
              </p:nvSpPr>
              <p:spPr bwMode="gray">
                <a:xfrm>
                  <a:off x="808882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2" name="Graphic 1498">
                <a:extLst>
                  <a:ext uri="{FF2B5EF4-FFF2-40B4-BE49-F238E27FC236}">
                    <a16:creationId xmlns:a16="http://schemas.microsoft.com/office/drawing/2014/main" id="{0ACD16A1-8BA3-1306-3963-8FF660CE44C1}"/>
                  </a:ext>
                </a:extLst>
              </p:cNvPr>
              <p:cNvGrpSpPr/>
              <p:nvPr/>
            </p:nvGrpSpPr>
            <p:grpSpPr bwMode="gray">
              <a:xfrm>
                <a:off x="8097583" y="3920299"/>
                <a:ext cx="75723" cy="75723"/>
                <a:chOff x="8097583" y="3920299"/>
                <a:chExt cx="75723" cy="75723"/>
              </a:xfrm>
            </p:grpSpPr>
            <p:sp>
              <p:nvSpPr>
                <p:cNvPr id="12755" name="Freeform: Shape 12754">
                  <a:extLst>
                    <a:ext uri="{FF2B5EF4-FFF2-40B4-BE49-F238E27FC236}">
                      <a16:creationId xmlns:a16="http://schemas.microsoft.com/office/drawing/2014/main" id="{85515406-7662-154B-8102-66C1843FC334}"/>
                    </a:ext>
                  </a:extLst>
                </p:cNvPr>
                <p:cNvSpPr/>
                <p:nvPr/>
              </p:nvSpPr>
              <p:spPr bwMode="gray">
                <a:xfrm>
                  <a:off x="813549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56" name="Freeform: Shape 12755">
                  <a:extLst>
                    <a:ext uri="{FF2B5EF4-FFF2-40B4-BE49-F238E27FC236}">
                      <a16:creationId xmlns:a16="http://schemas.microsoft.com/office/drawing/2014/main" id="{DF765001-DFAD-3533-8866-39C112B71D2C}"/>
                    </a:ext>
                  </a:extLst>
                </p:cNvPr>
                <p:cNvSpPr/>
                <p:nvPr/>
              </p:nvSpPr>
              <p:spPr bwMode="gray">
                <a:xfrm>
                  <a:off x="809758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3" name="Graphic 1498">
                <a:extLst>
                  <a:ext uri="{FF2B5EF4-FFF2-40B4-BE49-F238E27FC236}">
                    <a16:creationId xmlns:a16="http://schemas.microsoft.com/office/drawing/2014/main" id="{82317A42-CCEC-0864-C1BE-575B6357DD13}"/>
                  </a:ext>
                </a:extLst>
              </p:cNvPr>
              <p:cNvGrpSpPr/>
              <p:nvPr/>
            </p:nvGrpSpPr>
            <p:grpSpPr bwMode="gray">
              <a:xfrm>
                <a:off x="8113490" y="3920299"/>
                <a:ext cx="75723" cy="75723"/>
                <a:chOff x="8113490" y="3920299"/>
                <a:chExt cx="75723" cy="75723"/>
              </a:xfrm>
            </p:grpSpPr>
            <p:sp>
              <p:nvSpPr>
                <p:cNvPr id="12753" name="Freeform: Shape 12752">
                  <a:extLst>
                    <a:ext uri="{FF2B5EF4-FFF2-40B4-BE49-F238E27FC236}">
                      <a16:creationId xmlns:a16="http://schemas.microsoft.com/office/drawing/2014/main" id="{B4075416-AD3B-2832-78EE-6C33F6CA8097}"/>
                    </a:ext>
                  </a:extLst>
                </p:cNvPr>
                <p:cNvSpPr/>
                <p:nvPr/>
              </p:nvSpPr>
              <p:spPr bwMode="gray">
                <a:xfrm>
                  <a:off x="815139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54" name="Freeform: Shape 12753">
                  <a:extLst>
                    <a:ext uri="{FF2B5EF4-FFF2-40B4-BE49-F238E27FC236}">
                      <a16:creationId xmlns:a16="http://schemas.microsoft.com/office/drawing/2014/main" id="{F72008FC-E256-8BD7-EF5B-5A1A6EF9F235}"/>
                    </a:ext>
                  </a:extLst>
                </p:cNvPr>
                <p:cNvSpPr/>
                <p:nvPr/>
              </p:nvSpPr>
              <p:spPr bwMode="gray">
                <a:xfrm>
                  <a:off x="811349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4" name="Graphic 1498">
                <a:extLst>
                  <a:ext uri="{FF2B5EF4-FFF2-40B4-BE49-F238E27FC236}">
                    <a16:creationId xmlns:a16="http://schemas.microsoft.com/office/drawing/2014/main" id="{B828242C-DDDC-2A06-B36F-FC52C96C7A4F}"/>
                  </a:ext>
                </a:extLst>
              </p:cNvPr>
              <p:cNvGrpSpPr/>
              <p:nvPr/>
            </p:nvGrpSpPr>
            <p:grpSpPr bwMode="gray">
              <a:xfrm>
                <a:off x="8155209" y="3920299"/>
                <a:ext cx="75628" cy="75723"/>
                <a:chOff x="8155209" y="3920299"/>
                <a:chExt cx="75628" cy="75723"/>
              </a:xfrm>
            </p:grpSpPr>
            <p:sp>
              <p:nvSpPr>
                <p:cNvPr id="12751" name="Freeform: Shape 12750">
                  <a:extLst>
                    <a:ext uri="{FF2B5EF4-FFF2-40B4-BE49-F238E27FC236}">
                      <a16:creationId xmlns:a16="http://schemas.microsoft.com/office/drawing/2014/main" id="{39689C53-8BCE-B089-72DB-9C7590471A12}"/>
                    </a:ext>
                  </a:extLst>
                </p:cNvPr>
                <p:cNvSpPr/>
                <p:nvPr/>
              </p:nvSpPr>
              <p:spPr bwMode="gray">
                <a:xfrm>
                  <a:off x="819302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52" name="Freeform: Shape 12751">
                  <a:extLst>
                    <a:ext uri="{FF2B5EF4-FFF2-40B4-BE49-F238E27FC236}">
                      <a16:creationId xmlns:a16="http://schemas.microsoft.com/office/drawing/2014/main" id="{8AD3368C-72F4-6317-6516-CAB016145EED}"/>
                    </a:ext>
                  </a:extLst>
                </p:cNvPr>
                <p:cNvSpPr/>
                <p:nvPr/>
              </p:nvSpPr>
              <p:spPr bwMode="gray">
                <a:xfrm>
                  <a:off x="8155209"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5" name="Graphic 1498">
                <a:extLst>
                  <a:ext uri="{FF2B5EF4-FFF2-40B4-BE49-F238E27FC236}">
                    <a16:creationId xmlns:a16="http://schemas.microsoft.com/office/drawing/2014/main" id="{29D55B00-3A6C-D415-FB15-E1CECD475954}"/>
                  </a:ext>
                </a:extLst>
              </p:cNvPr>
              <p:cNvGrpSpPr/>
              <p:nvPr/>
            </p:nvGrpSpPr>
            <p:grpSpPr bwMode="gray">
              <a:xfrm>
                <a:off x="8212931" y="3920299"/>
                <a:ext cx="75723" cy="75723"/>
                <a:chOff x="8212931" y="3920299"/>
                <a:chExt cx="75723" cy="75723"/>
              </a:xfrm>
            </p:grpSpPr>
            <p:sp>
              <p:nvSpPr>
                <p:cNvPr id="12749" name="Freeform: Shape 12748">
                  <a:extLst>
                    <a:ext uri="{FF2B5EF4-FFF2-40B4-BE49-F238E27FC236}">
                      <a16:creationId xmlns:a16="http://schemas.microsoft.com/office/drawing/2014/main" id="{5FE58520-E05C-3623-6B67-5ED3B64B3E1B}"/>
                    </a:ext>
                  </a:extLst>
                </p:cNvPr>
                <p:cNvSpPr/>
                <p:nvPr/>
              </p:nvSpPr>
              <p:spPr bwMode="gray">
                <a:xfrm>
                  <a:off x="8250745"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50" name="Freeform: Shape 12749">
                  <a:extLst>
                    <a:ext uri="{FF2B5EF4-FFF2-40B4-BE49-F238E27FC236}">
                      <a16:creationId xmlns:a16="http://schemas.microsoft.com/office/drawing/2014/main" id="{5F631BCE-34F1-8077-1420-AE79EB01A4BE}"/>
                    </a:ext>
                  </a:extLst>
                </p:cNvPr>
                <p:cNvSpPr/>
                <p:nvPr/>
              </p:nvSpPr>
              <p:spPr bwMode="gray">
                <a:xfrm>
                  <a:off x="821293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6" name="Graphic 1498">
                <a:extLst>
                  <a:ext uri="{FF2B5EF4-FFF2-40B4-BE49-F238E27FC236}">
                    <a16:creationId xmlns:a16="http://schemas.microsoft.com/office/drawing/2014/main" id="{988FE9B8-4531-7978-0164-BC067F80D52A}"/>
                  </a:ext>
                </a:extLst>
              </p:cNvPr>
              <p:cNvGrpSpPr/>
              <p:nvPr/>
            </p:nvGrpSpPr>
            <p:grpSpPr bwMode="gray">
              <a:xfrm>
                <a:off x="8321040" y="3920299"/>
                <a:ext cx="75628" cy="75723"/>
                <a:chOff x="8321040" y="3920299"/>
                <a:chExt cx="75628" cy="75723"/>
              </a:xfrm>
            </p:grpSpPr>
            <p:sp>
              <p:nvSpPr>
                <p:cNvPr id="12747" name="Freeform: Shape 12746">
                  <a:extLst>
                    <a:ext uri="{FF2B5EF4-FFF2-40B4-BE49-F238E27FC236}">
                      <a16:creationId xmlns:a16="http://schemas.microsoft.com/office/drawing/2014/main" id="{42B8885E-2A10-3CB6-C82E-66D2912C75B1}"/>
                    </a:ext>
                  </a:extLst>
                </p:cNvPr>
                <p:cNvSpPr/>
                <p:nvPr/>
              </p:nvSpPr>
              <p:spPr bwMode="gray">
                <a:xfrm>
                  <a:off x="83588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48" name="Freeform: Shape 12747">
                  <a:extLst>
                    <a:ext uri="{FF2B5EF4-FFF2-40B4-BE49-F238E27FC236}">
                      <a16:creationId xmlns:a16="http://schemas.microsoft.com/office/drawing/2014/main" id="{447750E5-C72F-4FEE-6841-40D5B22A3BE9}"/>
                    </a:ext>
                  </a:extLst>
                </p:cNvPr>
                <p:cNvSpPr/>
                <p:nvPr/>
              </p:nvSpPr>
              <p:spPr bwMode="gray">
                <a:xfrm>
                  <a:off x="832104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7" name="Graphic 1498">
                <a:extLst>
                  <a:ext uri="{FF2B5EF4-FFF2-40B4-BE49-F238E27FC236}">
                    <a16:creationId xmlns:a16="http://schemas.microsoft.com/office/drawing/2014/main" id="{B844E2B6-13C1-3087-4075-EF7DE17B61D8}"/>
                  </a:ext>
                </a:extLst>
              </p:cNvPr>
              <p:cNvGrpSpPr/>
              <p:nvPr/>
            </p:nvGrpSpPr>
            <p:grpSpPr bwMode="gray">
              <a:xfrm>
                <a:off x="8331612" y="3920299"/>
                <a:ext cx="75628" cy="75723"/>
                <a:chOff x="8331612" y="3920299"/>
                <a:chExt cx="75628" cy="75723"/>
              </a:xfrm>
            </p:grpSpPr>
            <p:sp>
              <p:nvSpPr>
                <p:cNvPr id="12745" name="Freeform: Shape 12744">
                  <a:extLst>
                    <a:ext uri="{FF2B5EF4-FFF2-40B4-BE49-F238E27FC236}">
                      <a16:creationId xmlns:a16="http://schemas.microsoft.com/office/drawing/2014/main" id="{133333D4-1B82-B59A-1F87-E57BDD5D6E05}"/>
                    </a:ext>
                  </a:extLst>
                </p:cNvPr>
                <p:cNvSpPr/>
                <p:nvPr/>
              </p:nvSpPr>
              <p:spPr bwMode="gray">
                <a:xfrm>
                  <a:off x="836942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46" name="Freeform: Shape 12745">
                  <a:extLst>
                    <a:ext uri="{FF2B5EF4-FFF2-40B4-BE49-F238E27FC236}">
                      <a16:creationId xmlns:a16="http://schemas.microsoft.com/office/drawing/2014/main" id="{CFF8D643-FCB3-1899-90A2-E230AB8A4F9F}"/>
                    </a:ext>
                  </a:extLst>
                </p:cNvPr>
                <p:cNvSpPr/>
                <p:nvPr/>
              </p:nvSpPr>
              <p:spPr bwMode="gray">
                <a:xfrm>
                  <a:off x="8331612"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8" name="Graphic 1498">
                <a:extLst>
                  <a:ext uri="{FF2B5EF4-FFF2-40B4-BE49-F238E27FC236}">
                    <a16:creationId xmlns:a16="http://schemas.microsoft.com/office/drawing/2014/main" id="{5320A549-4CB1-D647-1ABA-FF8D82AC38D1}"/>
                  </a:ext>
                </a:extLst>
              </p:cNvPr>
              <p:cNvGrpSpPr/>
              <p:nvPr/>
            </p:nvGrpSpPr>
            <p:grpSpPr bwMode="gray">
              <a:xfrm>
                <a:off x="8348472" y="3920299"/>
                <a:ext cx="75723" cy="75723"/>
                <a:chOff x="8348472" y="3920299"/>
                <a:chExt cx="75723" cy="75723"/>
              </a:xfrm>
            </p:grpSpPr>
            <p:sp>
              <p:nvSpPr>
                <p:cNvPr id="12743" name="Freeform: Shape 12742">
                  <a:extLst>
                    <a:ext uri="{FF2B5EF4-FFF2-40B4-BE49-F238E27FC236}">
                      <a16:creationId xmlns:a16="http://schemas.microsoft.com/office/drawing/2014/main" id="{B7AA37CB-D05C-8641-4BAD-618E45C0383D}"/>
                    </a:ext>
                  </a:extLst>
                </p:cNvPr>
                <p:cNvSpPr/>
                <p:nvPr/>
              </p:nvSpPr>
              <p:spPr bwMode="gray">
                <a:xfrm>
                  <a:off x="838628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44" name="Freeform: Shape 12743">
                  <a:extLst>
                    <a:ext uri="{FF2B5EF4-FFF2-40B4-BE49-F238E27FC236}">
                      <a16:creationId xmlns:a16="http://schemas.microsoft.com/office/drawing/2014/main" id="{6F00D609-8996-68D1-B702-2A81DB07A3F4}"/>
                    </a:ext>
                  </a:extLst>
                </p:cNvPr>
                <p:cNvSpPr/>
                <p:nvPr/>
              </p:nvSpPr>
              <p:spPr bwMode="gray">
                <a:xfrm>
                  <a:off x="83484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19" name="Graphic 1498">
                <a:extLst>
                  <a:ext uri="{FF2B5EF4-FFF2-40B4-BE49-F238E27FC236}">
                    <a16:creationId xmlns:a16="http://schemas.microsoft.com/office/drawing/2014/main" id="{B418C0A6-98F6-6EA5-7C96-5485AF26505E}"/>
                  </a:ext>
                </a:extLst>
              </p:cNvPr>
              <p:cNvGrpSpPr/>
              <p:nvPr/>
            </p:nvGrpSpPr>
            <p:grpSpPr bwMode="gray">
              <a:xfrm>
                <a:off x="8382285" y="3920299"/>
                <a:ext cx="75628" cy="75723"/>
                <a:chOff x="8382285" y="3920299"/>
                <a:chExt cx="75628" cy="75723"/>
              </a:xfrm>
            </p:grpSpPr>
            <p:sp>
              <p:nvSpPr>
                <p:cNvPr id="12741" name="Freeform: Shape 12740">
                  <a:extLst>
                    <a:ext uri="{FF2B5EF4-FFF2-40B4-BE49-F238E27FC236}">
                      <a16:creationId xmlns:a16="http://schemas.microsoft.com/office/drawing/2014/main" id="{49461397-E998-1C06-F5B9-84194FE4057E}"/>
                    </a:ext>
                  </a:extLst>
                </p:cNvPr>
                <p:cNvSpPr/>
                <p:nvPr/>
              </p:nvSpPr>
              <p:spPr bwMode="gray">
                <a:xfrm>
                  <a:off x="84201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42" name="Freeform: Shape 12741">
                  <a:extLst>
                    <a:ext uri="{FF2B5EF4-FFF2-40B4-BE49-F238E27FC236}">
                      <a16:creationId xmlns:a16="http://schemas.microsoft.com/office/drawing/2014/main" id="{4539F325-E410-5924-0275-84B9691D2DF8}"/>
                    </a:ext>
                  </a:extLst>
                </p:cNvPr>
                <p:cNvSpPr/>
                <p:nvPr/>
              </p:nvSpPr>
              <p:spPr bwMode="gray">
                <a:xfrm>
                  <a:off x="8382285"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0" name="Graphic 1498">
                <a:extLst>
                  <a:ext uri="{FF2B5EF4-FFF2-40B4-BE49-F238E27FC236}">
                    <a16:creationId xmlns:a16="http://schemas.microsoft.com/office/drawing/2014/main" id="{AB5F2EA9-59AD-E8FC-13AA-CFE95BBBEEA6}"/>
                  </a:ext>
                </a:extLst>
              </p:cNvPr>
              <p:cNvGrpSpPr/>
              <p:nvPr/>
            </p:nvGrpSpPr>
            <p:grpSpPr bwMode="gray">
              <a:xfrm>
                <a:off x="8391715" y="3920299"/>
                <a:ext cx="75628" cy="75723"/>
                <a:chOff x="8391715" y="3920299"/>
                <a:chExt cx="75628" cy="75723"/>
              </a:xfrm>
            </p:grpSpPr>
            <p:sp>
              <p:nvSpPr>
                <p:cNvPr id="12739" name="Freeform: Shape 12738">
                  <a:extLst>
                    <a:ext uri="{FF2B5EF4-FFF2-40B4-BE49-F238E27FC236}">
                      <a16:creationId xmlns:a16="http://schemas.microsoft.com/office/drawing/2014/main" id="{03C3257B-63CB-DBAE-DCB4-765AB4E89709}"/>
                    </a:ext>
                  </a:extLst>
                </p:cNvPr>
                <p:cNvSpPr/>
                <p:nvPr/>
              </p:nvSpPr>
              <p:spPr bwMode="gray">
                <a:xfrm>
                  <a:off x="842952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40" name="Freeform: Shape 12739">
                  <a:extLst>
                    <a:ext uri="{FF2B5EF4-FFF2-40B4-BE49-F238E27FC236}">
                      <a16:creationId xmlns:a16="http://schemas.microsoft.com/office/drawing/2014/main" id="{9F2E1E17-34A5-CE77-FBCE-64D1C8B13B99}"/>
                    </a:ext>
                  </a:extLst>
                </p:cNvPr>
                <p:cNvSpPr/>
                <p:nvPr/>
              </p:nvSpPr>
              <p:spPr bwMode="gray">
                <a:xfrm>
                  <a:off x="839171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1" name="Graphic 1498">
                <a:extLst>
                  <a:ext uri="{FF2B5EF4-FFF2-40B4-BE49-F238E27FC236}">
                    <a16:creationId xmlns:a16="http://schemas.microsoft.com/office/drawing/2014/main" id="{0969957C-AE1D-BD23-3EFA-EB4C1A3018D8}"/>
                  </a:ext>
                </a:extLst>
              </p:cNvPr>
              <p:cNvGrpSpPr/>
              <p:nvPr/>
            </p:nvGrpSpPr>
            <p:grpSpPr bwMode="gray">
              <a:xfrm>
                <a:off x="8422005" y="3920299"/>
                <a:ext cx="75628" cy="75723"/>
                <a:chOff x="8422005" y="3920299"/>
                <a:chExt cx="75628" cy="75723"/>
              </a:xfrm>
            </p:grpSpPr>
            <p:sp>
              <p:nvSpPr>
                <p:cNvPr id="12737" name="Freeform: Shape 12736">
                  <a:extLst>
                    <a:ext uri="{FF2B5EF4-FFF2-40B4-BE49-F238E27FC236}">
                      <a16:creationId xmlns:a16="http://schemas.microsoft.com/office/drawing/2014/main" id="{03C8E8F9-076B-C6CE-9FFE-3A19700A371D}"/>
                    </a:ext>
                  </a:extLst>
                </p:cNvPr>
                <p:cNvSpPr/>
                <p:nvPr/>
              </p:nvSpPr>
              <p:spPr bwMode="gray">
                <a:xfrm>
                  <a:off x="845981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38" name="Freeform: Shape 12737">
                  <a:extLst>
                    <a:ext uri="{FF2B5EF4-FFF2-40B4-BE49-F238E27FC236}">
                      <a16:creationId xmlns:a16="http://schemas.microsoft.com/office/drawing/2014/main" id="{EF0CFFFC-7CAA-5BF7-EECC-6BF99CC76626}"/>
                    </a:ext>
                  </a:extLst>
                </p:cNvPr>
                <p:cNvSpPr/>
                <p:nvPr/>
              </p:nvSpPr>
              <p:spPr bwMode="gray">
                <a:xfrm>
                  <a:off x="842200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2" name="Graphic 1498">
                <a:extLst>
                  <a:ext uri="{FF2B5EF4-FFF2-40B4-BE49-F238E27FC236}">
                    <a16:creationId xmlns:a16="http://schemas.microsoft.com/office/drawing/2014/main" id="{4FF4F036-92AE-1C42-EEE2-03329B8817E7}"/>
                  </a:ext>
                </a:extLst>
              </p:cNvPr>
              <p:cNvGrpSpPr/>
              <p:nvPr/>
            </p:nvGrpSpPr>
            <p:grpSpPr bwMode="gray">
              <a:xfrm>
                <a:off x="8519350" y="3920299"/>
                <a:ext cx="75723" cy="75723"/>
                <a:chOff x="8519350" y="3920299"/>
                <a:chExt cx="75723" cy="75723"/>
              </a:xfrm>
            </p:grpSpPr>
            <p:sp>
              <p:nvSpPr>
                <p:cNvPr id="12735" name="Freeform: Shape 12734">
                  <a:extLst>
                    <a:ext uri="{FF2B5EF4-FFF2-40B4-BE49-F238E27FC236}">
                      <a16:creationId xmlns:a16="http://schemas.microsoft.com/office/drawing/2014/main" id="{DD4653C4-01C1-ED06-9D63-BF5158CD4EC4}"/>
                    </a:ext>
                  </a:extLst>
                </p:cNvPr>
                <p:cNvSpPr/>
                <p:nvPr/>
              </p:nvSpPr>
              <p:spPr bwMode="gray">
                <a:xfrm>
                  <a:off x="855716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36" name="Freeform: Shape 12735">
                  <a:extLst>
                    <a:ext uri="{FF2B5EF4-FFF2-40B4-BE49-F238E27FC236}">
                      <a16:creationId xmlns:a16="http://schemas.microsoft.com/office/drawing/2014/main" id="{EAD97E8C-9EAA-01DA-3C27-0BCAE1ED96B6}"/>
                    </a:ext>
                  </a:extLst>
                </p:cNvPr>
                <p:cNvSpPr/>
                <p:nvPr/>
              </p:nvSpPr>
              <p:spPr bwMode="gray">
                <a:xfrm>
                  <a:off x="851935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3" name="Graphic 1498">
                <a:extLst>
                  <a:ext uri="{FF2B5EF4-FFF2-40B4-BE49-F238E27FC236}">
                    <a16:creationId xmlns:a16="http://schemas.microsoft.com/office/drawing/2014/main" id="{B0E95478-4D9E-23DE-F9B8-664767897155}"/>
                  </a:ext>
                </a:extLst>
              </p:cNvPr>
              <p:cNvGrpSpPr/>
              <p:nvPr/>
            </p:nvGrpSpPr>
            <p:grpSpPr bwMode="gray">
              <a:xfrm>
                <a:off x="8509730" y="3920299"/>
                <a:ext cx="75723" cy="75723"/>
                <a:chOff x="8509730" y="3920299"/>
                <a:chExt cx="75723" cy="75723"/>
              </a:xfrm>
            </p:grpSpPr>
            <p:sp>
              <p:nvSpPr>
                <p:cNvPr id="12733" name="Freeform: Shape 12732">
                  <a:extLst>
                    <a:ext uri="{FF2B5EF4-FFF2-40B4-BE49-F238E27FC236}">
                      <a16:creationId xmlns:a16="http://schemas.microsoft.com/office/drawing/2014/main" id="{1797BEFF-D757-8998-923E-17E90187A23C}"/>
                    </a:ext>
                  </a:extLst>
                </p:cNvPr>
                <p:cNvSpPr/>
                <p:nvPr/>
              </p:nvSpPr>
              <p:spPr bwMode="gray">
                <a:xfrm>
                  <a:off x="854763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34" name="Freeform: Shape 12733">
                  <a:extLst>
                    <a:ext uri="{FF2B5EF4-FFF2-40B4-BE49-F238E27FC236}">
                      <a16:creationId xmlns:a16="http://schemas.microsoft.com/office/drawing/2014/main" id="{DDCD9561-8923-C7C8-373E-4F1770F55E2D}"/>
                    </a:ext>
                  </a:extLst>
                </p:cNvPr>
                <p:cNvSpPr/>
                <p:nvPr/>
              </p:nvSpPr>
              <p:spPr bwMode="gray">
                <a:xfrm>
                  <a:off x="850973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4" name="Graphic 1498">
                <a:extLst>
                  <a:ext uri="{FF2B5EF4-FFF2-40B4-BE49-F238E27FC236}">
                    <a16:creationId xmlns:a16="http://schemas.microsoft.com/office/drawing/2014/main" id="{FC5BFFFE-9877-AD89-52E3-DD248287BF90}"/>
                  </a:ext>
                </a:extLst>
              </p:cNvPr>
              <p:cNvGrpSpPr/>
              <p:nvPr/>
            </p:nvGrpSpPr>
            <p:grpSpPr bwMode="gray">
              <a:xfrm>
                <a:off x="8467534" y="3920299"/>
                <a:ext cx="75723" cy="75723"/>
                <a:chOff x="8467534" y="3920299"/>
                <a:chExt cx="75723" cy="75723"/>
              </a:xfrm>
            </p:grpSpPr>
            <p:sp>
              <p:nvSpPr>
                <p:cNvPr id="12731" name="Freeform: Shape 12730">
                  <a:extLst>
                    <a:ext uri="{FF2B5EF4-FFF2-40B4-BE49-F238E27FC236}">
                      <a16:creationId xmlns:a16="http://schemas.microsoft.com/office/drawing/2014/main" id="{8A8E9792-D607-9EBC-2D85-C4C5AAFBCAEF}"/>
                    </a:ext>
                  </a:extLst>
                </p:cNvPr>
                <p:cNvSpPr/>
                <p:nvPr/>
              </p:nvSpPr>
              <p:spPr bwMode="gray">
                <a:xfrm>
                  <a:off x="8505348"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32" name="Freeform: Shape 12731">
                  <a:extLst>
                    <a:ext uri="{FF2B5EF4-FFF2-40B4-BE49-F238E27FC236}">
                      <a16:creationId xmlns:a16="http://schemas.microsoft.com/office/drawing/2014/main" id="{E4B488EF-B4FB-4286-DA63-41FD6B2FE184}"/>
                    </a:ext>
                  </a:extLst>
                </p:cNvPr>
                <p:cNvSpPr/>
                <p:nvPr/>
              </p:nvSpPr>
              <p:spPr bwMode="gray">
                <a:xfrm>
                  <a:off x="846753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5" name="Graphic 1498">
                <a:extLst>
                  <a:ext uri="{FF2B5EF4-FFF2-40B4-BE49-F238E27FC236}">
                    <a16:creationId xmlns:a16="http://schemas.microsoft.com/office/drawing/2014/main" id="{68F85D5F-447C-A726-474D-3F9C4E16C911}"/>
                  </a:ext>
                </a:extLst>
              </p:cNvPr>
              <p:cNvGrpSpPr/>
              <p:nvPr/>
            </p:nvGrpSpPr>
            <p:grpSpPr bwMode="gray">
              <a:xfrm>
                <a:off x="8478297" y="3920299"/>
                <a:ext cx="75723" cy="75723"/>
                <a:chOff x="8478297" y="3920299"/>
                <a:chExt cx="75723" cy="75723"/>
              </a:xfrm>
            </p:grpSpPr>
            <p:sp>
              <p:nvSpPr>
                <p:cNvPr id="12729" name="Freeform: Shape 12728">
                  <a:extLst>
                    <a:ext uri="{FF2B5EF4-FFF2-40B4-BE49-F238E27FC236}">
                      <a16:creationId xmlns:a16="http://schemas.microsoft.com/office/drawing/2014/main" id="{92A260EC-4242-4480-078F-A378206D82DE}"/>
                    </a:ext>
                  </a:extLst>
                </p:cNvPr>
                <p:cNvSpPr/>
                <p:nvPr/>
              </p:nvSpPr>
              <p:spPr bwMode="gray">
                <a:xfrm>
                  <a:off x="8516207"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30" name="Freeform: Shape 12729">
                  <a:extLst>
                    <a:ext uri="{FF2B5EF4-FFF2-40B4-BE49-F238E27FC236}">
                      <a16:creationId xmlns:a16="http://schemas.microsoft.com/office/drawing/2014/main" id="{4847B358-5843-7894-A2AD-604393E109F0}"/>
                    </a:ext>
                  </a:extLst>
                </p:cNvPr>
                <p:cNvSpPr/>
                <p:nvPr/>
              </p:nvSpPr>
              <p:spPr bwMode="gray">
                <a:xfrm>
                  <a:off x="8478297"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726" name="Graphic 1498">
                <a:extLst>
                  <a:ext uri="{FF2B5EF4-FFF2-40B4-BE49-F238E27FC236}">
                    <a16:creationId xmlns:a16="http://schemas.microsoft.com/office/drawing/2014/main" id="{CB853280-0CCF-7D63-2E09-B6360C1C290D}"/>
                  </a:ext>
                </a:extLst>
              </p:cNvPr>
              <p:cNvGrpSpPr/>
              <p:nvPr/>
            </p:nvGrpSpPr>
            <p:grpSpPr bwMode="gray">
              <a:xfrm>
                <a:off x="8457914" y="3920299"/>
                <a:ext cx="75723" cy="75723"/>
                <a:chOff x="8457914" y="3920299"/>
                <a:chExt cx="75723" cy="75723"/>
              </a:xfrm>
            </p:grpSpPr>
            <p:sp>
              <p:nvSpPr>
                <p:cNvPr id="12727" name="Freeform: Shape 12726">
                  <a:extLst>
                    <a:ext uri="{FF2B5EF4-FFF2-40B4-BE49-F238E27FC236}">
                      <a16:creationId xmlns:a16="http://schemas.microsoft.com/office/drawing/2014/main" id="{9E736F8D-C7C4-5FF2-8A9F-D3016E7AE9D6}"/>
                    </a:ext>
                  </a:extLst>
                </p:cNvPr>
                <p:cNvSpPr/>
                <p:nvPr/>
              </p:nvSpPr>
              <p:spPr bwMode="gray">
                <a:xfrm>
                  <a:off x="849582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28" name="Freeform: Shape 12727">
                  <a:extLst>
                    <a:ext uri="{FF2B5EF4-FFF2-40B4-BE49-F238E27FC236}">
                      <a16:creationId xmlns:a16="http://schemas.microsoft.com/office/drawing/2014/main" id="{BD55B2B3-00AE-C8F9-2A7D-B04111BA861F}"/>
                    </a:ext>
                  </a:extLst>
                </p:cNvPr>
                <p:cNvSpPr/>
                <p:nvPr/>
              </p:nvSpPr>
              <p:spPr bwMode="gray">
                <a:xfrm>
                  <a:off x="845791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2534" name="Freeform: Shape 12533">
              <a:extLst>
                <a:ext uri="{FF2B5EF4-FFF2-40B4-BE49-F238E27FC236}">
                  <a16:creationId xmlns:a16="http://schemas.microsoft.com/office/drawing/2014/main" id="{D162C1D8-BCD1-FD35-0B97-CDFB665BCE0D}"/>
                </a:ext>
              </a:extLst>
            </p:cNvPr>
            <p:cNvSpPr/>
            <p:nvPr/>
          </p:nvSpPr>
          <p:spPr bwMode="gray">
            <a:xfrm>
              <a:off x="2981325" y="2666999"/>
              <a:ext cx="6194393" cy="1488186"/>
            </a:xfrm>
            <a:custGeom>
              <a:avLst/>
              <a:gdLst>
                <a:gd name="connsiteX0" fmla="*/ 6194394 w 6194393"/>
                <a:gd name="connsiteY0" fmla="*/ 1488186 h 1488186"/>
                <a:gd name="connsiteX1" fmla="*/ 5598319 w 6194393"/>
                <a:gd name="connsiteY1" fmla="*/ 1488186 h 1488186"/>
                <a:gd name="connsiteX2" fmla="*/ 5598319 w 6194393"/>
                <a:gd name="connsiteY2" fmla="*/ 1291209 h 1488186"/>
                <a:gd name="connsiteX3" fmla="*/ 4979003 w 6194393"/>
                <a:gd name="connsiteY3" fmla="*/ 1291209 h 1488186"/>
                <a:gd name="connsiteX4" fmla="*/ 4979003 w 6194393"/>
                <a:gd name="connsiteY4" fmla="*/ 1234726 h 1488186"/>
                <a:gd name="connsiteX5" fmla="*/ 4677728 w 6194393"/>
                <a:gd name="connsiteY5" fmla="*/ 1234726 h 1488186"/>
                <a:gd name="connsiteX6" fmla="*/ 4677728 w 6194393"/>
                <a:gd name="connsiteY6" fmla="*/ 1195769 h 1488186"/>
                <a:gd name="connsiteX7" fmla="*/ 4672584 w 6194393"/>
                <a:gd name="connsiteY7" fmla="*/ 1195769 h 1488186"/>
                <a:gd name="connsiteX8" fmla="*/ 4672584 w 6194393"/>
                <a:gd name="connsiteY8" fmla="*/ 1189673 h 1488186"/>
                <a:gd name="connsiteX9" fmla="*/ 4660773 w 6194393"/>
                <a:gd name="connsiteY9" fmla="*/ 1189673 h 1488186"/>
                <a:gd name="connsiteX10" fmla="*/ 4660773 w 6194393"/>
                <a:gd name="connsiteY10" fmla="*/ 1150239 h 1488186"/>
                <a:gd name="connsiteX11" fmla="*/ 4448842 w 6194393"/>
                <a:gd name="connsiteY11" fmla="*/ 1150239 h 1488186"/>
                <a:gd name="connsiteX12" fmla="*/ 4448842 w 6194393"/>
                <a:gd name="connsiteY12" fmla="*/ 1116425 h 1488186"/>
                <a:gd name="connsiteX13" fmla="*/ 4427125 w 6194393"/>
                <a:gd name="connsiteY13" fmla="*/ 1116425 h 1488186"/>
                <a:gd name="connsiteX14" fmla="*/ 4427125 w 6194393"/>
                <a:gd name="connsiteY14" fmla="*/ 1086612 h 1488186"/>
                <a:gd name="connsiteX15" fmla="*/ 4359498 w 6194393"/>
                <a:gd name="connsiteY15" fmla="*/ 1086612 h 1488186"/>
                <a:gd name="connsiteX16" fmla="*/ 4359498 w 6194393"/>
                <a:gd name="connsiteY16" fmla="*/ 1051370 h 1488186"/>
                <a:gd name="connsiteX17" fmla="*/ 4342829 w 6194393"/>
                <a:gd name="connsiteY17" fmla="*/ 1051370 h 1488186"/>
                <a:gd name="connsiteX18" fmla="*/ 4342829 w 6194393"/>
                <a:gd name="connsiteY18" fmla="*/ 1024414 h 1488186"/>
                <a:gd name="connsiteX19" fmla="*/ 4091654 w 6194393"/>
                <a:gd name="connsiteY19" fmla="*/ 1024414 h 1488186"/>
                <a:gd name="connsiteX20" fmla="*/ 4091654 w 6194393"/>
                <a:gd name="connsiteY20" fmla="*/ 997934 h 1488186"/>
                <a:gd name="connsiteX21" fmla="*/ 3886295 w 6194393"/>
                <a:gd name="connsiteY21" fmla="*/ 997934 h 1488186"/>
                <a:gd name="connsiteX22" fmla="*/ 3886295 w 6194393"/>
                <a:gd name="connsiteY22" fmla="*/ 953453 h 1488186"/>
                <a:gd name="connsiteX23" fmla="*/ 3689509 w 6194393"/>
                <a:gd name="connsiteY23" fmla="*/ 953453 h 1488186"/>
                <a:gd name="connsiteX24" fmla="*/ 3689509 w 6194393"/>
                <a:gd name="connsiteY24" fmla="*/ 935546 h 1488186"/>
                <a:gd name="connsiteX25" fmla="*/ 3683413 w 6194393"/>
                <a:gd name="connsiteY25" fmla="*/ 935546 h 1488186"/>
                <a:gd name="connsiteX26" fmla="*/ 3683413 w 6194393"/>
                <a:gd name="connsiteY26" fmla="*/ 913162 h 1488186"/>
                <a:gd name="connsiteX27" fmla="*/ 3603784 w 6194393"/>
                <a:gd name="connsiteY27" fmla="*/ 913162 h 1488186"/>
                <a:gd name="connsiteX28" fmla="*/ 3603784 w 6194393"/>
                <a:gd name="connsiteY28" fmla="*/ 877729 h 1488186"/>
                <a:gd name="connsiteX29" fmla="*/ 3550253 w 6194393"/>
                <a:gd name="connsiteY29" fmla="*/ 877729 h 1488186"/>
                <a:gd name="connsiteX30" fmla="*/ 3550253 w 6194393"/>
                <a:gd name="connsiteY30" fmla="*/ 862965 h 1488186"/>
                <a:gd name="connsiteX31" fmla="*/ 3309557 w 6194393"/>
                <a:gd name="connsiteY31" fmla="*/ 862965 h 1488186"/>
                <a:gd name="connsiteX32" fmla="*/ 3309557 w 6194393"/>
                <a:gd name="connsiteY32" fmla="*/ 846963 h 1488186"/>
                <a:gd name="connsiteX33" fmla="*/ 3287363 w 6194393"/>
                <a:gd name="connsiteY33" fmla="*/ 846963 h 1488186"/>
                <a:gd name="connsiteX34" fmla="*/ 3287363 w 6194393"/>
                <a:gd name="connsiteY34" fmla="*/ 828961 h 1488186"/>
                <a:gd name="connsiteX35" fmla="*/ 3125629 w 6194393"/>
                <a:gd name="connsiteY35" fmla="*/ 828961 h 1488186"/>
                <a:gd name="connsiteX36" fmla="*/ 3125629 w 6194393"/>
                <a:gd name="connsiteY36" fmla="*/ 812483 h 1488186"/>
                <a:gd name="connsiteX37" fmla="*/ 3090958 w 6194393"/>
                <a:gd name="connsiteY37" fmla="*/ 812483 h 1488186"/>
                <a:gd name="connsiteX38" fmla="*/ 3090958 w 6194393"/>
                <a:gd name="connsiteY38" fmla="*/ 795433 h 1488186"/>
                <a:gd name="connsiteX39" fmla="*/ 3074575 w 6194393"/>
                <a:gd name="connsiteY39" fmla="*/ 795433 h 1488186"/>
                <a:gd name="connsiteX40" fmla="*/ 3074575 w 6194393"/>
                <a:gd name="connsiteY40" fmla="*/ 783908 h 1488186"/>
                <a:gd name="connsiteX41" fmla="*/ 3056573 w 6194393"/>
                <a:gd name="connsiteY41" fmla="*/ 783908 h 1488186"/>
                <a:gd name="connsiteX42" fmla="*/ 3056573 w 6194393"/>
                <a:gd name="connsiteY42" fmla="*/ 768096 h 1488186"/>
                <a:gd name="connsiteX43" fmla="*/ 3012567 w 6194393"/>
                <a:gd name="connsiteY43" fmla="*/ 768096 h 1488186"/>
                <a:gd name="connsiteX44" fmla="*/ 3012567 w 6194393"/>
                <a:gd name="connsiteY44" fmla="*/ 756190 h 1488186"/>
                <a:gd name="connsiteX45" fmla="*/ 2976372 w 6194393"/>
                <a:gd name="connsiteY45" fmla="*/ 756190 h 1488186"/>
                <a:gd name="connsiteX46" fmla="*/ 2976372 w 6194393"/>
                <a:gd name="connsiteY46" fmla="*/ 738378 h 1488186"/>
                <a:gd name="connsiteX47" fmla="*/ 2945321 w 6194393"/>
                <a:gd name="connsiteY47" fmla="*/ 738378 h 1488186"/>
                <a:gd name="connsiteX48" fmla="*/ 2945321 w 6194393"/>
                <a:gd name="connsiteY48" fmla="*/ 723043 h 1488186"/>
                <a:gd name="connsiteX49" fmla="*/ 2870549 w 6194393"/>
                <a:gd name="connsiteY49" fmla="*/ 723043 h 1488186"/>
                <a:gd name="connsiteX50" fmla="*/ 2870549 w 6194393"/>
                <a:gd name="connsiteY50" fmla="*/ 711803 h 1488186"/>
                <a:gd name="connsiteX51" fmla="*/ 2768441 w 6194393"/>
                <a:gd name="connsiteY51" fmla="*/ 711803 h 1488186"/>
                <a:gd name="connsiteX52" fmla="*/ 2768441 w 6194393"/>
                <a:gd name="connsiteY52" fmla="*/ 695135 h 1488186"/>
                <a:gd name="connsiteX53" fmla="*/ 2742629 w 6194393"/>
                <a:gd name="connsiteY53" fmla="*/ 695135 h 1488186"/>
                <a:gd name="connsiteX54" fmla="*/ 2742629 w 6194393"/>
                <a:gd name="connsiteY54" fmla="*/ 682943 h 1488186"/>
                <a:gd name="connsiteX55" fmla="*/ 2576798 w 6194393"/>
                <a:gd name="connsiteY55" fmla="*/ 682943 h 1488186"/>
                <a:gd name="connsiteX56" fmla="*/ 2576798 w 6194393"/>
                <a:gd name="connsiteY56" fmla="*/ 671703 h 1488186"/>
                <a:gd name="connsiteX57" fmla="*/ 2499932 w 6194393"/>
                <a:gd name="connsiteY57" fmla="*/ 671703 h 1488186"/>
                <a:gd name="connsiteX58" fmla="*/ 2499932 w 6194393"/>
                <a:gd name="connsiteY58" fmla="*/ 633127 h 1488186"/>
                <a:gd name="connsiteX59" fmla="*/ 2361724 w 6194393"/>
                <a:gd name="connsiteY59" fmla="*/ 633127 h 1488186"/>
                <a:gd name="connsiteX60" fmla="*/ 2361724 w 6194393"/>
                <a:gd name="connsiteY60" fmla="*/ 615791 h 1488186"/>
                <a:gd name="connsiteX61" fmla="*/ 2300573 w 6194393"/>
                <a:gd name="connsiteY61" fmla="*/ 615791 h 1488186"/>
                <a:gd name="connsiteX62" fmla="*/ 2300573 w 6194393"/>
                <a:gd name="connsiteY62" fmla="*/ 598456 h 1488186"/>
                <a:gd name="connsiteX63" fmla="*/ 2247043 w 6194393"/>
                <a:gd name="connsiteY63" fmla="*/ 598456 h 1488186"/>
                <a:gd name="connsiteX64" fmla="*/ 2247043 w 6194393"/>
                <a:gd name="connsiteY64" fmla="*/ 574834 h 1488186"/>
                <a:gd name="connsiteX65" fmla="*/ 2198846 w 6194393"/>
                <a:gd name="connsiteY65" fmla="*/ 574834 h 1488186"/>
                <a:gd name="connsiteX66" fmla="*/ 2198846 w 6194393"/>
                <a:gd name="connsiteY66" fmla="*/ 563499 h 1488186"/>
                <a:gd name="connsiteX67" fmla="*/ 2173796 w 6194393"/>
                <a:gd name="connsiteY67" fmla="*/ 563499 h 1488186"/>
                <a:gd name="connsiteX68" fmla="*/ 2173796 w 6194393"/>
                <a:gd name="connsiteY68" fmla="*/ 543973 h 1488186"/>
                <a:gd name="connsiteX69" fmla="*/ 2101787 w 6194393"/>
                <a:gd name="connsiteY69" fmla="*/ 543973 h 1488186"/>
                <a:gd name="connsiteX70" fmla="*/ 2101787 w 6194393"/>
                <a:gd name="connsiteY70" fmla="*/ 530638 h 1488186"/>
                <a:gd name="connsiteX71" fmla="*/ 2072259 w 6194393"/>
                <a:gd name="connsiteY71" fmla="*/ 530638 h 1488186"/>
                <a:gd name="connsiteX72" fmla="*/ 2072259 w 6194393"/>
                <a:gd name="connsiteY72" fmla="*/ 518827 h 1488186"/>
                <a:gd name="connsiteX73" fmla="*/ 1921478 w 6194393"/>
                <a:gd name="connsiteY73" fmla="*/ 518827 h 1488186"/>
                <a:gd name="connsiteX74" fmla="*/ 1921478 w 6194393"/>
                <a:gd name="connsiteY74" fmla="*/ 510254 h 1488186"/>
                <a:gd name="connsiteX75" fmla="*/ 1866805 w 6194393"/>
                <a:gd name="connsiteY75" fmla="*/ 510254 h 1488186"/>
                <a:gd name="connsiteX76" fmla="*/ 1866805 w 6194393"/>
                <a:gd name="connsiteY76" fmla="*/ 483870 h 1488186"/>
                <a:gd name="connsiteX77" fmla="*/ 1809083 w 6194393"/>
                <a:gd name="connsiteY77" fmla="*/ 483870 h 1488186"/>
                <a:gd name="connsiteX78" fmla="*/ 1809083 w 6194393"/>
                <a:gd name="connsiteY78" fmla="*/ 472440 h 1488186"/>
                <a:gd name="connsiteX79" fmla="*/ 1761649 w 6194393"/>
                <a:gd name="connsiteY79" fmla="*/ 472440 h 1488186"/>
                <a:gd name="connsiteX80" fmla="*/ 1761649 w 6194393"/>
                <a:gd name="connsiteY80" fmla="*/ 460724 h 1488186"/>
                <a:gd name="connsiteX81" fmla="*/ 1727264 w 6194393"/>
                <a:gd name="connsiteY81" fmla="*/ 460724 h 1488186"/>
                <a:gd name="connsiteX82" fmla="*/ 1727264 w 6194393"/>
                <a:gd name="connsiteY82" fmla="*/ 445199 h 1488186"/>
                <a:gd name="connsiteX83" fmla="*/ 1702689 w 6194393"/>
                <a:gd name="connsiteY83" fmla="*/ 445199 h 1488186"/>
                <a:gd name="connsiteX84" fmla="*/ 1702689 w 6194393"/>
                <a:gd name="connsiteY84" fmla="*/ 431864 h 1488186"/>
                <a:gd name="connsiteX85" fmla="*/ 1673733 w 6194393"/>
                <a:gd name="connsiteY85" fmla="*/ 431864 h 1488186"/>
                <a:gd name="connsiteX86" fmla="*/ 1673733 w 6194393"/>
                <a:gd name="connsiteY86" fmla="*/ 402050 h 1488186"/>
                <a:gd name="connsiteX87" fmla="*/ 1646111 w 6194393"/>
                <a:gd name="connsiteY87" fmla="*/ 402050 h 1488186"/>
                <a:gd name="connsiteX88" fmla="*/ 1646111 w 6194393"/>
                <a:gd name="connsiteY88" fmla="*/ 389573 h 1488186"/>
                <a:gd name="connsiteX89" fmla="*/ 1615726 w 6194393"/>
                <a:gd name="connsiteY89" fmla="*/ 389573 h 1488186"/>
                <a:gd name="connsiteX90" fmla="*/ 1615726 w 6194393"/>
                <a:gd name="connsiteY90" fmla="*/ 377476 h 1488186"/>
                <a:gd name="connsiteX91" fmla="*/ 1591723 w 6194393"/>
                <a:gd name="connsiteY91" fmla="*/ 377476 h 1488186"/>
                <a:gd name="connsiteX92" fmla="*/ 1591723 w 6194393"/>
                <a:gd name="connsiteY92" fmla="*/ 365855 h 1488186"/>
                <a:gd name="connsiteX93" fmla="*/ 1578293 w 6194393"/>
                <a:gd name="connsiteY93" fmla="*/ 365855 h 1488186"/>
                <a:gd name="connsiteX94" fmla="*/ 1578293 w 6194393"/>
                <a:gd name="connsiteY94" fmla="*/ 350139 h 1488186"/>
                <a:gd name="connsiteX95" fmla="*/ 1531239 w 6194393"/>
                <a:gd name="connsiteY95" fmla="*/ 350139 h 1488186"/>
                <a:gd name="connsiteX96" fmla="*/ 1531239 w 6194393"/>
                <a:gd name="connsiteY96" fmla="*/ 340043 h 1488186"/>
                <a:gd name="connsiteX97" fmla="*/ 1432370 w 6194393"/>
                <a:gd name="connsiteY97" fmla="*/ 340043 h 1488186"/>
                <a:gd name="connsiteX98" fmla="*/ 1432370 w 6194393"/>
                <a:gd name="connsiteY98" fmla="*/ 330327 h 1488186"/>
                <a:gd name="connsiteX99" fmla="*/ 1415415 w 6194393"/>
                <a:gd name="connsiteY99" fmla="*/ 330327 h 1488186"/>
                <a:gd name="connsiteX100" fmla="*/ 1415415 w 6194393"/>
                <a:gd name="connsiteY100" fmla="*/ 312420 h 1488186"/>
                <a:gd name="connsiteX101" fmla="*/ 1401985 w 6194393"/>
                <a:gd name="connsiteY101" fmla="*/ 312420 h 1488186"/>
                <a:gd name="connsiteX102" fmla="*/ 1401985 w 6194393"/>
                <a:gd name="connsiteY102" fmla="*/ 297847 h 1488186"/>
                <a:gd name="connsiteX103" fmla="*/ 1338167 w 6194393"/>
                <a:gd name="connsiteY103" fmla="*/ 297847 h 1488186"/>
                <a:gd name="connsiteX104" fmla="*/ 1338167 w 6194393"/>
                <a:gd name="connsiteY104" fmla="*/ 280511 h 1488186"/>
                <a:gd name="connsiteX105" fmla="*/ 1309307 w 6194393"/>
                <a:gd name="connsiteY105" fmla="*/ 280511 h 1488186"/>
                <a:gd name="connsiteX106" fmla="*/ 1309307 w 6194393"/>
                <a:gd name="connsiteY106" fmla="*/ 282893 h 1488186"/>
                <a:gd name="connsiteX107" fmla="*/ 1246918 w 6194393"/>
                <a:gd name="connsiteY107" fmla="*/ 282893 h 1488186"/>
                <a:gd name="connsiteX108" fmla="*/ 1246918 w 6194393"/>
                <a:gd name="connsiteY108" fmla="*/ 267843 h 1488186"/>
                <a:gd name="connsiteX109" fmla="*/ 1100138 w 6194393"/>
                <a:gd name="connsiteY109" fmla="*/ 267843 h 1488186"/>
                <a:gd name="connsiteX110" fmla="*/ 1100138 w 6194393"/>
                <a:gd name="connsiteY110" fmla="*/ 250698 h 1488186"/>
                <a:gd name="connsiteX111" fmla="*/ 1065181 w 6194393"/>
                <a:gd name="connsiteY111" fmla="*/ 250698 h 1488186"/>
                <a:gd name="connsiteX112" fmla="*/ 1065181 w 6194393"/>
                <a:gd name="connsiteY112" fmla="*/ 237649 h 1488186"/>
                <a:gd name="connsiteX113" fmla="*/ 1052703 w 6194393"/>
                <a:gd name="connsiteY113" fmla="*/ 237649 h 1488186"/>
                <a:gd name="connsiteX114" fmla="*/ 1052703 w 6194393"/>
                <a:gd name="connsiteY114" fmla="*/ 218504 h 1488186"/>
                <a:gd name="connsiteX115" fmla="*/ 1044797 w 6194393"/>
                <a:gd name="connsiteY115" fmla="*/ 218504 h 1488186"/>
                <a:gd name="connsiteX116" fmla="*/ 1044797 w 6194393"/>
                <a:gd name="connsiteY116" fmla="*/ 208693 h 1488186"/>
                <a:gd name="connsiteX117" fmla="*/ 1026605 w 6194393"/>
                <a:gd name="connsiteY117" fmla="*/ 208693 h 1488186"/>
                <a:gd name="connsiteX118" fmla="*/ 1026605 w 6194393"/>
                <a:gd name="connsiteY118" fmla="*/ 203264 h 1488186"/>
                <a:gd name="connsiteX119" fmla="*/ 991934 w 6194393"/>
                <a:gd name="connsiteY119" fmla="*/ 203264 h 1488186"/>
                <a:gd name="connsiteX120" fmla="*/ 991934 w 6194393"/>
                <a:gd name="connsiteY120" fmla="*/ 192596 h 1488186"/>
                <a:gd name="connsiteX121" fmla="*/ 940880 w 6194393"/>
                <a:gd name="connsiteY121" fmla="*/ 192596 h 1488186"/>
                <a:gd name="connsiteX122" fmla="*/ 940880 w 6194393"/>
                <a:gd name="connsiteY122" fmla="*/ 187738 h 1488186"/>
                <a:gd name="connsiteX123" fmla="*/ 896493 w 6194393"/>
                <a:gd name="connsiteY123" fmla="*/ 187738 h 1488186"/>
                <a:gd name="connsiteX124" fmla="*/ 896493 w 6194393"/>
                <a:gd name="connsiteY124" fmla="*/ 175260 h 1488186"/>
                <a:gd name="connsiteX125" fmla="*/ 851154 w 6194393"/>
                <a:gd name="connsiteY125" fmla="*/ 175260 h 1488186"/>
                <a:gd name="connsiteX126" fmla="*/ 851154 w 6194393"/>
                <a:gd name="connsiteY126" fmla="*/ 159449 h 1488186"/>
                <a:gd name="connsiteX127" fmla="*/ 819531 w 6194393"/>
                <a:gd name="connsiteY127" fmla="*/ 159449 h 1488186"/>
                <a:gd name="connsiteX128" fmla="*/ 819531 w 6194393"/>
                <a:gd name="connsiteY128" fmla="*/ 148209 h 1488186"/>
                <a:gd name="connsiteX129" fmla="*/ 773049 w 6194393"/>
                <a:gd name="connsiteY129" fmla="*/ 148209 h 1488186"/>
                <a:gd name="connsiteX130" fmla="*/ 773049 w 6194393"/>
                <a:gd name="connsiteY130" fmla="*/ 140970 h 1488186"/>
                <a:gd name="connsiteX131" fmla="*/ 739616 w 6194393"/>
                <a:gd name="connsiteY131" fmla="*/ 140970 h 1488186"/>
                <a:gd name="connsiteX132" fmla="*/ 739616 w 6194393"/>
                <a:gd name="connsiteY132" fmla="*/ 130588 h 1488186"/>
                <a:gd name="connsiteX133" fmla="*/ 694944 w 6194393"/>
                <a:gd name="connsiteY133" fmla="*/ 130588 h 1488186"/>
                <a:gd name="connsiteX134" fmla="*/ 694944 w 6194393"/>
                <a:gd name="connsiteY134" fmla="*/ 124873 h 1488186"/>
                <a:gd name="connsiteX135" fmla="*/ 689134 w 6194393"/>
                <a:gd name="connsiteY135" fmla="*/ 124873 h 1488186"/>
                <a:gd name="connsiteX136" fmla="*/ 689134 w 6194393"/>
                <a:gd name="connsiteY136" fmla="*/ 113633 h 1488186"/>
                <a:gd name="connsiteX137" fmla="*/ 653606 w 6194393"/>
                <a:gd name="connsiteY137" fmla="*/ 113633 h 1488186"/>
                <a:gd name="connsiteX138" fmla="*/ 653606 w 6194393"/>
                <a:gd name="connsiteY138" fmla="*/ 108395 h 1488186"/>
                <a:gd name="connsiteX139" fmla="*/ 555117 w 6194393"/>
                <a:gd name="connsiteY139" fmla="*/ 108395 h 1488186"/>
                <a:gd name="connsiteX140" fmla="*/ 555117 w 6194393"/>
                <a:gd name="connsiteY140" fmla="*/ 98679 h 1488186"/>
                <a:gd name="connsiteX141" fmla="*/ 444437 w 6194393"/>
                <a:gd name="connsiteY141" fmla="*/ 98679 h 1488186"/>
                <a:gd name="connsiteX142" fmla="*/ 444437 w 6194393"/>
                <a:gd name="connsiteY142" fmla="*/ 92583 h 1488186"/>
                <a:gd name="connsiteX143" fmla="*/ 416433 w 6194393"/>
                <a:gd name="connsiteY143" fmla="*/ 92583 h 1488186"/>
                <a:gd name="connsiteX144" fmla="*/ 416433 w 6194393"/>
                <a:gd name="connsiteY144" fmla="*/ 85630 h 1488186"/>
                <a:gd name="connsiteX145" fmla="*/ 359950 w 6194393"/>
                <a:gd name="connsiteY145" fmla="*/ 85630 h 1488186"/>
                <a:gd name="connsiteX146" fmla="*/ 359950 w 6194393"/>
                <a:gd name="connsiteY146" fmla="*/ 81248 h 1488186"/>
                <a:gd name="connsiteX147" fmla="*/ 220694 w 6194393"/>
                <a:gd name="connsiteY147" fmla="*/ 81248 h 1488186"/>
                <a:gd name="connsiteX148" fmla="*/ 220694 w 6194393"/>
                <a:gd name="connsiteY148" fmla="*/ 68294 h 1488186"/>
                <a:gd name="connsiteX149" fmla="*/ 123730 w 6194393"/>
                <a:gd name="connsiteY149" fmla="*/ 68294 h 1488186"/>
                <a:gd name="connsiteX150" fmla="*/ 123730 w 6194393"/>
                <a:gd name="connsiteY150" fmla="*/ 61913 h 1488186"/>
                <a:gd name="connsiteX151" fmla="*/ 113062 w 6194393"/>
                <a:gd name="connsiteY151" fmla="*/ 61913 h 1488186"/>
                <a:gd name="connsiteX152" fmla="*/ 113062 w 6194393"/>
                <a:gd name="connsiteY152" fmla="*/ 51911 h 1488186"/>
                <a:gd name="connsiteX153" fmla="*/ 102775 w 6194393"/>
                <a:gd name="connsiteY153" fmla="*/ 51911 h 1488186"/>
                <a:gd name="connsiteX154" fmla="*/ 102775 w 6194393"/>
                <a:gd name="connsiteY154" fmla="*/ 46101 h 1488186"/>
                <a:gd name="connsiteX155" fmla="*/ 96393 w 6194393"/>
                <a:gd name="connsiteY155" fmla="*/ 46101 h 1488186"/>
                <a:gd name="connsiteX156" fmla="*/ 96393 w 6194393"/>
                <a:gd name="connsiteY156" fmla="*/ 36100 h 1488186"/>
                <a:gd name="connsiteX157" fmla="*/ 62579 w 6194393"/>
                <a:gd name="connsiteY157" fmla="*/ 36100 h 1488186"/>
                <a:gd name="connsiteX158" fmla="*/ 62579 w 6194393"/>
                <a:gd name="connsiteY158" fmla="*/ 25718 h 1488186"/>
                <a:gd name="connsiteX159" fmla="*/ 52864 w 6194393"/>
                <a:gd name="connsiteY159" fmla="*/ 25718 h 1488186"/>
                <a:gd name="connsiteX160" fmla="*/ 52864 w 6194393"/>
                <a:gd name="connsiteY160" fmla="*/ 0 h 1488186"/>
                <a:gd name="connsiteX161" fmla="*/ 0 w 6194393"/>
                <a:gd name="connsiteY161" fmla="*/ 0 h 148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194393" h="1488186">
                  <a:moveTo>
                    <a:pt x="6194394" y="1488186"/>
                  </a:moveTo>
                  <a:lnTo>
                    <a:pt x="5598319" y="1488186"/>
                  </a:lnTo>
                  <a:lnTo>
                    <a:pt x="5598319" y="1291209"/>
                  </a:lnTo>
                  <a:lnTo>
                    <a:pt x="4979003" y="1291209"/>
                  </a:lnTo>
                  <a:lnTo>
                    <a:pt x="4979003" y="1234726"/>
                  </a:lnTo>
                  <a:lnTo>
                    <a:pt x="4677728" y="1234726"/>
                  </a:lnTo>
                  <a:lnTo>
                    <a:pt x="4677728" y="1195769"/>
                  </a:lnTo>
                  <a:lnTo>
                    <a:pt x="4672584" y="1195769"/>
                  </a:lnTo>
                  <a:lnTo>
                    <a:pt x="4672584" y="1189673"/>
                  </a:lnTo>
                  <a:lnTo>
                    <a:pt x="4660773" y="1189673"/>
                  </a:lnTo>
                  <a:lnTo>
                    <a:pt x="4660773" y="1150239"/>
                  </a:lnTo>
                  <a:lnTo>
                    <a:pt x="4448842" y="1150239"/>
                  </a:lnTo>
                  <a:lnTo>
                    <a:pt x="4448842" y="1116425"/>
                  </a:lnTo>
                  <a:lnTo>
                    <a:pt x="4427125" y="1116425"/>
                  </a:lnTo>
                  <a:lnTo>
                    <a:pt x="4427125" y="1086612"/>
                  </a:lnTo>
                  <a:lnTo>
                    <a:pt x="4359498" y="1086612"/>
                  </a:lnTo>
                  <a:lnTo>
                    <a:pt x="4359498" y="1051370"/>
                  </a:lnTo>
                  <a:lnTo>
                    <a:pt x="4342829" y="1051370"/>
                  </a:lnTo>
                  <a:lnTo>
                    <a:pt x="4342829" y="1024414"/>
                  </a:lnTo>
                  <a:lnTo>
                    <a:pt x="4091654" y="1024414"/>
                  </a:lnTo>
                  <a:lnTo>
                    <a:pt x="4091654" y="997934"/>
                  </a:lnTo>
                  <a:lnTo>
                    <a:pt x="3886295" y="997934"/>
                  </a:lnTo>
                  <a:lnTo>
                    <a:pt x="3886295" y="953453"/>
                  </a:lnTo>
                  <a:lnTo>
                    <a:pt x="3689509" y="953453"/>
                  </a:lnTo>
                  <a:lnTo>
                    <a:pt x="3689509" y="935546"/>
                  </a:lnTo>
                  <a:lnTo>
                    <a:pt x="3683413" y="935546"/>
                  </a:lnTo>
                  <a:lnTo>
                    <a:pt x="3683413" y="913162"/>
                  </a:lnTo>
                  <a:lnTo>
                    <a:pt x="3603784" y="913162"/>
                  </a:lnTo>
                  <a:lnTo>
                    <a:pt x="3603784" y="877729"/>
                  </a:lnTo>
                  <a:lnTo>
                    <a:pt x="3550253" y="877729"/>
                  </a:lnTo>
                  <a:lnTo>
                    <a:pt x="3550253" y="862965"/>
                  </a:lnTo>
                  <a:lnTo>
                    <a:pt x="3309557" y="862965"/>
                  </a:lnTo>
                  <a:lnTo>
                    <a:pt x="3309557" y="846963"/>
                  </a:lnTo>
                  <a:lnTo>
                    <a:pt x="3287363" y="846963"/>
                  </a:lnTo>
                  <a:lnTo>
                    <a:pt x="3287363" y="828961"/>
                  </a:lnTo>
                  <a:lnTo>
                    <a:pt x="3125629" y="828961"/>
                  </a:lnTo>
                  <a:lnTo>
                    <a:pt x="3125629" y="812483"/>
                  </a:lnTo>
                  <a:lnTo>
                    <a:pt x="3090958" y="812483"/>
                  </a:lnTo>
                  <a:lnTo>
                    <a:pt x="3090958" y="795433"/>
                  </a:lnTo>
                  <a:lnTo>
                    <a:pt x="3074575" y="795433"/>
                  </a:lnTo>
                  <a:lnTo>
                    <a:pt x="3074575" y="783908"/>
                  </a:lnTo>
                  <a:lnTo>
                    <a:pt x="3056573" y="783908"/>
                  </a:lnTo>
                  <a:lnTo>
                    <a:pt x="3056573" y="768096"/>
                  </a:lnTo>
                  <a:lnTo>
                    <a:pt x="3012567" y="768096"/>
                  </a:lnTo>
                  <a:lnTo>
                    <a:pt x="3012567" y="756190"/>
                  </a:lnTo>
                  <a:lnTo>
                    <a:pt x="2976372" y="756190"/>
                  </a:lnTo>
                  <a:lnTo>
                    <a:pt x="2976372" y="738378"/>
                  </a:lnTo>
                  <a:lnTo>
                    <a:pt x="2945321" y="738378"/>
                  </a:lnTo>
                  <a:lnTo>
                    <a:pt x="2945321" y="723043"/>
                  </a:lnTo>
                  <a:lnTo>
                    <a:pt x="2870549" y="723043"/>
                  </a:lnTo>
                  <a:lnTo>
                    <a:pt x="2870549" y="711803"/>
                  </a:lnTo>
                  <a:lnTo>
                    <a:pt x="2768441" y="711803"/>
                  </a:lnTo>
                  <a:lnTo>
                    <a:pt x="2768441" y="695135"/>
                  </a:lnTo>
                  <a:lnTo>
                    <a:pt x="2742629" y="695135"/>
                  </a:lnTo>
                  <a:lnTo>
                    <a:pt x="2742629" y="682943"/>
                  </a:lnTo>
                  <a:lnTo>
                    <a:pt x="2576798" y="682943"/>
                  </a:lnTo>
                  <a:lnTo>
                    <a:pt x="2576798" y="671703"/>
                  </a:lnTo>
                  <a:lnTo>
                    <a:pt x="2499932" y="671703"/>
                  </a:lnTo>
                  <a:lnTo>
                    <a:pt x="2499932" y="633127"/>
                  </a:lnTo>
                  <a:lnTo>
                    <a:pt x="2361724" y="633127"/>
                  </a:lnTo>
                  <a:lnTo>
                    <a:pt x="2361724" y="615791"/>
                  </a:lnTo>
                  <a:lnTo>
                    <a:pt x="2300573" y="615791"/>
                  </a:lnTo>
                  <a:lnTo>
                    <a:pt x="2300573" y="598456"/>
                  </a:lnTo>
                  <a:lnTo>
                    <a:pt x="2247043" y="598456"/>
                  </a:lnTo>
                  <a:lnTo>
                    <a:pt x="2247043" y="574834"/>
                  </a:lnTo>
                  <a:lnTo>
                    <a:pt x="2198846" y="574834"/>
                  </a:lnTo>
                  <a:lnTo>
                    <a:pt x="2198846" y="563499"/>
                  </a:lnTo>
                  <a:lnTo>
                    <a:pt x="2173796" y="563499"/>
                  </a:lnTo>
                  <a:lnTo>
                    <a:pt x="2173796" y="543973"/>
                  </a:lnTo>
                  <a:lnTo>
                    <a:pt x="2101787" y="543973"/>
                  </a:lnTo>
                  <a:lnTo>
                    <a:pt x="2101787" y="530638"/>
                  </a:lnTo>
                  <a:lnTo>
                    <a:pt x="2072259" y="530638"/>
                  </a:lnTo>
                  <a:lnTo>
                    <a:pt x="2072259" y="518827"/>
                  </a:lnTo>
                  <a:lnTo>
                    <a:pt x="1921478" y="518827"/>
                  </a:lnTo>
                  <a:lnTo>
                    <a:pt x="1921478" y="510254"/>
                  </a:lnTo>
                  <a:lnTo>
                    <a:pt x="1866805" y="510254"/>
                  </a:lnTo>
                  <a:lnTo>
                    <a:pt x="1866805" y="483870"/>
                  </a:lnTo>
                  <a:lnTo>
                    <a:pt x="1809083" y="483870"/>
                  </a:lnTo>
                  <a:lnTo>
                    <a:pt x="1809083" y="472440"/>
                  </a:lnTo>
                  <a:lnTo>
                    <a:pt x="1761649" y="472440"/>
                  </a:lnTo>
                  <a:lnTo>
                    <a:pt x="1761649" y="460724"/>
                  </a:lnTo>
                  <a:lnTo>
                    <a:pt x="1727264" y="460724"/>
                  </a:lnTo>
                  <a:lnTo>
                    <a:pt x="1727264" y="445199"/>
                  </a:lnTo>
                  <a:lnTo>
                    <a:pt x="1702689" y="445199"/>
                  </a:lnTo>
                  <a:lnTo>
                    <a:pt x="1702689" y="431864"/>
                  </a:lnTo>
                  <a:lnTo>
                    <a:pt x="1673733" y="431864"/>
                  </a:lnTo>
                  <a:lnTo>
                    <a:pt x="1673733" y="402050"/>
                  </a:lnTo>
                  <a:lnTo>
                    <a:pt x="1646111" y="402050"/>
                  </a:lnTo>
                  <a:lnTo>
                    <a:pt x="1646111" y="389573"/>
                  </a:lnTo>
                  <a:lnTo>
                    <a:pt x="1615726" y="389573"/>
                  </a:lnTo>
                  <a:lnTo>
                    <a:pt x="1615726" y="377476"/>
                  </a:lnTo>
                  <a:lnTo>
                    <a:pt x="1591723" y="377476"/>
                  </a:lnTo>
                  <a:lnTo>
                    <a:pt x="1591723" y="365855"/>
                  </a:lnTo>
                  <a:lnTo>
                    <a:pt x="1578293" y="365855"/>
                  </a:lnTo>
                  <a:lnTo>
                    <a:pt x="1578293" y="350139"/>
                  </a:lnTo>
                  <a:lnTo>
                    <a:pt x="1531239" y="350139"/>
                  </a:lnTo>
                  <a:lnTo>
                    <a:pt x="1531239" y="340043"/>
                  </a:lnTo>
                  <a:lnTo>
                    <a:pt x="1432370" y="340043"/>
                  </a:lnTo>
                  <a:lnTo>
                    <a:pt x="1432370" y="330327"/>
                  </a:lnTo>
                  <a:lnTo>
                    <a:pt x="1415415" y="330327"/>
                  </a:lnTo>
                  <a:lnTo>
                    <a:pt x="1415415" y="312420"/>
                  </a:lnTo>
                  <a:lnTo>
                    <a:pt x="1401985" y="312420"/>
                  </a:lnTo>
                  <a:lnTo>
                    <a:pt x="1401985" y="297847"/>
                  </a:lnTo>
                  <a:lnTo>
                    <a:pt x="1338167" y="297847"/>
                  </a:lnTo>
                  <a:lnTo>
                    <a:pt x="1338167" y="280511"/>
                  </a:lnTo>
                  <a:lnTo>
                    <a:pt x="1309307" y="280511"/>
                  </a:lnTo>
                  <a:lnTo>
                    <a:pt x="1309307" y="282893"/>
                  </a:lnTo>
                  <a:lnTo>
                    <a:pt x="1246918" y="282893"/>
                  </a:lnTo>
                  <a:lnTo>
                    <a:pt x="1246918" y="267843"/>
                  </a:lnTo>
                  <a:lnTo>
                    <a:pt x="1100138" y="267843"/>
                  </a:lnTo>
                  <a:lnTo>
                    <a:pt x="1100138" y="250698"/>
                  </a:lnTo>
                  <a:lnTo>
                    <a:pt x="1065181" y="250698"/>
                  </a:lnTo>
                  <a:lnTo>
                    <a:pt x="1065181" y="237649"/>
                  </a:lnTo>
                  <a:lnTo>
                    <a:pt x="1052703" y="237649"/>
                  </a:lnTo>
                  <a:lnTo>
                    <a:pt x="1052703" y="218504"/>
                  </a:lnTo>
                  <a:lnTo>
                    <a:pt x="1044797" y="218504"/>
                  </a:lnTo>
                  <a:lnTo>
                    <a:pt x="1044797" y="208693"/>
                  </a:lnTo>
                  <a:lnTo>
                    <a:pt x="1026605" y="208693"/>
                  </a:lnTo>
                  <a:lnTo>
                    <a:pt x="1026605" y="203264"/>
                  </a:lnTo>
                  <a:lnTo>
                    <a:pt x="991934" y="203264"/>
                  </a:lnTo>
                  <a:lnTo>
                    <a:pt x="991934" y="192596"/>
                  </a:lnTo>
                  <a:lnTo>
                    <a:pt x="940880" y="192596"/>
                  </a:lnTo>
                  <a:lnTo>
                    <a:pt x="940880" y="187738"/>
                  </a:lnTo>
                  <a:lnTo>
                    <a:pt x="896493" y="187738"/>
                  </a:lnTo>
                  <a:lnTo>
                    <a:pt x="896493" y="175260"/>
                  </a:lnTo>
                  <a:lnTo>
                    <a:pt x="851154" y="175260"/>
                  </a:lnTo>
                  <a:lnTo>
                    <a:pt x="851154" y="159449"/>
                  </a:lnTo>
                  <a:lnTo>
                    <a:pt x="819531" y="159449"/>
                  </a:lnTo>
                  <a:lnTo>
                    <a:pt x="819531" y="148209"/>
                  </a:lnTo>
                  <a:lnTo>
                    <a:pt x="773049" y="148209"/>
                  </a:lnTo>
                  <a:lnTo>
                    <a:pt x="773049" y="140970"/>
                  </a:lnTo>
                  <a:lnTo>
                    <a:pt x="739616" y="140970"/>
                  </a:lnTo>
                  <a:lnTo>
                    <a:pt x="739616" y="130588"/>
                  </a:lnTo>
                  <a:lnTo>
                    <a:pt x="694944" y="130588"/>
                  </a:lnTo>
                  <a:lnTo>
                    <a:pt x="694944" y="124873"/>
                  </a:lnTo>
                  <a:lnTo>
                    <a:pt x="689134" y="124873"/>
                  </a:lnTo>
                  <a:lnTo>
                    <a:pt x="689134" y="113633"/>
                  </a:lnTo>
                  <a:lnTo>
                    <a:pt x="653606" y="113633"/>
                  </a:lnTo>
                  <a:lnTo>
                    <a:pt x="653606" y="108395"/>
                  </a:lnTo>
                  <a:lnTo>
                    <a:pt x="555117" y="108395"/>
                  </a:lnTo>
                  <a:lnTo>
                    <a:pt x="555117" y="98679"/>
                  </a:lnTo>
                  <a:lnTo>
                    <a:pt x="444437" y="98679"/>
                  </a:lnTo>
                  <a:lnTo>
                    <a:pt x="444437" y="92583"/>
                  </a:lnTo>
                  <a:lnTo>
                    <a:pt x="416433" y="92583"/>
                  </a:lnTo>
                  <a:lnTo>
                    <a:pt x="416433" y="85630"/>
                  </a:lnTo>
                  <a:lnTo>
                    <a:pt x="359950" y="85630"/>
                  </a:lnTo>
                  <a:lnTo>
                    <a:pt x="359950" y="81248"/>
                  </a:lnTo>
                  <a:lnTo>
                    <a:pt x="220694" y="81248"/>
                  </a:lnTo>
                  <a:lnTo>
                    <a:pt x="220694" y="68294"/>
                  </a:lnTo>
                  <a:lnTo>
                    <a:pt x="123730" y="68294"/>
                  </a:lnTo>
                  <a:lnTo>
                    <a:pt x="123730" y="61913"/>
                  </a:lnTo>
                  <a:lnTo>
                    <a:pt x="113062" y="61913"/>
                  </a:lnTo>
                  <a:lnTo>
                    <a:pt x="113062" y="51911"/>
                  </a:lnTo>
                  <a:lnTo>
                    <a:pt x="102775" y="51911"/>
                  </a:lnTo>
                  <a:lnTo>
                    <a:pt x="102775" y="46101"/>
                  </a:lnTo>
                  <a:lnTo>
                    <a:pt x="96393" y="46101"/>
                  </a:lnTo>
                  <a:lnTo>
                    <a:pt x="96393" y="36100"/>
                  </a:lnTo>
                  <a:lnTo>
                    <a:pt x="62579" y="36100"/>
                  </a:lnTo>
                  <a:lnTo>
                    <a:pt x="62579" y="25718"/>
                  </a:lnTo>
                  <a:lnTo>
                    <a:pt x="52864" y="25718"/>
                  </a:lnTo>
                  <a:lnTo>
                    <a:pt x="5286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84" name="Group 11983">
            <a:extLst>
              <a:ext uri="{FF2B5EF4-FFF2-40B4-BE49-F238E27FC236}">
                <a16:creationId xmlns:a16="http://schemas.microsoft.com/office/drawing/2014/main" id="{CBF1E3A3-0CD6-21E3-A0A1-4ACB83E4EDD2}"/>
              </a:ext>
            </a:extLst>
          </p:cNvPr>
          <p:cNvGrpSpPr/>
          <p:nvPr/>
        </p:nvGrpSpPr>
        <p:grpSpPr bwMode="gray">
          <a:xfrm>
            <a:off x="685051" y="1439967"/>
            <a:ext cx="6833580" cy="1552384"/>
            <a:chOff x="3005137" y="2652712"/>
            <a:chExt cx="6177533" cy="1552384"/>
          </a:xfrm>
        </p:grpSpPr>
        <p:grpSp>
          <p:nvGrpSpPr>
            <p:cNvPr id="11985" name="Graphic 2080">
              <a:extLst>
                <a:ext uri="{FF2B5EF4-FFF2-40B4-BE49-F238E27FC236}">
                  <a16:creationId xmlns:a16="http://schemas.microsoft.com/office/drawing/2014/main" id="{FBAF6E21-795B-29F5-9229-789A18F5A327}"/>
                </a:ext>
              </a:extLst>
            </p:cNvPr>
            <p:cNvGrpSpPr/>
            <p:nvPr/>
          </p:nvGrpSpPr>
          <p:grpSpPr bwMode="gray">
            <a:xfrm>
              <a:off x="3005137" y="2652712"/>
              <a:ext cx="6177533" cy="1552384"/>
              <a:chOff x="3005137" y="2652712"/>
              <a:chExt cx="6177533" cy="1552384"/>
            </a:xfrm>
          </p:grpSpPr>
          <p:grpSp>
            <p:nvGrpSpPr>
              <p:cNvPr id="11987" name="Graphic 2080">
                <a:extLst>
                  <a:ext uri="{FF2B5EF4-FFF2-40B4-BE49-F238E27FC236}">
                    <a16:creationId xmlns:a16="http://schemas.microsoft.com/office/drawing/2014/main" id="{399B4CAE-3BAF-CFBE-0D36-5F19E3EDD342}"/>
                  </a:ext>
                </a:extLst>
              </p:cNvPr>
              <p:cNvGrpSpPr/>
              <p:nvPr/>
            </p:nvGrpSpPr>
            <p:grpSpPr bwMode="gray">
              <a:xfrm>
                <a:off x="9098470" y="4129372"/>
                <a:ext cx="75723" cy="75723"/>
                <a:chOff x="9098470" y="4129372"/>
                <a:chExt cx="75723" cy="75723"/>
              </a:xfrm>
            </p:grpSpPr>
            <p:sp>
              <p:nvSpPr>
                <p:cNvPr id="12531" name="Freeform: Shape 12530">
                  <a:extLst>
                    <a:ext uri="{FF2B5EF4-FFF2-40B4-BE49-F238E27FC236}">
                      <a16:creationId xmlns:a16="http://schemas.microsoft.com/office/drawing/2014/main" id="{B34DED2E-9341-15C4-98F1-DDFE06C3F736}"/>
                    </a:ext>
                  </a:extLst>
                </p:cNvPr>
                <p:cNvSpPr/>
                <p:nvPr/>
              </p:nvSpPr>
              <p:spPr bwMode="gray">
                <a:xfrm>
                  <a:off x="91363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2" name="Freeform: Shape 12531">
                  <a:extLst>
                    <a:ext uri="{FF2B5EF4-FFF2-40B4-BE49-F238E27FC236}">
                      <a16:creationId xmlns:a16="http://schemas.microsoft.com/office/drawing/2014/main" id="{DF008BA3-EF0E-B6CC-4941-DEF886677960}"/>
                    </a:ext>
                  </a:extLst>
                </p:cNvPr>
                <p:cNvSpPr/>
                <p:nvPr/>
              </p:nvSpPr>
              <p:spPr bwMode="gray">
                <a:xfrm>
                  <a:off x="90984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88" name="Graphic 2080">
                <a:extLst>
                  <a:ext uri="{FF2B5EF4-FFF2-40B4-BE49-F238E27FC236}">
                    <a16:creationId xmlns:a16="http://schemas.microsoft.com/office/drawing/2014/main" id="{EF23FB7F-6981-3122-0130-0FF2FEB4E18F}"/>
                  </a:ext>
                </a:extLst>
              </p:cNvPr>
              <p:cNvGrpSpPr/>
              <p:nvPr/>
            </p:nvGrpSpPr>
            <p:grpSpPr bwMode="gray">
              <a:xfrm>
                <a:off x="9107042" y="4129372"/>
                <a:ext cx="75628" cy="75723"/>
                <a:chOff x="9107042" y="4129372"/>
                <a:chExt cx="75628" cy="75723"/>
              </a:xfrm>
            </p:grpSpPr>
            <p:sp>
              <p:nvSpPr>
                <p:cNvPr id="12529" name="Freeform: Shape 12528">
                  <a:extLst>
                    <a:ext uri="{FF2B5EF4-FFF2-40B4-BE49-F238E27FC236}">
                      <a16:creationId xmlns:a16="http://schemas.microsoft.com/office/drawing/2014/main" id="{E5EAFEE7-3966-1DC7-A1A3-ACD63C9750E7}"/>
                    </a:ext>
                  </a:extLst>
                </p:cNvPr>
                <p:cNvSpPr/>
                <p:nvPr/>
              </p:nvSpPr>
              <p:spPr bwMode="gray">
                <a:xfrm>
                  <a:off x="914485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30" name="Freeform: Shape 12529">
                  <a:extLst>
                    <a:ext uri="{FF2B5EF4-FFF2-40B4-BE49-F238E27FC236}">
                      <a16:creationId xmlns:a16="http://schemas.microsoft.com/office/drawing/2014/main" id="{05BF5255-DBE2-1FEB-0DAF-7EE1993E7E48}"/>
                    </a:ext>
                  </a:extLst>
                </p:cNvPr>
                <p:cNvSpPr/>
                <p:nvPr/>
              </p:nvSpPr>
              <p:spPr bwMode="gray">
                <a:xfrm>
                  <a:off x="910704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89" name="Graphic 2080">
                <a:extLst>
                  <a:ext uri="{FF2B5EF4-FFF2-40B4-BE49-F238E27FC236}">
                    <a16:creationId xmlns:a16="http://schemas.microsoft.com/office/drawing/2014/main" id="{9741A068-C271-9394-2E91-D541B17E2867}"/>
                  </a:ext>
                </a:extLst>
              </p:cNvPr>
              <p:cNvGrpSpPr/>
              <p:nvPr/>
            </p:nvGrpSpPr>
            <p:grpSpPr bwMode="gray">
              <a:xfrm>
                <a:off x="9061989" y="4129372"/>
                <a:ext cx="75723" cy="75723"/>
                <a:chOff x="9061989" y="4129372"/>
                <a:chExt cx="75723" cy="75723"/>
              </a:xfrm>
            </p:grpSpPr>
            <p:sp>
              <p:nvSpPr>
                <p:cNvPr id="12527" name="Freeform: Shape 12526">
                  <a:extLst>
                    <a:ext uri="{FF2B5EF4-FFF2-40B4-BE49-F238E27FC236}">
                      <a16:creationId xmlns:a16="http://schemas.microsoft.com/office/drawing/2014/main" id="{B90467F0-3A34-4ECD-84A4-72C32C50797D}"/>
                    </a:ext>
                  </a:extLst>
                </p:cNvPr>
                <p:cNvSpPr/>
                <p:nvPr/>
              </p:nvSpPr>
              <p:spPr bwMode="gray">
                <a:xfrm>
                  <a:off x="909989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8" name="Freeform: Shape 12527">
                  <a:extLst>
                    <a:ext uri="{FF2B5EF4-FFF2-40B4-BE49-F238E27FC236}">
                      <a16:creationId xmlns:a16="http://schemas.microsoft.com/office/drawing/2014/main" id="{918C2E86-4EAD-D8F8-19A1-FDDB370E173F}"/>
                    </a:ext>
                  </a:extLst>
                </p:cNvPr>
                <p:cNvSpPr/>
                <p:nvPr/>
              </p:nvSpPr>
              <p:spPr bwMode="gray">
                <a:xfrm>
                  <a:off x="906198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0" name="Graphic 2080">
                <a:extLst>
                  <a:ext uri="{FF2B5EF4-FFF2-40B4-BE49-F238E27FC236}">
                    <a16:creationId xmlns:a16="http://schemas.microsoft.com/office/drawing/2014/main" id="{BE35D87E-F48B-4677-A579-A4189A8BE900}"/>
                  </a:ext>
                </a:extLst>
              </p:cNvPr>
              <p:cNvGrpSpPr/>
              <p:nvPr/>
            </p:nvGrpSpPr>
            <p:grpSpPr bwMode="gray">
              <a:xfrm>
                <a:off x="8818816" y="4129372"/>
                <a:ext cx="75723" cy="75723"/>
                <a:chOff x="8818816" y="4129372"/>
                <a:chExt cx="75723" cy="75723"/>
              </a:xfrm>
            </p:grpSpPr>
            <p:sp>
              <p:nvSpPr>
                <p:cNvPr id="12525" name="Freeform: Shape 12524">
                  <a:extLst>
                    <a:ext uri="{FF2B5EF4-FFF2-40B4-BE49-F238E27FC236}">
                      <a16:creationId xmlns:a16="http://schemas.microsoft.com/office/drawing/2014/main" id="{8DF09A00-F5F0-3EC0-0FB5-E7D3EF541A2C}"/>
                    </a:ext>
                  </a:extLst>
                </p:cNvPr>
                <p:cNvSpPr/>
                <p:nvPr/>
              </p:nvSpPr>
              <p:spPr bwMode="gray">
                <a:xfrm>
                  <a:off x="885672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6" name="Freeform: Shape 12525">
                  <a:extLst>
                    <a:ext uri="{FF2B5EF4-FFF2-40B4-BE49-F238E27FC236}">
                      <a16:creationId xmlns:a16="http://schemas.microsoft.com/office/drawing/2014/main" id="{D5150397-53C6-5944-ADE6-FA3BD1B0C497}"/>
                    </a:ext>
                  </a:extLst>
                </p:cNvPr>
                <p:cNvSpPr/>
                <p:nvPr/>
              </p:nvSpPr>
              <p:spPr bwMode="gray">
                <a:xfrm>
                  <a:off x="881881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1" name="Graphic 2080">
                <a:extLst>
                  <a:ext uri="{FF2B5EF4-FFF2-40B4-BE49-F238E27FC236}">
                    <a16:creationId xmlns:a16="http://schemas.microsoft.com/office/drawing/2014/main" id="{901F5556-F33A-CC93-A0E1-0410F29D492F}"/>
                  </a:ext>
                </a:extLst>
              </p:cNvPr>
              <p:cNvGrpSpPr/>
              <p:nvPr/>
            </p:nvGrpSpPr>
            <p:grpSpPr bwMode="gray">
              <a:xfrm>
                <a:off x="8781001" y="4129372"/>
                <a:ext cx="75723" cy="75723"/>
                <a:chOff x="8781001" y="4129372"/>
                <a:chExt cx="75723" cy="75723"/>
              </a:xfrm>
            </p:grpSpPr>
            <p:sp>
              <p:nvSpPr>
                <p:cNvPr id="12523" name="Freeform: Shape 12522">
                  <a:extLst>
                    <a:ext uri="{FF2B5EF4-FFF2-40B4-BE49-F238E27FC236}">
                      <a16:creationId xmlns:a16="http://schemas.microsoft.com/office/drawing/2014/main" id="{0A426E2B-B42E-6489-0EA0-6BE7ADF449C9}"/>
                    </a:ext>
                  </a:extLst>
                </p:cNvPr>
                <p:cNvSpPr/>
                <p:nvPr/>
              </p:nvSpPr>
              <p:spPr bwMode="gray">
                <a:xfrm>
                  <a:off x="881881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4" name="Freeform: Shape 12523">
                  <a:extLst>
                    <a:ext uri="{FF2B5EF4-FFF2-40B4-BE49-F238E27FC236}">
                      <a16:creationId xmlns:a16="http://schemas.microsoft.com/office/drawing/2014/main" id="{394F7929-EF91-B361-D24E-9D910BD3F3DB}"/>
                    </a:ext>
                  </a:extLst>
                </p:cNvPr>
                <p:cNvSpPr/>
                <p:nvPr/>
              </p:nvSpPr>
              <p:spPr bwMode="gray">
                <a:xfrm>
                  <a:off x="8781001"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2" name="Graphic 2080">
                <a:extLst>
                  <a:ext uri="{FF2B5EF4-FFF2-40B4-BE49-F238E27FC236}">
                    <a16:creationId xmlns:a16="http://schemas.microsoft.com/office/drawing/2014/main" id="{58B47996-C9F6-FB17-8760-D9F779DB2A97}"/>
                  </a:ext>
                </a:extLst>
              </p:cNvPr>
              <p:cNvGrpSpPr/>
              <p:nvPr/>
            </p:nvGrpSpPr>
            <p:grpSpPr bwMode="gray">
              <a:xfrm>
                <a:off x="8755570" y="4129372"/>
                <a:ext cx="75723" cy="75723"/>
                <a:chOff x="8755570" y="4129372"/>
                <a:chExt cx="75723" cy="75723"/>
              </a:xfrm>
            </p:grpSpPr>
            <p:sp>
              <p:nvSpPr>
                <p:cNvPr id="12521" name="Freeform: Shape 12520">
                  <a:extLst>
                    <a:ext uri="{FF2B5EF4-FFF2-40B4-BE49-F238E27FC236}">
                      <a16:creationId xmlns:a16="http://schemas.microsoft.com/office/drawing/2014/main" id="{0AFF7DEE-86CB-CA04-404A-7B39AA801889}"/>
                    </a:ext>
                  </a:extLst>
                </p:cNvPr>
                <p:cNvSpPr/>
                <p:nvPr/>
              </p:nvSpPr>
              <p:spPr bwMode="gray">
                <a:xfrm>
                  <a:off x="87934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2" name="Freeform: Shape 12521">
                  <a:extLst>
                    <a:ext uri="{FF2B5EF4-FFF2-40B4-BE49-F238E27FC236}">
                      <a16:creationId xmlns:a16="http://schemas.microsoft.com/office/drawing/2014/main" id="{569E4F47-76C1-09D0-5D53-8C130DC091B5}"/>
                    </a:ext>
                  </a:extLst>
                </p:cNvPr>
                <p:cNvSpPr/>
                <p:nvPr/>
              </p:nvSpPr>
              <p:spPr bwMode="gray">
                <a:xfrm>
                  <a:off x="87555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3" name="Graphic 2080">
                <a:extLst>
                  <a:ext uri="{FF2B5EF4-FFF2-40B4-BE49-F238E27FC236}">
                    <a16:creationId xmlns:a16="http://schemas.microsoft.com/office/drawing/2014/main" id="{076E55AD-DCF2-F400-D81E-BA13FAF74A2B}"/>
                  </a:ext>
                </a:extLst>
              </p:cNvPr>
              <p:cNvGrpSpPr/>
              <p:nvPr/>
            </p:nvGrpSpPr>
            <p:grpSpPr bwMode="gray">
              <a:xfrm>
                <a:off x="8631268" y="4129372"/>
                <a:ext cx="75723" cy="75723"/>
                <a:chOff x="8631268" y="4129372"/>
                <a:chExt cx="75723" cy="75723"/>
              </a:xfrm>
            </p:grpSpPr>
            <p:sp>
              <p:nvSpPr>
                <p:cNvPr id="12519" name="Freeform: Shape 12518">
                  <a:extLst>
                    <a:ext uri="{FF2B5EF4-FFF2-40B4-BE49-F238E27FC236}">
                      <a16:creationId xmlns:a16="http://schemas.microsoft.com/office/drawing/2014/main" id="{FCE23C9A-4E3C-1941-753E-F24B49281789}"/>
                    </a:ext>
                  </a:extLst>
                </p:cNvPr>
                <p:cNvSpPr/>
                <p:nvPr/>
              </p:nvSpPr>
              <p:spPr bwMode="gray">
                <a:xfrm>
                  <a:off x="866908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20" name="Freeform: Shape 12519">
                  <a:extLst>
                    <a:ext uri="{FF2B5EF4-FFF2-40B4-BE49-F238E27FC236}">
                      <a16:creationId xmlns:a16="http://schemas.microsoft.com/office/drawing/2014/main" id="{B8D7C9FB-CA32-2278-90D6-C9D2BD21E6BE}"/>
                    </a:ext>
                  </a:extLst>
                </p:cNvPr>
                <p:cNvSpPr/>
                <p:nvPr/>
              </p:nvSpPr>
              <p:spPr bwMode="gray">
                <a:xfrm>
                  <a:off x="863126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4" name="Graphic 2080">
                <a:extLst>
                  <a:ext uri="{FF2B5EF4-FFF2-40B4-BE49-F238E27FC236}">
                    <a16:creationId xmlns:a16="http://schemas.microsoft.com/office/drawing/2014/main" id="{6F704E02-5CCD-04C5-B43D-FC5F1178C570}"/>
                  </a:ext>
                </a:extLst>
              </p:cNvPr>
              <p:cNvGrpSpPr/>
              <p:nvPr/>
            </p:nvGrpSpPr>
            <p:grpSpPr bwMode="gray">
              <a:xfrm>
                <a:off x="8606313" y="4129372"/>
                <a:ext cx="75723" cy="75723"/>
                <a:chOff x="8606313" y="4129372"/>
                <a:chExt cx="75723" cy="75723"/>
              </a:xfrm>
            </p:grpSpPr>
            <p:sp>
              <p:nvSpPr>
                <p:cNvPr id="12517" name="Freeform: Shape 12516">
                  <a:extLst>
                    <a:ext uri="{FF2B5EF4-FFF2-40B4-BE49-F238E27FC236}">
                      <a16:creationId xmlns:a16="http://schemas.microsoft.com/office/drawing/2014/main" id="{E6DC382B-D7F9-1931-2B55-005E4FC9B56B}"/>
                    </a:ext>
                  </a:extLst>
                </p:cNvPr>
                <p:cNvSpPr/>
                <p:nvPr/>
              </p:nvSpPr>
              <p:spPr bwMode="gray">
                <a:xfrm>
                  <a:off x="8644222"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8" name="Freeform: Shape 12517">
                  <a:extLst>
                    <a:ext uri="{FF2B5EF4-FFF2-40B4-BE49-F238E27FC236}">
                      <a16:creationId xmlns:a16="http://schemas.microsoft.com/office/drawing/2014/main" id="{1DFB6E66-A57E-1F71-498E-F887F54D5822}"/>
                    </a:ext>
                  </a:extLst>
                </p:cNvPr>
                <p:cNvSpPr/>
                <p:nvPr/>
              </p:nvSpPr>
              <p:spPr bwMode="gray">
                <a:xfrm>
                  <a:off x="860631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5" name="Graphic 2080">
                <a:extLst>
                  <a:ext uri="{FF2B5EF4-FFF2-40B4-BE49-F238E27FC236}">
                    <a16:creationId xmlns:a16="http://schemas.microsoft.com/office/drawing/2014/main" id="{9E2B2E69-E159-D38D-6164-335C95B2FE3A}"/>
                  </a:ext>
                </a:extLst>
              </p:cNvPr>
              <p:cNvGrpSpPr/>
              <p:nvPr/>
            </p:nvGrpSpPr>
            <p:grpSpPr bwMode="gray">
              <a:xfrm>
                <a:off x="8576595" y="4129372"/>
                <a:ext cx="75628" cy="75723"/>
                <a:chOff x="8576595" y="4129372"/>
                <a:chExt cx="75628" cy="75723"/>
              </a:xfrm>
            </p:grpSpPr>
            <p:sp>
              <p:nvSpPr>
                <p:cNvPr id="12515" name="Freeform: Shape 12514">
                  <a:extLst>
                    <a:ext uri="{FF2B5EF4-FFF2-40B4-BE49-F238E27FC236}">
                      <a16:creationId xmlns:a16="http://schemas.microsoft.com/office/drawing/2014/main" id="{96F0FB4D-8C1E-C9E3-5FE4-C75D6C2CB05C}"/>
                    </a:ext>
                  </a:extLst>
                </p:cNvPr>
                <p:cNvSpPr/>
                <p:nvPr/>
              </p:nvSpPr>
              <p:spPr bwMode="gray">
                <a:xfrm>
                  <a:off x="861440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6" name="Freeform: Shape 12515">
                  <a:extLst>
                    <a:ext uri="{FF2B5EF4-FFF2-40B4-BE49-F238E27FC236}">
                      <a16:creationId xmlns:a16="http://schemas.microsoft.com/office/drawing/2014/main" id="{612E764B-E49F-8136-3B25-BA74AEC1C3B8}"/>
                    </a:ext>
                  </a:extLst>
                </p:cNvPr>
                <p:cNvSpPr/>
                <p:nvPr/>
              </p:nvSpPr>
              <p:spPr bwMode="gray">
                <a:xfrm>
                  <a:off x="8576595"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6" name="Graphic 2080">
                <a:extLst>
                  <a:ext uri="{FF2B5EF4-FFF2-40B4-BE49-F238E27FC236}">
                    <a16:creationId xmlns:a16="http://schemas.microsoft.com/office/drawing/2014/main" id="{6987D7E0-DB57-F91A-D584-46B5DCABFCF5}"/>
                  </a:ext>
                </a:extLst>
              </p:cNvPr>
              <p:cNvGrpSpPr/>
              <p:nvPr/>
            </p:nvGrpSpPr>
            <p:grpSpPr bwMode="gray">
              <a:xfrm>
                <a:off x="8508110" y="4129372"/>
                <a:ext cx="75723" cy="75723"/>
                <a:chOff x="8508110" y="4129372"/>
                <a:chExt cx="75723" cy="75723"/>
              </a:xfrm>
            </p:grpSpPr>
            <p:sp>
              <p:nvSpPr>
                <p:cNvPr id="12513" name="Freeform: Shape 12512">
                  <a:extLst>
                    <a:ext uri="{FF2B5EF4-FFF2-40B4-BE49-F238E27FC236}">
                      <a16:creationId xmlns:a16="http://schemas.microsoft.com/office/drawing/2014/main" id="{40C0F4C5-992A-1200-56ED-6FE57E902BF8}"/>
                    </a:ext>
                  </a:extLst>
                </p:cNvPr>
                <p:cNvSpPr/>
                <p:nvPr/>
              </p:nvSpPr>
              <p:spPr bwMode="gray">
                <a:xfrm>
                  <a:off x="8546020"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4" name="Freeform: Shape 12513">
                  <a:extLst>
                    <a:ext uri="{FF2B5EF4-FFF2-40B4-BE49-F238E27FC236}">
                      <a16:creationId xmlns:a16="http://schemas.microsoft.com/office/drawing/2014/main" id="{9364EB48-3F64-946B-0B47-1969FCDDC264}"/>
                    </a:ext>
                  </a:extLst>
                </p:cNvPr>
                <p:cNvSpPr/>
                <p:nvPr/>
              </p:nvSpPr>
              <p:spPr bwMode="gray">
                <a:xfrm>
                  <a:off x="850811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7" name="Graphic 2080">
                <a:extLst>
                  <a:ext uri="{FF2B5EF4-FFF2-40B4-BE49-F238E27FC236}">
                    <a16:creationId xmlns:a16="http://schemas.microsoft.com/office/drawing/2014/main" id="{336BA412-E619-51FB-07C5-C466132709F5}"/>
                  </a:ext>
                </a:extLst>
              </p:cNvPr>
              <p:cNvGrpSpPr/>
              <p:nvPr/>
            </p:nvGrpSpPr>
            <p:grpSpPr bwMode="gray">
              <a:xfrm>
                <a:off x="8182545" y="4129372"/>
                <a:ext cx="75723" cy="75723"/>
                <a:chOff x="8182545" y="4129372"/>
                <a:chExt cx="75723" cy="75723"/>
              </a:xfrm>
            </p:grpSpPr>
            <p:sp>
              <p:nvSpPr>
                <p:cNvPr id="12511" name="Freeform: Shape 12510">
                  <a:extLst>
                    <a:ext uri="{FF2B5EF4-FFF2-40B4-BE49-F238E27FC236}">
                      <a16:creationId xmlns:a16="http://schemas.microsoft.com/office/drawing/2014/main" id="{704A4260-74CD-5D5F-70A9-37CBD61EFA13}"/>
                    </a:ext>
                  </a:extLst>
                </p:cNvPr>
                <p:cNvSpPr/>
                <p:nvPr/>
              </p:nvSpPr>
              <p:spPr bwMode="gray">
                <a:xfrm>
                  <a:off x="822045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2" name="Freeform: Shape 12511">
                  <a:extLst>
                    <a:ext uri="{FF2B5EF4-FFF2-40B4-BE49-F238E27FC236}">
                      <a16:creationId xmlns:a16="http://schemas.microsoft.com/office/drawing/2014/main" id="{AE7EA7D3-8740-7114-7FB6-0286D7D4F56D}"/>
                    </a:ext>
                  </a:extLst>
                </p:cNvPr>
                <p:cNvSpPr/>
                <p:nvPr/>
              </p:nvSpPr>
              <p:spPr bwMode="gray">
                <a:xfrm>
                  <a:off x="818254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8" name="Graphic 2080">
                <a:extLst>
                  <a:ext uri="{FF2B5EF4-FFF2-40B4-BE49-F238E27FC236}">
                    <a16:creationId xmlns:a16="http://schemas.microsoft.com/office/drawing/2014/main" id="{83BF5578-6C9E-BF93-9298-99E24DA28CDA}"/>
                  </a:ext>
                </a:extLst>
              </p:cNvPr>
              <p:cNvGrpSpPr/>
              <p:nvPr/>
            </p:nvGrpSpPr>
            <p:grpSpPr bwMode="gray">
              <a:xfrm>
                <a:off x="8068912" y="4129372"/>
                <a:ext cx="75628" cy="75723"/>
                <a:chOff x="8068912" y="4129372"/>
                <a:chExt cx="75628" cy="75723"/>
              </a:xfrm>
            </p:grpSpPr>
            <p:sp>
              <p:nvSpPr>
                <p:cNvPr id="12509" name="Freeform: Shape 12508">
                  <a:extLst>
                    <a:ext uri="{FF2B5EF4-FFF2-40B4-BE49-F238E27FC236}">
                      <a16:creationId xmlns:a16="http://schemas.microsoft.com/office/drawing/2014/main" id="{B30FBEF1-8263-D462-D5D0-9B502F7DECAF}"/>
                    </a:ext>
                  </a:extLst>
                </p:cNvPr>
                <p:cNvSpPr/>
                <p:nvPr/>
              </p:nvSpPr>
              <p:spPr bwMode="gray">
                <a:xfrm>
                  <a:off x="810672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10" name="Freeform: Shape 12509">
                  <a:extLst>
                    <a:ext uri="{FF2B5EF4-FFF2-40B4-BE49-F238E27FC236}">
                      <a16:creationId xmlns:a16="http://schemas.microsoft.com/office/drawing/2014/main" id="{323AB743-0B72-9EBD-7C93-456B43E5EC97}"/>
                    </a:ext>
                  </a:extLst>
                </p:cNvPr>
                <p:cNvSpPr/>
                <p:nvPr/>
              </p:nvSpPr>
              <p:spPr bwMode="gray">
                <a:xfrm>
                  <a:off x="8068912"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999" name="Graphic 2080">
                <a:extLst>
                  <a:ext uri="{FF2B5EF4-FFF2-40B4-BE49-F238E27FC236}">
                    <a16:creationId xmlns:a16="http://schemas.microsoft.com/office/drawing/2014/main" id="{C3C9A549-5CEC-7BF2-7048-DF5A4EA88593}"/>
                  </a:ext>
                </a:extLst>
              </p:cNvPr>
              <p:cNvGrpSpPr/>
              <p:nvPr/>
            </p:nvGrpSpPr>
            <p:grpSpPr bwMode="gray">
              <a:xfrm>
                <a:off x="7880984" y="4129372"/>
                <a:ext cx="75723" cy="75723"/>
                <a:chOff x="7880984" y="4129372"/>
                <a:chExt cx="75723" cy="75723"/>
              </a:xfrm>
            </p:grpSpPr>
            <p:sp>
              <p:nvSpPr>
                <p:cNvPr id="12507" name="Freeform: Shape 12506">
                  <a:extLst>
                    <a:ext uri="{FF2B5EF4-FFF2-40B4-BE49-F238E27FC236}">
                      <a16:creationId xmlns:a16="http://schemas.microsoft.com/office/drawing/2014/main" id="{7B22F616-580E-9AE2-6F0B-145E478F9327}"/>
                    </a:ext>
                  </a:extLst>
                </p:cNvPr>
                <p:cNvSpPr/>
                <p:nvPr/>
              </p:nvSpPr>
              <p:spPr bwMode="gray">
                <a:xfrm>
                  <a:off x="7918894"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8" name="Freeform: Shape 12507">
                  <a:extLst>
                    <a:ext uri="{FF2B5EF4-FFF2-40B4-BE49-F238E27FC236}">
                      <a16:creationId xmlns:a16="http://schemas.microsoft.com/office/drawing/2014/main" id="{CA471152-E6B0-8CD2-35F4-EAE834E7D886}"/>
                    </a:ext>
                  </a:extLst>
                </p:cNvPr>
                <p:cNvSpPr/>
                <p:nvPr/>
              </p:nvSpPr>
              <p:spPr bwMode="gray">
                <a:xfrm>
                  <a:off x="7880984"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0" name="Graphic 2080">
                <a:extLst>
                  <a:ext uri="{FF2B5EF4-FFF2-40B4-BE49-F238E27FC236}">
                    <a16:creationId xmlns:a16="http://schemas.microsoft.com/office/drawing/2014/main" id="{DD0A8A2A-AF7B-0E88-AA61-CF66232C87EB}"/>
                  </a:ext>
                </a:extLst>
              </p:cNvPr>
              <p:cNvGrpSpPr/>
              <p:nvPr/>
            </p:nvGrpSpPr>
            <p:grpSpPr bwMode="gray">
              <a:xfrm>
                <a:off x="7911464" y="4129372"/>
                <a:ext cx="75628" cy="75723"/>
                <a:chOff x="7911464" y="4129372"/>
                <a:chExt cx="75628" cy="75723"/>
              </a:xfrm>
            </p:grpSpPr>
            <p:sp>
              <p:nvSpPr>
                <p:cNvPr id="12505" name="Freeform: Shape 12504">
                  <a:extLst>
                    <a:ext uri="{FF2B5EF4-FFF2-40B4-BE49-F238E27FC236}">
                      <a16:creationId xmlns:a16="http://schemas.microsoft.com/office/drawing/2014/main" id="{0AF47C61-ED0D-0226-D39C-2AEC59A56C7F}"/>
                    </a:ext>
                  </a:extLst>
                </p:cNvPr>
                <p:cNvSpPr/>
                <p:nvPr/>
              </p:nvSpPr>
              <p:spPr bwMode="gray">
                <a:xfrm>
                  <a:off x="79492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6" name="Freeform: Shape 12505">
                  <a:extLst>
                    <a:ext uri="{FF2B5EF4-FFF2-40B4-BE49-F238E27FC236}">
                      <a16:creationId xmlns:a16="http://schemas.microsoft.com/office/drawing/2014/main" id="{2EFE8508-C774-8772-4117-35D1CDB35E93}"/>
                    </a:ext>
                  </a:extLst>
                </p:cNvPr>
                <p:cNvSpPr/>
                <p:nvPr/>
              </p:nvSpPr>
              <p:spPr bwMode="gray">
                <a:xfrm>
                  <a:off x="7911464"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1" name="Graphic 2080">
                <a:extLst>
                  <a:ext uri="{FF2B5EF4-FFF2-40B4-BE49-F238E27FC236}">
                    <a16:creationId xmlns:a16="http://schemas.microsoft.com/office/drawing/2014/main" id="{4FE1CAE1-A122-283C-8376-B82324FEDA69}"/>
                  </a:ext>
                </a:extLst>
              </p:cNvPr>
              <p:cNvGrpSpPr/>
              <p:nvPr/>
            </p:nvGrpSpPr>
            <p:grpSpPr bwMode="gray">
              <a:xfrm>
                <a:off x="7920894" y="4129372"/>
                <a:ext cx="75628" cy="75723"/>
                <a:chOff x="7920894" y="4129372"/>
                <a:chExt cx="75628" cy="75723"/>
              </a:xfrm>
            </p:grpSpPr>
            <p:sp>
              <p:nvSpPr>
                <p:cNvPr id="12503" name="Freeform: Shape 12502">
                  <a:extLst>
                    <a:ext uri="{FF2B5EF4-FFF2-40B4-BE49-F238E27FC236}">
                      <a16:creationId xmlns:a16="http://schemas.microsoft.com/office/drawing/2014/main" id="{BB6935F9-EB2B-AE29-FA4B-E3964ECA109C}"/>
                    </a:ext>
                  </a:extLst>
                </p:cNvPr>
                <p:cNvSpPr/>
                <p:nvPr/>
              </p:nvSpPr>
              <p:spPr bwMode="gray">
                <a:xfrm>
                  <a:off x="795870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4" name="Freeform: Shape 12503">
                  <a:extLst>
                    <a:ext uri="{FF2B5EF4-FFF2-40B4-BE49-F238E27FC236}">
                      <a16:creationId xmlns:a16="http://schemas.microsoft.com/office/drawing/2014/main" id="{A1E137D9-9BE0-49B5-7F68-9112C5F75DAB}"/>
                    </a:ext>
                  </a:extLst>
                </p:cNvPr>
                <p:cNvSpPr/>
                <p:nvPr/>
              </p:nvSpPr>
              <p:spPr bwMode="gray">
                <a:xfrm>
                  <a:off x="7920894"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2" name="Graphic 2080">
                <a:extLst>
                  <a:ext uri="{FF2B5EF4-FFF2-40B4-BE49-F238E27FC236}">
                    <a16:creationId xmlns:a16="http://schemas.microsoft.com/office/drawing/2014/main" id="{31B18392-B407-9365-EBC3-1BA4915B45A8}"/>
                  </a:ext>
                </a:extLst>
              </p:cNvPr>
              <p:cNvGrpSpPr/>
              <p:nvPr/>
            </p:nvGrpSpPr>
            <p:grpSpPr bwMode="gray">
              <a:xfrm>
                <a:off x="7808975" y="4077080"/>
                <a:ext cx="75723" cy="75723"/>
                <a:chOff x="7808975" y="4077080"/>
                <a:chExt cx="75723" cy="75723"/>
              </a:xfrm>
            </p:grpSpPr>
            <p:sp>
              <p:nvSpPr>
                <p:cNvPr id="12501" name="Freeform: Shape 12500">
                  <a:extLst>
                    <a:ext uri="{FF2B5EF4-FFF2-40B4-BE49-F238E27FC236}">
                      <a16:creationId xmlns:a16="http://schemas.microsoft.com/office/drawing/2014/main" id="{88CD8179-7061-793C-7194-33688977B842}"/>
                    </a:ext>
                  </a:extLst>
                </p:cNvPr>
                <p:cNvSpPr/>
                <p:nvPr/>
              </p:nvSpPr>
              <p:spPr bwMode="gray">
                <a:xfrm>
                  <a:off x="7846789"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2" name="Freeform: Shape 12501">
                  <a:extLst>
                    <a:ext uri="{FF2B5EF4-FFF2-40B4-BE49-F238E27FC236}">
                      <a16:creationId xmlns:a16="http://schemas.microsoft.com/office/drawing/2014/main" id="{B510A542-C7FC-7FFA-23E5-B600777092E1}"/>
                    </a:ext>
                  </a:extLst>
                </p:cNvPr>
                <p:cNvSpPr/>
                <p:nvPr/>
              </p:nvSpPr>
              <p:spPr bwMode="gray">
                <a:xfrm>
                  <a:off x="7808975"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3" name="Graphic 2080">
                <a:extLst>
                  <a:ext uri="{FF2B5EF4-FFF2-40B4-BE49-F238E27FC236}">
                    <a16:creationId xmlns:a16="http://schemas.microsoft.com/office/drawing/2014/main" id="{8E251A8E-6734-176B-2A8F-02747E8FAF29}"/>
                  </a:ext>
                </a:extLst>
              </p:cNvPr>
              <p:cNvGrpSpPr/>
              <p:nvPr/>
            </p:nvGrpSpPr>
            <p:grpSpPr bwMode="gray">
              <a:xfrm>
                <a:off x="7619618" y="4077080"/>
                <a:ext cx="75628" cy="75723"/>
                <a:chOff x="7619618" y="4077080"/>
                <a:chExt cx="75628" cy="75723"/>
              </a:xfrm>
            </p:grpSpPr>
            <p:sp>
              <p:nvSpPr>
                <p:cNvPr id="12499" name="Freeform: Shape 12498">
                  <a:extLst>
                    <a:ext uri="{FF2B5EF4-FFF2-40B4-BE49-F238E27FC236}">
                      <a16:creationId xmlns:a16="http://schemas.microsoft.com/office/drawing/2014/main" id="{86AE8B67-FBA4-1327-CB31-2623A217E97A}"/>
                    </a:ext>
                  </a:extLst>
                </p:cNvPr>
                <p:cNvSpPr/>
                <p:nvPr/>
              </p:nvSpPr>
              <p:spPr bwMode="gray">
                <a:xfrm>
                  <a:off x="765743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500" name="Freeform: Shape 12499">
                  <a:extLst>
                    <a:ext uri="{FF2B5EF4-FFF2-40B4-BE49-F238E27FC236}">
                      <a16:creationId xmlns:a16="http://schemas.microsoft.com/office/drawing/2014/main" id="{47C8F02E-7B40-571E-765F-440B3FBAF6EB}"/>
                    </a:ext>
                  </a:extLst>
                </p:cNvPr>
                <p:cNvSpPr/>
                <p:nvPr/>
              </p:nvSpPr>
              <p:spPr bwMode="gray">
                <a:xfrm>
                  <a:off x="7619618"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4" name="Graphic 2080">
                <a:extLst>
                  <a:ext uri="{FF2B5EF4-FFF2-40B4-BE49-F238E27FC236}">
                    <a16:creationId xmlns:a16="http://schemas.microsoft.com/office/drawing/2014/main" id="{A91E4207-9BA5-2AE0-AF08-B2C4E955780E}"/>
                  </a:ext>
                </a:extLst>
              </p:cNvPr>
              <p:cNvGrpSpPr/>
              <p:nvPr/>
            </p:nvGrpSpPr>
            <p:grpSpPr bwMode="gray">
              <a:xfrm>
                <a:off x="7411021" y="4039266"/>
                <a:ext cx="75723" cy="75628"/>
                <a:chOff x="7411021" y="4039266"/>
                <a:chExt cx="75723" cy="75628"/>
              </a:xfrm>
            </p:grpSpPr>
            <p:sp>
              <p:nvSpPr>
                <p:cNvPr id="12497" name="Freeform: Shape 12496">
                  <a:extLst>
                    <a:ext uri="{FF2B5EF4-FFF2-40B4-BE49-F238E27FC236}">
                      <a16:creationId xmlns:a16="http://schemas.microsoft.com/office/drawing/2014/main" id="{8C5A4C30-AB09-4FF3-D4D3-663BBD7E03DD}"/>
                    </a:ext>
                  </a:extLst>
                </p:cNvPr>
                <p:cNvSpPr/>
                <p:nvPr/>
              </p:nvSpPr>
              <p:spPr bwMode="gray">
                <a:xfrm>
                  <a:off x="744893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8" name="Freeform: Shape 12497">
                  <a:extLst>
                    <a:ext uri="{FF2B5EF4-FFF2-40B4-BE49-F238E27FC236}">
                      <a16:creationId xmlns:a16="http://schemas.microsoft.com/office/drawing/2014/main" id="{AAB7A3FA-D327-4976-FE60-3134B7B2DA4E}"/>
                    </a:ext>
                  </a:extLst>
                </p:cNvPr>
                <p:cNvSpPr/>
                <p:nvPr/>
              </p:nvSpPr>
              <p:spPr bwMode="gray">
                <a:xfrm>
                  <a:off x="7411021"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5" name="Graphic 2080">
                <a:extLst>
                  <a:ext uri="{FF2B5EF4-FFF2-40B4-BE49-F238E27FC236}">
                    <a16:creationId xmlns:a16="http://schemas.microsoft.com/office/drawing/2014/main" id="{2BFB904F-5F9E-222B-365B-893397D3C6E2}"/>
                  </a:ext>
                </a:extLst>
              </p:cNvPr>
              <p:cNvGrpSpPr/>
              <p:nvPr/>
            </p:nvGrpSpPr>
            <p:grpSpPr bwMode="gray">
              <a:xfrm>
                <a:off x="7353585" y="4004595"/>
                <a:ext cx="75723" cy="75628"/>
                <a:chOff x="7353585" y="4004595"/>
                <a:chExt cx="75723" cy="75628"/>
              </a:xfrm>
            </p:grpSpPr>
            <p:sp>
              <p:nvSpPr>
                <p:cNvPr id="12495" name="Freeform: Shape 12494">
                  <a:extLst>
                    <a:ext uri="{FF2B5EF4-FFF2-40B4-BE49-F238E27FC236}">
                      <a16:creationId xmlns:a16="http://schemas.microsoft.com/office/drawing/2014/main" id="{BC5D0E8A-1F55-ADC4-6E55-C666C2736D12}"/>
                    </a:ext>
                  </a:extLst>
                </p:cNvPr>
                <p:cNvSpPr/>
                <p:nvPr/>
              </p:nvSpPr>
              <p:spPr bwMode="gray">
                <a:xfrm>
                  <a:off x="7391399"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6" name="Freeform: Shape 12495">
                  <a:extLst>
                    <a:ext uri="{FF2B5EF4-FFF2-40B4-BE49-F238E27FC236}">
                      <a16:creationId xmlns:a16="http://schemas.microsoft.com/office/drawing/2014/main" id="{DBBCDFE0-D01E-07B7-D063-D7978E8D3FF7}"/>
                    </a:ext>
                  </a:extLst>
                </p:cNvPr>
                <p:cNvSpPr/>
                <p:nvPr/>
              </p:nvSpPr>
              <p:spPr bwMode="gray">
                <a:xfrm>
                  <a:off x="7353585"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6" name="Graphic 2080">
                <a:extLst>
                  <a:ext uri="{FF2B5EF4-FFF2-40B4-BE49-F238E27FC236}">
                    <a16:creationId xmlns:a16="http://schemas.microsoft.com/office/drawing/2014/main" id="{3C5CDD1B-8A17-58B9-4B86-3B6DD6DC3B16}"/>
                  </a:ext>
                </a:extLst>
              </p:cNvPr>
              <p:cNvGrpSpPr/>
              <p:nvPr/>
            </p:nvGrpSpPr>
            <p:grpSpPr bwMode="gray">
              <a:xfrm>
                <a:off x="7331106" y="4004595"/>
                <a:ext cx="75723" cy="75628"/>
                <a:chOff x="7331106" y="4004595"/>
                <a:chExt cx="75723" cy="75628"/>
              </a:xfrm>
            </p:grpSpPr>
            <p:sp>
              <p:nvSpPr>
                <p:cNvPr id="12493" name="Freeform: Shape 12492">
                  <a:extLst>
                    <a:ext uri="{FF2B5EF4-FFF2-40B4-BE49-F238E27FC236}">
                      <a16:creationId xmlns:a16="http://schemas.microsoft.com/office/drawing/2014/main" id="{F41D931F-601A-1776-B2E5-E4E799F44051}"/>
                    </a:ext>
                  </a:extLst>
                </p:cNvPr>
                <p:cNvSpPr/>
                <p:nvPr/>
              </p:nvSpPr>
              <p:spPr bwMode="gray">
                <a:xfrm>
                  <a:off x="7368920"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4" name="Freeform: Shape 12493">
                  <a:extLst>
                    <a:ext uri="{FF2B5EF4-FFF2-40B4-BE49-F238E27FC236}">
                      <a16:creationId xmlns:a16="http://schemas.microsoft.com/office/drawing/2014/main" id="{C71A7C8B-DD64-9DA5-C3D3-1255446CE6E7}"/>
                    </a:ext>
                  </a:extLst>
                </p:cNvPr>
                <p:cNvSpPr/>
                <p:nvPr/>
              </p:nvSpPr>
              <p:spPr bwMode="gray">
                <a:xfrm>
                  <a:off x="7331106"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7" name="Graphic 2080">
                <a:extLst>
                  <a:ext uri="{FF2B5EF4-FFF2-40B4-BE49-F238E27FC236}">
                    <a16:creationId xmlns:a16="http://schemas.microsoft.com/office/drawing/2014/main" id="{BD2D854F-2168-9C94-7448-C2004E276A33}"/>
                  </a:ext>
                </a:extLst>
              </p:cNvPr>
              <p:cNvGrpSpPr/>
              <p:nvPr/>
            </p:nvGrpSpPr>
            <p:grpSpPr bwMode="gray">
              <a:xfrm>
                <a:off x="7223473" y="3971638"/>
                <a:ext cx="75723" cy="75723"/>
                <a:chOff x="7223473" y="3971638"/>
                <a:chExt cx="75723" cy="75723"/>
              </a:xfrm>
            </p:grpSpPr>
            <p:sp>
              <p:nvSpPr>
                <p:cNvPr id="12491" name="Freeform: Shape 12490">
                  <a:extLst>
                    <a:ext uri="{FF2B5EF4-FFF2-40B4-BE49-F238E27FC236}">
                      <a16:creationId xmlns:a16="http://schemas.microsoft.com/office/drawing/2014/main" id="{B2F9157B-3A56-06B0-8D01-0A444978C607}"/>
                    </a:ext>
                  </a:extLst>
                </p:cNvPr>
                <p:cNvSpPr/>
                <p:nvPr/>
              </p:nvSpPr>
              <p:spPr bwMode="gray">
                <a:xfrm>
                  <a:off x="7261383"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2" name="Freeform: Shape 12491">
                  <a:extLst>
                    <a:ext uri="{FF2B5EF4-FFF2-40B4-BE49-F238E27FC236}">
                      <a16:creationId xmlns:a16="http://schemas.microsoft.com/office/drawing/2014/main" id="{B0E89A92-0A1D-B3D3-E953-DF71227AD787}"/>
                    </a:ext>
                  </a:extLst>
                </p:cNvPr>
                <p:cNvSpPr/>
                <p:nvPr/>
              </p:nvSpPr>
              <p:spPr bwMode="gray">
                <a:xfrm>
                  <a:off x="7223473"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8" name="Graphic 2080">
                <a:extLst>
                  <a:ext uri="{FF2B5EF4-FFF2-40B4-BE49-F238E27FC236}">
                    <a16:creationId xmlns:a16="http://schemas.microsoft.com/office/drawing/2014/main" id="{CF09ADFD-8FDD-D20B-7DD3-66240C6B3891}"/>
                  </a:ext>
                </a:extLst>
              </p:cNvPr>
              <p:cNvGrpSpPr/>
              <p:nvPr/>
            </p:nvGrpSpPr>
            <p:grpSpPr bwMode="gray">
              <a:xfrm>
                <a:off x="7189374" y="3948207"/>
                <a:ext cx="75628" cy="75723"/>
                <a:chOff x="7189374" y="3948207"/>
                <a:chExt cx="75628" cy="75723"/>
              </a:xfrm>
            </p:grpSpPr>
            <p:sp>
              <p:nvSpPr>
                <p:cNvPr id="12489" name="Freeform: Shape 12488">
                  <a:extLst>
                    <a:ext uri="{FF2B5EF4-FFF2-40B4-BE49-F238E27FC236}">
                      <a16:creationId xmlns:a16="http://schemas.microsoft.com/office/drawing/2014/main" id="{B46BB641-F542-BCB1-8CBF-BE5D324B0753}"/>
                    </a:ext>
                  </a:extLst>
                </p:cNvPr>
                <p:cNvSpPr/>
                <p:nvPr/>
              </p:nvSpPr>
              <p:spPr bwMode="gray">
                <a:xfrm>
                  <a:off x="7227188"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90" name="Freeform: Shape 12489">
                  <a:extLst>
                    <a:ext uri="{FF2B5EF4-FFF2-40B4-BE49-F238E27FC236}">
                      <a16:creationId xmlns:a16="http://schemas.microsoft.com/office/drawing/2014/main" id="{6B6398D1-D4C0-1898-DAEA-81998180A451}"/>
                    </a:ext>
                  </a:extLst>
                </p:cNvPr>
                <p:cNvSpPr/>
                <p:nvPr/>
              </p:nvSpPr>
              <p:spPr bwMode="gray">
                <a:xfrm>
                  <a:off x="7189374"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09" name="Graphic 2080">
                <a:extLst>
                  <a:ext uri="{FF2B5EF4-FFF2-40B4-BE49-F238E27FC236}">
                    <a16:creationId xmlns:a16="http://schemas.microsoft.com/office/drawing/2014/main" id="{102DC45B-A8B8-60CD-0F13-02727227F9F0}"/>
                  </a:ext>
                </a:extLst>
              </p:cNvPr>
              <p:cNvGrpSpPr/>
              <p:nvPr/>
            </p:nvGrpSpPr>
            <p:grpSpPr bwMode="gray">
              <a:xfrm>
                <a:off x="7014685" y="3948207"/>
                <a:ext cx="75628" cy="75723"/>
                <a:chOff x="7014685" y="3948207"/>
                <a:chExt cx="75628" cy="75723"/>
              </a:xfrm>
            </p:grpSpPr>
            <p:sp>
              <p:nvSpPr>
                <p:cNvPr id="12487" name="Freeform: Shape 12486">
                  <a:extLst>
                    <a:ext uri="{FF2B5EF4-FFF2-40B4-BE49-F238E27FC236}">
                      <a16:creationId xmlns:a16="http://schemas.microsoft.com/office/drawing/2014/main" id="{0F23B762-CBC6-31E3-D161-1BB65A003769}"/>
                    </a:ext>
                  </a:extLst>
                </p:cNvPr>
                <p:cNvSpPr/>
                <p:nvPr/>
              </p:nvSpPr>
              <p:spPr bwMode="gray">
                <a:xfrm>
                  <a:off x="7052500"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8" name="Freeform: Shape 12487">
                  <a:extLst>
                    <a:ext uri="{FF2B5EF4-FFF2-40B4-BE49-F238E27FC236}">
                      <a16:creationId xmlns:a16="http://schemas.microsoft.com/office/drawing/2014/main" id="{53EB4213-3EAF-C9D5-83D2-EFA0027E2528}"/>
                    </a:ext>
                  </a:extLst>
                </p:cNvPr>
                <p:cNvSpPr/>
                <p:nvPr/>
              </p:nvSpPr>
              <p:spPr bwMode="gray">
                <a:xfrm>
                  <a:off x="7014685"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0" name="Graphic 2080">
                <a:extLst>
                  <a:ext uri="{FF2B5EF4-FFF2-40B4-BE49-F238E27FC236}">
                    <a16:creationId xmlns:a16="http://schemas.microsoft.com/office/drawing/2014/main" id="{93357845-4CFE-B167-68F7-20071BC8D217}"/>
                  </a:ext>
                </a:extLst>
              </p:cNvPr>
              <p:cNvGrpSpPr/>
              <p:nvPr/>
            </p:nvGrpSpPr>
            <p:grpSpPr bwMode="gray">
              <a:xfrm>
                <a:off x="6986396" y="3923442"/>
                <a:ext cx="75628" cy="75723"/>
                <a:chOff x="6986396" y="3923442"/>
                <a:chExt cx="75628" cy="75723"/>
              </a:xfrm>
            </p:grpSpPr>
            <p:sp>
              <p:nvSpPr>
                <p:cNvPr id="12485" name="Freeform: Shape 12484">
                  <a:extLst>
                    <a:ext uri="{FF2B5EF4-FFF2-40B4-BE49-F238E27FC236}">
                      <a16:creationId xmlns:a16="http://schemas.microsoft.com/office/drawing/2014/main" id="{B9454EC2-0A80-7063-93FC-E40595319AD7}"/>
                    </a:ext>
                  </a:extLst>
                </p:cNvPr>
                <p:cNvSpPr/>
                <p:nvPr/>
              </p:nvSpPr>
              <p:spPr bwMode="gray">
                <a:xfrm>
                  <a:off x="7024210"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6" name="Freeform: Shape 12485">
                  <a:extLst>
                    <a:ext uri="{FF2B5EF4-FFF2-40B4-BE49-F238E27FC236}">
                      <a16:creationId xmlns:a16="http://schemas.microsoft.com/office/drawing/2014/main" id="{886947DA-CC89-40A0-35A0-C1C26E154202}"/>
                    </a:ext>
                  </a:extLst>
                </p:cNvPr>
                <p:cNvSpPr/>
                <p:nvPr/>
              </p:nvSpPr>
              <p:spPr bwMode="gray">
                <a:xfrm>
                  <a:off x="6986396" y="39613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1" name="Graphic 2080">
                <a:extLst>
                  <a:ext uri="{FF2B5EF4-FFF2-40B4-BE49-F238E27FC236}">
                    <a16:creationId xmlns:a16="http://schemas.microsoft.com/office/drawing/2014/main" id="{03FD8AF4-9AE3-93A6-52F8-5121449668D4}"/>
                  </a:ext>
                </a:extLst>
              </p:cNvPr>
              <p:cNvGrpSpPr/>
              <p:nvPr/>
            </p:nvGrpSpPr>
            <p:grpSpPr bwMode="gray">
              <a:xfrm>
                <a:off x="6926103" y="3923442"/>
                <a:ext cx="75723" cy="75723"/>
                <a:chOff x="6926103" y="3923442"/>
                <a:chExt cx="75723" cy="75723"/>
              </a:xfrm>
            </p:grpSpPr>
            <p:sp>
              <p:nvSpPr>
                <p:cNvPr id="12483" name="Freeform: Shape 12482">
                  <a:extLst>
                    <a:ext uri="{FF2B5EF4-FFF2-40B4-BE49-F238E27FC236}">
                      <a16:creationId xmlns:a16="http://schemas.microsoft.com/office/drawing/2014/main" id="{D4583328-0D7D-7FC6-4CB4-72E9C8734FE6}"/>
                    </a:ext>
                  </a:extLst>
                </p:cNvPr>
                <p:cNvSpPr/>
                <p:nvPr/>
              </p:nvSpPr>
              <p:spPr bwMode="gray">
                <a:xfrm>
                  <a:off x="6963917"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4" name="Freeform: Shape 12483">
                  <a:extLst>
                    <a:ext uri="{FF2B5EF4-FFF2-40B4-BE49-F238E27FC236}">
                      <a16:creationId xmlns:a16="http://schemas.microsoft.com/office/drawing/2014/main" id="{A6768A37-4A3C-A1DB-1527-1873B9397A4C}"/>
                    </a:ext>
                  </a:extLst>
                </p:cNvPr>
                <p:cNvSpPr/>
                <p:nvPr/>
              </p:nvSpPr>
              <p:spPr bwMode="gray">
                <a:xfrm>
                  <a:off x="6926103"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2" name="Graphic 2080">
                <a:extLst>
                  <a:ext uri="{FF2B5EF4-FFF2-40B4-BE49-F238E27FC236}">
                    <a16:creationId xmlns:a16="http://schemas.microsoft.com/office/drawing/2014/main" id="{D223C5AA-9CBF-56E6-FE8C-1F2D2DA86242}"/>
                  </a:ext>
                </a:extLst>
              </p:cNvPr>
              <p:cNvGrpSpPr/>
              <p:nvPr/>
            </p:nvGrpSpPr>
            <p:grpSpPr bwMode="gray">
              <a:xfrm>
                <a:off x="6903814" y="3923442"/>
                <a:ext cx="75723" cy="75723"/>
                <a:chOff x="6903814" y="3923442"/>
                <a:chExt cx="75723" cy="75723"/>
              </a:xfrm>
            </p:grpSpPr>
            <p:sp>
              <p:nvSpPr>
                <p:cNvPr id="12481" name="Freeform: Shape 12480">
                  <a:extLst>
                    <a:ext uri="{FF2B5EF4-FFF2-40B4-BE49-F238E27FC236}">
                      <a16:creationId xmlns:a16="http://schemas.microsoft.com/office/drawing/2014/main" id="{CEEFCE4D-4972-41C6-B63F-073ED8348283}"/>
                    </a:ext>
                  </a:extLst>
                </p:cNvPr>
                <p:cNvSpPr/>
                <p:nvPr/>
              </p:nvSpPr>
              <p:spPr bwMode="gray">
                <a:xfrm>
                  <a:off x="6941629"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2" name="Freeform: Shape 12481">
                  <a:extLst>
                    <a:ext uri="{FF2B5EF4-FFF2-40B4-BE49-F238E27FC236}">
                      <a16:creationId xmlns:a16="http://schemas.microsoft.com/office/drawing/2014/main" id="{53493673-AF42-3911-EBF0-8610437394D3}"/>
                    </a:ext>
                  </a:extLst>
                </p:cNvPr>
                <p:cNvSpPr/>
                <p:nvPr/>
              </p:nvSpPr>
              <p:spPr bwMode="gray">
                <a:xfrm>
                  <a:off x="6903814"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3" name="Graphic 2080">
                <a:extLst>
                  <a:ext uri="{FF2B5EF4-FFF2-40B4-BE49-F238E27FC236}">
                    <a16:creationId xmlns:a16="http://schemas.microsoft.com/office/drawing/2014/main" id="{D0A9C8E2-FD3C-1CBF-F3CF-D3AB2C5A6E92}"/>
                  </a:ext>
                </a:extLst>
              </p:cNvPr>
              <p:cNvGrpSpPr/>
              <p:nvPr/>
            </p:nvGrpSpPr>
            <p:grpSpPr bwMode="gray">
              <a:xfrm>
                <a:off x="6716172" y="3874293"/>
                <a:ext cx="75628" cy="75723"/>
                <a:chOff x="6716172" y="3874293"/>
                <a:chExt cx="75628" cy="75723"/>
              </a:xfrm>
            </p:grpSpPr>
            <p:sp>
              <p:nvSpPr>
                <p:cNvPr id="12479" name="Freeform: Shape 12478">
                  <a:extLst>
                    <a:ext uri="{FF2B5EF4-FFF2-40B4-BE49-F238E27FC236}">
                      <a16:creationId xmlns:a16="http://schemas.microsoft.com/office/drawing/2014/main" id="{8BF46252-E2D6-2C37-921D-7B832B4990DA}"/>
                    </a:ext>
                  </a:extLst>
                </p:cNvPr>
                <p:cNvSpPr/>
                <p:nvPr/>
              </p:nvSpPr>
              <p:spPr bwMode="gray">
                <a:xfrm>
                  <a:off x="675398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80" name="Freeform: Shape 12479">
                  <a:extLst>
                    <a:ext uri="{FF2B5EF4-FFF2-40B4-BE49-F238E27FC236}">
                      <a16:creationId xmlns:a16="http://schemas.microsoft.com/office/drawing/2014/main" id="{B5819939-606B-F34A-0779-C9DC00918573}"/>
                    </a:ext>
                  </a:extLst>
                </p:cNvPr>
                <p:cNvSpPr/>
                <p:nvPr/>
              </p:nvSpPr>
              <p:spPr bwMode="gray">
                <a:xfrm>
                  <a:off x="6716172" y="39122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4" name="Graphic 2080">
                <a:extLst>
                  <a:ext uri="{FF2B5EF4-FFF2-40B4-BE49-F238E27FC236}">
                    <a16:creationId xmlns:a16="http://schemas.microsoft.com/office/drawing/2014/main" id="{101D5698-805D-9D3D-F74A-C03DDFDD3AAE}"/>
                  </a:ext>
                </a:extLst>
              </p:cNvPr>
              <p:cNvGrpSpPr/>
              <p:nvPr/>
            </p:nvGrpSpPr>
            <p:grpSpPr bwMode="gray">
              <a:xfrm>
                <a:off x="6667309" y="3856576"/>
                <a:ext cx="75723" cy="75628"/>
                <a:chOff x="6667309" y="3856576"/>
                <a:chExt cx="75723" cy="75628"/>
              </a:xfrm>
            </p:grpSpPr>
            <p:sp>
              <p:nvSpPr>
                <p:cNvPr id="12477" name="Freeform: Shape 12476">
                  <a:extLst>
                    <a:ext uri="{FF2B5EF4-FFF2-40B4-BE49-F238E27FC236}">
                      <a16:creationId xmlns:a16="http://schemas.microsoft.com/office/drawing/2014/main" id="{BDE11005-E3A8-D39B-DE68-F961817B0F66}"/>
                    </a:ext>
                  </a:extLst>
                </p:cNvPr>
                <p:cNvSpPr/>
                <p:nvPr/>
              </p:nvSpPr>
              <p:spPr bwMode="gray">
                <a:xfrm>
                  <a:off x="6705218" y="38565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78" name="Freeform: Shape 12477">
                  <a:extLst>
                    <a:ext uri="{FF2B5EF4-FFF2-40B4-BE49-F238E27FC236}">
                      <a16:creationId xmlns:a16="http://schemas.microsoft.com/office/drawing/2014/main" id="{329A32AA-281F-4E16-30BA-75DF0877A982}"/>
                    </a:ext>
                  </a:extLst>
                </p:cNvPr>
                <p:cNvSpPr/>
                <p:nvPr/>
              </p:nvSpPr>
              <p:spPr bwMode="gray">
                <a:xfrm>
                  <a:off x="6667309" y="38943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5" name="Graphic 2080">
                <a:extLst>
                  <a:ext uri="{FF2B5EF4-FFF2-40B4-BE49-F238E27FC236}">
                    <a16:creationId xmlns:a16="http://schemas.microsoft.com/office/drawing/2014/main" id="{7C8C740D-80B0-FA1E-8D70-E515A657633C}"/>
                  </a:ext>
                </a:extLst>
              </p:cNvPr>
              <p:cNvGrpSpPr/>
              <p:nvPr/>
            </p:nvGrpSpPr>
            <p:grpSpPr bwMode="gray">
              <a:xfrm>
                <a:off x="6652640" y="3838860"/>
                <a:ext cx="75628" cy="75723"/>
                <a:chOff x="6652640" y="3838860"/>
                <a:chExt cx="75628" cy="75723"/>
              </a:xfrm>
            </p:grpSpPr>
            <p:sp>
              <p:nvSpPr>
                <p:cNvPr id="12475" name="Freeform: Shape 12474">
                  <a:extLst>
                    <a:ext uri="{FF2B5EF4-FFF2-40B4-BE49-F238E27FC236}">
                      <a16:creationId xmlns:a16="http://schemas.microsoft.com/office/drawing/2014/main" id="{F63FDB61-32B5-8002-193C-F78DBA630B3F}"/>
                    </a:ext>
                  </a:extLst>
                </p:cNvPr>
                <p:cNvSpPr/>
                <p:nvPr/>
              </p:nvSpPr>
              <p:spPr bwMode="gray">
                <a:xfrm>
                  <a:off x="6690454" y="38388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76" name="Freeform: Shape 12475">
                  <a:extLst>
                    <a:ext uri="{FF2B5EF4-FFF2-40B4-BE49-F238E27FC236}">
                      <a16:creationId xmlns:a16="http://schemas.microsoft.com/office/drawing/2014/main" id="{3841C36B-FD87-A3C6-55C9-BE5C92C78B37}"/>
                    </a:ext>
                  </a:extLst>
                </p:cNvPr>
                <p:cNvSpPr/>
                <p:nvPr/>
              </p:nvSpPr>
              <p:spPr bwMode="gray">
                <a:xfrm>
                  <a:off x="6652640" y="38767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6" name="Graphic 2080">
                <a:extLst>
                  <a:ext uri="{FF2B5EF4-FFF2-40B4-BE49-F238E27FC236}">
                    <a16:creationId xmlns:a16="http://schemas.microsoft.com/office/drawing/2014/main" id="{72EEA8F4-963A-EB0B-3247-44C8739C622E}"/>
                  </a:ext>
                </a:extLst>
              </p:cNvPr>
              <p:cNvGrpSpPr/>
              <p:nvPr/>
            </p:nvGrpSpPr>
            <p:grpSpPr bwMode="gray">
              <a:xfrm>
                <a:off x="6588346" y="3784853"/>
                <a:ext cx="75723" cy="75723"/>
                <a:chOff x="6588346" y="3784853"/>
                <a:chExt cx="75723" cy="75723"/>
              </a:xfrm>
            </p:grpSpPr>
            <p:sp>
              <p:nvSpPr>
                <p:cNvPr id="12473" name="Freeform: Shape 12472">
                  <a:extLst>
                    <a:ext uri="{FF2B5EF4-FFF2-40B4-BE49-F238E27FC236}">
                      <a16:creationId xmlns:a16="http://schemas.microsoft.com/office/drawing/2014/main" id="{2F7A9277-9724-7978-A84B-ECE85B94DEA0}"/>
                    </a:ext>
                  </a:extLst>
                </p:cNvPr>
                <p:cNvSpPr/>
                <p:nvPr/>
              </p:nvSpPr>
              <p:spPr bwMode="gray">
                <a:xfrm>
                  <a:off x="662616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74" name="Freeform: Shape 12473">
                  <a:extLst>
                    <a:ext uri="{FF2B5EF4-FFF2-40B4-BE49-F238E27FC236}">
                      <a16:creationId xmlns:a16="http://schemas.microsoft.com/office/drawing/2014/main" id="{BE87FE19-AB59-C01B-71BD-B3B696B4E7A6}"/>
                    </a:ext>
                  </a:extLst>
                </p:cNvPr>
                <p:cNvSpPr/>
                <p:nvPr/>
              </p:nvSpPr>
              <p:spPr bwMode="gray">
                <a:xfrm>
                  <a:off x="658834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7" name="Graphic 2080">
                <a:extLst>
                  <a:ext uri="{FF2B5EF4-FFF2-40B4-BE49-F238E27FC236}">
                    <a16:creationId xmlns:a16="http://schemas.microsoft.com/office/drawing/2014/main" id="{53D9FE6A-93DB-8760-3845-C1725477C11B}"/>
                  </a:ext>
                </a:extLst>
              </p:cNvPr>
              <p:cNvGrpSpPr/>
              <p:nvPr/>
            </p:nvGrpSpPr>
            <p:grpSpPr bwMode="gray">
              <a:xfrm>
                <a:off x="6485381" y="3784853"/>
                <a:ext cx="75723" cy="75723"/>
                <a:chOff x="6485381" y="3784853"/>
                <a:chExt cx="75723" cy="75723"/>
              </a:xfrm>
            </p:grpSpPr>
            <p:sp>
              <p:nvSpPr>
                <p:cNvPr id="12471" name="Freeform: Shape 12470">
                  <a:extLst>
                    <a:ext uri="{FF2B5EF4-FFF2-40B4-BE49-F238E27FC236}">
                      <a16:creationId xmlns:a16="http://schemas.microsoft.com/office/drawing/2014/main" id="{62B3BF9F-EFF1-D04D-A4A9-EDD55C4991D1}"/>
                    </a:ext>
                  </a:extLst>
                </p:cNvPr>
                <p:cNvSpPr/>
                <p:nvPr/>
              </p:nvSpPr>
              <p:spPr bwMode="gray">
                <a:xfrm>
                  <a:off x="652329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72" name="Freeform: Shape 12471">
                  <a:extLst>
                    <a:ext uri="{FF2B5EF4-FFF2-40B4-BE49-F238E27FC236}">
                      <a16:creationId xmlns:a16="http://schemas.microsoft.com/office/drawing/2014/main" id="{FB31D3D3-E22B-2750-8363-44A772E84BAB}"/>
                    </a:ext>
                  </a:extLst>
                </p:cNvPr>
                <p:cNvSpPr/>
                <p:nvPr/>
              </p:nvSpPr>
              <p:spPr bwMode="gray">
                <a:xfrm>
                  <a:off x="6485381"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8" name="Graphic 2080">
                <a:extLst>
                  <a:ext uri="{FF2B5EF4-FFF2-40B4-BE49-F238E27FC236}">
                    <a16:creationId xmlns:a16="http://schemas.microsoft.com/office/drawing/2014/main" id="{7D4A03B3-5444-F5E7-75ED-89DFECA1C182}"/>
                  </a:ext>
                </a:extLst>
              </p:cNvPr>
              <p:cNvGrpSpPr/>
              <p:nvPr/>
            </p:nvGrpSpPr>
            <p:grpSpPr bwMode="gray">
              <a:xfrm>
                <a:off x="6426612" y="3784853"/>
                <a:ext cx="75723" cy="75723"/>
                <a:chOff x="6426612" y="3784853"/>
                <a:chExt cx="75723" cy="75723"/>
              </a:xfrm>
            </p:grpSpPr>
            <p:sp>
              <p:nvSpPr>
                <p:cNvPr id="12469" name="Freeform: Shape 12468">
                  <a:extLst>
                    <a:ext uri="{FF2B5EF4-FFF2-40B4-BE49-F238E27FC236}">
                      <a16:creationId xmlns:a16="http://schemas.microsoft.com/office/drawing/2014/main" id="{09B5214F-3991-113D-4DC3-8065E0BD77B9}"/>
                    </a:ext>
                  </a:extLst>
                </p:cNvPr>
                <p:cNvSpPr/>
                <p:nvPr/>
              </p:nvSpPr>
              <p:spPr bwMode="gray">
                <a:xfrm>
                  <a:off x="646452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70" name="Freeform: Shape 12469">
                  <a:extLst>
                    <a:ext uri="{FF2B5EF4-FFF2-40B4-BE49-F238E27FC236}">
                      <a16:creationId xmlns:a16="http://schemas.microsoft.com/office/drawing/2014/main" id="{07FEE146-42C6-AC76-C319-2B3E0934828C}"/>
                    </a:ext>
                  </a:extLst>
                </p:cNvPr>
                <p:cNvSpPr/>
                <p:nvPr/>
              </p:nvSpPr>
              <p:spPr bwMode="gray">
                <a:xfrm>
                  <a:off x="642661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19" name="Graphic 2080">
                <a:extLst>
                  <a:ext uri="{FF2B5EF4-FFF2-40B4-BE49-F238E27FC236}">
                    <a16:creationId xmlns:a16="http://schemas.microsoft.com/office/drawing/2014/main" id="{0F5B03BB-1F8B-2200-9DD9-2D7C7B46D963}"/>
                  </a:ext>
                </a:extLst>
              </p:cNvPr>
              <p:cNvGrpSpPr/>
              <p:nvPr/>
            </p:nvGrpSpPr>
            <p:grpSpPr bwMode="gray">
              <a:xfrm>
                <a:off x="6343363" y="3768280"/>
                <a:ext cx="75723" cy="75628"/>
                <a:chOff x="6343363" y="3768280"/>
                <a:chExt cx="75723" cy="75628"/>
              </a:xfrm>
            </p:grpSpPr>
            <p:sp>
              <p:nvSpPr>
                <p:cNvPr id="12467" name="Freeform: Shape 12466">
                  <a:extLst>
                    <a:ext uri="{FF2B5EF4-FFF2-40B4-BE49-F238E27FC236}">
                      <a16:creationId xmlns:a16="http://schemas.microsoft.com/office/drawing/2014/main" id="{2DB98C3B-36B4-6268-9FB5-D6A0DACB38F1}"/>
                    </a:ext>
                  </a:extLst>
                </p:cNvPr>
                <p:cNvSpPr/>
                <p:nvPr/>
              </p:nvSpPr>
              <p:spPr bwMode="gray">
                <a:xfrm>
                  <a:off x="63812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68" name="Freeform: Shape 12467">
                  <a:extLst>
                    <a:ext uri="{FF2B5EF4-FFF2-40B4-BE49-F238E27FC236}">
                      <a16:creationId xmlns:a16="http://schemas.microsoft.com/office/drawing/2014/main" id="{2045B9EF-33AC-8008-4D99-EAE3BCB8424A}"/>
                    </a:ext>
                  </a:extLst>
                </p:cNvPr>
                <p:cNvSpPr/>
                <p:nvPr/>
              </p:nvSpPr>
              <p:spPr bwMode="gray">
                <a:xfrm>
                  <a:off x="6343363"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0" name="Graphic 2080">
                <a:extLst>
                  <a:ext uri="{FF2B5EF4-FFF2-40B4-BE49-F238E27FC236}">
                    <a16:creationId xmlns:a16="http://schemas.microsoft.com/office/drawing/2014/main" id="{D33BD451-5F45-FFBC-9FC0-AA17C1CB0213}"/>
                  </a:ext>
                </a:extLst>
              </p:cNvPr>
              <p:cNvGrpSpPr/>
              <p:nvPr/>
            </p:nvGrpSpPr>
            <p:grpSpPr bwMode="gray">
              <a:xfrm>
                <a:off x="6271164" y="3751897"/>
                <a:ext cx="75723" cy="75628"/>
                <a:chOff x="6271164" y="3751897"/>
                <a:chExt cx="75723" cy="75628"/>
              </a:xfrm>
            </p:grpSpPr>
            <p:sp>
              <p:nvSpPr>
                <p:cNvPr id="12465" name="Freeform: Shape 12464">
                  <a:extLst>
                    <a:ext uri="{FF2B5EF4-FFF2-40B4-BE49-F238E27FC236}">
                      <a16:creationId xmlns:a16="http://schemas.microsoft.com/office/drawing/2014/main" id="{210609E1-14D6-9537-C63F-5818D803C34A}"/>
                    </a:ext>
                  </a:extLst>
                </p:cNvPr>
                <p:cNvSpPr/>
                <p:nvPr/>
              </p:nvSpPr>
              <p:spPr bwMode="gray">
                <a:xfrm>
                  <a:off x="6309073"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66" name="Freeform: Shape 12465">
                  <a:extLst>
                    <a:ext uri="{FF2B5EF4-FFF2-40B4-BE49-F238E27FC236}">
                      <a16:creationId xmlns:a16="http://schemas.microsoft.com/office/drawing/2014/main" id="{4854DD7B-E2BC-78B3-CE89-D167AD0D06D3}"/>
                    </a:ext>
                  </a:extLst>
                </p:cNvPr>
                <p:cNvSpPr/>
                <p:nvPr/>
              </p:nvSpPr>
              <p:spPr bwMode="gray">
                <a:xfrm>
                  <a:off x="6271164"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1" name="Graphic 2080">
                <a:extLst>
                  <a:ext uri="{FF2B5EF4-FFF2-40B4-BE49-F238E27FC236}">
                    <a16:creationId xmlns:a16="http://schemas.microsoft.com/office/drawing/2014/main" id="{6ECF4B21-3CB5-66CA-5EA0-E43167EAC571}"/>
                  </a:ext>
                </a:extLst>
              </p:cNvPr>
              <p:cNvGrpSpPr/>
              <p:nvPr/>
            </p:nvGrpSpPr>
            <p:grpSpPr bwMode="gray">
              <a:xfrm>
                <a:off x="6253543" y="3751897"/>
                <a:ext cx="75723" cy="75628"/>
                <a:chOff x="6253543" y="3751897"/>
                <a:chExt cx="75723" cy="75628"/>
              </a:xfrm>
            </p:grpSpPr>
            <p:sp>
              <p:nvSpPr>
                <p:cNvPr id="12463" name="Freeform: Shape 12462">
                  <a:extLst>
                    <a:ext uri="{FF2B5EF4-FFF2-40B4-BE49-F238E27FC236}">
                      <a16:creationId xmlns:a16="http://schemas.microsoft.com/office/drawing/2014/main" id="{EF610D63-E675-1CF2-3575-F044B496F2C9}"/>
                    </a:ext>
                  </a:extLst>
                </p:cNvPr>
                <p:cNvSpPr/>
                <p:nvPr/>
              </p:nvSpPr>
              <p:spPr bwMode="gray">
                <a:xfrm>
                  <a:off x="6291452"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64" name="Freeform: Shape 12463">
                  <a:extLst>
                    <a:ext uri="{FF2B5EF4-FFF2-40B4-BE49-F238E27FC236}">
                      <a16:creationId xmlns:a16="http://schemas.microsoft.com/office/drawing/2014/main" id="{0F87E4FE-0122-C844-68DB-4A2C89432747}"/>
                    </a:ext>
                  </a:extLst>
                </p:cNvPr>
                <p:cNvSpPr/>
                <p:nvPr/>
              </p:nvSpPr>
              <p:spPr bwMode="gray">
                <a:xfrm>
                  <a:off x="6253543"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2" name="Graphic 2080">
                <a:extLst>
                  <a:ext uri="{FF2B5EF4-FFF2-40B4-BE49-F238E27FC236}">
                    <a16:creationId xmlns:a16="http://schemas.microsoft.com/office/drawing/2014/main" id="{02B0D659-B109-CB93-FCAA-F1A4B21DBAC3}"/>
                  </a:ext>
                </a:extLst>
              </p:cNvPr>
              <p:cNvGrpSpPr/>
              <p:nvPr/>
            </p:nvGrpSpPr>
            <p:grpSpPr bwMode="gray">
              <a:xfrm>
                <a:off x="6190582" y="3734180"/>
                <a:ext cx="75628" cy="75723"/>
                <a:chOff x="6190582" y="3734180"/>
                <a:chExt cx="75628" cy="75723"/>
              </a:xfrm>
            </p:grpSpPr>
            <p:sp>
              <p:nvSpPr>
                <p:cNvPr id="12461" name="Freeform: Shape 12460">
                  <a:extLst>
                    <a:ext uri="{FF2B5EF4-FFF2-40B4-BE49-F238E27FC236}">
                      <a16:creationId xmlns:a16="http://schemas.microsoft.com/office/drawing/2014/main" id="{8E366A4F-9436-24BA-A1AE-85D914A608E9}"/>
                    </a:ext>
                  </a:extLst>
                </p:cNvPr>
                <p:cNvSpPr/>
                <p:nvPr/>
              </p:nvSpPr>
              <p:spPr bwMode="gray">
                <a:xfrm>
                  <a:off x="6228397"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62" name="Freeform: Shape 12461">
                  <a:extLst>
                    <a:ext uri="{FF2B5EF4-FFF2-40B4-BE49-F238E27FC236}">
                      <a16:creationId xmlns:a16="http://schemas.microsoft.com/office/drawing/2014/main" id="{61ABAE1F-E795-F108-8B4C-01FAB631918F}"/>
                    </a:ext>
                  </a:extLst>
                </p:cNvPr>
                <p:cNvSpPr/>
                <p:nvPr/>
              </p:nvSpPr>
              <p:spPr bwMode="gray">
                <a:xfrm>
                  <a:off x="6190582" y="377209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3" name="Graphic 2080">
                <a:extLst>
                  <a:ext uri="{FF2B5EF4-FFF2-40B4-BE49-F238E27FC236}">
                    <a16:creationId xmlns:a16="http://schemas.microsoft.com/office/drawing/2014/main" id="{13DCDECA-09BB-CFD3-2ADB-69033C4BD085}"/>
                  </a:ext>
                </a:extLst>
              </p:cNvPr>
              <p:cNvGrpSpPr/>
              <p:nvPr/>
            </p:nvGrpSpPr>
            <p:grpSpPr bwMode="gray">
              <a:xfrm>
                <a:off x="6182010" y="3734180"/>
                <a:ext cx="75723" cy="75723"/>
                <a:chOff x="6182010" y="3734180"/>
                <a:chExt cx="75723" cy="75723"/>
              </a:xfrm>
            </p:grpSpPr>
            <p:sp>
              <p:nvSpPr>
                <p:cNvPr id="12459" name="Freeform: Shape 12458">
                  <a:extLst>
                    <a:ext uri="{FF2B5EF4-FFF2-40B4-BE49-F238E27FC236}">
                      <a16:creationId xmlns:a16="http://schemas.microsoft.com/office/drawing/2014/main" id="{6CBA4EAD-DB70-AFDC-0D61-048DD2237266}"/>
                    </a:ext>
                  </a:extLst>
                </p:cNvPr>
                <p:cNvSpPr/>
                <p:nvPr/>
              </p:nvSpPr>
              <p:spPr bwMode="gray">
                <a:xfrm>
                  <a:off x="6219919"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60" name="Freeform: Shape 12459">
                  <a:extLst>
                    <a:ext uri="{FF2B5EF4-FFF2-40B4-BE49-F238E27FC236}">
                      <a16:creationId xmlns:a16="http://schemas.microsoft.com/office/drawing/2014/main" id="{3182C6FB-D9D6-9139-2744-DCACD51E0D18}"/>
                    </a:ext>
                  </a:extLst>
                </p:cNvPr>
                <p:cNvSpPr/>
                <p:nvPr/>
              </p:nvSpPr>
              <p:spPr bwMode="gray">
                <a:xfrm>
                  <a:off x="6182010" y="37720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4" name="Graphic 2080">
                <a:extLst>
                  <a:ext uri="{FF2B5EF4-FFF2-40B4-BE49-F238E27FC236}">
                    <a16:creationId xmlns:a16="http://schemas.microsoft.com/office/drawing/2014/main" id="{D562ACEF-E413-20C1-6306-941297A67601}"/>
                  </a:ext>
                </a:extLst>
              </p:cNvPr>
              <p:cNvGrpSpPr/>
              <p:nvPr/>
            </p:nvGrpSpPr>
            <p:grpSpPr bwMode="gray">
              <a:xfrm>
                <a:off x="6147529" y="3717511"/>
                <a:ext cx="75723" cy="75723"/>
                <a:chOff x="6147529" y="3717511"/>
                <a:chExt cx="75723" cy="75723"/>
              </a:xfrm>
            </p:grpSpPr>
            <p:sp>
              <p:nvSpPr>
                <p:cNvPr id="12457" name="Freeform: Shape 12456">
                  <a:extLst>
                    <a:ext uri="{FF2B5EF4-FFF2-40B4-BE49-F238E27FC236}">
                      <a16:creationId xmlns:a16="http://schemas.microsoft.com/office/drawing/2014/main" id="{45ACE098-2F56-9736-A125-AC2367C19718}"/>
                    </a:ext>
                  </a:extLst>
                </p:cNvPr>
                <p:cNvSpPr/>
                <p:nvPr/>
              </p:nvSpPr>
              <p:spPr bwMode="gray">
                <a:xfrm>
                  <a:off x="618543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58" name="Freeform: Shape 12457">
                  <a:extLst>
                    <a:ext uri="{FF2B5EF4-FFF2-40B4-BE49-F238E27FC236}">
                      <a16:creationId xmlns:a16="http://schemas.microsoft.com/office/drawing/2014/main" id="{53F61158-C15B-A8D9-8894-E2CCE9D36F6E}"/>
                    </a:ext>
                  </a:extLst>
                </p:cNvPr>
                <p:cNvSpPr/>
                <p:nvPr/>
              </p:nvSpPr>
              <p:spPr bwMode="gray">
                <a:xfrm>
                  <a:off x="6147529"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5" name="Graphic 2080">
                <a:extLst>
                  <a:ext uri="{FF2B5EF4-FFF2-40B4-BE49-F238E27FC236}">
                    <a16:creationId xmlns:a16="http://schemas.microsoft.com/office/drawing/2014/main" id="{BFA964A3-1BB9-CB79-82CC-926B74EA87B8}"/>
                  </a:ext>
                </a:extLst>
              </p:cNvPr>
              <p:cNvGrpSpPr/>
              <p:nvPr/>
            </p:nvGrpSpPr>
            <p:grpSpPr bwMode="gray">
              <a:xfrm>
                <a:off x="6099238" y="3692556"/>
                <a:ext cx="75723" cy="75723"/>
                <a:chOff x="6099238" y="3692556"/>
                <a:chExt cx="75723" cy="75723"/>
              </a:xfrm>
            </p:grpSpPr>
            <p:sp>
              <p:nvSpPr>
                <p:cNvPr id="12455" name="Freeform: Shape 12454">
                  <a:extLst>
                    <a:ext uri="{FF2B5EF4-FFF2-40B4-BE49-F238E27FC236}">
                      <a16:creationId xmlns:a16="http://schemas.microsoft.com/office/drawing/2014/main" id="{7A46341E-DE16-46F8-9F21-69DFDBE1E3B3}"/>
                    </a:ext>
                  </a:extLst>
                </p:cNvPr>
                <p:cNvSpPr/>
                <p:nvPr/>
              </p:nvSpPr>
              <p:spPr bwMode="gray">
                <a:xfrm>
                  <a:off x="6137052" y="36925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56" name="Freeform: Shape 12455">
                  <a:extLst>
                    <a:ext uri="{FF2B5EF4-FFF2-40B4-BE49-F238E27FC236}">
                      <a16:creationId xmlns:a16="http://schemas.microsoft.com/office/drawing/2014/main" id="{FA6254ED-BF2F-4A99-6A22-30A73E1DAEE4}"/>
                    </a:ext>
                  </a:extLst>
                </p:cNvPr>
                <p:cNvSpPr/>
                <p:nvPr/>
              </p:nvSpPr>
              <p:spPr bwMode="gray">
                <a:xfrm>
                  <a:off x="6099238" y="3730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6" name="Graphic 2080">
                <a:extLst>
                  <a:ext uri="{FF2B5EF4-FFF2-40B4-BE49-F238E27FC236}">
                    <a16:creationId xmlns:a16="http://schemas.microsoft.com/office/drawing/2014/main" id="{D0DAA99E-FC91-BE5C-9F6F-9CAAA6BDD2F5}"/>
                  </a:ext>
                </a:extLst>
              </p:cNvPr>
              <p:cNvGrpSpPr/>
              <p:nvPr/>
            </p:nvGrpSpPr>
            <p:grpSpPr bwMode="gray">
              <a:xfrm>
                <a:off x="6094951" y="3676173"/>
                <a:ext cx="75723" cy="75723"/>
                <a:chOff x="6094951" y="3676173"/>
                <a:chExt cx="75723" cy="75723"/>
              </a:xfrm>
            </p:grpSpPr>
            <p:sp>
              <p:nvSpPr>
                <p:cNvPr id="12453" name="Freeform: Shape 12452">
                  <a:extLst>
                    <a:ext uri="{FF2B5EF4-FFF2-40B4-BE49-F238E27FC236}">
                      <a16:creationId xmlns:a16="http://schemas.microsoft.com/office/drawing/2014/main" id="{23AD32AA-0853-B9B1-AA7E-8466FD404D2D}"/>
                    </a:ext>
                  </a:extLst>
                </p:cNvPr>
                <p:cNvSpPr/>
                <p:nvPr/>
              </p:nvSpPr>
              <p:spPr bwMode="gray">
                <a:xfrm>
                  <a:off x="6132861"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54" name="Freeform: Shape 12453">
                  <a:extLst>
                    <a:ext uri="{FF2B5EF4-FFF2-40B4-BE49-F238E27FC236}">
                      <a16:creationId xmlns:a16="http://schemas.microsoft.com/office/drawing/2014/main" id="{DAE2D040-F173-4ACB-7774-2D1E18D17253}"/>
                    </a:ext>
                  </a:extLst>
                </p:cNvPr>
                <p:cNvSpPr/>
                <p:nvPr/>
              </p:nvSpPr>
              <p:spPr bwMode="gray">
                <a:xfrm>
                  <a:off x="6094951"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7" name="Graphic 2080">
                <a:extLst>
                  <a:ext uri="{FF2B5EF4-FFF2-40B4-BE49-F238E27FC236}">
                    <a16:creationId xmlns:a16="http://schemas.microsoft.com/office/drawing/2014/main" id="{A73EFF30-3368-7C13-4A62-94769CECDE9D}"/>
                  </a:ext>
                </a:extLst>
              </p:cNvPr>
              <p:cNvGrpSpPr/>
              <p:nvPr/>
            </p:nvGrpSpPr>
            <p:grpSpPr bwMode="gray">
              <a:xfrm>
                <a:off x="6036277" y="3676173"/>
                <a:ext cx="75723" cy="75723"/>
                <a:chOff x="6036277" y="3676173"/>
                <a:chExt cx="75723" cy="75723"/>
              </a:xfrm>
            </p:grpSpPr>
            <p:sp>
              <p:nvSpPr>
                <p:cNvPr id="12451" name="Freeform: Shape 12450">
                  <a:extLst>
                    <a:ext uri="{FF2B5EF4-FFF2-40B4-BE49-F238E27FC236}">
                      <a16:creationId xmlns:a16="http://schemas.microsoft.com/office/drawing/2014/main" id="{CB1433C9-51B9-44B0-5995-B9D9A82BF9B0}"/>
                    </a:ext>
                  </a:extLst>
                </p:cNvPr>
                <p:cNvSpPr/>
                <p:nvPr/>
              </p:nvSpPr>
              <p:spPr bwMode="gray">
                <a:xfrm>
                  <a:off x="6074187"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52" name="Freeform: Shape 12451">
                  <a:extLst>
                    <a:ext uri="{FF2B5EF4-FFF2-40B4-BE49-F238E27FC236}">
                      <a16:creationId xmlns:a16="http://schemas.microsoft.com/office/drawing/2014/main" id="{FAE8C8C4-F633-4F2E-4AEB-E9DE80663B68}"/>
                    </a:ext>
                  </a:extLst>
                </p:cNvPr>
                <p:cNvSpPr/>
                <p:nvPr/>
              </p:nvSpPr>
              <p:spPr bwMode="gray">
                <a:xfrm>
                  <a:off x="6036277"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8" name="Graphic 2080">
                <a:extLst>
                  <a:ext uri="{FF2B5EF4-FFF2-40B4-BE49-F238E27FC236}">
                    <a16:creationId xmlns:a16="http://schemas.microsoft.com/office/drawing/2014/main" id="{2A5D0B77-87F0-2564-7930-AF02E1009891}"/>
                  </a:ext>
                </a:extLst>
              </p:cNvPr>
              <p:cNvGrpSpPr/>
              <p:nvPr/>
            </p:nvGrpSpPr>
            <p:grpSpPr bwMode="gray">
              <a:xfrm>
                <a:off x="6023514" y="3676173"/>
                <a:ext cx="75723" cy="75723"/>
                <a:chOff x="6023514" y="3676173"/>
                <a:chExt cx="75723" cy="75723"/>
              </a:xfrm>
            </p:grpSpPr>
            <p:sp>
              <p:nvSpPr>
                <p:cNvPr id="12449" name="Freeform: Shape 12448">
                  <a:extLst>
                    <a:ext uri="{FF2B5EF4-FFF2-40B4-BE49-F238E27FC236}">
                      <a16:creationId xmlns:a16="http://schemas.microsoft.com/office/drawing/2014/main" id="{E60F94C6-C222-C0A7-EF07-0778F421A08F}"/>
                    </a:ext>
                  </a:extLst>
                </p:cNvPr>
                <p:cNvSpPr/>
                <p:nvPr/>
              </p:nvSpPr>
              <p:spPr bwMode="gray">
                <a:xfrm>
                  <a:off x="6061423"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50" name="Freeform: Shape 12449">
                  <a:extLst>
                    <a:ext uri="{FF2B5EF4-FFF2-40B4-BE49-F238E27FC236}">
                      <a16:creationId xmlns:a16="http://schemas.microsoft.com/office/drawing/2014/main" id="{12985B9C-2393-5AED-5128-5E2DCA736F5D}"/>
                    </a:ext>
                  </a:extLst>
                </p:cNvPr>
                <p:cNvSpPr/>
                <p:nvPr/>
              </p:nvSpPr>
              <p:spPr bwMode="gray">
                <a:xfrm>
                  <a:off x="6023514"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29" name="Graphic 2080">
                <a:extLst>
                  <a:ext uri="{FF2B5EF4-FFF2-40B4-BE49-F238E27FC236}">
                    <a16:creationId xmlns:a16="http://schemas.microsoft.com/office/drawing/2014/main" id="{537B83F0-7BE7-4F95-B7E7-5428A60F936A}"/>
                  </a:ext>
                </a:extLst>
              </p:cNvPr>
              <p:cNvGrpSpPr/>
              <p:nvPr/>
            </p:nvGrpSpPr>
            <p:grpSpPr bwMode="gray">
              <a:xfrm>
                <a:off x="5964364" y="3666743"/>
                <a:ext cx="75723" cy="75723"/>
                <a:chOff x="5964364" y="3666743"/>
                <a:chExt cx="75723" cy="75723"/>
              </a:xfrm>
            </p:grpSpPr>
            <p:sp>
              <p:nvSpPr>
                <p:cNvPr id="12447" name="Freeform: Shape 12446">
                  <a:extLst>
                    <a:ext uri="{FF2B5EF4-FFF2-40B4-BE49-F238E27FC236}">
                      <a16:creationId xmlns:a16="http://schemas.microsoft.com/office/drawing/2014/main" id="{E812C4A6-0661-0562-5A74-B43F2C602F1D}"/>
                    </a:ext>
                  </a:extLst>
                </p:cNvPr>
                <p:cNvSpPr/>
                <p:nvPr/>
              </p:nvSpPr>
              <p:spPr bwMode="gray">
                <a:xfrm>
                  <a:off x="6002178"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48" name="Freeform: Shape 12447">
                  <a:extLst>
                    <a:ext uri="{FF2B5EF4-FFF2-40B4-BE49-F238E27FC236}">
                      <a16:creationId xmlns:a16="http://schemas.microsoft.com/office/drawing/2014/main" id="{F51615E7-0347-99CB-C7D4-92249B14A7DA}"/>
                    </a:ext>
                  </a:extLst>
                </p:cNvPr>
                <p:cNvSpPr/>
                <p:nvPr/>
              </p:nvSpPr>
              <p:spPr bwMode="gray">
                <a:xfrm>
                  <a:off x="5964364"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0" name="Graphic 2080">
                <a:extLst>
                  <a:ext uri="{FF2B5EF4-FFF2-40B4-BE49-F238E27FC236}">
                    <a16:creationId xmlns:a16="http://schemas.microsoft.com/office/drawing/2014/main" id="{D020926A-CEA0-ECB7-AD05-A4DF44D3C5A6}"/>
                  </a:ext>
                </a:extLst>
              </p:cNvPr>
              <p:cNvGrpSpPr/>
              <p:nvPr/>
            </p:nvGrpSpPr>
            <p:grpSpPr bwMode="gray">
              <a:xfrm>
                <a:off x="5944933" y="3666743"/>
                <a:ext cx="75723" cy="75723"/>
                <a:chOff x="5944933" y="3666743"/>
                <a:chExt cx="75723" cy="75723"/>
              </a:xfrm>
            </p:grpSpPr>
            <p:sp>
              <p:nvSpPr>
                <p:cNvPr id="12445" name="Freeform: Shape 12444">
                  <a:extLst>
                    <a:ext uri="{FF2B5EF4-FFF2-40B4-BE49-F238E27FC236}">
                      <a16:creationId xmlns:a16="http://schemas.microsoft.com/office/drawing/2014/main" id="{F61E6EE3-AB11-BCF3-3689-F31FF7A6870E}"/>
                    </a:ext>
                  </a:extLst>
                </p:cNvPr>
                <p:cNvSpPr/>
                <p:nvPr/>
              </p:nvSpPr>
              <p:spPr bwMode="gray">
                <a:xfrm>
                  <a:off x="5982747"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46" name="Freeform: Shape 12445">
                  <a:extLst>
                    <a:ext uri="{FF2B5EF4-FFF2-40B4-BE49-F238E27FC236}">
                      <a16:creationId xmlns:a16="http://schemas.microsoft.com/office/drawing/2014/main" id="{9F912308-4E54-2DC2-5A32-8123F7A398FC}"/>
                    </a:ext>
                  </a:extLst>
                </p:cNvPr>
                <p:cNvSpPr/>
                <p:nvPr/>
              </p:nvSpPr>
              <p:spPr bwMode="gray">
                <a:xfrm>
                  <a:off x="5944933"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1" name="Graphic 2080">
                <a:extLst>
                  <a:ext uri="{FF2B5EF4-FFF2-40B4-BE49-F238E27FC236}">
                    <a16:creationId xmlns:a16="http://schemas.microsoft.com/office/drawing/2014/main" id="{09965771-856F-65CA-DAFB-16C0AC2F884E}"/>
                  </a:ext>
                </a:extLst>
              </p:cNvPr>
              <p:cNvGrpSpPr/>
              <p:nvPr/>
            </p:nvGrpSpPr>
            <p:grpSpPr bwMode="gray">
              <a:xfrm>
                <a:off x="5909309" y="3631596"/>
                <a:ext cx="75723" cy="75723"/>
                <a:chOff x="5909309" y="3631596"/>
                <a:chExt cx="75723" cy="75723"/>
              </a:xfrm>
            </p:grpSpPr>
            <p:sp>
              <p:nvSpPr>
                <p:cNvPr id="12443" name="Freeform: Shape 12442">
                  <a:extLst>
                    <a:ext uri="{FF2B5EF4-FFF2-40B4-BE49-F238E27FC236}">
                      <a16:creationId xmlns:a16="http://schemas.microsoft.com/office/drawing/2014/main" id="{63E5D5DF-CDB0-6CF0-3835-CC7659B78D7D}"/>
                    </a:ext>
                  </a:extLst>
                </p:cNvPr>
                <p:cNvSpPr/>
                <p:nvPr/>
              </p:nvSpPr>
              <p:spPr bwMode="gray">
                <a:xfrm>
                  <a:off x="5947219"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44" name="Freeform: Shape 12443">
                  <a:extLst>
                    <a:ext uri="{FF2B5EF4-FFF2-40B4-BE49-F238E27FC236}">
                      <a16:creationId xmlns:a16="http://schemas.microsoft.com/office/drawing/2014/main" id="{4512C1CD-5624-B739-E7E1-80691C3A90B3}"/>
                    </a:ext>
                  </a:extLst>
                </p:cNvPr>
                <p:cNvSpPr/>
                <p:nvPr/>
              </p:nvSpPr>
              <p:spPr bwMode="gray">
                <a:xfrm>
                  <a:off x="5909309" y="36695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2" name="Graphic 2080">
                <a:extLst>
                  <a:ext uri="{FF2B5EF4-FFF2-40B4-BE49-F238E27FC236}">
                    <a16:creationId xmlns:a16="http://schemas.microsoft.com/office/drawing/2014/main" id="{484ECB7B-98D7-66A7-FF6B-686897E43373}"/>
                  </a:ext>
                </a:extLst>
              </p:cNvPr>
              <p:cNvGrpSpPr/>
              <p:nvPr/>
            </p:nvGrpSpPr>
            <p:grpSpPr bwMode="gray">
              <a:xfrm>
                <a:off x="5876257" y="3631596"/>
                <a:ext cx="75628" cy="75723"/>
                <a:chOff x="5876257" y="3631596"/>
                <a:chExt cx="75628" cy="75723"/>
              </a:xfrm>
            </p:grpSpPr>
            <p:sp>
              <p:nvSpPr>
                <p:cNvPr id="12441" name="Freeform: Shape 12440">
                  <a:extLst>
                    <a:ext uri="{FF2B5EF4-FFF2-40B4-BE49-F238E27FC236}">
                      <a16:creationId xmlns:a16="http://schemas.microsoft.com/office/drawing/2014/main" id="{2A605D5C-CBA9-9195-8862-CACA00627675}"/>
                    </a:ext>
                  </a:extLst>
                </p:cNvPr>
                <p:cNvSpPr/>
                <p:nvPr/>
              </p:nvSpPr>
              <p:spPr bwMode="gray">
                <a:xfrm>
                  <a:off x="5914072"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42" name="Freeform: Shape 12441">
                  <a:extLst>
                    <a:ext uri="{FF2B5EF4-FFF2-40B4-BE49-F238E27FC236}">
                      <a16:creationId xmlns:a16="http://schemas.microsoft.com/office/drawing/2014/main" id="{208C0D0C-4A1C-3B7F-3BFD-512C9DF72D22}"/>
                    </a:ext>
                  </a:extLst>
                </p:cNvPr>
                <p:cNvSpPr/>
                <p:nvPr/>
              </p:nvSpPr>
              <p:spPr bwMode="gray">
                <a:xfrm>
                  <a:off x="5876257" y="36695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3" name="Graphic 2080">
                <a:extLst>
                  <a:ext uri="{FF2B5EF4-FFF2-40B4-BE49-F238E27FC236}">
                    <a16:creationId xmlns:a16="http://schemas.microsoft.com/office/drawing/2014/main" id="{0B977918-CBB5-D8CE-89E9-C8784924B2CF}"/>
                  </a:ext>
                </a:extLst>
              </p:cNvPr>
              <p:cNvGrpSpPr/>
              <p:nvPr/>
            </p:nvGrpSpPr>
            <p:grpSpPr bwMode="gray">
              <a:xfrm>
                <a:off x="5857588" y="3594639"/>
                <a:ext cx="75628" cy="75723"/>
                <a:chOff x="5857588" y="3594639"/>
                <a:chExt cx="75628" cy="75723"/>
              </a:xfrm>
            </p:grpSpPr>
            <p:sp>
              <p:nvSpPr>
                <p:cNvPr id="12439" name="Freeform: Shape 12438">
                  <a:extLst>
                    <a:ext uri="{FF2B5EF4-FFF2-40B4-BE49-F238E27FC236}">
                      <a16:creationId xmlns:a16="http://schemas.microsoft.com/office/drawing/2014/main" id="{BDCBF697-FDCC-FE2D-D37F-E554563A2E94}"/>
                    </a:ext>
                  </a:extLst>
                </p:cNvPr>
                <p:cNvSpPr/>
                <p:nvPr/>
              </p:nvSpPr>
              <p:spPr bwMode="gray">
                <a:xfrm>
                  <a:off x="5895403"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40" name="Freeform: Shape 12439">
                  <a:extLst>
                    <a:ext uri="{FF2B5EF4-FFF2-40B4-BE49-F238E27FC236}">
                      <a16:creationId xmlns:a16="http://schemas.microsoft.com/office/drawing/2014/main" id="{5C77C2CB-AD70-135C-D414-D9D2D1D4C726}"/>
                    </a:ext>
                  </a:extLst>
                </p:cNvPr>
                <p:cNvSpPr/>
                <p:nvPr/>
              </p:nvSpPr>
              <p:spPr bwMode="gray">
                <a:xfrm>
                  <a:off x="5857588" y="3632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4" name="Graphic 2080">
                <a:extLst>
                  <a:ext uri="{FF2B5EF4-FFF2-40B4-BE49-F238E27FC236}">
                    <a16:creationId xmlns:a16="http://schemas.microsoft.com/office/drawing/2014/main" id="{ADB03BDE-F151-1105-D0EC-BA23D864B836}"/>
                  </a:ext>
                </a:extLst>
              </p:cNvPr>
              <p:cNvGrpSpPr/>
              <p:nvPr/>
            </p:nvGrpSpPr>
            <p:grpSpPr bwMode="gray">
              <a:xfrm>
                <a:off x="5845682" y="3594639"/>
                <a:ext cx="75723" cy="75723"/>
                <a:chOff x="5845682" y="3594639"/>
                <a:chExt cx="75723" cy="75723"/>
              </a:xfrm>
            </p:grpSpPr>
            <p:sp>
              <p:nvSpPr>
                <p:cNvPr id="12437" name="Freeform: Shape 12436">
                  <a:extLst>
                    <a:ext uri="{FF2B5EF4-FFF2-40B4-BE49-F238E27FC236}">
                      <a16:creationId xmlns:a16="http://schemas.microsoft.com/office/drawing/2014/main" id="{1BB17212-9121-FE19-0871-5078DD10C3D3}"/>
                    </a:ext>
                  </a:extLst>
                </p:cNvPr>
                <p:cNvSpPr/>
                <p:nvPr/>
              </p:nvSpPr>
              <p:spPr bwMode="gray">
                <a:xfrm>
                  <a:off x="5883592"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38" name="Freeform: Shape 12437">
                  <a:extLst>
                    <a:ext uri="{FF2B5EF4-FFF2-40B4-BE49-F238E27FC236}">
                      <a16:creationId xmlns:a16="http://schemas.microsoft.com/office/drawing/2014/main" id="{B5310C85-3037-7BE3-8253-C9EEEF9FE5AB}"/>
                    </a:ext>
                  </a:extLst>
                </p:cNvPr>
                <p:cNvSpPr/>
                <p:nvPr/>
              </p:nvSpPr>
              <p:spPr bwMode="gray">
                <a:xfrm>
                  <a:off x="5845682" y="3632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5" name="Graphic 2080">
                <a:extLst>
                  <a:ext uri="{FF2B5EF4-FFF2-40B4-BE49-F238E27FC236}">
                    <a16:creationId xmlns:a16="http://schemas.microsoft.com/office/drawing/2014/main" id="{44EF149F-0F97-F781-4846-A24B91104D56}"/>
                  </a:ext>
                </a:extLst>
              </p:cNvPr>
              <p:cNvGrpSpPr/>
              <p:nvPr/>
            </p:nvGrpSpPr>
            <p:grpSpPr bwMode="gray">
              <a:xfrm>
                <a:off x="5795295" y="3594639"/>
                <a:ext cx="75628" cy="75723"/>
                <a:chOff x="5795295" y="3594639"/>
                <a:chExt cx="75628" cy="75723"/>
              </a:xfrm>
            </p:grpSpPr>
            <p:sp>
              <p:nvSpPr>
                <p:cNvPr id="12435" name="Freeform: Shape 12434">
                  <a:extLst>
                    <a:ext uri="{FF2B5EF4-FFF2-40B4-BE49-F238E27FC236}">
                      <a16:creationId xmlns:a16="http://schemas.microsoft.com/office/drawing/2014/main" id="{05DBE798-AF1E-04CE-EB39-E7AA3F8F3ECE}"/>
                    </a:ext>
                  </a:extLst>
                </p:cNvPr>
                <p:cNvSpPr/>
                <p:nvPr/>
              </p:nvSpPr>
              <p:spPr bwMode="gray">
                <a:xfrm>
                  <a:off x="5833109"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36" name="Freeform: Shape 12435">
                  <a:extLst>
                    <a:ext uri="{FF2B5EF4-FFF2-40B4-BE49-F238E27FC236}">
                      <a16:creationId xmlns:a16="http://schemas.microsoft.com/office/drawing/2014/main" id="{E99F0C58-3F85-93DE-ED74-914BF896170F}"/>
                    </a:ext>
                  </a:extLst>
                </p:cNvPr>
                <p:cNvSpPr/>
                <p:nvPr/>
              </p:nvSpPr>
              <p:spPr bwMode="gray">
                <a:xfrm>
                  <a:off x="5795295" y="3632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6" name="Graphic 2080">
                <a:extLst>
                  <a:ext uri="{FF2B5EF4-FFF2-40B4-BE49-F238E27FC236}">
                    <a16:creationId xmlns:a16="http://schemas.microsoft.com/office/drawing/2014/main" id="{11D6546D-996D-1A93-C9E3-06D515E68C63}"/>
                  </a:ext>
                </a:extLst>
              </p:cNvPr>
              <p:cNvGrpSpPr/>
              <p:nvPr/>
            </p:nvGrpSpPr>
            <p:grpSpPr bwMode="gray">
              <a:xfrm>
                <a:off x="5781865" y="3579304"/>
                <a:ext cx="75723" cy="75628"/>
                <a:chOff x="5781865" y="3579304"/>
                <a:chExt cx="75723" cy="75628"/>
              </a:xfrm>
            </p:grpSpPr>
            <p:sp>
              <p:nvSpPr>
                <p:cNvPr id="12433" name="Freeform: Shape 12432">
                  <a:extLst>
                    <a:ext uri="{FF2B5EF4-FFF2-40B4-BE49-F238E27FC236}">
                      <a16:creationId xmlns:a16="http://schemas.microsoft.com/office/drawing/2014/main" id="{FCA41A26-A558-CFEE-2911-532AB1A556E3}"/>
                    </a:ext>
                  </a:extLst>
                </p:cNvPr>
                <p:cNvSpPr/>
                <p:nvPr/>
              </p:nvSpPr>
              <p:spPr bwMode="gray">
                <a:xfrm>
                  <a:off x="5819679" y="357930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34" name="Freeform: Shape 12433">
                  <a:extLst>
                    <a:ext uri="{FF2B5EF4-FFF2-40B4-BE49-F238E27FC236}">
                      <a16:creationId xmlns:a16="http://schemas.microsoft.com/office/drawing/2014/main" id="{146232EF-5446-C22F-9AF7-BC41C6D5BA65}"/>
                    </a:ext>
                  </a:extLst>
                </p:cNvPr>
                <p:cNvSpPr/>
                <p:nvPr/>
              </p:nvSpPr>
              <p:spPr bwMode="gray">
                <a:xfrm>
                  <a:off x="5781865" y="36171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7" name="Graphic 2080">
                <a:extLst>
                  <a:ext uri="{FF2B5EF4-FFF2-40B4-BE49-F238E27FC236}">
                    <a16:creationId xmlns:a16="http://schemas.microsoft.com/office/drawing/2014/main" id="{122C0996-75C9-D0E6-C8E9-1A73A6423C40}"/>
                  </a:ext>
                </a:extLst>
              </p:cNvPr>
              <p:cNvGrpSpPr/>
              <p:nvPr/>
            </p:nvGrpSpPr>
            <p:grpSpPr bwMode="gray">
              <a:xfrm>
                <a:off x="5764053" y="3571207"/>
                <a:ext cx="75723" cy="75628"/>
                <a:chOff x="5764053" y="3571207"/>
                <a:chExt cx="75723" cy="75628"/>
              </a:xfrm>
            </p:grpSpPr>
            <p:sp>
              <p:nvSpPr>
                <p:cNvPr id="12431" name="Freeform: Shape 12430">
                  <a:extLst>
                    <a:ext uri="{FF2B5EF4-FFF2-40B4-BE49-F238E27FC236}">
                      <a16:creationId xmlns:a16="http://schemas.microsoft.com/office/drawing/2014/main" id="{5100DE6D-81F1-3CD1-33C6-4E146B32FA96}"/>
                    </a:ext>
                  </a:extLst>
                </p:cNvPr>
                <p:cNvSpPr/>
                <p:nvPr/>
              </p:nvSpPr>
              <p:spPr bwMode="gray">
                <a:xfrm>
                  <a:off x="5801867" y="35712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32" name="Freeform: Shape 12431">
                  <a:extLst>
                    <a:ext uri="{FF2B5EF4-FFF2-40B4-BE49-F238E27FC236}">
                      <a16:creationId xmlns:a16="http://schemas.microsoft.com/office/drawing/2014/main" id="{5C8FB000-ED5D-38FA-EFFA-B9A80DB15830}"/>
                    </a:ext>
                  </a:extLst>
                </p:cNvPr>
                <p:cNvSpPr/>
                <p:nvPr/>
              </p:nvSpPr>
              <p:spPr bwMode="gray">
                <a:xfrm>
                  <a:off x="5764053" y="36090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8" name="Graphic 2080">
                <a:extLst>
                  <a:ext uri="{FF2B5EF4-FFF2-40B4-BE49-F238E27FC236}">
                    <a16:creationId xmlns:a16="http://schemas.microsoft.com/office/drawing/2014/main" id="{C9DE7C23-BFF2-FF1E-1E89-6E7F29DC3448}"/>
                  </a:ext>
                </a:extLst>
              </p:cNvPr>
              <p:cNvGrpSpPr/>
              <p:nvPr/>
            </p:nvGrpSpPr>
            <p:grpSpPr bwMode="gray">
              <a:xfrm>
                <a:off x="5731573" y="3555967"/>
                <a:ext cx="75723" cy="75628"/>
                <a:chOff x="5731573" y="3555967"/>
                <a:chExt cx="75723" cy="75628"/>
              </a:xfrm>
            </p:grpSpPr>
            <p:sp>
              <p:nvSpPr>
                <p:cNvPr id="12429" name="Freeform: Shape 12428">
                  <a:extLst>
                    <a:ext uri="{FF2B5EF4-FFF2-40B4-BE49-F238E27FC236}">
                      <a16:creationId xmlns:a16="http://schemas.microsoft.com/office/drawing/2014/main" id="{B1DB29D8-3DA9-583F-3B12-452A00DDDE6F}"/>
                    </a:ext>
                  </a:extLst>
                </p:cNvPr>
                <p:cNvSpPr/>
                <p:nvPr/>
              </p:nvSpPr>
              <p:spPr bwMode="gray">
                <a:xfrm>
                  <a:off x="5769482" y="35559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30" name="Freeform: Shape 12429">
                  <a:extLst>
                    <a:ext uri="{FF2B5EF4-FFF2-40B4-BE49-F238E27FC236}">
                      <a16:creationId xmlns:a16="http://schemas.microsoft.com/office/drawing/2014/main" id="{F654E249-DF9B-8B9F-ADAE-A31A32DAD665}"/>
                    </a:ext>
                  </a:extLst>
                </p:cNvPr>
                <p:cNvSpPr/>
                <p:nvPr/>
              </p:nvSpPr>
              <p:spPr bwMode="gray">
                <a:xfrm>
                  <a:off x="5731573" y="35937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39" name="Graphic 2080">
                <a:extLst>
                  <a:ext uri="{FF2B5EF4-FFF2-40B4-BE49-F238E27FC236}">
                    <a16:creationId xmlns:a16="http://schemas.microsoft.com/office/drawing/2014/main" id="{DF9062A1-B422-751A-10A0-2BDA4AEAA4D7}"/>
                  </a:ext>
                </a:extLst>
              </p:cNvPr>
              <p:cNvGrpSpPr/>
              <p:nvPr/>
            </p:nvGrpSpPr>
            <p:grpSpPr bwMode="gray">
              <a:xfrm>
                <a:off x="5706141" y="3544633"/>
                <a:ext cx="75723" cy="75628"/>
                <a:chOff x="5706141" y="3544633"/>
                <a:chExt cx="75723" cy="75628"/>
              </a:xfrm>
            </p:grpSpPr>
            <p:sp>
              <p:nvSpPr>
                <p:cNvPr id="12427" name="Freeform: Shape 12426">
                  <a:extLst>
                    <a:ext uri="{FF2B5EF4-FFF2-40B4-BE49-F238E27FC236}">
                      <a16:creationId xmlns:a16="http://schemas.microsoft.com/office/drawing/2014/main" id="{D3056124-4340-33B1-AA31-D6A6E02BCE4C}"/>
                    </a:ext>
                  </a:extLst>
                </p:cNvPr>
                <p:cNvSpPr/>
                <p:nvPr/>
              </p:nvSpPr>
              <p:spPr bwMode="gray">
                <a:xfrm>
                  <a:off x="5744050" y="35446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28" name="Freeform: Shape 12427">
                  <a:extLst>
                    <a:ext uri="{FF2B5EF4-FFF2-40B4-BE49-F238E27FC236}">
                      <a16:creationId xmlns:a16="http://schemas.microsoft.com/office/drawing/2014/main" id="{318C8029-B0A1-47EC-362A-CFD7D1BBEB6A}"/>
                    </a:ext>
                  </a:extLst>
                </p:cNvPr>
                <p:cNvSpPr/>
                <p:nvPr/>
              </p:nvSpPr>
              <p:spPr bwMode="gray">
                <a:xfrm>
                  <a:off x="5706141" y="35824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0" name="Graphic 2080">
                <a:extLst>
                  <a:ext uri="{FF2B5EF4-FFF2-40B4-BE49-F238E27FC236}">
                    <a16:creationId xmlns:a16="http://schemas.microsoft.com/office/drawing/2014/main" id="{BF3CE6D6-738C-38A9-82F0-1AD5D3792F55}"/>
                  </a:ext>
                </a:extLst>
              </p:cNvPr>
              <p:cNvGrpSpPr/>
              <p:nvPr/>
            </p:nvGrpSpPr>
            <p:grpSpPr bwMode="gray">
              <a:xfrm>
                <a:off x="5678899" y="3535298"/>
                <a:ext cx="75723" cy="75628"/>
                <a:chOff x="5678899" y="3535298"/>
                <a:chExt cx="75723" cy="75628"/>
              </a:xfrm>
            </p:grpSpPr>
            <p:sp>
              <p:nvSpPr>
                <p:cNvPr id="12425" name="Freeform: Shape 12424">
                  <a:extLst>
                    <a:ext uri="{FF2B5EF4-FFF2-40B4-BE49-F238E27FC236}">
                      <a16:creationId xmlns:a16="http://schemas.microsoft.com/office/drawing/2014/main" id="{971F7B58-DA68-AF51-8081-4853907144B6}"/>
                    </a:ext>
                  </a:extLst>
                </p:cNvPr>
                <p:cNvSpPr/>
                <p:nvPr/>
              </p:nvSpPr>
              <p:spPr bwMode="gray">
                <a:xfrm>
                  <a:off x="5716809" y="35352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26" name="Freeform: Shape 12425">
                  <a:extLst>
                    <a:ext uri="{FF2B5EF4-FFF2-40B4-BE49-F238E27FC236}">
                      <a16:creationId xmlns:a16="http://schemas.microsoft.com/office/drawing/2014/main" id="{1033A04F-8E3F-F71B-AEF0-5C11009A18E6}"/>
                    </a:ext>
                  </a:extLst>
                </p:cNvPr>
                <p:cNvSpPr/>
                <p:nvPr/>
              </p:nvSpPr>
              <p:spPr bwMode="gray">
                <a:xfrm>
                  <a:off x="5678899" y="35731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1" name="Graphic 2080">
                <a:extLst>
                  <a:ext uri="{FF2B5EF4-FFF2-40B4-BE49-F238E27FC236}">
                    <a16:creationId xmlns:a16="http://schemas.microsoft.com/office/drawing/2014/main" id="{409B66A3-01A3-C048-65C9-189BCD64ACEA}"/>
                  </a:ext>
                </a:extLst>
              </p:cNvPr>
              <p:cNvGrpSpPr/>
              <p:nvPr/>
            </p:nvGrpSpPr>
            <p:grpSpPr bwMode="gray">
              <a:xfrm>
                <a:off x="5644895" y="3506723"/>
                <a:ext cx="75723" cy="75723"/>
                <a:chOff x="5644895" y="3506723"/>
                <a:chExt cx="75723" cy="75723"/>
              </a:xfrm>
            </p:grpSpPr>
            <p:sp>
              <p:nvSpPr>
                <p:cNvPr id="12423" name="Freeform: Shape 12422">
                  <a:extLst>
                    <a:ext uri="{FF2B5EF4-FFF2-40B4-BE49-F238E27FC236}">
                      <a16:creationId xmlns:a16="http://schemas.microsoft.com/office/drawing/2014/main" id="{89EF0B8D-F5D7-0389-73B0-EBA6EE559E38}"/>
                    </a:ext>
                  </a:extLst>
                </p:cNvPr>
                <p:cNvSpPr/>
                <p:nvPr/>
              </p:nvSpPr>
              <p:spPr bwMode="gray">
                <a:xfrm>
                  <a:off x="5682709" y="35067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24" name="Freeform: Shape 12423">
                  <a:extLst>
                    <a:ext uri="{FF2B5EF4-FFF2-40B4-BE49-F238E27FC236}">
                      <a16:creationId xmlns:a16="http://schemas.microsoft.com/office/drawing/2014/main" id="{BC394A89-24E8-0819-42C1-00533760831A}"/>
                    </a:ext>
                  </a:extLst>
                </p:cNvPr>
                <p:cNvSpPr/>
                <p:nvPr/>
              </p:nvSpPr>
              <p:spPr bwMode="gray">
                <a:xfrm>
                  <a:off x="5644895" y="35446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2" name="Graphic 2080">
                <a:extLst>
                  <a:ext uri="{FF2B5EF4-FFF2-40B4-BE49-F238E27FC236}">
                    <a16:creationId xmlns:a16="http://schemas.microsoft.com/office/drawing/2014/main" id="{8102AC5A-20CA-4F43-A6E5-17B08533C733}"/>
                  </a:ext>
                </a:extLst>
              </p:cNvPr>
              <p:cNvGrpSpPr/>
              <p:nvPr/>
            </p:nvGrpSpPr>
            <p:grpSpPr bwMode="gray">
              <a:xfrm>
                <a:off x="5614034" y="3492531"/>
                <a:ext cx="75723" cy="75723"/>
                <a:chOff x="5614034" y="3492531"/>
                <a:chExt cx="75723" cy="75723"/>
              </a:xfrm>
            </p:grpSpPr>
            <p:sp>
              <p:nvSpPr>
                <p:cNvPr id="12421" name="Freeform: Shape 12420">
                  <a:extLst>
                    <a:ext uri="{FF2B5EF4-FFF2-40B4-BE49-F238E27FC236}">
                      <a16:creationId xmlns:a16="http://schemas.microsoft.com/office/drawing/2014/main" id="{A0E86AAC-C2E5-50A1-F9F8-F2F53C26A576}"/>
                    </a:ext>
                  </a:extLst>
                </p:cNvPr>
                <p:cNvSpPr/>
                <p:nvPr/>
              </p:nvSpPr>
              <p:spPr bwMode="gray">
                <a:xfrm>
                  <a:off x="565194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22" name="Freeform: Shape 12421">
                  <a:extLst>
                    <a:ext uri="{FF2B5EF4-FFF2-40B4-BE49-F238E27FC236}">
                      <a16:creationId xmlns:a16="http://schemas.microsoft.com/office/drawing/2014/main" id="{00ED4A11-3B7F-8430-B93C-933484C084A3}"/>
                    </a:ext>
                  </a:extLst>
                </p:cNvPr>
                <p:cNvSpPr/>
                <p:nvPr/>
              </p:nvSpPr>
              <p:spPr bwMode="gray">
                <a:xfrm>
                  <a:off x="561403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3" name="Graphic 2080">
                <a:extLst>
                  <a:ext uri="{FF2B5EF4-FFF2-40B4-BE49-F238E27FC236}">
                    <a16:creationId xmlns:a16="http://schemas.microsoft.com/office/drawing/2014/main" id="{8E3ECEB6-027E-6665-7606-8F6CD237C464}"/>
                  </a:ext>
                </a:extLst>
              </p:cNvPr>
              <p:cNvGrpSpPr/>
              <p:nvPr/>
            </p:nvGrpSpPr>
            <p:grpSpPr bwMode="gray">
              <a:xfrm>
                <a:off x="5576220" y="3492531"/>
                <a:ext cx="75723" cy="75723"/>
                <a:chOff x="5576220" y="3492531"/>
                <a:chExt cx="75723" cy="75723"/>
              </a:xfrm>
            </p:grpSpPr>
            <p:sp>
              <p:nvSpPr>
                <p:cNvPr id="12419" name="Freeform: Shape 12418">
                  <a:extLst>
                    <a:ext uri="{FF2B5EF4-FFF2-40B4-BE49-F238E27FC236}">
                      <a16:creationId xmlns:a16="http://schemas.microsoft.com/office/drawing/2014/main" id="{5F4B3C46-072F-F76D-B78A-E0D2A433BC92}"/>
                    </a:ext>
                  </a:extLst>
                </p:cNvPr>
                <p:cNvSpPr/>
                <p:nvPr/>
              </p:nvSpPr>
              <p:spPr bwMode="gray">
                <a:xfrm>
                  <a:off x="561403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20" name="Freeform: Shape 12419">
                  <a:extLst>
                    <a:ext uri="{FF2B5EF4-FFF2-40B4-BE49-F238E27FC236}">
                      <a16:creationId xmlns:a16="http://schemas.microsoft.com/office/drawing/2014/main" id="{DED4085D-8139-6A8A-8504-70C06F66D7A4}"/>
                    </a:ext>
                  </a:extLst>
                </p:cNvPr>
                <p:cNvSpPr/>
                <p:nvPr/>
              </p:nvSpPr>
              <p:spPr bwMode="gray">
                <a:xfrm>
                  <a:off x="5576220"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4" name="Graphic 2080">
                <a:extLst>
                  <a:ext uri="{FF2B5EF4-FFF2-40B4-BE49-F238E27FC236}">
                    <a16:creationId xmlns:a16="http://schemas.microsoft.com/office/drawing/2014/main" id="{97B47F01-4F60-BDF9-902F-58997EEC4E40}"/>
                  </a:ext>
                </a:extLst>
              </p:cNvPr>
              <p:cNvGrpSpPr/>
              <p:nvPr/>
            </p:nvGrpSpPr>
            <p:grpSpPr bwMode="gray">
              <a:xfrm>
                <a:off x="5556503" y="3492531"/>
                <a:ext cx="75723" cy="75723"/>
                <a:chOff x="5556503" y="3492531"/>
                <a:chExt cx="75723" cy="75723"/>
              </a:xfrm>
            </p:grpSpPr>
            <p:sp>
              <p:nvSpPr>
                <p:cNvPr id="12417" name="Freeform: Shape 12416">
                  <a:extLst>
                    <a:ext uri="{FF2B5EF4-FFF2-40B4-BE49-F238E27FC236}">
                      <a16:creationId xmlns:a16="http://schemas.microsoft.com/office/drawing/2014/main" id="{40AFE7B6-04E3-30CD-EC73-8AE883BECC76}"/>
                    </a:ext>
                  </a:extLst>
                </p:cNvPr>
                <p:cNvSpPr/>
                <p:nvPr/>
              </p:nvSpPr>
              <p:spPr bwMode="gray">
                <a:xfrm>
                  <a:off x="5594413"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18" name="Freeform: Shape 12417">
                  <a:extLst>
                    <a:ext uri="{FF2B5EF4-FFF2-40B4-BE49-F238E27FC236}">
                      <a16:creationId xmlns:a16="http://schemas.microsoft.com/office/drawing/2014/main" id="{72452DC1-4BC0-FCE0-96CD-590554ED6CE4}"/>
                    </a:ext>
                  </a:extLst>
                </p:cNvPr>
                <p:cNvSpPr/>
                <p:nvPr/>
              </p:nvSpPr>
              <p:spPr bwMode="gray">
                <a:xfrm>
                  <a:off x="5556503"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5" name="Graphic 2080">
                <a:extLst>
                  <a:ext uri="{FF2B5EF4-FFF2-40B4-BE49-F238E27FC236}">
                    <a16:creationId xmlns:a16="http://schemas.microsoft.com/office/drawing/2014/main" id="{4A28F2FD-F483-9829-66DB-080D6F76F831}"/>
                  </a:ext>
                </a:extLst>
              </p:cNvPr>
              <p:cNvGrpSpPr/>
              <p:nvPr/>
            </p:nvGrpSpPr>
            <p:grpSpPr bwMode="gray">
              <a:xfrm>
                <a:off x="5542311" y="3492531"/>
                <a:ext cx="75723" cy="75723"/>
                <a:chOff x="5542311" y="3492531"/>
                <a:chExt cx="75723" cy="75723"/>
              </a:xfrm>
            </p:grpSpPr>
            <p:sp>
              <p:nvSpPr>
                <p:cNvPr id="12415" name="Freeform: Shape 12414">
                  <a:extLst>
                    <a:ext uri="{FF2B5EF4-FFF2-40B4-BE49-F238E27FC236}">
                      <a16:creationId xmlns:a16="http://schemas.microsoft.com/office/drawing/2014/main" id="{F82A6459-5A5D-D1FD-1ADD-2F67F3905AD1}"/>
                    </a:ext>
                  </a:extLst>
                </p:cNvPr>
                <p:cNvSpPr/>
                <p:nvPr/>
              </p:nvSpPr>
              <p:spPr bwMode="gray">
                <a:xfrm>
                  <a:off x="5580220"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16" name="Freeform: Shape 12415">
                  <a:extLst>
                    <a:ext uri="{FF2B5EF4-FFF2-40B4-BE49-F238E27FC236}">
                      <a16:creationId xmlns:a16="http://schemas.microsoft.com/office/drawing/2014/main" id="{E7D14836-94FC-BA85-E504-47F63A5CE569}"/>
                    </a:ext>
                  </a:extLst>
                </p:cNvPr>
                <p:cNvSpPr/>
                <p:nvPr/>
              </p:nvSpPr>
              <p:spPr bwMode="gray">
                <a:xfrm>
                  <a:off x="5542311"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6" name="Graphic 2080">
                <a:extLst>
                  <a:ext uri="{FF2B5EF4-FFF2-40B4-BE49-F238E27FC236}">
                    <a16:creationId xmlns:a16="http://schemas.microsoft.com/office/drawing/2014/main" id="{963B691A-2AB0-3799-62D5-70B590676A95}"/>
                  </a:ext>
                </a:extLst>
              </p:cNvPr>
              <p:cNvGrpSpPr/>
              <p:nvPr/>
            </p:nvGrpSpPr>
            <p:grpSpPr bwMode="gray">
              <a:xfrm>
                <a:off x="5532214" y="3492531"/>
                <a:ext cx="75723" cy="75723"/>
                <a:chOff x="5532214" y="3492531"/>
                <a:chExt cx="75723" cy="75723"/>
              </a:xfrm>
            </p:grpSpPr>
            <p:sp>
              <p:nvSpPr>
                <p:cNvPr id="12413" name="Freeform: Shape 12412">
                  <a:extLst>
                    <a:ext uri="{FF2B5EF4-FFF2-40B4-BE49-F238E27FC236}">
                      <a16:creationId xmlns:a16="http://schemas.microsoft.com/office/drawing/2014/main" id="{87EE05B1-5409-A5DA-391E-867B362115BE}"/>
                    </a:ext>
                  </a:extLst>
                </p:cNvPr>
                <p:cNvSpPr/>
                <p:nvPr/>
              </p:nvSpPr>
              <p:spPr bwMode="gray">
                <a:xfrm>
                  <a:off x="5570029"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14" name="Freeform: Shape 12413">
                  <a:extLst>
                    <a:ext uri="{FF2B5EF4-FFF2-40B4-BE49-F238E27FC236}">
                      <a16:creationId xmlns:a16="http://schemas.microsoft.com/office/drawing/2014/main" id="{843AFC99-41A4-2D01-6988-CAE55B5B4DE1}"/>
                    </a:ext>
                  </a:extLst>
                </p:cNvPr>
                <p:cNvSpPr/>
                <p:nvPr/>
              </p:nvSpPr>
              <p:spPr bwMode="gray">
                <a:xfrm>
                  <a:off x="553221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7" name="Graphic 2080">
                <a:extLst>
                  <a:ext uri="{FF2B5EF4-FFF2-40B4-BE49-F238E27FC236}">
                    <a16:creationId xmlns:a16="http://schemas.microsoft.com/office/drawing/2014/main" id="{AE418679-C25F-5598-3295-C580408E316D}"/>
                  </a:ext>
                </a:extLst>
              </p:cNvPr>
              <p:cNvGrpSpPr/>
              <p:nvPr/>
            </p:nvGrpSpPr>
            <p:grpSpPr bwMode="gray">
              <a:xfrm>
                <a:off x="5483161" y="3475100"/>
                <a:ext cx="75723" cy="75723"/>
                <a:chOff x="5483161" y="3475100"/>
                <a:chExt cx="75723" cy="75723"/>
              </a:xfrm>
            </p:grpSpPr>
            <p:sp>
              <p:nvSpPr>
                <p:cNvPr id="12411" name="Freeform: Shape 12410">
                  <a:extLst>
                    <a:ext uri="{FF2B5EF4-FFF2-40B4-BE49-F238E27FC236}">
                      <a16:creationId xmlns:a16="http://schemas.microsoft.com/office/drawing/2014/main" id="{CBA63B28-AB3E-E3BF-49E0-013D668AB655}"/>
                    </a:ext>
                  </a:extLst>
                </p:cNvPr>
                <p:cNvSpPr/>
                <p:nvPr/>
              </p:nvSpPr>
              <p:spPr bwMode="gray">
                <a:xfrm>
                  <a:off x="5520975"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12" name="Freeform: Shape 12411">
                  <a:extLst>
                    <a:ext uri="{FF2B5EF4-FFF2-40B4-BE49-F238E27FC236}">
                      <a16:creationId xmlns:a16="http://schemas.microsoft.com/office/drawing/2014/main" id="{BE6FE750-7727-0558-E381-736638F4CF2A}"/>
                    </a:ext>
                  </a:extLst>
                </p:cNvPr>
                <p:cNvSpPr/>
                <p:nvPr/>
              </p:nvSpPr>
              <p:spPr bwMode="gray">
                <a:xfrm>
                  <a:off x="5483161"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8" name="Graphic 2080">
                <a:extLst>
                  <a:ext uri="{FF2B5EF4-FFF2-40B4-BE49-F238E27FC236}">
                    <a16:creationId xmlns:a16="http://schemas.microsoft.com/office/drawing/2014/main" id="{2505A0D1-5966-05DC-5EA8-910FAB2E42A3}"/>
                  </a:ext>
                </a:extLst>
              </p:cNvPr>
              <p:cNvGrpSpPr/>
              <p:nvPr/>
            </p:nvGrpSpPr>
            <p:grpSpPr bwMode="gray">
              <a:xfrm>
                <a:off x="5513926" y="3475100"/>
                <a:ext cx="75723" cy="75723"/>
                <a:chOff x="5513926" y="3475100"/>
                <a:chExt cx="75723" cy="75723"/>
              </a:xfrm>
            </p:grpSpPr>
            <p:sp>
              <p:nvSpPr>
                <p:cNvPr id="12409" name="Freeform: Shape 12408">
                  <a:extLst>
                    <a:ext uri="{FF2B5EF4-FFF2-40B4-BE49-F238E27FC236}">
                      <a16:creationId xmlns:a16="http://schemas.microsoft.com/office/drawing/2014/main" id="{DC3A48CD-1D84-0EA1-FDC0-13DD3CE31FB5}"/>
                    </a:ext>
                  </a:extLst>
                </p:cNvPr>
                <p:cNvSpPr/>
                <p:nvPr/>
              </p:nvSpPr>
              <p:spPr bwMode="gray">
                <a:xfrm>
                  <a:off x="5551836"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10" name="Freeform: Shape 12409">
                  <a:extLst>
                    <a:ext uri="{FF2B5EF4-FFF2-40B4-BE49-F238E27FC236}">
                      <a16:creationId xmlns:a16="http://schemas.microsoft.com/office/drawing/2014/main" id="{1D937412-9B17-64D0-4275-8D69EBC6F2C8}"/>
                    </a:ext>
                  </a:extLst>
                </p:cNvPr>
                <p:cNvSpPr/>
                <p:nvPr/>
              </p:nvSpPr>
              <p:spPr bwMode="gray">
                <a:xfrm>
                  <a:off x="5513926"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49" name="Graphic 2080">
                <a:extLst>
                  <a:ext uri="{FF2B5EF4-FFF2-40B4-BE49-F238E27FC236}">
                    <a16:creationId xmlns:a16="http://schemas.microsoft.com/office/drawing/2014/main" id="{2EAF4D68-7EF4-881B-CC4D-5A2BEAF0AE18}"/>
                  </a:ext>
                </a:extLst>
              </p:cNvPr>
              <p:cNvGrpSpPr/>
              <p:nvPr/>
            </p:nvGrpSpPr>
            <p:grpSpPr bwMode="gray">
              <a:xfrm>
                <a:off x="5494400" y="3475100"/>
                <a:ext cx="75628" cy="75723"/>
                <a:chOff x="5494400" y="3475100"/>
                <a:chExt cx="75628" cy="75723"/>
              </a:xfrm>
            </p:grpSpPr>
            <p:sp>
              <p:nvSpPr>
                <p:cNvPr id="12407" name="Freeform: Shape 12406">
                  <a:extLst>
                    <a:ext uri="{FF2B5EF4-FFF2-40B4-BE49-F238E27FC236}">
                      <a16:creationId xmlns:a16="http://schemas.microsoft.com/office/drawing/2014/main" id="{A848E283-79AA-8BEE-FF6F-2408BBF9D334}"/>
                    </a:ext>
                  </a:extLst>
                </p:cNvPr>
                <p:cNvSpPr/>
                <p:nvPr/>
              </p:nvSpPr>
              <p:spPr bwMode="gray">
                <a:xfrm>
                  <a:off x="5532214"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08" name="Freeform: Shape 12407">
                  <a:extLst>
                    <a:ext uri="{FF2B5EF4-FFF2-40B4-BE49-F238E27FC236}">
                      <a16:creationId xmlns:a16="http://schemas.microsoft.com/office/drawing/2014/main" id="{DA27AE77-987A-ED03-0D08-8BC21559473A}"/>
                    </a:ext>
                  </a:extLst>
                </p:cNvPr>
                <p:cNvSpPr/>
                <p:nvPr/>
              </p:nvSpPr>
              <p:spPr bwMode="gray">
                <a:xfrm>
                  <a:off x="5494400" y="35130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0" name="Graphic 2080">
                <a:extLst>
                  <a:ext uri="{FF2B5EF4-FFF2-40B4-BE49-F238E27FC236}">
                    <a16:creationId xmlns:a16="http://schemas.microsoft.com/office/drawing/2014/main" id="{9D057E44-8132-1E21-6CFE-015C29D15F4F}"/>
                  </a:ext>
                </a:extLst>
              </p:cNvPr>
              <p:cNvGrpSpPr/>
              <p:nvPr/>
            </p:nvGrpSpPr>
            <p:grpSpPr bwMode="gray">
              <a:xfrm>
                <a:off x="5407437" y="3445573"/>
                <a:ext cx="75723" cy="75628"/>
                <a:chOff x="5407437" y="3445573"/>
                <a:chExt cx="75723" cy="75628"/>
              </a:xfrm>
            </p:grpSpPr>
            <p:sp>
              <p:nvSpPr>
                <p:cNvPr id="12405" name="Freeform: Shape 12404">
                  <a:extLst>
                    <a:ext uri="{FF2B5EF4-FFF2-40B4-BE49-F238E27FC236}">
                      <a16:creationId xmlns:a16="http://schemas.microsoft.com/office/drawing/2014/main" id="{AD770074-539A-59B8-FD24-7482F02C4B7D}"/>
                    </a:ext>
                  </a:extLst>
                </p:cNvPr>
                <p:cNvSpPr/>
                <p:nvPr/>
              </p:nvSpPr>
              <p:spPr bwMode="gray">
                <a:xfrm>
                  <a:off x="5445346" y="34455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06" name="Freeform: Shape 12405">
                  <a:extLst>
                    <a:ext uri="{FF2B5EF4-FFF2-40B4-BE49-F238E27FC236}">
                      <a16:creationId xmlns:a16="http://schemas.microsoft.com/office/drawing/2014/main" id="{2547918C-E50E-9E06-09FE-D29B1BE9CF7A}"/>
                    </a:ext>
                  </a:extLst>
                </p:cNvPr>
                <p:cNvSpPr/>
                <p:nvPr/>
              </p:nvSpPr>
              <p:spPr bwMode="gray">
                <a:xfrm>
                  <a:off x="5407437" y="3483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1" name="Graphic 2080">
                <a:extLst>
                  <a:ext uri="{FF2B5EF4-FFF2-40B4-BE49-F238E27FC236}">
                    <a16:creationId xmlns:a16="http://schemas.microsoft.com/office/drawing/2014/main" id="{57A0922A-4A90-18F3-C757-C37EEA497078}"/>
                  </a:ext>
                </a:extLst>
              </p:cNvPr>
              <p:cNvGrpSpPr/>
              <p:nvPr/>
            </p:nvGrpSpPr>
            <p:grpSpPr bwMode="gray">
              <a:xfrm>
                <a:off x="5347334" y="3416902"/>
                <a:ext cx="75723" cy="75628"/>
                <a:chOff x="5347334" y="3416902"/>
                <a:chExt cx="75723" cy="75628"/>
              </a:xfrm>
            </p:grpSpPr>
            <p:sp>
              <p:nvSpPr>
                <p:cNvPr id="12403" name="Freeform: Shape 12402">
                  <a:extLst>
                    <a:ext uri="{FF2B5EF4-FFF2-40B4-BE49-F238E27FC236}">
                      <a16:creationId xmlns:a16="http://schemas.microsoft.com/office/drawing/2014/main" id="{A4641843-1E85-CD62-0670-2C4F874472AA}"/>
                    </a:ext>
                  </a:extLst>
                </p:cNvPr>
                <p:cNvSpPr/>
                <p:nvPr/>
              </p:nvSpPr>
              <p:spPr bwMode="gray">
                <a:xfrm>
                  <a:off x="5385244" y="34169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04" name="Freeform: Shape 12403">
                  <a:extLst>
                    <a:ext uri="{FF2B5EF4-FFF2-40B4-BE49-F238E27FC236}">
                      <a16:creationId xmlns:a16="http://schemas.microsoft.com/office/drawing/2014/main" id="{507D2229-01CF-B110-033F-3AA17D319EED}"/>
                    </a:ext>
                  </a:extLst>
                </p:cNvPr>
                <p:cNvSpPr/>
                <p:nvPr/>
              </p:nvSpPr>
              <p:spPr bwMode="gray">
                <a:xfrm>
                  <a:off x="5347334" y="34547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2" name="Graphic 2080">
                <a:extLst>
                  <a:ext uri="{FF2B5EF4-FFF2-40B4-BE49-F238E27FC236}">
                    <a16:creationId xmlns:a16="http://schemas.microsoft.com/office/drawing/2014/main" id="{F61BE73E-15FE-6985-FC29-BFDF516888DD}"/>
                  </a:ext>
                </a:extLst>
              </p:cNvPr>
              <p:cNvGrpSpPr/>
              <p:nvPr/>
            </p:nvGrpSpPr>
            <p:grpSpPr bwMode="gray">
              <a:xfrm>
                <a:off x="5316568" y="3405472"/>
                <a:ext cx="75723" cy="75723"/>
                <a:chOff x="5316568" y="3405472"/>
                <a:chExt cx="75723" cy="75723"/>
              </a:xfrm>
            </p:grpSpPr>
            <p:sp>
              <p:nvSpPr>
                <p:cNvPr id="12401" name="Freeform: Shape 12400">
                  <a:extLst>
                    <a:ext uri="{FF2B5EF4-FFF2-40B4-BE49-F238E27FC236}">
                      <a16:creationId xmlns:a16="http://schemas.microsoft.com/office/drawing/2014/main" id="{385D7EB0-5584-DE7F-1ED9-9B21CCBACDA0}"/>
                    </a:ext>
                  </a:extLst>
                </p:cNvPr>
                <p:cNvSpPr/>
                <p:nvPr/>
              </p:nvSpPr>
              <p:spPr bwMode="gray">
                <a:xfrm>
                  <a:off x="5354383" y="34054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02" name="Freeform: Shape 12401">
                  <a:extLst>
                    <a:ext uri="{FF2B5EF4-FFF2-40B4-BE49-F238E27FC236}">
                      <a16:creationId xmlns:a16="http://schemas.microsoft.com/office/drawing/2014/main" id="{A56332E3-85BF-9E24-F547-D68C90BEA734}"/>
                    </a:ext>
                  </a:extLst>
                </p:cNvPr>
                <p:cNvSpPr/>
                <p:nvPr/>
              </p:nvSpPr>
              <p:spPr bwMode="gray">
                <a:xfrm>
                  <a:off x="5316568" y="3443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3" name="Graphic 2080">
                <a:extLst>
                  <a:ext uri="{FF2B5EF4-FFF2-40B4-BE49-F238E27FC236}">
                    <a16:creationId xmlns:a16="http://schemas.microsoft.com/office/drawing/2014/main" id="{E11D82EA-700B-0A63-1B1A-492C935B5430}"/>
                  </a:ext>
                </a:extLst>
              </p:cNvPr>
              <p:cNvGrpSpPr/>
              <p:nvPr/>
            </p:nvGrpSpPr>
            <p:grpSpPr bwMode="gray">
              <a:xfrm>
                <a:off x="5223319" y="3396995"/>
                <a:ext cx="75723" cy="75723"/>
                <a:chOff x="5223319" y="3396995"/>
                <a:chExt cx="75723" cy="75723"/>
              </a:xfrm>
            </p:grpSpPr>
            <p:sp>
              <p:nvSpPr>
                <p:cNvPr id="12399" name="Freeform: Shape 12398">
                  <a:extLst>
                    <a:ext uri="{FF2B5EF4-FFF2-40B4-BE49-F238E27FC236}">
                      <a16:creationId xmlns:a16="http://schemas.microsoft.com/office/drawing/2014/main" id="{9D2C248B-A9FA-E524-B5A7-5F524250075A}"/>
                    </a:ext>
                  </a:extLst>
                </p:cNvPr>
                <p:cNvSpPr/>
                <p:nvPr/>
              </p:nvSpPr>
              <p:spPr bwMode="gray">
                <a:xfrm>
                  <a:off x="526122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400" name="Freeform: Shape 12399">
                  <a:extLst>
                    <a:ext uri="{FF2B5EF4-FFF2-40B4-BE49-F238E27FC236}">
                      <a16:creationId xmlns:a16="http://schemas.microsoft.com/office/drawing/2014/main" id="{98DF65CC-4BE6-0B88-A682-9F26B7EBE551}"/>
                    </a:ext>
                  </a:extLst>
                </p:cNvPr>
                <p:cNvSpPr/>
                <p:nvPr/>
              </p:nvSpPr>
              <p:spPr bwMode="gray">
                <a:xfrm>
                  <a:off x="5223319"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4" name="Graphic 2080">
                <a:extLst>
                  <a:ext uri="{FF2B5EF4-FFF2-40B4-BE49-F238E27FC236}">
                    <a16:creationId xmlns:a16="http://schemas.microsoft.com/office/drawing/2014/main" id="{FD838509-BE38-EEF8-A141-5354EA5AD74D}"/>
                  </a:ext>
                </a:extLst>
              </p:cNvPr>
              <p:cNvGrpSpPr/>
              <p:nvPr/>
            </p:nvGrpSpPr>
            <p:grpSpPr bwMode="gray">
              <a:xfrm>
                <a:off x="5194553" y="3384041"/>
                <a:ext cx="75723" cy="75723"/>
                <a:chOff x="5194553" y="3384041"/>
                <a:chExt cx="75723" cy="75723"/>
              </a:xfrm>
            </p:grpSpPr>
            <p:sp>
              <p:nvSpPr>
                <p:cNvPr id="12397" name="Freeform: Shape 12396">
                  <a:extLst>
                    <a:ext uri="{FF2B5EF4-FFF2-40B4-BE49-F238E27FC236}">
                      <a16:creationId xmlns:a16="http://schemas.microsoft.com/office/drawing/2014/main" id="{8FF587FB-AC07-950B-201F-2B8EC1ADC943}"/>
                    </a:ext>
                  </a:extLst>
                </p:cNvPr>
                <p:cNvSpPr/>
                <p:nvPr/>
              </p:nvSpPr>
              <p:spPr bwMode="gray">
                <a:xfrm>
                  <a:off x="5232463"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98" name="Freeform: Shape 12397">
                  <a:extLst>
                    <a:ext uri="{FF2B5EF4-FFF2-40B4-BE49-F238E27FC236}">
                      <a16:creationId xmlns:a16="http://schemas.microsoft.com/office/drawing/2014/main" id="{8AB07122-DE00-F1E7-6350-BEC128D9FCB2}"/>
                    </a:ext>
                  </a:extLst>
                </p:cNvPr>
                <p:cNvSpPr/>
                <p:nvPr/>
              </p:nvSpPr>
              <p:spPr bwMode="gray">
                <a:xfrm>
                  <a:off x="5194553" y="3421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5" name="Graphic 2080">
                <a:extLst>
                  <a:ext uri="{FF2B5EF4-FFF2-40B4-BE49-F238E27FC236}">
                    <a16:creationId xmlns:a16="http://schemas.microsoft.com/office/drawing/2014/main" id="{3C78BE0F-695F-AFE0-019A-2D5B8D2F8171}"/>
                  </a:ext>
                </a:extLst>
              </p:cNvPr>
              <p:cNvGrpSpPr/>
              <p:nvPr/>
            </p:nvGrpSpPr>
            <p:grpSpPr bwMode="gray">
              <a:xfrm>
                <a:off x="5167788" y="3359181"/>
                <a:ext cx="75723" cy="75628"/>
                <a:chOff x="5167788" y="3359181"/>
                <a:chExt cx="75723" cy="75628"/>
              </a:xfrm>
            </p:grpSpPr>
            <p:sp>
              <p:nvSpPr>
                <p:cNvPr id="12395" name="Freeform: Shape 12394">
                  <a:extLst>
                    <a:ext uri="{FF2B5EF4-FFF2-40B4-BE49-F238E27FC236}">
                      <a16:creationId xmlns:a16="http://schemas.microsoft.com/office/drawing/2014/main" id="{BC8010EE-C207-6158-AFCE-E4ACADB7596A}"/>
                    </a:ext>
                  </a:extLst>
                </p:cNvPr>
                <p:cNvSpPr/>
                <p:nvPr/>
              </p:nvSpPr>
              <p:spPr bwMode="gray">
                <a:xfrm>
                  <a:off x="5205697" y="33591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96" name="Freeform: Shape 12395">
                  <a:extLst>
                    <a:ext uri="{FF2B5EF4-FFF2-40B4-BE49-F238E27FC236}">
                      <a16:creationId xmlns:a16="http://schemas.microsoft.com/office/drawing/2014/main" id="{ABF45841-235D-49AE-10CE-8DE1D25DD82D}"/>
                    </a:ext>
                  </a:extLst>
                </p:cNvPr>
                <p:cNvSpPr/>
                <p:nvPr/>
              </p:nvSpPr>
              <p:spPr bwMode="gray">
                <a:xfrm>
                  <a:off x="5167788" y="3396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6" name="Graphic 2080">
                <a:extLst>
                  <a:ext uri="{FF2B5EF4-FFF2-40B4-BE49-F238E27FC236}">
                    <a16:creationId xmlns:a16="http://schemas.microsoft.com/office/drawing/2014/main" id="{E9D44DAE-A5F1-B959-657B-A365BA94F523}"/>
                  </a:ext>
                </a:extLst>
              </p:cNvPr>
              <p:cNvGrpSpPr/>
              <p:nvPr/>
            </p:nvGrpSpPr>
            <p:grpSpPr bwMode="gray">
              <a:xfrm>
                <a:off x="5140642" y="3346227"/>
                <a:ext cx="75723" cy="75628"/>
                <a:chOff x="5140642" y="3346227"/>
                <a:chExt cx="75723" cy="75628"/>
              </a:xfrm>
            </p:grpSpPr>
            <p:sp>
              <p:nvSpPr>
                <p:cNvPr id="12393" name="Freeform: Shape 12392">
                  <a:extLst>
                    <a:ext uri="{FF2B5EF4-FFF2-40B4-BE49-F238E27FC236}">
                      <a16:creationId xmlns:a16="http://schemas.microsoft.com/office/drawing/2014/main" id="{74E91326-9464-9156-1F7F-4815CDA8FBDE}"/>
                    </a:ext>
                  </a:extLst>
                </p:cNvPr>
                <p:cNvSpPr/>
                <p:nvPr/>
              </p:nvSpPr>
              <p:spPr bwMode="gray">
                <a:xfrm>
                  <a:off x="5178551"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94" name="Freeform: Shape 12393">
                  <a:extLst>
                    <a:ext uri="{FF2B5EF4-FFF2-40B4-BE49-F238E27FC236}">
                      <a16:creationId xmlns:a16="http://schemas.microsoft.com/office/drawing/2014/main" id="{2F74BE6E-C774-5CAE-5949-B06AC2429881}"/>
                    </a:ext>
                  </a:extLst>
                </p:cNvPr>
                <p:cNvSpPr/>
                <p:nvPr/>
              </p:nvSpPr>
              <p:spPr bwMode="gray">
                <a:xfrm>
                  <a:off x="5140642"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7" name="Graphic 2080">
                <a:extLst>
                  <a:ext uri="{FF2B5EF4-FFF2-40B4-BE49-F238E27FC236}">
                    <a16:creationId xmlns:a16="http://schemas.microsoft.com/office/drawing/2014/main" id="{04711602-872F-0948-B8A8-30C91DAC370F}"/>
                  </a:ext>
                </a:extLst>
              </p:cNvPr>
              <p:cNvGrpSpPr/>
              <p:nvPr/>
            </p:nvGrpSpPr>
            <p:grpSpPr bwMode="gray">
              <a:xfrm>
                <a:off x="5129974" y="3346227"/>
                <a:ext cx="75723" cy="75628"/>
                <a:chOff x="5129974" y="3346227"/>
                <a:chExt cx="75723" cy="75628"/>
              </a:xfrm>
            </p:grpSpPr>
            <p:sp>
              <p:nvSpPr>
                <p:cNvPr id="12391" name="Freeform: Shape 12390">
                  <a:extLst>
                    <a:ext uri="{FF2B5EF4-FFF2-40B4-BE49-F238E27FC236}">
                      <a16:creationId xmlns:a16="http://schemas.microsoft.com/office/drawing/2014/main" id="{E08A2B67-D9C2-6CCE-20F5-2EE3306E3265}"/>
                    </a:ext>
                  </a:extLst>
                </p:cNvPr>
                <p:cNvSpPr/>
                <p:nvPr/>
              </p:nvSpPr>
              <p:spPr bwMode="gray">
                <a:xfrm>
                  <a:off x="5167788"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92" name="Freeform: Shape 12391">
                  <a:extLst>
                    <a:ext uri="{FF2B5EF4-FFF2-40B4-BE49-F238E27FC236}">
                      <a16:creationId xmlns:a16="http://schemas.microsoft.com/office/drawing/2014/main" id="{90240CEC-B91C-2B17-4EBA-72EAD8C9621C}"/>
                    </a:ext>
                  </a:extLst>
                </p:cNvPr>
                <p:cNvSpPr/>
                <p:nvPr/>
              </p:nvSpPr>
              <p:spPr bwMode="gray">
                <a:xfrm>
                  <a:off x="5129974"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8" name="Graphic 2080">
                <a:extLst>
                  <a:ext uri="{FF2B5EF4-FFF2-40B4-BE49-F238E27FC236}">
                    <a16:creationId xmlns:a16="http://schemas.microsoft.com/office/drawing/2014/main" id="{2C958318-223A-C104-B306-07FCD1A21D08}"/>
                  </a:ext>
                </a:extLst>
              </p:cNvPr>
              <p:cNvGrpSpPr/>
              <p:nvPr/>
            </p:nvGrpSpPr>
            <p:grpSpPr bwMode="gray">
              <a:xfrm>
                <a:off x="5110638" y="3335273"/>
                <a:ext cx="75723" cy="75628"/>
                <a:chOff x="5110638" y="3335273"/>
                <a:chExt cx="75723" cy="75628"/>
              </a:xfrm>
            </p:grpSpPr>
            <p:sp>
              <p:nvSpPr>
                <p:cNvPr id="12389" name="Freeform: Shape 12388">
                  <a:extLst>
                    <a:ext uri="{FF2B5EF4-FFF2-40B4-BE49-F238E27FC236}">
                      <a16:creationId xmlns:a16="http://schemas.microsoft.com/office/drawing/2014/main" id="{E380816D-5A24-D1E7-F55E-0624E0DB8FEF}"/>
                    </a:ext>
                  </a:extLst>
                </p:cNvPr>
                <p:cNvSpPr/>
                <p:nvPr/>
              </p:nvSpPr>
              <p:spPr bwMode="gray">
                <a:xfrm>
                  <a:off x="5148547" y="33352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90" name="Freeform: Shape 12389">
                  <a:extLst>
                    <a:ext uri="{FF2B5EF4-FFF2-40B4-BE49-F238E27FC236}">
                      <a16:creationId xmlns:a16="http://schemas.microsoft.com/office/drawing/2014/main" id="{050164B9-9110-CE48-26AB-B9E7E839A137}"/>
                    </a:ext>
                  </a:extLst>
                </p:cNvPr>
                <p:cNvSpPr/>
                <p:nvPr/>
              </p:nvSpPr>
              <p:spPr bwMode="gray">
                <a:xfrm>
                  <a:off x="5110638" y="33730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59" name="Graphic 2080">
                <a:extLst>
                  <a:ext uri="{FF2B5EF4-FFF2-40B4-BE49-F238E27FC236}">
                    <a16:creationId xmlns:a16="http://schemas.microsoft.com/office/drawing/2014/main" id="{5C943499-D13A-AF68-9943-503D0BA4ED40}"/>
                  </a:ext>
                </a:extLst>
              </p:cNvPr>
              <p:cNvGrpSpPr/>
              <p:nvPr/>
            </p:nvGrpSpPr>
            <p:grpSpPr bwMode="gray">
              <a:xfrm>
                <a:off x="5081491" y="3299554"/>
                <a:ext cx="75723" cy="75723"/>
                <a:chOff x="5081491" y="3299554"/>
                <a:chExt cx="75723" cy="75723"/>
              </a:xfrm>
            </p:grpSpPr>
            <p:sp>
              <p:nvSpPr>
                <p:cNvPr id="12387" name="Freeform: Shape 12386">
                  <a:extLst>
                    <a:ext uri="{FF2B5EF4-FFF2-40B4-BE49-F238E27FC236}">
                      <a16:creationId xmlns:a16="http://schemas.microsoft.com/office/drawing/2014/main" id="{5A59FE68-C2AE-1424-B1E4-D5F566719764}"/>
                    </a:ext>
                  </a:extLst>
                </p:cNvPr>
                <p:cNvSpPr/>
                <p:nvPr/>
              </p:nvSpPr>
              <p:spPr bwMode="gray">
                <a:xfrm>
                  <a:off x="5119306"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88" name="Freeform: Shape 12387">
                  <a:extLst>
                    <a:ext uri="{FF2B5EF4-FFF2-40B4-BE49-F238E27FC236}">
                      <a16:creationId xmlns:a16="http://schemas.microsoft.com/office/drawing/2014/main" id="{1D09C639-7560-2FE2-CDF4-4CFEFFE7945E}"/>
                    </a:ext>
                  </a:extLst>
                </p:cNvPr>
                <p:cNvSpPr/>
                <p:nvPr/>
              </p:nvSpPr>
              <p:spPr bwMode="gray">
                <a:xfrm>
                  <a:off x="5081491"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0" name="Graphic 2080">
                <a:extLst>
                  <a:ext uri="{FF2B5EF4-FFF2-40B4-BE49-F238E27FC236}">
                    <a16:creationId xmlns:a16="http://schemas.microsoft.com/office/drawing/2014/main" id="{F748BA71-B7C6-0A47-2375-E90355D35D4B}"/>
                  </a:ext>
                </a:extLst>
              </p:cNvPr>
              <p:cNvGrpSpPr/>
              <p:nvPr/>
            </p:nvGrpSpPr>
            <p:grpSpPr bwMode="gray">
              <a:xfrm>
                <a:off x="5048630" y="3299554"/>
                <a:ext cx="75723" cy="75723"/>
                <a:chOff x="5048630" y="3299554"/>
                <a:chExt cx="75723" cy="75723"/>
              </a:xfrm>
            </p:grpSpPr>
            <p:sp>
              <p:nvSpPr>
                <p:cNvPr id="12385" name="Freeform: Shape 12384">
                  <a:extLst>
                    <a:ext uri="{FF2B5EF4-FFF2-40B4-BE49-F238E27FC236}">
                      <a16:creationId xmlns:a16="http://schemas.microsoft.com/office/drawing/2014/main" id="{52B320A5-472F-C7C0-4926-B64E90C3BCC8}"/>
                    </a:ext>
                  </a:extLst>
                </p:cNvPr>
                <p:cNvSpPr/>
                <p:nvPr/>
              </p:nvSpPr>
              <p:spPr bwMode="gray">
                <a:xfrm>
                  <a:off x="5086540"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86" name="Freeform: Shape 12385">
                  <a:extLst>
                    <a:ext uri="{FF2B5EF4-FFF2-40B4-BE49-F238E27FC236}">
                      <a16:creationId xmlns:a16="http://schemas.microsoft.com/office/drawing/2014/main" id="{C863A1DE-2CE5-9811-9491-526C88D2C2C3}"/>
                    </a:ext>
                  </a:extLst>
                </p:cNvPr>
                <p:cNvSpPr/>
                <p:nvPr/>
              </p:nvSpPr>
              <p:spPr bwMode="gray">
                <a:xfrm>
                  <a:off x="5048630"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1" name="Graphic 2080">
                <a:extLst>
                  <a:ext uri="{FF2B5EF4-FFF2-40B4-BE49-F238E27FC236}">
                    <a16:creationId xmlns:a16="http://schemas.microsoft.com/office/drawing/2014/main" id="{4DECBA5A-A280-042F-6ED4-3623AC2951EB}"/>
                  </a:ext>
                </a:extLst>
              </p:cNvPr>
              <p:cNvGrpSpPr/>
              <p:nvPr/>
            </p:nvGrpSpPr>
            <p:grpSpPr bwMode="gray">
              <a:xfrm>
                <a:off x="4989099" y="3270503"/>
                <a:ext cx="75628" cy="75723"/>
                <a:chOff x="4989099" y="3270503"/>
                <a:chExt cx="75628" cy="75723"/>
              </a:xfrm>
            </p:grpSpPr>
            <p:sp>
              <p:nvSpPr>
                <p:cNvPr id="12383" name="Freeform: Shape 12382">
                  <a:extLst>
                    <a:ext uri="{FF2B5EF4-FFF2-40B4-BE49-F238E27FC236}">
                      <a16:creationId xmlns:a16="http://schemas.microsoft.com/office/drawing/2014/main" id="{173F8511-6F54-CB5E-D0CB-C5C4576689CF}"/>
                    </a:ext>
                  </a:extLst>
                </p:cNvPr>
                <p:cNvSpPr/>
                <p:nvPr/>
              </p:nvSpPr>
              <p:spPr bwMode="gray">
                <a:xfrm>
                  <a:off x="5026913" y="32705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84" name="Freeform: Shape 12383">
                  <a:extLst>
                    <a:ext uri="{FF2B5EF4-FFF2-40B4-BE49-F238E27FC236}">
                      <a16:creationId xmlns:a16="http://schemas.microsoft.com/office/drawing/2014/main" id="{C40E9AE8-28B1-5A77-F7E2-DCE44E5835BE}"/>
                    </a:ext>
                  </a:extLst>
                </p:cNvPr>
                <p:cNvSpPr/>
                <p:nvPr/>
              </p:nvSpPr>
              <p:spPr bwMode="gray">
                <a:xfrm>
                  <a:off x="4989099" y="33083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2" name="Graphic 2080">
                <a:extLst>
                  <a:ext uri="{FF2B5EF4-FFF2-40B4-BE49-F238E27FC236}">
                    <a16:creationId xmlns:a16="http://schemas.microsoft.com/office/drawing/2014/main" id="{EFB9661A-9295-6350-EEF2-C8CAFC8BA017}"/>
                  </a:ext>
                </a:extLst>
              </p:cNvPr>
              <p:cNvGrpSpPr/>
              <p:nvPr/>
            </p:nvGrpSpPr>
            <p:grpSpPr bwMode="gray">
              <a:xfrm>
                <a:off x="4953571" y="3248215"/>
                <a:ext cx="75723" cy="75723"/>
                <a:chOff x="4953571" y="3248215"/>
                <a:chExt cx="75723" cy="75723"/>
              </a:xfrm>
            </p:grpSpPr>
            <p:sp>
              <p:nvSpPr>
                <p:cNvPr id="12381" name="Freeform: Shape 12380">
                  <a:extLst>
                    <a:ext uri="{FF2B5EF4-FFF2-40B4-BE49-F238E27FC236}">
                      <a16:creationId xmlns:a16="http://schemas.microsoft.com/office/drawing/2014/main" id="{5778388C-8D9C-370F-8E2B-19FD6F338F59}"/>
                    </a:ext>
                  </a:extLst>
                </p:cNvPr>
                <p:cNvSpPr/>
                <p:nvPr/>
              </p:nvSpPr>
              <p:spPr bwMode="gray">
                <a:xfrm>
                  <a:off x="4991480" y="3248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82" name="Freeform: Shape 12381">
                  <a:extLst>
                    <a:ext uri="{FF2B5EF4-FFF2-40B4-BE49-F238E27FC236}">
                      <a16:creationId xmlns:a16="http://schemas.microsoft.com/office/drawing/2014/main" id="{D54EA849-0AC1-65BD-DD15-BCF3BD6BBB90}"/>
                    </a:ext>
                  </a:extLst>
                </p:cNvPr>
                <p:cNvSpPr/>
                <p:nvPr/>
              </p:nvSpPr>
              <p:spPr bwMode="gray">
                <a:xfrm>
                  <a:off x="4953571" y="32860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3" name="Graphic 2080">
                <a:extLst>
                  <a:ext uri="{FF2B5EF4-FFF2-40B4-BE49-F238E27FC236}">
                    <a16:creationId xmlns:a16="http://schemas.microsoft.com/office/drawing/2014/main" id="{7872A384-CBEC-C2CD-8D68-289CE5BBCF84}"/>
                  </a:ext>
                </a:extLst>
              </p:cNvPr>
              <p:cNvGrpSpPr/>
              <p:nvPr/>
            </p:nvGrpSpPr>
            <p:grpSpPr bwMode="gray">
              <a:xfrm>
                <a:off x="4925948" y="3223926"/>
                <a:ext cx="75723" cy="75628"/>
                <a:chOff x="4925948" y="3223926"/>
                <a:chExt cx="75723" cy="75628"/>
              </a:xfrm>
            </p:grpSpPr>
            <p:sp>
              <p:nvSpPr>
                <p:cNvPr id="12379" name="Freeform: Shape 12378">
                  <a:extLst>
                    <a:ext uri="{FF2B5EF4-FFF2-40B4-BE49-F238E27FC236}">
                      <a16:creationId xmlns:a16="http://schemas.microsoft.com/office/drawing/2014/main" id="{9E7C7445-440C-75BB-189B-BADC245ECD0B}"/>
                    </a:ext>
                  </a:extLst>
                </p:cNvPr>
                <p:cNvSpPr/>
                <p:nvPr/>
              </p:nvSpPr>
              <p:spPr bwMode="gray">
                <a:xfrm>
                  <a:off x="4963762"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80" name="Freeform: Shape 12379">
                  <a:extLst>
                    <a:ext uri="{FF2B5EF4-FFF2-40B4-BE49-F238E27FC236}">
                      <a16:creationId xmlns:a16="http://schemas.microsoft.com/office/drawing/2014/main" id="{62C11493-0432-A8F7-A0FA-59318FBFC1A7}"/>
                    </a:ext>
                  </a:extLst>
                </p:cNvPr>
                <p:cNvSpPr/>
                <p:nvPr/>
              </p:nvSpPr>
              <p:spPr bwMode="gray">
                <a:xfrm>
                  <a:off x="4925948" y="3261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4" name="Graphic 2080">
                <a:extLst>
                  <a:ext uri="{FF2B5EF4-FFF2-40B4-BE49-F238E27FC236}">
                    <a16:creationId xmlns:a16="http://schemas.microsoft.com/office/drawing/2014/main" id="{FACEEA67-3542-CBB6-DEB5-BA3E280D4137}"/>
                  </a:ext>
                </a:extLst>
              </p:cNvPr>
              <p:cNvGrpSpPr/>
              <p:nvPr/>
            </p:nvGrpSpPr>
            <p:grpSpPr bwMode="gray">
              <a:xfrm>
                <a:off x="4904041" y="3212305"/>
                <a:ext cx="75723" cy="75723"/>
                <a:chOff x="4904041" y="3212305"/>
                <a:chExt cx="75723" cy="75723"/>
              </a:xfrm>
            </p:grpSpPr>
            <p:sp>
              <p:nvSpPr>
                <p:cNvPr id="12377" name="Freeform: Shape 12376">
                  <a:extLst>
                    <a:ext uri="{FF2B5EF4-FFF2-40B4-BE49-F238E27FC236}">
                      <a16:creationId xmlns:a16="http://schemas.microsoft.com/office/drawing/2014/main" id="{26BA3B6D-3283-A4CF-438B-F3DC9765505D}"/>
                    </a:ext>
                  </a:extLst>
                </p:cNvPr>
                <p:cNvSpPr/>
                <p:nvPr/>
              </p:nvSpPr>
              <p:spPr bwMode="gray">
                <a:xfrm>
                  <a:off x="4941950" y="3212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78" name="Freeform: Shape 12377">
                  <a:extLst>
                    <a:ext uri="{FF2B5EF4-FFF2-40B4-BE49-F238E27FC236}">
                      <a16:creationId xmlns:a16="http://schemas.microsoft.com/office/drawing/2014/main" id="{20DE8D21-F27E-41F4-E3F2-8D63FEFDA722}"/>
                    </a:ext>
                  </a:extLst>
                </p:cNvPr>
                <p:cNvSpPr/>
                <p:nvPr/>
              </p:nvSpPr>
              <p:spPr bwMode="gray">
                <a:xfrm>
                  <a:off x="4904041" y="32502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5" name="Graphic 2080">
                <a:extLst>
                  <a:ext uri="{FF2B5EF4-FFF2-40B4-BE49-F238E27FC236}">
                    <a16:creationId xmlns:a16="http://schemas.microsoft.com/office/drawing/2014/main" id="{457CA1F6-F4B7-9610-59D8-156CE9886542}"/>
                  </a:ext>
                </a:extLst>
              </p:cNvPr>
              <p:cNvGrpSpPr/>
              <p:nvPr/>
            </p:nvGrpSpPr>
            <p:grpSpPr bwMode="gray">
              <a:xfrm>
                <a:off x="4882990" y="3192493"/>
                <a:ext cx="75723" cy="75723"/>
                <a:chOff x="4882990" y="3192493"/>
                <a:chExt cx="75723" cy="75723"/>
              </a:xfrm>
            </p:grpSpPr>
            <p:sp>
              <p:nvSpPr>
                <p:cNvPr id="12375" name="Freeform: Shape 12374">
                  <a:extLst>
                    <a:ext uri="{FF2B5EF4-FFF2-40B4-BE49-F238E27FC236}">
                      <a16:creationId xmlns:a16="http://schemas.microsoft.com/office/drawing/2014/main" id="{AB229A3F-FD35-9F45-C4F9-7419A45C192C}"/>
                    </a:ext>
                  </a:extLst>
                </p:cNvPr>
                <p:cNvSpPr/>
                <p:nvPr/>
              </p:nvSpPr>
              <p:spPr bwMode="gray">
                <a:xfrm>
                  <a:off x="4920805" y="31924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76" name="Freeform: Shape 12375">
                  <a:extLst>
                    <a:ext uri="{FF2B5EF4-FFF2-40B4-BE49-F238E27FC236}">
                      <a16:creationId xmlns:a16="http://schemas.microsoft.com/office/drawing/2014/main" id="{735631F5-9026-4857-D3C4-3D91D1E08AE0}"/>
                    </a:ext>
                  </a:extLst>
                </p:cNvPr>
                <p:cNvSpPr/>
                <p:nvPr/>
              </p:nvSpPr>
              <p:spPr bwMode="gray">
                <a:xfrm>
                  <a:off x="4882990" y="32303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6" name="Graphic 2080">
                <a:extLst>
                  <a:ext uri="{FF2B5EF4-FFF2-40B4-BE49-F238E27FC236}">
                    <a16:creationId xmlns:a16="http://schemas.microsoft.com/office/drawing/2014/main" id="{6EC57561-801F-4540-CB46-78849671F314}"/>
                  </a:ext>
                </a:extLst>
              </p:cNvPr>
              <p:cNvGrpSpPr/>
              <p:nvPr/>
            </p:nvGrpSpPr>
            <p:grpSpPr bwMode="gray">
              <a:xfrm>
                <a:off x="4866226" y="3165347"/>
                <a:ext cx="75723" cy="75723"/>
                <a:chOff x="4866226" y="3165347"/>
                <a:chExt cx="75723" cy="75723"/>
              </a:xfrm>
            </p:grpSpPr>
            <p:sp>
              <p:nvSpPr>
                <p:cNvPr id="12373" name="Freeform: Shape 12372">
                  <a:extLst>
                    <a:ext uri="{FF2B5EF4-FFF2-40B4-BE49-F238E27FC236}">
                      <a16:creationId xmlns:a16="http://schemas.microsoft.com/office/drawing/2014/main" id="{38B0D0A1-F961-A9DE-483D-6603611528EE}"/>
                    </a:ext>
                  </a:extLst>
                </p:cNvPr>
                <p:cNvSpPr/>
                <p:nvPr/>
              </p:nvSpPr>
              <p:spPr bwMode="gray">
                <a:xfrm>
                  <a:off x="4904041" y="3165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74" name="Freeform: Shape 12373">
                  <a:extLst>
                    <a:ext uri="{FF2B5EF4-FFF2-40B4-BE49-F238E27FC236}">
                      <a16:creationId xmlns:a16="http://schemas.microsoft.com/office/drawing/2014/main" id="{9167A02D-5596-C53F-BF00-AAFBAA5EE612}"/>
                    </a:ext>
                  </a:extLst>
                </p:cNvPr>
                <p:cNvSpPr/>
                <p:nvPr/>
              </p:nvSpPr>
              <p:spPr bwMode="gray">
                <a:xfrm>
                  <a:off x="4866226" y="3203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7" name="Graphic 2080">
                <a:extLst>
                  <a:ext uri="{FF2B5EF4-FFF2-40B4-BE49-F238E27FC236}">
                    <a16:creationId xmlns:a16="http://schemas.microsoft.com/office/drawing/2014/main" id="{4EF9D830-6A94-7312-DC18-B744807E9FC1}"/>
                  </a:ext>
                </a:extLst>
              </p:cNvPr>
              <p:cNvGrpSpPr/>
              <p:nvPr/>
            </p:nvGrpSpPr>
            <p:grpSpPr bwMode="gray">
              <a:xfrm>
                <a:off x="4850224" y="3148202"/>
                <a:ext cx="75723" cy="75723"/>
                <a:chOff x="4850224" y="3148202"/>
                <a:chExt cx="75723" cy="75723"/>
              </a:xfrm>
            </p:grpSpPr>
            <p:sp>
              <p:nvSpPr>
                <p:cNvPr id="12371" name="Freeform: Shape 12370">
                  <a:extLst>
                    <a:ext uri="{FF2B5EF4-FFF2-40B4-BE49-F238E27FC236}">
                      <a16:creationId xmlns:a16="http://schemas.microsoft.com/office/drawing/2014/main" id="{B5D73501-E5C4-7142-26E7-1F259357752A}"/>
                    </a:ext>
                  </a:extLst>
                </p:cNvPr>
                <p:cNvSpPr/>
                <p:nvPr/>
              </p:nvSpPr>
              <p:spPr bwMode="gray">
                <a:xfrm>
                  <a:off x="4888134" y="3148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72" name="Freeform: Shape 12371">
                  <a:extLst>
                    <a:ext uri="{FF2B5EF4-FFF2-40B4-BE49-F238E27FC236}">
                      <a16:creationId xmlns:a16="http://schemas.microsoft.com/office/drawing/2014/main" id="{D8CCB504-FE09-9F5A-3CE8-B3EE5BCD103C}"/>
                    </a:ext>
                  </a:extLst>
                </p:cNvPr>
                <p:cNvSpPr/>
                <p:nvPr/>
              </p:nvSpPr>
              <p:spPr bwMode="gray">
                <a:xfrm>
                  <a:off x="4850224" y="3186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8" name="Graphic 2080">
                <a:extLst>
                  <a:ext uri="{FF2B5EF4-FFF2-40B4-BE49-F238E27FC236}">
                    <a16:creationId xmlns:a16="http://schemas.microsoft.com/office/drawing/2014/main" id="{648C399E-3862-DF0F-167E-FD88B7FEE558}"/>
                  </a:ext>
                </a:extLst>
              </p:cNvPr>
              <p:cNvGrpSpPr/>
              <p:nvPr/>
            </p:nvGrpSpPr>
            <p:grpSpPr bwMode="gray">
              <a:xfrm>
                <a:off x="4832698" y="3129152"/>
                <a:ext cx="75723" cy="75723"/>
                <a:chOff x="4832698" y="3129152"/>
                <a:chExt cx="75723" cy="75723"/>
              </a:xfrm>
            </p:grpSpPr>
            <p:sp>
              <p:nvSpPr>
                <p:cNvPr id="12369" name="Freeform: Shape 12368">
                  <a:extLst>
                    <a:ext uri="{FF2B5EF4-FFF2-40B4-BE49-F238E27FC236}">
                      <a16:creationId xmlns:a16="http://schemas.microsoft.com/office/drawing/2014/main" id="{15722D21-9AE3-4D9F-E83A-B0266957B08F}"/>
                    </a:ext>
                  </a:extLst>
                </p:cNvPr>
                <p:cNvSpPr/>
                <p:nvPr/>
              </p:nvSpPr>
              <p:spPr bwMode="gray">
                <a:xfrm>
                  <a:off x="4870608" y="31291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70" name="Freeform: Shape 12369">
                  <a:extLst>
                    <a:ext uri="{FF2B5EF4-FFF2-40B4-BE49-F238E27FC236}">
                      <a16:creationId xmlns:a16="http://schemas.microsoft.com/office/drawing/2014/main" id="{A4218A8C-99E7-D87C-B8F0-5CB8737D5CDA}"/>
                    </a:ext>
                  </a:extLst>
                </p:cNvPr>
                <p:cNvSpPr/>
                <p:nvPr/>
              </p:nvSpPr>
              <p:spPr bwMode="gray">
                <a:xfrm>
                  <a:off x="4832698" y="31669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69" name="Graphic 2080">
                <a:extLst>
                  <a:ext uri="{FF2B5EF4-FFF2-40B4-BE49-F238E27FC236}">
                    <a16:creationId xmlns:a16="http://schemas.microsoft.com/office/drawing/2014/main" id="{98E5AD47-651B-6931-1A8D-EF2F05A27729}"/>
                  </a:ext>
                </a:extLst>
              </p:cNvPr>
              <p:cNvGrpSpPr/>
              <p:nvPr/>
            </p:nvGrpSpPr>
            <p:grpSpPr bwMode="gray">
              <a:xfrm>
                <a:off x="4801075" y="3114103"/>
                <a:ext cx="75723" cy="75723"/>
                <a:chOff x="4801075" y="3114103"/>
                <a:chExt cx="75723" cy="75723"/>
              </a:xfrm>
            </p:grpSpPr>
            <p:sp>
              <p:nvSpPr>
                <p:cNvPr id="12367" name="Freeform: Shape 12366">
                  <a:extLst>
                    <a:ext uri="{FF2B5EF4-FFF2-40B4-BE49-F238E27FC236}">
                      <a16:creationId xmlns:a16="http://schemas.microsoft.com/office/drawing/2014/main" id="{47986BB0-411D-D731-6CFD-4971F6DA2F1F}"/>
                    </a:ext>
                  </a:extLst>
                </p:cNvPr>
                <p:cNvSpPr/>
                <p:nvPr/>
              </p:nvSpPr>
              <p:spPr bwMode="gray">
                <a:xfrm>
                  <a:off x="4838985" y="31141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68" name="Freeform: Shape 12367">
                  <a:extLst>
                    <a:ext uri="{FF2B5EF4-FFF2-40B4-BE49-F238E27FC236}">
                      <a16:creationId xmlns:a16="http://schemas.microsoft.com/office/drawing/2014/main" id="{57BB384A-C509-75BF-8AE9-A0DB856E8352}"/>
                    </a:ext>
                  </a:extLst>
                </p:cNvPr>
                <p:cNvSpPr/>
                <p:nvPr/>
              </p:nvSpPr>
              <p:spPr bwMode="gray">
                <a:xfrm>
                  <a:off x="4801075" y="31520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0" name="Graphic 2080">
                <a:extLst>
                  <a:ext uri="{FF2B5EF4-FFF2-40B4-BE49-F238E27FC236}">
                    <a16:creationId xmlns:a16="http://schemas.microsoft.com/office/drawing/2014/main" id="{8E83C711-4FED-F559-11F9-863054B0E1D0}"/>
                  </a:ext>
                </a:extLst>
              </p:cNvPr>
              <p:cNvGrpSpPr/>
              <p:nvPr/>
            </p:nvGrpSpPr>
            <p:grpSpPr bwMode="gray">
              <a:xfrm>
                <a:off x="4771548" y="3101911"/>
                <a:ext cx="75628" cy="75723"/>
                <a:chOff x="4771548" y="3101911"/>
                <a:chExt cx="75628" cy="75723"/>
              </a:xfrm>
            </p:grpSpPr>
            <p:sp>
              <p:nvSpPr>
                <p:cNvPr id="12365" name="Freeform: Shape 12364">
                  <a:extLst>
                    <a:ext uri="{FF2B5EF4-FFF2-40B4-BE49-F238E27FC236}">
                      <a16:creationId xmlns:a16="http://schemas.microsoft.com/office/drawing/2014/main" id="{FC18B6D7-AD81-78E2-6F3B-B63385BE90D8}"/>
                    </a:ext>
                  </a:extLst>
                </p:cNvPr>
                <p:cNvSpPr/>
                <p:nvPr/>
              </p:nvSpPr>
              <p:spPr bwMode="gray">
                <a:xfrm>
                  <a:off x="4809362" y="31019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66" name="Freeform: Shape 12365">
                  <a:extLst>
                    <a:ext uri="{FF2B5EF4-FFF2-40B4-BE49-F238E27FC236}">
                      <a16:creationId xmlns:a16="http://schemas.microsoft.com/office/drawing/2014/main" id="{74420422-442E-77A8-ABB9-500C7C42135C}"/>
                    </a:ext>
                  </a:extLst>
                </p:cNvPr>
                <p:cNvSpPr/>
                <p:nvPr/>
              </p:nvSpPr>
              <p:spPr bwMode="gray">
                <a:xfrm>
                  <a:off x="4771548" y="3139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1" name="Graphic 2080">
                <a:extLst>
                  <a:ext uri="{FF2B5EF4-FFF2-40B4-BE49-F238E27FC236}">
                    <a16:creationId xmlns:a16="http://schemas.microsoft.com/office/drawing/2014/main" id="{8EF233AB-AC05-74F3-8433-83341C26134A}"/>
                  </a:ext>
                </a:extLst>
              </p:cNvPr>
              <p:cNvGrpSpPr/>
              <p:nvPr/>
            </p:nvGrpSpPr>
            <p:grpSpPr bwMode="gray">
              <a:xfrm>
                <a:off x="4745164" y="3085242"/>
                <a:ext cx="75723" cy="75723"/>
                <a:chOff x="4745164" y="3085242"/>
                <a:chExt cx="75723" cy="75723"/>
              </a:xfrm>
            </p:grpSpPr>
            <p:sp>
              <p:nvSpPr>
                <p:cNvPr id="12363" name="Freeform: Shape 12362">
                  <a:extLst>
                    <a:ext uri="{FF2B5EF4-FFF2-40B4-BE49-F238E27FC236}">
                      <a16:creationId xmlns:a16="http://schemas.microsoft.com/office/drawing/2014/main" id="{223A1EBC-7F45-C7A8-67FD-B28762DCAB60}"/>
                    </a:ext>
                  </a:extLst>
                </p:cNvPr>
                <p:cNvSpPr/>
                <p:nvPr/>
              </p:nvSpPr>
              <p:spPr bwMode="gray">
                <a:xfrm>
                  <a:off x="4782978" y="30852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64" name="Freeform: Shape 12363">
                  <a:extLst>
                    <a:ext uri="{FF2B5EF4-FFF2-40B4-BE49-F238E27FC236}">
                      <a16:creationId xmlns:a16="http://schemas.microsoft.com/office/drawing/2014/main" id="{16187407-24BB-27EA-1357-1BB88FC692EE}"/>
                    </a:ext>
                  </a:extLst>
                </p:cNvPr>
                <p:cNvSpPr/>
                <p:nvPr/>
              </p:nvSpPr>
              <p:spPr bwMode="gray">
                <a:xfrm>
                  <a:off x="4745164" y="3123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2" name="Graphic 2080">
                <a:extLst>
                  <a:ext uri="{FF2B5EF4-FFF2-40B4-BE49-F238E27FC236}">
                    <a16:creationId xmlns:a16="http://schemas.microsoft.com/office/drawing/2014/main" id="{FD6F3710-36A1-ADFD-632E-E8462A6EAE07}"/>
                  </a:ext>
                </a:extLst>
              </p:cNvPr>
              <p:cNvGrpSpPr/>
              <p:nvPr/>
            </p:nvGrpSpPr>
            <p:grpSpPr bwMode="gray">
              <a:xfrm>
                <a:off x="4727352" y="3076288"/>
                <a:ext cx="75723" cy="75723"/>
                <a:chOff x="4727352" y="3076288"/>
                <a:chExt cx="75723" cy="75723"/>
              </a:xfrm>
            </p:grpSpPr>
            <p:sp>
              <p:nvSpPr>
                <p:cNvPr id="12361" name="Freeform: Shape 12360">
                  <a:extLst>
                    <a:ext uri="{FF2B5EF4-FFF2-40B4-BE49-F238E27FC236}">
                      <a16:creationId xmlns:a16="http://schemas.microsoft.com/office/drawing/2014/main" id="{E3BA0E5F-6B1B-B0F9-7B69-E3102D10424A}"/>
                    </a:ext>
                  </a:extLst>
                </p:cNvPr>
                <p:cNvSpPr/>
                <p:nvPr/>
              </p:nvSpPr>
              <p:spPr bwMode="gray">
                <a:xfrm>
                  <a:off x="4765166" y="30762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62" name="Freeform: Shape 12361">
                  <a:extLst>
                    <a:ext uri="{FF2B5EF4-FFF2-40B4-BE49-F238E27FC236}">
                      <a16:creationId xmlns:a16="http://schemas.microsoft.com/office/drawing/2014/main" id="{7CC49483-E2B9-C26F-E598-879EEFA08CD4}"/>
                    </a:ext>
                  </a:extLst>
                </p:cNvPr>
                <p:cNvSpPr/>
                <p:nvPr/>
              </p:nvSpPr>
              <p:spPr bwMode="gray">
                <a:xfrm>
                  <a:off x="4727352" y="31141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3" name="Graphic 2080">
                <a:extLst>
                  <a:ext uri="{FF2B5EF4-FFF2-40B4-BE49-F238E27FC236}">
                    <a16:creationId xmlns:a16="http://schemas.microsoft.com/office/drawing/2014/main" id="{5CFF0124-C59D-C01C-ABBC-53079B2D0BC3}"/>
                  </a:ext>
                </a:extLst>
              </p:cNvPr>
              <p:cNvGrpSpPr/>
              <p:nvPr/>
            </p:nvGrpSpPr>
            <p:grpSpPr bwMode="gray">
              <a:xfrm>
                <a:off x="4692109" y="3069430"/>
                <a:ext cx="75628" cy="75628"/>
                <a:chOff x="4692109" y="3069430"/>
                <a:chExt cx="75628" cy="75628"/>
              </a:xfrm>
            </p:grpSpPr>
            <p:sp>
              <p:nvSpPr>
                <p:cNvPr id="12359" name="Freeform: Shape 12358">
                  <a:extLst>
                    <a:ext uri="{FF2B5EF4-FFF2-40B4-BE49-F238E27FC236}">
                      <a16:creationId xmlns:a16="http://schemas.microsoft.com/office/drawing/2014/main" id="{CFD21F81-6A37-7212-927F-A3BD445FF649}"/>
                    </a:ext>
                  </a:extLst>
                </p:cNvPr>
                <p:cNvSpPr/>
                <p:nvPr/>
              </p:nvSpPr>
              <p:spPr bwMode="gray">
                <a:xfrm>
                  <a:off x="4729924" y="30694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60" name="Freeform: Shape 12359">
                  <a:extLst>
                    <a:ext uri="{FF2B5EF4-FFF2-40B4-BE49-F238E27FC236}">
                      <a16:creationId xmlns:a16="http://schemas.microsoft.com/office/drawing/2014/main" id="{992B2FF4-CE1B-A677-1C08-A3A6921D71B3}"/>
                    </a:ext>
                  </a:extLst>
                </p:cNvPr>
                <p:cNvSpPr/>
                <p:nvPr/>
              </p:nvSpPr>
              <p:spPr bwMode="gray">
                <a:xfrm>
                  <a:off x="4692109" y="31072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4" name="Graphic 2080">
                <a:extLst>
                  <a:ext uri="{FF2B5EF4-FFF2-40B4-BE49-F238E27FC236}">
                    <a16:creationId xmlns:a16="http://schemas.microsoft.com/office/drawing/2014/main" id="{F3E0FE15-B608-C627-961A-E370361FB17E}"/>
                  </a:ext>
                </a:extLst>
              </p:cNvPr>
              <p:cNvGrpSpPr/>
              <p:nvPr/>
            </p:nvGrpSpPr>
            <p:grpSpPr bwMode="gray">
              <a:xfrm>
                <a:off x="4656391" y="3055810"/>
                <a:ext cx="75723" cy="75723"/>
                <a:chOff x="4656391" y="3055810"/>
                <a:chExt cx="75723" cy="75723"/>
              </a:xfrm>
            </p:grpSpPr>
            <p:sp>
              <p:nvSpPr>
                <p:cNvPr id="12357" name="Freeform: Shape 12356">
                  <a:extLst>
                    <a:ext uri="{FF2B5EF4-FFF2-40B4-BE49-F238E27FC236}">
                      <a16:creationId xmlns:a16="http://schemas.microsoft.com/office/drawing/2014/main" id="{DB68C29D-3BFB-77EB-E956-94A582AD585D}"/>
                    </a:ext>
                  </a:extLst>
                </p:cNvPr>
                <p:cNvSpPr/>
                <p:nvPr/>
              </p:nvSpPr>
              <p:spPr bwMode="gray">
                <a:xfrm>
                  <a:off x="4694300" y="3055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58" name="Freeform: Shape 12357">
                  <a:extLst>
                    <a:ext uri="{FF2B5EF4-FFF2-40B4-BE49-F238E27FC236}">
                      <a16:creationId xmlns:a16="http://schemas.microsoft.com/office/drawing/2014/main" id="{48D5C474-1BB0-029A-F228-4927BE704E1D}"/>
                    </a:ext>
                  </a:extLst>
                </p:cNvPr>
                <p:cNvSpPr/>
                <p:nvPr/>
              </p:nvSpPr>
              <p:spPr bwMode="gray">
                <a:xfrm>
                  <a:off x="4656391" y="30936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5" name="Graphic 2080">
                <a:extLst>
                  <a:ext uri="{FF2B5EF4-FFF2-40B4-BE49-F238E27FC236}">
                    <a16:creationId xmlns:a16="http://schemas.microsoft.com/office/drawing/2014/main" id="{B58175E4-4BFA-29E1-1D1C-A9C406DDC0FB}"/>
                  </a:ext>
                </a:extLst>
              </p:cNvPr>
              <p:cNvGrpSpPr/>
              <p:nvPr/>
            </p:nvGrpSpPr>
            <p:grpSpPr bwMode="gray">
              <a:xfrm>
                <a:off x="4627625" y="3045618"/>
                <a:ext cx="75723" cy="75723"/>
                <a:chOff x="4627625" y="3045618"/>
                <a:chExt cx="75723" cy="75723"/>
              </a:xfrm>
            </p:grpSpPr>
            <p:sp>
              <p:nvSpPr>
                <p:cNvPr id="12355" name="Freeform: Shape 12354">
                  <a:extLst>
                    <a:ext uri="{FF2B5EF4-FFF2-40B4-BE49-F238E27FC236}">
                      <a16:creationId xmlns:a16="http://schemas.microsoft.com/office/drawing/2014/main" id="{38D4B4FC-BB06-5A66-EC75-15B6139BEDBA}"/>
                    </a:ext>
                  </a:extLst>
                </p:cNvPr>
                <p:cNvSpPr/>
                <p:nvPr/>
              </p:nvSpPr>
              <p:spPr bwMode="gray">
                <a:xfrm>
                  <a:off x="4665439" y="30456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56" name="Freeform: Shape 12355">
                  <a:extLst>
                    <a:ext uri="{FF2B5EF4-FFF2-40B4-BE49-F238E27FC236}">
                      <a16:creationId xmlns:a16="http://schemas.microsoft.com/office/drawing/2014/main" id="{A1F0BDD7-49D9-A10F-8158-2B6B78358AB3}"/>
                    </a:ext>
                  </a:extLst>
                </p:cNvPr>
                <p:cNvSpPr/>
                <p:nvPr/>
              </p:nvSpPr>
              <p:spPr bwMode="gray">
                <a:xfrm>
                  <a:off x="4627625" y="308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6" name="Graphic 2080">
                <a:extLst>
                  <a:ext uri="{FF2B5EF4-FFF2-40B4-BE49-F238E27FC236}">
                    <a16:creationId xmlns:a16="http://schemas.microsoft.com/office/drawing/2014/main" id="{9736DC76-73B5-2B72-901C-3D85048AF1FE}"/>
                  </a:ext>
                </a:extLst>
              </p:cNvPr>
              <p:cNvGrpSpPr/>
              <p:nvPr/>
            </p:nvGrpSpPr>
            <p:grpSpPr bwMode="gray">
              <a:xfrm>
                <a:off x="4594764" y="3026187"/>
                <a:ext cx="75723" cy="75723"/>
                <a:chOff x="4594764" y="3026187"/>
                <a:chExt cx="75723" cy="75723"/>
              </a:xfrm>
            </p:grpSpPr>
            <p:sp>
              <p:nvSpPr>
                <p:cNvPr id="12353" name="Freeform: Shape 12352">
                  <a:extLst>
                    <a:ext uri="{FF2B5EF4-FFF2-40B4-BE49-F238E27FC236}">
                      <a16:creationId xmlns:a16="http://schemas.microsoft.com/office/drawing/2014/main" id="{7FFA3248-CD8D-91C5-B52B-E37F87C9D921}"/>
                    </a:ext>
                  </a:extLst>
                </p:cNvPr>
                <p:cNvSpPr/>
                <p:nvPr/>
              </p:nvSpPr>
              <p:spPr bwMode="gray">
                <a:xfrm>
                  <a:off x="4632673"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54" name="Freeform: Shape 12353">
                  <a:extLst>
                    <a:ext uri="{FF2B5EF4-FFF2-40B4-BE49-F238E27FC236}">
                      <a16:creationId xmlns:a16="http://schemas.microsoft.com/office/drawing/2014/main" id="{2542DFB2-CC8F-01ED-FA57-877008BD4AB8}"/>
                    </a:ext>
                  </a:extLst>
                </p:cNvPr>
                <p:cNvSpPr/>
                <p:nvPr/>
              </p:nvSpPr>
              <p:spPr bwMode="gray">
                <a:xfrm>
                  <a:off x="4594764"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7" name="Graphic 2080">
                <a:extLst>
                  <a:ext uri="{FF2B5EF4-FFF2-40B4-BE49-F238E27FC236}">
                    <a16:creationId xmlns:a16="http://schemas.microsoft.com/office/drawing/2014/main" id="{3B82F86C-40A6-FF54-495A-24C440B72872}"/>
                  </a:ext>
                </a:extLst>
              </p:cNvPr>
              <p:cNvGrpSpPr/>
              <p:nvPr/>
            </p:nvGrpSpPr>
            <p:grpSpPr bwMode="gray">
              <a:xfrm>
                <a:off x="4540852" y="3026187"/>
                <a:ext cx="75723" cy="75723"/>
                <a:chOff x="4540852" y="3026187"/>
                <a:chExt cx="75723" cy="75723"/>
              </a:xfrm>
            </p:grpSpPr>
            <p:sp>
              <p:nvSpPr>
                <p:cNvPr id="12351" name="Freeform: Shape 12350">
                  <a:extLst>
                    <a:ext uri="{FF2B5EF4-FFF2-40B4-BE49-F238E27FC236}">
                      <a16:creationId xmlns:a16="http://schemas.microsoft.com/office/drawing/2014/main" id="{96AF591A-BFB8-D696-6B2E-B0C619F4F3B4}"/>
                    </a:ext>
                  </a:extLst>
                </p:cNvPr>
                <p:cNvSpPr/>
                <p:nvPr/>
              </p:nvSpPr>
              <p:spPr bwMode="gray">
                <a:xfrm>
                  <a:off x="4578762"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52" name="Freeform: Shape 12351">
                  <a:extLst>
                    <a:ext uri="{FF2B5EF4-FFF2-40B4-BE49-F238E27FC236}">
                      <a16:creationId xmlns:a16="http://schemas.microsoft.com/office/drawing/2014/main" id="{50D96590-E062-8A14-0E70-7C9D865BB780}"/>
                    </a:ext>
                  </a:extLst>
                </p:cNvPr>
                <p:cNvSpPr/>
                <p:nvPr/>
              </p:nvSpPr>
              <p:spPr bwMode="gray">
                <a:xfrm>
                  <a:off x="4540852"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8" name="Graphic 2080">
                <a:extLst>
                  <a:ext uri="{FF2B5EF4-FFF2-40B4-BE49-F238E27FC236}">
                    <a16:creationId xmlns:a16="http://schemas.microsoft.com/office/drawing/2014/main" id="{7BD6E013-EF7A-C12F-6BCB-906AEFFD015A}"/>
                  </a:ext>
                </a:extLst>
              </p:cNvPr>
              <p:cNvGrpSpPr/>
              <p:nvPr/>
            </p:nvGrpSpPr>
            <p:grpSpPr bwMode="gray">
              <a:xfrm>
                <a:off x="4511706" y="2996183"/>
                <a:ext cx="75723" cy="75723"/>
                <a:chOff x="4511706" y="2996183"/>
                <a:chExt cx="75723" cy="75723"/>
              </a:xfrm>
            </p:grpSpPr>
            <p:sp>
              <p:nvSpPr>
                <p:cNvPr id="12349" name="Freeform: Shape 12348">
                  <a:extLst>
                    <a:ext uri="{FF2B5EF4-FFF2-40B4-BE49-F238E27FC236}">
                      <a16:creationId xmlns:a16="http://schemas.microsoft.com/office/drawing/2014/main" id="{F1385FEF-B7F1-8D7F-65B3-1589A083CFB8}"/>
                    </a:ext>
                  </a:extLst>
                </p:cNvPr>
                <p:cNvSpPr/>
                <p:nvPr/>
              </p:nvSpPr>
              <p:spPr bwMode="gray">
                <a:xfrm>
                  <a:off x="4549520"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50" name="Freeform: Shape 12349">
                  <a:extLst>
                    <a:ext uri="{FF2B5EF4-FFF2-40B4-BE49-F238E27FC236}">
                      <a16:creationId xmlns:a16="http://schemas.microsoft.com/office/drawing/2014/main" id="{66677296-BC88-8C8E-3918-9E48E40BA188}"/>
                    </a:ext>
                  </a:extLst>
                </p:cNvPr>
                <p:cNvSpPr/>
                <p:nvPr/>
              </p:nvSpPr>
              <p:spPr bwMode="gray">
                <a:xfrm>
                  <a:off x="4511706"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79" name="Graphic 2080">
                <a:extLst>
                  <a:ext uri="{FF2B5EF4-FFF2-40B4-BE49-F238E27FC236}">
                    <a16:creationId xmlns:a16="http://schemas.microsoft.com/office/drawing/2014/main" id="{B50ACB50-CE4C-C0DE-29F0-7976701A7FBB}"/>
                  </a:ext>
                </a:extLst>
              </p:cNvPr>
              <p:cNvGrpSpPr/>
              <p:nvPr/>
            </p:nvGrpSpPr>
            <p:grpSpPr bwMode="gray">
              <a:xfrm>
                <a:off x="4415218" y="2996183"/>
                <a:ext cx="75723" cy="75723"/>
                <a:chOff x="4415218" y="2996183"/>
                <a:chExt cx="75723" cy="75723"/>
              </a:xfrm>
            </p:grpSpPr>
            <p:sp>
              <p:nvSpPr>
                <p:cNvPr id="12347" name="Freeform: Shape 12346">
                  <a:extLst>
                    <a:ext uri="{FF2B5EF4-FFF2-40B4-BE49-F238E27FC236}">
                      <a16:creationId xmlns:a16="http://schemas.microsoft.com/office/drawing/2014/main" id="{3263742B-2868-86D1-D033-CF40C577DBEE}"/>
                    </a:ext>
                  </a:extLst>
                </p:cNvPr>
                <p:cNvSpPr/>
                <p:nvPr/>
              </p:nvSpPr>
              <p:spPr bwMode="gray">
                <a:xfrm>
                  <a:off x="4453127"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48" name="Freeform: Shape 12347">
                  <a:extLst>
                    <a:ext uri="{FF2B5EF4-FFF2-40B4-BE49-F238E27FC236}">
                      <a16:creationId xmlns:a16="http://schemas.microsoft.com/office/drawing/2014/main" id="{FC0E0FC3-7467-B44D-9A12-7468CD57A9BF}"/>
                    </a:ext>
                  </a:extLst>
                </p:cNvPr>
                <p:cNvSpPr/>
                <p:nvPr/>
              </p:nvSpPr>
              <p:spPr bwMode="gray">
                <a:xfrm>
                  <a:off x="4415218"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0" name="Graphic 2080">
                <a:extLst>
                  <a:ext uri="{FF2B5EF4-FFF2-40B4-BE49-F238E27FC236}">
                    <a16:creationId xmlns:a16="http://schemas.microsoft.com/office/drawing/2014/main" id="{0CB496B2-2D09-2B87-1F45-ED99CDA73416}"/>
                  </a:ext>
                </a:extLst>
              </p:cNvPr>
              <p:cNvGrpSpPr/>
              <p:nvPr/>
            </p:nvGrpSpPr>
            <p:grpSpPr bwMode="gray">
              <a:xfrm>
                <a:off x="4423790" y="2996183"/>
                <a:ext cx="75628" cy="75723"/>
                <a:chOff x="4423790" y="2996183"/>
                <a:chExt cx="75628" cy="75723"/>
              </a:xfrm>
            </p:grpSpPr>
            <p:sp>
              <p:nvSpPr>
                <p:cNvPr id="12345" name="Freeform: Shape 12344">
                  <a:extLst>
                    <a:ext uri="{FF2B5EF4-FFF2-40B4-BE49-F238E27FC236}">
                      <a16:creationId xmlns:a16="http://schemas.microsoft.com/office/drawing/2014/main" id="{744B423D-4F22-72DF-E870-191085534318}"/>
                    </a:ext>
                  </a:extLst>
                </p:cNvPr>
                <p:cNvSpPr/>
                <p:nvPr/>
              </p:nvSpPr>
              <p:spPr bwMode="gray">
                <a:xfrm>
                  <a:off x="4461604"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46" name="Freeform: Shape 12345">
                  <a:extLst>
                    <a:ext uri="{FF2B5EF4-FFF2-40B4-BE49-F238E27FC236}">
                      <a16:creationId xmlns:a16="http://schemas.microsoft.com/office/drawing/2014/main" id="{27C850B1-49BD-65F9-DECC-26806590E12B}"/>
                    </a:ext>
                  </a:extLst>
                </p:cNvPr>
                <p:cNvSpPr/>
                <p:nvPr/>
              </p:nvSpPr>
              <p:spPr bwMode="gray">
                <a:xfrm>
                  <a:off x="4423790"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1" name="Graphic 2080">
                <a:extLst>
                  <a:ext uri="{FF2B5EF4-FFF2-40B4-BE49-F238E27FC236}">
                    <a16:creationId xmlns:a16="http://schemas.microsoft.com/office/drawing/2014/main" id="{E30AA9E5-8E74-A7E5-28DE-A1772ADF72A9}"/>
                  </a:ext>
                </a:extLst>
              </p:cNvPr>
              <p:cNvGrpSpPr/>
              <p:nvPr/>
            </p:nvGrpSpPr>
            <p:grpSpPr bwMode="gray">
              <a:xfrm>
                <a:off x="4495894" y="2996183"/>
                <a:ext cx="75723" cy="75723"/>
                <a:chOff x="4495894" y="2996183"/>
                <a:chExt cx="75723" cy="75723"/>
              </a:xfrm>
            </p:grpSpPr>
            <p:sp>
              <p:nvSpPr>
                <p:cNvPr id="12343" name="Freeform: Shape 12342">
                  <a:extLst>
                    <a:ext uri="{FF2B5EF4-FFF2-40B4-BE49-F238E27FC236}">
                      <a16:creationId xmlns:a16="http://schemas.microsoft.com/office/drawing/2014/main" id="{913281EC-2ED3-680D-1D12-143A0270134F}"/>
                    </a:ext>
                  </a:extLst>
                </p:cNvPr>
                <p:cNvSpPr/>
                <p:nvPr/>
              </p:nvSpPr>
              <p:spPr bwMode="gray">
                <a:xfrm>
                  <a:off x="453370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44" name="Freeform: Shape 12343">
                  <a:extLst>
                    <a:ext uri="{FF2B5EF4-FFF2-40B4-BE49-F238E27FC236}">
                      <a16:creationId xmlns:a16="http://schemas.microsoft.com/office/drawing/2014/main" id="{0B4DB6B7-5C5F-3002-C593-34F69D5C79C7}"/>
                    </a:ext>
                  </a:extLst>
                </p:cNvPr>
                <p:cNvSpPr/>
                <p:nvPr/>
              </p:nvSpPr>
              <p:spPr bwMode="gray">
                <a:xfrm>
                  <a:off x="4495894"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2" name="Graphic 2080">
                <a:extLst>
                  <a:ext uri="{FF2B5EF4-FFF2-40B4-BE49-F238E27FC236}">
                    <a16:creationId xmlns:a16="http://schemas.microsoft.com/office/drawing/2014/main" id="{7B2BF045-1C4C-F815-F267-0DF852CDDB18}"/>
                  </a:ext>
                </a:extLst>
              </p:cNvPr>
              <p:cNvGrpSpPr/>
              <p:nvPr/>
            </p:nvGrpSpPr>
            <p:grpSpPr bwMode="gray">
              <a:xfrm>
                <a:off x="4482083" y="2996183"/>
                <a:ext cx="75723" cy="75723"/>
                <a:chOff x="4482083" y="2996183"/>
                <a:chExt cx="75723" cy="75723"/>
              </a:xfrm>
            </p:grpSpPr>
            <p:sp>
              <p:nvSpPr>
                <p:cNvPr id="12341" name="Freeform: Shape 12340">
                  <a:extLst>
                    <a:ext uri="{FF2B5EF4-FFF2-40B4-BE49-F238E27FC236}">
                      <a16:creationId xmlns:a16="http://schemas.microsoft.com/office/drawing/2014/main" id="{FEB7FA76-46D4-BE3A-3C8F-FF9CE687A1A9}"/>
                    </a:ext>
                  </a:extLst>
                </p:cNvPr>
                <p:cNvSpPr/>
                <p:nvPr/>
              </p:nvSpPr>
              <p:spPr bwMode="gray">
                <a:xfrm>
                  <a:off x="4519993"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42" name="Freeform: Shape 12341">
                  <a:extLst>
                    <a:ext uri="{FF2B5EF4-FFF2-40B4-BE49-F238E27FC236}">
                      <a16:creationId xmlns:a16="http://schemas.microsoft.com/office/drawing/2014/main" id="{56380E0D-8EC2-4337-DEB9-FE4AB4077252}"/>
                    </a:ext>
                  </a:extLst>
                </p:cNvPr>
                <p:cNvSpPr/>
                <p:nvPr/>
              </p:nvSpPr>
              <p:spPr bwMode="gray">
                <a:xfrm>
                  <a:off x="4482083"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3" name="Graphic 2080">
                <a:extLst>
                  <a:ext uri="{FF2B5EF4-FFF2-40B4-BE49-F238E27FC236}">
                    <a16:creationId xmlns:a16="http://schemas.microsoft.com/office/drawing/2014/main" id="{2916A494-8E78-EF68-73FA-FE8BAF37CF98}"/>
                  </a:ext>
                </a:extLst>
              </p:cNvPr>
              <p:cNvGrpSpPr/>
              <p:nvPr/>
            </p:nvGrpSpPr>
            <p:grpSpPr bwMode="gray">
              <a:xfrm>
                <a:off x="4469129" y="2996183"/>
                <a:ext cx="75723" cy="75723"/>
                <a:chOff x="4469129" y="2996183"/>
                <a:chExt cx="75723" cy="75723"/>
              </a:xfrm>
            </p:grpSpPr>
            <p:sp>
              <p:nvSpPr>
                <p:cNvPr id="12339" name="Freeform: Shape 12338">
                  <a:extLst>
                    <a:ext uri="{FF2B5EF4-FFF2-40B4-BE49-F238E27FC236}">
                      <a16:creationId xmlns:a16="http://schemas.microsoft.com/office/drawing/2014/main" id="{91DCBAA7-B188-A732-1DE1-140940C92C33}"/>
                    </a:ext>
                  </a:extLst>
                </p:cNvPr>
                <p:cNvSpPr/>
                <p:nvPr/>
              </p:nvSpPr>
              <p:spPr bwMode="gray">
                <a:xfrm>
                  <a:off x="450703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40" name="Freeform: Shape 12339">
                  <a:extLst>
                    <a:ext uri="{FF2B5EF4-FFF2-40B4-BE49-F238E27FC236}">
                      <a16:creationId xmlns:a16="http://schemas.microsoft.com/office/drawing/2014/main" id="{028C2CC4-6755-F3E1-A52D-7C9BF8A1991A}"/>
                    </a:ext>
                  </a:extLst>
                </p:cNvPr>
                <p:cNvSpPr/>
                <p:nvPr/>
              </p:nvSpPr>
              <p:spPr bwMode="gray">
                <a:xfrm>
                  <a:off x="4469129"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4" name="Graphic 2080">
                <a:extLst>
                  <a:ext uri="{FF2B5EF4-FFF2-40B4-BE49-F238E27FC236}">
                    <a16:creationId xmlns:a16="http://schemas.microsoft.com/office/drawing/2014/main" id="{928C56D4-5399-D6B5-7CE6-E314085B6473}"/>
                  </a:ext>
                </a:extLst>
              </p:cNvPr>
              <p:cNvGrpSpPr/>
              <p:nvPr/>
            </p:nvGrpSpPr>
            <p:grpSpPr bwMode="gray">
              <a:xfrm>
                <a:off x="4451317" y="2996183"/>
                <a:ext cx="75723" cy="75723"/>
                <a:chOff x="4451317" y="2996183"/>
                <a:chExt cx="75723" cy="75723"/>
              </a:xfrm>
            </p:grpSpPr>
            <p:sp>
              <p:nvSpPr>
                <p:cNvPr id="12337" name="Freeform: Shape 12336">
                  <a:extLst>
                    <a:ext uri="{FF2B5EF4-FFF2-40B4-BE49-F238E27FC236}">
                      <a16:creationId xmlns:a16="http://schemas.microsoft.com/office/drawing/2014/main" id="{D638535A-9523-9F17-320A-D58866A0E5A5}"/>
                    </a:ext>
                  </a:extLst>
                </p:cNvPr>
                <p:cNvSpPr/>
                <p:nvPr/>
              </p:nvSpPr>
              <p:spPr bwMode="gray">
                <a:xfrm>
                  <a:off x="4489132"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38" name="Freeform: Shape 12337">
                  <a:extLst>
                    <a:ext uri="{FF2B5EF4-FFF2-40B4-BE49-F238E27FC236}">
                      <a16:creationId xmlns:a16="http://schemas.microsoft.com/office/drawing/2014/main" id="{236D693A-B874-795F-4F54-3F361F568375}"/>
                    </a:ext>
                  </a:extLst>
                </p:cNvPr>
                <p:cNvSpPr/>
                <p:nvPr/>
              </p:nvSpPr>
              <p:spPr bwMode="gray">
                <a:xfrm>
                  <a:off x="4451317"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5" name="Graphic 2080">
                <a:extLst>
                  <a:ext uri="{FF2B5EF4-FFF2-40B4-BE49-F238E27FC236}">
                    <a16:creationId xmlns:a16="http://schemas.microsoft.com/office/drawing/2014/main" id="{58435718-54E5-A5EE-9E2E-1DD752BD2B4B}"/>
                  </a:ext>
                </a:extLst>
              </p:cNvPr>
              <p:cNvGrpSpPr/>
              <p:nvPr/>
            </p:nvGrpSpPr>
            <p:grpSpPr bwMode="gray">
              <a:xfrm>
                <a:off x="4441221" y="2996183"/>
                <a:ext cx="75628" cy="75723"/>
                <a:chOff x="4441221" y="2996183"/>
                <a:chExt cx="75628" cy="75723"/>
              </a:xfrm>
            </p:grpSpPr>
            <p:sp>
              <p:nvSpPr>
                <p:cNvPr id="12335" name="Freeform: Shape 12334">
                  <a:extLst>
                    <a:ext uri="{FF2B5EF4-FFF2-40B4-BE49-F238E27FC236}">
                      <a16:creationId xmlns:a16="http://schemas.microsoft.com/office/drawing/2014/main" id="{3BC73C23-E72A-EED8-5F36-B2A0D304C687}"/>
                    </a:ext>
                  </a:extLst>
                </p:cNvPr>
                <p:cNvSpPr/>
                <p:nvPr/>
              </p:nvSpPr>
              <p:spPr bwMode="gray">
                <a:xfrm>
                  <a:off x="4479035"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36" name="Freeform: Shape 12335">
                  <a:extLst>
                    <a:ext uri="{FF2B5EF4-FFF2-40B4-BE49-F238E27FC236}">
                      <a16:creationId xmlns:a16="http://schemas.microsoft.com/office/drawing/2014/main" id="{A102E10F-8F81-BD06-C7EE-028136C06125}"/>
                    </a:ext>
                  </a:extLst>
                </p:cNvPr>
                <p:cNvSpPr/>
                <p:nvPr/>
              </p:nvSpPr>
              <p:spPr bwMode="gray">
                <a:xfrm>
                  <a:off x="4441221"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6" name="Graphic 2080">
                <a:extLst>
                  <a:ext uri="{FF2B5EF4-FFF2-40B4-BE49-F238E27FC236}">
                    <a16:creationId xmlns:a16="http://schemas.microsoft.com/office/drawing/2014/main" id="{354A8962-6C05-91B3-2CB4-1CEEE01BDCCD}"/>
                  </a:ext>
                </a:extLst>
              </p:cNvPr>
              <p:cNvGrpSpPr/>
              <p:nvPr/>
            </p:nvGrpSpPr>
            <p:grpSpPr bwMode="gray">
              <a:xfrm>
                <a:off x="4389310" y="2975133"/>
                <a:ext cx="75723" cy="75723"/>
                <a:chOff x="4389310" y="2975133"/>
                <a:chExt cx="75723" cy="75723"/>
              </a:xfrm>
            </p:grpSpPr>
            <p:sp>
              <p:nvSpPr>
                <p:cNvPr id="12333" name="Freeform: Shape 12332">
                  <a:extLst>
                    <a:ext uri="{FF2B5EF4-FFF2-40B4-BE49-F238E27FC236}">
                      <a16:creationId xmlns:a16="http://schemas.microsoft.com/office/drawing/2014/main" id="{BDEDDD76-B92A-9215-C20E-2810022FC770}"/>
                    </a:ext>
                  </a:extLst>
                </p:cNvPr>
                <p:cNvSpPr/>
                <p:nvPr/>
              </p:nvSpPr>
              <p:spPr bwMode="gray">
                <a:xfrm>
                  <a:off x="4427124" y="2975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34" name="Freeform: Shape 12333">
                  <a:extLst>
                    <a:ext uri="{FF2B5EF4-FFF2-40B4-BE49-F238E27FC236}">
                      <a16:creationId xmlns:a16="http://schemas.microsoft.com/office/drawing/2014/main" id="{8AFA8B34-B9A1-BDB7-E433-99E9D8ECEFAE}"/>
                    </a:ext>
                  </a:extLst>
                </p:cNvPr>
                <p:cNvSpPr/>
                <p:nvPr/>
              </p:nvSpPr>
              <p:spPr bwMode="gray">
                <a:xfrm>
                  <a:off x="4389310" y="30129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7" name="Graphic 2080">
                <a:extLst>
                  <a:ext uri="{FF2B5EF4-FFF2-40B4-BE49-F238E27FC236}">
                    <a16:creationId xmlns:a16="http://schemas.microsoft.com/office/drawing/2014/main" id="{BD5CA9AD-17A4-1294-911A-0E1F8FB04265}"/>
                  </a:ext>
                </a:extLst>
              </p:cNvPr>
              <p:cNvGrpSpPr/>
              <p:nvPr/>
            </p:nvGrpSpPr>
            <p:grpSpPr bwMode="gray">
              <a:xfrm>
                <a:off x="4365497" y="2958369"/>
                <a:ext cx="75723" cy="75723"/>
                <a:chOff x="4365497" y="2958369"/>
                <a:chExt cx="75723" cy="75723"/>
              </a:xfrm>
            </p:grpSpPr>
            <p:sp>
              <p:nvSpPr>
                <p:cNvPr id="12331" name="Freeform: Shape 12330">
                  <a:extLst>
                    <a:ext uri="{FF2B5EF4-FFF2-40B4-BE49-F238E27FC236}">
                      <a16:creationId xmlns:a16="http://schemas.microsoft.com/office/drawing/2014/main" id="{517FFEE7-24C7-FF50-3B00-8629FD3150EE}"/>
                    </a:ext>
                  </a:extLst>
                </p:cNvPr>
                <p:cNvSpPr/>
                <p:nvPr/>
              </p:nvSpPr>
              <p:spPr bwMode="gray">
                <a:xfrm>
                  <a:off x="440331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32" name="Freeform: Shape 12331">
                  <a:extLst>
                    <a:ext uri="{FF2B5EF4-FFF2-40B4-BE49-F238E27FC236}">
                      <a16:creationId xmlns:a16="http://schemas.microsoft.com/office/drawing/2014/main" id="{08940E6F-F919-4F61-D6CC-C1DF78A24D06}"/>
                    </a:ext>
                  </a:extLst>
                </p:cNvPr>
                <p:cNvSpPr/>
                <p:nvPr/>
              </p:nvSpPr>
              <p:spPr bwMode="gray">
                <a:xfrm>
                  <a:off x="4365497"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8" name="Graphic 2080">
                <a:extLst>
                  <a:ext uri="{FF2B5EF4-FFF2-40B4-BE49-F238E27FC236}">
                    <a16:creationId xmlns:a16="http://schemas.microsoft.com/office/drawing/2014/main" id="{5C293FE0-B1DB-C9AF-58C8-DC4EBC00597F}"/>
                  </a:ext>
                </a:extLst>
              </p:cNvPr>
              <p:cNvGrpSpPr/>
              <p:nvPr/>
            </p:nvGrpSpPr>
            <p:grpSpPr bwMode="gray">
              <a:xfrm>
                <a:off x="4348066" y="2958369"/>
                <a:ext cx="75723" cy="75723"/>
                <a:chOff x="4348066" y="2958369"/>
                <a:chExt cx="75723" cy="75723"/>
              </a:xfrm>
            </p:grpSpPr>
            <p:sp>
              <p:nvSpPr>
                <p:cNvPr id="12329" name="Freeform: Shape 12328">
                  <a:extLst>
                    <a:ext uri="{FF2B5EF4-FFF2-40B4-BE49-F238E27FC236}">
                      <a16:creationId xmlns:a16="http://schemas.microsoft.com/office/drawing/2014/main" id="{B4581791-25F8-6DD3-2D66-24086029D1FA}"/>
                    </a:ext>
                  </a:extLst>
                </p:cNvPr>
                <p:cNvSpPr/>
                <p:nvPr/>
              </p:nvSpPr>
              <p:spPr bwMode="gray">
                <a:xfrm>
                  <a:off x="438588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30" name="Freeform: Shape 12329">
                  <a:extLst>
                    <a:ext uri="{FF2B5EF4-FFF2-40B4-BE49-F238E27FC236}">
                      <a16:creationId xmlns:a16="http://schemas.microsoft.com/office/drawing/2014/main" id="{FB5C02E2-F2BC-B248-45AF-C1099FDB745D}"/>
                    </a:ext>
                  </a:extLst>
                </p:cNvPr>
                <p:cNvSpPr/>
                <p:nvPr/>
              </p:nvSpPr>
              <p:spPr bwMode="gray">
                <a:xfrm>
                  <a:off x="4348066"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89" name="Graphic 2080">
                <a:extLst>
                  <a:ext uri="{FF2B5EF4-FFF2-40B4-BE49-F238E27FC236}">
                    <a16:creationId xmlns:a16="http://schemas.microsoft.com/office/drawing/2014/main" id="{9125E419-3F12-EDED-8D77-1987A448F205}"/>
                  </a:ext>
                </a:extLst>
              </p:cNvPr>
              <p:cNvGrpSpPr/>
              <p:nvPr/>
            </p:nvGrpSpPr>
            <p:grpSpPr bwMode="gray">
              <a:xfrm>
                <a:off x="4333779" y="2958369"/>
                <a:ext cx="75723" cy="75723"/>
                <a:chOff x="4333779" y="2958369"/>
                <a:chExt cx="75723" cy="75723"/>
              </a:xfrm>
            </p:grpSpPr>
            <p:sp>
              <p:nvSpPr>
                <p:cNvPr id="12327" name="Freeform: Shape 12326">
                  <a:extLst>
                    <a:ext uri="{FF2B5EF4-FFF2-40B4-BE49-F238E27FC236}">
                      <a16:creationId xmlns:a16="http://schemas.microsoft.com/office/drawing/2014/main" id="{4D8DA99A-BB08-82EA-BACC-1202757BED69}"/>
                    </a:ext>
                  </a:extLst>
                </p:cNvPr>
                <p:cNvSpPr/>
                <p:nvPr/>
              </p:nvSpPr>
              <p:spPr bwMode="gray">
                <a:xfrm>
                  <a:off x="4371593"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28" name="Freeform: Shape 12327">
                  <a:extLst>
                    <a:ext uri="{FF2B5EF4-FFF2-40B4-BE49-F238E27FC236}">
                      <a16:creationId xmlns:a16="http://schemas.microsoft.com/office/drawing/2014/main" id="{42276817-87AA-CB54-1B55-851C35E40E2A}"/>
                    </a:ext>
                  </a:extLst>
                </p:cNvPr>
                <p:cNvSpPr/>
                <p:nvPr/>
              </p:nvSpPr>
              <p:spPr bwMode="gray">
                <a:xfrm>
                  <a:off x="4333779"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0" name="Graphic 2080">
                <a:extLst>
                  <a:ext uri="{FF2B5EF4-FFF2-40B4-BE49-F238E27FC236}">
                    <a16:creationId xmlns:a16="http://schemas.microsoft.com/office/drawing/2014/main" id="{E9971FD2-3404-49E9-FAD9-FB74A1470E66}"/>
                  </a:ext>
                </a:extLst>
              </p:cNvPr>
              <p:cNvGrpSpPr/>
              <p:nvPr/>
            </p:nvGrpSpPr>
            <p:grpSpPr bwMode="gray">
              <a:xfrm>
                <a:off x="4323206" y="2940557"/>
                <a:ext cx="75723" cy="75628"/>
                <a:chOff x="4323206" y="2940557"/>
                <a:chExt cx="75723" cy="75628"/>
              </a:xfrm>
            </p:grpSpPr>
            <p:sp>
              <p:nvSpPr>
                <p:cNvPr id="12325" name="Freeform: Shape 12324">
                  <a:extLst>
                    <a:ext uri="{FF2B5EF4-FFF2-40B4-BE49-F238E27FC236}">
                      <a16:creationId xmlns:a16="http://schemas.microsoft.com/office/drawing/2014/main" id="{7BE8EB47-684F-44E0-344A-026218734A66}"/>
                    </a:ext>
                  </a:extLst>
                </p:cNvPr>
                <p:cNvSpPr/>
                <p:nvPr/>
              </p:nvSpPr>
              <p:spPr bwMode="gray">
                <a:xfrm>
                  <a:off x="4361116"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26" name="Freeform: Shape 12325">
                  <a:extLst>
                    <a:ext uri="{FF2B5EF4-FFF2-40B4-BE49-F238E27FC236}">
                      <a16:creationId xmlns:a16="http://schemas.microsoft.com/office/drawing/2014/main" id="{03C31FF0-30D0-CBD7-AB61-D74B08DA17F9}"/>
                    </a:ext>
                  </a:extLst>
                </p:cNvPr>
                <p:cNvSpPr/>
                <p:nvPr/>
              </p:nvSpPr>
              <p:spPr bwMode="gray">
                <a:xfrm>
                  <a:off x="4323206"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1" name="Graphic 2080">
                <a:extLst>
                  <a:ext uri="{FF2B5EF4-FFF2-40B4-BE49-F238E27FC236}">
                    <a16:creationId xmlns:a16="http://schemas.microsoft.com/office/drawing/2014/main" id="{B8ACFF6D-695E-6596-44EA-7515C3DFA6E4}"/>
                  </a:ext>
                </a:extLst>
              </p:cNvPr>
              <p:cNvGrpSpPr/>
              <p:nvPr/>
            </p:nvGrpSpPr>
            <p:grpSpPr bwMode="gray">
              <a:xfrm>
                <a:off x="4305775" y="2940557"/>
                <a:ext cx="75723" cy="75628"/>
                <a:chOff x="4305775" y="2940557"/>
                <a:chExt cx="75723" cy="75628"/>
              </a:xfrm>
            </p:grpSpPr>
            <p:sp>
              <p:nvSpPr>
                <p:cNvPr id="12323" name="Freeform: Shape 12322">
                  <a:extLst>
                    <a:ext uri="{FF2B5EF4-FFF2-40B4-BE49-F238E27FC236}">
                      <a16:creationId xmlns:a16="http://schemas.microsoft.com/office/drawing/2014/main" id="{6BE91AFE-FDFC-2C49-D5F0-B2B2ED8864F9}"/>
                    </a:ext>
                  </a:extLst>
                </p:cNvPr>
                <p:cNvSpPr/>
                <p:nvPr/>
              </p:nvSpPr>
              <p:spPr bwMode="gray">
                <a:xfrm>
                  <a:off x="4343685"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24" name="Freeform: Shape 12323">
                  <a:extLst>
                    <a:ext uri="{FF2B5EF4-FFF2-40B4-BE49-F238E27FC236}">
                      <a16:creationId xmlns:a16="http://schemas.microsoft.com/office/drawing/2014/main" id="{656784DD-EEA4-DD1D-2825-339E427002D1}"/>
                    </a:ext>
                  </a:extLst>
                </p:cNvPr>
                <p:cNvSpPr/>
                <p:nvPr/>
              </p:nvSpPr>
              <p:spPr bwMode="gray">
                <a:xfrm>
                  <a:off x="4305775"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2" name="Graphic 2080">
                <a:extLst>
                  <a:ext uri="{FF2B5EF4-FFF2-40B4-BE49-F238E27FC236}">
                    <a16:creationId xmlns:a16="http://schemas.microsoft.com/office/drawing/2014/main" id="{6FB15896-F463-5778-61A1-BC3C975407D0}"/>
                  </a:ext>
                </a:extLst>
              </p:cNvPr>
              <p:cNvGrpSpPr/>
              <p:nvPr/>
            </p:nvGrpSpPr>
            <p:grpSpPr bwMode="gray">
              <a:xfrm>
                <a:off x="4291488" y="2940557"/>
                <a:ext cx="75723" cy="75628"/>
                <a:chOff x="4291488" y="2940557"/>
                <a:chExt cx="75723" cy="75628"/>
              </a:xfrm>
            </p:grpSpPr>
            <p:sp>
              <p:nvSpPr>
                <p:cNvPr id="12321" name="Freeform: Shape 12320">
                  <a:extLst>
                    <a:ext uri="{FF2B5EF4-FFF2-40B4-BE49-F238E27FC236}">
                      <a16:creationId xmlns:a16="http://schemas.microsoft.com/office/drawing/2014/main" id="{8101B2C7-73BF-8A2F-CA6E-3E52F72D87DC}"/>
                    </a:ext>
                  </a:extLst>
                </p:cNvPr>
                <p:cNvSpPr/>
                <p:nvPr/>
              </p:nvSpPr>
              <p:spPr bwMode="gray">
                <a:xfrm>
                  <a:off x="4329397"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22" name="Freeform: Shape 12321">
                  <a:extLst>
                    <a:ext uri="{FF2B5EF4-FFF2-40B4-BE49-F238E27FC236}">
                      <a16:creationId xmlns:a16="http://schemas.microsoft.com/office/drawing/2014/main" id="{802B5679-DE1D-2ED0-B196-2B5123349CA1}"/>
                    </a:ext>
                  </a:extLst>
                </p:cNvPr>
                <p:cNvSpPr/>
                <p:nvPr/>
              </p:nvSpPr>
              <p:spPr bwMode="gray">
                <a:xfrm>
                  <a:off x="4291488"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3" name="Graphic 2080">
                <a:extLst>
                  <a:ext uri="{FF2B5EF4-FFF2-40B4-BE49-F238E27FC236}">
                    <a16:creationId xmlns:a16="http://schemas.microsoft.com/office/drawing/2014/main" id="{DFCD7803-35DD-8139-87D4-8896545A5C0A}"/>
                  </a:ext>
                </a:extLst>
              </p:cNvPr>
              <p:cNvGrpSpPr/>
              <p:nvPr/>
            </p:nvGrpSpPr>
            <p:grpSpPr bwMode="gray">
              <a:xfrm>
                <a:off x="4240910" y="2931223"/>
                <a:ext cx="75723" cy="75723"/>
                <a:chOff x="4240910" y="2931223"/>
                <a:chExt cx="75723" cy="75723"/>
              </a:xfrm>
            </p:grpSpPr>
            <p:sp>
              <p:nvSpPr>
                <p:cNvPr id="12319" name="Freeform: Shape 12318">
                  <a:extLst>
                    <a:ext uri="{FF2B5EF4-FFF2-40B4-BE49-F238E27FC236}">
                      <a16:creationId xmlns:a16="http://schemas.microsoft.com/office/drawing/2014/main" id="{1BEC3D43-AF66-F2B5-FFB3-FFD114B5332E}"/>
                    </a:ext>
                  </a:extLst>
                </p:cNvPr>
                <p:cNvSpPr/>
                <p:nvPr/>
              </p:nvSpPr>
              <p:spPr bwMode="gray">
                <a:xfrm>
                  <a:off x="4278820" y="29312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20" name="Freeform: Shape 12319">
                  <a:extLst>
                    <a:ext uri="{FF2B5EF4-FFF2-40B4-BE49-F238E27FC236}">
                      <a16:creationId xmlns:a16="http://schemas.microsoft.com/office/drawing/2014/main" id="{821F18D9-1191-5563-28F1-B58705156356}"/>
                    </a:ext>
                  </a:extLst>
                </p:cNvPr>
                <p:cNvSpPr/>
                <p:nvPr/>
              </p:nvSpPr>
              <p:spPr bwMode="gray">
                <a:xfrm>
                  <a:off x="4240910" y="29690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4" name="Graphic 2080">
                <a:extLst>
                  <a:ext uri="{FF2B5EF4-FFF2-40B4-BE49-F238E27FC236}">
                    <a16:creationId xmlns:a16="http://schemas.microsoft.com/office/drawing/2014/main" id="{2DEE07FB-C14C-C7A8-D9C2-43AE41F15AA4}"/>
                  </a:ext>
                </a:extLst>
              </p:cNvPr>
              <p:cNvGrpSpPr/>
              <p:nvPr/>
            </p:nvGrpSpPr>
            <p:grpSpPr bwMode="gray">
              <a:xfrm>
                <a:off x="4180236" y="2925508"/>
                <a:ext cx="75723" cy="75723"/>
                <a:chOff x="4180236" y="2925508"/>
                <a:chExt cx="75723" cy="75723"/>
              </a:xfrm>
            </p:grpSpPr>
            <p:sp>
              <p:nvSpPr>
                <p:cNvPr id="12317" name="Freeform: Shape 12316">
                  <a:extLst>
                    <a:ext uri="{FF2B5EF4-FFF2-40B4-BE49-F238E27FC236}">
                      <a16:creationId xmlns:a16="http://schemas.microsoft.com/office/drawing/2014/main" id="{B971071B-9ACF-10E7-C7A1-F97136C50250}"/>
                    </a:ext>
                  </a:extLst>
                </p:cNvPr>
                <p:cNvSpPr/>
                <p:nvPr/>
              </p:nvSpPr>
              <p:spPr bwMode="gray">
                <a:xfrm>
                  <a:off x="4218145" y="292550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18" name="Freeform: Shape 12317">
                  <a:extLst>
                    <a:ext uri="{FF2B5EF4-FFF2-40B4-BE49-F238E27FC236}">
                      <a16:creationId xmlns:a16="http://schemas.microsoft.com/office/drawing/2014/main" id="{BC82A1C5-AEB0-E8D1-5B80-D99A7E72AEF0}"/>
                    </a:ext>
                  </a:extLst>
                </p:cNvPr>
                <p:cNvSpPr/>
                <p:nvPr/>
              </p:nvSpPr>
              <p:spPr bwMode="gray">
                <a:xfrm>
                  <a:off x="4180236" y="2963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5" name="Graphic 2080">
                <a:extLst>
                  <a:ext uri="{FF2B5EF4-FFF2-40B4-BE49-F238E27FC236}">
                    <a16:creationId xmlns:a16="http://schemas.microsoft.com/office/drawing/2014/main" id="{DEF4F9EE-DAC5-0979-7D81-C42BEF9428AF}"/>
                  </a:ext>
                </a:extLst>
              </p:cNvPr>
              <p:cNvGrpSpPr/>
              <p:nvPr/>
            </p:nvGrpSpPr>
            <p:grpSpPr bwMode="gray">
              <a:xfrm>
                <a:off x="3977925" y="2869215"/>
                <a:ext cx="75628" cy="75723"/>
                <a:chOff x="3977925" y="2869215"/>
                <a:chExt cx="75628" cy="75723"/>
              </a:xfrm>
            </p:grpSpPr>
            <p:sp>
              <p:nvSpPr>
                <p:cNvPr id="12315" name="Freeform: Shape 12314">
                  <a:extLst>
                    <a:ext uri="{FF2B5EF4-FFF2-40B4-BE49-F238E27FC236}">
                      <a16:creationId xmlns:a16="http://schemas.microsoft.com/office/drawing/2014/main" id="{8DAF3837-7A50-BF09-D5EC-3F085CB6D525}"/>
                    </a:ext>
                  </a:extLst>
                </p:cNvPr>
                <p:cNvSpPr/>
                <p:nvPr/>
              </p:nvSpPr>
              <p:spPr bwMode="gray">
                <a:xfrm>
                  <a:off x="4015739" y="2869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16" name="Freeform: Shape 12315">
                  <a:extLst>
                    <a:ext uri="{FF2B5EF4-FFF2-40B4-BE49-F238E27FC236}">
                      <a16:creationId xmlns:a16="http://schemas.microsoft.com/office/drawing/2014/main" id="{61CE05CA-8AD5-73C2-B378-1474A643D9A8}"/>
                    </a:ext>
                  </a:extLst>
                </p:cNvPr>
                <p:cNvSpPr/>
                <p:nvPr/>
              </p:nvSpPr>
              <p:spPr bwMode="gray">
                <a:xfrm>
                  <a:off x="3977925" y="29070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6" name="Graphic 2080">
                <a:extLst>
                  <a:ext uri="{FF2B5EF4-FFF2-40B4-BE49-F238E27FC236}">
                    <a16:creationId xmlns:a16="http://schemas.microsoft.com/office/drawing/2014/main" id="{00E78F78-CBCA-4BB8-7540-78F0A82B335A}"/>
                  </a:ext>
                </a:extLst>
              </p:cNvPr>
              <p:cNvGrpSpPr/>
              <p:nvPr/>
            </p:nvGrpSpPr>
            <p:grpSpPr bwMode="gray">
              <a:xfrm>
                <a:off x="3650360" y="2743104"/>
                <a:ext cx="75723" cy="75723"/>
                <a:chOff x="3650360" y="2743104"/>
                <a:chExt cx="75723" cy="75723"/>
              </a:xfrm>
            </p:grpSpPr>
            <p:sp>
              <p:nvSpPr>
                <p:cNvPr id="12313" name="Freeform: Shape 12312">
                  <a:extLst>
                    <a:ext uri="{FF2B5EF4-FFF2-40B4-BE49-F238E27FC236}">
                      <a16:creationId xmlns:a16="http://schemas.microsoft.com/office/drawing/2014/main" id="{E378BB01-CAD2-C958-2DAF-BC1BFA0A269C}"/>
                    </a:ext>
                  </a:extLst>
                </p:cNvPr>
                <p:cNvSpPr/>
                <p:nvPr/>
              </p:nvSpPr>
              <p:spPr bwMode="gray">
                <a:xfrm>
                  <a:off x="3688270" y="2743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14" name="Freeform: Shape 12313">
                  <a:extLst>
                    <a:ext uri="{FF2B5EF4-FFF2-40B4-BE49-F238E27FC236}">
                      <a16:creationId xmlns:a16="http://schemas.microsoft.com/office/drawing/2014/main" id="{9B39272C-7689-ED7B-CDC2-77C124251313}"/>
                    </a:ext>
                  </a:extLst>
                </p:cNvPr>
                <p:cNvSpPr/>
                <p:nvPr/>
              </p:nvSpPr>
              <p:spPr bwMode="gray">
                <a:xfrm>
                  <a:off x="3650360" y="27810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7" name="Graphic 2080">
                <a:extLst>
                  <a:ext uri="{FF2B5EF4-FFF2-40B4-BE49-F238E27FC236}">
                    <a16:creationId xmlns:a16="http://schemas.microsoft.com/office/drawing/2014/main" id="{8EAE3E9A-073F-D86F-C594-03EB8463F11C}"/>
                  </a:ext>
                </a:extLst>
              </p:cNvPr>
              <p:cNvGrpSpPr/>
              <p:nvPr/>
            </p:nvGrpSpPr>
            <p:grpSpPr bwMode="gray">
              <a:xfrm>
                <a:off x="3471671" y="2710719"/>
                <a:ext cx="75723" cy="75723"/>
                <a:chOff x="3471671" y="2710719"/>
                <a:chExt cx="75723" cy="75723"/>
              </a:xfrm>
            </p:grpSpPr>
            <p:sp>
              <p:nvSpPr>
                <p:cNvPr id="12311" name="Freeform: Shape 12310">
                  <a:extLst>
                    <a:ext uri="{FF2B5EF4-FFF2-40B4-BE49-F238E27FC236}">
                      <a16:creationId xmlns:a16="http://schemas.microsoft.com/office/drawing/2014/main" id="{A0614993-681E-4B2D-09E2-3C90FAD219D4}"/>
                    </a:ext>
                  </a:extLst>
                </p:cNvPr>
                <p:cNvSpPr/>
                <p:nvPr/>
              </p:nvSpPr>
              <p:spPr bwMode="gray">
                <a:xfrm>
                  <a:off x="3509485" y="2710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12" name="Freeform: Shape 12311">
                  <a:extLst>
                    <a:ext uri="{FF2B5EF4-FFF2-40B4-BE49-F238E27FC236}">
                      <a16:creationId xmlns:a16="http://schemas.microsoft.com/office/drawing/2014/main" id="{37B71743-925B-A117-23E8-C3487ED8CB1E}"/>
                    </a:ext>
                  </a:extLst>
                </p:cNvPr>
                <p:cNvSpPr/>
                <p:nvPr/>
              </p:nvSpPr>
              <p:spPr bwMode="gray">
                <a:xfrm>
                  <a:off x="3471671" y="2748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8" name="Graphic 2080">
                <a:extLst>
                  <a:ext uri="{FF2B5EF4-FFF2-40B4-BE49-F238E27FC236}">
                    <a16:creationId xmlns:a16="http://schemas.microsoft.com/office/drawing/2014/main" id="{E9BAF9F5-0F37-12D6-27A3-D8F4251BC62B}"/>
                  </a:ext>
                </a:extLst>
              </p:cNvPr>
              <p:cNvGrpSpPr/>
              <p:nvPr/>
            </p:nvGrpSpPr>
            <p:grpSpPr bwMode="gray">
              <a:xfrm>
                <a:off x="3317652" y="2688811"/>
                <a:ext cx="75723" cy="75723"/>
                <a:chOff x="3317652" y="2688811"/>
                <a:chExt cx="75723" cy="75723"/>
              </a:xfrm>
            </p:grpSpPr>
            <p:sp>
              <p:nvSpPr>
                <p:cNvPr id="12309" name="Freeform: Shape 12308">
                  <a:extLst>
                    <a:ext uri="{FF2B5EF4-FFF2-40B4-BE49-F238E27FC236}">
                      <a16:creationId xmlns:a16="http://schemas.microsoft.com/office/drawing/2014/main" id="{F1236349-B71A-4C41-F2AD-EEBE123D27E3}"/>
                    </a:ext>
                  </a:extLst>
                </p:cNvPr>
                <p:cNvSpPr/>
                <p:nvPr/>
              </p:nvSpPr>
              <p:spPr bwMode="gray">
                <a:xfrm>
                  <a:off x="3355466" y="26888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10" name="Freeform: Shape 12309">
                  <a:extLst>
                    <a:ext uri="{FF2B5EF4-FFF2-40B4-BE49-F238E27FC236}">
                      <a16:creationId xmlns:a16="http://schemas.microsoft.com/office/drawing/2014/main" id="{CDAC0BFA-DD61-E096-6105-003A785AE395}"/>
                    </a:ext>
                  </a:extLst>
                </p:cNvPr>
                <p:cNvSpPr/>
                <p:nvPr/>
              </p:nvSpPr>
              <p:spPr bwMode="gray">
                <a:xfrm>
                  <a:off x="3317652" y="2726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099" name="Graphic 2080">
                <a:extLst>
                  <a:ext uri="{FF2B5EF4-FFF2-40B4-BE49-F238E27FC236}">
                    <a16:creationId xmlns:a16="http://schemas.microsoft.com/office/drawing/2014/main" id="{BF3456C3-EC2D-2BEC-15FA-878CF4E42D3F}"/>
                  </a:ext>
                </a:extLst>
              </p:cNvPr>
              <p:cNvGrpSpPr/>
              <p:nvPr/>
            </p:nvGrpSpPr>
            <p:grpSpPr bwMode="gray">
              <a:xfrm>
                <a:off x="3107721" y="2670142"/>
                <a:ext cx="75628" cy="75723"/>
                <a:chOff x="3107721" y="2670142"/>
                <a:chExt cx="75628" cy="75723"/>
              </a:xfrm>
            </p:grpSpPr>
            <p:sp>
              <p:nvSpPr>
                <p:cNvPr id="12307" name="Freeform: Shape 12306">
                  <a:extLst>
                    <a:ext uri="{FF2B5EF4-FFF2-40B4-BE49-F238E27FC236}">
                      <a16:creationId xmlns:a16="http://schemas.microsoft.com/office/drawing/2014/main" id="{F57E84DD-482D-3478-BB85-6F443592867D}"/>
                    </a:ext>
                  </a:extLst>
                </p:cNvPr>
                <p:cNvSpPr/>
                <p:nvPr/>
              </p:nvSpPr>
              <p:spPr bwMode="gray">
                <a:xfrm>
                  <a:off x="3145535" y="26701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08" name="Freeform: Shape 12307">
                  <a:extLst>
                    <a:ext uri="{FF2B5EF4-FFF2-40B4-BE49-F238E27FC236}">
                      <a16:creationId xmlns:a16="http://schemas.microsoft.com/office/drawing/2014/main" id="{A31726AF-7F81-EA23-39CF-02ACF7A8BE0F}"/>
                    </a:ext>
                  </a:extLst>
                </p:cNvPr>
                <p:cNvSpPr/>
                <p:nvPr/>
              </p:nvSpPr>
              <p:spPr bwMode="gray">
                <a:xfrm>
                  <a:off x="3107721" y="27080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0" name="Graphic 2080">
                <a:extLst>
                  <a:ext uri="{FF2B5EF4-FFF2-40B4-BE49-F238E27FC236}">
                    <a16:creationId xmlns:a16="http://schemas.microsoft.com/office/drawing/2014/main" id="{606DD2DA-3F34-9AE4-6214-53FB3468CF7A}"/>
                  </a:ext>
                </a:extLst>
              </p:cNvPr>
              <p:cNvGrpSpPr/>
              <p:nvPr/>
            </p:nvGrpSpPr>
            <p:grpSpPr bwMode="gray">
              <a:xfrm>
                <a:off x="3056572" y="2652712"/>
                <a:ext cx="75723" cy="75723"/>
                <a:chOff x="3056572" y="2652712"/>
                <a:chExt cx="75723" cy="75723"/>
              </a:xfrm>
            </p:grpSpPr>
            <p:sp>
              <p:nvSpPr>
                <p:cNvPr id="12305" name="Freeform: Shape 12304">
                  <a:extLst>
                    <a:ext uri="{FF2B5EF4-FFF2-40B4-BE49-F238E27FC236}">
                      <a16:creationId xmlns:a16="http://schemas.microsoft.com/office/drawing/2014/main" id="{F391E87A-A16D-4313-1E9C-D66CCF200C5A}"/>
                    </a:ext>
                  </a:extLst>
                </p:cNvPr>
                <p:cNvSpPr/>
                <p:nvPr/>
              </p:nvSpPr>
              <p:spPr bwMode="gray">
                <a:xfrm>
                  <a:off x="309448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06" name="Freeform: Shape 12305">
                  <a:extLst>
                    <a:ext uri="{FF2B5EF4-FFF2-40B4-BE49-F238E27FC236}">
                      <a16:creationId xmlns:a16="http://schemas.microsoft.com/office/drawing/2014/main" id="{EDBF0540-6411-BE10-E9E4-6194634847F9}"/>
                    </a:ext>
                  </a:extLst>
                </p:cNvPr>
                <p:cNvSpPr/>
                <p:nvPr/>
              </p:nvSpPr>
              <p:spPr bwMode="gray">
                <a:xfrm>
                  <a:off x="3056572"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1" name="Graphic 2080">
                <a:extLst>
                  <a:ext uri="{FF2B5EF4-FFF2-40B4-BE49-F238E27FC236}">
                    <a16:creationId xmlns:a16="http://schemas.microsoft.com/office/drawing/2014/main" id="{60834464-BF47-B6A9-4BCE-D2EC367C63A1}"/>
                  </a:ext>
                </a:extLst>
              </p:cNvPr>
              <p:cNvGrpSpPr/>
              <p:nvPr/>
            </p:nvGrpSpPr>
            <p:grpSpPr bwMode="gray">
              <a:xfrm>
                <a:off x="3005137" y="2652712"/>
                <a:ext cx="75723" cy="75723"/>
                <a:chOff x="3005137" y="2652712"/>
                <a:chExt cx="75723" cy="75723"/>
              </a:xfrm>
            </p:grpSpPr>
            <p:sp>
              <p:nvSpPr>
                <p:cNvPr id="12303" name="Freeform: Shape 12302">
                  <a:extLst>
                    <a:ext uri="{FF2B5EF4-FFF2-40B4-BE49-F238E27FC236}">
                      <a16:creationId xmlns:a16="http://schemas.microsoft.com/office/drawing/2014/main" id="{C1385F8B-E5B0-08E9-B9DD-0CF6141BF640}"/>
                    </a:ext>
                  </a:extLst>
                </p:cNvPr>
                <p:cNvSpPr/>
                <p:nvPr/>
              </p:nvSpPr>
              <p:spPr bwMode="gray">
                <a:xfrm>
                  <a:off x="304295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04" name="Freeform: Shape 12303">
                  <a:extLst>
                    <a:ext uri="{FF2B5EF4-FFF2-40B4-BE49-F238E27FC236}">
                      <a16:creationId xmlns:a16="http://schemas.microsoft.com/office/drawing/2014/main" id="{0F31850A-4215-C5F3-3E1E-AB31C32A28C5}"/>
                    </a:ext>
                  </a:extLst>
                </p:cNvPr>
                <p:cNvSpPr/>
                <p:nvPr/>
              </p:nvSpPr>
              <p:spPr bwMode="gray">
                <a:xfrm>
                  <a:off x="3005137"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2" name="Graphic 2080">
                <a:extLst>
                  <a:ext uri="{FF2B5EF4-FFF2-40B4-BE49-F238E27FC236}">
                    <a16:creationId xmlns:a16="http://schemas.microsoft.com/office/drawing/2014/main" id="{F469D0B5-75B9-2D13-719D-E23628957326}"/>
                  </a:ext>
                </a:extLst>
              </p:cNvPr>
              <p:cNvGrpSpPr/>
              <p:nvPr/>
            </p:nvGrpSpPr>
            <p:grpSpPr bwMode="gray">
              <a:xfrm>
                <a:off x="4079080" y="2893408"/>
                <a:ext cx="75723" cy="75628"/>
                <a:chOff x="4079080" y="2893408"/>
                <a:chExt cx="75723" cy="75628"/>
              </a:xfrm>
            </p:grpSpPr>
            <p:sp>
              <p:nvSpPr>
                <p:cNvPr id="12301" name="Freeform: Shape 12300">
                  <a:extLst>
                    <a:ext uri="{FF2B5EF4-FFF2-40B4-BE49-F238E27FC236}">
                      <a16:creationId xmlns:a16="http://schemas.microsoft.com/office/drawing/2014/main" id="{588ADE11-84A5-EA8B-778E-CA9F12A661A5}"/>
                    </a:ext>
                  </a:extLst>
                </p:cNvPr>
                <p:cNvSpPr/>
                <p:nvPr/>
              </p:nvSpPr>
              <p:spPr bwMode="gray">
                <a:xfrm>
                  <a:off x="41168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02" name="Freeform: Shape 12301">
                  <a:extLst>
                    <a:ext uri="{FF2B5EF4-FFF2-40B4-BE49-F238E27FC236}">
                      <a16:creationId xmlns:a16="http://schemas.microsoft.com/office/drawing/2014/main" id="{B66C0FF3-A020-DF61-7C68-D9E06A1BD6E9}"/>
                    </a:ext>
                  </a:extLst>
                </p:cNvPr>
                <p:cNvSpPr/>
                <p:nvPr/>
              </p:nvSpPr>
              <p:spPr bwMode="gray">
                <a:xfrm>
                  <a:off x="4079080"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3" name="Graphic 2080">
                <a:extLst>
                  <a:ext uri="{FF2B5EF4-FFF2-40B4-BE49-F238E27FC236}">
                    <a16:creationId xmlns:a16="http://schemas.microsoft.com/office/drawing/2014/main" id="{1B47A67C-580A-D10C-D714-EFFE854661A6}"/>
                  </a:ext>
                </a:extLst>
              </p:cNvPr>
              <p:cNvGrpSpPr/>
              <p:nvPr/>
            </p:nvGrpSpPr>
            <p:grpSpPr bwMode="gray">
              <a:xfrm>
                <a:off x="4098321" y="2893408"/>
                <a:ext cx="75628" cy="75628"/>
                <a:chOff x="4098321" y="2893408"/>
                <a:chExt cx="75628" cy="75628"/>
              </a:xfrm>
            </p:grpSpPr>
            <p:sp>
              <p:nvSpPr>
                <p:cNvPr id="12299" name="Freeform: Shape 12298">
                  <a:extLst>
                    <a:ext uri="{FF2B5EF4-FFF2-40B4-BE49-F238E27FC236}">
                      <a16:creationId xmlns:a16="http://schemas.microsoft.com/office/drawing/2014/main" id="{110B6304-E2EF-A795-FB7C-5367C7E002D8}"/>
                    </a:ext>
                  </a:extLst>
                </p:cNvPr>
                <p:cNvSpPr/>
                <p:nvPr/>
              </p:nvSpPr>
              <p:spPr bwMode="gray">
                <a:xfrm>
                  <a:off x="413613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00" name="Freeform: Shape 12299">
                  <a:extLst>
                    <a:ext uri="{FF2B5EF4-FFF2-40B4-BE49-F238E27FC236}">
                      <a16:creationId xmlns:a16="http://schemas.microsoft.com/office/drawing/2014/main" id="{652B4E31-669E-0737-005C-A4E0699EDCFA}"/>
                    </a:ext>
                  </a:extLst>
                </p:cNvPr>
                <p:cNvSpPr/>
                <p:nvPr/>
              </p:nvSpPr>
              <p:spPr bwMode="gray">
                <a:xfrm>
                  <a:off x="4098321"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4" name="Graphic 2080">
                <a:extLst>
                  <a:ext uri="{FF2B5EF4-FFF2-40B4-BE49-F238E27FC236}">
                    <a16:creationId xmlns:a16="http://schemas.microsoft.com/office/drawing/2014/main" id="{A7B9F961-8E90-9902-A397-44C427A62693}"/>
                  </a:ext>
                </a:extLst>
              </p:cNvPr>
              <p:cNvGrpSpPr/>
              <p:nvPr/>
            </p:nvGrpSpPr>
            <p:grpSpPr bwMode="gray">
              <a:xfrm>
                <a:off x="4126896" y="2893408"/>
                <a:ext cx="75628" cy="75628"/>
                <a:chOff x="4126896" y="2893408"/>
                <a:chExt cx="75628" cy="75628"/>
              </a:xfrm>
            </p:grpSpPr>
            <p:sp>
              <p:nvSpPr>
                <p:cNvPr id="12297" name="Freeform: Shape 12296">
                  <a:extLst>
                    <a:ext uri="{FF2B5EF4-FFF2-40B4-BE49-F238E27FC236}">
                      <a16:creationId xmlns:a16="http://schemas.microsoft.com/office/drawing/2014/main" id="{5E56FC82-9186-7FB3-D7FC-BA9BD247EEC0}"/>
                    </a:ext>
                  </a:extLst>
                </p:cNvPr>
                <p:cNvSpPr/>
                <p:nvPr/>
              </p:nvSpPr>
              <p:spPr bwMode="gray">
                <a:xfrm>
                  <a:off x="4164710"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98" name="Freeform: Shape 12297">
                  <a:extLst>
                    <a:ext uri="{FF2B5EF4-FFF2-40B4-BE49-F238E27FC236}">
                      <a16:creationId xmlns:a16="http://schemas.microsoft.com/office/drawing/2014/main" id="{F8CB3573-579C-3097-68F0-D04FAF195D3C}"/>
                    </a:ext>
                  </a:extLst>
                </p:cNvPr>
                <p:cNvSpPr/>
                <p:nvPr/>
              </p:nvSpPr>
              <p:spPr bwMode="gray">
                <a:xfrm>
                  <a:off x="4126896"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5" name="Graphic 2080">
                <a:extLst>
                  <a:ext uri="{FF2B5EF4-FFF2-40B4-BE49-F238E27FC236}">
                    <a16:creationId xmlns:a16="http://schemas.microsoft.com/office/drawing/2014/main" id="{C9FED4C6-54ED-F6FF-505F-71D9195B3798}"/>
                  </a:ext>
                </a:extLst>
              </p:cNvPr>
              <p:cNvGrpSpPr/>
              <p:nvPr/>
            </p:nvGrpSpPr>
            <p:grpSpPr bwMode="gray">
              <a:xfrm>
                <a:off x="4116895" y="2893408"/>
                <a:ext cx="75723" cy="75628"/>
                <a:chOff x="4116895" y="2893408"/>
                <a:chExt cx="75723" cy="75628"/>
              </a:xfrm>
            </p:grpSpPr>
            <p:sp>
              <p:nvSpPr>
                <p:cNvPr id="12295" name="Freeform: Shape 12294">
                  <a:extLst>
                    <a:ext uri="{FF2B5EF4-FFF2-40B4-BE49-F238E27FC236}">
                      <a16:creationId xmlns:a16="http://schemas.microsoft.com/office/drawing/2014/main" id="{203F47D7-9E63-6987-5446-0847E08184C0}"/>
                    </a:ext>
                  </a:extLst>
                </p:cNvPr>
                <p:cNvSpPr/>
                <p:nvPr/>
              </p:nvSpPr>
              <p:spPr bwMode="gray">
                <a:xfrm>
                  <a:off x="4154804"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96" name="Freeform: Shape 12295">
                  <a:extLst>
                    <a:ext uri="{FF2B5EF4-FFF2-40B4-BE49-F238E27FC236}">
                      <a16:creationId xmlns:a16="http://schemas.microsoft.com/office/drawing/2014/main" id="{B56901DD-041B-85B8-6142-CD896D55CB8E}"/>
                    </a:ext>
                  </a:extLst>
                </p:cNvPr>
                <p:cNvSpPr/>
                <p:nvPr/>
              </p:nvSpPr>
              <p:spPr bwMode="gray">
                <a:xfrm>
                  <a:off x="411689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6" name="Graphic 2080">
                <a:extLst>
                  <a:ext uri="{FF2B5EF4-FFF2-40B4-BE49-F238E27FC236}">
                    <a16:creationId xmlns:a16="http://schemas.microsoft.com/office/drawing/2014/main" id="{05D9BAF7-2D17-F8A3-BBFF-53A7F6DBCFAD}"/>
                  </a:ext>
                </a:extLst>
              </p:cNvPr>
              <p:cNvGrpSpPr/>
              <p:nvPr/>
            </p:nvGrpSpPr>
            <p:grpSpPr bwMode="gray">
              <a:xfrm>
                <a:off x="4170044" y="2893408"/>
                <a:ext cx="75628" cy="75628"/>
                <a:chOff x="4170044" y="2893408"/>
                <a:chExt cx="75628" cy="75628"/>
              </a:xfrm>
            </p:grpSpPr>
            <p:sp>
              <p:nvSpPr>
                <p:cNvPr id="12293" name="Freeform: Shape 12292">
                  <a:extLst>
                    <a:ext uri="{FF2B5EF4-FFF2-40B4-BE49-F238E27FC236}">
                      <a16:creationId xmlns:a16="http://schemas.microsoft.com/office/drawing/2014/main" id="{DC413A79-B461-9D9F-EA43-550E43EF44B9}"/>
                    </a:ext>
                  </a:extLst>
                </p:cNvPr>
                <p:cNvSpPr/>
                <p:nvPr/>
              </p:nvSpPr>
              <p:spPr bwMode="gray">
                <a:xfrm>
                  <a:off x="4207858"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94" name="Freeform: Shape 12293">
                  <a:extLst>
                    <a:ext uri="{FF2B5EF4-FFF2-40B4-BE49-F238E27FC236}">
                      <a16:creationId xmlns:a16="http://schemas.microsoft.com/office/drawing/2014/main" id="{D53C9112-A338-0281-36BE-940BFD4C74D5}"/>
                    </a:ext>
                  </a:extLst>
                </p:cNvPr>
                <p:cNvSpPr/>
                <p:nvPr/>
              </p:nvSpPr>
              <p:spPr bwMode="gray">
                <a:xfrm>
                  <a:off x="4170044" y="29312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7" name="Graphic 2080">
                <a:extLst>
                  <a:ext uri="{FF2B5EF4-FFF2-40B4-BE49-F238E27FC236}">
                    <a16:creationId xmlns:a16="http://schemas.microsoft.com/office/drawing/2014/main" id="{2088781C-7F39-9BAD-F5CD-927DE0D44417}"/>
                  </a:ext>
                </a:extLst>
              </p:cNvPr>
              <p:cNvGrpSpPr/>
              <p:nvPr/>
            </p:nvGrpSpPr>
            <p:grpSpPr bwMode="gray">
              <a:xfrm>
                <a:off x="4157185" y="2893408"/>
                <a:ext cx="75723" cy="75628"/>
                <a:chOff x="4157185" y="2893408"/>
                <a:chExt cx="75723" cy="75628"/>
              </a:xfrm>
            </p:grpSpPr>
            <p:sp>
              <p:nvSpPr>
                <p:cNvPr id="12291" name="Freeform: Shape 12290">
                  <a:extLst>
                    <a:ext uri="{FF2B5EF4-FFF2-40B4-BE49-F238E27FC236}">
                      <a16:creationId xmlns:a16="http://schemas.microsoft.com/office/drawing/2014/main" id="{2B1A465F-F085-D605-D776-DAE0018B25BD}"/>
                    </a:ext>
                  </a:extLst>
                </p:cNvPr>
                <p:cNvSpPr/>
                <p:nvPr/>
              </p:nvSpPr>
              <p:spPr bwMode="gray">
                <a:xfrm>
                  <a:off x="41950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92" name="Freeform: Shape 12291">
                  <a:extLst>
                    <a:ext uri="{FF2B5EF4-FFF2-40B4-BE49-F238E27FC236}">
                      <a16:creationId xmlns:a16="http://schemas.microsoft.com/office/drawing/2014/main" id="{A30DD805-B661-0E50-859B-06CEF0AB2BFA}"/>
                    </a:ext>
                  </a:extLst>
                </p:cNvPr>
                <p:cNvSpPr/>
                <p:nvPr/>
              </p:nvSpPr>
              <p:spPr bwMode="gray">
                <a:xfrm>
                  <a:off x="415718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8" name="Graphic 2080">
                <a:extLst>
                  <a:ext uri="{FF2B5EF4-FFF2-40B4-BE49-F238E27FC236}">
                    <a16:creationId xmlns:a16="http://schemas.microsoft.com/office/drawing/2014/main" id="{D65D26AC-EEB3-FEEF-943B-D001C5BCB3D5}"/>
                  </a:ext>
                </a:extLst>
              </p:cNvPr>
              <p:cNvGrpSpPr/>
              <p:nvPr/>
            </p:nvGrpSpPr>
            <p:grpSpPr bwMode="gray">
              <a:xfrm>
                <a:off x="5061203" y="3299554"/>
                <a:ext cx="75723" cy="75723"/>
                <a:chOff x="5061203" y="3299554"/>
                <a:chExt cx="75723" cy="75723"/>
              </a:xfrm>
            </p:grpSpPr>
            <p:sp>
              <p:nvSpPr>
                <p:cNvPr id="12289" name="Freeform: Shape 12288">
                  <a:extLst>
                    <a:ext uri="{FF2B5EF4-FFF2-40B4-BE49-F238E27FC236}">
                      <a16:creationId xmlns:a16="http://schemas.microsoft.com/office/drawing/2014/main" id="{EC0CBA0A-0C48-597E-69D1-5452E2D0A18E}"/>
                    </a:ext>
                  </a:extLst>
                </p:cNvPr>
                <p:cNvSpPr/>
                <p:nvPr/>
              </p:nvSpPr>
              <p:spPr bwMode="gray">
                <a:xfrm>
                  <a:off x="5099113"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90" name="Freeform: Shape 12289">
                  <a:extLst>
                    <a:ext uri="{FF2B5EF4-FFF2-40B4-BE49-F238E27FC236}">
                      <a16:creationId xmlns:a16="http://schemas.microsoft.com/office/drawing/2014/main" id="{F172146D-B11E-DCC2-0912-37EFC4F54889}"/>
                    </a:ext>
                  </a:extLst>
                </p:cNvPr>
                <p:cNvSpPr/>
                <p:nvPr/>
              </p:nvSpPr>
              <p:spPr bwMode="gray">
                <a:xfrm>
                  <a:off x="5061203"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09" name="Graphic 2080">
                <a:extLst>
                  <a:ext uri="{FF2B5EF4-FFF2-40B4-BE49-F238E27FC236}">
                    <a16:creationId xmlns:a16="http://schemas.microsoft.com/office/drawing/2014/main" id="{32495516-8B12-D96D-74A3-5843B1A2FE63}"/>
                  </a:ext>
                </a:extLst>
              </p:cNvPr>
              <p:cNvGrpSpPr/>
              <p:nvPr/>
            </p:nvGrpSpPr>
            <p:grpSpPr bwMode="gray">
              <a:xfrm>
                <a:off x="5188933" y="3384041"/>
                <a:ext cx="75628" cy="75723"/>
                <a:chOff x="5188933" y="3384041"/>
                <a:chExt cx="75628" cy="75723"/>
              </a:xfrm>
            </p:grpSpPr>
            <p:sp>
              <p:nvSpPr>
                <p:cNvPr id="12287" name="Freeform: Shape 12286">
                  <a:extLst>
                    <a:ext uri="{FF2B5EF4-FFF2-40B4-BE49-F238E27FC236}">
                      <a16:creationId xmlns:a16="http://schemas.microsoft.com/office/drawing/2014/main" id="{62DA4644-2E35-9954-F43E-F7E0875D704E}"/>
                    </a:ext>
                  </a:extLst>
                </p:cNvPr>
                <p:cNvSpPr/>
                <p:nvPr/>
              </p:nvSpPr>
              <p:spPr bwMode="gray">
                <a:xfrm>
                  <a:off x="5226748"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88" name="Freeform: Shape 12287">
                  <a:extLst>
                    <a:ext uri="{FF2B5EF4-FFF2-40B4-BE49-F238E27FC236}">
                      <a16:creationId xmlns:a16="http://schemas.microsoft.com/office/drawing/2014/main" id="{7F3738C0-AA43-BBAF-D7E9-40D0BF2B9C13}"/>
                    </a:ext>
                  </a:extLst>
                </p:cNvPr>
                <p:cNvSpPr/>
                <p:nvPr/>
              </p:nvSpPr>
              <p:spPr bwMode="gray">
                <a:xfrm>
                  <a:off x="5188933" y="34218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0" name="Graphic 2080">
                <a:extLst>
                  <a:ext uri="{FF2B5EF4-FFF2-40B4-BE49-F238E27FC236}">
                    <a16:creationId xmlns:a16="http://schemas.microsoft.com/office/drawing/2014/main" id="{572AB5F4-6661-514E-699E-A396FE2FB80D}"/>
                  </a:ext>
                </a:extLst>
              </p:cNvPr>
              <p:cNvGrpSpPr/>
              <p:nvPr/>
            </p:nvGrpSpPr>
            <p:grpSpPr bwMode="gray">
              <a:xfrm>
                <a:off x="5248084" y="3396995"/>
                <a:ext cx="75723" cy="75723"/>
                <a:chOff x="5248084" y="3396995"/>
                <a:chExt cx="75723" cy="75723"/>
              </a:xfrm>
            </p:grpSpPr>
            <p:sp>
              <p:nvSpPr>
                <p:cNvPr id="12285" name="Freeform: Shape 12284">
                  <a:extLst>
                    <a:ext uri="{FF2B5EF4-FFF2-40B4-BE49-F238E27FC236}">
                      <a16:creationId xmlns:a16="http://schemas.microsoft.com/office/drawing/2014/main" id="{6B48DAE1-FEB3-BA20-652F-D6565F5F8487}"/>
                    </a:ext>
                  </a:extLst>
                </p:cNvPr>
                <p:cNvSpPr/>
                <p:nvPr/>
              </p:nvSpPr>
              <p:spPr bwMode="gray">
                <a:xfrm>
                  <a:off x="528589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86" name="Freeform: Shape 12285">
                  <a:extLst>
                    <a:ext uri="{FF2B5EF4-FFF2-40B4-BE49-F238E27FC236}">
                      <a16:creationId xmlns:a16="http://schemas.microsoft.com/office/drawing/2014/main" id="{18D50F78-6D21-6010-508A-CD4EE32B832E}"/>
                    </a:ext>
                  </a:extLst>
                </p:cNvPr>
                <p:cNvSpPr/>
                <p:nvPr/>
              </p:nvSpPr>
              <p:spPr bwMode="gray">
                <a:xfrm>
                  <a:off x="5248084"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1" name="Graphic 2080">
                <a:extLst>
                  <a:ext uri="{FF2B5EF4-FFF2-40B4-BE49-F238E27FC236}">
                    <a16:creationId xmlns:a16="http://schemas.microsoft.com/office/drawing/2014/main" id="{FAE1E309-B8C2-8D92-3CE6-42F2DC17DF36}"/>
                  </a:ext>
                </a:extLst>
              </p:cNvPr>
              <p:cNvGrpSpPr/>
              <p:nvPr/>
            </p:nvGrpSpPr>
            <p:grpSpPr bwMode="gray">
              <a:xfrm>
                <a:off x="5273230" y="3396995"/>
                <a:ext cx="75628" cy="75723"/>
                <a:chOff x="5273230" y="3396995"/>
                <a:chExt cx="75628" cy="75723"/>
              </a:xfrm>
            </p:grpSpPr>
            <p:sp>
              <p:nvSpPr>
                <p:cNvPr id="12283" name="Freeform: Shape 12282">
                  <a:extLst>
                    <a:ext uri="{FF2B5EF4-FFF2-40B4-BE49-F238E27FC236}">
                      <a16:creationId xmlns:a16="http://schemas.microsoft.com/office/drawing/2014/main" id="{C36EF5DA-7DFF-FE07-9DEE-035C7713D97A}"/>
                    </a:ext>
                  </a:extLst>
                </p:cNvPr>
                <p:cNvSpPr/>
                <p:nvPr/>
              </p:nvSpPr>
              <p:spPr bwMode="gray">
                <a:xfrm>
                  <a:off x="5311044"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84" name="Freeform: Shape 12283">
                  <a:extLst>
                    <a:ext uri="{FF2B5EF4-FFF2-40B4-BE49-F238E27FC236}">
                      <a16:creationId xmlns:a16="http://schemas.microsoft.com/office/drawing/2014/main" id="{A4FE18FC-F0C8-11C7-84BF-9FE7ABA00C4C}"/>
                    </a:ext>
                  </a:extLst>
                </p:cNvPr>
                <p:cNvSpPr/>
                <p:nvPr/>
              </p:nvSpPr>
              <p:spPr bwMode="gray">
                <a:xfrm>
                  <a:off x="5273230"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2" name="Graphic 2080">
                <a:extLst>
                  <a:ext uri="{FF2B5EF4-FFF2-40B4-BE49-F238E27FC236}">
                    <a16:creationId xmlns:a16="http://schemas.microsoft.com/office/drawing/2014/main" id="{20B16108-C729-086E-5D7A-0913DF3FDE71}"/>
                  </a:ext>
                </a:extLst>
              </p:cNvPr>
              <p:cNvGrpSpPr/>
              <p:nvPr/>
            </p:nvGrpSpPr>
            <p:grpSpPr bwMode="gray">
              <a:xfrm>
                <a:off x="5285517" y="3396995"/>
                <a:ext cx="75723" cy="75723"/>
                <a:chOff x="5285517" y="3396995"/>
                <a:chExt cx="75723" cy="75723"/>
              </a:xfrm>
            </p:grpSpPr>
            <p:sp>
              <p:nvSpPr>
                <p:cNvPr id="12281" name="Freeform: Shape 12280">
                  <a:extLst>
                    <a:ext uri="{FF2B5EF4-FFF2-40B4-BE49-F238E27FC236}">
                      <a16:creationId xmlns:a16="http://schemas.microsoft.com/office/drawing/2014/main" id="{A06A1E84-5713-5E09-743E-343C867DF65C}"/>
                    </a:ext>
                  </a:extLst>
                </p:cNvPr>
                <p:cNvSpPr/>
                <p:nvPr/>
              </p:nvSpPr>
              <p:spPr bwMode="gray">
                <a:xfrm>
                  <a:off x="5323331"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82" name="Freeform: Shape 12281">
                  <a:extLst>
                    <a:ext uri="{FF2B5EF4-FFF2-40B4-BE49-F238E27FC236}">
                      <a16:creationId xmlns:a16="http://schemas.microsoft.com/office/drawing/2014/main" id="{FD54CF17-1FF6-89F7-19F3-40EACCE4CE0C}"/>
                    </a:ext>
                  </a:extLst>
                </p:cNvPr>
                <p:cNvSpPr/>
                <p:nvPr/>
              </p:nvSpPr>
              <p:spPr bwMode="gray">
                <a:xfrm>
                  <a:off x="5285517"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3" name="Graphic 2080">
                <a:extLst>
                  <a:ext uri="{FF2B5EF4-FFF2-40B4-BE49-F238E27FC236}">
                    <a16:creationId xmlns:a16="http://schemas.microsoft.com/office/drawing/2014/main" id="{135645BC-F3F2-23DE-F9C6-37E60444CFCE}"/>
                  </a:ext>
                </a:extLst>
              </p:cNvPr>
              <p:cNvGrpSpPr/>
              <p:nvPr/>
            </p:nvGrpSpPr>
            <p:grpSpPr bwMode="gray">
              <a:xfrm>
                <a:off x="5298661" y="3396995"/>
                <a:ext cx="75628" cy="75723"/>
                <a:chOff x="5298661" y="3396995"/>
                <a:chExt cx="75628" cy="75723"/>
              </a:xfrm>
            </p:grpSpPr>
            <p:sp>
              <p:nvSpPr>
                <p:cNvPr id="12279" name="Freeform: Shape 12278">
                  <a:extLst>
                    <a:ext uri="{FF2B5EF4-FFF2-40B4-BE49-F238E27FC236}">
                      <a16:creationId xmlns:a16="http://schemas.microsoft.com/office/drawing/2014/main" id="{A653C881-8624-B099-712A-A79387C74B16}"/>
                    </a:ext>
                  </a:extLst>
                </p:cNvPr>
                <p:cNvSpPr/>
                <p:nvPr/>
              </p:nvSpPr>
              <p:spPr bwMode="gray">
                <a:xfrm>
                  <a:off x="5336476"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80" name="Freeform: Shape 12279">
                  <a:extLst>
                    <a:ext uri="{FF2B5EF4-FFF2-40B4-BE49-F238E27FC236}">
                      <a16:creationId xmlns:a16="http://schemas.microsoft.com/office/drawing/2014/main" id="{22CA6127-1351-0DBD-5A5A-0CD73449FB0D}"/>
                    </a:ext>
                  </a:extLst>
                </p:cNvPr>
                <p:cNvSpPr/>
                <p:nvPr/>
              </p:nvSpPr>
              <p:spPr bwMode="gray">
                <a:xfrm>
                  <a:off x="5298661"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4" name="Graphic 2080">
                <a:extLst>
                  <a:ext uri="{FF2B5EF4-FFF2-40B4-BE49-F238E27FC236}">
                    <a16:creationId xmlns:a16="http://schemas.microsoft.com/office/drawing/2014/main" id="{6AC2E8B9-2FA1-9649-EB17-5CC14E341186}"/>
                  </a:ext>
                </a:extLst>
              </p:cNvPr>
              <p:cNvGrpSpPr/>
              <p:nvPr/>
            </p:nvGrpSpPr>
            <p:grpSpPr bwMode="gray">
              <a:xfrm>
                <a:off x="5428392" y="3452050"/>
                <a:ext cx="75723" cy="75628"/>
                <a:chOff x="5428392" y="3452050"/>
                <a:chExt cx="75723" cy="75628"/>
              </a:xfrm>
            </p:grpSpPr>
            <p:sp>
              <p:nvSpPr>
                <p:cNvPr id="12277" name="Freeform: Shape 12276">
                  <a:extLst>
                    <a:ext uri="{FF2B5EF4-FFF2-40B4-BE49-F238E27FC236}">
                      <a16:creationId xmlns:a16="http://schemas.microsoft.com/office/drawing/2014/main" id="{55737357-6327-0DA3-4A9A-DDB8DC4CA7E4}"/>
                    </a:ext>
                  </a:extLst>
                </p:cNvPr>
                <p:cNvSpPr/>
                <p:nvPr/>
              </p:nvSpPr>
              <p:spPr bwMode="gray">
                <a:xfrm>
                  <a:off x="5466301"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78" name="Freeform: Shape 12277">
                  <a:extLst>
                    <a:ext uri="{FF2B5EF4-FFF2-40B4-BE49-F238E27FC236}">
                      <a16:creationId xmlns:a16="http://schemas.microsoft.com/office/drawing/2014/main" id="{3765492D-A178-FC87-9C1A-DA99487804B4}"/>
                    </a:ext>
                  </a:extLst>
                </p:cNvPr>
                <p:cNvSpPr/>
                <p:nvPr/>
              </p:nvSpPr>
              <p:spPr bwMode="gray">
                <a:xfrm>
                  <a:off x="542839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5" name="Graphic 2080">
                <a:extLst>
                  <a:ext uri="{FF2B5EF4-FFF2-40B4-BE49-F238E27FC236}">
                    <a16:creationId xmlns:a16="http://schemas.microsoft.com/office/drawing/2014/main" id="{B63ED5BF-2009-8EAC-3A0A-9336B0EDF2B3}"/>
                  </a:ext>
                </a:extLst>
              </p:cNvPr>
              <p:cNvGrpSpPr/>
              <p:nvPr/>
            </p:nvGrpSpPr>
            <p:grpSpPr bwMode="gray">
              <a:xfrm>
                <a:off x="5441822" y="3452050"/>
                <a:ext cx="75723" cy="75628"/>
                <a:chOff x="5441822" y="3452050"/>
                <a:chExt cx="75723" cy="75628"/>
              </a:xfrm>
            </p:grpSpPr>
            <p:sp>
              <p:nvSpPr>
                <p:cNvPr id="12275" name="Freeform: Shape 12274">
                  <a:extLst>
                    <a:ext uri="{FF2B5EF4-FFF2-40B4-BE49-F238E27FC236}">
                      <a16:creationId xmlns:a16="http://schemas.microsoft.com/office/drawing/2014/main" id="{EC9E7D04-A9AB-E7E7-E5ED-4A054831F623}"/>
                    </a:ext>
                  </a:extLst>
                </p:cNvPr>
                <p:cNvSpPr/>
                <p:nvPr/>
              </p:nvSpPr>
              <p:spPr bwMode="gray">
                <a:xfrm>
                  <a:off x="5479636"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76" name="Freeform: Shape 12275">
                  <a:extLst>
                    <a:ext uri="{FF2B5EF4-FFF2-40B4-BE49-F238E27FC236}">
                      <a16:creationId xmlns:a16="http://schemas.microsoft.com/office/drawing/2014/main" id="{A7B8FF71-6352-C661-85F5-9C86D7F52B32}"/>
                    </a:ext>
                  </a:extLst>
                </p:cNvPr>
                <p:cNvSpPr/>
                <p:nvPr/>
              </p:nvSpPr>
              <p:spPr bwMode="gray">
                <a:xfrm>
                  <a:off x="544182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6" name="Graphic 2080">
                <a:extLst>
                  <a:ext uri="{FF2B5EF4-FFF2-40B4-BE49-F238E27FC236}">
                    <a16:creationId xmlns:a16="http://schemas.microsoft.com/office/drawing/2014/main" id="{B58E2593-BA7A-E9DD-3D5E-1151E8F43432}"/>
                  </a:ext>
                </a:extLst>
              </p:cNvPr>
              <p:cNvGrpSpPr/>
              <p:nvPr/>
            </p:nvGrpSpPr>
            <p:grpSpPr bwMode="gray">
              <a:xfrm>
                <a:off x="5470588" y="3452050"/>
                <a:ext cx="75723" cy="75628"/>
                <a:chOff x="5470588" y="3452050"/>
                <a:chExt cx="75723" cy="75628"/>
              </a:xfrm>
            </p:grpSpPr>
            <p:sp>
              <p:nvSpPr>
                <p:cNvPr id="12273" name="Freeform: Shape 12272">
                  <a:extLst>
                    <a:ext uri="{FF2B5EF4-FFF2-40B4-BE49-F238E27FC236}">
                      <a16:creationId xmlns:a16="http://schemas.microsoft.com/office/drawing/2014/main" id="{88846336-02FD-D92D-F19D-98516967FF37}"/>
                    </a:ext>
                  </a:extLst>
                </p:cNvPr>
                <p:cNvSpPr/>
                <p:nvPr/>
              </p:nvSpPr>
              <p:spPr bwMode="gray">
                <a:xfrm>
                  <a:off x="5508402"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74" name="Freeform: Shape 12273">
                  <a:extLst>
                    <a:ext uri="{FF2B5EF4-FFF2-40B4-BE49-F238E27FC236}">
                      <a16:creationId xmlns:a16="http://schemas.microsoft.com/office/drawing/2014/main" id="{D6A8680E-44BB-5D91-A13A-364E8518605B}"/>
                    </a:ext>
                  </a:extLst>
                </p:cNvPr>
                <p:cNvSpPr/>
                <p:nvPr/>
              </p:nvSpPr>
              <p:spPr bwMode="gray">
                <a:xfrm>
                  <a:off x="5470588"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7" name="Graphic 2080">
                <a:extLst>
                  <a:ext uri="{FF2B5EF4-FFF2-40B4-BE49-F238E27FC236}">
                    <a16:creationId xmlns:a16="http://schemas.microsoft.com/office/drawing/2014/main" id="{D445DA1B-A07B-DA74-D6B3-6069B8DDEBB1}"/>
                  </a:ext>
                </a:extLst>
              </p:cNvPr>
              <p:cNvGrpSpPr/>
              <p:nvPr/>
            </p:nvGrpSpPr>
            <p:grpSpPr bwMode="gray">
              <a:xfrm>
                <a:off x="5451919" y="3452050"/>
                <a:ext cx="75723" cy="75628"/>
                <a:chOff x="5451919" y="3452050"/>
                <a:chExt cx="75723" cy="75628"/>
              </a:xfrm>
            </p:grpSpPr>
            <p:sp>
              <p:nvSpPr>
                <p:cNvPr id="12271" name="Freeform: Shape 12270">
                  <a:extLst>
                    <a:ext uri="{FF2B5EF4-FFF2-40B4-BE49-F238E27FC236}">
                      <a16:creationId xmlns:a16="http://schemas.microsoft.com/office/drawing/2014/main" id="{643E9048-3D19-2EB8-0FAA-9F0DCAE6DCB9}"/>
                    </a:ext>
                  </a:extLst>
                </p:cNvPr>
                <p:cNvSpPr/>
                <p:nvPr/>
              </p:nvSpPr>
              <p:spPr bwMode="gray">
                <a:xfrm>
                  <a:off x="5489828"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72" name="Freeform: Shape 12271">
                  <a:extLst>
                    <a:ext uri="{FF2B5EF4-FFF2-40B4-BE49-F238E27FC236}">
                      <a16:creationId xmlns:a16="http://schemas.microsoft.com/office/drawing/2014/main" id="{395F922D-C3A1-D370-E2D1-1499E6B3B905}"/>
                    </a:ext>
                  </a:extLst>
                </p:cNvPr>
                <p:cNvSpPr/>
                <p:nvPr/>
              </p:nvSpPr>
              <p:spPr bwMode="gray">
                <a:xfrm>
                  <a:off x="5451919"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8" name="Graphic 2080">
                <a:extLst>
                  <a:ext uri="{FF2B5EF4-FFF2-40B4-BE49-F238E27FC236}">
                    <a16:creationId xmlns:a16="http://schemas.microsoft.com/office/drawing/2014/main" id="{79314D05-7B64-D959-7DB4-20376DE7BCED}"/>
                  </a:ext>
                </a:extLst>
              </p:cNvPr>
              <p:cNvGrpSpPr/>
              <p:nvPr/>
            </p:nvGrpSpPr>
            <p:grpSpPr bwMode="gray">
              <a:xfrm>
                <a:off x="6121145" y="3717511"/>
                <a:ext cx="75723" cy="75723"/>
                <a:chOff x="6121145" y="3717511"/>
                <a:chExt cx="75723" cy="75723"/>
              </a:xfrm>
            </p:grpSpPr>
            <p:sp>
              <p:nvSpPr>
                <p:cNvPr id="12269" name="Freeform: Shape 12268">
                  <a:extLst>
                    <a:ext uri="{FF2B5EF4-FFF2-40B4-BE49-F238E27FC236}">
                      <a16:creationId xmlns:a16="http://schemas.microsoft.com/office/drawing/2014/main" id="{3997F2D0-2269-8D0A-1DCA-7ECDBC5486FC}"/>
                    </a:ext>
                  </a:extLst>
                </p:cNvPr>
                <p:cNvSpPr/>
                <p:nvPr/>
              </p:nvSpPr>
              <p:spPr bwMode="gray">
                <a:xfrm>
                  <a:off x="615895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70" name="Freeform: Shape 12269">
                  <a:extLst>
                    <a:ext uri="{FF2B5EF4-FFF2-40B4-BE49-F238E27FC236}">
                      <a16:creationId xmlns:a16="http://schemas.microsoft.com/office/drawing/2014/main" id="{228BFE98-E832-477F-D4F9-5E733D89F295}"/>
                    </a:ext>
                  </a:extLst>
                </p:cNvPr>
                <p:cNvSpPr/>
                <p:nvPr/>
              </p:nvSpPr>
              <p:spPr bwMode="gray">
                <a:xfrm>
                  <a:off x="6121145"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19" name="Graphic 2080">
                <a:extLst>
                  <a:ext uri="{FF2B5EF4-FFF2-40B4-BE49-F238E27FC236}">
                    <a16:creationId xmlns:a16="http://schemas.microsoft.com/office/drawing/2014/main" id="{ED481F22-8BE4-2204-1566-F24A8D030E83}"/>
                  </a:ext>
                </a:extLst>
              </p:cNvPr>
              <p:cNvGrpSpPr/>
              <p:nvPr/>
            </p:nvGrpSpPr>
            <p:grpSpPr bwMode="gray">
              <a:xfrm>
                <a:off x="6358032" y="3768280"/>
                <a:ext cx="75628" cy="75628"/>
                <a:chOff x="6358032" y="3768280"/>
                <a:chExt cx="75628" cy="75628"/>
              </a:xfrm>
            </p:grpSpPr>
            <p:sp>
              <p:nvSpPr>
                <p:cNvPr id="12267" name="Freeform: Shape 12266">
                  <a:extLst>
                    <a:ext uri="{FF2B5EF4-FFF2-40B4-BE49-F238E27FC236}">
                      <a16:creationId xmlns:a16="http://schemas.microsoft.com/office/drawing/2014/main" id="{AFC25CEA-2FCC-AB19-3E98-6654650F26EE}"/>
                    </a:ext>
                  </a:extLst>
                </p:cNvPr>
                <p:cNvSpPr/>
                <p:nvPr/>
              </p:nvSpPr>
              <p:spPr bwMode="gray">
                <a:xfrm>
                  <a:off x="6395846"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68" name="Freeform: Shape 12267">
                  <a:extLst>
                    <a:ext uri="{FF2B5EF4-FFF2-40B4-BE49-F238E27FC236}">
                      <a16:creationId xmlns:a16="http://schemas.microsoft.com/office/drawing/2014/main" id="{5F4AE906-BD5F-E102-34A1-56112CA74FCB}"/>
                    </a:ext>
                  </a:extLst>
                </p:cNvPr>
                <p:cNvSpPr/>
                <p:nvPr/>
              </p:nvSpPr>
              <p:spPr bwMode="gray">
                <a:xfrm>
                  <a:off x="6358032" y="3806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0" name="Graphic 2080">
                <a:extLst>
                  <a:ext uri="{FF2B5EF4-FFF2-40B4-BE49-F238E27FC236}">
                    <a16:creationId xmlns:a16="http://schemas.microsoft.com/office/drawing/2014/main" id="{AF349814-56E5-2283-CC66-4CECEC5F3CB4}"/>
                  </a:ext>
                </a:extLst>
              </p:cNvPr>
              <p:cNvGrpSpPr/>
              <p:nvPr/>
            </p:nvGrpSpPr>
            <p:grpSpPr bwMode="gray">
              <a:xfrm>
                <a:off x="6385559" y="3768280"/>
                <a:ext cx="75723" cy="75628"/>
                <a:chOff x="6385559" y="3768280"/>
                <a:chExt cx="75723" cy="75628"/>
              </a:xfrm>
            </p:grpSpPr>
            <p:sp>
              <p:nvSpPr>
                <p:cNvPr id="12265" name="Freeform: Shape 12264">
                  <a:extLst>
                    <a:ext uri="{FF2B5EF4-FFF2-40B4-BE49-F238E27FC236}">
                      <a16:creationId xmlns:a16="http://schemas.microsoft.com/office/drawing/2014/main" id="{C0A3052B-FA95-CD6A-F35A-914A80A3C9BA}"/>
                    </a:ext>
                  </a:extLst>
                </p:cNvPr>
                <p:cNvSpPr/>
                <p:nvPr/>
              </p:nvSpPr>
              <p:spPr bwMode="gray">
                <a:xfrm>
                  <a:off x="64233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66" name="Freeform: Shape 12265">
                  <a:extLst>
                    <a:ext uri="{FF2B5EF4-FFF2-40B4-BE49-F238E27FC236}">
                      <a16:creationId xmlns:a16="http://schemas.microsoft.com/office/drawing/2014/main" id="{27CAEFDB-AAD6-A4F5-D9C8-6E34D6A7340C}"/>
                    </a:ext>
                  </a:extLst>
                </p:cNvPr>
                <p:cNvSpPr/>
                <p:nvPr/>
              </p:nvSpPr>
              <p:spPr bwMode="gray">
                <a:xfrm>
                  <a:off x="6385559"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1" name="Graphic 2080">
                <a:extLst>
                  <a:ext uri="{FF2B5EF4-FFF2-40B4-BE49-F238E27FC236}">
                    <a16:creationId xmlns:a16="http://schemas.microsoft.com/office/drawing/2014/main" id="{DA963BA3-AD18-F8AB-0817-07DFB7B340F6}"/>
                  </a:ext>
                </a:extLst>
              </p:cNvPr>
              <p:cNvGrpSpPr/>
              <p:nvPr/>
            </p:nvGrpSpPr>
            <p:grpSpPr bwMode="gray">
              <a:xfrm>
                <a:off x="6401466" y="3784853"/>
                <a:ext cx="75723" cy="75723"/>
                <a:chOff x="6401466" y="3784853"/>
                <a:chExt cx="75723" cy="75723"/>
              </a:xfrm>
            </p:grpSpPr>
            <p:sp>
              <p:nvSpPr>
                <p:cNvPr id="12263" name="Freeform: Shape 12262">
                  <a:extLst>
                    <a:ext uri="{FF2B5EF4-FFF2-40B4-BE49-F238E27FC236}">
                      <a16:creationId xmlns:a16="http://schemas.microsoft.com/office/drawing/2014/main" id="{B2FC326C-9044-7BA8-BA35-C92CF79FE4F5}"/>
                    </a:ext>
                  </a:extLst>
                </p:cNvPr>
                <p:cNvSpPr/>
                <p:nvPr/>
              </p:nvSpPr>
              <p:spPr bwMode="gray">
                <a:xfrm>
                  <a:off x="6439375"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64" name="Freeform: Shape 12263">
                  <a:extLst>
                    <a:ext uri="{FF2B5EF4-FFF2-40B4-BE49-F238E27FC236}">
                      <a16:creationId xmlns:a16="http://schemas.microsoft.com/office/drawing/2014/main" id="{55AADAE5-4025-5578-0B14-F0B5B9130652}"/>
                    </a:ext>
                  </a:extLst>
                </p:cNvPr>
                <p:cNvSpPr/>
                <p:nvPr/>
              </p:nvSpPr>
              <p:spPr bwMode="gray">
                <a:xfrm>
                  <a:off x="640146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2" name="Graphic 2080">
                <a:extLst>
                  <a:ext uri="{FF2B5EF4-FFF2-40B4-BE49-F238E27FC236}">
                    <a16:creationId xmlns:a16="http://schemas.microsoft.com/office/drawing/2014/main" id="{F87F0614-1793-4F37-2631-B019FCA426CD}"/>
                  </a:ext>
                </a:extLst>
              </p:cNvPr>
              <p:cNvGrpSpPr/>
              <p:nvPr/>
            </p:nvGrpSpPr>
            <p:grpSpPr bwMode="gray">
              <a:xfrm>
                <a:off x="6537292" y="3784853"/>
                <a:ext cx="75723" cy="75723"/>
                <a:chOff x="6537292" y="3784853"/>
                <a:chExt cx="75723" cy="75723"/>
              </a:xfrm>
            </p:grpSpPr>
            <p:sp>
              <p:nvSpPr>
                <p:cNvPr id="12261" name="Freeform: Shape 12260">
                  <a:extLst>
                    <a:ext uri="{FF2B5EF4-FFF2-40B4-BE49-F238E27FC236}">
                      <a16:creationId xmlns:a16="http://schemas.microsoft.com/office/drawing/2014/main" id="{3769FB9B-3EE5-8BAF-8891-18173F8DB75F}"/>
                    </a:ext>
                  </a:extLst>
                </p:cNvPr>
                <p:cNvSpPr/>
                <p:nvPr/>
              </p:nvSpPr>
              <p:spPr bwMode="gray">
                <a:xfrm>
                  <a:off x="6575107"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62" name="Freeform: Shape 12261">
                  <a:extLst>
                    <a:ext uri="{FF2B5EF4-FFF2-40B4-BE49-F238E27FC236}">
                      <a16:creationId xmlns:a16="http://schemas.microsoft.com/office/drawing/2014/main" id="{649A8B31-CB21-CC8F-11C2-90E800B95B0B}"/>
                    </a:ext>
                  </a:extLst>
                </p:cNvPr>
                <p:cNvSpPr/>
                <p:nvPr/>
              </p:nvSpPr>
              <p:spPr bwMode="gray">
                <a:xfrm>
                  <a:off x="653729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3" name="Graphic 2080">
                <a:extLst>
                  <a:ext uri="{FF2B5EF4-FFF2-40B4-BE49-F238E27FC236}">
                    <a16:creationId xmlns:a16="http://schemas.microsoft.com/office/drawing/2014/main" id="{0A06FD76-70DE-EA50-D848-324319CD6A6D}"/>
                  </a:ext>
                </a:extLst>
              </p:cNvPr>
              <p:cNvGrpSpPr/>
              <p:nvPr/>
            </p:nvGrpSpPr>
            <p:grpSpPr bwMode="gray">
              <a:xfrm>
                <a:off x="6527958" y="3784853"/>
                <a:ext cx="75723" cy="75723"/>
                <a:chOff x="6527958" y="3784853"/>
                <a:chExt cx="75723" cy="75723"/>
              </a:xfrm>
            </p:grpSpPr>
            <p:sp>
              <p:nvSpPr>
                <p:cNvPr id="12259" name="Freeform: Shape 12258">
                  <a:extLst>
                    <a:ext uri="{FF2B5EF4-FFF2-40B4-BE49-F238E27FC236}">
                      <a16:creationId xmlns:a16="http://schemas.microsoft.com/office/drawing/2014/main" id="{394D2BDD-77C4-A932-73F0-9D0241AD2964}"/>
                    </a:ext>
                  </a:extLst>
                </p:cNvPr>
                <p:cNvSpPr/>
                <p:nvPr/>
              </p:nvSpPr>
              <p:spPr bwMode="gray">
                <a:xfrm>
                  <a:off x="6565772"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60" name="Freeform: Shape 12259">
                  <a:extLst>
                    <a:ext uri="{FF2B5EF4-FFF2-40B4-BE49-F238E27FC236}">
                      <a16:creationId xmlns:a16="http://schemas.microsoft.com/office/drawing/2014/main" id="{D68E2A5D-2926-C721-96A4-E59B690D9A0C}"/>
                    </a:ext>
                  </a:extLst>
                </p:cNvPr>
                <p:cNvSpPr/>
                <p:nvPr/>
              </p:nvSpPr>
              <p:spPr bwMode="gray">
                <a:xfrm>
                  <a:off x="6527958"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4" name="Graphic 2080">
                <a:extLst>
                  <a:ext uri="{FF2B5EF4-FFF2-40B4-BE49-F238E27FC236}">
                    <a16:creationId xmlns:a16="http://schemas.microsoft.com/office/drawing/2014/main" id="{1FD91E5E-6610-C2C1-520F-84260AF701C6}"/>
                  </a:ext>
                </a:extLst>
              </p:cNvPr>
              <p:cNvGrpSpPr/>
              <p:nvPr/>
            </p:nvGrpSpPr>
            <p:grpSpPr bwMode="gray">
              <a:xfrm>
                <a:off x="6510527" y="3784853"/>
                <a:ext cx="75723" cy="75723"/>
                <a:chOff x="6510527" y="3784853"/>
                <a:chExt cx="75723" cy="75723"/>
              </a:xfrm>
            </p:grpSpPr>
            <p:sp>
              <p:nvSpPr>
                <p:cNvPr id="12257" name="Freeform: Shape 12256">
                  <a:extLst>
                    <a:ext uri="{FF2B5EF4-FFF2-40B4-BE49-F238E27FC236}">
                      <a16:creationId xmlns:a16="http://schemas.microsoft.com/office/drawing/2014/main" id="{B3A8E4C4-0F55-2B8B-ED17-E2D6954CDB4E}"/>
                    </a:ext>
                  </a:extLst>
                </p:cNvPr>
                <p:cNvSpPr/>
                <p:nvPr/>
              </p:nvSpPr>
              <p:spPr bwMode="gray">
                <a:xfrm>
                  <a:off x="654834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58" name="Freeform: Shape 12257">
                  <a:extLst>
                    <a:ext uri="{FF2B5EF4-FFF2-40B4-BE49-F238E27FC236}">
                      <a16:creationId xmlns:a16="http://schemas.microsoft.com/office/drawing/2014/main" id="{D7A24540-ADBD-6413-2B0B-CB4B3C9CABCB}"/>
                    </a:ext>
                  </a:extLst>
                </p:cNvPr>
                <p:cNvSpPr/>
                <p:nvPr/>
              </p:nvSpPr>
              <p:spPr bwMode="gray">
                <a:xfrm>
                  <a:off x="6510527"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5" name="Graphic 2080">
                <a:extLst>
                  <a:ext uri="{FF2B5EF4-FFF2-40B4-BE49-F238E27FC236}">
                    <a16:creationId xmlns:a16="http://schemas.microsoft.com/office/drawing/2014/main" id="{27E77815-11A9-77C7-1D67-3597F357E9A7}"/>
                  </a:ext>
                </a:extLst>
              </p:cNvPr>
              <p:cNvGrpSpPr/>
              <p:nvPr/>
            </p:nvGrpSpPr>
            <p:grpSpPr bwMode="gray">
              <a:xfrm>
                <a:off x="6726459" y="3874293"/>
                <a:ext cx="75723" cy="75723"/>
                <a:chOff x="6726459" y="3874293"/>
                <a:chExt cx="75723" cy="75723"/>
              </a:xfrm>
            </p:grpSpPr>
            <p:sp>
              <p:nvSpPr>
                <p:cNvPr id="12255" name="Freeform: Shape 12254">
                  <a:extLst>
                    <a:ext uri="{FF2B5EF4-FFF2-40B4-BE49-F238E27FC236}">
                      <a16:creationId xmlns:a16="http://schemas.microsoft.com/office/drawing/2014/main" id="{6740F669-E1AC-CD1E-1396-25C890EB266E}"/>
                    </a:ext>
                  </a:extLst>
                </p:cNvPr>
                <p:cNvSpPr/>
                <p:nvPr/>
              </p:nvSpPr>
              <p:spPr bwMode="gray">
                <a:xfrm>
                  <a:off x="676427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56" name="Freeform: Shape 12255">
                  <a:extLst>
                    <a:ext uri="{FF2B5EF4-FFF2-40B4-BE49-F238E27FC236}">
                      <a16:creationId xmlns:a16="http://schemas.microsoft.com/office/drawing/2014/main" id="{B3D19F36-E1B5-7F6B-D481-D2C65AA17374}"/>
                    </a:ext>
                  </a:extLst>
                </p:cNvPr>
                <p:cNvSpPr/>
                <p:nvPr/>
              </p:nvSpPr>
              <p:spPr bwMode="gray">
                <a:xfrm>
                  <a:off x="672645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6" name="Graphic 2080">
                <a:extLst>
                  <a:ext uri="{FF2B5EF4-FFF2-40B4-BE49-F238E27FC236}">
                    <a16:creationId xmlns:a16="http://schemas.microsoft.com/office/drawing/2014/main" id="{3C387A36-8D46-CA41-F5F1-693E75883C02}"/>
                  </a:ext>
                </a:extLst>
              </p:cNvPr>
              <p:cNvGrpSpPr/>
              <p:nvPr/>
            </p:nvGrpSpPr>
            <p:grpSpPr bwMode="gray">
              <a:xfrm>
                <a:off x="6871144" y="3874293"/>
                <a:ext cx="75723" cy="75723"/>
                <a:chOff x="6871144" y="3874293"/>
                <a:chExt cx="75723" cy="75723"/>
              </a:xfrm>
            </p:grpSpPr>
            <p:sp>
              <p:nvSpPr>
                <p:cNvPr id="12253" name="Freeform: Shape 12252">
                  <a:extLst>
                    <a:ext uri="{FF2B5EF4-FFF2-40B4-BE49-F238E27FC236}">
                      <a16:creationId xmlns:a16="http://schemas.microsoft.com/office/drawing/2014/main" id="{DDE9E1AB-56C6-B6C5-2B50-C174276FAE0A}"/>
                    </a:ext>
                  </a:extLst>
                </p:cNvPr>
                <p:cNvSpPr/>
                <p:nvPr/>
              </p:nvSpPr>
              <p:spPr bwMode="gray">
                <a:xfrm>
                  <a:off x="690905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54" name="Freeform: Shape 12253">
                  <a:extLst>
                    <a:ext uri="{FF2B5EF4-FFF2-40B4-BE49-F238E27FC236}">
                      <a16:creationId xmlns:a16="http://schemas.microsoft.com/office/drawing/2014/main" id="{5E479EE5-1422-742E-679E-25FBBB5D6391}"/>
                    </a:ext>
                  </a:extLst>
                </p:cNvPr>
                <p:cNvSpPr/>
                <p:nvPr/>
              </p:nvSpPr>
              <p:spPr bwMode="gray">
                <a:xfrm>
                  <a:off x="6871144"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7" name="Graphic 2080">
                <a:extLst>
                  <a:ext uri="{FF2B5EF4-FFF2-40B4-BE49-F238E27FC236}">
                    <a16:creationId xmlns:a16="http://schemas.microsoft.com/office/drawing/2014/main" id="{F1C2FBD3-DFCF-6170-B97A-77C3F8DA60E7}"/>
                  </a:ext>
                </a:extLst>
              </p:cNvPr>
              <p:cNvGrpSpPr/>
              <p:nvPr/>
            </p:nvGrpSpPr>
            <p:grpSpPr bwMode="gray">
              <a:xfrm>
                <a:off x="6859618" y="3874293"/>
                <a:ext cx="75723" cy="75723"/>
                <a:chOff x="6859618" y="3874293"/>
                <a:chExt cx="75723" cy="75723"/>
              </a:xfrm>
            </p:grpSpPr>
            <p:sp>
              <p:nvSpPr>
                <p:cNvPr id="12251" name="Freeform: Shape 12250">
                  <a:extLst>
                    <a:ext uri="{FF2B5EF4-FFF2-40B4-BE49-F238E27FC236}">
                      <a16:creationId xmlns:a16="http://schemas.microsoft.com/office/drawing/2014/main" id="{69515B3D-5F4F-2BA7-9399-F153466C0BE9}"/>
                    </a:ext>
                  </a:extLst>
                </p:cNvPr>
                <p:cNvSpPr/>
                <p:nvPr/>
              </p:nvSpPr>
              <p:spPr bwMode="gray">
                <a:xfrm>
                  <a:off x="689743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52" name="Freeform: Shape 12251">
                  <a:extLst>
                    <a:ext uri="{FF2B5EF4-FFF2-40B4-BE49-F238E27FC236}">
                      <a16:creationId xmlns:a16="http://schemas.microsoft.com/office/drawing/2014/main" id="{84DD17CB-9C77-0500-3070-47B576327ECF}"/>
                    </a:ext>
                  </a:extLst>
                </p:cNvPr>
                <p:cNvSpPr/>
                <p:nvPr/>
              </p:nvSpPr>
              <p:spPr bwMode="gray">
                <a:xfrm>
                  <a:off x="685961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8" name="Graphic 2080">
                <a:extLst>
                  <a:ext uri="{FF2B5EF4-FFF2-40B4-BE49-F238E27FC236}">
                    <a16:creationId xmlns:a16="http://schemas.microsoft.com/office/drawing/2014/main" id="{C58A8530-0A43-7C24-8D1F-19EB97D25889}"/>
                  </a:ext>
                </a:extLst>
              </p:cNvPr>
              <p:cNvGrpSpPr/>
              <p:nvPr/>
            </p:nvGrpSpPr>
            <p:grpSpPr bwMode="gray">
              <a:xfrm>
                <a:off x="6838949" y="3874293"/>
                <a:ext cx="75723" cy="75723"/>
                <a:chOff x="6838949" y="3874293"/>
                <a:chExt cx="75723" cy="75723"/>
              </a:xfrm>
            </p:grpSpPr>
            <p:sp>
              <p:nvSpPr>
                <p:cNvPr id="12249" name="Freeform: Shape 12248">
                  <a:extLst>
                    <a:ext uri="{FF2B5EF4-FFF2-40B4-BE49-F238E27FC236}">
                      <a16:creationId xmlns:a16="http://schemas.microsoft.com/office/drawing/2014/main" id="{DDF319E5-8EF2-B617-436C-99096B28AB70}"/>
                    </a:ext>
                  </a:extLst>
                </p:cNvPr>
                <p:cNvSpPr/>
                <p:nvPr/>
              </p:nvSpPr>
              <p:spPr bwMode="gray">
                <a:xfrm>
                  <a:off x="687676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50" name="Freeform: Shape 12249">
                  <a:extLst>
                    <a:ext uri="{FF2B5EF4-FFF2-40B4-BE49-F238E27FC236}">
                      <a16:creationId xmlns:a16="http://schemas.microsoft.com/office/drawing/2014/main" id="{6B7AF8C8-E02A-6C34-6473-336A10BB3848}"/>
                    </a:ext>
                  </a:extLst>
                </p:cNvPr>
                <p:cNvSpPr/>
                <p:nvPr/>
              </p:nvSpPr>
              <p:spPr bwMode="gray">
                <a:xfrm>
                  <a:off x="683894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29" name="Graphic 2080">
                <a:extLst>
                  <a:ext uri="{FF2B5EF4-FFF2-40B4-BE49-F238E27FC236}">
                    <a16:creationId xmlns:a16="http://schemas.microsoft.com/office/drawing/2014/main" id="{9FA87F8F-1A10-9564-9E7E-E46340BB450E}"/>
                  </a:ext>
                </a:extLst>
              </p:cNvPr>
              <p:cNvGrpSpPr/>
              <p:nvPr/>
            </p:nvGrpSpPr>
            <p:grpSpPr bwMode="gray">
              <a:xfrm>
                <a:off x="6823423" y="3874293"/>
                <a:ext cx="75723" cy="75723"/>
                <a:chOff x="6823423" y="3874293"/>
                <a:chExt cx="75723" cy="75723"/>
              </a:xfrm>
            </p:grpSpPr>
            <p:sp>
              <p:nvSpPr>
                <p:cNvPr id="12247" name="Freeform: Shape 12246">
                  <a:extLst>
                    <a:ext uri="{FF2B5EF4-FFF2-40B4-BE49-F238E27FC236}">
                      <a16:creationId xmlns:a16="http://schemas.microsoft.com/office/drawing/2014/main" id="{E8127619-FCC2-50E6-ED07-97C6CFC63066}"/>
                    </a:ext>
                  </a:extLst>
                </p:cNvPr>
                <p:cNvSpPr/>
                <p:nvPr/>
              </p:nvSpPr>
              <p:spPr bwMode="gray">
                <a:xfrm>
                  <a:off x="6861238"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48" name="Freeform: Shape 12247">
                  <a:extLst>
                    <a:ext uri="{FF2B5EF4-FFF2-40B4-BE49-F238E27FC236}">
                      <a16:creationId xmlns:a16="http://schemas.microsoft.com/office/drawing/2014/main" id="{B3AB7132-55B1-65BB-3717-26F5132CC99D}"/>
                    </a:ext>
                  </a:extLst>
                </p:cNvPr>
                <p:cNvSpPr/>
                <p:nvPr/>
              </p:nvSpPr>
              <p:spPr bwMode="gray">
                <a:xfrm>
                  <a:off x="6823423"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0" name="Graphic 2080">
                <a:extLst>
                  <a:ext uri="{FF2B5EF4-FFF2-40B4-BE49-F238E27FC236}">
                    <a16:creationId xmlns:a16="http://schemas.microsoft.com/office/drawing/2014/main" id="{3EA7909D-B423-7779-9440-98F082D92978}"/>
                  </a:ext>
                </a:extLst>
              </p:cNvPr>
              <p:cNvGrpSpPr/>
              <p:nvPr/>
            </p:nvGrpSpPr>
            <p:grpSpPr bwMode="gray">
              <a:xfrm>
                <a:off x="6881526" y="3874293"/>
                <a:ext cx="75628" cy="75723"/>
                <a:chOff x="6881526" y="3874293"/>
                <a:chExt cx="75628" cy="75723"/>
              </a:xfrm>
            </p:grpSpPr>
            <p:sp>
              <p:nvSpPr>
                <p:cNvPr id="12245" name="Freeform: Shape 12244">
                  <a:extLst>
                    <a:ext uri="{FF2B5EF4-FFF2-40B4-BE49-F238E27FC236}">
                      <a16:creationId xmlns:a16="http://schemas.microsoft.com/office/drawing/2014/main" id="{BA8FC171-5260-16A2-3BD7-F132488938EF}"/>
                    </a:ext>
                  </a:extLst>
                </p:cNvPr>
                <p:cNvSpPr/>
                <p:nvPr/>
              </p:nvSpPr>
              <p:spPr bwMode="gray">
                <a:xfrm>
                  <a:off x="6919340"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46" name="Freeform: Shape 12245">
                  <a:extLst>
                    <a:ext uri="{FF2B5EF4-FFF2-40B4-BE49-F238E27FC236}">
                      <a16:creationId xmlns:a16="http://schemas.microsoft.com/office/drawing/2014/main" id="{92E8C116-94DA-3091-CFDC-76A2D53D3440}"/>
                    </a:ext>
                  </a:extLst>
                </p:cNvPr>
                <p:cNvSpPr/>
                <p:nvPr/>
              </p:nvSpPr>
              <p:spPr bwMode="gray">
                <a:xfrm>
                  <a:off x="6881526" y="39122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1" name="Graphic 2080">
                <a:extLst>
                  <a:ext uri="{FF2B5EF4-FFF2-40B4-BE49-F238E27FC236}">
                    <a16:creationId xmlns:a16="http://schemas.microsoft.com/office/drawing/2014/main" id="{CDD5687D-1252-36E0-8E12-AA26C9899905}"/>
                  </a:ext>
                </a:extLst>
              </p:cNvPr>
              <p:cNvGrpSpPr/>
              <p:nvPr/>
            </p:nvGrpSpPr>
            <p:grpSpPr bwMode="gray">
              <a:xfrm>
                <a:off x="6754558" y="3874293"/>
                <a:ext cx="75723" cy="75723"/>
                <a:chOff x="6754558" y="3874293"/>
                <a:chExt cx="75723" cy="75723"/>
              </a:xfrm>
            </p:grpSpPr>
            <p:sp>
              <p:nvSpPr>
                <p:cNvPr id="12243" name="Freeform: Shape 12242">
                  <a:extLst>
                    <a:ext uri="{FF2B5EF4-FFF2-40B4-BE49-F238E27FC236}">
                      <a16:creationId xmlns:a16="http://schemas.microsoft.com/office/drawing/2014/main" id="{57C832F0-4B6F-3A98-F69B-5ECD15852B85}"/>
                    </a:ext>
                  </a:extLst>
                </p:cNvPr>
                <p:cNvSpPr/>
                <p:nvPr/>
              </p:nvSpPr>
              <p:spPr bwMode="gray">
                <a:xfrm>
                  <a:off x="679246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44" name="Freeform: Shape 12243">
                  <a:extLst>
                    <a:ext uri="{FF2B5EF4-FFF2-40B4-BE49-F238E27FC236}">
                      <a16:creationId xmlns:a16="http://schemas.microsoft.com/office/drawing/2014/main" id="{FD90E315-3E74-2818-76FD-CC466995C6B7}"/>
                    </a:ext>
                  </a:extLst>
                </p:cNvPr>
                <p:cNvSpPr/>
                <p:nvPr/>
              </p:nvSpPr>
              <p:spPr bwMode="gray">
                <a:xfrm>
                  <a:off x="675455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2" name="Graphic 2080">
                <a:extLst>
                  <a:ext uri="{FF2B5EF4-FFF2-40B4-BE49-F238E27FC236}">
                    <a16:creationId xmlns:a16="http://schemas.microsoft.com/office/drawing/2014/main" id="{9588C7D6-6E36-9938-F4A5-73143BCB60CD}"/>
                  </a:ext>
                </a:extLst>
              </p:cNvPr>
              <p:cNvGrpSpPr/>
              <p:nvPr/>
            </p:nvGrpSpPr>
            <p:grpSpPr bwMode="gray">
              <a:xfrm>
                <a:off x="6743032" y="3874293"/>
                <a:ext cx="75723" cy="75723"/>
                <a:chOff x="6743032" y="3874293"/>
                <a:chExt cx="75723" cy="75723"/>
              </a:xfrm>
            </p:grpSpPr>
            <p:sp>
              <p:nvSpPr>
                <p:cNvPr id="12241" name="Freeform: Shape 12240">
                  <a:extLst>
                    <a:ext uri="{FF2B5EF4-FFF2-40B4-BE49-F238E27FC236}">
                      <a16:creationId xmlns:a16="http://schemas.microsoft.com/office/drawing/2014/main" id="{77D88AA5-4D5C-E324-1C72-4094B0D1F289}"/>
                    </a:ext>
                  </a:extLst>
                </p:cNvPr>
                <p:cNvSpPr/>
                <p:nvPr/>
              </p:nvSpPr>
              <p:spPr bwMode="gray">
                <a:xfrm>
                  <a:off x="678084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42" name="Freeform: Shape 12241">
                  <a:extLst>
                    <a:ext uri="{FF2B5EF4-FFF2-40B4-BE49-F238E27FC236}">
                      <a16:creationId xmlns:a16="http://schemas.microsoft.com/office/drawing/2014/main" id="{841403F4-5B8A-A4ED-E3C4-3EC1989A0EC7}"/>
                    </a:ext>
                  </a:extLst>
                </p:cNvPr>
                <p:cNvSpPr/>
                <p:nvPr/>
              </p:nvSpPr>
              <p:spPr bwMode="gray">
                <a:xfrm>
                  <a:off x="6743032"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3" name="Graphic 2080">
                <a:extLst>
                  <a:ext uri="{FF2B5EF4-FFF2-40B4-BE49-F238E27FC236}">
                    <a16:creationId xmlns:a16="http://schemas.microsoft.com/office/drawing/2014/main" id="{B4E714D0-DF0D-E2CC-60B4-1B53565578BB}"/>
                  </a:ext>
                </a:extLst>
              </p:cNvPr>
              <p:cNvGrpSpPr/>
              <p:nvPr/>
            </p:nvGrpSpPr>
            <p:grpSpPr bwMode="gray">
              <a:xfrm>
                <a:off x="6764940" y="3874293"/>
                <a:ext cx="75723" cy="75723"/>
                <a:chOff x="6764940" y="3874293"/>
                <a:chExt cx="75723" cy="75723"/>
              </a:xfrm>
            </p:grpSpPr>
            <p:sp>
              <p:nvSpPr>
                <p:cNvPr id="12239" name="Freeform: Shape 12238">
                  <a:extLst>
                    <a:ext uri="{FF2B5EF4-FFF2-40B4-BE49-F238E27FC236}">
                      <a16:creationId xmlns:a16="http://schemas.microsoft.com/office/drawing/2014/main" id="{75A18271-CE2D-A6D7-BBBF-1EA688F446DA}"/>
                    </a:ext>
                  </a:extLst>
                </p:cNvPr>
                <p:cNvSpPr/>
                <p:nvPr/>
              </p:nvSpPr>
              <p:spPr bwMode="gray">
                <a:xfrm>
                  <a:off x="6802754"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40" name="Freeform: Shape 12239">
                  <a:extLst>
                    <a:ext uri="{FF2B5EF4-FFF2-40B4-BE49-F238E27FC236}">
                      <a16:creationId xmlns:a16="http://schemas.microsoft.com/office/drawing/2014/main" id="{F73E43AB-FB31-ADE0-ACA5-80E0EE28A93B}"/>
                    </a:ext>
                  </a:extLst>
                </p:cNvPr>
                <p:cNvSpPr/>
                <p:nvPr/>
              </p:nvSpPr>
              <p:spPr bwMode="gray">
                <a:xfrm>
                  <a:off x="6764940"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4" name="Graphic 2080">
                <a:extLst>
                  <a:ext uri="{FF2B5EF4-FFF2-40B4-BE49-F238E27FC236}">
                    <a16:creationId xmlns:a16="http://schemas.microsoft.com/office/drawing/2014/main" id="{4C0AC497-1EAA-34C3-B4BC-50E92B0964B5}"/>
                  </a:ext>
                </a:extLst>
              </p:cNvPr>
              <p:cNvGrpSpPr/>
              <p:nvPr/>
            </p:nvGrpSpPr>
            <p:grpSpPr bwMode="gray">
              <a:xfrm>
                <a:off x="6780847" y="3874293"/>
                <a:ext cx="75723" cy="75723"/>
                <a:chOff x="6780847" y="3874293"/>
                <a:chExt cx="75723" cy="75723"/>
              </a:xfrm>
            </p:grpSpPr>
            <p:sp>
              <p:nvSpPr>
                <p:cNvPr id="12237" name="Freeform: Shape 12236">
                  <a:extLst>
                    <a:ext uri="{FF2B5EF4-FFF2-40B4-BE49-F238E27FC236}">
                      <a16:creationId xmlns:a16="http://schemas.microsoft.com/office/drawing/2014/main" id="{C917DA8A-7327-475C-03BA-B51ABC246B07}"/>
                    </a:ext>
                  </a:extLst>
                </p:cNvPr>
                <p:cNvSpPr/>
                <p:nvPr/>
              </p:nvSpPr>
              <p:spPr bwMode="gray">
                <a:xfrm>
                  <a:off x="681875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38" name="Freeform: Shape 12237">
                  <a:extLst>
                    <a:ext uri="{FF2B5EF4-FFF2-40B4-BE49-F238E27FC236}">
                      <a16:creationId xmlns:a16="http://schemas.microsoft.com/office/drawing/2014/main" id="{1E9962CE-A6DB-3B28-1770-05F3E02DB28E}"/>
                    </a:ext>
                  </a:extLst>
                </p:cNvPr>
                <p:cNvSpPr/>
                <p:nvPr/>
              </p:nvSpPr>
              <p:spPr bwMode="gray">
                <a:xfrm>
                  <a:off x="6780847"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5" name="Graphic 2080">
                <a:extLst>
                  <a:ext uri="{FF2B5EF4-FFF2-40B4-BE49-F238E27FC236}">
                    <a16:creationId xmlns:a16="http://schemas.microsoft.com/office/drawing/2014/main" id="{9936B027-EF76-3D51-37D5-934D680F7B1C}"/>
                  </a:ext>
                </a:extLst>
              </p:cNvPr>
              <p:cNvGrpSpPr/>
              <p:nvPr/>
            </p:nvGrpSpPr>
            <p:grpSpPr bwMode="gray">
              <a:xfrm>
                <a:off x="6791229" y="3874293"/>
                <a:ext cx="75723" cy="75723"/>
                <a:chOff x="6791229" y="3874293"/>
                <a:chExt cx="75723" cy="75723"/>
              </a:xfrm>
            </p:grpSpPr>
            <p:sp>
              <p:nvSpPr>
                <p:cNvPr id="12235" name="Freeform: Shape 12234">
                  <a:extLst>
                    <a:ext uri="{FF2B5EF4-FFF2-40B4-BE49-F238E27FC236}">
                      <a16:creationId xmlns:a16="http://schemas.microsoft.com/office/drawing/2014/main" id="{5F4CCC4E-A8D2-BC25-6071-CB56B0138FD6}"/>
                    </a:ext>
                  </a:extLst>
                </p:cNvPr>
                <p:cNvSpPr/>
                <p:nvPr/>
              </p:nvSpPr>
              <p:spPr bwMode="gray">
                <a:xfrm>
                  <a:off x="682904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36" name="Freeform: Shape 12235">
                  <a:extLst>
                    <a:ext uri="{FF2B5EF4-FFF2-40B4-BE49-F238E27FC236}">
                      <a16:creationId xmlns:a16="http://schemas.microsoft.com/office/drawing/2014/main" id="{46A3C58D-ECBE-47AA-6B98-696FFD81A066}"/>
                    </a:ext>
                  </a:extLst>
                </p:cNvPr>
                <p:cNvSpPr/>
                <p:nvPr/>
              </p:nvSpPr>
              <p:spPr bwMode="gray">
                <a:xfrm>
                  <a:off x="679122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6" name="Graphic 2080">
                <a:extLst>
                  <a:ext uri="{FF2B5EF4-FFF2-40B4-BE49-F238E27FC236}">
                    <a16:creationId xmlns:a16="http://schemas.microsoft.com/office/drawing/2014/main" id="{FC664EDA-AAC6-73DB-644E-4385F12328D8}"/>
                  </a:ext>
                </a:extLst>
              </p:cNvPr>
              <p:cNvGrpSpPr/>
              <p:nvPr/>
            </p:nvGrpSpPr>
            <p:grpSpPr bwMode="gray">
              <a:xfrm>
                <a:off x="7136224" y="3948207"/>
                <a:ext cx="75723" cy="75723"/>
                <a:chOff x="7136224" y="3948207"/>
                <a:chExt cx="75723" cy="75723"/>
              </a:xfrm>
            </p:grpSpPr>
            <p:sp>
              <p:nvSpPr>
                <p:cNvPr id="12233" name="Freeform: Shape 12232">
                  <a:extLst>
                    <a:ext uri="{FF2B5EF4-FFF2-40B4-BE49-F238E27FC236}">
                      <a16:creationId xmlns:a16="http://schemas.microsoft.com/office/drawing/2014/main" id="{10C7B3F0-40CE-84B7-BCFB-6A12F22A9DB9}"/>
                    </a:ext>
                  </a:extLst>
                </p:cNvPr>
                <p:cNvSpPr/>
                <p:nvPr/>
              </p:nvSpPr>
              <p:spPr bwMode="gray">
                <a:xfrm>
                  <a:off x="717413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34" name="Freeform: Shape 12233">
                  <a:extLst>
                    <a:ext uri="{FF2B5EF4-FFF2-40B4-BE49-F238E27FC236}">
                      <a16:creationId xmlns:a16="http://schemas.microsoft.com/office/drawing/2014/main" id="{295F68E9-68EE-884A-ED09-02B255D3F73C}"/>
                    </a:ext>
                  </a:extLst>
                </p:cNvPr>
                <p:cNvSpPr/>
                <p:nvPr/>
              </p:nvSpPr>
              <p:spPr bwMode="gray">
                <a:xfrm>
                  <a:off x="7136224"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7" name="Graphic 2080">
                <a:extLst>
                  <a:ext uri="{FF2B5EF4-FFF2-40B4-BE49-F238E27FC236}">
                    <a16:creationId xmlns:a16="http://schemas.microsoft.com/office/drawing/2014/main" id="{AED0ABC8-C276-7221-7969-4D1C4F72B9B1}"/>
                  </a:ext>
                </a:extLst>
              </p:cNvPr>
              <p:cNvGrpSpPr/>
              <p:nvPr/>
            </p:nvGrpSpPr>
            <p:grpSpPr bwMode="gray">
              <a:xfrm>
                <a:off x="7102030" y="3948207"/>
                <a:ext cx="75628" cy="75723"/>
                <a:chOff x="7102030" y="3948207"/>
                <a:chExt cx="75628" cy="75723"/>
              </a:xfrm>
            </p:grpSpPr>
            <p:sp>
              <p:nvSpPr>
                <p:cNvPr id="12231" name="Freeform: Shape 12230">
                  <a:extLst>
                    <a:ext uri="{FF2B5EF4-FFF2-40B4-BE49-F238E27FC236}">
                      <a16:creationId xmlns:a16="http://schemas.microsoft.com/office/drawing/2014/main" id="{AD159036-4134-13B4-C575-67FC61ED578D}"/>
                    </a:ext>
                  </a:extLst>
                </p:cNvPr>
                <p:cNvSpPr/>
                <p:nvPr/>
              </p:nvSpPr>
              <p:spPr bwMode="gray">
                <a:xfrm>
                  <a:off x="713984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32" name="Freeform: Shape 12231">
                  <a:extLst>
                    <a:ext uri="{FF2B5EF4-FFF2-40B4-BE49-F238E27FC236}">
                      <a16:creationId xmlns:a16="http://schemas.microsoft.com/office/drawing/2014/main" id="{248D56AB-A653-8A56-662A-790E5DAAB74E}"/>
                    </a:ext>
                  </a:extLst>
                </p:cNvPr>
                <p:cNvSpPr/>
                <p:nvPr/>
              </p:nvSpPr>
              <p:spPr bwMode="gray">
                <a:xfrm>
                  <a:off x="7102030" y="39860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8" name="Graphic 2080">
                <a:extLst>
                  <a:ext uri="{FF2B5EF4-FFF2-40B4-BE49-F238E27FC236}">
                    <a16:creationId xmlns:a16="http://schemas.microsoft.com/office/drawing/2014/main" id="{84871112-5016-4DD1-C148-66842A6D797D}"/>
                  </a:ext>
                </a:extLst>
              </p:cNvPr>
              <p:cNvGrpSpPr/>
              <p:nvPr/>
            </p:nvGrpSpPr>
            <p:grpSpPr bwMode="gray">
              <a:xfrm>
                <a:off x="7068978" y="3948207"/>
                <a:ext cx="75723" cy="75723"/>
                <a:chOff x="7068978" y="3948207"/>
                <a:chExt cx="75723" cy="75723"/>
              </a:xfrm>
            </p:grpSpPr>
            <p:sp>
              <p:nvSpPr>
                <p:cNvPr id="12229" name="Freeform: Shape 12228">
                  <a:extLst>
                    <a:ext uri="{FF2B5EF4-FFF2-40B4-BE49-F238E27FC236}">
                      <a16:creationId xmlns:a16="http://schemas.microsoft.com/office/drawing/2014/main" id="{69CCB487-0269-AB89-EC84-41A109BA8AA3}"/>
                    </a:ext>
                  </a:extLst>
                </p:cNvPr>
                <p:cNvSpPr/>
                <p:nvPr/>
              </p:nvSpPr>
              <p:spPr bwMode="gray">
                <a:xfrm>
                  <a:off x="7106792"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30" name="Freeform: Shape 12229">
                  <a:extLst>
                    <a:ext uri="{FF2B5EF4-FFF2-40B4-BE49-F238E27FC236}">
                      <a16:creationId xmlns:a16="http://schemas.microsoft.com/office/drawing/2014/main" id="{02C986A2-8549-55B8-6AD2-4C5BB75935C8}"/>
                    </a:ext>
                  </a:extLst>
                </p:cNvPr>
                <p:cNvSpPr/>
                <p:nvPr/>
              </p:nvSpPr>
              <p:spPr bwMode="gray">
                <a:xfrm>
                  <a:off x="7068978"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39" name="Graphic 2080">
                <a:extLst>
                  <a:ext uri="{FF2B5EF4-FFF2-40B4-BE49-F238E27FC236}">
                    <a16:creationId xmlns:a16="http://schemas.microsoft.com/office/drawing/2014/main" id="{3DC6A020-2AE0-A00E-06F6-E61F3DD59F68}"/>
                  </a:ext>
                </a:extLst>
              </p:cNvPr>
              <p:cNvGrpSpPr/>
              <p:nvPr/>
            </p:nvGrpSpPr>
            <p:grpSpPr bwMode="gray">
              <a:xfrm>
                <a:off x="7046689" y="3948207"/>
                <a:ext cx="75723" cy="75723"/>
                <a:chOff x="7046689" y="3948207"/>
                <a:chExt cx="75723" cy="75723"/>
              </a:xfrm>
            </p:grpSpPr>
            <p:sp>
              <p:nvSpPr>
                <p:cNvPr id="12227" name="Freeform: Shape 12226">
                  <a:extLst>
                    <a:ext uri="{FF2B5EF4-FFF2-40B4-BE49-F238E27FC236}">
                      <a16:creationId xmlns:a16="http://schemas.microsoft.com/office/drawing/2014/main" id="{7F04E1C6-E314-1D09-6D5F-F3D70AFE8FFF}"/>
                    </a:ext>
                  </a:extLst>
                </p:cNvPr>
                <p:cNvSpPr/>
                <p:nvPr/>
              </p:nvSpPr>
              <p:spPr bwMode="gray">
                <a:xfrm>
                  <a:off x="708450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28" name="Freeform: Shape 12227">
                  <a:extLst>
                    <a:ext uri="{FF2B5EF4-FFF2-40B4-BE49-F238E27FC236}">
                      <a16:creationId xmlns:a16="http://schemas.microsoft.com/office/drawing/2014/main" id="{3E65F1A6-4F59-E99B-DCD3-E07D290C1E3F}"/>
                    </a:ext>
                  </a:extLst>
                </p:cNvPr>
                <p:cNvSpPr/>
                <p:nvPr/>
              </p:nvSpPr>
              <p:spPr bwMode="gray">
                <a:xfrm>
                  <a:off x="7046689"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0" name="Graphic 2080">
                <a:extLst>
                  <a:ext uri="{FF2B5EF4-FFF2-40B4-BE49-F238E27FC236}">
                    <a16:creationId xmlns:a16="http://schemas.microsoft.com/office/drawing/2014/main" id="{237121A6-290F-AD6A-EEDF-FA3C4C646979}"/>
                  </a:ext>
                </a:extLst>
              </p:cNvPr>
              <p:cNvGrpSpPr/>
              <p:nvPr/>
            </p:nvGrpSpPr>
            <p:grpSpPr bwMode="gray">
              <a:xfrm>
                <a:off x="7234808" y="3971638"/>
                <a:ext cx="75723" cy="75723"/>
                <a:chOff x="7234808" y="3971638"/>
                <a:chExt cx="75723" cy="75723"/>
              </a:xfrm>
            </p:grpSpPr>
            <p:sp>
              <p:nvSpPr>
                <p:cNvPr id="12225" name="Freeform: Shape 12224">
                  <a:extLst>
                    <a:ext uri="{FF2B5EF4-FFF2-40B4-BE49-F238E27FC236}">
                      <a16:creationId xmlns:a16="http://schemas.microsoft.com/office/drawing/2014/main" id="{337D47A4-A912-1748-C9CF-EEF9B9A73688}"/>
                    </a:ext>
                  </a:extLst>
                </p:cNvPr>
                <p:cNvSpPr/>
                <p:nvPr/>
              </p:nvSpPr>
              <p:spPr bwMode="gray">
                <a:xfrm>
                  <a:off x="7272718"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26" name="Freeform: Shape 12225">
                  <a:extLst>
                    <a:ext uri="{FF2B5EF4-FFF2-40B4-BE49-F238E27FC236}">
                      <a16:creationId xmlns:a16="http://schemas.microsoft.com/office/drawing/2014/main" id="{631A520F-8EAA-8511-197B-72C8E6E79597}"/>
                    </a:ext>
                  </a:extLst>
                </p:cNvPr>
                <p:cNvSpPr/>
                <p:nvPr/>
              </p:nvSpPr>
              <p:spPr bwMode="gray">
                <a:xfrm>
                  <a:off x="7234808"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1" name="Graphic 2080">
                <a:extLst>
                  <a:ext uri="{FF2B5EF4-FFF2-40B4-BE49-F238E27FC236}">
                    <a16:creationId xmlns:a16="http://schemas.microsoft.com/office/drawing/2014/main" id="{5FD5F02A-658A-9862-C049-CD7A25B9EE70}"/>
                  </a:ext>
                </a:extLst>
              </p:cNvPr>
              <p:cNvGrpSpPr/>
              <p:nvPr/>
            </p:nvGrpSpPr>
            <p:grpSpPr bwMode="gray">
              <a:xfrm>
                <a:off x="7319581" y="3971638"/>
                <a:ext cx="75628" cy="75723"/>
                <a:chOff x="7319581" y="3971638"/>
                <a:chExt cx="75628" cy="75723"/>
              </a:xfrm>
            </p:grpSpPr>
            <p:sp>
              <p:nvSpPr>
                <p:cNvPr id="12223" name="Freeform: Shape 12222">
                  <a:extLst>
                    <a:ext uri="{FF2B5EF4-FFF2-40B4-BE49-F238E27FC236}">
                      <a16:creationId xmlns:a16="http://schemas.microsoft.com/office/drawing/2014/main" id="{A7A1EEAF-DF8F-4EAD-2D28-25300FBE6C59}"/>
                    </a:ext>
                  </a:extLst>
                </p:cNvPr>
                <p:cNvSpPr/>
                <p:nvPr/>
              </p:nvSpPr>
              <p:spPr bwMode="gray">
                <a:xfrm>
                  <a:off x="7357395"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24" name="Freeform: Shape 12223">
                  <a:extLst>
                    <a:ext uri="{FF2B5EF4-FFF2-40B4-BE49-F238E27FC236}">
                      <a16:creationId xmlns:a16="http://schemas.microsoft.com/office/drawing/2014/main" id="{2CD7E7A6-1260-B1C4-2467-C0748E18C5BE}"/>
                    </a:ext>
                  </a:extLst>
                </p:cNvPr>
                <p:cNvSpPr/>
                <p:nvPr/>
              </p:nvSpPr>
              <p:spPr bwMode="gray">
                <a:xfrm>
                  <a:off x="7319581" y="4009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2" name="Graphic 2080">
                <a:extLst>
                  <a:ext uri="{FF2B5EF4-FFF2-40B4-BE49-F238E27FC236}">
                    <a16:creationId xmlns:a16="http://schemas.microsoft.com/office/drawing/2014/main" id="{7CCAC721-2BC8-A420-513E-BE699696A6E0}"/>
                  </a:ext>
                </a:extLst>
              </p:cNvPr>
              <p:cNvGrpSpPr/>
              <p:nvPr/>
            </p:nvGrpSpPr>
            <p:grpSpPr bwMode="gray">
              <a:xfrm>
                <a:off x="7293292" y="3971638"/>
                <a:ext cx="75628" cy="75723"/>
                <a:chOff x="7293292" y="3971638"/>
                <a:chExt cx="75628" cy="75723"/>
              </a:xfrm>
            </p:grpSpPr>
            <p:sp>
              <p:nvSpPr>
                <p:cNvPr id="12221" name="Freeform: Shape 12220">
                  <a:extLst>
                    <a:ext uri="{FF2B5EF4-FFF2-40B4-BE49-F238E27FC236}">
                      <a16:creationId xmlns:a16="http://schemas.microsoft.com/office/drawing/2014/main" id="{A4E1E76F-4D66-BC22-85D9-2DE4BA3251A9}"/>
                    </a:ext>
                  </a:extLst>
                </p:cNvPr>
                <p:cNvSpPr/>
                <p:nvPr/>
              </p:nvSpPr>
              <p:spPr bwMode="gray">
                <a:xfrm>
                  <a:off x="7331106"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22" name="Freeform: Shape 12221">
                  <a:extLst>
                    <a:ext uri="{FF2B5EF4-FFF2-40B4-BE49-F238E27FC236}">
                      <a16:creationId xmlns:a16="http://schemas.microsoft.com/office/drawing/2014/main" id="{5F0A53F6-3A19-99CF-127E-6D85FC3DEC8D}"/>
                    </a:ext>
                  </a:extLst>
                </p:cNvPr>
                <p:cNvSpPr/>
                <p:nvPr/>
              </p:nvSpPr>
              <p:spPr bwMode="gray">
                <a:xfrm>
                  <a:off x="7293292"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3" name="Graphic 2080">
                <a:extLst>
                  <a:ext uri="{FF2B5EF4-FFF2-40B4-BE49-F238E27FC236}">
                    <a16:creationId xmlns:a16="http://schemas.microsoft.com/office/drawing/2014/main" id="{B0C91342-9542-8207-7585-5EABBF5670B5}"/>
                  </a:ext>
                </a:extLst>
              </p:cNvPr>
              <p:cNvGrpSpPr/>
              <p:nvPr/>
            </p:nvGrpSpPr>
            <p:grpSpPr bwMode="gray">
              <a:xfrm>
                <a:off x="7272718" y="3971638"/>
                <a:ext cx="75628" cy="75723"/>
                <a:chOff x="7272718" y="3971638"/>
                <a:chExt cx="75628" cy="75723"/>
              </a:xfrm>
            </p:grpSpPr>
            <p:sp>
              <p:nvSpPr>
                <p:cNvPr id="12219" name="Freeform: Shape 12218">
                  <a:extLst>
                    <a:ext uri="{FF2B5EF4-FFF2-40B4-BE49-F238E27FC236}">
                      <a16:creationId xmlns:a16="http://schemas.microsoft.com/office/drawing/2014/main" id="{154769EB-F1E2-3A1E-CD0D-A04A0F632ABA}"/>
                    </a:ext>
                  </a:extLst>
                </p:cNvPr>
                <p:cNvSpPr/>
                <p:nvPr/>
              </p:nvSpPr>
              <p:spPr bwMode="gray">
                <a:xfrm>
                  <a:off x="7310532"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20" name="Freeform: Shape 12219">
                  <a:extLst>
                    <a:ext uri="{FF2B5EF4-FFF2-40B4-BE49-F238E27FC236}">
                      <a16:creationId xmlns:a16="http://schemas.microsoft.com/office/drawing/2014/main" id="{CE45170E-F80C-5DBC-57DA-CE5D972398D2}"/>
                    </a:ext>
                  </a:extLst>
                </p:cNvPr>
                <p:cNvSpPr/>
                <p:nvPr/>
              </p:nvSpPr>
              <p:spPr bwMode="gray">
                <a:xfrm>
                  <a:off x="7272718"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4" name="Graphic 2080">
                <a:extLst>
                  <a:ext uri="{FF2B5EF4-FFF2-40B4-BE49-F238E27FC236}">
                    <a16:creationId xmlns:a16="http://schemas.microsoft.com/office/drawing/2014/main" id="{0B8B4E95-4AF7-EFFF-F906-FD062A4B6228}"/>
                  </a:ext>
                </a:extLst>
              </p:cNvPr>
              <p:cNvGrpSpPr/>
              <p:nvPr/>
            </p:nvGrpSpPr>
            <p:grpSpPr bwMode="gray">
              <a:xfrm>
                <a:off x="7247381" y="3971638"/>
                <a:ext cx="75723" cy="75723"/>
                <a:chOff x="7247381" y="3971638"/>
                <a:chExt cx="75723" cy="75723"/>
              </a:xfrm>
            </p:grpSpPr>
            <p:sp>
              <p:nvSpPr>
                <p:cNvPr id="12217" name="Freeform: Shape 12216">
                  <a:extLst>
                    <a:ext uri="{FF2B5EF4-FFF2-40B4-BE49-F238E27FC236}">
                      <a16:creationId xmlns:a16="http://schemas.microsoft.com/office/drawing/2014/main" id="{A2237FE8-F77F-7B90-E69F-E02C76C97727}"/>
                    </a:ext>
                  </a:extLst>
                </p:cNvPr>
                <p:cNvSpPr/>
                <p:nvPr/>
              </p:nvSpPr>
              <p:spPr bwMode="gray">
                <a:xfrm>
                  <a:off x="7285291"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18" name="Freeform: Shape 12217">
                  <a:extLst>
                    <a:ext uri="{FF2B5EF4-FFF2-40B4-BE49-F238E27FC236}">
                      <a16:creationId xmlns:a16="http://schemas.microsoft.com/office/drawing/2014/main" id="{FD01C97D-3DA7-177B-D7C6-EEA777ABFE1B}"/>
                    </a:ext>
                  </a:extLst>
                </p:cNvPr>
                <p:cNvSpPr/>
                <p:nvPr/>
              </p:nvSpPr>
              <p:spPr bwMode="gray">
                <a:xfrm>
                  <a:off x="7247381"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5" name="Graphic 2080">
                <a:extLst>
                  <a:ext uri="{FF2B5EF4-FFF2-40B4-BE49-F238E27FC236}">
                    <a16:creationId xmlns:a16="http://schemas.microsoft.com/office/drawing/2014/main" id="{C35D1751-B798-F07C-44EC-C149A3DF52BD}"/>
                  </a:ext>
                </a:extLst>
              </p:cNvPr>
              <p:cNvGrpSpPr/>
              <p:nvPr/>
            </p:nvGrpSpPr>
            <p:grpSpPr bwMode="gray">
              <a:xfrm>
                <a:off x="7574946" y="4039266"/>
                <a:ext cx="75628" cy="75628"/>
                <a:chOff x="7574946" y="4039266"/>
                <a:chExt cx="75628" cy="75628"/>
              </a:xfrm>
            </p:grpSpPr>
            <p:sp>
              <p:nvSpPr>
                <p:cNvPr id="12215" name="Freeform: Shape 12214">
                  <a:extLst>
                    <a:ext uri="{FF2B5EF4-FFF2-40B4-BE49-F238E27FC236}">
                      <a16:creationId xmlns:a16="http://schemas.microsoft.com/office/drawing/2014/main" id="{F2528BDE-744E-4B8A-2213-B1CACCB25A87}"/>
                    </a:ext>
                  </a:extLst>
                </p:cNvPr>
                <p:cNvSpPr/>
                <p:nvPr/>
              </p:nvSpPr>
              <p:spPr bwMode="gray">
                <a:xfrm>
                  <a:off x="761276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16" name="Freeform: Shape 12215">
                  <a:extLst>
                    <a:ext uri="{FF2B5EF4-FFF2-40B4-BE49-F238E27FC236}">
                      <a16:creationId xmlns:a16="http://schemas.microsoft.com/office/drawing/2014/main" id="{07DEBBD9-30B2-9B11-1B62-E05CC22A4289}"/>
                    </a:ext>
                  </a:extLst>
                </p:cNvPr>
                <p:cNvSpPr/>
                <p:nvPr/>
              </p:nvSpPr>
              <p:spPr bwMode="gray">
                <a:xfrm>
                  <a:off x="7574946" y="407708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6" name="Graphic 2080">
                <a:extLst>
                  <a:ext uri="{FF2B5EF4-FFF2-40B4-BE49-F238E27FC236}">
                    <a16:creationId xmlns:a16="http://schemas.microsoft.com/office/drawing/2014/main" id="{7609AE40-17DD-3F37-DD99-B7B592EEB4B0}"/>
                  </a:ext>
                </a:extLst>
              </p:cNvPr>
              <p:cNvGrpSpPr/>
              <p:nvPr/>
            </p:nvGrpSpPr>
            <p:grpSpPr bwMode="gray">
              <a:xfrm>
                <a:off x="7542085" y="4039266"/>
                <a:ext cx="75723" cy="75628"/>
                <a:chOff x="7542085" y="4039266"/>
                <a:chExt cx="75723" cy="75628"/>
              </a:xfrm>
            </p:grpSpPr>
            <p:sp>
              <p:nvSpPr>
                <p:cNvPr id="12213" name="Freeform: Shape 12212">
                  <a:extLst>
                    <a:ext uri="{FF2B5EF4-FFF2-40B4-BE49-F238E27FC236}">
                      <a16:creationId xmlns:a16="http://schemas.microsoft.com/office/drawing/2014/main" id="{6581CEAA-724C-F948-30A7-735F856EFC5C}"/>
                    </a:ext>
                  </a:extLst>
                </p:cNvPr>
                <p:cNvSpPr/>
                <p:nvPr/>
              </p:nvSpPr>
              <p:spPr bwMode="gray">
                <a:xfrm>
                  <a:off x="7579899"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14" name="Freeform: Shape 12213">
                  <a:extLst>
                    <a:ext uri="{FF2B5EF4-FFF2-40B4-BE49-F238E27FC236}">
                      <a16:creationId xmlns:a16="http://schemas.microsoft.com/office/drawing/2014/main" id="{FE983A1B-730C-08DA-67AD-65E2DE90119E}"/>
                    </a:ext>
                  </a:extLst>
                </p:cNvPr>
                <p:cNvSpPr/>
                <p:nvPr/>
              </p:nvSpPr>
              <p:spPr bwMode="gray">
                <a:xfrm>
                  <a:off x="7542085"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7" name="Graphic 2080">
                <a:extLst>
                  <a:ext uri="{FF2B5EF4-FFF2-40B4-BE49-F238E27FC236}">
                    <a16:creationId xmlns:a16="http://schemas.microsoft.com/office/drawing/2014/main" id="{49FB44DC-4EEC-3607-ECD0-4049EB5F8725}"/>
                  </a:ext>
                </a:extLst>
              </p:cNvPr>
              <p:cNvGrpSpPr/>
              <p:nvPr/>
            </p:nvGrpSpPr>
            <p:grpSpPr bwMode="gray">
              <a:xfrm>
                <a:off x="7499222" y="4039266"/>
                <a:ext cx="75723" cy="75628"/>
                <a:chOff x="7499222" y="4039266"/>
                <a:chExt cx="75723" cy="75628"/>
              </a:xfrm>
            </p:grpSpPr>
            <p:sp>
              <p:nvSpPr>
                <p:cNvPr id="12211" name="Freeform: Shape 12210">
                  <a:extLst>
                    <a:ext uri="{FF2B5EF4-FFF2-40B4-BE49-F238E27FC236}">
                      <a16:creationId xmlns:a16="http://schemas.microsoft.com/office/drawing/2014/main" id="{E74A697A-D39F-3C0B-983C-329A8C7218A3}"/>
                    </a:ext>
                  </a:extLst>
                </p:cNvPr>
                <p:cNvSpPr/>
                <p:nvPr/>
              </p:nvSpPr>
              <p:spPr bwMode="gray">
                <a:xfrm>
                  <a:off x="7537036"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12" name="Freeform: Shape 12211">
                  <a:extLst>
                    <a:ext uri="{FF2B5EF4-FFF2-40B4-BE49-F238E27FC236}">
                      <a16:creationId xmlns:a16="http://schemas.microsoft.com/office/drawing/2014/main" id="{0F086897-7E0B-44CA-B466-4789C499367D}"/>
                    </a:ext>
                  </a:extLst>
                </p:cNvPr>
                <p:cNvSpPr/>
                <p:nvPr/>
              </p:nvSpPr>
              <p:spPr bwMode="gray">
                <a:xfrm>
                  <a:off x="7499222"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8" name="Graphic 2080">
                <a:extLst>
                  <a:ext uri="{FF2B5EF4-FFF2-40B4-BE49-F238E27FC236}">
                    <a16:creationId xmlns:a16="http://schemas.microsoft.com/office/drawing/2014/main" id="{A171F25E-B0CF-D809-8997-B174B9C694C6}"/>
                  </a:ext>
                </a:extLst>
              </p:cNvPr>
              <p:cNvGrpSpPr/>
              <p:nvPr/>
            </p:nvGrpSpPr>
            <p:grpSpPr bwMode="gray">
              <a:xfrm>
                <a:off x="7439977" y="4039552"/>
                <a:ext cx="75628" cy="75628"/>
                <a:chOff x="7439977" y="4039552"/>
                <a:chExt cx="75628" cy="75628"/>
              </a:xfrm>
            </p:grpSpPr>
            <p:sp>
              <p:nvSpPr>
                <p:cNvPr id="12209" name="Freeform: Shape 12208">
                  <a:extLst>
                    <a:ext uri="{FF2B5EF4-FFF2-40B4-BE49-F238E27FC236}">
                      <a16:creationId xmlns:a16="http://schemas.microsoft.com/office/drawing/2014/main" id="{EC79C3B9-BD70-FBFD-D5F4-09D4F32A1649}"/>
                    </a:ext>
                  </a:extLst>
                </p:cNvPr>
                <p:cNvSpPr/>
                <p:nvPr/>
              </p:nvSpPr>
              <p:spPr bwMode="gray">
                <a:xfrm>
                  <a:off x="7477791"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10" name="Freeform: Shape 12209">
                  <a:extLst>
                    <a:ext uri="{FF2B5EF4-FFF2-40B4-BE49-F238E27FC236}">
                      <a16:creationId xmlns:a16="http://schemas.microsoft.com/office/drawing/2014/main" id="{774AC8C6-5812-F443-F58C-86254812BD68}"/>
                    </a:ext>
                  </a:extLst>
                </p:cNvPr>
                <p:cNvSpPr/>
                <p:nvPr/>
              </p:nvSpPr>
              <p:spPr bwMode="gray">
                <a:xfrm>
                  <a:off x="7439977"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49" name="Graphic 2080">
                <a:extLst>
                  <a:ext uri="{FF2B5EF4-FFF2-40B4-BE49-F238E27FC236}">
                    <a16:creationId xmlns:a16="http://schemas.microsoft.com/office/drawing/2014/main" id="{BB1FFEE3-ECE5-3EE9-FE32-992D942D4BAB}"/>
                  </a:ext>
                </a:extLst>
              </p:cNvPr>
              <p:cNvGrpSpPr/>
              <p:nvPr/>
            </p:nvGrpSpPr>
            <p:grpSpPr bwMode="gray">
              <a:xfrm>
                <a:off x="7455883" y="4039552"/>
                <a:ext cx="75723" cy="75628"/>
                <a:chOff x="7455883" y="4039552"/>
                <a:chExt cx="75723" cy="75628"/>
              </a:xfrm>
            </p:grpSpPr>
            <p:sp>
              <p:nvSpPr>
                <p:cNvPr id="12207" name="Freeform: Shape 12206">
                  <a:extLst>
                    <a:ext uri="{FF2B5EF4-FFF2-40B4-BE49-F238E27FC236}">
                      <a16:creationId xmlns:a16="http://schemas.microsoft.com/office/drawing/2014/main" id="{3684832E-1D32-13F9-7659-D20395F066FC}"/>
                    </a:ext>
                  </a:extLst>
                </p:cNvPr>
                <p:cNvSpPr/>
                <p:nvPr/>
              </p:nvSpPr>
              <p:spPr bwMode="gray">
                <a:xfrm>
                  <a:off x="7493698"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08" name="Freeform: Shape 12207">
                  <a:extLst>
                    <a:ext uri="{FF2B5EF4-FFF2-40B4-BE49-F238E27FC236}">
                      <a16:creationId xmlns:a16="http://schemas.microsoft.com/office/drawing/2014/main" id="{42CD8F43-57B6-7E63-96F4-4F58A2C1F2C4}"/>
                    </a:ext>
                  </a:extLst>
                </p:cNvPr>
                <p:cNvSpPr/>
                <p:nvPr/>
              </p:nvSpPr>
              <p:spPr bwMode="gray">
                <a:xfrm>
                  <a:off x="7455883" y="40773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0" name="Graphic 2080">
                <a:extLst>
                  <a:ext uri="{FF2B5EF4-FFF2-40B4-BE49-F238E27FC236}">
                    <a16:creationId xmlns:a16="http://schemas.microsoft.com/office/drawing/2014/main" id="{A920243E-6A00-F56C-C419-027461720E8C}"/>
                  </a:ext>
                </a:extLst>
              </p:cNvPr>
              <p:cNvGrpSpPr/>
              <p:nvPr/>
            </p:nvGrpSpPr>
            <p:grpSpPr bwMode="gray">
              <a:xfrm>
                <a:off x="7471885" y="4039552"/>
                <a:ext cx="75628" cy="75628"/>
                <a:chOff x="7471885" y="4039552"/>
                <a:chExt cx="75628" cy="75628"/>
              </a:xfrm>
            </p:grpSpPr>
            <p:sp>
              <p:nvSpPr>
                <p:cNvPr id="12205" name="Freeform: Shape 12204">
                  <a:extLst>
                    <a:ext uri="{FF2B5EF4-FFF2-40B4-BE49-F238E27FC236}">
                      <a16:creationId xmlns:a16="http://schemas.microsoft.com/office/drawing/2014/main" id="{1F88D6E1-4854-1AFA-7680-D67DD7E52272}"/>
                    </a:ext>
                  </a:extLst>
                </p:cNvPr>
                <p:cNvSpPr/>
                <p:nvPr/>
              </p:nvSpPr>
              <p:spPr bwMode="gray">
                <a:xfrm>
                  <a:off x="7509700"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06" name="Freeform: Shape 12205">
                  <a:extLst>
                    <a:ext uri="{FF2B5EF4-FFF2-40B4-BE49-F238E27FC236}">
                      <a16:creationId xmlns:a16="http://schemas.microsoft.com/office/drawing/2014/main" id="{CB5D5EF2-9E46-6C33-F4AF-70D13C337563}"/>
                    </a:ext>
                  </a:extLst>
                </p:cNvPr>
                <p:cNvSpPr/>
                <p:nvPr/>
              </p:nvSpPr>
              <p:spPr bwMode="gray">
                <a:xfrm>
                  <a:off x="7471885"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1" name="Graphic 2080">
                <a:extLst>
                  <a:ext uri="{FF2B5EF4-FFF2-40B4-BE49-F238E27FC236}">
                    <a16:creationId xmlns:a16="http://schemas.microsoft.com/office/drawing/2014/main" id="{7616ACE3-8C09-CDF8-8A87-4FCE673135AC}"/>
                  </a:ext>
                </a:extLst>
              </p:cNvPr>
              <p:cNvGrpSpPr/>
              <p:nvPr/>
            </p:nvGrpSpPr>
            <p:grpSpPr bwMode="gray">
              <a:xfrm>
                <a:off x="7701343" y="4077080"/>
                <a:ext cx="75723" cy="75723"/>
                <a:chOff x="7701343" y="4077080"/>
                <a:chExt cx="75723" cy="75723"/>
              </a:xfrm>
            </p:grpSpPr>
            <p:sp>
              <p:nvSpPr>
                <p:cNvPr id="12203" name="Freeform: Shape 12202">
                  <a:extLst>
                    <a:ext uri="{FF2B5EF4-FFF2-40B4-BE49-F238E27FC236}">
                      <a16:creationId xmlns:a16="http://schemas.microsoft.com/office/drawing/2014/main" id="{C3967C5F-A866-6F9E-E19E-890CCEEC27B1}"/>
                    </a:ext>
                  </a:extLst>
                </p:cNvPr>
                <p:cNvSpPr/>
                <p:nvPr/>
              </p:nvSpPr>
              <p:spPr bwMode="gray">
                <a:xfrm>
                  <a:off x="773925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04" name="Freeform: Shape 12203">
                  <a:extLst>
                    <a:ext uri="{FF2B5EF4-FFF2-40B4-BE49-F238E27FC236}">
                      <a16:creationId xmlns:a16="http://schemas.microsoft.com/office/drawing/2014/main" id="{BADCFBFE-E820-A6B3-8A58-A890A958A698}"/>
                    </a:ext>
                  </a:extLst>
                </p:cNvPr>
                <p:cNvSpPr/>
                <p:nvPr/>
              </p:nvSpPr>
              <p:spPr bwMode="gray">
                <a:xfrm>
                  <a:off x="7701343"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2" name="Graphic 2080">
                <a:extLst>
                  <a:ext uri="{FF2B5EF4-FFF2-40B4-BE49-F238E27FC236}">
                    <a16:creationId xmlns:a16="http://schemas.microsoft.com/office/drawing/2014/main" id="{55BE4CBB-E8E1-2CD2-5A1A-683831F16539}"/>
                  </a:ext>
                </a:extLst>
              </p:cNvPr>
              <p:cNvGrpSpPr/>
              <p:nvPr/>
            </p:nvGrpSpPr>
            <p:grpSpPr bwMode="gray">
              <a:xfrm>
                <a:off x="7768589" y="4077080"/>
                <a:ext cx="75628" cy="75723"/>
                <a:chOff x="7768589" y="4077080"/>
                <a:chExt cx="75628" cy="75723"/>
              </a:xfrm>
            </p:grpSpPr>
            <p:sp>
              <p:nvSpPr>
                <p:cNvPr id="12201" name="Freeform: Shape 12200">
                  <a:extLst>
                    <a:ext uri="{FF2B5EF4-FFF2-40B4-BE49-F238E27FC236}">
                      <a16:creationId xmlns:a16="http://schemas.microsoft.com/office/drawing/2014/main" id="{D357DDEC-6F1D-1724-0B05-2E60DEC80E8D}"/>
                    </a:ext>
                  </a:extLst>
                </p:cNvPr>
                <p:cNvSpPr/>
                <p:nvPr/>
              </p:nvSpPr>
              <p:spPr bwMode="gray">
                <a:xfrm>
                  <a:off x="780640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02" name="Freeform: Shape 12201">
                  <a:extLst>
                    <a:ext uri="{FF2B5EF4-FFF2-40B4-BE49-F238E27FC236}">
                      <a16:creationId xmlns:a16="http://schemas.microsoft.com/office/drawing/2014/main" id="{F9230C1E-7D71-254E-4A0B-5BC60D644398}"/>
                    </a:ext>
                  </a:extLst>
                </p:cNvPr>
                <p:cNvSpPr/>
                <p:nvPr/>
              </p:nvSpPr>
              <p:spPr bwMode="gray">
                <a:xfrm>
                  <a:off x="776858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3" name="Graphic 2080">
                <a:extLst>
                  <a:ext uri="{FF2B5EF4-FFF2-40B4-BE49-F238E27FC236}">
                    <a16:creationId xmlns:a16="http://schemas.microsoft.com/office/drawing/2014/main" id="{E4F402C4-62D2-9CDB-517F-1D8A8C5D0E2D}"/>
                  </a:ext>
                </a:extLst>
              </p:cNvPr>
              <p:cNvGrpSpPr/>
              <p:nvPr/>
            </p:nvGrpSpPr>
            <p:grpSpPr bwMode="gray">
              <a:xfrm>
                <a:off x="7826596" y="4077080"/>
                <a:ext cx="75723" cy="75723"/>
                <a:chOff x="7826596" y="4077080"/>
                <a:chExt cx="75723" cy="75723"/>
              </a:xfrm>
            </p:grpSpPr>
            <p:sp>
              <p:nvSpPr>
                <p:cNvPr id="12199" name="Freeform: Shape 12198">
                  <a:extLst>
                    <a:ext uri="{FF2B5EF4-FFF2-40B4-BE49-F238E27FC236}">
                      <a16:creationId xmlns:a16="http://schemas.microsoft.com/office/drawing/2014/main" id="{06B0FB37-4B47-EA53-2FFD-4FA07A2E7DFE}"/>
                    </a:ext>
                  </a:extLst>
                </p:cNvPr>
                <p:cNvSpPr/>
                <p:nvPr/>
              </p:nvSpPr>
              <p:spPr bwMode="gray">
                <a:xfrm>
                  <a:off x="7864411"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00" name="Freeform: Shape 12199">
                  <a:extLst>
                    <a:ext uri="{FF2B5EF4-FFF2-40B4-BE49-F238E27FC236}">
                      <a16:creationId xmlns:a16="http://schemas.microsoft.com/office/drawing/2014/main" id="{86322957-25FF-D652-B3A4-06DCEADB91E7}"/>
                    </a:ext>
                  </a:extLst>
                </p:cNvPr>
                <p:cNvSpPr/>
                <p:nvPr/>
              </p:nvSpPr>
              <p:spPr bwMode="gray">
                <a:xfrm>
                  <a:off x="7826596"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4" name="Graphic 2080">
                <a:extLst>
                  <a:ext uri="{FF2B5EF4-FFF2-40B4-BE49-F238E27FC236}">
                    <a16:creationId xmlns:a16="http://schemas.microsoft.com/office/drawing/2014/main" id="{156EF2E5-8FF5-C4DC-FE20-6E54481CA877}"/>
                  </a:ext>
                </a:extLst>
              </p:cNvPr>
              <p:cNvGrpSpPr/>
              <p:nvPr/>
            </p:nvGrpSpPr>
            <p:grpSpPr bwMode="gray">
              <a:xfrm>
                <a:off x="7646669" y="4077080"/>
                <a:ext cx="75628" cy="75723"/>
                <a:chOff x="7646669" y="4077080"/>
                <a:chExt cx="75628" cy="75723"/>
              </a:xfrm>
            </p:grpSpPr>
            <p:sp>
              <p:nvSpPr>
                <p:cNvPr id="12197" name="Freeform: Shape 12196">
                  <a:extLst>
                    <a:ext uri="{FF2B5EF4-FFF2-40B4-BE49-F238E27FC236}">
                      <a16:creationId xmlns:a16="http://schemas.microsoft.com/office/drawing/2014/main" id="{F9D0BB7B-5077-0842-696B-18498B47D797}"/>
                    </a:ext>
                  </a:extLst>
                </p:cNvPr>
                <p:cNvSpPr/>
                <p:nvPr/>
              </p:nvSpPr>
              <p:spPr bwMode="gray">
                <a:xfrm>
                  <a:off x="768448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98" name="Freeform: Shape 12197">
                  <a:extLst>
                    <a:ext uri="{FF2B5EF4-FFF2-40B4-BE49-F238E27FC236}">
                      <a16:creationId xmlns:a16="http://schemas.microsoft.com/office/drawing/2014/main" id="{03BFF8B4-A02E-10C0-6060-42FEB36B7056}"/>
                    </a:ext>
                  </a:extLst>
                </p:cNvPr>
                <p:cNvSpPr/>
                <p:nvPr/>
              </p:nvSpPr>
              <p:spPr bwMode="gray">
                <a:xfrm>
                  <a:off x="7646669"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5" name="Graphic 2080">
                <a:extLst>
                  <a:ext uri="{FF2B5EF4-FFF2-40B4-BE49-F238E27FC236}">
                    <a16:creationId xmlns:a16="http://schemas.microsoft.com/office/drawing/2014/main" id="{C1CC0DE6-F7A6-29D3-1A6A-2E0A61BD2F4B}"/>
                  </a:ext>
                </a:extLst>
              </p:cNvPr>
              <p:cNvGrpSpPr/>
              <p:nvPr/>
            </p:nvGrpSpPr>
            <p:grpSpPr bwMode="gray">
              <a:xfrm>
                <a:off x="7656099" y="4077080"/>
                <a:ext cx="75628" cy="75723"/>
                <a:chOff x="7656099" y="4077080"/>
                <a:chExt cx="75628" cy="75723"/>
              </a:xfrm>
            </p:grpSpPr>
            <p:sp>
              <p:nvSpPr>
                <p:cNvPr id="12195" name="Freeform: Shape 12194">
                  <a:extLst>
                    <a:ext uri="{FF2B5EF4-FFF2-40B4-BE49-F238E27FC236}">
                      <a16:creationId xmlns:a16="http://schemas.microsoft.com/office/drawing/2014/main" id="{E4E3B6D2-2C83-3374-AFE8-CCE7CA112029}"/>
                    </a:ext>
                  </a:extLst>
                </p:cNvPr>
                <p:cNvSpPr/>
                <p:nvPr/>
              </p:nvSpPr>
              <p:spPr bwMode="gray">
                <a:xfrm>
                  <a:off x="769391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96" name="Freeform: Shape 12195">
                  <a:extLst>
                    <a:ext uri="{FF2B5EF4-FFF2-40B4-BE49-F238E27FC236}">
                      <a16:creationId xmlns:a16="http://schemas.microsoft.com/office/drawing/2014/main" id="{7E5B07E9-F791-E45F-C04C-73DD79E0631F}"/>
                    </a:ext>
                  </a:extLst>
                </p:cNvPr>
                <p:cNvSpPr/>
                <p:nvPr/>
              </p:nvSpPr>
              <p:spPr bwMode="gray">
                <a:xfrm>
                  <a:off x="765609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6" name="Graphic 2080">
                <a:extLst>
                  <a:ext uri="{FF2B5EF4-FFF2-40B4-BE49-F238E27FC236}">
                    <a16:creationId xmlns:a16="http://schemas.microsoft.com/office/drawing/2014/main" id="{32AC067F-FF57-DFD3-1F57-4D13E4B55D9B}"/>
                  </a:ext>
                </a:extLst>
              </p:cNvPr>
              <p:cNvGrpSpPr/>
              <p:nvPr/>
            </p:nvGrpSpPr>
            <p:grpSpPr bwMode="gray">
              <a:xfrm>
                <a:off x="7976139" y="4129372"/>
                <a:ext cx="75723" cy="75723"/>
                <a:chOff x="7976139" y="4129372"/>
                <a:chExt cx="75723" cy="75723"/>
              </a:xfrm>
            </p:grpSpPr>
            <p:sp>
              <p:nvSpPr>
                <p:cNvPr id="12193" name="Freeform: Shape 12192">
                  <a:extLst>
                    <a:ext uri="{FF2B5EF4-FFF2-40B4-BE49-F238E27FC236}">
                      <a16:creationId xmlns:a16="http://schemas.microsoft.com/office/drawing/2014/main" id="{4D8E56C0-BDAF-0A9B-B093-23909A804B28}"/>
                    </a:ext>
                  </a:extLst>
                </p:cNvPr>
                <p:cNvSpPr/>
                <p:nvPr/>
              </p:nvSpPr>
              <p:spPr bwMode="gray">
                <a:xfrm>
                  <a:off x="801404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94" name="Freeform: Shape 12193">
                  <a:extLst>
                    <a:ext uri="{FF2B5EF4-FFF2-40B4-BE49-F238E27FC236}">
                      <a16:creationId xmlns:a16="http://schemas.microsoft.com/office/drawing/2014/main" id="{6C3E6911-3420-3A7E-3B30-ADF61F73CAA9}"/>
                    </a:ext>
                  </a:extLst>
                </p:cNvPr>
                <p:cNvSpPr/>
                <p:nvPr/>
              </p:nvSpPr>
              <p:spPr bwMode="gray">
                <a:xfrm>
                  <a:off x="797613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7" name="Graphic 2080">
                <a:extLst>
                  <a:ext uri="{FF2B5EF4-FFF2-40B4-BE49-F238E27FC236}">
                    <a16:creationId xmlns:a16="http://schemas.microsoft.com/office/drawing/2014/main" id="{EA960864-A996-F530-488B-900E79092211}"/>
                  </a:ext>
                </a:extLst>
              </p:cNvPr>
              <p:cNvGrpSpPr/>
              <p:nvPr/>
            </p:nvGrpSpPr>
            <p:grpSpPr bwMode="gray">
              <a:xfrm>
                <a:off x="7985569" y="4129372"/>
                <a:ext cx="75723" cy="75723"/>
                <a:chOff x="7985569" y="4129372"/>
                <a:chExt cx="75723" cy="75723"/>
              </a:xfrm>
            </p:grpSpPr>
            <p:sp>
              <p:nvSpPr>
                <p:cNvPr id="12191" name="Freeform: Shape 12190">
                  <a:extLst>
                    <a:ext uri="{FF2B5EF4-FFF2-40B4-BE49-F238E27FC236}">
                      <a16:creationId xmlns:a16="http://schemas.microsoft.com/office/drawing/2014/main" id="{A340F2CB-48BB-CDE0-A04B-A12B43A3EAC9}"/>
                    </a:ext>
                  </a:extLst>
                </p:cNvPr>
                <p:cNvSpPr/>
                <p:nvPr/>
              </p:nvSpPr>
              <p:spPr bwMode="gray">
                <a:xfrm>
                  <a:off x="80234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92" name="Freeform: Shape 12191">
                  <a:extLst>
                    <a:ext uri="{FF2B5EF4-FFF2-40B4-BE49-F238E27FC236}">
                      <a16:creationId xmlns:a16="http://schemas.microsoft.com/office/drawing/2014/main" id="{EC112ADA-F92E-EA55-ED93-B781314EEDD0}"/>
                    </a:ext>
                  </a:extLst>
                </p:cNvPr>
                <p:cNvSpPr/>
                <p:nvPr/>
              </p:nvSpPr>
              <p:spPr bwMode="gray">
                <a:xfrm>
                  <a:off x="798556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8" name="Graphic 2080">
                <a:extLst>
                  <a:ext uri="{FF2B5EF4-FFF2-40B4-BE49-F238E27FC236}">
                    <a16:creationId xmlns:a16="http://schemas.microsoft.com/office/drawing/2014/main" id="{D9017E7F-B9EF-AA93-8549-D9F344F17A84}"/>
                  </a:ext>
                </a:extLst>
              </p:cNvPr>
              <p:cNvGrpSpPr/>
              <p:nvPr/>
            </p:nvGrpSpPr>
            <p:grpSpPr bwMode="gray">
              <a:xfrm>
                <a:off x="8032432" y="4129372"/>
                <a:ext cx="75628" cy="75723"/>
                <a:chOff x="8032432" y="4129372"/>
                <a:chExt cx="75628" cy="75723"/>
              </a:xfrm>
            </p:grpSpPr>
            <p:sp>
              <p:nvSpPr>
                <p:cNvPr id="12189" name="Freeform: Shape 12188">
                  <a:extLst>
                    <a:ext uri="{FF2B5EF4-FFF2-40B4-BE49-F238E27FC236}">
                      <a16:creationId xmlns:a16="http://schemas.microsoft.com/office/drawing/2014/main" id="{DCB0553E-5D96-1B2C-A15E-07223F7158FB}"/>
                    </a:ext>
                  </a:extLst>
                </p:cNvPr>
                <p:cNvSpPr/>
                <p:nvPr/>
              </p:nvSpPr>
              <p:spPr bwMode="gray">
                <a:xfrm>
                  <a:off x="807024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90" name="Freeform: Shape 12189">
                  <a:extLst>
                    <a:ext uri="{FF2B5EF4-FFF2-40B4-BE49-F238E27FC236}">
                      <a16:creationId xmlns:a16="http://schemas.microsoft.com/office/drawing/2014/main" id="{00D65D43-AC6D-6A3F-C4DD-1DAC726C154C}"/>
                    </a:ext>
                  </a:extLst>
                </p:cNvPr>
                <p:cNvSpPr/>
                <p:nvPr/>
              </p:nvSpPr>
              <p:spPr bwMode="gray">
                <a:xfrm>
                  <a:off x="803243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59" name="Graphic 2080">
                <a:extLst>
                  <a:ext uri="{FF2B5EF4-FFF2-40B4-BE49-F238E27FC236}">
                    <a16:creationId xmlns:a16="http://schemas.microsoft.com/office/drawing/2014/main" id="{1496B3F3-8A06-F342-2D51-1DC7DF083FF9}"/>
                  </a:ext>
                </a:extLst>
              </p:cNvPr>
              <p:cNvGrpSpPr/>
              <p:nvPr/>
            </p:nvGrpSpPr>
            <p:grpSpPr bwMode="gray">
              <a:xfrm>
                <a:off x="8041861" y="4129372"/>
                <a:ext cx="75628" cy="75723"/>
                <a:chOff x="8041861" y="4129372"/>
                <a:chExt cx="75628" cy="75723"/>
              </a:xfrm>
            </p:grpSpPr>
            <p:sp>
              <p:nvSpPr>
                <p:cNvPr id="12187" name="Freeform: Shape 12186">
                  <a:extLst>
                    <a:ext uri="{FF2B5EF4-FFF2-40B4-BE49-F238E27FC236}">
                      <a16:creationId xmlns:a16="http://schemas.microsoft.com/office/drawing/2014/main" id="{DA3AC86D-68B5-C1FB-E00B-7BC06D9D7784}"/>
                    </a:ext>
                  </a:extLst>
                </p:cNvPr>
                <p:cNvSpPr/>
                <p:nvPr/>
              </p:nvSpPr>
              <p:spPr bwMode="gray">
                <a:xfrm>
                  <a:off x="807967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88" name="Freeform: Shape 12187">
                  <a:extLst>
                    <a:ext uri="{FF2B5EF4-FFF2-40B4-BE49-F238E27FC236}">
                      <a16:creationId xmlns:a16="http://schemas.microsoft.com/office/drawing/2014/main" id="{4610617B-28D3-FAE6-5D3B-E23334EA0D17}"/>
                    </a:ext>
                  </a:extLst>
                </p:cNvPr>
                <p:cNvSpPr/>
                <p:nvPr/>
              </p:nvSpPr>
              <p:spPr bwMode="gray">
                <a:xfrm>
                  <a:off x="804186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0" name="Graphic 2080">
                <a:extLst>
                  <a:ext uri="{FF2B5EF4-FFF2-40B4-BE49-F238E27FC236}">
                    <a16:creationId xmlns:a16="http://schemas.microsoft.com/office/drawing/2014/main" id="{980536BD-606A-2BB7-66BD-569B9217858D}"/>
                  </a:ext>
                </a:extLst>
              </p:cNvPr>
              <p:cNvGrpSpPr/>
              <p:nvPr/>
            </p:nvGrpSpPr>
            <p:grpSpPr bwMode="gray">
              <a:xfrm>
                <a:off x="7945183" y="4129372"/>
                <a:ext cx="75723" cy="75723"/>
                <a:chOff x="7945183" y="4129372"/>
                <a:chExt cx="75723" cy="75723"/>
              </a:xfrm>
            </p:grpSpPr>
            <p:sp>
              <p:nvSpPr>
                <p:cNvPr id="12185" name="Freeform: Shape 12184">
                  <a:extLst>
                    <a:ext uri="{FF2B5EF4-FFF2-40B4-BE49-F238E27FC236}">
                      <a16:creationId xmlns:a16="http://schemas.microsoft.com/office/drawing/2014/main" id="{7DE220F2-18E7-D972-9B9D-C0F26B31B6B2}"/>
                    </a:ext>
                  </a:extLst>
                </p:cNvPr>
                <p:cNvSpPr/>
                <p:nvPr/>
              </p:nvSpPr>
              <p:spPr bwMode="gray">
                <a:xfrm>
                  <a:off x="798299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86" name="Freeform: Shape 12185">
                  <a:extLst>
                    <a:ext uri="{FF2B5EF4-FFF2-40B4-BE49-F238E27FC236}">
                      <a16:creationId xmlns:a16="http://schemas.microsoft.com/office/drawing/2014/main" id="{06CFCFD8-2AA2-BA59-A3F6-DE245287446C}"/>
                    </a:ext>
                  </a:extLst>
                </p:cNvPr>
                <p:cNvSpPr/>
                <p:nvPr/>
              </p:nvSpPr>
              <p:spPr bwMode="gray">
                <a:xfrm>
                  <a:off x="794518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1" name="Graphic 2080">
                <a:extLst>
                  <a:ext uri="{FF2B5EF4-FFF2-40B4-BE49-F238E27FC236}">
                    <a16:creationId xmlns:a16="http://schemas.microsoft.com/office/drawing/2014/main" id="{A8DC567B-A495-4650-0A3C-733CACB9777C}"/>
                  </a:ext>
                </a:extLst>
              </p:cNvPr>
              <p:cNvGrpSpPr/>
              <p:nvPr/>
            </p:nvGrpSpPr>
            <p:grpSpPr bwMode="gray">
              <a:xfrm>
                <a:off x="8213311" y="4129372"/>
                <a:ext cx="75628" cy="75723"/>
                <a:chOff x="8213311" y="4129372"/>
                <a:chExt cx="75628" cy="75723"/>
              </a:xfrm>
            </p:grpSpPr>
            <p:sp>
              <p:nvSpPr>
                <p:cNvPr id="12183" name="Freeform: Shape 12182">
                  <a:extLst>
                    <a:ext uri="{FF2B5EF4-FFF2-40B4-BE49-F238E27FC236}">
                      <a16:creationId xmlns:a16="http://schemas.microsoft.com/office/drawing/2014/main" id="{F8D1E2A5-9EE7-7695-7466-DC71A6E250BC}"/>
                    </a:ext>
                  </a:extLst>
                </p:cNvPr>
                <p:cNvSpPr/>
                <p:nvPr/>
              </p:nvSpPr>
              <p:spPr bwMode="gray">
                <a:xfrm>
                  <a:off x="825112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84" name="Freeform: Shape 12183">
                  <a:extLst>
                    <a:ext uri="{FF2B5EF4-FFF2-40B4-BE49-F238E27FC236}">
                      <a16:creationId xmlns:a16="http://schemas.microsoft.com/office/drawing/2014/main" id="{446AF461-95D8-5F89-4890-38B4228F56C6}"/>
                    </a:ext>
                  </a:extLst>
                </p:cNvPr>
                <p:cNvSpPr/>
                <p:nvPr/>
              </p:nvSpPr>
              <p:spPr bwMode="gray">
                <a:xfrm>
                  <a:off x="821331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2" name="Graphic 2080">
                <a:extLst>
                  <a:ext uri="{FF2B5EF4-FFF2-40B4-BE49-F238E27FC236}">
                    <a16:creationId xmlns:a16="http://schemas.microsoft.com/office/drawing/2014/main" id="{2780ED86-D48B-15C7-B271-9C968DAFA442}"/>
                  </a:ext>
                </a:extLst>
              </p:cNvPr>
              <p:cNvGrpSpPr/>
              <p:nvPr/>
            </p:nvGrpSpPr>
            <p:grpSpPr bwMode="gray">
              <a:xfrm>
                <a:off x="8249125" y="4129372"/>
                <a:ext cx="75723" cy="75723"/>
                <a:chOff x="8249125" y="4129372"/>
                <a:chExt cx="75723" cy="75723"/>
              </a:xfrm>
            </p:grpSpPr>
            <p:sp>
              <p:nvSpPr>
                <p:cNvPr id="12181" name="Freeform: Shape 12180">
                  <a:extLst>
                    <a:ext uri="{FF2B5EF4-FFF2-40B4-BE49-F238E27FC236}">
                      <a16:creationId xmlns:a16="http://schemas.microsoft.com/office/drawing/2014/main" id="{8A50065C-35C6-8426-51F2-1428ECB9BD2F}"/>
                    </a:ext>
                  </a:extLst>
                </p:cNvPr>
                <p:cNvSpPr/>
                <p:nvPr/>
              </p:nvSpPr>
              <p:spPr bwMode="gray">
                <a:xfrm>
                  <a:off x="828703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82" name="Freeform: Shape 12181">
                  <a:extLst>
                    <a:ext uri="{FF2B5EF4-FFF2-40B4-BE49-F238E27FC236}">
                      <a16:creationId xmlns:a16="http://schemas.microsoft.com/office/drawing/2014/main" id="{3FD855BD-E2E2-85A9-76E4-D679E6B7463F}"/>
                    </a:ext>
                  </a:extLst>
                </p:cNvPr>
                <p:cNvSpPr/>
                <p:nvPr/>
              </p:nvSpPr>
              <p:spPr bwMode="gray">
                <a:xfrm>
                  <a:off x="824912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3" name="Graphic 2080">
                <a:extLst>
                  <a:ext uri="{FF2B5EF4-FFF2-40B4-BE49-F238E27FC236}">
                    <a16:creationId xmlns:a16="http://schemas.microsoft.com/office/drawing/2014/main" id="{681F098C-34E0-7BE2-B439-645699BBBEEF}"/>
                  </a:ext>
                </a:extLst>
              </p:cNvPr>
              <p:cNvGrpSpPr/>
              <p:nvPr/>
            </p:nvGrpSpPr>
            <p:grpSpPr bwMode="gray">
              <a:xfrm>
                <a:off x="8278367" y="4129372"/>
                <a:ext cx="75628" cy="75723"/>
                <a:chOff x="8278367" y="4129372"/>
                <a:chExt cx="75628" cy="75723"/>
              </a:xfrm>
            </p:grpSpPr>
            <p:sp>
              <p:nvSpPr>
                <p:cNvPr id="12179" name="Freeform: Shape 12178">
                  <a:extLst>
                    <a:ext uri="{FF2B5EF4-FFF2-40B4-BE49-F238E27FC236}">
                      <a16:creationId xmlns:a16="http://schemas.microsoft.com/office/drawing/2014/main" id="{306BD597-47AF-FF66-0AA6-095F33538A0E}"/>
                    </a:ext>
                  </a:extLst>
                </p:cNvPr>
                <p:cNvSpPr/>
                <p:nvPr/>
              </p:nvSpPr>
              <p:spPr bwMode="gray">
                <a:xfrm>
                  <a:off x="831618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80" name="Freeform: Shape 12179">
                  <a:extLst>
                    <a:ext uri="{FF2B5EF4-FFF2-40B4-BE49-F238E27FC236}">
                      <a16:creationId xmlns:a16="http://schemas.microsoft.com/office/drawing/2014/main" id="{22D6041B-DF5C-44DA-B8E3-D3608CBF8FB8}"/>
                    </a:ext>
                  </a:extLst>
                </p:cNvPr>
                <p:cNvSpPr/>
                <p:nvPr/>
              </p:nvSpPr>
              <p:spPr bwMode="gray">
                <a:xfrm>
                  <a:off x="8278367"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4" name="Graphic 2080">
                <a:extLst>
                  <a:ext uri="{FF2B5EF4-FFF2-40B4-BE49-F238E27FC236}">
                    <a16:creationId xmlns:a16="http://schemas.microsoft.com/office/drawing/2014/main" id="{88EF9DEF-2635-60AC-8F42-4871D23F7EA5}"/>
                  </a:ext>
                </a:extLst>
              </p:cNvPr>
              <p:cNvGrpSpPr/>
              <p:nvPr/>
            </p:nvGrpSpPr>
            <p:grpSpPr bwMode="gray">
              <a:xfrm>
                <a:off x="8339137" y="4129372"/>
                <a:ext cx="75723" cy="75723"/>
                <a:chOff x="8339137" y="4129372"/>
                <a:chExt cx="75723" cy="75723"/>
              </a:xfrm>
            </p:grpSpPr>
            <p:sp>
              <p:nvSpPr>
                <p:cNvPr id="12177" name="Freeform: Shape 12176">
                  <a:extLst>
                    <a:ext uri="{FF2B5EF4-FFF2-40B4-BE49-F238E27FC236}">
                      <a16:creationId xmlns:a16="http://schemas.microsoft.com/office/drawing/2014/main" id="{8CB69899-A95E-4119-6FFF-D882B4AC45BE}"/>
                    </a:ext>
                  </a:extLst>
                </p:cNvPr>
                <p:cNvSpPr/>
                <p:nvPr/>
              </p:nvSpPr>
              <p:spPr bwMode="gray">
                <a:xfrm>
                  <a:off x="837695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78" name="Freeform: Shape 12177">
                  <a:extLst>
                    <a:ext uri="{FF2B5EF4-FFF2-40B4-BE49-F238E27FC236}">
                      <a16:creationId xmlns:a16="http://schemas.microsoft.com/office/drawing/2014/main" id="{9442FB78-6A38-EE0C-13CF-6BA3ECA9010E}"/>
                    </a:ext>
                  </a:extLst>
                </p:cNvPr>
                <p:cNvSpPr/>
                <p:nvPr/>
              </p:nvSpPr>
              <p:spPr bwMode="gray">
                <a:xfrm>
                  <a:off x="8339137"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5" name="Graphic 2080">
                <a:extLst>
                  <a:ext uri="{FF2B5EF4-FFF2-40B4-BE49-F238E27FC236}">
                    <a16:creationId xmlns:a16="http://schemas.microsoft.com/office/drawing/2014/main" id="{AEE34C79-8D62-AB4A-6DF9-A91B13766D86}"/>
                  </a:ext>
                </a:extLst>
              </p:cNvPr>
              <p:cNvGrpSpPr/>
              <p:nvPr/>
            </p:nvGrpSpPr>
            <p:grpSpPr bwMode="gray">
              <a:xfrm>
                <a:off x="8352186" y="4129372"/>
                <a:ext cx="75723" cy="75723"/>
                <a:chOff x="8352186" y="4129372"/>
                <a:chExt cx="75723" cy="75723"/>
              </a:xfrm>
            </p:grpSpPr>
            <p:sp>
              <p:nvSpPr>
                <p:cNvPr id="12175" name="Freeform: Shape 12174">
                  <a:extLst>
                    <a:ext uri="{FF2B5EF4-FFF2-40B4-BE49-F238E27FC236}">
                      <a16:creationId xmlns:a16="http://schemas.microsoft.com/office/drawing/2014/main" id="{36819803-C650-841F-177D-E7A7E4CC6C67}"/>
                    </a:ext>
                  </a:extLst>
                </p:cNvPr>
                <p:cNvSpPr/>
                <p:nvPr/>
              </p:nvSpPr>
              <p:spPr bwMode="gray">
                <a:xfrm>
                  <a:off x="839009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76" name="Freeform: Shape 12175">
                  <a:extLst>
                    <a:ext uri="{FF2B5EF4-FFF2-40B4-BE49-F238E27FC236}">
                      <a16:creationId xmlns:a16="http://schemas.microsoft.com/office/drawing/2014/main" id="{EA3184E4-418A-B6E6-5381-9975CAE0A0F0}"/>
                    </a:ext>
                  </a:extLst>
                </p:cNvPr>
                <p:cNvSpPr/>
                <p:nvPr/>
              </p:nvSpPr>
              <p:spPr bwMode="gray">
                <a:xfrm>
                  <a:off x="835218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6" name="Graphic 2080">
                <a:extLst>
                  <a:ext uri="{FF2B5EF4-FFF2-40B4-BE49-F238E27FC236}">
                    <a16:creationId xmlns:a16="http://schemas.microsoft.com/office/drawing/2014/main" id="{E77136C6-E286-34E9-2788-7AC740582871}"/>
                  </a:ext>
                </a:extLst>
              </p:cNvPr>
              <p:cNvGrpSpPr/>
              <p:nvPr/>
            </p:nvGrpSpPr>
            <p:grpSpPr bwMode="gray">
              <a:xfrm>
                <a:off x="8395048" y="4129372"/>
                <a:ext cx="75723" cy="75723"/>
                <a:chOff x="8395048" y="4129372"/>
                <a:chExt cx="75723" cy="75723"/>
              </a:xfrm>
            </p:grpSpPr>
            <p:sp>
              <p:nvSpPr>
                <p:cNvPr id="12173" name="Freeform: Shape 12172">
                  <a:extLst>
                    <a:ext uri="{FF2B5EF4-FFF2-40B4-BE49-F238E27FC236}">
                      <a16:creationId xmlns:a16="http://schemas.microsoft.com/office/drawing/2014/main" id="{B9B979F0-2C2F-2914-B8D5-8837D1106E5F}"/>
                    </a:ext>
                  </a:extLst>
                </p:cNvPr>
                <p:cNvSpPr/>
                <p:nvPr/>
              </p:nvSpPr>
              <p:spPr bwMode="gray">
                <a:xfrm>
                  <a:off x="843295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74" name="Freeform: Shape 12173">
                  <a:extLst>
                    <a:ext uri="{FF2B5EF4-FFF2-40B4-BE49-F238E27FC236}">
                      <a16:creationId xmlns:a16="http://schemas.microsoft.com/office/drawing/2014/main" id="{455FDCFE-070B-134C-53C3-CD7F248DA749}"/>
                    </a:ext>
                  </a:extLst>
                </p:cNvPr>
                <p:cNvSpPr/>
                <p:nvPr/>
              </p:nvSpPr>
              <p:spPr bwMode="gray">
                <a:xfrm>
                  <a:off x="839504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7" name="Graphic 2080">
                <a:extLst>
                  <a:ext uri="{FF2B5EF4-FFF2-40B4-BE49-F238E27FC236}">
                    <a16:creationId xmlns:a16="http://schemas.microsoft.com/office/drawing/2014/main" id="{84D45D7D-EC6C-3CC7-8926-657408CE0EE2}"/>
                  </a:ext>
                </a:extLst>
              </p:cNvPr>
              <p:cNvGrpSpPr/>
              <p:nvPr/>
            </p:nvGrpSpPr>
            <p:grpSpPr bwMode="gray">
              <a:xfrm>
                <a:off x="8423623" y="4129372"/>
                <a:ext cx="75723" cy="75723"/>
                <a:chOff x="8423623" y="4129372"/>
                <a:chExt cx="75723" cy="75723"/>
              </a:xfrm>
            </p:grpSpPr>
            <p:sp>
              <p:nvSpPr>
                <p:cNvPr id="12171" name="Freeform: Shape 12170">
                  <a:extLst>
                    <a:ext uri="{FF2B5EF4-FFF2-40B4-BE49-F238E27FC236}">
                      <a16:creationId xmlns:a16="http://schemas.microsoft.com/office/drawing/2014/main" id="{D92B0453-C39E-0646-4604-848CFD6807F9}"/>
                    </a:ext>
                  </a:extLst>
                </p:cNvPr>
                <p:cNvSpPr/>
                <p:nvPr/>
              </p:nvSpPr>
              <p:spPr bwMode="gray">
                <a:xfrm>
                  <a:off x="846153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72" name="Freeform: Shape 12171">
                  <a:extLst>
                    <a:ext uri="{FF2B5EF4-FFF2-40B4-BE49-F238E27FC236}">
                      <a16:creationId xmlns:a16="http://schemas.microsoft.com/office/drawing/2014/main" id="{738D3859-FC69-E5C8-2144-CC74AF4351B6}"/>
                    </a:ext>
                  </a:extLst>
                </p:cNvPr>
                <p:cNvSpPr/>
                <p:nvPr/>
              </p:nvSpPr>
              <p:spPr bwMode="gray">
                <a:xfrm>
                  <a:off x="842362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168" name="Graphic 2080">
                <a:extLst>
                  <a:ext uri="{FF2B5EF4-FFF2-40B4-BE49-F238E27FC236}">
                    <a16:creationId xmlns:a16="http://schemas.microsoft.com/office/drawing/2014/main" id="{3DA8D6AC-FC93-A2EC-F757-0E876C94E596}"/>
                  </a:ext>
                </a:extLst>
              </p:cNvPr>
              <p:cNvGrpSpPr/>
              <p:nvPr/>
            </p:nvGrpSpPr>
            <p:grpSpPr bwMode="gray">
              <a:xfrm>
                <a:off x="8454389" y="4129372"/>
                <a:ext cx="75628" cy="75723"/>
                <a:chOff x="8454389" y="4129372"/>
                <a:chExt cx="75628" cy="75723"/>
              </a:xfrm>
            </p:grpSpPr>
            <p:sp>
              <p:nvSpPr>
                <p:cNvPr id="12169" name="Freeform: Shape 12168">
                  <a:extLst>
                    <a:ext uri="{FF2B5EF4-FFF2-40B4-BE49-F238E27FC236}">
                      <a16:creationId xmlns:a16="http://schemas.microsoft.com/office/drawing/2014/main" id="{C847F722-0458-0B02-94E4-54D13E7ECAC0}"/>
                    </a:ext>
                  </a:extLst>
                </p:cNvPr>
                <p:cNvSpPr/>
                <p:nvPr/>
              </p:nvSpPr>
              <p:spPr bwMode="gray">
                <a:xfrm>
                  <a:off x="849220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70" name="Freeform: Shape 12169">
                  <a:extLst>
                    <a:ext uri="{FF2B5EF4-FFF2-40B4-BE49-F238E27FC236}">
                      <a16:creationId xmlns:a16="http://schemas.microsoft.com/office/drawing/2014/main" id="{DEA0E185-42D0-2956-3AC3-EC19D13E5D02}"/>
                    </a:ext>
                  </a:extLst>
                </p:cNvPr>
                <p:cNvSpPr/>
                <p:nvPr/>
              </p:nvSpPr>
              <p:spPr bwMode="gray">
                <a:xfrm>
                  <a:off x="8454389"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1986" name="Freeform: Shape 11985">
              <a:extLst>
                <a:ext uri="{FF2B5EF4-FFF2-40B4-BE49-F238E27FC236}">
                  <a16:creationId xmlns:a16="http://schemas.microsoft.com/office/drawing/2014/main" id="{1732968C-59D9-0F4C-4C2D-005072BE4F3F}"/>
                </a:ext>
              </a:extLst>
            </p:cNvPr>
            <p:cNvSpPr/>
            <p:nvPr/>
          </p:nvSpPr>
          <p:spPr bwMode="gray">
            <a:xfrm>
              <a:off x="3016757" y="2690526"/>
              <a:ext cx="6138100" cy="1476755"/>
            </a:xfrm>
            <a:custGeom>
              <a:avLst/>
              <a:gdLst>
                <a:gd name="connsiteX0" fmla="*/ 6138101 w 6138100"/>
                <a:gd name="connsiteY0" fmla="*/ 1476756 h 1476755"/>
                <a:gd name="connsiteX1" fmla="*/ 4872704 w 6138100"/>
                <a:gd name="connsiteY1" fmla="*/ 1476756 h 1476755"/>
                <a:gd name="connsiteX2" fmla="*/ 4872704 w 6138100"/>
                <a:gd name="connsiteY2" fmla="*/ 1424464 h 1476755"/>
                <a:gd name="connsiteX3" fmla="*/ 4614101 w 6138100"/>
                <a:gd name="connsiteY3" fmla="*/ 1424464 h 1476755"/>
                <a:gd name="connsiteX4" fmla="*/ 4614101 w 6138100"/>
                <a:gd name="connsiteY4" fmla="*/ 1387126 h 1476755"/>
                <a:gd name="connsiteX5" fmla="*/ 4386739 w 6138100"/>
                <a:gd name="connsiteY5" fmla="*/ 1387126 h 1476755"/>
                <a:gd name="connsiteX6" fmla="*/ 4386739 w 6138100"/>
                <a:gd name="connsiteY6" fmla="*/ 1351883 h 1476755"/>
                <a:gd name="connsiteX7" fmla="*/ 4347401 w 6138100"/>
                <a:gd name="connsiteY7" fmla="*/ 1351883 h 1476755"/>
                <a:gd name="connsiteX8" fmla="*/ 4347401 w 6138100"/>
                <a:gd name="connsiteY8" fmla="*/ 1319022 h 1476755"/>
                <a:gd name="connsiteX9" fmla="*/ 4224623 w 6138100"/>
                <a:gd name="connsiteY9" fmla="*/ 1319022 h 1476755"/>
                <a:gd name="connsiteX10" fmla="*/ 4224623 w 6138100"/>
                <a:gd name="connsiteY10" fmla="*/ 1295495 h 1476755"/>
                <a:gd name="connsiteX11" fmla="*/ 4035743 w 6138100"/>
                <a:gd name="connsiteY11" fmla="*/ 1295495 h 1476755"/>
                <a:gd name="connsiteX12" fmla="*/ 4035743 w 6138100"/>
                <a:gd name="connsiteY12" fmla="*/ 1270826 h 1476755"/>
                <a:gd name="connsiteX13" fmla="*/ 3915347 w 6138100"/>
                <a:gd name="connsiteY13" fmla="*/ 1270826 h 1476755"/>
                <a:gd name="connsiteX14" fmla="*/ 3915347 w 6138100"/>
                <a:gd name="connsiteY14" fmla="*/ 1221772 h 1476755"/>
                <a:gd name="connsiteX15" fmla="*/ 3698558 w 6138100"/>
                <a:gd name="connsiteY15" fmla="*/ 1221772 h 1476755"/>
                <a:gd name="connsiteX16" fmla="*/ 3698558 w 6138100"/>
                <a:gd name="connsiteY16" fmla="*/ 1203960 h 1476755"/>
                <a:gd name="connsiteX17" fmla="*/ 3673793 w 6138100"/>
                <a:gd name="connsiteY17" fmla="*/ 1203960 h 1476755"/>
                <a:gd name="connsiteX18" fmla="*/ 3673793 w 6138100"/>
                <a:gd name="connsiteY18" fmla="*/ 1167479 h 1476755"/>
                <a:gd name="connsiteX19" fmla="*/ 3643122 w 6138100"/>
                <a:gd name="connsiteY19" fmla="*/ 1167479 h 1476755"/>
                <a:gd name="connsiteX20" fmla="*/ 3643122 w 6138100"/>
                <a:gd name="connsiteY20" fmla="*/ 1132237 h 1476755"/>
                <a:gd name="connsiteX21" fmla="*/ 3405854 w 6138100"/>
                <a:gd name="connsiteY21" fmla="*/ 1132237 h 1476755"/>
                <a:gd name="connsiteX22" fmla="*/ 3405854 w 6138100"/>
                <a:gd name="connsiteY22" fmla="*/ 1115568 h 1476755"/>
                <a:gd name="connsiteX23" fmla="*/ 3332893 w 6138100"/>
                <a:gd name="connsiteY23" fmla="*/ 1115568 h 1476755"/>
                <a:gd name="connsiteX24" fmla="*/ 3332893 w 6138100"/>
                <a:gd name="connsiteY24" fmla="*/ 1099185 h 1476755"/>
                <a:gd name="connsiteX25" fmla="*/ 3239738 w 6138100"/>
                <a:gd name="connsiteY25" fmla="*/ 1099185 h 1476755"/>
                <a:gd name="connsiteX26" fmla="*/ 3239738 w 6138100"/>
                <a:gd name="connsiteY26" fmla="*/ 1081564 h 1476755"/>
                <a:gd name="connsiteX27" fmla="*/ 3172778 w 6138100"/>
                <a:gd name="connsiteY27" fmla="*/ 1081564 h 1476755"/>
                <a:gd name="connsiteX28" fmla="*/ 3172778 w 6138100"/>
                <a:gd name="connsiteY28" fmla="*/ 1064895 h 1476755"/>
                <a:gd name="connsiteX29" fmla="*/ 3120295 w 6138100"/>
                <a:gd name="connsiteY29" fmla="*/ 1064895 h 1476755"/>
                <a:gd name="connsiteX30" fmla="*/ 3120295 w 6138100"/>
                <a:gd name="connsiteY30" fmla="*/ 1023557 h 1476755"/>
                <a:gd name="connsiteX31" fmla="*/ 3024473 w 6138100"/>
                <a:gd name="connsiteY31" fmla="*/ 1023557 h 1476755"/>
                <a:gd name="connsiteX32" fmla="*/ 3024473 w 6138100"/>
                <a:gd name="connsiteY32" fmla="*/ 1014222 h 1476755"/>
                <a:gd name="connsiteX33" fmla="*/ 2956751 w 6138100"/>
                <a:gd name="connsiteY33" fmla="*/ 1014222 h 1476755"/>
                <a:gd name="connsiteX34" fmla="*/ 2956751 w 6138100"/>
                <a:gd name="connsiteY34" fmla="*/ 978980 h 1476755"/>
                <a:gd name="connsiteX35" fmla="*/ 2878550 w 6138100"/>
                <a:gd name="connsiteY35" fmla="*/ 978980 h 1476755"/>
                <a:gd name="connsiteX36" fmla="*/ 2878550 w 6138100"/>
                <a:gd name="connsiteY36" fmla="*/ 942118 h 1476755"/>
                <a:gd name="connsiteX37" fmla="*/ 2804351 w 6138100"/>
                <a:gd name="connsiteY37" fmla="*/ 942118 h 1476755"/>
                <a:gd name="connsiteX38" fmla="*/ 2804351 w 6138100"/>
                <a:gd name="connsiteY38" fmla="*/ 926592 h 1476755"/>
                <a:gd name="connsiteX39" fmla="*/ 2785110 w 6138100"/>
                <a:gd name="connsiteY39" fmla="*/ 926592 h 1476755"/>
                <a:gd name="connsiteX40" fmla="*/ 2785110 w 6138100"/>
                <a:gd name="connsiteY40" fmla="*/ 902399 h 1476755"/>
                <a:gd name="connsiteX41" fmla="*/ 2736723 w 6138100"/>
                <a:gd name="connsiteY41" fmla="*/ 902399 h 1476755"/>
                <a:gd name="connsiteX42" fmla="*/ 2736723 w 6138100"/>
                <a:gd name="connsiteY42" fmla="*/ 881729 h 1476755"/>
                <a:gd name="connsiteX43" fmla="*/ 2689670 w 6138100"/>
                <a:gd name="connsiteY43" fmla="*/ 881729 h 1476755"/>
                <a:gd name="connsiteX44" fmla="*/ 2689670 w 6138100"/>
                <a:gd name="connsiteY44" fmla="*/ 854107 h 1476755"/>
                <a:gd name="connsiteX45" fmla="*/ 2657285 w 6138100"/>
                <a:gd name="connsiteY45" fmla="*/ 854107 h 1476755"/>
                <a:gd name="connsiteX46" fmla="*/ 2657285 w 6138100"/>
                <a:gd name="connsiteY46" fmla="*/ 839915 h 1476755"/>
                <a:gd name="connsiteX47" fmla="*/ 2538889 w 6138100"/>
                <a:gd name="connsiteY47" fmla="*/ 839915 h 1476755"/>
                <a:gd name="connsiteX48" fmla="*/ 2538889 w 6138100"/>
                <a:gd name="connsiteY48" fmla="*/ 822484 h 1476755"/>
                <a:gd name="connsiteX49" fmla="*/ 2496312 w 6138100"/>
                <a:gd name="connsiteY49" fmla="*/ 822484 h 1476755"/>
                <a:gd name="connsiteX50" fmla="*/ 2496312 w 6138100"/>
                <a:gd name="connsiteY50" fmla="*/ 799338 h 1476755"/>
                <a:gd name="connsiteX51" fmla="*/ 2428589 w 6138100"/>
                <a:gd name="connsiteY51" fmla="*/ 799338 h 1476755"/>
                <a:gd name="connsiteX52" fmla="*/ 2428589 w 6138100"/>
                <a:gd name="connsiteY52" fmla="*/ 781622 h 1476755"/>
                <a:gd name="connsiteX53" fmla="*/ 2397443 w 6138100"/>
                <a:gd name="connsiteY53" fmla="*/ 781622 h 1476755"/>
                <a:gd name="connsiteX54" fmla="*/ 2397443 w 6138100"/>
                <a:gd name="connsiteY54" fmla="*/ 764191 h 1476755"/>
                <a:gd name="connsiteX55" fmla="*/ 2337626 w 6138100"/>
                <a:gd name="connsiteY55" fmla="*/ 764191 h 1476755"/>
                <a:gd name="connsiteX56" fmla="*/ 2337626 w 6138100"/>
                <a:gd name="connsiteY56" fmla="*/ 744284 h 1476755"/>
                <a:gd name="connsiteX57" fmla="*/ 2219897 w 6138100"/>
                <a:gd name="connsiteY57" fmla="*/ 744284 h 1476755"/>
                <a:gd name="connsiteX58" fmla="*/ 2219897 w 6138100"/>
                <a:gd name="connsiteY58" fmla="*/ 731330 h 1476755"/>
                <a:gd name="connsiteX59" fmla="*/ 2197227 w 6138100"/>
                <a:gd name="connsiteY59" fmla="*/ 731330 h 1476755"/>
                <a:gd name="connsiteX60" fmla="*/ 2197227 w 6138100"/>
                <a:gd name="connsiteY60" fmla="*/ 697706 h 1476755"/>
                <a:gd name="connsiteX61" fmla="*/ 2157508 w 6138100"/>
                <a:gd name="connsiteY61" fmla="*/ 697706 h 1476755"/>
                <a:gd name="connsiteX62" fmla="*/ 2157508 w 6138100"/>
                <a:gd name="connsiteY62" fmla="*/ 684752 h 1476755"/>
                <a:gd name="connsiteX63" fmla="*/ 2127123 w 6138100"/>
                <a:gd name="connsiteY63" fmla="*/ 684752 h 1476755"/>
                <a:gd name="connsiteX64" fmla="*/ 2127123 w 6138100"/>
                <a:gd name="connsiteY64" fmla="*/ 672560 h 1476755"/>
                <a:gd name="connsiteX65" fmla="*/ 2112931 w 6138100"/>
                <a:gd name="connsiteY65" fmla="*/ 672560 h 1476755"/>
                <a:gd name="connsiteX66" fmla="*/ 2112931 w 6138100"/>
                <a:gd name="connsiteY66" fmla="*/ 646938 h 1476755"/>
                <a:gd name="connsiteX67" fmla="*/ 2033873 w 6138100"/>
                <a:gd name="connsiteY67" fmla="*/ 646938 h 1476755"/>
                <a:gd name="connsiteX68" fmla="*/ 2033873 w 6138100"/>
                <a:gd name="connsiteY68" fmla="*/ 617792 h 1476755"/>
                <a:gd name="connsiteX69" fmla="*/ 2001012 w 6138100"/>
                <a:gd name="connsiteY69" fmla="*/ 617792 h 1476755"/>
                <a:gd name="connsiteX70" fmla="*/ 2001012 w 6138100"/>
                <a:gd name="connsiteY70" fmla="*/ 597980 h 1476755"/>
                <a:gd name="connsiteX71" fmla="*/ 1974723 w 6138100"/>
                <a:gd name="connsiteY71" fmla="*/ 597980 h 1476755"/>
                <a:gd name="connsiteX72" fmla="*/ 1974723 w 6138100"/>
                <a:gd name="connsiteY72" fmla="*/ 579311 h 1476755"/>
                <a:gd name="connsiteX73" fmla="*/ 1939481 w 6138100"/>
                <a:gd name="connsiteY73" fmla="*/ 579311 h 1476755"/>
                <a:gd name="connsiteX74" fmla="*/ 1939481 w 6138100"/>
                <a:gd name="connsiteY74" fmla="*/ 561499 h 1476755"/>
                <a:gd name="connsiteX75" fmla="*/ 1911858 w 6138100"/>
                <a:gd name="connsiteY75" fmla="*/ 561499 h 1476755"/>
                <a:gd name="connsiteX76" fmla="*/ 1911858 w 6138100"/>
                <a:gd name="connsiteY76" fmla="*/ 542449 h 1476755"/>
                <a:gd name="connsiteX77" fmla="*/ 1896047 w 6138100"/>
                <a:gd name="connsiteY77" fmla="*/ 542449 h 1476755"/>
                <a:gd name="connsiteX78" fmla="*/ 1896047 w 6138100"/>
                <a:gd name="connsiteY78" fmla="*/ 520160 h 1476755"/>
                <a:gd name="connsiteX79" fmla="*/ 1878235 w 6138100"/>
                <a:gd name="connsiteY79" fmla="*/ 520160 h 1476755"/>
                <a:gd name="connsiteX80" fmla="*/ 1878235 w 6138100"/>
                <a:gd name="connsiteY80" fmla="*/ 495872 h 1476755"/>
                <a:gd name="connsiteX81" fmla="*/ 1856327 w 6138100"/>
                <a:gd name="connsiteY81" fmla="*/ 495872 h 1476755"/>
                <a:gd name="connsiteX82" fmla="*/ 1856327 w 6138100"/>
                <a:gd name="connsiteY82" fmla="*/ 474726 h 1476755"/>
                <a:gd name="connsiteX83" fmla="*/ 1845850 w 6138100"/>
                <a:gd name="connsiteY83" fmla="*/ 474726 h 1476755"/>
                <a:gd name="connsiteX84" fmla="*/ 1845850 w 6138100"/>
                <a:gd name="connsiteY84" fmla="*/ 462629 h 1476755"/>
                <a:gd name="connsiteX85" fmla="*/ 1800797 w 6138100"/>
                <a:gd name="connsiteY85" fmla="*/ 462629 h 1476755"/>
                <a:gd name="connsiteX86" fmla="*/ 1800797 w 6138100"/>
                <a:gd name="connsiteY86" fmla="*/ 435864 h 1476755"/>
                <a:gd name="connsiteX87" fmla="*/ 1764697 w 6138100"/>
                <a:gd name="connsiteY87" fmla="*/ 435864 h 1476755"/>
                <a:gd name="connsiteX88" fmla="*/ 1764697 w 6138100"/>
                <a:gd name="connsiteY88" fmla="*/ 421291 h 1476755"/>
                <a:gd name="connsiteX89" fmla="*/ 1716500 w 6138100"/>
                <a:gd name="connsiteY89" fmla="*/ 421291 h 1476755"/>
                <a:gd name="connsiteX90" fmla="*/ 1716500 w 6138100"/>
                <a:gd name="connsiteY90" fmla="*/ 411575 h 1476755"/>
                <a:gd name="connsiteX91" fmla="*/ 1689354 w 6138100"/>
                <a:gd name="connsiteY91" fmla="*/ 411575 h 1476755"/>
                <a:gd name="connsiteX92" fmla="*/ 1689354 w 6138100"/>
                <a:gd name="connsiteY92" fmla="*/ 402622 h 1476755"/>
                <a:gd name="connsiteX93" fmla="*/ 1663446 w 6138100"/>
                <a:gd name="connsiteY93" fmla="*/ 402622 h 1476755"/>
                <a:gd name="connsiteX94" fmla="*/ 1663446 w 6138100"/>
                <a:gd name="connsiteY94" fmla="*/ 390049 h 1476755"/>
                <a:gd name="connsiteX95" fmla="*/ 1625346 w 6138100"/>
                <a:gd name="connsiteY95" fmla="*/ 390049 h 1476755"/>
                <a:gd name="connsiteX96" fmla="*/ 1625346 w 6138100"/>
                <a:gd name="connsiteY96" fmla="*/ 373571 h 1476755"/>
                <a:gd name="connsiteX97" fmla="*/ 1551527 w 6138100"/>
                <a:gd name="connsiteY97" fmla="*/ 373571 h 1476755"/>
                <a:gd name="connsiteX98" fmla="*/ 1551527 w 6138100"/>
                <a:gd name="connsiteY98" fmla="*/ 343853 h 1476755"/>
                <a:gd name="connsiteX99" fmla="*/ 1422273 w 6138100"/>
                <a:gd name="connsiteY99" fmla="*/ 343853 h 1476755"/>
                <a:gd name="connsiteX100" fmla="*/ 1422273 w 6138100"/>
                <a:gd name="connsiteY100" fmla="*/ 322421 h 1476755"/>
                <a:gd name="connsiteX101" fmla="*/ 1385316 w 6138100"/>
                <a:gd name="connsiteY101" fmla="*/ 322421 h 1476755"/>
                <a:gd name="connsiteX102" fmla="*/ 1385316 w 6138100"/>
                <a:gd name="connsiteY102" fmla="*/ 304133 h 1476755"/>
                <a:gd name="connsiteX103" fmla="*/ 1355789 w 6138100"/>
                <a:gd name="connsiteY103" fmla="*/ 304133 h 1476755"/>
                <a:gd name="connsiteX104" fmla="*/ 1355789 w 6138100"/>
                <a:gd name="connsiteY104" fmla="*/ 287846 h 1476755"/>
                <a:gd name="connsiteX105" fmla="*/ 1294162 w 6138100"/>
                <a:gd name="connsiteY105" fmla="*/ 287846 h 1476755"/>
                <a:gd name="connsiteX106" fmla="*/ 1294162 w 6138100"/>
                <a:gd name="connsiteY106" fmla="*/ 278987 h 1476755"/>
                <a:gd name="connsiteX107" fmla="*/ 1201388 w 6138100"/>
                <a:gd name="connsiteY107" fmla="*/ 278987 h 1476755"/>
                <a:gd name="connsiteX108" fmla="*/ 1201388 w 6138100"/>
                <a:gd name="connsiteY108" fmla="*/ 240697 h 1476755"/>
                <a:gd name="connsiteX109" fmla="*/ 1081373 w 6138100"/>
                <a:gd name="connsiteY109" fmla="*/ 240697 h 1476755"/>
                <a:gd name="connsiteX110" fmla="*/ 1081373 w 6138100"/>
                <a:gd name="connsiteY110" fmla="*/ 216598 h 1476755"/>
                <a:gd name="connsiteX111" fmla="*/ 995077 w 6138100"/>
                <a:gd name="connsiteY111" fmla="*/ 216598 h 1476755"/>
                <a:gd name="connsiteX112" fmla="*/ 995077 w 6138100"/>
                <a:gd name="connsiteY112" fmla="*/ 200406 h 1476755"/>
                <a:gd name="connsiteX113" fmla="*/ 933069 w 6138100"/>
                <a:gd name="connsiteY113" fmla="*/ 200406 h 1476755"/>
                <a:gd name="connsiteX114" fmla="*/ 933069 w 6138100"/>
                <a:gd name="connsiteY114" fmla="*/ 176879 h 1476755"/>
                <a:gd name="connsiteX115" fmla="*/ 914400 w 6138100"/>
                <a:gd name="connsiteY115" fmla="*/ 176879 h 1476755"/>
                <a:gd name="connsiteX116" fmla="*/ 914400 w 6138100"/>
                <a:gd name="connsiteY116" fmla="*/ 155353 h 1476755"/>
                <a:gd name="connsiteX117" fmla="*/ 896112 w 6138100"/>
                <a:gd name="connsiteY117" fmla="*/ 155353 h 1476755"/>
                <a:gd name="connsiteX118" fmla="*/ 896112 w 6138100"/>
                <a:gd name="connsiteY118" fmla="*/ 145637 h 1476755"/>
                <a:gd name="connsiteX119" fmla="*/ 846296 w 6138100"/>
                <a:gd name="connsiteY119" fmla="*/ 145637 h 1476755"/>
                <a:gd name="connsiteX120" fmla="*/ 846296 w 6138100"/>
                <a:gd name="connsiteY120" fmla="*/ 114014 h 1476755"/>
                <a:gd name="connsiteX121" fmla="*/ 807815 w 6138100"/>
                <a:gd name="connsiteY121" fmla="*/ 114014 h 1476755"/>
                <a:gd name="connsiteX122" fmla="*/ 807815 w 6138100"/>
                <a:gd name="connsiteY122" fmla="*/ 106394 h 1476755"/>
                <a:gd name="connsiteX123" fmla="*/ 721043 w 6138100"/>
                <a:gd name="connsiteY123" fmla="*/ 106394 h 1476755"/>
                <a:gd name="connsiteX124" fmla="*/ 721043 w 6138100"/>
                <a:gd name="connsiteY124" fmla="*/ 90488 h 1476755"/>
                <a:gd name="connsiteX125" fmla="*/ 662654 w 6138100"/>
                <a:gd name="connsiteY125" fmla="*/ 90488 h 1476755"/>
                <a:gd name="connsiteX126" fmla="*/ 662654 w 6138100"/>
                <a:gd name="connsiteY126" fmla="*/ 72009 h 1476755"/>
                <a:gd name="connsiteX127" fmla="*/ 563785 w 6138100"/>
                <a:gd name="connsiteY127" fmla="*/ 72009 h 1476755"/>
                <a:gd name="connsiteX128" fmla="*/ 563785 w 6138100"/>
                <a:gd name="connsiteY128" fmla="*/ 66580 h 1476755"/>
                <a:gd name="connsiteX129" fmla="*/ 517208 w 6138100"/>
                <a:gd name="connsiteY129" fmla="*/ 66580 h 1476755"/>
                <a:gd name="connsiteX130" fmla="*/ 517208 w 6138100"/>
                <a:gd name="connsiteY130" fmla="*/ 58007 h 1476755"/>
                <a:gd name="connsiteX131" fmla="*/ 477012 w 6138100"/>
                <a:gd name="connsiteY131" fmla="*/ 58007 h 1476755"/>
                <a:gd name="connsiteX132" fmla="*/ 477012 w 6138100"/>
                <a:gd name="connsiteY132" fmla="*/ 38671 h 1476755"/>
                <a:gd name="connsiteX133" fmla="*/ 417862 w 6138100"/>
                <a:gd name="connsiteY133" fmla="*/ 38671 h 1476755"/>
                <a:gd name="connsiteX134" fmla="*/ 417862 w 6138100"/>
                <a:gd name="connsiteY134" fmla="*/ 36195 h 1476755"/>
                <a:gd name="connsiteX135" fmla="*/ 316897 w 6138100"/>
                <a:gd name="connsiteY135" fmla="*/ 36195 h 1476755"/>
                <a:gd name="connsiteX136" fmla="*/ 316897 w 6138100"/>
                <a:gd name="connsiteY136" fmla="*/ 17526 h 1476755"/>
                <a:gd name="connsiteX137" fmla="*/ 108204 w 6138100"/>
                <a:gd name="connsiteY137" fmla="*/ 17526 h 1476755"/>
                <a:gd name="connsiteX138" fmla="*/ 108204 w 6138100"/>
                <a:gd name="connsiteY138" fmla="*/ 0 h 1476755"/>
                <a:gd name="connsiteX139" fmla="*/ 0 w 6138100"/>
                <a:gd name="connsiteY139" fmla="*/ 0 h 147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138100" h="1476755">
                  <a:moveTo>
                    <a:pt x="6138101" y="1476756"/>
                  </a:moveTo>
                  <a:lnTo>
                    <a:pt x="4872704" y="1476756"/>
                  </a:lnTo>
                  <a:lnTo>
                    <a:pt x="4872704" y="1424464"/>
                  </a:lnTo>
                  <a:lnTo>
                    <a:pt x="4614101" y="1424464"/>
                  </a:lnTo>
                  <a:lnTo>
                    <a:pt x="4614101" y="1387126"/>
                  </a:lnTo>
                  <a:lnTo>
                    <a:pt x="4386739" y="1387126"/>
                  </a:lnTo>
                  <a:lnTo>
                    <a:pt x="4386739" y="1351883"/>
                  </a:lnTo>
                  <a:lnTo>
                    <a:pt x="4347401" y="1351883"/>
                  </a:lnTo>
                  <a:lnTo>
                    <a:pt x="4347401" y="1319022"/>
                  </a:lnTo>
                  <a:lnTo>
                    <a:pt x="4224623" y="1319022"/>
                  </a:lnTo>
                  <a:lnTo>
                    <a:pt x="4224623" y="1295495"/>
                  </a:lnTo>
                  <a:lnTo>
                    <a:pt x="4035743" y="1295495"/>
                  </a:lnTo>
                  <a:lnTo>
                    <a:pt x="4035743" y="1270826"/>
                  </a:lnTo>
                  <a:lnTo>
                    <a:pt x="3915347" y="1270826"/>
                  </a:lnTo>
                  <a:lnTo>
                    <a:pt x="3915347" y="1221772"/>
                  </a:lnTo>
                  <a:lnTo>
                    <a:pt x="3698558" y="1221772"/>
                  </a:lnTo>
                  <a:lnTo>
                    <a:pt x="3698558" y="1203960"/>
                  </a:lnTo>
                  <a:lnTo>
                    <a:pt x="3673793" y="1203960"/>
                  </a:lnTo>
                  <a:lnTo>
                    <a:pt x="3673793" y="1167479"/>
                  </a:lnTo>
                  <a:lnTo>
                    <a:pt x="3643122" y="1167479"/>
                  </a:lnTo>
                  <a:lnTo>
                    <a:pt x="3643122" y="1132237"/>
                  </a:lnTo>
                  <a:lnTo>
                    <a:pt x="3405854" y="1132237"/>
                  </a:lnTo>
                  <a:lnTo>
                    <a:pt x="3405854" y="1115568"/>
                  </a:lnTo>
                  <a:lnTo>
                    <a:pt x="3332893" y="1115568"/>
                  </a:lnTo>
                  <a:lnTo>
                    <a:pt x="3332893" y="1099185"/>
                  </a:lnTo>
                  <a:lnTo>
                    <a:pt x="3239738" y="1099185"/>
                  </a:lnTo>
                  <a:lnTo>
                    <a:pt x="3239738" y="1081564"/>
                  </a:lnTo>
                  <a:lnTo>
                    <a:pt x="3172778" y="1081564"/>
                  </a:lnTo>
                  <a:lnTo>
                    <a:pt x="3172778" y="1064895"/>
                  </a:lnTo>
                  <a:lnTo>
                    <a:pt x="3120295" y="1064895"/>
                  </a:lnTo>
                  <a:lnTo>
                    <a:pt x="3120295" y="1023557"/>
                  </a:lnTo>
                  <a:lnTo>
                    <a:pt x="3024473" y="1023557"/>
                  </a:lnTo>
                  <a:lnTo>
                    <a:pt x="3024473" y="1014222"/>
                  </a:lnTo>
                  <a:lnTo>
                    <a:pt x="2956751" y="1014222"/>
                  </a:lnTo>
                  <a:lnTo>
                    <a:pt x="2956751" y="978980"/>
                  </a:lnTo>
                  <a:lnTo>
                    <a:pt x="2878550" y="978980"/>
                  </a:lnTo>
                  <a:lnTo>
                    <a:pt x="2878550" y="942118"/>
                  </a:lnTo>
                  <a:lnTo>
                    <a:pt x="2804351" y="942118"/>
                  </a:lnTo>
                  <a:lnTo>
                    <a:pt x="2804351" y="926592"/>
                  </a:lnTo>
                  <a:lnTo>
                    <a:pt x="2785110" y="926592"/>
                  </a:lnTo>
                  <a:lnTo>
                    <a:pt x="2785110" y="902399"/>
                  </a:lnTo>
                  <a:lnTo>
                    <a:pt x="2736723" y="902399"/>
                  </a:lnTo>
                  <a:lnTo>
                    <a:pt x="2736723" y="881729"/>
                  </a:lnTo>
                  <a:lnTo>
                    <a:pt x="2689670" y="881729"/>
                  </a:lnTo>
                  <a:lnTo>
                    <a:pt x="2689670" y="854107"/>
                  </a:lnTo>
                  <a:lnTo>
                    <a:pt x="2657285" y="854107"/>
                  </a:lnTo>
                  <a:lnTo>
                    <a:pt x="2657285" y="839915"/>
                  </a:lnTo>
                  <a:lnTo>
                    <a:pt x="2538889" y="839915"/>
                  </a:lnTo>
                  <a:lnTo>
                    <a:pt x="2538889" y="822484"/>
                  </a:lnTo>
                  <a:lnTo>
                    <a:pt x="2496312" y="822484"/>
                  </a:lnTo>
                  <a:lnTo>
                    <a:pt x="2496312" y="799338"/>
                  </a:lnTo>
                  <a:lnTo>
                    <a:pt x="2428589" y="799338"/>
                  </a:lnTo>
                  <a:lnTo>
                    <a:pt x="2428589" y="781622"/>
                  </a:lnTo>
                  <a:lnTo>
                    <a:pt x="2397443" y="781622"/>
                  </a:lnTo>
                  <a:lnTo>
                    <a:pt x="2397443" y="764191"/>
                  </a:lnTo>
                  <a:lnTo>
                    <a:pt x="2337626" y="764191"/>
                  </a:lnTo>
                  <a:lnTo>
                    <a:pt x="2337626" y="744284"/>
                  </a:lnTo>
                  <a:lnTo>
                    <a:pt x="2219897" y="744284"/>
                  </a:lnTo>
                  <a:lnTo>
                    <a:pt x="2219897" y="731330"/>
                  </a:lnTo>
                  <a:lnTo>
                    <a:pt x="2197227" y="731330"/>
                  </a:lnTo>
                  <a:lnTo>
                    <a:pt x="2197227" y="697706"/>
                  </a:lnTo>
                  <a:lnTo>
                    <a:pt x="2157508" y="697706"/>
                  </a:lnTo>
                  <a:lnTo>
                    <a:pt x="2157508" y="684752"/>
                  </a:lnTo>
                  <a:lnTo>
                    <a:pt x="2127123" y="684752"/>
                  </a:lnTo>
                  <a:lnTo>
                    <a:pt x="2127123" y="672560"/>
                  </a:lnTo>
                  <a:lnTo>
                    <a:pt x="2112931" y="672560"/>
                  </a:lnTo>
                  <a:lnTo>
                    <a:pt x="2112931" y="646938"/>
                  </a:lnTo>
                  <a:lnTo>
                    <a:pt x="2033873" y="646938"/>
                  </a:lnTo>
                  <a:lnTo>
                    <a:pt x="2033873" y="617792"/>
                  </a:lnTo>
                  <a:lnTo>
                    <a:pt x="2001012" y="617792"/>
                  </a:lnTo>
                  <a:lnTo>
                    <a:pt x="2001012" y="597980"/>
                  </a:lnTo>
                  <a:lnTo>
                    <a:pt x="1974723" y="597980"/>
                  </a:lnTo>
                  <a:lnTo>
                    <a:pt x="1974723" y="579311"/>
                  </a:lnTo>
                  <a:lnTo>
                    <a:pt x="1939481" y="579311"/>
                  </a:lnTo>
                  <a:lnTo>
                    <a:pt x="1939481" y="561499"/>
                  </a:lnTo>
                  <a:lnTo>
                    <a:pt x="1911858" y="561499"/>
                  </a:lnTo>
                  <a:lnTo>
                    <a:pt x="1911858" y="542449"/>
                  </a:lnTo>
                  <a:lnTo>
                    <a:pt x="1896047" y="542449"/>
                  </a:lnTo>
                  <a:lnTo>
                    <a:pt x="1896047" y="520160"/>
                  </a:lnTo>
                  <a:lnTo>
                    <a:pt x="1878235" y="520160"/>
                  </a:lnTo>
                  <a:lnTo>
                    <a:pt x="1878235" y="495872"/>
                  </a:lnTo>
                  <a:lnTo>
                    <a:pt x="1856327" y="495872"/>
                  </a:lnTo>
                  <a:lnTo>
                    <a:pt x="1856327" y="474726"/>
                  </a:lnTo>
                  <a:lnTo>
                    <a:pt x="1845850" y="474726"/>
                  </a:lnTo>
                  <a:lnTo>
                    <a:pt x="1845850" y="462629"/>
                  </a:lnTo>
                  <a:lnTo>
                    <a:pt x="1800797" y="462629"/>
                  </a:lnTo>
                  <a:lnTo>
                    <a:pt x="1800797" y="435864"/>
                  </a:lnTo>
                  <a:lnTo>
                    <a:pt x="1764697" y="435864"/>
                  </a:lnTo>
                  <a:lnTo>
                    <a:pt x="1764697" y="421291"/>
                  </a:lnTo>
                  <a:lnTo>
                    <a:pt x="1716500" y="421291"/>
                  </a:lnTo>
                  <a:lnTo>
                    <a:pt x="1716500" y="411575"/>
                  </a:lnTo>
                  <a:lnTo>
                    <a:pt x="1689354" y="411575"/>
                  </a:lnTo>
                  <a:lnTo>
                    <a:pt x="1689354" y="402622"/>
                  </a:lnTo>
                  <a:lnTo>
                    <a:pt x="1663446" y="402622"/>
                  </a:lnTo>
                  <a:lnTo>
                    <a:pt x="1663446" y="390049"/>
                  </a:lnTo>
                  <a:lnTo>
                    <a:pt x="1625346" y="390049"/>
                  </a:lnTo>
                  <a:lnTo>
                    <a:pt x="1625346" y="373571"/>
                  </a:lnTo>
                  <a:lnTo>
                    <a:pt x="1551527" y="373571"/>
                  </a:lnTo>
                  <a:lnTo>
                    <a:pt x="1551527" y="343853"/>
                  </a:lnTo>
                  <a:lnTo>
                    <a:pt x="1422273" y="343853"/>
                  </a:lnTo>
                  <a:lnTo>
                    <a:pt x="1422273" y="322421"/>
                  </a:lnTo>
                  <a:lnTo>
                    <a:pt x="1385316" y="322421"/>
                  </a:lnTo>
                  <a:lnTo>
                    <a:pt x="1385316" y="304133"/>
                  </a:lnTo>
                  <a:lnTo>
                    <a:pt x="1355789" y="304133"/>
                  </a:lnTo>
                  <a:lnTo>
                    <a:pt x="1355789" y="287846"/>
                  </a:lnTo>
                  <a:lnTo>
                    <a:pt x="1294162" y="287846"/>
                  </a:lnTo>
                  <a:lnTo>
                    <a:pt x="1294162" y="278987"/>
                  </a:lnTo>
                  <a:lnTo>
                    <a:pt x="1201388" y="278987"/>
                  </a:lnTo>
                  <a:lnTo>
                    <a:pt x="1201388" y="240697"/>
                  </a:lnTo>
                  <a:lnTo>
                    <a:pt x="1081373" y="240697"/>
                  </a:lnTo>
                  <a:lnTo>
                    <a:pt x="1081373" y="216598"/>
                  </a:lnTo>
                  <a:lnTo>
                    <a:pt x="995077" y="216598"/>
                  </a:lnTo>
                  <a:lnTo>
                    <a:pt x="995077" y="200406"/>
                  </a:lnTo>
                  <a:lnTo>
                    <a:pt x="933069" y="200406"/>
                  </a:lnTo>
                  <a:lnTo>
                    <a:pt x="933069" y="176879"/>
                  </a:lnTo>
                  <a:lnTo>
                    <a:pt x="914400" y="176879"/>
                  </a:lnTo>
                  <a:lnTo>
                    <a:pt x="914400" y="155353"/>
                  </a:lnTo>
                  <a:lnTo>
                    <a:pt x="896112" y="155353"/>
                  </a:lnTo>
                  <a:lnTo>
                    <a:pt x="896112" y="145637"/>
                  </a:lnTo>
                  <a:lnTo>
                    <a:pt x="846296" y="145637"/>
                  </a:lnTo>
                  <a:lnTo>
                    <a:pt x="846296" y="114014"/>
                  </a:lnTo>
                  <a:lnTo>
                    <a:pt x="807815" y="114014"/>
                  </a:lnTo>
                  <a:lnTo>
                    <a:pt x="807815" y="106394"/>
                  </a:lnTo>
                  <a:lnTo>
                    <a:pt x="721043" y="106394"/>
                  </a:lnTo>
                  <a:lnTo>
                    <a:pt x="721043" y="90488"/>
                  </a:lnTo>
                  <a:lnTo>
                    <a:pt x="662654" y="90488"/>
                  </a:lnTo>
                  <a:lnTo>
                    <a:pt x="662654" y="72009"/>
                  </a:lnTo>
                  <a:lnTo>
                    <a:pt x="563785" y="72009"/>
                  </a:lnTo>
                  <a:lnTo>
                    <a:pt x="563785" y="66580"/>
                  </a:lnTo>
                  <a:lnTo>
                    <a:pt x="517208" y="66580"/>
                  </a:lnTo>
                  <a:lnTo>
                    <a:pt x="517208" y="58007"/>
                  </a:lnTo>
                  <a:lnTo>
                    <a:pt x="477012" y="58007"/>
                  </a:lnTo>
                  <a:lnTo>
                    <a:pt x="477012" y="38671"/>
                  </a:lnTo>
                  <a:lnTo>
                    <a:pt x="417862" y="38671"/>
                  </a:lnTo>
                  <a:lnTo>
                    <a:pt x="417862" y="36195"/>
                  </a:lnTo>
                  <a:lnTo>
                    <a:pt x="316897" y="36195"/>
                  </a:lnTo>
                  <a:lnTo>
                    <a:pt x="316897" y="17526"/>
                  </a:lnTo>
                  <a:lnTo>
                    <a:pt x="108204" y="17526"/>
                  </a:lnTo>
                  <a:lnTo>
                    <a:pt x="108204"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1" name="Group 11250">
            <a:extLst>
              <a:ext uri="{FF2B5EF4-FFF2-40B4-BE49-F238E27FC236}">
                <a16:creationId xmlns:a16="http://schemas.microsoft.com/office/drawing/2014/main" id="{B2D714A1-AA6D-D57C-78E6-7297D804D922}"/>
              </a:ext>
            </a:extLst>
          </p:cNvPr>
          <p:cNvGrpSpPr/>
          <p:nvPr/>
        </p:nvGrpSpPr>
        <p:grpSpPr bwMode="gray">
          <a:xfrm>
            <a:off x="699188" y="1456804"/>
            <a:ext cx="6428961" cy="1511045"/>
            <a:chOff x="3186112" y="2671762"/>
            <a:chExt cx="5824347" cy="1511045"/>
          </a:xfrm>
        </p:grpSpPr>
        <p:grpSp>
          <p:nvGrpSpPr>
            <p:cNvPr id="11252" name="Graphic 471">
              <a:extLst>
                <a:ext uri="{FF2B5EF4-FFF2-40B4-BE49-F238E27FC236}">
                  <a16:creationId xmlns:a16="http://schemas.microsoft.com/office/drawing/2014/main" id="{72D50CAE-B1AF-5934-1147-0DCCA2C9ABD1}"/>
                </a:ext>
              </a:extLst>
            </p:cNvPr>
            <p:cNvGrpSpPr/>
            <p:nvPr/>
          </p:nvGrpSpPr>
          <p:grpSpPr bwMode="gray">
            <a:xfrm>
              <a:off x="3186112" y="2671762"/>
              <a:ext cx="5824347" cy="1511045"/>
              <a:chOff x="3186112" y="2671762"/>
              <a:chExt cx="5824347" cy="1511045"/>
            </a:xfrm>
          </p:grpSpPr>
          <p:grpSp>
            <p:nvGrpSpPr>
              <p:cNvPr id="11254" name="Graphic 471">
                <a:extLst>
                  <a:ext uri="{FF2B5EF4-FFF2-40B4-BE49-F238E27FC236}">
                    <a16:creationId xmlns:a16="http://schemas.microsoft.com/office/drawing/2014/main" id="{15F32C22-A868-2CEA-706F-8A307CA57FCA}"/>
                  </a:ext>
                </a:extLst>
              </p:cNvPr>
              <p:cNvGrpSpPr/>
              <p:nvPr/>
            </p:nvGrpSpPr>
            <p:grpSpPr bwMode="gray">
              <a:xfrm>
                <a:off x="8934735" y="4107084"/>
                <a:ext cx="75723" cy="75723"/>
                <a:chOff x="8934735" y="4107084"/>
                <a:chExt cx="75723" cy="75723"/>
              </a:xfrm>
            </p:grpSpPr>
            <p:sp>
              <p:nvSpPr>
                <p:cNvPr id="11588" name="Freeform: Shape 11587">
                  <a:extLst>
                    <a:ext uri="{FF2B5EF4-FFF2-40B4-BE49-F238E27FC236}">
                      <a16:creationId xmlns:a16="http://schemas.microsoft.com/office/drawing/2014/main" id="{329DD926-D3E6-97A5-E275-A87FA2531F39}"/>
                    </a:ext>
                  </a:extLst>
                </p:cNvPr>
                <p:cNvSpPr/>
                <p:nvPr/>
              </p:nvSpPr>
              <p:spPr bwMode="gray">
                <a:xfrm>
                  <a:off x="897254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89" name="Freeform: Shape 11588">
                  <a:extLst>
                    <a:ext uri="{FF2B5EF4-FFF2-40B4-BE49-F238E27FC236}">
                      <a16:creationId xmlns:a16="http://schemas.microsoft.com/office/drawing/2014/main" id="{3E8F5CDA-5417-4B0D-DA79-D3CD3FFD6D25}"/>
                    </a:ext>
                  </a:extLst>
                </p:cNvPr>
                <p:cNvSpPr/>
                <p:nvPr/>
              </p:nvSpPr>
              <p:spPr bwMode="gray">
                <a:xfrm>
                  <a:off x="89347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5" name="Graphic 471">
                <a:extLst>
                  <a:ext uri="{FF2B5EF4-FFF2-40B4-BE49-F238E27FC236}">
                    <a16:creationId xmlns:a16="http://schemas.microsoft.com/office/drawing/2014/main" id="{A740B173-1569-D589-7A98-66A12F239F6F}"/>
                  </a:ext>
                </a:extLst>
              </p:cNvPr>
              <p:cNvGrpSpPr/>
              <p:nvPr/>
            </p:nvGrpSpPr>
            <p:grpSpPr bwMode="gray">
              <a:xfrm>
                <a:off x="8759189" y="4107084"/>
                <a:ext cx="75723" cy="75723"/>
                <a:chOff x="8759189" y="4107084"/>
                <a:chExt cx="75723" cy="75723"/>
              </a:xfrm>
            </p:grpSpPr>
            <p:sp>
              <p:nvSpPr>
                <p:cNvPr id="11586" name="Freeform: Shape 11585">
                  <a:extLst>
                    <a:ext uri="{FF2B5EF4-FFF2-40B4-BE49-F238E27FC236}">
                      <a16:creationId xmlns:a16="http://schemas.microsoft.com/office/drawing/2014/main" id="{161CE873-6E6C-BC79-11B0-7B2902919CAF}"/>
                    </a:ext>
                  </a:extLst>
                </p:cNvPr>
                <p:cNvSpPr/>
                <p:nvPr/>
              </p:nvSpPr>
              <p:spPr bwMode="gray">
                <a:xfrm>
                  <a:off x="879709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87" name="Freeform: Shape 11586">
                  <a:extLst>
                    <a:ext uri="{FF2B5EF4-FFF2-40B4-BE49-F238E27FC236}">
                      <a16:creationId xmlns:a16="http://schemas.microsoft.com/office/drawing/2014/main" id="{901BC7DA-CBE4-1CF6-B56B-9504E016F268}"/>
                    </a:ext>
                  </a:extLst>
                </p:cNvPr>
                <p:cNvSpPr/>
                <p:nvPr/>
              </p:nvSpPr>
              <p:spPr bwMode="gray">
                <a:xfrm>
                  <a:off x="87591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6" name="Graphic 471">
                <a:extLst>
                  <a:ext uri="{FF2B5EF4-FFF2-40B4-BE49-F238E27FC236}">
                    <a16:creationId xmlns:a16="http://schemas.microsoft.com/office/drawing/2014/main" id="{700F9CA0-097F-1CC9-229B-D0591AF22F3D}"/>
                  </a:ext>
                </a:extLst>
              </p:cNvPr>
              <p:cNvGrpSpPr/>
              <p:nvPr/>
            </p:nvGrpSpPr>
            <p:grpSpPr bwMode="gray">
              <a:xfrm>
                <a:off x="8687466" y="4107084"/>
                <a:ext cx="75723" cy="75723"/>
                <a:chOff x="8687466" y="4107084"/>
                <a:chExt cx="75723" cy="75723"/>
              </a:xfrm>
            </p:grpSpPr>
            <p:sp>
              <p:nvSpPr>
                <p:cNvPr id="11584" name="Freeform: Shape 11583">
                  <a:extLst>
                    <a:ext uri="{FF2B5EF4-FFF2-40B4-BE49-F238E27FC236}">
                      <a16:creationId xmlns:a16="http://schemas.microsoft.com/office/drawing/2014/main" id="{265839AC-8F54-92B0-78B6-FE00C719AEA2}"/>
                    </a:ext>
                  </a:extLst>
                </p:cNvPr>
                <p:cNvSpPr/>
                <p:nvPr/>
              </p:nvSpPr>
              <p:spPr bwMode="gray">
                <a:xfrm>
                  <a:off x="872537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85" name="Freeform: Shape 11584">
                  <a:extLst>
                    <a:ext uri="{FF2B5EF4-FFF2-40B4-BE49-F238E27FC236}">
                      <a16:creationId xmlns:a16="http://schemas.microsoft.com/office/drawing/2014/main" id="{023857FB-0809-EBAE-CA07-CF0BF8B34FFA}"/>
                    </a:ext>
                  </a:extLst>
                </p:cNvPr>
                <p:cNvSpPr/>
                <p:nvPr/>
              </p:nvSpPr>
              <p:spPr bwMode="gray">
                <a:xfrm>
                  <a:off x="868746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7" name="Graphic 471">
                <a:extLst>
                  <a:ext uri="{FF2B5EF4-FFF2-40B4-BE49-F238E27FC236}">
                    <a16:creationId xmlns:a16="http://schemas.microsoft.com/office/drawing/2014/main" id="{28F99BF5-D2C8-D643-AE38-803B15DBB86A}"/>
                  </a:ext>
                </a:extLst>
              </p:cNvPr>
              <p:cNvGrpSpPr/>
              <p:nvPr/>
            </p:nvGrpSpPr>
            <p:grpSpPr bwMode="gray">
              <a:xfrm>
                <a:off x="8430958" y="4107084"/>
                <a:ext cx="75628" cy="75723"/>
                <a:chOff x="8430958" y="4107084"/>
                <a:chExt cx="75628" cy="75723"/>
              </a:xfrm>
            </p:grpSpPr>
            <p:sp>
              <p:nvSpPr>
                <p:cNvPr id="11582" name="Freeform: Shape 11581">
                  <a:extLst>
                    <a:ext uri="{FF2B5EF4-FFF2-40B4-BE49-F238E27FC236}">
                      <a16:creationId xmlns:a16="http://schemas.microsoft.com/office/drawing/2014/main" id="{B9239B1B-C1FA-C3FC-EB44-BD4BA1B40326}"/>
                    </a:ext>
                  </a:extLst>
                </p:cNvPr>
                <p:cNvSpPr/>
                <p:nvPr/>
              </p:nvSpPr>
              <p:spPr bwMode="gray">
                <a:xfrm>
                  <a:off x="8468772"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83" name="Freeform: Shape 11582">
                  <a:extLst>
                    <a:ext uri="{FF2B5EF4-FFF2-40B4-BE49-F238E27FC236}">
                      <a16:creationId xmlns:a16="http://schemas.microsoft.com/office/drawing/2014/main" id="{A04747D3-322A-8F6B-7446-6A80B3B82521}"/>
                    </a:ext>
                  </a:extLst>
                </p:cNvPr>
                <p:cNvSpPr/>
                <p:nvPr/>
              </p:nvSpPr>
              <p:spPr bwMode="gray">
                <a:xfrm>
                  <a:off x="8430958"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8" name="Graphic 471">
                <a:extLst>
                  <a:ext uri="{FF2B5EF4-FFF2-40B4-BE49-F238E27FC236}">
                    <a16:creationId xmlns:a16="http://schemas.microsoft.com/office/drawing/2014/main" id="{5947BF72-8606-701A-C3A3-26AE34228FA4}"/>
                  </a:ext>
                </a:extLst>
              </p:cNvPr>
              <p:cNvGrpSpPr/>
              <p:nvPr/>
            </p:nvGrpSpPr>
            <p:grpSpPr bwMode="gray">
              <a:xfrm>
                <a:off x="8244077" y="4107084"/>
                <a:ext cx="75723" cy="75723"/>
                <a:chOff x="8244077" y="4107084"/>
                <a:chExt cx="75723" cy="75723"/>
              </a:xfrm>
            </p:grpSpPr>
            <p:sp>
              <p:nvSpPr>
                <p:cNvPr id="11580" name="Freeform: Shape 11579">
                  <a:extLst>
                    <a:ext uri="{FF2B5EF4-FFF2-40B4-BE49-F238E27FC236}">
                      <a16:creationId xmlns:a16="http://schemas.microsoft.com/office/drawing/2014/main" id="{0605632E-3BCD-2471-07E7-3CAD6F457C60}"/>
                    </a:ext>
                  </a:extLst>
                </p:cNvPr>
                <p:cNvSpPr/>
                <p:nvPr/>
              </p:nvSpPr>
              <p:spPr bwMode="gray">
                <a:xfrm>
                  <a:off x="828189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81" name="Freeform: Shape 11580">
                  <a:extLst>
                    <a:ext uri="{FF2B5EF4-FFF2-40B4-BE49-F238E27FC236}">
                      <a16:creationId xmlns:a16="http://schemas.microsoft.com/office/drawing/2014/main" id="{029CB7BC-2BA7-7E22-FB1E-21F72A43A5A5}"/>
                    </a:ext>
                  </a:extLst>
                </p:cNvPr>
                <p:cNvSpPr/>
                <p:nvPr/>
              </p:nvSpPr>
              <p:spPr bwMode="gray">
                <a:xfrm>
                  <a:off x="8244077" y="414489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9" name="Graphic 471">
                <a:extLst>
                  <a:ext uri="{FF2B5EF4-FFF2-40B4-BE49-F238E27FC236}">
                    <a16:creationId xmlns:a16="http://schemas.microsoft.com/office/drawing/2014/main" id="{2CAE76E0-894F-68D6-2B83-6397FBC19476}"/>
                  </a:ext>
                </a:extLst>
              </p:cNvPr>
              <p:cNvGrpSpPr/>
              <p:nvPr/>
            </p:nvGrpSpPr>
            <p:grpSpPr bwMode="gray">
              <a:xfrm>
                <a:off x="8223789" y="4107084"/>
                <a:ext cx="75723" cy="75723"/>
                <a:chOff x="8223789" y="4107084"/>
                <a:chExt cx="75723" cy="75723"/>
              </a:xfrm>
            </p:grpSpPr>
            <p:sp>
              <p:nvSpPr>
                <p:cNvPr id="11578" name="Freeform: Shape 11577">
                  <a:extLst>
                    <a:ext uri="{FF2B5EF4-FFF2-40B4-BE49-F238E27FC236}">
                      <a16:creationId xmlns:a16="http://schemas.microsoft.com/office/drawing/2014/main" id="{F4AB0162-C872-CC6F-90D1-8CF8F66BC1B0}"/>
                    </a:ext>
                  </a:extLst>
                </p:cNvPr>
                <p:cNvSpPr/>
                <p:nvPr/>
              </p:nvSpPr>
              <p:spPr bwMode="gray">
                <a:xfrm>
                  <a:off x="826160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79" name="Freeform: Shape 11578">
                  <a:extLst>
                    <a:ext uri="{FF2B5EF4-FFF2-40B4-BE49-F238E27FC236}">
                      <a16:creationId xmlns:a16="http://schemas.microsoft.com/office/drawing/2014/main" id="{520E8247-056B-8B4F-FF20-135967C51769}"/>
                    </a:ext>
                  </a:extLst>
                </p:cNvPr>
                <p:cNvSpPr/>
                <p:nvPr/>
              </p:nvSpPr>
              <p:spPr bwMode="gray">
                <a:xfrm>
                  <a:off x="82237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0" name="Graphic 471">
                <a:extLst>
                  <a:ext uri="{FF2B5EF4-FFF2-40B4-BE49-F238E27FC236}">
                    <a16:creationId xmlns:a16="http://schemas.microsoft.com/office/drawing/2014/main" id="{E7C346C2-0037-E90F-620D-AFC8D9C746BE}"/>
                  </a:ext>
                </a:extLst>
              </p:cNvPr>
              <p:cNvGrpSpPr/>
              <p:nvPr/>
            </p:nvGrpSpPr>
            <p:grpSpPr bwMode="gray">
              <a:xfrm>
                <a:off x="8163019" y="4107084"/>
                <a:ext cx="75628" cy="75723"/>
                <a:chOff x="8163019" y="4107084"/>
                <a:chExt cx="75628" cy="75723"/>
              </a:xfrm>
            </p:grpSpPr>
            <p:sp>
              <p:nvSpPr>
                <p:cNvPr id="11576" name="Freeform: Shape 11575">
                  <a:extLst>
                    <a:ext uri="{FF2B5EF4-FFF2-40B4-BE49-F238E27FC236}">
                      <a16:creationId xmlns:a16="http://schemas.microsoft.com/office/drawing/2014/main" id="{E26D4867-7894-68F2-F6FE-859AB9D832D5}"/>
                    </a:ext>
                  </a:extLst>
                </p:cNvPr>
                <p:cNvSpPr/>
                <p:nvPr/>
              </p:nvSpPr>
              <p:spPr bwMode="gray">
                <a:xfrm>
                  <a:off x="820083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77" name="Freeform: Shape 11576">
                  <a:extLst>
                    <a:ext uri="{FF2B5EF4-FFF2-40B4-BE49-F238E27FC236}">
                      <a16:creationId xmlns:a16="http://schemas.microsoft.com/office/drawing/2014/main" id="{D2D80DDB-A8E8-9F31-AC2D-F7986721781B}"/>
                    </a:ext>
                  </a:extLst>
                </p:cNvPr>
                <p:cNvSpPr/>
                <p:nvPr/>
              </p:nvSpPr>
              <p:spPr bwMode="gray">
                <a:xfrm>
                  <a:off x="8163019"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1" name="Graphic 471">
                <a:extLst>
                  <a:ext uri="{FF2B5EF4-FFF2-40B4-BE49-F238E27FC236}">
                    <a16:creationId xmlns:a16="http://schemas.microsoft.com/office/drawing/2014/main" id="{3D2F0567-6A21-4A1D-8E25-BB5E14E3976F}"/>
                  </a:ext>
                </a:extLst>
              </p:cNvPr>
              <p:cNvGrpSpPr/>
              <p:nvPr/>
            </p:nvGrpSpPr>
            <p:grpSpPr bwMode="gray">
              <a:xfrm>
                <a:off x="8095297" y="4107084"/>
                <a:ext cx="75723" cy="75723"/>
                <a:chOff x="8095297" y="4107084"/>
                <a:chExt cx="75723" cy="75723"/>
              </a:xfrm>
            </p:grpSpPr>
            <p:sp>
              <p:nvSpPr>
                <p:cNvPr id="11574" name="Freeform: Shape 11573">
                  <a:extLst>
                    <a:ext uri="{FF2B5EF4-FFF2-40B4-BE49-F238E27FC236}">
                      <a16:creationId xmlns:a16="http://schemas.microsoft.com/office/drawing/2014/main" id="{50FC2786-D93B-606D-6D44-B1837699CD29}"/>
                    </a:ext>
                  </a:extLst>
                </p:cNvPr>
                <p:cNvSpPr/>
                <p:nvPr/>
              </p:nvSpPr>
              <p:spPr bwMode="gray">
                <a:xfrm>
                  <a:off x="813311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75" name="Freeform: Shape 11574">
                  <a:extLst>
                    <a:ext uri="{FF2B5EF4-FFF2-40B4-BE49-F238E27FC236}">
                      <a16:creationId xmlns:a16="http://schemas.microsoft.com/office/drawing/2014/main" id="{171805A4-F151-AE4C-E10D-5D627386D833}"/>
                    </a:ext>
                  </a:extLst>
                </p:cNvPr>
                <p:cNvSpPr/>
                <p:nvPr/>
              </p:nvSpPr>
              <p:spPr bwMode="gray">
                <a:xfrm>
                  <a:off x="809529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2" name="Graphic 471">
                <a:extLst>
                  <a:ext uri="{FF2B5EF4-FFF2-40B4-BE49-F238E27FC236}">
                    <a16:creationId xmlns:a16="http://schemas.microsoft.com/office/drawing/2014/main" id="{3A038C4B-B4DE-EBCA-9AEA-D315ECA2C04D}"/>
                  </a:ext>
                </a:extLst>
              </p:cNvPr>
              <p:cNvGrpSpPr/>
              <p:nvPr/>
            </p:nvGrpSpPr>
            <p:grpSpPr bwMode="gray">
              <a:xfrm>
                <a:off x="8060435" y="4107084"/>
                <a:ext cx="75723" cy="75723"/>
                <a:chOff x="8060435" y="4107084"/>
                <a:chExt cx="75723" cy="75723"/>
              </a:xfrm>
            </p:grpSpPr>
            <p:sp>
              <p:nvSpPr>
                <p:cNvPr id="11572" name="Freeform: Shape 11571">
                  <a:extLst>
                    <a:ext uri="{FF2B5EF4-FFF2-40B4-BE49-F238E27FC236}">
                      <a16:creationId xmlns:a16="http://schemas.microsoft.com/office/drawing/2014/main" id="{762CDF16-9F32-3DF7-DA68-1B9E662206DF}"/>
                    </a:ext>
                  </a:extLst>
                </p:cNvPr>
                <p:cNvSpPr/>
                <p:nvPr/>
              </p:nvSpPr>
              <p:spPr bwMode="gray">
                <a:xfrm>
                  <a:off x="80983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73" name="Freeform: Shape 11572">
                  <a:extLst>
                    <a:ext uri="{FF2B5EF4-FFF2-40B4-BE49-F238E27FC236}">
                      <a16:creationId xmlns:a16="http://schemas.microsoft.com/office/drawing/2014/main" id="{BBFFFE01-03BA-F24D-5483-37B4534ED972}"/>
                    </a:ext>
                  </a:extLst>
                </p:cNvPr>
                <p:cNvSpPr/>
                <p:nvPr/>
              </p:nvSpPr>
              <p:spPr bwMode="gray">
                <a:xfrm>
                  <a:off x="80604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3" name="Graphic 471">
                <a:extLst>
                  <a:ext uri="{FF2B5EF4-FFF2-40B4-BE49-F238E27FC236}">
                    <a16:creationId xmlns:a16="http://schemas.microsoft.com/office/drawing/2014/main" id="{3FE782DD-A129-FD5B-BADC-16AD1FCB4E2C}"/>
                  </a:ext>
                </a:extLst>
              </p:cNvPr>
              <p:cNvGrpSpPr/>
              <p:nvPr/>
            </p:nvGrpSpPr>
            <p:grpSpPr bwMode="gray">
              <a:xfrm>
                <a:off x="7877650" y="4107084"/>
                <a:ext cx="75723" cy="75723"/>
                <a:chOff x="7877650" y="4107084"/>
                <a:chExt cx="75723" cy="75723"/>
              </a:xfrm>
            </p:grpSpPr>
            <p:sp>
              <p:nvSpPr>
                <p:cNvPr id="11570" name="Freeform: Shape 11569">
                  <a:extLst>
                    <a:ext uri="{FF2B5EF4-FFF2-40B4-BE49-F238E27FC236}">
                      <a16:creationId xmlns:a16="http://schemas.microsoft.com/office/drawing/2014/main" id="{E78664AA-53D9-0AE3-9B19-FD7A8924B603}"/>
                    </a:ext>
                  </a:extLst>
                </p:cNvPr>
                <p:cNvSpPr/>
                <p:nvPr/>
              </p:nvSpPr>
              <p:spPr bwMode="gray">
                <a:xfrm>
                  <a:off x="79154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71" name="Freeform: Shape 11570">
                  <a:extLst>
                    <a:ext uri="{FF2B5EF4-FFF2-40B4-BE49-F238E27FC236}">
                      <a16:creationId xmlns:a16="http://schemas.microsoft.com/office/drawing/2014/main" id="{3A310998-4874-5CE7-9616-9422FCF5343B}"/>
                    </a:ext>
                  </a:extLst>
                </p:cNvPr>
                <p:cNvSpPr/>
                <p:nvPr/>
              </p:nvSpPr>
              <p:spPr bwMode="gray">
                <a:xfrm>
                  <a:off x="78776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4" name="Graphic 471">
                <a:extLst>
                  <a:ext uri="{FF2B5EF4-FFF2-40B4-BE49-F238E27FC236}">
                    <a16:creationId xmlns:a16="http://schemas.microsoft.com/office/drawing/2014/main" id="{94D50515-3DA1-A04F-6952-8A89BC683F74}"/>
                  </a:ext>
                </a:extLst>
              </p:cNvPr>
              <p:cNvGrpSpPr/>
              <p:nvPr/>
            </p:nvGrpSpPr>
            <p:grpSpPr bwMode="gray">
              <a:xfrm>
                <a:off x="7829454" y="4107084"/>
                <a:ext cx="75628" cy="75723"/>
                <a:chOff x="7829454" y="4107084"/>
                <a:chExt cx="75628" cy="75723"/>
              </a:xfrm>
            </p:grpSpPr>
            <p:sp>
              <p:nvSpPr>
                <p:cNvPr id="11568" name="Freeform: Shape 11567">
                  <a:extLst>
                    <a:ext uri="{FF2B5EF4-FFF2-40B4-BE49-F238E27FC236}">
                      <a16:creationId xmlns:a16="http://schemas.microsoft.com/office/drawing/2014/main" id="{2B49FF58-7E00-166B-F122-6154C5AC99C7}"/>
                    </a:ext>
                  </a:extLst>
                </p:cNvPr>
                <p:cNvSpPr/>
                <p:nvPr/>
              </p:nvSpPr>
              <p:spPr bwMode="gray">
                <a:xfrm>
                  <a:off x="7867268"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69" name="Freeform: Shape 11568">
                  <a:extLst>
                    <a:ext uri="{FF2B5EF4-FFF2-40B4-BE49-F238E27FC236}">
                      <a16:creationId xmlns:a16="http://schemas.microsoft.com/office/drawing/2014/main" id="{0D618FBF-A600-C42B-CA4F-6F37C5608A86}"/>
                    </a:ext>
                  </a:extLst>
                </p:cNvPr>
                <p:cNvSpPr/>
                <p:nvPr/>
              </p:nvSpPr>
              <p:spPr bwMode="gray">
                <a:xfrm>
                  <a:off x="7829454"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5" name="Graphic 471">
                <a:extLst>
                  <a:ext uri="{FF2B5EF4-FFF2-40B4-BE49-F238E27FC236}">
                    <a16:creationId xmlns:a16="http://schemas.microsoft.com/office/drawing/2014/main" id="{68A858D8-2397-E961-D59A-E5A3228F546D}"/>
                  </a:ext>
                </a:extLst>
              </p:cNvPr>
              <p:cNvGrpSpPr/>
              <p:nvPr/>
            </p:nvGrpSpPr>
            <p:grpSpPr bwMode="gray">
              <a:xfrm>
                <a:off x="7756492" y="4107084"/>
                <a:ext cx="75628" cy="75723"/>
                <a:chOff x="7756492" y="4107084"/>
                <a:chExt cx="75628" cy="75723"/>
              </a:xfrm>
            </p:grpSpPr>
            <p:sp>
              <p:nvSpPr>
                <p:cNvPr id="11566" name="Freeform: Shape 11565">
                  <a:extLst>
                    <a:ext uri="{FF2B5EF4-FFF2-40B4-BE49-F238E27FC236}">
                      <a16:creationId xmlns:a16="http://schemas.microsoft.com/office/drawing/2014/main" id="{00B3C208-F748-DC2C-B6A4-90C5E1AF1F3B}"/>
                    </a:ext>
                  </a:extLst>
                </p:cNvPr>
                <p:cNvSpPr/>
                <p:nvPr/>
              </p:nvSpPr>
              <p:spPr bwMode="gray">
                <a:xfrm>
                  <a:off x="779430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67" name="Freeform: Shape 11566">
                  <a:extLst>
                    <a:ext uri="{FF2B5EF4-FFF2-40B4-BE49-F238E27FC236}">
                      <a16:creationId xmlns:a16="http://schemas.microsoft.com/office/drawing/2014/main" id="{B26AB150-F928-97D7-7FAB-758193216F0F}"/>
                    </a:ext>
                  </a:extLst>
                </p:cNvPr>
                <p:cNvSpPr/>
                <p:nvPr/>
              </p:nvSpPr>
              <p:spPr bwMode="gray">
                <a:xfrm>
                  <a:off x="7756492"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6" name="Graphic 471">
                <a:extLst>
                  <a:ext uri="{FF2B5EF4-FFF2-40B4-BE49-F238E27FC236}">
                    <a16:creationId xmlns:a16="http://schemas.microsoft.com/office/drawing/2014/main" id="{40CB2824-DB36-CEED-BC6F-6911F6F6234C}"/>
                  </a:ext>
                </a:extLst>
              </p:cNvPr>
              <p:cNvGrpSpPr/>
              <p:nvPr/>
            </p:nvGrpSpPr>
            <p:grpSpPr bwMode="gray">
              <a:xfrm>
                <a:off x="7733728" y="4107084"/>
                <a:ext cx="75723" cy="75723"/>
                <a:chOff x="7733728" y="4107084"/>
                <a:chExt cx="75723" cy="75723"/>
              </a:xfrm>
            </p:grpSpPr>
            <p:sp>
              <p:nvSpPr>
                <p:cNvPr id="11564" name="Freeform: Shape 11563">
                  <a:extLst>
                    <a:ext uri="{FF2B5EF4-FFF2-40B4-BE49-F238E27FC236}">
                      <a16:creationId xmlns:a16="http://schemas.microsoft.com/office/drawing/2014/main" id="{9E0255F0-0190-942F-A4DB-2F7C1A9A3AF9}"/>
                    </a:ext>
                  </a:extLst>
                </p:cNvPr>
                <p:cNvSpPr/>
                <p:nvPr/>
              </p:nvSpPr>
              <p:spPr bwMode="gray">
                <a:xfrm>
                  <a:off x="777163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65" name="Freeform: Shape 11564">
                  <a:extLst>
                    <a:ext uri="{FF2B5EF4-FFF2-40B4-BE49-F238E27FC236}">
                      <a16:creationId xmlns:a16="http://schemas.microsoft.com/office/drawing/2014/main" id="{74757979-2BEA-477E-BB7E-6F4B8B1D51B8}"/>
                    </a:ext>
                  </a:extLst>
                </p:cNvPr>
                <p:cNvSpPr/>
                <p:nvPr/>
              </p:nvSpPr>
              <p:spPr bwMode="gray">
                <a:xfrm>
                  <a:off x="7733728"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7" name="Graphic 471">
                <a:extLst>
                  <a:ext uri="{FF2B5EF4-FFF2-40B4-BE49-F238E27FC236}">
                    <a16:creationId xmlns:a16="http://schemas.microsoft.com/office/drawing/2014/main" id="{2F97D707-551B-FAD6-1469-71BF72B07EED}"/>
                  </a:ext>
                </a:extLst>
              </p:cNvPr>
              <p:cNvGrpSpPr/>
              <p:nvPr/>
            </p:nvGrpSpPr>
            <p:grpSpPr bwMode="gray">
              <a:xfrm>
                <a:off x="7715916" y="4107084"/>
                <a:ext cx="75723" cy="75723"/>
                <a:chOff x="7715916" y="4107084"/>
                <a:chExt cx="75723" cy="75723"/>
              </a:xfrm>
            </p:grpSpPr>
            <p:sp>
              <p:nvSpPr>
                <p:cNvPr id="11562" name="Freeform: Shape 11561">
                  <a:extLst>
                    <a:ext uri="{FF2B5EF4-FFF2-40B4-BE49-F238E27FC236}">
                      <a16:creationId xmlns:a16="http://schemas.microsoft.com/office/drawing/2014/main" id="{46246AED-DF79-A679-69C1-F779D3C420C6}"/>
                    </a:ext>
                  </a:extLst>
                </p:cNvPr>
                <p:cNvSpPr/>
                <p:nvPr/>
              </p:nvSpPr>
              <p:spPr bwMode="gray">
                <a:xfrm>
                  <a:off x="775382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63" name="Freeform: Shape 11562">
                  <a:extLst>
                    <a:ext uri="{FF2B5EF4-FFF2-40B4-BE49-F238E27FC236}">
                      <a16:creationId xmlns:a16="http://schemas.microsoft.com/office/drawing/2014/main" id="{9219A251-7F7F-6DC7-F895-0E410B983A96}"/>
                    </a:ext>
                  </a:extLst>
                </p:cNvPr>
                <p:cNvSpPr/>
                <p:nvPr/>
              </p:nvSpPr>
              <p:spPr bwMode="gray">
                <a:xfrm>
                  <a:off x="771591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8" name="Graphic 471">
                <a:extLst>
                  <a:ext uri="{FF2B5EF4-FFF2-40B4-BE49-F238E27FC236}">
                    <a16:creationId xmlns:a16="http://schemas.microsoft.com/office/drawing/2014/main" id="{D729400A-5482-4586-3C60-76BF433E3D6D}"/>
                  </a:ext>
                </a:extLst>
              </p:cNvPr>
              <p:cNvGrpSpPr/>
              <p:nvPr/>
            </p:nvGrpSpPr>
            <p:grpSpPr bwMode="gray">
              <a:xfrm>
                <a:off x="7649050" y="4107084"/>
                <a:ext cx="75723" cy="75723"/>
                <a:chOff x="7649050" y="4107084"/>
                <a:chExt cx="75723" cy="75723"/>
              </a:xfrm>
            </p:grpSpPr>
            <p:sp>
              <p:nvSpPr>
                <p:cNvPr id="11560" name="Freeform: Shape 11559">
                  <a:extLst>
                    <a:ext uri="{FF2B5EF4-FFF2-40B4-BE49-F238E27FC236}">
                      <a16:creationId xmlns:a16="http://schemas.microsoft.com/office/drawing/2014/main" id="{3854535F-1E72-60E3-FEBF-04908E68257A}"/>
                    </a:ext>
                  </a:extLst>
                </p:cNvPr>
                <p:cNvSpPr/>
                <p:nvPr/>
              </p:nvSpPr>
              <p:spPr bwMode="gray">
                <a:xfrm>
                  <a:off x="76868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61" name="Freeform: Shape 11560">
                  <a:extLst>
                    <a:ext uri="{FF2B5EF4-FFF2-40B4-BE49-F238E27FC236}">
                      <a16:creationId xmlns:a16="http://schemas.microsoft.com/office/drawing/2014/main" id="{740C4A51-969C-46D7-20E8-57F1B770D447}"/>
                    </a:ext>
                  </a:extLst>
                </p:cNvPr>
                <p:cNvSpPr/>
                <p:nvPr/>
              </p:nvSpPr>
              <p:spPr bwMode="gray">
                <a:xfrm>
                  <a:off x="76490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69" name="Graphic 471">
                <a:extLst>
                  <a:ext uri="{FF2B5EF4-FFF2-40B4-BE49-F238E27FC236}">
                    <a16:creationId xmlns:a16="http://schemas.microsoft.com/office/drawing/2014/main" id="{D1A375EA-C49E-E66F-BD9A-3883DB1B1EAC}"/>
                  </a:ext>
                </a:extLst>
              </p:cNvPr>
              <p:cNvGrpSpPr/>
              <p:nvPr/>
            </p:nvGrpSpPr>
            <p:grpSpPr bwMode="gray">
              <a:xfrm>
                <a:off x="7635715" y="4107084"/>
                <a:ext cx="75628" cy="75723"/>
                <a:chOff x="7635715" y="4107084"/>
                <a:chExt cx="75628" cy="75723"/>
              </a:xfrm>
            </p:grpSpPr>
            <p:sp>
              <p:nvSpPr>
                <p:cNvPr id="11558" name="Freeform: Shape 11557">
                  <a:extLst>
                    <a:ext uri="{FF2B5EF4-FFF2-40B4-BE49-F238E27FC236}">
                      <a16:creationId xmlns:a16="http://schemas.microsoft.com/office/drawing/2014/main" id="{E3BAD4CA-15D1-3ECB-0725-58FA0818060C}"/>
                    </a:ext>
                  </a:extLst>
                </p:cNvPr>
                <p:cNvSpPr/>
                <p:nvPr/>
              </p:nvSpPr>
              <p:spPr bwMode="gray">
                <a:xfrm>
                  <a:off x="76735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59" name="Freeform: Shape 11558">
                  <a:extLst>
                    <a:ext uri="{FF2B5EF4-FFF2-40B4-BE49-F238E27FC236}">
                      <a16:creationId xmlns:a16="http://schemas.microsoft.com/office/drawing/2014/main" id="{7C8859E6-F670-AC70-D211-7965188A0DE6}"/>
                    </a:ext>
                  </a:extLst>
                </p:cNvPr>
                <p:cNvSpPr/>
                <p:nvPr/>
              </p:nvSpPr>
              <p:spPr bwMode="gray">
                <a:xfrm>
                  <a:off x="76357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0" name="Graphic 471">
                <a:extLst>
                  <a:ext uri="{FF2B5EF4-FFF2-40B4-BE49-F238E27FC236}">
                    <a16:creationId xmlns:a16="http://schemas.microsoft.com/office/drawing/2014/main" id="{8074C64B-72B1-229D-4336-23E2F26F4DFB}"/>
                  </a:ext>
                </a:extLst>
              </p:cNvPr>
              <p:cNvGrpSpPr/>
              <p:nvPr/>
            </p:nvGrpSpPr>
            <p:grpSpPr bwMode="gray">
              <a:xfrm>
                <a:off x="7538370" y="4107084"/>
                <a:ext cx="75723" cy="75723"/>
                <a:chOff x="7538370" y="4107084"/>
                <a:chExt cx="75723" cy="75723"/>
              </a:xfrm>
            </p:grpSpPr>
            <p:sp>
              <p:nvSpPr>
                <p:cNvPr id="11556" name="Freeform: Shape 11555">
                  <a:extLst>
                    <a:ext uri="{FF2B5EF4-FFF2-40B4-BE49-F238E27FC236}">
                      <a16:creationId xmlns:a16="http://schemas.microsoft.com/office/drawing/2014/main" id="{A35B8070-17B9-5F2B-5687-0BC9F5B46D07}"/>
                    </a:ext>
                  </a:extLst>
                </p:cNvPr>
                <p:cNvSpPr/>
                <p:nvPr/>
              </p:nvSpPr>
              <p:spPr bwMode="gray">
                <a:xfrm>
                  <a:off x="757627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57" name="Freeform: Shape 11556">
                  <a:extLst>
                    <a:ext uri="{FF2B5EF4-FFF2-40B4-BE49-F238E27FC236}">
                      <a16:creationId xmlns:a16="http://schemas.microsoft.com/office/drawing/2014/main" id="{62B95B2F-1D31-7411-AFDB-0FD46D51790E}"/>
                    </a:ext>
                  </a:extLst>
                </p:cNvPr>
                <p:cNvSpPr/>
                <p:nvPr/>
              </p:nvSpPr>
              <p:spPr bwMode="gray">
                <a:xfrm>
                  <a:off x="753837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1" name="Graphic 471">
                <a:extLst>
                  <a:ext uri="{FF2B5EF4-FFF2-40B4-BE49-F238E27FC236}">
                    <a16:creationId xmlns:a16="http://schemas.microsoft.com/office/drawing/2014/main" id="{C936DE1D-3F13-40DD-2F8E-E62E4B288910}"/>
                  </a:ext>
                </a:extLst>
              </p:cNvPr>
              <p:cNvGrpSpPr/>
              <p:nvPr/>
            </p:nvGrpSpPr>
            <p:grpSpPr bwMode="gray">
              <a:xfrm>
                <a:off x="7500556" y="4107084"/>
                <a:ext cx="75723" cy="75723"/>
                <a:chOff x="7500556" y="4107084"/>
                <a:chExt cx="75723" cy="75723"/>
              </a:xfrm>
            </p:grpSpPr>
            <p:sp>
              <p:nvSpPr>
                <p:cNvPr id="11554" name="Freeform: Shape 11553">
                  <a:extLst>
                    <a:ext uri="{FF2B5EF4-FFF2-40B4-BE49-F238E27FC236}">
                      <a16:creationId xmlns:a16="http://schemas.microsoft.com/office/drawing/2014/main" id="{8AB493AC-9273-26F9-0051-E98F29ED75B6}"/>
                    </a:ext>
                  </a:extLst>
                </p:cNvPr>
                <p:cNvSpPr/>
                <p:nvPr/>
              </p:nvSpPr>
              <p:spPr bwMode="gray">
                <a:xfrm>
                  <a:off x="753837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55" name="Freeform: Shape 11554">
                  <a:extLst>
                    <a:ext uri="{FF2B5EF4-FFF2-40B4-BE49-F238E27FC236}">
                      <a16:creationId xmlns:a16="http://schemas.microsoft.com/office/drawing/2014/main" id="{B8637D64-9D6E-73C9-D9F3-D449808345CD}"/>
                    </a:ext>
                  </a:extLst>
                </p:cNvPr>
                <p:cNvSpPr/>
                <p:nvPr/>
              </p:nvSpPr>
              <p:spPr bwMode="gray">
                <a:xfrm>
                  <a:off x="750055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2" name="Graphic 471">
                <a:extLst>
                  <a:ext uri="{FF2B5EF4-FFF2-40B4-BE49-F238E27FC236}">
                    <a16:creationId xmlns:a16="http://schemas.microsoft.com/office/drawing/2014/main" id="{D9E84397-6397-4AC8-3E07-BA59B47FEF0F}"/>
                  </a:ext>
                </a:extLst>
              </p:cNvPr>
              <p:cNvGrpSpPr/>
              <p:nvPr/>
            </p:nvGrpSpPr>
            <p:grpSpPr bwMode="gray">
              <a:xfrm>
                <a:off x="7445215" y="4107084"/>
                <a:ext cx="75628" cy="75723"/>
                <a:chOff x="7445215" y="4107084"/>
                <a:chExt cx="75628" cy="75723"/>
              </a:xfrm>
            </p:grpSpPr>
            <p:sp>
              <p:nvSpPr>
                <p:cNvPr id="11552" name="Freeform: Shape 11551">
                  <a:extLst>
                    <a:ext uri="{FF2B5EF4-FFF2-40B4-BE49-F238E27FC236}">
                      <a16:creationId xmlns:a16="http://schemas.microsoft.com/office/drawing/2014/main" id="{78FE42E8-4867-0FD0-611E-2533AD79C0F4}"/>
                    </a:ext>
                  </a:extLst>
                </p:cNvPr>
                <p:cNvSpPr/>
                <p:nvPr/>
              </p:nvSpPr>
              <p:spPr bwMode="gray">
                <a:xfrm>
                  <a:off x="74830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53" name="Freeform: Shape 11552">
                  <a:extLst>
                    <a:ext uri="{FF2B5EF4-FFF2-40B4-BE49-F238E27FC236}">
                      <a16:creationId xmlns:a16="http://schemas.microsoft.com/office/drawing/2014/main" id="{147FC8A2-10DE-BFA0-B4B9-CBD19DBDC2C6}"/>
                    </a:ext>
                  </a:extLst>
                </p:cNvPr>
                <p:cNvSpPr/>
                <p:nvPr/>
              </p:nvSpPr>
              <p:spPr bwMode="gray">
                <a:xfrm>
                  <a:off x="74452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3" name="Graphic 471">
                <a:extLst>
                  <a:ext uri="{FF2B5EF4-FFF2-40B4-BE49-F238E27FC236}">
                    <a16:creationId xmlns:a16="http://schemas.microsoft.com/office/drawing/2014/main" id="{60B046AB-AD01-C01E-1E12-D40F84E0522C}"/>
                  </a:ext>
                </a:extLst>
              </p:cNvPr>
              <p:cNvGrpSpPr/>
              <p:nvPr/>
            </p:nvGrpSpPr>
            <p:grpSpPr bwMode="gray">
              <a:xfrm>
                <a:off x="7402639" y="4107084"/>
                <a:ext cx="75723" cy="75723"/>
                <a:chOff x="7402639" y="4107084"/>
                <a:chExt cx="75723" cy="75723"/>
              </a:xfrm>
            </p:grpSpPr>
            <p:sp>
              <p:nvSpPr>
                <p:cNvPr id="11550" name="Freeform: Shape 11549">
                  <a:extLst>
                    <a:ext uri="{FF2B5EF4-FFF2-40B4-BE49-F238E27FC236}">
                      <a16:creationId xmlns:a16="http://schemas.microsoft.com/office/drawing/2014/main" id="{893F983B-1A98-AB85-C6EE-1055287EDA0F}"/>
                    </a:ext>
                  </a:extLst>
                </p:cNvPr>
                <p:cNvSpPr/>
                <p:nvPr/>
              </p:nvSpPr>
              <p:spPr bwMode="gray">
                <a:xfrm>
                  <a:off x="744045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51" name="Freeform: Shape 11550">
                  <a:extLst>
                    <a:ext uri="{FF2B5EF4-FFF2-40B4-BE49-F238E27FC236}">
                      <a16:creationId xmlns:a16="http://schemas.microsoft.com/office/drawing/2014/main" id="{E96C8827-69EA-EE30-3FBE-A53CE42ACDFA}"/>
                    </a:ext>
                  </a:extLst>
                </p:cNvPr>
                <p:cNvSpPr/>
                <p:nvPr/>
              </p:nvSpPr>
              <p:spPr bwMode="gray">
                <a:xfrm>
                  <a:off x="740263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4" name="Graphic 471">
                <a:extLst>
                  <a:ext uri="{FF2B5EF4-FFF2-40B4-BE49-F238E27FC236}">
                    <a16:creationId xmlns:a16="http://schemas.microsoft.com/office/drawing/2014/main" id="{3E88BBC7-C163-82F0-FD84-7106E3A4B04F}"/>
                  </a:ext>
                </a:extLst>
              </p:cNvPr>
              <p:cNvGrpSpPr/>
              <p:nvPr/>
            </p:nvGrpSpPr>
            <p:grpSpPr bwMode="gray">
              <a:xfrm>
                <a:off x="7369492" y="4028026"/>
                <a:ext cx="75723" cy="75723"/>
                <a:chOff x="7369492" y="4028026"/>
                <a:chExt cx="75723" cy="75723"/>
              </a:xfrm>
            </p:grpSpPr>
            <p:sp>
              <p:nvSpPr>
                <p:cNvPr id="11548" name="Freeform: Shape 11547">
                  <a:extLst>
                    <a:ext uri="{FF2B5EF4-FFF2-40B4-BE49-F238E27FC236}">
                      <a16:creationId xmlns:a16="http://schemas.microsoft.com/office/drawing/2014/main" id="{03E2DF71-5A99-6BF8-077C-4C6F2E145675}"/>
                    </a:ext>
                  </a:extLst>
                </p:cNvPr>
                <p:cNvSpPr/>
                <p:nvPr/>
              </p:nvSpPr>
              <p:spPr bwMode="gray">
                <a:xfrm>
                  <a:off x="7407306"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49" name="Freeform: Shape 11548">
                  <a:extLst>
                    <a:ext uri="{FF2B5EF4-FFF2-40B4-BE49-F238E27FC236}">
                      <a16:creationId xmlns:a16="http://schemas.microsoft.com/office/drawing/2014/main" id="{49D072B9-4B79-BF3A-D431-808D685140EC}"/>
                    </a:ext>
                  </a:extLst>
                </p:cNvPr>
                <p:cNvSpPr/>
                <p:nvPr/>
              </p:nvSpPr>
              <p:spPr bwMode="gray">
                <a:xfrm>
                  <a:off x="7369492"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5" name="Graphic 471">
                <a:extLst>
                  <a:ext uri="{FF2B5EF4-FFF2-40B4-BE49-F238E27FC236}">
                    <a16:creationId xmlns:a16="http://schemas.microsoft.com/office/drawing/2014/main" id="{4DB43BFB-C2CC-A2B8-3A72-27DD2FEF82A1}"/>
                  </a:ext>
                </a:extLst>
              </p:cNvPr>
              <p:cNvGrpSpPr/>
              <p:nvPr/>
            </p:nvGrpSpPr>
            <p:grpSpPr bwMode="gray">
              <a:xfrm>
                <a:off x="7310627" y="4028026"/>
                <a:ext cx="75723" cy="75723"/>
                <a:chOff x="7310627" y="4028026"/>
                <a:chExt cx="75723" cy="75723"/>
              </a:xfrm>
            </p:grpSpPr>
            <p:sp>
              <p:nvSpPr>
                <p:cNvPr id="11546" name="Freeform: Shape 11545">
                  <a:extLst>
                    <a:ext uri="{FF2B5EF4-FFF2-40B4-BE49-F238E27FC236}">
                      <a16:creationId xmlns:a16="http://schemas.microsoft.com/office/drawing/2014/main" id="{D320987E-4B35-32C6-B090-F7826F8B0F9D}"/>
                    </a:ext>
                  </a:extLst>
                </p:cNvPr>
                <p:cNvSpPr/>
                <p:nvPr/>
              </p:nvSpPr>
              <p:spPr bwMode="gray">
                <a:xfrm>
                  <a:off x="73484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47" name="Freeform: Shape 11546">
                  <a:extLst>
                    <a:ext uri="{FF2B5EF4-FFF2-40B4-BE49-F238E27FC236}">
                      <a16:creationId xmlns:a16="http://schemas.microsoft.com/office/drawing/2014/main" id="{130C3066-98B9-9506-8E9E-632F52DF8EEE}"/>
                    </a:ext>
                  </a:extLst>
                </p:cNvPr>
                <p:cNvSpPr/>
                <p:nvPr/>
              </p:nvSpPr>
              <p:spPr bwMode="gray">
                <a:xfrm>
                  <a:off x="7310627"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6" name="Graphic 471">
                <a:extLst>
                  <a:ext uri="{FF2B5EF4-FFF2-40B4-BE49-F238E27FC236}">
                    <a16:creationId xmlns:a16="http://schemas.microsoft.com/office/drawing/2014/main" id="{8915FA66-C454-5265-93AE-C41CDED2E08F}"/>
                  </a:ext>
                </a:extLst>
              </p:cNvPr>
              <p:cNvGrpSpPr/>
              <p:nvPr/>
            </p:nvGrpSpPr>
            <p:grpSpPr bwMode="gray">
              <a:xfrm>
                <a:off x="7248619" y="4028026"/>
                <a:ext cx="75628" cy="75723"/>
                <a:chOff x="7248619" y="4028026"/>
                <a:chExt cx="75628" cy="75723"/>
              </a:xfrm>
            </p:grpSpPr>
            <p:sp>
              <p:nvSpPr>
                <p:cNvPr id="11544" name="Freeform: Shape 11543">
                  <a:extLst>
                    <a:ext uri="{FF2B5EF4-FFF2-40B4-BE49-F238E27FC236}">
                      <a16:creationId xmlns:a16="http://schemas.microsoft.com/office/drawing/2014/main" id="{E86EF35E-D406-9ADF-6D13-108BA649E445}"/>
                    </a:ext>
                  </a:extLst>
                </p:cNvPr>
                <p:cNvSpPr/>
                <p:nvPr/>
              </p:nvSpPr>
              <p:spPr bwMode="gray">
                <a:xfrm>
                  <a:off x="7286434"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45" name="Freeform: Shape 11544">
                  <a:extLst>
                    <a:ext uri="{FF2B5EF4-FFF2-40B4-BE49-F238E27FC236}">
                      <a16:creationId xmlns:a16="http://schemas.microsoft.com/office/drawing/2014/main" id="{7389D056-2628-2C9B-391E-115F804598BD}"/>
                    </a:ext>
                  </a:extLst>
                </p:cNvPr>
                <p:cNvSpPr/>
                <p:nvPr/>
              </p:nvSpPr>
              <p:spPr bwMode="gray">
                <a:xfrm>
                  <a:off x="7248619"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7" name="Graphic 471">
                <a:extLst>
                  <a:ext uri="{FF2B5EF4-FFF2-40B4-BE49-F238E27FC236}">
                    <a16:creationId xmlns:a16="http://schemas.microsoft.com/office/drawing/2014/main" id="{E3E0BB1B-2CF8-FFCE-9EDE-D225A0F86E44}"/>
                  </a:ext>
                </a:extLst>
              </p:cNvPr>
              <p:cNvGrpSpPr/>
              <p:nvPr/>
            </p:nvGrpSpPr>
            <p:grpSpPr bwMode="gray">
              <a:xfrm>
                <a:off x="7232427" y="4028026"/>
                <a:ext cx="75628" cy="75723"/>
                <a:chOff x="7232427" y="4028026"/>
                <a:chExt cx="75628" cy="75723"/>
              </a:xfrm>
            </p:grpSpPr>
            <p:sp>
              <p:nvSpPr>
                <p:cNvPr id="11542" name="Freeform: Shape 11541">
                  <a:extLst>
                    <a:ext uri="{FF2B5EF4-FFF2-40B4-BE49-F238E27FC236}">
                      <a16:creationId xmlns:a16="http://schemas.microsoft.com/office/drawing/2014/main" id="{3E456AD6-AC2D-0957-AD1A-96BAF058134B}"/>
                    </a:ext>
                  </a:extLst>
                </p:cNvPr>
                <p:cNvSpPr/>
                <p:nvPr/>
              </p:nvSpPr>
              <p:spPr bwMode="gray">
                <a:xfrm>
                  <a:off x="72702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43" name="Freeform: Shape 11542">
                  <a:extLst>
                    <a:ext uri="{FF2B5EF4-FFF2-40B4-BE49-F238E27FC236}">
                      <a16:creationId xmlns:a16="http://schemas.microsoft.com/office/drawing/2014/main" id="{8C27D771-7813-F3F2-E725-370EE8FF9086}"/>
                    </a:ext>
                  </a:extLst>
                </p:cNvPr>
                <p:cNvSpPr/>
                <p:nvPr/>
              </p:nvSpPr>
              <p:spPr bwMode="gray">
                <a:xfrm>
                  <a:off x="7232427"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8" name="Graphic 471">
                <a:extLst>
                  <a:ext uri="{FF2B5EF4-FFF2-40B4-BE49-F238E27FC236}">
                    <a16:creationId xmlns:a16="http://schemas.microsoft.com/office/drawing/2014/main" id="{74C62F31-BE81-EF7D-4B81-902C9FEF8C8F}"/>
                  </a:ext>
                </a:extLst>
              </p:cNvPr>
              <p:cNvGrpSpPr/>
              <p:nvPr/>
            </p:nvGrpSpPr>
            <p:grpSpPr bwMode="gray">
              <a:xfrm>
                <a:off x="7172896" y="3965638"/>
                <a:ext cx="75723" cy="75628"/>
                <a:chOff x="7172896" y="3965638"/>
                <a:chExt cx="75723" cy="75628"/>
              </a:xfrm>
            </p:grpSpPr>
            <p:sp>
              <p:nvSpPr>
                <p:cNvPr id="11540" name="Freeform: Shape 11539">
                  <a:extLst>
                    <a:ext uri="{FF2B5EF4-FFF2-40B4-BE49-F238E27FC236}">
                      <a16:creationId xmlns:a16="http://schemas.microsoft.com/office/drawing/2014/main" id="{3A6C1BB8-C3FC-6FEC-5DE0-8EC030398B5F}"/>
                    </a:ext>
                  </a:extLst>
                </p:cNvPr>
                <p:cNvSpPr/>
                <p:nvPr/>
              </p:nvSpPr>
              <p:spPr bwMode="gray">
                <a:xfrm>
                  <a:off x="7210710"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41" name="Freeform: Shape 11540">
                  <a:extLst>
                    <a:ext uri="{FF2B5EF4-FFF2-40B4-BE49-F238E27FC236}">
                      <a16:creationId xmlns:a16="http://schemas.microsoft.com/office/drawing/2014/main" id="{B1E8E5C4-9604-7160-9F2D-07DD582FDD6E}"/>
                    </a:ext>
                  </a:extLst>
                </p:cNvPr>
                <p:cNvSpPr/>
                <p:nvPr/>
              </p:nvSpPr>
              <p:spPr bwMode="gray">
                <a:xfrm>
                  <a:off x="7172896"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79" name="Graphic 471">
                <a:extLst>
                  <a:ext uri="{FF2B5EF4-FFF2-40B4-BE49-F238E27FC236}">
                    <a16:creationId xmlns:a16="http://schemas.microsoft.com/office/drawing/2014/main" id="{25EDD6F7-794D-6DA6-C6AC-839D74669746}"/>
                  </a:ext>
                </a:extLst>
              </p:cNvPr>
              <p:cNvGrpSpPr/>
              <p:nvPr/>
            </p:nvGrpSpPr>
            <p:grpSpPr bwMode="gray">
              <a:xfrm>
                <a:off x="7105078" y="3965638"/>
                <a:ext cx="75723" cy="75628"/>
                <a:chOff x="7105078" y="3965638"/>
                <a:chExt cx="75723" cy="75628"/>
              </a:xfrm>
            </p:grpSpPr>
            <p:sp>
              <p:nvSpPr>
                <p:cNvPr id="11538" name="Freeform: Shape 11537">
                  <a:extLst>
                    <a:ext uri="{FF2B5EF4-FFF2-40B4-BE49-F238E27FC236}">
                      <a16:creationId xmlns:a16="http://schemas.microsoft.com/office/drawing/2014/main" id="{B2ABD407-B52B-2B73-6D0E-8437514D8A61}"/>
                    </a:ext>
                  </a:extLst>
                </p:cNvPr>
                <p:cNvSpPr/>
                <p:nvPr/>
              </p:nvSpPr>
              <p:spPr bwMode="gray">
                <a:xfrm>
                  <a:off x="714298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39" name="Freeform: Shape 11538">
                  <a:extLst>
                    <a:ext uri="{FF2B5EF4-FFF2-40B4-BE49-F238E27FC236}">
                      <a16:creationId xmlns:a16="http://schemas.microsoft.com/office/drawing/2014/main" id="{7FA466D9-6280-48C9-941F-715E6EC279BE}"/>
                    </a:ext>
                  </a:extLst>
                </p:cNvPr>
                <p:cNvSpPr/>
                <p:nvPr/>
              </p:nvSpPr>
              <p:spPr bwMode="gray">
                <a:xfrm>
                  <a:off x="710507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0" name="Graphic 471">
                <a:extLst>
                  <a:ext uri="{FF2B5EF4-FFF2-40B4-BE49-F238E27FC236}">
                    <a16:creationId xmlns:a16="http://schemas.microsoft.com/office/drawing/2014/main" id="{9D73540E-823A-A72F-CF4C-403BB16F9360}"/>
                  </a:ext>
                </a:extLst>
              </p:cNvPr>
              <p:cNvGrpSpPr/>
              <p:nvPr/>
            </p:nvGrpSpPr>
            <p:grpSpPr bwMode="gray">
              <a:xfrm>
                <a:off x="7054309" y="3965638"/>
                <a:ext cx="75723" cy="75628"/>
                <a:chOff x="7054309" y="3965638"/>
                <a:chExt cx="75723" cy="75628"/>
              </a:xfrm>
            </p:grpSpPr>
            <p:sp>
              <p:nvSpPr>
                <p:cNvPr id="11536" name="Freeform: Shape 11535">
                  <a:extLst>
                    <a:ext uri="{FF2B5EF4-FFF2-40B4-BE49-F238E27FC236}">
                      <a16:creationId xmlns:a16="http://schemas.microsoft.com/office/drawing/2014/main" id="{2E7D7AC4-69B6-AF9C-72CF-6DB1DB409F0D}"/>
                    </a:ext>
                  </a:extLst>
                </p:cNvPr>
                <p:cNvSpPr/>
                <p:nvPr/>
              </p:nvSpPr>
              <p:spPr bwMode="gray">
                <a:xfrm>
                  <a:off x="709221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37" name="Freeform: Shape 11536">
                  <a:extLst>
                    <a:ext uri="{FF2B5EF4-FFF2-40B4-BE49-F238E27FC236}">
                      <a16:creationId xmlns:a16="http://schemas.microsoft.com/office/drawing/2014/main" id="{278ED8AB-56AD-1451-C484-12BF1D4E7EEB}"/>
                    </a:ext>
                  </a:extLst>
                </p:cNvPr>
                <p:cNvSpPr/>
                <p:nvPr/>
              </p:nvSpPr>
              <p:spPr bwMode="gray">
                <a:xfrm>
                  <a:off x="705430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1" name="Graphic 471">
                <a:extLst>
                  <a:ext uri="{FF2B5EF4-FFF2-40B4-BE49-F238E27FC236}">
                    <a16:creationId xmlns:a16="http://schemas.microsoft.com/office/drawing/2014/main" id="{07B5C4AC-413D-C767-539C-37364220C1C9}"/>
                  </a:ext>
                </a:extLst>
              </p:cNvPr>
              <p:cNvGrpSpPr/>
              <p:nvPr/>
            </p:nvGrpSpPr>
            <p:grpSpPr bwMode="gray">
              <a:xfrm>
                <a:off x="6997159" y="3965638"/>
                <a:ext cx="75723" cy="75628"/>
                <a:chOff x="6997159" y="3965638"/>
                <a:chExt cx="75723" cy="75628"/>
              </a:xfrm>
            </p:grpSpPr>
            <p:sp>
              <p:nvSpPr>
                <p:cNvPr id="11534" name="Freeform: Shape 11533">
                  <a:extLst>
                    <a:ext uri="{FF2B5EF4-FFF2-40B4-BE49-F238E27FC236}">
                      <a16:creationId xmlns:a16="http://schemas.microsoft.com/office/drawing/2014/main" id="{73E6525D-6638-F66F-B4AE-DE5C9C756C9F}"/>
                    </a:ext>
                  </a:extLst>
                </p:cNvPr>
                <p:cNvSpPr/>
                <p:nvPr/>
              </p:nvSpPr>
              <p:spPr bwMode="gray">
                <a:xfrm>
                  <a:off x="703506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35" name="Freeform: Shape 11534">
                  <a:extLst>
                    <a:ext uri="{FF2B5EF4-FFF2-40B4-BE49-F238E27FC236}">
                      <a16:creationId xmlns:a16="http://schemas.microsoft.com/office/drawing/2014/main" id="{54FC460A-AFBD-2C6F-C4A8-C6EA6A29B9DA}"/>
                    </a:ext>
                  </a:extLst>
                </p:cNvPr>
                <p:cNvSpPr/>
                <p:nvPr/>
              </p:nvSpPr>
              <p:spPr bwMode="gray">
                <a:xfrm>
                  <a:off x="699715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2" name="Graphic 471">
                <a:extLst>
                  <a:ext uri="{FF2B5EF4-FFF2-40B4-BE49-F238E27FC236}">
                    <a16:creationId xmlns:a16="http://schemas.microsoft.com/office/drawing/2014/main" id="{D0C45767-4ACC-C698-70B5-498376B45587}"/>
                  </a:ext>
                </a:extLst>
              </p:cNvPr>
              <p:cNvGrpSpPr/>
              <p:nvPr/>
            </p:nvGrpSpPr>
            <p:grpSpPr bwMode="gray">
              <a:xfrm>
                <a:off x="7016495" y="3965638"/>
                <a:ext cx="75723" cy="75628"/>
                <a:chOff x="7016495" y="3965638"/>
                <a:chExt cx="75723" cy="75628"/>
              </a:xfrm>
            </p:grpSpPr>
            <p:sp>
              <p:nvSpPr>
                <p:cNvPr id="11532" name="Freeform: Shape 11531">
                  <a:extLst>
                    <a:ext uri="{FF2B5EF4-FFF2-40B4-BE49-F238E27FC236}">
                      <a16:creationId xmlns:a16="http://schemas.microsoft.com/office/drawing/2014/main" id="{FB0BA3AD-31F4-A92E-0BB5-CEE6E5F84860}"/>
                    </a:ext>
                  </a:extLst>
                </p:cNvPr>
                <p:cNvSpPr/>
                <p:nvPr/>
              </p:nvSpPr>
              <p:spPr bwMode="gray">
                <a:xfrm>
                  <a:off x="705430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33" name="Freeform: Shape 11532">
                  <a:extLst>
                    <a:ext uri="{FF2B5EF4-FFF2-40B4-BE49-F238E27FC236}">
                      <a16:creationId xmlns:a16="http://schemas.microsoft.com/office/drawing/2014/main" id="{77B19F4B-9584-4FA1-856D-75DD85255C6B}"/>
                    </a:ext>
                  </a:extLst>
                </p:cNvPr>
                <p:cNvSpPr/>
                <p:nvPr/>
              </p:nvSpPr>
              <p:spPr bwMode="gray">
                <a:xfrm>
                  <a:off x="7016495"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3" name="Graphic 471">
                <a:extLst>
                  <a:ext uri="{FF2B5EF4-FFF2-40B4-BE49-F238E27FC236}">
                    <a16:creationId xmlns:a16="http://schemas.microsoft.com/office/drawing/2014/main" id="{D8B631B9-F59F-8A91-C809-5D7AA5D2A013}"/>
                  </a:ext>
                </a:extLst>
              </p:cNvPr>
              <p:cNvGrpSpPr/>
              <p:nvPr/>
            </p:nvGrpSpPr>
            <p:grpSpPr bwMode="gray">
              <a:xfrm>
                <a:off x="7029449" y="3965638"/>
                <a:ext cx="75628" cy="75628"/>
                <a:chOff x="7029449" y="3965638"/>
                <a:chExt cx="75628" cy="75628"/>
              </a:xfrm>
            </p:grpSpPr>
            <p:sp>
              <p:nvSpPr>
                <p:cNvPr id="11530" name="Freeform: Shape 11529">
                  <a:extLst>
                    <a:ext uri="{FF2B5EF4-FFF2-40B4-BE49-F238E27FC236}">
                      <a16:creationId xmlns:a16="http://schemas.microsoft.com/office/drawing/2014/main" id="{40685F55-C0EA-146A-04C9-227776FE9342}"/>
                    </a:ext>
                  </a:extLst>
                </p:cNvPr>
                <p:cNvSpPr/>
                <p:nvPr/>
              </p:nvSpPr>
              <p:spPr bwMode="gray">
                <a:xfrm>
                  <a:off x="7067263"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31" name="Freeform: Shape 11530">
                  <a:extLst>
                    <a:ext uri="{FF2B5EF4-FFF2-40B4-BE49-F238E27FC236}">
                      <a16:creationId xmlns:a16="http://schemas.microsoft.com/office/drawing/2014/main" id="{B583B174-2AFC-C972-AD04-E643ACC19141}"/>
                    </a:ext>
                  </a:extLst>
                </p:cNvPr>
                <p:cNvSpPr/>
                <p:nvPr/>
              </p:nvSpPr>
              <p:spPr bwMode="gray">
                <a:xfrm>
                  <a:off x="7029449" y="4003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4" name="Graphic 471">
                <a:extLst>
                  <a:ext uri="{FF2B5EF4-FFF2-40B4-BE49-F238E27FC236}">
                    <a16:creationId xmlns:a16="http://schemas.microsoft.com/office/drawing/2014/main" id="{F129831B-B664-CB6A-AE48-6EDFD4FBBBDF}"/>
                  </a:ext>
                </a:extLst>
              </p:cNvPr>
              <p:cNvGrpSpPr/>
              <p:nvPr/>
            </p:nvGrpSpPr>
            <p:grpSpPr bwMode="gray">
              <a:xfrm>
                <a:off x="6962488" y="3965638"/>
                <a:ext cx="75723" cy="75628"/>
                <a:chOff x="6962488" y="3965638"/>
                <a:chExt cx="75723" cy="75628"/>
              </a:xfrm>
            </p:grpSpPr>
            <p:sp>
              <p:nvSpPr>
                <p:cNvPr id="11528" name="Freeform: Shape 11527">
                  <a:extLst>
                    <a:ext uri="{FF2B5EF4-FFF2-40B4-BE49-F238E27FC236}">
                      <a16:creationId xmlns:a16="http://schemas.microsoft.com/office/drawing/2014/main" id="{99E2477B-B96D-0E6F-6B4D-92C65387F66C}"/>
                    </a:ext>
                  </a:extLst>
                </p:cNvPr>
                <p:cNvSpPr/>
                <p:nvPr/>
              </p:nvSpPr>
              <p:spPr bwMode="gray">
                <a:xfrm>
                  <a:off x="700039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29" name="Freeform: Shape 11528">
                  <a:extLst>
                    <a:ext uri="{FF2B5EF4-FFF2-40B4-BE49-F238E27FC236}">
                      <a16:creationId xmlns:a16="http://schemas.microsoft.com/office/drawing/2014/main" id="{D282F1A1-4213-4A1F-2EF7-D8EFEC0FB815}"/>
                    </a:ext>
                  </a:extLst>
                </p:cNvPr>
                <p:cNvSpPr/>
                <p:nvPr/>
              </p:nvSpPr>
              <p:spPr bwMode="gray">
                <a:xfrm>
                  <a:off x="696248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5" name="Graphic 471">
                <a:extLst>
                  <a:ext uri="{FF2B5EF4-FFF2-40B4-BE49-F238E27FC236}">
                    <a16:creationId xmlns:a16="http://schemas.microsoft.com/office/drawing/2014/main" id="{E82F707C-0C11-FE1B-0D60-14AE60858B53}"/>
                  </a:ext>
                </a:extLst>
              </p:cNvPr>
              <p:cNvGrpSpPr/>
              <p:nvPr/>
            </p:nvGrpSpPr>
            <p:grpSpPr bwMode="gray">
              <a:xfrm>
                <a:off x="6937914" y="3965638"/>
                <a:ext cx="75723" cy="75628"/>
                <a:chOff x="6937914" y="3965638"/>
                <a:chExt cx="75723" cy="75628"/>
              </a:xfrm>
            </p:grpSpPr>
            <p:sp>
              <p:nvSpPr>
                <p:cNvPr id="11526" name="Freeform: Shape 11525">
                  <a:extLst>
                    <a:ext uri="{FF2B5EF4-FFF2-40B4-BE49-F238E27FC236}">
                      <a16:creationId xmlns:a16="http://schemas.microsoft.com/office/drawing/2014/main" id="{DBD48B18-DE5C-5473-F1D3-73B737454B4C}"/>
                    </a:ext>
                  </a:extLst>
                </p:cNvPr>
                <p:cNvSpPr/>
                <p:nvPr/>
              </p:nvSpPr>
              <p:spPr bwMode="gray">
                <a:xfrm>
                  <a:off x="697572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27" name="Freeform: Shape 11526">
                  <a:extLst>
                    <a:ext uri="{FF2B5EF4-FFF2-40B4-BE49-F238E27FC236}">
                      <a16:creationId xmlns:a16="http://schemas.microsoft.com/office/drawing/2014/main" id="{B1CC67E5-4912-D374-5DD0-630D1293D77B}"/>
                    </a:ext>
                  </a:extLst>
                </p:cNvPr>
                <p:cNvSpPr/>
                <p:nvPr/>
              </p:nvSpPr>
              <p:spPr bwMode="gray">
                <a:xfrm>
                  <a:off x="6937914"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6" name="Graphic 471">
                <a:extLst>
                  <a:ext uri="{FF2B5EF4-FFF2-40B4-BE49-F238E27FC236}">
                    <a16:creationId xmlns:a16="http://schemas.microsoft.com/office/drawing/2014/main" id="{F30E6A3C-0526-BDCE-8F4E-07AEEAF3E22D}"/>
                  </a:ext>
                </a:extLst>
              </p:cNvPr>
              <p:cNvGrpSpPr/>
              <p:nvPr/>
            </p:nvGrpSpPr>
            <p:grpSpPr bwMode="gray">
              <a:xfrm>
                <a:off x="6927913" y="3965638"/>
                <a:ext cx="75628" cy="75628"/>
                <a:chOff x="6927913" y="3965638"/>
                <a:chExt cx="75628" cy="75628"/>
              </a:xfrm>
            </p:grpSpPr>
            <p:sp>
              <p:nvSpPr>
                <p:cNvPr id="11524" name="Freeform: Shape 11523">
                  <a:extLst>
                    <a:ext uri="{FF2B5EF4-FFF2-40B4-BE49-F238E27FC236}">
                      <a16:creationId xmlns:a16="http://schemas.microsoft.com/office/drawing/2014/main" id="{492F4742-FCB4-5C25-DF03-2C3CA5E50D3C}"/>
                    </a:ext>
                  </a:extLst>
                </p:cNvPr>
                <p:cNvSpPr/>
                <p:nvPr/>
              </p:nvSpPr>
              <p:spPr bwMode="gray">
                <a:xfrm>
                  <a:off x="696572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25" name="Freeform: Shape 11524">
                  <a:extLst>
                    <a:ext uri="{FF2B5EF4-FFF2-40B4-BE49-F238E27FC236}">
                      <a16:creationId xmlns:a16="http://schemas.microsoft.com/office/drawing/2014/main" id="{F9798115-F34D-585A-B935-C0FC5EB1428B}"/>
                    </a:ext>
                  </a:extLst>
                </p:cNvPr>
                <p:cNvSpPr/>
                <p:nvPr/>
              </p:nvSpPr>
              <p:spPr bwMode="gray">
                <a:xfrm>
                  <a:off x="6927913" y="4003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7" name="Graphic 471">
                <a:extLst>
                  <a:ext uri="{FF2B5EF4-FFF2-40B4-BE49-F238E27FC236}">
                    <a16:creationId xmlns:a16="http://schemas.microsoft.com/office/drawing/2014/main" id="{E83EF8A8-A004-7D24-075C-0BB7833BD8EE}"/>
                  </a:ext>
                </a:extLst>
              </p:cNvPr>
              <p:cNvGrpSpPr/>
              <p:nvPr/>
            </p:nvGrpSpPr>
            <p:grpSpPr bwMode="gray">
              <a:xfrm>
                <a:off x="6897433" y="3965638"/>
                <a:ext cx="75723" cy="75628"/>
                <a:chOff x="6897433" y="3965638"/>
                <a:chExt cx="75723" cy="75628"/>
              </a:xfrm>
            </p:grpSpPr>
            <p:sp>
              <p:nvSpPr>
                <p:cNvPr id="11522" name="Freeform: Shape 11521">
                  <a:extLst>
                    <a:ext uri="{FF2B5EF4-FFF2-40B4-BE49-F238E27FC236}">
                      <a16:creationId xmlns:a16="http://schemas.microsoft.com/office/drawing/2014/main" id="{2E2DC2F5-F1E3-4B17-32AE-B6715002341A}"/>
                    </a:ext>
                  </a:extLst>
                </p:cNvPr>
                <p:cNvSpPr/>
                <p:nvPr/>
              </p:nvSpPr>
              <p:spPr bwMode="gray">
                <a:xfrm>
                  <a:off x="6935342"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23" name="Freeform: Shape 11522">
                  <a:extLst>
                    <a:ext uri="{FF2B5EF4-FFF2-40B4-BE49-F238E27FC236}">
                      <a16:creationId xmlns:a16="http://schemas.microsoft.com/office/drawing/2014/main" id="{4761189B-DE3A-616A-46D8-10A3B7823BAB}"/>
                    </a:ext>
                  </a:extLst>
                </p:cNvPr>
                <p:cNvSpPr/>
                <p:nvPr/>
              </p:nvSpPr>
              <p:spPr bwMode="gray">
                <a:xfrm>
                  <a:off x="6897433"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8" name="Graphic 471">
                <a:extLst>
                  <a:ext uri="{FF2B5EF4-FFF2-40B4-BE49-F238E27FC236}">
                    <a16:creationId xmlns:a16="http://schemas.microsoft.com/office/drawing/2014/main" id="{D2A22D1F-2415-3DCD-B39D-6ADABF22887E}"/>
                  </a:ext>
                </a:extLst>
              </p:cNvPr>
              <p:cNvGrpSpPr/>
              <p:nvPr/>
            </p:nvGrpSpPr>
            <p:grpSpPr bwMode="gray">
              <a:xfrm>
                <a:off x="6282594" y="3916012"/>
                <a:ext cx="75723" cy="75723"/>
                <a:chOff x="6282594" y="3916012"/>
                <a:chExt cx="75723" cy="75723"/>
              </a:xfrm>
            </p:grpSpPr>
            <p:sp>
              <p:nvSpPr>
                <p:cNvPr id="11520" name="Freeform: Shape 11519">
                  <a:extLst>
                    <a:ext uri="{FF2B5EF4-FFF2-40B4-BE49-F238E27FC236}">
                      <a16:creationId xmlns:a16="http://schemas.microsoft.com/office/drawing/2014/main" id="{ABA23EF1-13E0-3126-F8DC-20C46BBEDADE}"/>
                    </a:ext>
                  </a:extLst>
                </p:cNvPr>
                <p:cNvSpPr/>
                <p:nvPr/>
              </p:nvSpPr>
              <p:spPr bwMode="gray">
                <a:xfrm>
                  <a:off x="632040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21" name="Freeform: Shape 11520">
                  <a:extLst>
                    <a:ext uri="{FF2B5EF4-FFF2-40B4-BE49-F238E27FC236}">
                      <a16:creationId xmlns:a16="http://schemas.microsoft.com/office/drawing/2014/main" id="{9646AAED-F5C9-2587-FAC2-3EBFB9327F4D}"/>
                    </a:ext>
                  </a:extLst>
                </p:cNvPr>
                <p:cNvSpPr/>
                <p:nvPr/>
              </p:nvSpPr>
              <p:spPr bwMode="gray">
                <a:xfrm>
                  <a:off x="628259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89" name="Graphic 471">
                <a:extLst>
                  <a:ext uri="{FF2B5EF4-FFF2-40B4-BE49-F238E27FC236}">
                    <a16:creationId xmlns:a16="http://schemas.microsoft.com/office/drawing/2014/main" id="{53B93237-5A69-6C9D-B732-243F4EDADC88}"/>
                  </a:ext>
                </a:extLst>
              </p:cNvPr>
              <p:cNvGrpSpPr/>
              <p:nvPr/>
            </p:nvGrpSpPr>
            <p:grpSpPr bwMode="gray">
              <a:xfrm>
                <a:off x="6217062" y="3881722"/>
                <a:ext cx="75628" cy="75628"/>
                <a:chOff x="6217062" y="3881722"/>
                <a:chExt cx="75628" cy="75628"/>
              </a:xfrm>
            </p:grpSpPr>
            <p:sp>
              <p:nvSpPr>
                <p:cNvPr id="11518" name="Freeform: Shape 11517">
                  <a:extLst>
                    <a:ext uri="{FF2B5EF4-FFF2-40B4-BE49-F238E27FC236}">
                      <a16:creationId xmlns:a16="http://schemas.microsoft.com/office/drawing/2014/main" id="{9FDDDE9E-5B05-4CD2-1706-E53E3800FF96}"/>
                    </a:ext>
                  </a:extLst>
                </p:cNvPr>
                <p:cNvSpPr/>
                <p:nvPr/>
              </p:nvSpPr>
              <p:spPr bwMode="gray">
                <a:xfrm>
                  <a:off x="6254876" y="388172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19" name="Freeform: Shape 11518">
                  <a:extLst>
                    <a:ext uri="{FF2B5EF4-FFF2-40B4-BE49-F238E27FC236}">
                      <a16:creationId xmlns:a16="http://schemas.microsoft.com/office/drawing/2014/main" id="{18E91E01-6DB3-D6A4-91AC-94A8AF24452B}"/>
                    </a:ext>
                  </a:extLst>
                </p:cNvPr>
                <p:cNvSpPr/>
                <p:nvPr/>
              </p:nvSpPr>
              <p:spPr bwMode="gray">
                <a:xfrm>
                  <a:off x="6217062" y="39195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0" name="Graphic 471">
                <a:extLst>
                  <a:ext uri="{FF2B5EF4-FFF2-40B4-BE49-F238E27FC236}">
                    <a16:creationId xmlns:a16="http://schemas.microsoft.com/office/drawing/2014/main" id="{135A3FE2-FE41-48F3-D234-4CEF3A116DF9}"/>
                  </a:ext>
                </a:extLst>
              </p:cNvPr>
              <p:cNvGrpSpPr/>
              <p:nvPr/>
            </p:nvGrpSpPr>
            <p:grpSpPr bwMode="gray">
              <a:xfrm>
                <a:off x="6145529" y="3850480"/>
                <a:ext cx="75628" cy="75723"/>
                <a:chOff x="6145529" y="3850480"/>
                <a:chExt cx="75628" cy="75723"/>
              </a:xfrm>
            </p:grpSpPr>
            <p:sp>
              <p:nvSpPr>
                <p:cNvPr id="11516" name="Freeform: Shape 11515">
                  <a:extLst>
                    <a:ext uri="{FF2B5EF4-FFF2-40B4-BE49-F238E27FC236}">
                      <a16:creationId xmlns:a16="http://schemas.microsoft.com/office/drawing/2014/main" id="{4F7DF135-CE88-63EE-4DE5-6B4A47A8B6DB}"/>
                    </a:ext>
                  </a:extLst>
                </p:cNvPr>
                <p:cNvSpPr/>
                <p:nvPr/>
              </p:nvSpPr>
              <p:spPr bwMode="gray">
                <a:xfrm>
                  <a:off x="6183343"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17" name="Freeform: Shape 11516">
                  <a:extLst>
                    <a:ext uri="{FF2B5EF4-FFF2-40B4-BE49-F238E27FC236}">
                      <a16:creationId xmlns:a16="http://schemas.microsoft.com/office/drawing/2014/main" id="{5DD91B9A-4DE3-EDBB-4043-AC3D6F35E6C1}"/>
                    </a:ext>
                  </a:extLst>
                </p:cNvPr>
                <p:cNvSpPr/>
                <p:nvPr/>
              </p:nvSpPr>
              <p:spPr bwMode="gray">
                <a:xfrm>
                  <a:off x="6145529"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1" name="Graphic 471">
                <a:extLst>
                  <a:ext uri="{FF2B5EF4-FFF2-40B4-BE49-F238E27FC236}">
                    <a16:creationId xmlns:a16="http://schemas.microsoft.com/office/drawing/2014/main" id="{A605AF21-518A-FE7C-16F0-B8CEA629D46A}"/>
                  </a:ext>
                </a:extLst>
              </p:cNvPr>
              <p:cNvGrpSpPr/>
              <p:nvPr/>
            </p:nvGrpSpPr>
            <p:grpSpPr bwMode="gray">
              <a:xfrm>
                <a:off x="6086950" y="3792949"/>
                <a:ext cx="75628" cy="75628"/>
                <a:chOff x="6086950" y="3792949"/>
                <a:chExt cx="75628" cy="75628"/>
              </a:xfrm>
            </p:grpSpPr>
            <p:sp>
              <p:nvSpPr>
                <p:cNvPr id="11514" name="Freeform: Shape 11513">
                  <a:extLst>
                    <a:ext uri="{FF2B5EF4-FFF2-40B4-BE49-F238E27FC236}">
                      <a16:creationId xmlns:a16="http://schemas.microsoft.com/office/drawing/2014/main" id="{3C623DA1-CBA3-720E-36E4-E0F7E2A6F5AC}"/>
                    </a:ext>
                  </a:extLst>
                </p:cNvPr>
                <p:cNvSpPr/>
                <p:nvPr/>
              </p:nvSpPr>
              <p:spPr bwMode="gray">
                <a:xfrm>
                  <a:off x="6124765"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15" name="Freeform: Shape 11514">
                  <a:extLst>
                    <a:ext uri="{FF2B5EF4-FFF2-40B4-BE49-F238E27FC236}">
                      <a16:creationId xmlns:a16="http://schemas.microsoft.com/office/drawing/2014/main" id="{E0A08B05-9E1D-454B-8891-F1833451F362}"/>
                    </a:ext>
                  </a:extLst>
                </p:cNvPr>
                <p:cNvSpPr/>
                <p:nvPr/>
              </p:nvSpPr>
              <p:spPr bwMode="gray">
                <a:xfrm>
                  <a:off x="6086950" y="38307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2" name="Graphic 471">
                <a:extLst>
                  <a:ext uri="{FF2B5EF4-FFF2-40B4-BE49-F238E27FC236}">
                    <a16:creationId xmlns:a16="http://schemas.microsoft.com/office/drawing/2014/main" id="{324F06B8-7809-5962-EE65-F548FA1E99BE}"/>
                  </a:ext>
                </a:extLst>
              </p:cNvPr>
              <p:cNvGrpSpPr/>
              <p:nvPr/>
            </p:nvGrpSpPr>
            <p:grpSpPr bwMode="gray">
              <a:xfrm>
                <a:off x="6079997" y="3792949"/>
                <a:ext cx="75723" cy="75628"/>
                <a:chOff x="6079997" y="3792949"/>
                <a:chExt cx="75723" cy="75628"/>
              </a:xfrm>
            </p:grpSpPr>
            <p:sp>
              <p:nvSpPr>
                <p:cNvPr id="11512" name="Freeform: Shape 11511">
                  <a:extLst>
                    <a:ext uri="{FF2B5EF4-FFF2-40B4-BE49-F238E27FC236}">
                      <a16:creationId xmlns:a16="http://schemas.microsoft.com/office/drawing/2014/main" id="{74F3543F-835C-003B-57B3-8181722FF0AB}"/>
                    </a:ext>
                  </a:extLst>
                </p:cNvPr>
                <p:cNvSpPr/>
                <p:nvPr/>
              </p:nvSpPr>
              <p:spPr bwMode="gray">
                <a:xfrm>
                  <a:off x="6117811"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13" name="Freeform: Shape 11512">
                  <a:extLst>
                    <a:ext uri="{FF2B5EF4-FFF2-40B4-BE49-F238E27FC236}">
                      <a16:creationId xmlns:a16="http://schemas.microsoft.com/office/drawing/2014/main" id="{F0301F2D-12B9-20B7-C776-DA0088D7FDEA}"/>
                    </a:ext>
                  </a:extLst>
                </p:cNvPr>
                <p:cNvSpPr/>
                <p:nvPr/>
              </p:nvSpPr>
              <p:spPr bwMode="gray">
                <a:xfrm>
                  <a:off x="6079997" y="38307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3" name="Graphic 471">
                <a:extLst>
                  <a:ext uri="{FF2B5EF4-FFF2-40B4-BE49-F238E27FC236}">
                    <a16:creationId xmlns:a16="http://schemas.microsoft.com/office/drawing/2014/main" id="{E8411C57-9089-3229-F5EA-5D5D4F050726}"/>
                  </a:ext>
                </a:extLst>
              </p:cNvPr>
              <p:cNvGrpSpPr/>
              <p:nvPr/>
            </p:nvGrpSpPr>
            <p:grpSpPr bwMode="gray">
              <a:xfrm>
                <a:off x="6034468" y="3730465"/>
                <a:ext cx="75628" cy="75723"/>
                <a:chOff x="6034468" y="3730465"/>
                <a:chExt cx="75628" cy="75723"/>
              </a:xfrm>
            </p:grpSpPr>
            <p:sp>
              <p:nvSpPr>
                <p:cNvPr id="11510" name="Freeform: Shape 11509">
                  <a:extLst>
                    <a:ext uri="{FF2B5EF4-FFF2-40B4-BE49-F238E27FC236}">
                      <a16:creationId xmlns:a16="http://schemas.microsoft.com/office/drawing/2014/main" id="{573A9AD8-2BF5-7E89-060B-9481D969BCC7}"/>
                    </a:ext>
                  </a:extLst>
                </p:cNvPr>
                <p:cNvSpPr/>
                <p:nvPr/>
              </p:nvSpPr>
              <p:spPr bwMode="gray">
                <a:xfrm>
                  <a:off x="6072282"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11" name="Freeform: Shape 11510">
                  <a:extLst>
                    <a:ext uri="{FF2B5EF4-FFF2-40B4-BE49-F238E27FC236}">
                      <a16:creationId xmlns:a16="http://schemas.microsoft.com/office/drawing/2014/main" id="{39DDED4E-80E2-0CF9-FAA6-0347C5361FE5}"/>
                    </a:ext>
                  </a:extLst>
                </p:cNvPr>
                <p:cNvSpPr/>
                <p:nvPr/>
              </p:nvSpPr>
              <p:spPr bwMode="gray">
                <a:xfrm>
                  <a:off x="6034468" y="37683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4" name="Graphic 471">
                <a:extLst>
                  <a:ext uri="{FF2B5EF4-FFF2-40B4-BE49-F238E27FC236}">
                    <a16:creationId xmlns:a16="http://schemas.microsoft.com/office/drawing/2014/main" id="{568E121D-1439-3AD7-1175-BCFB89A79773}"/>
                  </a:ext>
                </a:extLst>
              </p:cNvPr>
              <p:cNvGrpSpPr/>
              <p:nvPr/>
            </p:nvGrpSpPr>
            <p:grpSpPr bwMode="gray">
              <a:xfrm>
                <a:off x="5981318" y="3730465"/>
                <a:ext cx="75723" cy="75723"/>
                <a:chOff x="5981318" y="3730465"/>
                <a:chExt cx="75723" cy="75723"/>
              </a:xfrm>
            </p:grpSpPr>
            <p:sp>
              <p:nvSpPr>
                <p:cNvPr id="11508" name="Freeform: Shape 11507">
                  <a:extLst>
                    <a:ext uri="{FF2B5EF4-FFF2-40B4-BE49-F238E27FC236}">
                      <a16:creationId xmlns:a16="http://schemas.microsoft.com/office/drawing/2014/main" id="{90887E8E-19DD-0359-E88D-9334CA97889B}"/>
                    </a:ext>
                  </a:extLst>
                </p:cNvPr>
                <p:cNvSpPr/>
                <p:nvPr/>
              </p:nvSpPr>
              <p:spPr bwMode="gray">
                <a:xfrm>
                  <a:off x="6019228"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09" name="Freeform: Shape 11508">
                  <a:extLst>
                    <a:ext uri="{FF2B5EF4-FFF2-40B4-BE49-F238E27FC236}">
                      <a16:creationId xmlns:a16="http://schemas.microsoft.com/office/drawing/2014/main" id="{72F60D93-E90F-7FDE-ECCC-316D1CE649D6}"/>
                    </a:ext>
                  </a:extLst>
                </p:cNvPr>
                <p:cNvSpPr/>
                <p:nvPr/>
              </p:nvSpPr>
              <p:spPr bwMode="gray">
                <a:xfrm>
                  <a:off x="5981318" y="376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5" name="Graphic 471">
                <a:extLst>
                  <a:ext uri="{FF2B5EF4-FFF2-40B4-BE49-F238E27FC236}">
                    <a16:creationId xmlns:a16="http://schemas.microsoft.com/office/drawing/2014/main" id="{1538E3E8-FD67-270B-F68C-B0AB18A5B3FD}"/>
                  </a:ext>
                </a:extLst>
              </p:cNvPr>
              <p:cNvGrpSpPr/>
              <p:nvPr/>
            </p:nvGrpSpPr>
            <p:grpSpPr bwMode="gray">
              <a:xfrm>
                <a:off x="5938741" y="3701509"/>
                <a:ext cx="75723" cy="75723"/>
                <a:chOff x="5938741" y="3701509"/>
                <a:chExt cx="75723" cy="75723"/>
              </a:xfrm>
            </p:grpSpPr>
            <p:sp>
              <p:nvSpPr>
                <p:cNvPr id="11506" name="Freeform: Shape 11505">
                  <a:extLst>
                    <a:ext uri="{FF2B5EF4-FFF2-40B4-BE49-F238E27FC236}">
                      <a16:creationId xmlns:a16="http://schemas.microsoft.com/office/drawing/2014/main" id="{D2541FAD-C69C-C856-65A5-D2E66E47877E}"/>
                    </a:ext>
                  </a:extLst>
                </p:cNvPr>
                <p:cNvSpPr/>
                <p:nvPr/>
              </p:nvSpPr>
              <p:spPr bwMode="gray">
                <a:xfrm>
                  <a:off x="5976651"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07" name="Freeform: Shape 11506">
                  <a:extLst>
                    <a:ext uri="{FF2B5EF4-FFF2-40B4-BE49-F238E27FC236}">
                      <a16:creationId xmlns:a16="http://schemas.microsoft.com/office/drawing/2014/main" id="{6F4C1306-A011-3CFB-EB67-A5CF89C0F9D0}"/>
                    </a:ext>
                  </a:extLst>
                </p:cNvPr>
                <p:cNvSpPr/>
                <p:nvPr/>
              </p:nvSpPr>
              <p:spPr bwMode="gray">
                <a:xfrm>
                  <a:off x="5938741"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6" name="Graphic 471">
                <a:extLst>
                  <a:ext uri="{FF2B5EF4-FFF2-40B4-BE49-F238E27FC236}">
                    <a16:creationId xmlns:a16="http://schemas.microsoft.com/office/drawing/2014/main" id="{8272E719-ABC5-B5FD-2C13-192695788408}"/>
                  </a:ext>
                </a:extLst>
              </p:cNvPr>
              <p:cNvGrpSpPr/>
              <p:nvPr/>
            </p:nvGrpSpPr>
            <p:grpSpPr bwMode="gray">
              <a:xfrm>
                <a:off x="5863113" y="3675030"/>
                <a:ext cx="75628" cy="75723"/>
                <a:chOff x="5863113" y="3675030"/>
                <a:chExt cx="75628" cy="75723"/>
              </a:xfrm>
            </p:grpSpPr>
            <p:sp>
              <p:nvSpPr>
                <p:cNvPr id="11504" name="Freeform: Shape 11503">
                  <a:extLst>
                    <a:ext uri="{FF2B5EF4-FFF2-40B4-BE49-F238E27FC236}">
                      <a16:creationId xmlns:a16="http://schemas.microsoft.com/office/drawing/2014/main" id="{74E6C373-EBDF-D7BA-5318-9751BF421AB8}"/>
                    </a:ext>
                  </a:extLst>
                </p:cNvPr>
                <p:cNvSpPr/>
                <p:nvPr/>
              </p:nvSpPr>
              <p:spPr bwMode="gray">
                <a:xfrm>
                  <a:off x="590092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05" name="Freeform: Shape 11504">
                  <a:extLst>
                    <a:ext uri="{FF2B5EF4-FFF2-40B4-BE49-F238E27FC236}">
                      <a16:creationId xmlns:a16="http://schemas.microsoft.com/office/drawing/2014/main" id="{F5C0D79E-A492-9573-85E9-57A257FA6DD6}"/>
                    </a:ext>
                  </a:extLst>
                </p:cNvPr>
                <p:cNvSpPr/>
                <p:nvPr/>
              </p:nvSpPr>
              <p:spPr bwMode="gray">
                <a:xfrm>
                  <a:off x="5863113"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7" name="Graphic 471">
                <a:extLst>
                  <a:ext uri="{FF2B5EF4-FFF2-40B4-BE49-F238E27FC236}">
                    <a16:creationId xmlns:a16="http://schemas.microsoft.com/office/drawing/2014/main" id="{06A9CAF2-97F1-3FC7-2503-4DB16341CD13}"/>
                  </a:ext>
                </a:extLst>
              </p:cNvPr>
              <p:cNvGrpSpPr/>
              <p:nvPr/>
            </p:nvGrpSpPr>
            <p:grpSpPr bwMode="gray">
              <a:xfrm>
                <a:off x="5853016" y="3675030"/>
                <a:ext cx="75723" cy="75723"/>
                <a:chOff x="5853016" y="3675030"/>
                <a:chExt cx="75723" cy="75723"/>
              </a:xfrm>
            </p:grpSpPr>
            <p:sp>
              <p:nvSpPr>
                <p:cNvPr id="11502" name="Freeform: Shape 11501">
                  <a:extLst>
                    <a:ext uri="{FF2B5EF4-FFF2-40B4-BE49-F238E27FC236}">
                      <a16:creationId xmlns:a16="http://schemas.microsoft.com/office/drawing/2014/main" id="{4C93B6D9-487D-C70F-BA53-878924C50F05}"/>
                    </a:ext>
                  </a:extLst>
                </p:cNvPr>
                <p:cNvSpPr/>
                <p:nvPr/>
              </p:nvSpPr>
              <p:spPr bwMode="gray">
                <a:xfrm>
                  <a:off x="589092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03" name="Freeform: Shape 11502">
                  <a:extLst>
                    <a:ext uri="{FF2B5EF4-FFF2-40B4-BE49-F238E27FC236}">
                      <a16:creationId xmlns:a16="http://schemas.microsoft.com/office/drawing/2014/main" id="{37E282C4-74B6-A59F-83EC-77434575E6DC}"/>
                    </a:ext>
                  </a:extLst>
                </p:cNvPr>
                <p:cNvSpPr/>
                <p:nvPr/>
              </p:nvSpPr>
              <p:spPr bwMode="gray">
                <a:xfrm>
                  <a:off x="585301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8" name="Graphic 471">
                <a:extLst>
                  <a:ext uri="{FF2B5EF4-FFF2-40B4-BE49-F238E27FC236}">
                    <a16:creationId xmlns:a16="http://schemas.microsoft.com/office/drawing/2014/main" id="{F5815550-E630-AD87-28F3-330279D5D900}"/>
                  </a:ext>
                </a:extLst>
              </p:cNvPr>
              <p:cNvGrpSpPr/>
              <p:nvPr/>
            </p:nvGrpSpPr>
            <p:grpSpPr bwMode="gray">
              <a:xfrm>
                <a:off x="5825203" y="3675030"/>
                <a:ext cx="75723" cy="75723"/>
                <a:chOff x="5825203" y="3675030"/>
                <a:chExt cx="75723" cy="75723"/>
              </a:xfrm>
            </p:grpSpPr>
            <p:sp>
              <p:nvSpPr>
                <p:cNvPr id="11500" name="Freeform: Shape 11499">
                  <a:extLst>
                    <a:ext uri="{FF2B5EF4-FFF2-40B4-BE49-F238E27FC236}">
                      <a16:creationId xmlns:a16="http://schemas.microsoft.com/office/drawing/2014/main" id="{4E5D59D7-2417-1C6F-F657-992E38912384}"/>
                    </a:ext>
                  </a:extLst>
                </p:cNvPr>
                <p:cNvSpPr/>
                <p:nvPr/>
              </p:nvSpPr>
              <p:spPr bwMode="gray">
                <a:xfrm>
                  <a:off x="5863113"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01" name="Freeform: Shape 11500">
                  <a:extLst>
                    <a:ext uri="{FF2B5EF4-FFF2-40B4-BE49-F238E27FC236}">
                      <a16:creationId xmlns:a16="http://schemas.microsoft.com/office/drawing/2014/main" id="{E7FF2F06-1D83-F4DD-F199-3638110D3248}"/>
                    </a:ext>
                  </a:extLst>
                </p:cNvPr>
                <p:cNvSpPr/>
                <p:nvPr/>
              </p:nvSpPr>
              <p:spPr bwMode="gray">
                <a:xfrm>
                  <a:off x="582520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99" name="Graphic 471">
                <a:extLst>
                  <a:ext uri="{FF2B5EF4-FFF2-40B4-BE49-F238E27FC236}">
                    <a16:creationId xmlns:a16="http://schemas.microsoft.com/office/drawing/2014/main" id="{C94C0537-00B5-9630-8197-34CA3EB332F0}"/>
                  </a:ext>
                </a:extLst>
              </p:cNvPr>
              <p:cNvGrpSpPr/>
              <p:nvPr/>
            </p:nvGrpSpPr>
            <p:grpSpPr bwMode="gray">
              <a:xfrm>
                <a:off x="5755766" y="3675030"/>
                <a:ext cx="75723" cy="75723"/>
                <a:chOff x="5755766" y="3675030"/>
                <a:chExt cx="75723" cy="75723"/>
              </a:xfrm>
            </p:grpSpPr>
            <p:sp>
              <p:nvSpPr>
                <p:cNvPr id="11498" name="Freeform: Shape 11497">
                  <a:extLst>
                    <a:ext uri="{FF2B5EF4-FFF2-40B4-BE49-F238E27FC236}">
                      <a16:creationId xmlns:a16="http://schemas.microsoft.com/office/drawing/2014/main" id="{8450246D-A6B8-4D58-CA9E-D151330BA2CD}"/>
                    </a:ext>
                  </a:extLst>
                </p:cNvPr>
                <p:cNvSpPr/>
                <p:nvPr/>
              </p:nvSpPr>
              <p:spPr bwMode="gray">
                <a:xfrm>
                  <a:off x="579367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99" name="Freeform: Shape 11498">
                  <a:extLst>
                    <a:ext uri="{FF2B5EF4-FFF2-40B4-BE49-F238E27FC236}">
                      <a16:creationId xmlns:a16="http://schemas.microsoft.com/office/drawing/2014/main" id="{5922C81D-D998-69D8-9F3B-78BE645675F8}"/>
                    </a:ext>
                  </a:extLst>
                </p:cNvPr>
                <p:cNvSpPr/>
                <p:nvPr/>
              </p:nvSpPr>
              <p:spPr bwMode="gray">
                <a:xfrm>
                  <a:off x="575576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0" name="Graphic 471">
                <a:extLst>
                  <a:ext uri="{FF2B5EF4-FFF2-40B4-BE49-F238E27FC236}">
                    <a16:creationId xmlns:a16="http://schemas.microsoft.com/office/drawing/2014/main" id="{69F992FC-F228-5231-E394-523742F52D63}"/>
                  </a:ext>
                </a:extLst>
              </p:cNvPr>
              <p:cNvGrpSpPr/>
              <p:nvPr/>
            </p:nvGrpSpPr>
            <p:grpSpPr bwMode="gray">
              <a:xfrm>
                <a:off x="5710522" y="3675030"/>
                <a:ext cx="75628" cy="75723"/>
                <a:chOff x="5710522" y="3675030"/>
                <a:chExt cx="75628" cy="75723"/>
              </a:xfrm>
            </p:grpSpPr>
            <p:sp>
              <p:nvSpPr>
                <p:cNvPr id="11496" name="Freeform: Shape 11495">
                  <a:extLst>
                    <a:ext uri="{FF2B5EF4-FFF2-40B4-BE49-F238E27FC236}">
                      <a16:creationId xmlns:a16="http://schemas.microsoft.com/office/drawing/2014/main" id="{6D398E83-C443-C9D6-858B-7A325BE7F651}"/>
                    </a:ext>
                  </a:extLst>
                </p:cNvPr>
                <p:cNvSpPr/>
                <p:nvPr/>
              </p:nvSpPr>
              <p:spPr bwMode="gray">
                <a:xfrm>
                  <a:off x="574833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97" name="Freeform: Shape 11496">
                  <a:extLst>
                    <a:ext uri="{FF2B5EF4-FFF2-40B4-BE49-F238E27FC236}">
                      <a16:creationId xmlns:a16="http://schemas.microsoft.com/office/drawing/2014/main" id="{18323328-81B6-1F26-A25A-A6D88E49CBB0}"/>
                    </a:ext>
                  </a:extLst>
                </p:cNvPr>
                <p:cNvSpPr/>
                <p:nvPr/>
              </p:nvSpPr>
              <p:spPr bwMode="gray">
                <a:xfrm>
                  <a:off x="5710522" y="37129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1" name="Graphic 471">
                <a:extLst>
                  <a:ext uri="{FF2B5EF4-FFF2-40B4-BE49-F238E27FC236}">
                    <a16:creationId xmlns:a16="http://schemas.microsoft.com/office/drawing/2014/main" id="{24585E2D-CB91-2E1B-1C0B-1611D8EB3DFE}"/>
                  </a:ext>
                </a:extLst>
              </p:cNvPr>
              <p:cNvGrpSpPr/>
              <p:nvPr/>
            </p:nvGrpSpPr>
            <p:grpSpPr bwMode="gray">
              <a:xfrm>
                <a:off x="5693473" y="3675030"/>
                <a:ext cx="75723" cy="75723"/>
                <a:chOff x="5693473" y="3675030"/>
                <a:chExt cx="75723" cy="75723"/>
              </a:xfrm>
            </p:grpSpPr>
            <p:sp>
              <p:nvSpPr>
                <p:cNvPr id="11494" name="Freeform: Shape 11493">
                  <a:extLst>
                    <a:ext uri="{FF2B5EF4-FFF2-40B4-BE49-F238E27FC236}">
                      <a16:creationId xmlns:a16="http://schemas.microsoft.com/office/drawing/2014/main" id="{C8D1B6F5-C715-AB0A-4010-1337DDF91772}"/>
                    </a:ext>
                  </a:extLst>
                </p:cNvPr>
                <p:cNvSpPr/>
                <p:nvPr/>
              </p:nvSpPr>
              <p:spPr bwMode="gray">
                <a:xfrm>
                  <a:off x="573128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95" name="Freeform: Shape 11494">
                  <a:extLst>
                    <a:ext uri="{FF2B5EF4-FFF2-40B4-BE49-F238E27FC236}">
                      <a16:creationId xmlns:a16="http://schemas.microsoft.com/office/drawing/2014/main" id="{FF8AB303-01C7-ED52-FA0B-24AFBA15A45F}"/>
                    </a:ext>
                  </a:extLst>
                </p:cNvPr>
                <p:cNvSpPr/>
                <p:nvPr/>
              </p:nvSpPr>
              <p:spPr bwMode="gray">
                <a:xfrm>
                  <a:off x="569347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2" name="Graphic 471">
                <a:extLst>
                  <a:ext uri="{FF2B5EF4-FFF2-40B4-BE49-F238E27FC236}">
                    <a16:creationId xmlns:a16="http://schemas.microsoft.com/office/drawing/2014/main" id="{792107BE-6A2D-DA13-7BF2-EBB7D89BFD30}"/>
                  </a:ext>
                </a:extLst>
              </p:cNvPr>
              <p:cNvGrpSpPr/>
              <p:nvPr/>
            </p:nvGrpSpPr>
            <p:grpSpPr bwMode="gray">
              <a:xfrm>
                <a:off x="5680138" y="3675030"/>
                <a:ext cx="75628" cy="75723"/>
                <a:chOff x="5680138" y="3675030"/>
                <a:chExt cx="75628" cy="75723"/>
              </a:xfrm>
            </p:grpSpPr>
            <p:sp>
              <p:nvSpPr>
                <p:cNvPr id="11492" name="Freeform: Shape 11491">
                  <a:extLst>
                    <a:ext uri="{FF2B5EF4-FFF2-40B4-BE49-F238E27FC236}">
                      <a16:creationId xmlns:a16="http://schemas.microsoft.com/office/drawing/2014/main" id="{FBC42028-676C-398E-59F8-53F44E59C61E}"/>
                    </a:ext>
                  </a:extLst>
                </p:cNvPr>
                <p:cNvSpPr/>
                <p:nvPr/>
              </p:nvSpPr>
              <p:spPr bwMode="gray">
                <a:xfrm>
                  <a:off x="5717952"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93" name="Freeform: Shape 11492">
                  <a:extLst>
                    <a:ext uri="{FF2B5EF4-FFF2-40B4-BE49-F238E27FC236}">
                      <a16:creationId xmlns:a16="http://schemas.microsoft.com/office/drawing/2014/main" id="{FD37AD47-31A2-1377-D774-9E260B30B368}"/>
                    </a:ext>
                  </a:extLst>
                </p:cNvPr>
                <p:cNvSpPr/>
                <p:nvPr/>
              </p:nvSpPr>
              <p:spPr bwMode="gray">
                <a:xfrm>
                  <a:off x="5680138"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3" name="Graphic 471">
                <a:extLst>
                  <a:ext uri="{FF2B5EF4-FFF2-40B4-BE49-F238E27FC236}">
                    <a16:creationId xmlns:a16="http://schemas.microsoft.com/office/drawing/2014/main" id="{01AD5F52-E232-F037-E2AA-FBE6871191FD}"/>
                  </a:ext>
                </a:extLst>
              </p:cNvPr>
              <p:cNvGrpSpPr/>
              <p:nvPr/>
            </p:nvGrpSpPr>
            <p:grpSpPr bwMode="gray">
              <a:xfrm>
                <a:off x="5647372" y="3647693"/>
                <a:ext cx="75723" cy="75723"/>
                <a:chOff x="5647372" y="3647693"/>
                <a:chExt cx="75723" cy="75723"/>
              </a:xfrm>
            </p:grpSpPr>
            <p:sp>
              <p:nvSpPr>
                <p:cNvPr id="11490" name="Freeform: Shape 11489">
                  <a:extLst>
                    <a:ext uri="{FF2B5EF4-FFF2-40B4-BE49-F238E27FC236}">
                      <a16:creationId xmlns:a16="http://schemas.microsoft.com/office/drawing/2014/main" id="{AA6BB883-BE7D-A2D3-8340-515EA7818913}"/>
                    </a:ext>
                  </a:extLst>
                </p:cNvPr>
                <p:cNvSpPr/>
                <p:nvPr/>
              </p:nvSpPr>
              <p:spPr bwMode="gray">
                <a:xfrm>
                  <a:off x="5685186"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91" name="Freeform: Shape 11490">
                  <a:extLst>
                    <a:ext uri="{FF2B5EF4-FFF2-40B4-BE49-F238E27FC236}">
                      <a16:creationId xmlns:a16="http://schemas.microsoft.com/office/drawing/2014/main" id="{CED8633B-821B-C96C-A5BF-88933C43A7A7}"/>
                    </a:ext>
                  </a:extLst>
                </p:cNvPr>
                <p:cNvSpPr/>
                <p:nvPr/>
              </p:nvSpPr>
              <p:spPr bwMode="gray">
                <a:xfrm>
                  <a:off x="5647372"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4" name="Graphic 471">
                <a:extLst>
                  <a:ext uri="{FF2B5EF4-FFF2-40B4-BE49-F238E27FC236}">
                    <a16:creationId xmlns:a16="http://schemas.microsoft.com/office/drawing/2014/main" id="{96100E1E-B7BE-50B9-0B43-16081AC7F984}"/>
                  </a:ext>
                </a:extLst>
              </p:cNvPr>
              <p:cNvGrpSpPr/>
              <p:nvPr/>
            </p:nvGrpSpPr>
            <p:grpSpPr bwMode="gray">
              <a:xfrm>
                <a:off x="5612415" y="3647693"/>
                <a:ext cx="75723" cy="75723"/>
                <a:chOff x="5612415" y="3647693"/>
                <a:chExt cx="75723" cy="75723"/>
              </a:xfrm>
            </p:grpSpPr>
            <p:sp>
              <p:nvSpPr>
                <p:cNvPr id="11488" name="Freeform: Shape 11487">
                  <a:extLst>
                    <a:ext uri="{FF2B5EF4-FFF2-40B4-BE49-F238E27FC236}">
                      <a16:creationId xmlns:a16="http://schemas.microsoft.com/office/drawing/2014/main" id="{50C2BBCD-FC0F-E2AC-AF26-7A4B3D5CA5FA}"/>
                    </a:ext>
                  </a:extLst>
                </p:cNvPr>
                <p:cNvSpPr/>
                <p:nvPr/>
              </p:nvSpPr>
              <p:spPr bwMode="gray">
                <a:xfrm>
                  <a:off x="5650229"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89" name="Freeform: Shape 11488">
                  <a:extLst>
                    <a:ext uri="{FF2B5EF4-FFF2-40B4-BE49-F238E27FC236}">
                      <a16:creationId xmlns:a16="http://schemas.microsoft.com/office/drawing/2014/main" id="{3E3AAA09-D616-69B8-497F-92E489CDFB66}"/>
                    </a:ext>
                  </a:extLst>
                </p:cNvPr>
                <p:cNvSpPr/>
                <p:nvPr/>
              </p:nvSpPr>
              <p:spPr bwMode="gray">
                <a:xfrm>
                  <a:off x="5612415"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5" name="Graphic 471">
                <a:extLst>
                  <a:ext uri="{FF2B5EF4-FFF2-40B4-BE49-F238E27FC236}">
                    <a16:creationId xmlns:a16="http://schemas.microsoft.com/office/drawing/2014/main" id="{F6B908B2-B0FF-14C8-7289-9ACA829415B1}"/>
                  </a:ext>
                </a:extLst>
              </p:cNvPr>
              <p:cNvGrpSpPr/>
              <p:nvPr/>
            </p:nvGrpSpPr>
            <p:grpSpPr bwMode="gray">
              <a:xfrm>
                <a:off x="5582983" y="3618547"/>
                <a:ext cx="75723" cy="75723"/>
                <a:chOff x="5582983" y="3618547"/>
                <a:chExt cx="75723" cy="75723"/>
              </a:xfrm>
            </p:grpSpPr>
            <p:sp>
              <p:nvSpPr>
                <p:cNvPr id="11486" name="Freeform: Shape 11485">
                  <a:extLst>
                    <a:ext uri="{FF2B5EF4-FFF2-40B4-BE49-F238E27FC236}">
                      <a16:creationId xmlns:a16="http://schemas.microsoft.com/office/drawing/2014/main" id="{FD41D755-0503-8531-130A-AEBC2F9976DA}"/>
                    </a:ext>
                  </a:extLst>
                </p:cNvPr>
                <p:cNvSpPr/>
                <p:nvPr/>
              </p:nvSpPr>
              <p:spPr bwMode="gray">
                <a:xfrm>
                  <a:off x="5620892"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87" name="Freeform: Shape 11486">
                  <a:extLst>
                    <a:ext uri="{FF2B5EF4-FFF2-40B4-BE49-F238E27FC236}">
                      <a16:creationId xmlns:a16="http://schemas.microsoft.com/office/drawing/2014/main" id="{B74B6C19-4826-E0C5-914C-E97A2C1DCF66}"/>
                    </a:ext>
                  </a:extLst>
                </p:cNvPr>
                <p:cNvSpPr/>
                <p:nvPr/>
              </p:nvSpPr>
              <p:spPr bwMode="gray">
                <a:xfrm>
                  <a:off x="5582983"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6" name="Graphic 471">
                <a:extLst>
                  <a:ext uri="{FF2B5EF4-FFF2-40B4-BE49-F238E27FC236}">
                    <a16:creationId xmlns:a16="http://schemas.microsoft.com/office/drawing/2014/main" id="{2BDAB11A-2DF4-7BAA-947B-49751F956BA2}"/>
                  </a:ext>
                </a:extLst>
              </p:cNvPr>
              <p:cNvGrpSpPr/>
              <p:nvPr/>
            </p:nvGrpSpPr>
            <p:grpSpPr bwMode="gray">
              <a:xfrm>
                <a:off x="5529928" y="3618547"/>
                <a:ext cx="75723" cy="75723"/>
                <a:chOff x="5529928" y="3618547"/>
                <a:chExt cx="75723" cy="75723"/>
              </a:xfrm>
            </p:grpSpPr>
            <p:sp>
              <p:nvSpPr>
                <p:cNvPr id="11484" name="Freeform: Shape 11483">
                  <a:extLst>
                    <a:ext uri="{FF2B5EF4-FFF2-40B4-BE49-F238E27FC236}">
                      <a16:creationId xmlns:a16="http://schemas.microsoft.com/office/drawing/2014/main" id="{6C06DA37-CEC3-3423-586D-C67AE8959ED8}"/>
                    </a:ext>
                  </a:extLst>
                </p:cNvPr>
                <p:cNvSpPr/>
                <p:nvPr/>
              </p:nvSpPr>
              <p:spPr bwMode="gray">
                <a:xfrm>
                  <a:off x="5567743"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85" name="Freeform: Shape 11484">
                  <a:extLst>
                    <a:ext uri="{FF2B5EF4-FFF2-40B4-BE49-F238E27FC236}">
                      <a16:creationId xmlns:a16="http://schemas.microsoft.com/office/drawing/2014/main" id="{AECD482A-65D9-C6F4-9118-700714F4218E}"/>
                    </a:ext>
                  </a:extLst>
                </p:cNvPr>
                <p:cNvSpPr/>
                <p:nvPr/>
              </p:nvSpPr>
              <p:spPr bwMode="gray">
                <a:xfrm>
                  <a:off x="5529928"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7" name="Graphic 471">
                <a:extLst>
                  <a:ext uri="{FF2B5EF4-FFF2-40B4-BE49-F238E27FC236}">
                    <a16:creationId xmlns:a16="http://schemas.microsoft.com/office/drawing/2014/main" id="{3470718F-49C7-FF89-969D-801B5B397B8F}"/>
                  </a:ext>
                </a:extLst>
              </p:cNvPr>
              <p:cNvGrpSpPr/>
              <p:nvPr/>
            </p:nvGrpSpPr>
            <p:grpSpPr bwMode="gray">
              <a:xfrm>
                <a:off x="5518594" y="3618547"/>
                <a:ext cx="75628" cy="75723"/>
                <a:chOff x="5518594" y="3618547"/>
                <a:chExt cx="75628" cy="75723"/>
              </a:xfrm>
            </p:grpSpPr>
            <p:sp>
              <p:nvSpPr>
                <p:cNvPr id="11482" name="Freeform: Shape 11481">
                  <a:extLst>
                    <a:ext uri="{FF2B5EF4-FFF2-40B4-BE49-F238E27FC236}">
                      <a16:creationId xmlns:a16="http://schemas.microsoft.com/office/drawing/2014/main" id="{9A7A05FA-BADE-0EF4-1CFF-B46797B1BCEB}"/>
                    </a:ext>
                  </a:extLst>
                </p:cNvPr>
                <p:cNvSpPr/>
                <p:nvPr/>
              </p:nvSpPr>
              <p:spPr bwMode="gray">
                <a:xfrm>
                  <a:off x="5556408"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83" name="Freeform: Shape 11482">
                  <a:extLst>
                    <a:ext uri="{FF2B5EF4-FFF2-40B4-BE49-F238E27FC236}">
                      <a16:creationId xmlns:a16="http://schemas.microsoft.com/office/drawing/2014/main" id="{ACDA09D6-9AFE-FCFE-80DB-3CFD42D2DEBD}"/>
                    </a:ext>
                  </a:extLst>
                </p:cNvPr>
                <p:cNvSpPr/>
                <p:nvPr/>
              </p:nvSpPr>
              <p:spPr bwMode="gray">
                <a:xfrm>
                  <a:off x="5518594" y="36563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8" name="Graphic 471">
                <a:extLst>
                  <a:ext uri="{FF2B5EF4-FFF2-40B4-BE49-F238E27FC236}">
                    <a16:creationId xmlns:a16="http://schemas.microsoft.com/office/drawing/2014/main" id="{BE776E23-7854-1F8E-2707-E0EF17ABBD9D}"/>
                  </a:ext>
                </a:extLst>
              </p:cNvPr>
              <p:cNvGrpSpPr/>
              <p:nvPr/>
            </p:nvGrpSpPr>
            <p:grpSpPr bwMode="gray">
              <a:xfrm>
                <a:off x="5374099" y="3595115"/>
                <a:ext cx="75628" cy="75723"/>
                <a:chOff x="5374099" y="3595115"/>
                <a:chExt cx="75628" cy="75723"/>
              </a:xfrm>
            </p:grpSpPr>
            <p:sp>
              <p:nvSpPr>
                <p:cNvPr id="11480" name="Freeform: Shape 11479">
                  <a:extLst>
                    <a:ext uri="{FF2B5EF4-FFF2-40B4-BE49-F238E27FC236}">
                      <a16:creationId xmlns:a16="http://schemas.microsoft.com/office/drawing/2014/main" id="{00EA7901-B0B0-10C1-C68C-10F66B3CB622}"/>
                    </a:ext>
                  </a:extLst>
                </p:cNvPr>
                <p:cNvSpPr/>
                <p:nvPr/>
              </p:nvSpPr>
              <p:spPr bwMode="gray">
                <a:xfrm>
                  <a:off x="5411914"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81" name="Freeform: Shape 11480">
                  <a:extLst>
                    <a:ext uri="{FF2B5EF4-FFF2-40B4-BE49-F238E27FC236}">
                      <a16:creationId xmlns:a16="http://schemas.microsoft.com/office/drawing/2014/main" id="{8833CE22-194F-9839-791B-C57367B3C62F}"/>
                    </a:ext>
                  </a:extLst>
                </p:cNvPr>
                <p:cNvSpPr/>
                <p:nvPr/>
              </p:nvSpPr>
              <p:spPr bwMode="gray">
                <a:xfrm>
                  <a:off x="5374099"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09" name="Graphic 471">
                <a:extLst>
                  <a:ext uri="{FF2B5EF4-FFF2-40B4-BE49-F238E27FC236}">
                    <a16:creationId xmlns:a16="http://schemas.microsoft.com/office/drawing/2014/main" id="{5D61722B-6125-48A1-D0BE-A8E32BDAB28F}"/>
                  </a:ext>
                </a:extLst>
              </p:cNvPr>
              <p:cNvGrpSpPr/>
              <p:nvPr/>
            </p:nvGrpSpPr>
            <p:grpSpPr bwMode="gray">
              <a:xfrm>
                <a:off x="5430964" y="3595115"/>
                <a:ext cx="75628" cy="75723"/>
                <a:chOff x="5430964" y="3595115"/>
                <a:chExt cx="75628" cy="75723"/>
              </a:xfrm>
            </p:grpSpPr>
            <p:sp>
              <p:nvSpPr>
                <p:cNvPr id="11478" name="Freeform: Shape 11477">
                  <a:extLst>
                    <a:ext uri="{FF2B5EF4-FFF2-40B4-BE49-F238E27FC236}">
                      <a16:creationId xmlns:a16="http://schemas.microsoft.com/office/drawing/2014/main" id="{DE81BF29-9732-166D-D413-79296C59BC4A}"/>
                    </a:ext>
                  </a:extLst>
                </p:cNvPr>
                <p:cNvSpPr/>
                <p:nvPr/>
              </p:nvSpPr>
              <p:spPr bwMode="gray">
                <a:xfrm>
                  <a:off x="5468778"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79" name="Freeform: Shape 11478">
                  <a:extLst>
                    <a:ext uri="{FF2B5EF4-FFF2-40B4-BE49-F238E27FC236}">
                      <a16:creationId xmlns:a16="http://schemas.microsoft.com/office/drawing/2014/main" id="{4E51E49B-9642-65F5-BC8C-C36C3D4B8CBF}"/>
                    </a:ext>
                  </a:extLst>
                </p:cNvPr>
                <p:cNvSpPr/>
                <p:nvPr/>
              </p:nvSpPr>
              <p:spPr bwMode="gray">
                <a:xfrm>
                  <a:off x="543096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0" name="Graphic 471">
                <a:extLst>
                  <a:ext uri="{FF2B5EF4-FFF2-40B4-BE49-F238E27FC236}">
                    <a16:creationId xmlns:a16="http://schemas.microsoft.com/office/drawing/2014/main" id="{AFA05B81-6416-0FED-3D37-445F77F2E2E0}"/>
                  </a:ext>
                </a:extLst>
              </p:cNvPr>
              <p:cNvGrpSpPr/>
              <p:nvPr/>
            </p:nvGrpSpPr>
            <p:grpSpPr bwMode="gray">
              <a:xfrm>
                <a:off x="5334761" y="3550443"/>
                <a:ext cx="75723" cy="75723"/>
                <a:chOff x="5334761" y="3550443"/>
                <a:chExt cx="75723" cy="75723"/>
              </a:xfrm>
            </p:grpSpPr>
            <p:sp>
              <p:nvSpPr>
                <p:cNvPr id="11476" name="Freeform: Shape 11475">
                  <a:extLst>
                    <a:ext uri="{FF2B5EF4-FFF2-40B4-BE49-F238E27FC236}">
                      <a16:creationId xmlns:a16="http://schemas.microsoft.com/office/drawing/2014/main" id="{0EC54356-5BE8-3D86-0CA5-BD6D88C1E24F}"/>
                    </a:ext>
                  </a:extLst>
                </p:cNvPr>
                <p:cNvSpPr/>
                <p:nvPr/>
              </p:nvSpPr>
              <p:spPr bwMode="gray">
                <a:xfrm>
                  <a:off x="5372575" y="35504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77" name="Freeform: Shape 11476">
                  <a:extLst>
                    <a:ext uri="{FF2B5EF4-FFF2-40B4-BE49-F238E27FC236}">
                      <a16:creationId xmlns:a16="http://schemas.microsoft.com/office/drawing/2014/main" id="{2AA7DF4A-67EF-9A98-0DF6-8B17F4AC019B}"/>
                    </a:ext>
                  </a:extLst>
                </p:cNvPr>
                <p:cNvSpPr/>
                <p:nvPr/>
              </p:nvSpPr>
              <p:spPr bwMode="gray">
                <a:xfrm>
                  <a:off x="5334761" y="3588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1" name="Graphic 471">
                <a:extLst>
                  <a:ext uri="{FF2B5EF4-FFF2-40B4-BE49-F238E27FC236}">
                    <a16:creationId xmlns:a16="http://schemas.microsoft.com/office/drawing/2014/main" id="{AACB3F07-C30A-6D3C-07A9-A7DD0EAC974A}"/>
                  </a:ext>
                </a:extLst>
              </p:cNvPr>
              <p:cNvGrpSpPr/>
              <p:nvPr/>
            </p:nvGrpSpPr>
            <p:grpSpPr bwMode="gray">
              <a:xfrm>
                <a:off x="5314473" y="3527773"/>
                <a:ext cx="75723" cy="75628"/>
                <a:chOff x="5314473" y="3527773"/>
                <a:chExt cx="75723" cy="75628"/>
              </a:xfrm>
            </p:grpSpPr>
            <p:sp>
              <p:nvSpPr>
                <p:cNvPr id="11474" name="Freeform: Shape 11473">
                  <a:extLst>
                    <a:ext uri="{FF2B5EF4-FFF2-40B4-BE49-F238E27FC236}">
                      <a16:creationId xmlns:a16="http://schemas.microsoft.com/office/drawing/2014/main" id="{6F0EC067-7907-6CFB-69F4-915479534FEF}"/>
                    </a:ext>
                  </a:extLst>
                </p:cNvPr>
                <p:cNvSpPr/>
                <p:nvPr/>
              </p:nvSpPr>
              <p:spPr bwMode="gray">
                <a:xfrm>
                  <a:off x="5352382" y="35277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75" name="Freeform: Shape 11474">
                  <a:extLst>
                    <a:ext uri="{FF2B5EF4-FFF2-40B4-BE49-F238E27FC236}">
                      <a16:creationId xmlns:a16="http://schemas.microsoft.com/office/drawing/2014/main" id="{A2C75F97-5497-CD2C-7DA4-54A6D7B2E0AE}"/>
                    </a:ext>
                  </a:extLst>
                </p:cNvPr>
                <p:cNvSpPr/>
                <p:nvPr/>
              </p:nvSpPr>
              <p:spPr bwMode="gray">
                <a:xfrm>
                  <a:off x="5314473" y="35655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2" name="Graphic 471">
                <a:extLst>
                  <a:ext uri="{FF2B5EF4-FFF2-40B4-BE49-F238E27FC236}">
                    <a16:creationId xmlns:a16="http://schemas.microsoft.com/office/drawing/2014/main" id="{94ABE51B-6D55-7836-102F-29DA63791C2E}"/>
                  </a:ext>
                </a:extLst>
              </p:cNvPr>
              <p:cNvGrpSpPr/>
              <p:nvPr/>
            </p:nvGrpSpPr>
            <p:grpSpPr bwMode="gray">
              <a:xfrm>
                <a:off x="5259037" y="3505009"/>
                <a:ext cx="75723" cy="75723"/>
                <a:chOff x="5259037" y="3505009"/>
                <a:chExt cx="75723" cy="75723"/>
              </a:xfrm>
            </p:grpSpPr>
            <p:sp>
              <p:nvSpPr>
                <p:cNvPr id="11472" name="Freeform: Shape 11471">
                  <a:extLst>
                    <a:ext uri="{FF2B5EF4-FFF2-40B4-BE49-F238E27FC236}">
                      <a16:creationId xmlns:a16="http://schemas.microsoft.com/office/drawing/2014/main" id="{8E7FCBC1-3215-6943-C881-B155E2D5A0E7}"/>
                    </a:ext>
                  </a:extLst>
                </p:cNvPr>
                <p:cNvSpPr/>
                <p:nvPr/>
              </p:nvSpPr>
              <p:spPr bwMode="gray">
                <a:xfrm>
                  <a:off x="5296947"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73" name="Freeform: Shape 11472">
                  <a:extLst>
                    <a:ext uri="{FF2B5EF4-FFF2-40B4-BE49-F238E27FC236}">
                      <a16:creationId xmlns:a16="http://schemas.microsoft.com/office/drawing/2014/main" id="{2C0A0AD3-0D4C-EADB-4FA4-C82D110638A9}"/>
                    </a:ext>
                  </a:extLst>
                </p:cNvPr>
                <p:cNvSpPr/>
                <p:nvPr/>
              </p:nvSpPr>
              <p:spPr bwMode="gray">
                <a:xfrm>
                  <a:off x="5259037" y="3542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3" name="Graphic 471">
                <a:extLst>
                  <a:ext uri="{FF2B5EF4-FFF2-40B4-BE49-F238E27FC236}">
                    <a16:creationId xmlns:a16="http://schemas.microsoft.com/office/drawing/2014/main" id="{10B6ADDA-BC39-6CF8-58C5-336BBC17EA05}"/>
                  </a:ext>
                </a:extLst>
              </p:cNvPr>
              <p:cNvGrpSpPr/>
              <p:nvPr/>
            </p:nvGrpSpPr>
            <p:grpSpPr bwMode="gray">
              <a:xfrm>
                <a:off x="5248465" y="3505009"/>
                <a:ext cx="75628" cy="75723"/>
                <a:chOff x="5248465" y="3505009"/>
                <a:chExt cx="75628" cy="75723"/>
              </a:xfrm>
            </p:grpSpPr>
            <p:sp>
              <p:nvSpPr>
                <p:cNvPr id="11470" name="Freeform: Shape 11469">
                  <a:extLst>
                    <a:ext uri="{FF2B5EF4-FFF2-40B4-BE49-F238E27FC236}">
                      <a16:creationId xmlns:a16="http://schemas.microsoft.com/office/drawing/2014/main" id="{2315DD70-3C84-A13A-AD35-52CBFC34577A}"/>
                    </a:ext>
                  </a:extLst>
                </p:cNvPr>
                <p:cNvSpPr/>
                <p:nvPr/>
              </p:nvSpPr>
              <p:spPr bwMode="gray">
                <a:xfrm>
                  <a:off x="528627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71" name="Freeform: Shape 11470">
                  <a:extLst>
                    <a:ext uri="{FF2B5EF4-FFF2-40B4-BE49-F238E27FC236}">
                      <a16:creationId xmlns:a16="http://schemas.microsoft.com/office/drawing/2014/main" id="{F9E04617-462B-AF1D-974E-CF94E944C620}"/>
                    </a:ext>
                  </a:extLst>
                </p:cNvPr>
                <p:cNvSpPr/>
                <p:nvPr/>
              </p:nvSpPr>
              <p:spPr bwMode="gray">
                <a:xfrm>
                  <a:off x="524846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4" name="Graphic 471">
                <a:extLst>
                  <a:ext uri="{FF2B5EF4-FFF2-40B4-BE49-F238E27FC236}">
                    <a16:creationId xmlns:a16="http://schemas.microsoft.com/office/drawing/2014/main" id="{D6BABD7E-916C-C48E-A911-9DEE45C140D7}"/>
                  </a:ext>
                </a:extLst>
              </p:cNvPr>
              <p:cNvGrpSpPr/>
              <p:nvPr/>
            </p:nvGrpSpPr>
            <p:grpSpPr bwMode="gray">
              <a:xfrm>
                <a:off x="5229415" y="3505009"/>
                <a:ext cx="75628" cy="75723"/>
                <a:chOff x="5229415" y="3505009"/>
                <a:chExt cx="75628" cy="75723"/>
              </a:xfrm>
            </p:grpSpPr>
            <p:sp>
              <p:nvSpPr>
                <p:cNvPr id="11468" name="Freeform: Shape 11467">
                  <a:extLst>
                    <a:ext uri="{FF2B5EF4-FFF2-40B4-BE49-F238E27FC236}">
                      <a16:creationId xmlns:a16="http://schemas.microsoft.com/office/drawing/2014/main" id="{1B86817F-4771-1EC0-1BA8-3F08440ED9FD}"/>
                    </a:ext>
                  </a:extLst>
                </p:cNvPr>
                <p:cNvSpPr/>
                <p:nvPr/>
              </p:nvSpPr>
              <p:spPr bwMode="gray">
                <a:xfrm>
                  <a:off x="526722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69" name="Freeform: Shape 11468">
                  <a:extLst>
                    <a:ext uri="{FF2B5EF4-FFF2-40B4-BE49-F238E27FC236}">
                      <a16:creationId xmlns:a16="http://schemas.microsoft.com/office/drawing/2014/main" id="{1201B8A8-E2F6-ACD4-9E09-37978289770E}"/>
                    </a:ext>
                  </a:extLst>
                </p:cNvPr>
                <p:cNvSpPr/>
                <p:nvPr/>
              </p:nvSpPr>
              <p:spPr bwMode="gray">
                <a:xfrm>
                  <a:off x="522941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5" name="Graphic 471">
                <a:extLst>
                  <a:ext uri="{FF2B5EF4-FFF2-40B4-BE49-F238E27FC236}">
                    <a16:creationId xmlns:a16="http://schemas.microsoft.com/office/drawing/2014/main" id="{AB43C614-7CC7-B2DC-C516-BBC6FFD54647}"/>
                  </a:ext>
                </a:extLst>
              </p:cNvPr>
              <p:cNvGrpSpPr/>
              <p:nvPr/>
            </p:nvGrpSpPr>
            <p:grpSpPr bwMode="gray">
              <a:xfrm>
                <a:off x="5137403" y="3414235"/>
                <a:ext cx="75628" cy="75723"/>
                <a:chOff x="5137403" y="3414235"/>
                <a:chExt cx="75628" cy="75723"/>
              </a:xfrm>
            </p:grpSpPr>
            <p:sp>
              <p:nvSpPr>
                <p:cNvPr id="11466" name="Freeform: Shape 11465">
                  <a:extLst>
                    <a:ext uri="{FF2B5EF4-FFF2-40B4-BE49-F238E27FC236}">
                      <a16:creationId xmlns:a16="http://schemas.microsoft.com/office/drawing/2014/main" id="{1FCD9DDD-764E-5FCE-BA93-7C06BD0C917B}"/>
                    </a:ext>
                  </a:extLst>
                </p:cNvPr>
                <p:cNvSpPr/>
                <p:nvPr/>
              </p:nvSpPr>
              <p:spPr bwMode="gray">
                <a:xfrm>
                  <a:off x="5175217" y="341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67" name="Freeform: Shape 11466">
                  <a:extLst>
                    <a:ext uri="{FF2B5EF4-FFF2-40B4-BE49-F238E27FC236}">
                      <a16:creationId xmlns:a16="http://schemas.microsoft.com/office/drawing/2014/main" id="{75CA3DA9-CAF7-92F2-421A-D1EEDBA77676}"/>
                    </a:ext>
                  </a:extLst>
                </p:cNvPr>
                <p:cNvSpPr/>
                <p:nvPr/>
              </p:nvSpPr>
              <p:spPr bwMode="gray">
                <a:xfrm>
                  <a:off x="5137403" y="34521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6" name="Graphic 471">
                <a:extLst>
                  <a:ext uri="{FF2B5EF4-FFF2-40B4-BE49-F238E27FC236}">
                    <a16:creationId xmlns:a16="http://schemas.microsoft.com/office/drawing/2014/main" id="{40C4BACF-F3AA-0AD4-CE68-3D8175B6A060}"/>
                  </a:ext>
                </a:extLst>
              </p:cNvPr>
              <p:cNvGrpSpPr/>
              <p:nvPr/>
            </p:nvGrpSpPr>
            <p:grpSpPr bwMode="gray">
              <a:xfrm>
                <a:off x="5105875" y="3372135"/>
                <a:ext cx="75628" cy="75628"/>
                <a:chOff x="5105875" y="3372135"/>
                <a:chExt cx="75628" cy="75628"/>
              </a:xfrm>
            </p:grpSpPr>
            <p:sp>
              <p:nvSpPr>
                <p:cNvPr id="11464" name="Freeform: Shape 11463">
                  <a:extLst>
                    <a:ext uri="{FF2B5EF4-FFF2-40B4-BE49-F238E27FC236}">
                      <a16:creationId xmlns:a16="http://schemas.microsoft.com/office/drawing/2014/main" id="{74102FD0-CFC3-1E32-9108-570CC233CC18}"/>
                    </a:ext>
                  </a:extLst>
                </p:cNvPr>
                <p:cNvSpPr/>
                <p:nvPr/>
              </p:nvSpPr>
              <p:spPr bwMode="gray">
                <a:xfrm>
                  <a:off x="5143690"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65" name="Freeform: Shape 11464">
                  <a:extLst>
                    <a:ext uri="{FF2B5EF4-FFF2-40B4-BE49-F238E27FC236}">
                      <a16:creationId xmlns:a16="http://schemas.microsoft.com/office/drawing/2014/main" id="{82707CF5-43F1-CEA9-4BAB-281EAD6DC08B}"/>
                    </a:ext>
                  </a:extLst>
                </p:cNvPr>
                <p:cNvSpPr/>
                <p:nvPr/>
              </p:nvSpPr>
              <p:spPr bwMode="gray">
                <a:xfrm>
                  <a:off x="5105875"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7" name="Graphic 471">
                <a:extLst>
                  <a:ext uri="{FF2B5EF4-FFF2-40B4-BE49-F238E27FC236}">
                    <a16:creationId xmlns:a16="http://schemas.microsoft.com/office/drawing/2014/main" id="{142DA3B6-C3DE-F97D-595C-635A3AED4F11}"/>
                  </a:ext>
                </a:extLst>
              </p:cNvPr>
              <p:cNvGrpSpPr/>
              <p:nvPr/>
            </p:nvGrpSpPr>
            <p:grpSpPr bwMode="gray">
              <a:xfrm>
                <a:off x="5077491" y="3372135"/>
                <a:ext cx="75723" cy="75628"/>
                <a:chOff x="5077491" y="3372135"/>
                <a:chExt cx="75723" cy="75628"/>
              </a:xfrm>
            </p:grpSpPr>
            <p:sp>
              <p:nvSpPr>
                <p:cNvPr id="11462" name="Freeform: Shape 11461">
                  <a:extLst>
                    <a:ext uri="{FF2B5EF4-FFF2-40B4-BE49-F238E27FC236}">
                      <a16:creationId xmlns:a16="http://schemas.microsoft.com/office/drawing/2014/main" id="{1D0772A1-FA91-EA6A-4B07-0001EF303E5B}"/>
                    </a:ext>
                  </a:extLst>
                </p:cNvPr>
                <p:cNvSpPr/>
                <p:nvPr/>
              </p:nvSpPr>
              <p:spPr bwMode="gray">
                <a:xfrm>
                  <a:off x="5115305"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63" name="Freeform: Shape 11462">
                  <a:extLst>
                    <a:ext uri="{FF2B5EF4-FFF2-40B4-BE49-F238E27FC236}">
                      <a16:creationId xmlns:a16="http://schemas.microsoft.com/office/drawing/2014/main" id="{D7691CAF-CBC7-BCFF-A063-924487FA0691}"/>
                    </a:ext>
                  </a:extLst>
                </p:cNvPr>
                <p:cNvSpPr/>
                <p:nvPr/>
              </p:nvSpPr>
              <p:spPr bwMode="gray">
                <a:xfrm>
                  <a:off x="5077491" y="3409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8" name="Graphic 471">
                <a:extLst>
                  <a:ext uri="{FF2B5EF4-FFF2-40B4-BE49-F238E27FC236}">
                    <a16:creationId xmlns:a16="http://schemas.microsoft.com/office/drawing/2014/main" id="{F51D4493-54B7-5380-E8A9-F2D9B12C819D}"/>
                  </a:ext>
                </a:extLst>
              </p:cNvPr>
              <p:cNvGrpSpPr/>
              <p:nvPr/>
            </p:nvGrpSpPr>
            <p:grpSpPr bwMode="gray">
              <a:xfrm>
                <a:off x="5045582" y="3282695"/>
                <a:ext cx="75628" cy="75723"/>
                <a:chOff x="5045582" y="3282695"/>
                <a:chExt cx="75628" cy="75723"/>
              </a:xfrm>
            </p:grpSpPr>
            <p:sp>
              <p:nvSpPr>
                <p:cNvPr id="11460" name="Freeform: Shape 11459">
                  <a:extLst>
                    <a:ext uri="{FF2B5EF4-FFF2-40B4-BE49-F238E27FC236}">
                      <a16:creationId xmlns:a16="http://schemas.microsoft.com/office/drawing/2014/main" id="{6E41E88D-755B-FA8F-3BF9-9A62A0A83BFC}"/>
                    </a:ext>
                  </a:extLst>
                </p:cNvPr>
                <p:cNvSpPr/>
                <p:nvPr/>
              </p:nvSpPr>
              <p:spPr bwMode="gray">
                <a:xfrm>
                  <a:off x="5083396" y="32826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61" name="Freeform: Shape 11460">
                  <a:extLst>
                    <a:ext uri="{FF2B5EF4-FFF2-40B4-BE49-F238E27FC236}">
                      <a16:creationId xmlns:a16="http://schemas.microsoft.com/office/drawing/2014/main" id="{A7FB7589-7D42-8DD7-A78A-98116667D980}"/>
                    </a:ext>
                  </a:extLst>
                </p:cNvPr>
                <p:cNvSpPr/>
                <p:nvPr/>
              </p:nvSpPr>
              <p:spPr bwMode="gray">
                <a:xfrm>
                  <a:off x="5045582" y="33206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19" name="Graphic 471">
                <a:extLst>
                  <a:ext uri="{FF2B5EF4-FFF2-40B4-BE49-F238E27FC236}">
                    <a16:creationId xmlns:a16="http://schemas.microsoft.com/office/drawing/2014/main" id="{36FDA25C-3F2B-C561-A499-76B90D71EFB0}"/>
                  </a:ext>
                </a:extLst>
              </p:cNvPr>
              <p:cNvGrpSpPr/>
              <p:nvPr/>
            </p:nvGrpSpPr>
            <p:grpSpPr bwMode="gray">
              <a:xfrm>
                <a:off x="5009959" y="3217068"/>
                <a:ext cx="75723" cy="75723"/>
                <a:chOff x="5009959" y="3217068"/>
                <a:chExt cx="75723" cy="75723"/>
              </a:xfrm>
            </p:grpSpPr>
            <p:sp>
              <p:nvSpPr>
                <p:cNvPr id="11458" name="Freeform: Shape 11457">
                  <a:extLst>
                    <a:ext uri="{FF2B5EF4-FFF2-40B4-BE49-F238E27FC236}">
                      <a16:creationId xmlns:a16="http://schemas.microsoft.com/office/drawing/2014/main" id="{3BEE9565-4302-92A8-DBBA-C54CFF7EB9AD}"/>
                    </a:ext>
                  </a:extLst>
                </p:cNvPr>
                <p:cNvSpPr/>
                <p:nvPr/>
              </p:nvSpPr>
              <p:spPr bwMode="gray">
                <a:xfrm>
                  <a:off x="5047868" y="32170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59" name="Freeform: Shape 11458">
                  <a:extLst>
                    <a:ext uri="{FF2B5EF4-FFF2-40B4-BE49-F238E27FC236}">
                      <a16:creationId xmlns:a16="http://schemas.microsoft.com/office/drawing/2014/main" id="{4553F7C7-6FB8-F564-533F-C0C7218EF96B}"/>
                    </a:ext>
                  </a:extLst>
                </p:cNvPr>
                <p:cNvSpPr/>
                <p:nvPr/>
              </p:nvSpPr>
              <p:spPr bwMode="gray">
                <a:xfrm>
                  <a:off x="5009959" y="32548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0" name="Graphic 471">
                <a:extLst>
                  <a:ext uri="{FF2B5EF4-FFF2-40B4-BE49-F238E27FC236}">
                    <a16:creationId xmlns:a16="http://schemas.microsoft.com/office/drawing/2014/main" id="{EC66FB74-A5D0-CBC3-C4FD-19A9C981D598}"/>
                  </a:ext>
                </a:extLst>
              </p:cNvPr>
              <p:cNvGrpSpPr/>
              <p:nvPr/>
            </p:nvGrpSpPr>
            <p:grpSpPr bwMode="gray">
              <a:xfrm>
                <a:off x="4981193" y="3198780"/>
                <a:ext cx="75723" cy="75723"/>
                <a:chOff x="4981193" y="3198780"/>
                <a:chExt cx="75723" cy="75723"/>
              </a:xfrm>
            </p:grpSpPr>
            <p:sp>
              <p:nvSpPr>
                <p:cNvPr id="11456" name="Freeform: Shape 11455">
                  <a:extLst>
                    <a:ext uri="{FF2B5EF4-FFF2-40B4-BE49-F238E27FC236}">
                      <a16:creationId xmlns:a16="http://schemas.microsoft.com/office/drawing/2014/main" id="{BD921BEA-ACE2-1F68-A936-B36B74604145}"/>
                    </a:ext>
                  </a:extLst>
                </p:cNvPr>
                <p:cNvSpPr/>
                <p:nvPr/>
              </p:nvSpPr>
              <p:spPr bwMode="gray">
                <a:xfrm>
                  <a:off x="5019103" y="31987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57" name="Freeform: Shape 11456">
                  <a:extLst>
                    <a:ext uri="{FF2B5EF4-FFF2-40B4-BE49-F238E27FC236}">
                      <a16:creationId xmlns:a16="http://schemas.microsoft.com/office/drawing/2014/main" id="{993301A2-E356-06B3-92F0-A0A18841C597}"/>
                    </a:ext>
                  </a:extLst>
                </p:cNvPr>
                <p:cNvSpPr/>
                <p:nvPr/>
              </p:nvSpPr>
              <p:spPr bwMode="gray">
                <a:xfrm>
                  <a:off x="4981193" y="32366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1" name="Graphic 471">
                <a:extLst>
                  <a:ext uri="{FF2B5EF4-FFF2-40B4-BE49-F238E27FC236}">
                    <a16:creationId xmlns:a16="http://schemas.microsoft.com/office/drawing/2014/main" id="{B5D3A0B5-ACC7-71A5-92E5-D0D24C0E57AD}"/>
                  </a:ext>
                </a:extLst>
              </p:cNvPr>
              <p:cNvGrpSpPr/>
              <p:nvPr/>
            </p:nvGrpSpPr>
            <p:grpSpPr bwMode="gray">
              <a:xfrm>
                <a:off x="4917566" y="3141344"/>
                <a:ext cx="75723" cy="75723"/>
                <a:chOff x="4917566" y="3141344"/>
                <a:chExt cx="75723" cy="75723"/>
              </a:xfrm>
            </p:grpSpPr>
            <p:sp>
              <p:nvSpPr>
                <p:cNvPr id="11454" name="Freeform: Shape 11453">
                  <a:extLst>
                    <a:ext uri="{FF2B5EF4-FFF2-40B4-BE49-F238E27FC236}">
                      <a16:creationId xmlns:a16="http://schemas.microsoft.com/office/drawing/2014/main" id="{0A6CBCD7-28A3-4A97-36CE-965C6584BE00}"/>
                    </a:ext>
                  </a:extLst>
                </p:cNvPr>
                <p:cNvSpPr/>
                <p:nvPr/>
              </p:nvSpPr>
              <p:spPr bwMode="gray">
                <a:xfrm>
                  <a:off x="495547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55" name="Freeform: Shape 11454">
                  <a:extLst>
                    <a:ext uri="{FF2B5EF4-FFF2-40B4-BE49-F238E27FC236}">
                      <a16:creationId xmlns:a16="http://schemas.microsoft.com/office/drawing/2014/main" id="{C69E57D1-F97F-4BBE-C04A-7A5AF020364D}"/>
                    </a:ext>
                  </a:extLst>
                </p:cNvPr>
                <p:cNvSpPr/>
                <p:nvPr/>
              </p:nvSpPr>
              <p:spPr bwMode="gray">
                <a:xfrm>
                  <a:off x="491756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2" name="Graphic 471">
                <a:extLst>
                  <a:ext uri="{FF2B5EF4-FFF2-40B4-BE49-F238E27FC236}">
                    <a16:creationId xmlns:a16="http://schemas.microsoft.com/office/drawing/2014/main" id="{6F850DFA-4805-ED14-1715-B4254E67A7B7}"/>
                  </a:ext>
                </a:extLst>
              </p:cNvPr>
              <p:cNvGrpSpPr/>
              <p:nvPr/>
            </p:nvGrpSpPr>
            <p:grpSpPr bwMode="gray">
              <a:xfrm>
                <a:off x="4834508" y="3141344"/>
                <a:ext cx="75723" cy="75723"/>
                <a:chOff x="4834508" y="3141344"/>
                <a:chExt cx="75723" cy="75723"/>
              </a:xfrm>
            </p:grpSpPr>
            <p:sp>
              <p:nvSpPr>
                <p:cNvPr id="11452" name="Freeform: Shape 11451">
                  <a:extLst>
                    <a:ext uri="{FF2B5EF4-FFF2-40B4-BE49-F238E27FC236}">
                      <a16:creationId xmlns:a16="http://schemas.microsoft.com/office/drawing/2014/main" id="{547092DF-B22F-EE72-8321-CDF5FAD25ECF}"/>
                    </a:ext>
                  </a:extLst>
                </p:cNvPr>
                <p:cNvSpPr/>
                <p:nvPr/>
              </p:nvSpPr>
              <p:spPr bwMode="gray">
                <a:xfrm>
                  <a:off x="48723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53" name="Freeform: Shape 11452">
                  <a:extLst>
                    <a:ext uri="{FF2B5EF4-FFF2-40B4-BE49-F238E27FC236}">
                      <a16:creationId xmlns:a16="http://schemas.microsoft.com/office/drawing/2014/main" id="{EF0C46CB-C7B3-7194-CE2B-3FA7BDE76B51}"/>
                    </a:ext>
                  </a:extLst>
                </p:cNvPr>
                <p:cNvSpPr/>
                <p:nvPr/>
              </p:nvSpPr>
              <p:spPr bwMode="gray">
                <a:xfrm>
                  <a:off x="48345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3" name="Graphic 471">
                <a:extLst>
                  <a:ext uri="{FF2B5EF4-FFF2-40B4-BE49-F238E27FC236}">
                    <a16:creationId xmlns:a16="http://schemas.microsoft.com/office/drawing/2014/main" id="{E397E4AC-190A-C38C-1E02-4B472BB09A19}"/>
                  </a:ext>
                </a:extLst>
              </p:cNvPr>
              <p:cNvGrpSpPr/>
              <p:nvPr/>
            </p:nvGrpSpPr>
            <p:grpSpPr bwMode="gray">
              <a:xfrm>
                <a:off x="4720208" y="3141344"/>
                <a:ext cx="75723" cy="75723"/>
                <a:chOff x="4720208" y="3141344"/>
                <a:chExt cx="75723" cy="75723"/>
              </a:xfrm>
            </p:grpSpPr>
            <p:sp>
              <p:nvSpPr>
                <p:cNvPr id="11450" name="Freeform: Shape 11449">
                  <a:extLst>
                    <a:ext uri="{FF2B5EF4-FFF2-40B4-BE49-F238E27FC236}">
                      <a16:creationId xmlns:a16="http://schemas.microsoft.com/office/drawing/2014/main" id="{91EDBED1-DC9B-FD00-63AA-2513B64CEF5C}"/>
                    </a:ext>
                  </a:extLst>
                </p:cNvPr>
                <p:cNvSpPr/>
                <p:nvPr/>
              </p:nvSpPr>
              <p:spPr bwMode="gray">
                <a:xfrm>
                  <a:off x="47580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51" name="Freeform: Shape 11450">
                  <a:extLst>
                    <a:ext uri="{FF2B5EF4-FFF2-40B4-BE49-F238E27FC236}">
                      <a16:creationId xmlns:a16="http://schemas.microsoft.com/office/drawing/2014/main" id="{746D00D3-538D-E210-3911-99E6BEEA09FC}"/>
                    </a:ext>
                  </a:extLst>
                </p:cNvPr>
                <p:cNvSpPr/>
                <p:nvPr/>
              </p:nvSpPr>
              <p:spPr bwMode="gray">
                <a:xfrm>
                  <a:off x="47202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4" name="Graphic 471">
                <a:extLst>
                  <a:ext uri="{FF2B5EF4-FFF2-40B4-BE49-F238E27FC236}">
                    <a16:creationId xmlns:a16="http://schemas.microsoft.com/office/drawing/2014/main" id="{973113D2-8C6C-1455-9E59-6FDC27AEC16C}"/>
                  </a:ext>
                </a:extLst>
              </p:cNvPr>
              <p:cNvGrpSpPr/>
              <p:nvPr/>
            </p:nvGrpSpPr>
            <p:grpSpPr bwMode="gray">
              <a:xfrm>
                <a:off x="4659820" y="3078955"/>
                <a:ext cx="75628" cy="75723"/>
                <a:chOff x="4659820" y="3078955"/>
                <a:chExt cx="75628" cy="75723"/>
              </a:xfrm>
            </p:grpSpPr>
            <p:sp>
              <p:nvSpPr>
                <p:cNvPr id="11448" name="Freeform: Shape 11447">
                  <a:extLst>
                    <a:ext uri="{FF2B5EF4-FFF2-40B4-BE49-F238E27FC236}">
                      <a16:creationId xmlns:a16="http://schemas.microsoft.com/office/drawing/2014/main" id="{91AD76D4-667C-24D5-2D32-B8AA41EAA3E6}"/>
                    </a:ext>
                  </a:extLst>
                </p:cNvPr>
                <p:cNvSpPr/>
                <p:nvPr/>
              </p:nvSpPr>
              <p:spPr bwMode="gray">
                <a:xfrm>
                  <a:off x="4697634"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49" name="Freeform: Shape 11448">
                  <a:extLst>
                    <a:ext uri="{FF2B5EF4-FFF2-40B4-BE49-F238E27FC236}">
                      <a16:creationId xmlns:a16="http://schemas.microsoft.com/office/drawing/2014/main" id="{52A5A165-8158-7B04-9E16-27E448613CC3}"/>
                    </a:ext>
                  </a:extLst>
                </p:cNvPr>
                <p:cNvSpPr/>
                <p:nvPr/>
              </p:nvSpPr>
              <p:spPr bwMode="gray">
                <a:xfrm>
                  <a:off x="4659820"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5" name="Graphic 471">
                <a:extLst>
                  <a:ext uri="{FF2B5EF4-FFF2-40B4-BE49-F238E27FC236}">
                    <a16:creationId xmlns:a16="http://schemas.microsoft.com/office/drawing/2014/main" id="{D04D8397-F156-5735-1F05-D0369A5942AB}"/>
                  </a:ext>
                </a:extLst>
              </p:cNvPr>
              <p:cNvGrpSpPr/>
              <p:nvPr/>
            </p:nvGrpSpPr>
            <p:grpSpPr bwMode="gray">
              <a:xfrm>
                <a:off x="4600765" y="3078955"/>
                <a:ext cx="75628" cy="75723"/>
                <a:chOff x="4600765" y="3078955"/>
                <a:chExt cx="75628" cy="75723"/>
              </a:xfrm>
            </p:grpSpPr>
            <p:sp>
              <p:nvSpPr>
                <p:cNvPr id="11446" name="Freeform: Shape 11445">
                  <a:extLst>
                    <a:ext uri="{FF2B5EF4-FFF2-40B4-BE49-F238E27FC236}">
                      <a16:creationId xmlns:a16="http://schemas.microsoft.com/office/drawing/2014/main" id="{E2CEDF5F-102E-7ADE-0BD8-81F209869E0D}"/>
                    </a:ext>
                  </a:extLst>
                </p:cNvPr>
                <p:cNvSpPr/>
                <p:nvPr/>
              </p:nvSpPr>
              <p:spPr bwMode="gray">
                <a:xfrm>
                  <a:off x="4638579"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47" name="Freeform: Shape 11446">
                  <a:extLst>
                    <a:ext uri="{FF2B5EF4-FFF2-40B4-BE49-F238E27FC236}">
                      <a16:creationId xmlns:a16="http://schemas.microsoft.com/office/drawing/2014/main" id="{8445187D-A129-CE3F-57BF-48DAB547926A}"/>
                    </a:ext>
                  </a:extLst>
                </p:cNvPr>
                <p:cNvSpPr/>
                <p:nvPr/>
              </p:nvSpPr>
              <p:spPr bwMode="gray">
                <a:xfrm>
                  <a:off x="4600765"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6" name="Graphic 471">
                <a:extLst>
                  <a:ext uri="{FF2B5EF4-FFF2-40B4-BE49-F238E27FC236}">
                    <a16:creationId xmlns:a16="http://schemas.microsoft.com/office/drawing/2014/main" id="{CF425D3D-A3FF-C0EE-A4D0-FD956FD980C9}"/>
                  </a:ext>
                </a:extLst>
              </p:cNvPr>
              <p:cNvGrpSpPr/>
              <p:nvPr/>
            </p:nvGrpSpPr>
            <p:grpSpPr bwMode="gray">
              <a:xfrm>
                <a:off x="4575238" y="3078955"/>
                <a:ext cx="75628" cy="75723"/>
                <a:chOff x="4575238" y="3078955"/>
                <a:chExt cx="75628" cy="75723"/>
              </a:xfrm>
            </p:grpSpPr>
            <p:sp>
              <p:nvSpPr>
                <p:cNvPr id="11444" name="Freeform: Shape 11443">
                  <a:extLst>
                    <a:ext uri="{FF2B5EF4-FFF2-40B4-BE49-F238E27FC236}">
                      <a16:creationId xmlns:a16="http://schemas.microsoft.com/office/drawing/2014/main" id="{6A66D3BF-8A14-07CA-BBF6-B1F71B639790}"/>
                    </a:ext>
                  </a:extLst>
                </p:cNvPr>
                <p:cNvSpPr/>
                <p:nvPr/>
              </p:nvSpPr>
              <p:spPr bwMode="gray">
                <a:xfrm>
                  <a:off x="4613052"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45" name="Freeform: Shape 11444">
                  <a:extLst>
                    <a:ext uri="{FF2B5EF4-FFF2-40B4-BE49-F238E27FC236}">
                      <a16:creationId xmlns:a16="http://schemas.microsoft.com/office/drawing/2014/main" id="{42940AC8-10F0-44E0-B3D5-94D80E343F4F}"/>
                    </a:ext>
                  </a:extLst>
                </p:cNvPr>
                <p:cNvSpPr/>
                <p:nvPr/>
              </p:nvSpPr>
              <p:spPr bwMode="gray">
                <a:xfrm>
                  <a:off x="4575238" y="31167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7" name="Graphic 471">
                <a:extLst>
                  <a:ext uri="{FF2B5EF4-FFF2-40B4-BE49-F238E27FC236}">
                    <a16:creationId xmlns:a16="http://schemas.microsoft.com/office/drawing/2014/main" id="{37FDE2F9-B722-7DC1-4AF5-EF0F298CDC69}"/>
                  </a:ext>
                </a:extLst>
              </p:cNvPr>
              <p:cNvGrpSpPr/>
              <p:nvPr/>
            </p:nvGrpSpPr>
            <p:grpSpPr bwMode="gray">
              <a:xfrm>
                <a:off x="4543615" y="3041141"/>
                <a:ext cx="75628" cy="75628"/>
                <a:chOff x="4543615" y="3041141"/>
                <a:chExt cx="75628" cy="75628"/>
              </a:xfrm>
            </p:grpSpPr>
            <p:sp>
              <p:nvSpPr>
                <p:cNvPr id="11442" name="Freeform: Shape 11441">
                  <a:extLst>
                    <a:ext uri="{FF2B5EF4-FFF2-40B4-BE49-F238E27FC236}">
                      <a16:creationId xmlns:a16="http://schemas.microsoft.com/office/drawing/2014/main" id="{58499C4B-CFC2-DD93-F8F0-0E9C636142EF}"/>
                    </a:ext>
                  </a:extLst>
                </p:cNvPr>
                <p:cNvSpPr/>
                <p:nvPr/>
              </p:nvSpPr>
              <p:spPr bwMode="gray">
                <a:xfrm>
                  <a:off x="4581429"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43" name="Freeform: Shape 11442">
                  <a:extLst>
                    <a:ext uri="{FF2B5EF4-FFF2-40B4-BE49-F238E27FC236}">
                      <a16:creationId xmlns:a16="http://schemas.microsoft.com/office/drawing/2014/main" id="{68509105-8A55-3399-6BF2-C1AAE16A6D51}"/>
                    </a:ext>
                  </a:extLst>
                </p:cNvPr>
                <p:cNvSpPr/>
                <p:nvPr/>
              </p:nvSpPr>
              <p:spPr bwMode="gray">
                <a:xfrm>
                  <a:off x="4543615" y="30789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8" name="Graphic 471">
                <a:extLst>
                  <a:ext uri="{FF2B5EF4-FFF2-40B4-BE49-F238E27FC236}">
                    <a16:creationId xmlns:a16="http://schemas.microsoft.com/office/drawing/2014/main" id="{DFB7DFF4-91AF-EA07-57AD-C457869578CB}"/>
                  </a:ext>
                </a:extLst>
              </p:cNvPr>
              <p:cNvGrpSpPr/>
              <p:nvPr/>
            </p:nvGrpSpPr>
            <p:grpSpPr bwMode="gray">
              <a:xfrm>
                <a:off x="4518088" y="3041141"/>
                <a:ext cx="75628" cy="75628"/>
                <a:chOff x="4518088" y="3041141"/>
                <a:chExt cx="75628" cy="75628"/>
              </a:xfrm>
            </p:grpSpPr>
            <p:sp>
              <p:nvSpPr>
                <p:cNvPr id="11440" name="Freeform: Shape 11439">
                  <a:extLst>
                    <a:ext uri="{FF2B5EF4-FFF2-40B4-BE49-F238E27FC236}">
                      <a16:creationId xmlns:a16="http://schemas.microsoft.com/office/drawing/2014/main" id="{55C97D22-66B3-91BB-FA5F-9E987421293F}"/>
                    </a:ext>
                  </a:extLst>
                </p:cNvPr>
                <p:cNvSpPr/>
                <p:nvPr/>
              </p:nvSpPr>
              <p:spPr bwMode="gray">
                <a:xfrm>
                  <a:off x="4555902"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41" name="Freeform: Shape 11440">
                  <a:extLst>
                    <a:ext uri="{FF2B5EF4-FFF2-40B4-BE49-F238E27FC236}">
                      <a16:creationId xmlns:a16="http://schemas.microsoft.com/office/drawing/2014/main" id="{E3643B5B-F457-44D7-C91E-FA923A3DBE39}"/>
                    </a:ext>
                  </a:extLst>
                </p:cNvPr>
                <p:cNvSpPr/>
                <p:nvPr/>
              </p:nvSpPr>
              <p:spPr bwMode="gray">
                <a:xfrm>
                  <a:off x="4518088" y="30789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29" name="Graphic 471">
                <a:extLst>
                  <a:ext uri="{FF2B5EF4-FFF2-40B4-BE49-F238E27FC236}">
                    <a16:creationId xmlns:a16="http://schemas.microsoft.com/office/drawing/2014/main" id="{0F8B62C8-3752-281A-85F8-B44836BD6430}"/>
                  </a:ext>
                </a:extLst>
              </p:cNvPr>
              <p:cNvGrpSpPr/>
              <p:nvPr/>
            </p:nvGrpSpPr>
            <p:grpSpPr bwMode="gray">
              <a:xfrm>
                <a:off x="4501133" y="3003232"/>
                <a:ext cx="75723" cy="75723"/>
                <a:chOff x="4501133" y="3003232"/>
                <a:chExt cx="75723" cy="75723"/>
              </a:xfrm>
            </p:grpSpPr>
            <p:sp>
              <p:nvSpPr>
                <p:cNvPr id="11438" name="Freeform: Shape 11437">
                  <a:extLst>
                    <a:ext uri="{FF2B5EF4-FFF2-40B4-BE49-F238E27FC236}">
                      <a16:creationId xmlns:a16="http://schemas.microsoft.com/office/drawing/2014/main" id="{F49A32CB-9DC8-2E07-61B8-168F694B4E77}"/>
                    </a:ext>
                  </a:extLst>
                </p:cNvPr>
                <p:cNvSpPr/>
                <p:nvPr/>
              </p:nvSpPr>
              <p:spPr bwMode="gray">
                <a:xfrm>
                  <a:off x="4539043"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39" name="Freeform: Shape 11438">
                  <a:extLst>
                    <a:ext uri="{FF2B5EF4-FFF2-40B4-BE49-F238E27FC236}">
                      <a16:creationId xmlns:a16="http://schemas.microsoft.com/office/drawing/2014/main" id="{F1113B96-46D4-44D3-9161-096D75A51525}"/>
                    </a:ext>
                  </a:extLst>
                </p:cNvPr>
                <p:cNvSpPr/>
                <p:nvPr/>
              </p:nvSpPr>
              <p:spPr bwMode="gray">
                <a:xfrm>
                  <a:off x="4501133"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0" name="Graphic 471">
                <a:extLst>
                  <a:ext uri="{FF2B5EF4-FFF2-40B4-BE49-F238E27FC236}">
                    <a16:creationId xmlns:a16="http://schemas.microsoft.com/office/drawing/2014/main" id="{0912D105-D1C4-2E72-8736-92C7650F9552}"/>
                  </a:ext>
                </a:extLst>
              </p:cNvPr>
              <p:cNvGrpSpPr/>
              <p:nvPr/>
            </p:nvGrpSpPr>
            <p:grpSpPr bwMode="gray">
              <a:xfrm>
                <a:off x="4475606" y="3003232"/>
                <a:ext cx="75723" cy="75723"/>
                <a:chOff x="4475606" y="3003232"/>
                <a:chExt cx="75723" cy="75723"/>
              </a:xfrm>
            </p:grpSpPr>
            <p:sp>
              <p:nvSpPr>
                <p:cNvPr id="11436" name="Freeform: Shape 11435">
                  <a:extLst>
                    <a:ext uri="{FF2B5EF4-FFF2-40B4-BE49-F238E27FC236}">
                      <a16:creationId xmlns:a16="http://schemas.microsoft.com/office/drawing/2014/main" id="{354B0AB7-6859-9FEE-3717-3993AC9A5B49}"/>
                    </a:ext>
                  </a:extLst>
                </p:cNvPr>
                <p:cNvSpPr/>
                <p:nvPr/>
              </p:nvSpPr>
              <p:spPr bwMode="gray">
                <a:xfrm>
                  <a:off x="4513516"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37" name="Freeform: Shape 11436">
                  <a:extLst>
                    <a:ext uri="{FF2B5EF4-FFF2-40B4-BE49-F238E27FC236}">
                      <a16:creationId xmlns:a16="http://schemas.microsoft.com/office/drawing/2014/main" id="{3430A019-8EF8-860D-32C0-7E31DF962DC4}"/>
                    </a:ext>
                  </a:extLst>
                </p:cNvPr>
                <p:cNvSpPr/>
                <p:nvPr/>
              </p:nvSpPr>
              <p:spPr bwMode="gray">
                <a:xfrm>
                  <a:off x="4475606"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1" name="Graphic 471">
                <a:extLst>
                  <a:ext uri="{FF2B5EF4-FFF2-40B4-BE49-F238E27FC236}">
                    <a16:creationId xmlns:a16="http://schemas.microsoft.com/office/drawing/2014/main" id="{C4D7883E-1942-CFD2-52CA-7BA5D4734D3D}"/>
                  </a:ext>
                </a:extLst>
              </p:cNvPr>
              <p:cNvGrpSpPr/>
              <p:nvPr/>
            </p:nvGrpSpPr>
            <p:grpSpPr bwMode="gray">
              <a:xfrm>
                <a:off x="4418361" y="2981419"/>
                <a:ext cx="75723" cy="75628"/>
                <a:chOff x="4418361" y="2981419"/>
                <a:chExt cx="75723" cy="75628"/>
              </a:xfrm>
            </p:grpSpPr>
            <p:sp>
              <p:nvSpPr>
                <p:cNvPr id="11434" name="Freeform: Shape 11433">
                  <a:extLst>
                    <a:ext uri="{FF2B5EF4-FFF2-40B4-BE49-F238E27FC236}">
                      <a16:creationId xmlns:a16="http://schemas.microsoft.com/office/drawing/2014/main" id="{C9D882CD-CD51-7CFC-3C31-B15A48D9FC7F}"/>
                    </a:ext>
                  </a:extLst>
                </p:cNvPr>
                <p:cNvSpPr/>
                <p:nvPr/>
              </p:nvSpPr>
              <p:spPr bwMode="gray">
                <a:xfrm>
                  <a:off x="4456270" y="29814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35" name="Freeform: Shape 11434">
                  <a:extLst>
                    <a:ext uri="{FF2B5EF4-FFF2-40B4-BE49-F238E27FC236}">
                      <a16:creationId xmlns:a16="http://schemas.microsoft.com/office/drawing/2014/main" id="{CB03091A-77E6-3040-C1D8-FFC6D671708F}"/>
                    </a:ext>
                  </a:extLst>
                </p:cNvPr>
                <p:cNvSpPr/>
                <p:nvPr/>
              </p:nvSpPr>
              <p:spPr bwMode="gray">
                <a:xfrm>
                  <a:off x="4418361" y="30192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2" name="Graphic 471">
                <a:extLst>
                  <a:ext uri="{FF2B5EF4-FFF2-40B4-BE49-F238E27FC236}">
                    <a16:creationId xmlns:a16="http://schemas.microsoft.com/office/drawing/2014/main" id="{C8021E99-1541-206F-976D-CC1FC70C942D}"/>
                  </a:ext>
                </a:extLst>
              </p:cNvPr>
              <p:cNvGrpSpPr/>
              <p:nvPr/>
            </p:nvGrpSpPr>
            <p:grpSpPr bwMode="gray">
              <a:xfrm>
                <a:off x="4349781" y="2957131"/>
                <a:ext cx="75628" cy="75723"/>
                <a:chOff x="4349781" y="2957131"/>
                <a:chExt cx="75628" cy="75723"/>
              </a:xfrm>
            </p:grpSpPr>
            <p:sp>
              <p:nvSpPr>
                <p:cNvPr id="11432" name="Freeform: Shape 11431">
                  <a:extLst>
                    <a:ext uri="{FF2B5EF4-FFF2-40B4-BE49-F238E27FC236}">
                      <a16:creationId xmlns:a16="http://schemas.microsoft.com/office/drawing/2014/main" id="{47FE74E1-8476-00B5-DEC5-CDDBB50FDF52}"/>
                    </a:ext>
                  </a:extLst>
                </p:cNvPr>
                <p:cNvSpPr/>
                <p:nvPr/>
              </p:nvSpPr>
              <p:spPr bwMode="gray">
                <a:xfrm>
                  <a:off x="4387595" y="29571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33" name="Freeform: Shape 11432">
                  <a:extLst>
                    <a:ext uri="{FF2B5EF4-FFF2-40B4-BE49-F238E27FC236}">
                      <a16:creationId xmlns:a16="http://schemas.microsoft.com/office/drawing/2014/main" id="{A1F3F693-CC22-C208-74E7-7FFE44FEB844}"/>
                    </a:ext>
                  </a:extLst>
                </p:cNvPr>
                <p:cNvSpPr/>
                <p:nvPr/>
              </p:nvSpPr>
              <p:spPr bwMode="gray">
                <a:xfrm>
                  <a:off x="4349781" y="29949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3" name="Graphic 471">
                <a:extLst>
                  <a:ext uri="{FF2B5EF4-FFF2-40B4-BE49-F238E27FC236}">
                    <a16:creationId xmlns:a16="http://schemas.microsoft.com/office/drawing/2014/main" id="{60B697E4-577A-CF81-E0BF-05BE7E4DFF65}"/>
                  </a:ext>
                </a:extLst>
              </p:cNvPr>
              <p:cNvGrpSpPr/>
              <p:nvPr/>
            </p:nvGrpSpPr>
            <p:grpSpPr bwMode="gray">
              <a:xfrm>
                <a:off x="4349781" y="2932366"/>
                <a:ext cx="75628" cy="75723"/>
                <a:chOff x="4349781" y="2932366"/>
                <a:chExt cx="75628" cy="75723"/>
              </a:xfrm>
            </p:grpSpPr>
            <p:sp>
              <p:nvSpPr>
                <p:cNvPr id="11430" name="Freeform: Shape 11429">
                  <a:extLst>
                    <a:ext uri="{FF2B5EF4-FFF2-40B4-BE49-F238E27FC236}">
                      <a16:creationId xmlns:a16="http://schemas.microsoft.com/office/drawing/2014/main" id="{CBA61110-6751-A4C8-BE8E-EA997777C8E5}"/>
                    </a:ext>
                  </a:extLst>
                </p:cNvPr>
                <p:cNvSpPr/>
                <p:nvPr/>
              </p:nvSpPr>
              <p:spPr bwMode="gray">
                <a:xfrm>
                  <a:off x="4387595"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31" name="Freeform: Shape 11430">
                  <a:extLst>
                    <a:ext uri="{FF2B5EF4-FFF2-40B4-BE49-F238E27FC236}">
                      <a16:creationId xmlns:a16="http://schemas.microsoft.com/office/drawing/2014/main" id="{427F3B48-6508-9531-DD71-0B0789499C8B}"/>
                    </a:ext>
                  </a:extLst>
                </p:cNvPr>
                <p:cNvSpPr/>
                <p:nvPr/>
              </p:nvSpPr>
              <p:spPr bwMode="gray">
                <a:xfrm>
                  <a:off x="4349781" y="29702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4" name="Graphic 471">
                <a:extLst>
                  <a:ext uri="{FF2B5EF4-FFF2-40B4-BE49-F238E27FC236}">
                    <a16:creationId xmlns:a16="http://schemas.microsoft.com/office/drawing/2014/main" id="{09C6D96D-4889-6B2A-2754-375F91583275}"/>
                  </a:ext>
                </a:extLst>
              </p:cNvPr>
              <p:cNvGrpSpPr/>
              <p:nvPr/>
            </p:nvGrpSpPr>
            <p:grpSpPr bwMode="gray">
              <a:xfrm>
                <a:off x="4305299" y="2932366"/>
                <a:ext cx="75723" cy="75723"/>
                <a:chOff x="4305299" y="2932366"/>
                <a:chExt cx="75723" cy="75723"/>
              </a:xfrm>
            </p:grpSpPr>
            <p:sp>
              <p:nvSpPr>
                <p:cNvPr id="11428" name="Freeform: Shape 11427">
                  <a:extLst>
                    <a:ext uri="{FF2B5EF4-FFF2-40B4-BE49-F238E27FC236}">
                      <a16:creationId xmlns:a16="http://schemas.microsoft.com/office/drawing/2014/main" id="{5E6BF1B4-BDD5-8B4F-60F7-C527B84E5FD4}"/>
                    </a:ext>
                  </a:extLst>
                </p:cNvPr>
                <p:cNvSpPr/>
                <p:nvPr/>
              </p:nvSpPr>
              <p:spPr bwMode="gray">
                <a:xfrm>
                  <a:off x="4343113"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29" name="Freeform: Shape 11428">
                  <a:extLst>
                    <a:ext uri="{FF2B5EF4-FFF2-40B4-BE49-F238E27FC236}">
                      <a16:creationId xmlns:a16="http://schemas.microsoft.com/office/drawing/2014/main" id="{D19EF1A8-FD3B-072E-4CBB-E415517A87B9}"/>
                    </a:ext>
                  </a:extLst>
                </p:cNvPr>
                <p:cNvSpPr/>
                <p:nvPr/>
              </p:nvSpPr>
              <p:spPr bwMode="gray">
                <a:xfrm>
                  <a:off x="4305299"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5" name="Graphic 471">
                <a:extLst>
                  <a:ext uri="{FF2B5EF4-FFF2-40B4-BE49-F238E27FC236}">
                    <a16:creationId xmlns:a16="http://schemas.microsoft.com/office/drawing/2014/main" id="{A24F393D-2026-71BA-739C-62643C8A09D0}"/>
                  </a:ext>
                </a:extLst>
              </p:cNvPr>
              <p:cNvGrpSpPr/>
              <p:nvPr/>
            </p:nvGrpSpPr>
            <p:grpSpPr bwMode="gray">
              <a:xfrm>
                <a:off x="4257865" y="2932366"/>
                <a:ext cx="75723" cy="75723"/>
                <a:chOff x="4257865" y="2932366"/>
                <a:chExt cx="75723" cy="75723"/>
              </a:xfrm>
            </p:grpSpPr>
            <p:sp>
              <p:nvSpPr>
                <p:cNvPr id="11426" name="Freeform: Shape 11425">
                  <a:extLst>
                    <a:ext uri="{FF2B5EF4-FFF2-40B4-BE49-F238E27FC236}">
                      <a16:creationId xmlns:a16="http://schemas.microsoft.com/office/drawing/2014/main" id="{B4A07E6A-BADD-675B-914C-24F0BC51F315}"/>
                    </a:ext>
                  </a:extLst>
                </p:cNvPr>
                <p:cNvSpPr/>
                <p:nvPr/>
              </p:nvSpPr>
              <p:spPr bwMode="gray">
                <a:xfrm>
                  <a:off x="4295679"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27" name="Freeform: Shape 11426">
                  <a:extLst>
                    <a:ext uri="{FF2B5EF4-FFF2-40B4-BE49-F238E27FC236}">
                      <a16:creationId xmlns:a16="http://schemas.microsoft.com/office/drawing/2014/main" id="{9D8FEA1C-30BF-BDD2-8AC5-FD5617AC9621}"/>
                    </a:ext>
                  </a:extLst>
                </p:cNvPr>
                <p:cNvSpPr/>
                <p:nvPr/>
              </p:nvSpPr>
              <p:spPr bwMode="gray">
                <a:xfrm>
                  <a:off x="4257865"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6" name="Graphic 471">
                <a:extLst>
                  <a:ext uri="{FF2B5EF4-FFF2-40B4-BE49-F238E27FC236}">
                    <a16:creationId xmlns:a16="http://schemas.microsoft.com/office/drawing/2014/main" id="{932B8A10-73C3-7DE3-897D-38C831C2A386}"/>
                  </a:ext>
                </a:extLst>
              </p:cNvPr>
              <p:cNvGrpSpPr/>
              <p:nvPr/>
            </p:nvGrpSpPr>
            <p:grpSpPr bwMode="gray">
              <a:xfrm>
                <a:off x="4156709" y="2909887"/>
                <a:ext cx="75723" cy="75723"/>
                <a:chOff x="4156709" y="2909887"/>
                <a:chExt cx="75723" cy="75723"/>
              </a:xfrm>
            </p:grpSpPr>
            <p:sp>
              <p:nvSpPr>
                <p:cNvPr id="11424" name="Freeform: Shape 11423">
                  <a:extLst>
                    <a:ext uri="{FF2B5EF4-FFF2-40B4-BE49-F238E27FC236}">
                      <a16:creationId xmlns:a16="http://schemas.microsoft.com/office/drawing/2014/main" id="{16D3EF06-8FBF-B4EF-E89F-A929C54CBF0C}"/>
                    </a:ext>
                  </a:extLst>
                </p:cNvPr>
                <p:cNvSpPr/>
                <p:nvPr/>
              </p:nvSpPr>
              <p:spPr bwMode="gray">
                <a:xfrm>
                  <a:off x="4194619" y="29098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25" name="Freeform: Shape 11424">
                  <a:extLst>
                    <a:ext uri="{FF2B5EF4-FFF2-40B4-BE49-F238E27FC236}">
                      <a16:creationId xmlns:a16="http://schemas.microsoft.com/office/drawing/2014/main" id="{216713FF-B167-A776-EF0B-F001BE38D7C9}"/>
                    </a:ext>
                  </a:extLst>
                </p:cNvPr>
                <p:cNvSpPr/>
                <p:nvPr/>
              </p:nvSpPr>
              <p:spPr bwMode="gray">
                <a:xfrm>
                  <a:off x="4156709" y="29477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7" name="Graphic 471">
                <a:extLst>
                  <a:ext uri="{FF2B5EF4-FFF2-40B4-BE49-F238E27FC236}">
                    <a16:creationId xmlns:a16="http://schemas.microsoft.com/office/drawing/2014/main" id="{9FE2081A-025E-0828-548D-87A7D9CB1866}"/>
                  </a:ext>
                </a:extLst>
              </p:cNvPr>
              <p:cNvGrpSpPr/>
              <p:nvPr/>
            </p:nvGrpSpPr>
            <p:grpSpPr bwMode="gray">
              <a:xfrm>
                <a:off x="3496150" y="2706623"/>
                <a:ext cx="75723" cy="75723"/>
                <a:chOff x="3496150" y="2706623"/>
                <a:chExt cx="75723" cy="75723"/>
              </a:xfrm>
            </p:grpSpPr>
            <p:sp>
              <p:nvSpPr>
                <p:cNvPr id="11422" name="Freeform: Shape 11421">
                  <a:extLst>
                    <a:ext uri="{FF2B5EF4-FFF2-40B4-BE49-F238E27FC236}">
                      <a16:creationId xmlns:a16="http://schemas.microsoft.com/office/drawing/2014/main" id="{ABDAD651-D487-48A4-381E-0C2D2D14BF8B}"/>
                    </a:ext>
                  </a:extLst>
                </p:cNvPr>
                <p:cNvSpPr/>
                <p:nvPr/>
              </p:nvSpPr>
              <p:spPr bwMode="gray">
                <a:xfrm>
                  <a:off x="3534060"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23" name="Freeform: Shape 11422">
                  <a:extLst>
                    <a:ext uri="{FF2B5EF4-FFF2-40B4-BE49-F238E27FC236}">
                      <a16:creationId xmlns:a16="http://schemas.microsoft.com/office/drawing/2014/main" id="{A6A9FE83-4BFC-BD87-3C9C-290F03CEF7E9}"/>
                    </a:ext>
                  </a:extLst>
                </p:cNvPr>
                <p:cNvSpPr/>
                <p:nvPr/>
              </p:nvSpPr>
              <p:spPr bwMode="gray">
                <a:xfrm>
                  <a:off x="3496150"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8" name="Graphic 471">
                <a:extLst>
                  <a:ext uri="{FF2B5EF4-FFF2-40B4-BE49-F238E27FC236}">
                    <a16:creationId xmlns:a16="http://schemas.microsoft.com/office/drawing/2014/main" id="{60BCAE97-E890-5EAC-7580-471BCCA9941D}"/>
                  </a:ext>
                </a:extLst>
              </p:cNvPr>
              <p:cNvGrpSpPr/>
              <p:nvPr/>
            </p:nvGrpSpPr>
            <p:grpSpPr bwMode="gray">
              <a:xfrm>
                <a:off x="3288601" y="2689002"/>
                <a:ext cx="75628" cy="75723"/>
                <a:chOff x="3288601" y="2689002"/>
                <a:chExt cx="75628" cy="75723"/>
              </a:xfrm>
            </p:grpSpPr>
            <p:sp>
              <p:nvSpPr>
                <p:cNvPr id="11420" name="Freeform: Shape 11419">
                  <a:extLst>
                    <a:ext uri="{FF2B5EF4-FFF2-40B4-BE49-F238E27FC236}">
                      <a16:creationId xmlns:a16="http://schemas.microsoft.com/office/drawing/2014/main" id="{E4C81B24-DC13-2457-18FC-323B05EFD43E}"/>
                    </a:ext>
                  </a:extLst>
                </p:cNvPr>
                <p:cNvSpPr/>
                <p:nvPr/>
              </p:nvSpPr>
              <p:spPr bwMode="gray">
                <a:xfrm>
                  <a:off x="3326415" y="2689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21" name="Freeform: Shape 11420">
                  <a:extLst>
                    <a:ext uri="{FF2B5EF4-FFF2-40B4-BE49-F238E27FC236}">
                      <a16:creationId xmlns:a16="http://schemas.microsoft.com/office/drawing/2014/main" id="{4607B7AB-AEB5-BB64-B834-45D8D730DF36}"/>
                    </a:ext>
                  </a:extLst>
                </p:cNvPr>
                <p:cNvSpPr/>
                <p:nvPr/>
              </p:nvSpPr>
              <p:spPr bwMode="gray">
                <a:xfrm>
                  <a:off x="3288601" y="2726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39" name="Graphic 471">
                <a:extLst>
                  <a:ext uri="{FF2B5EF4-FFF2-40B4-BE49-F238E27FC236}">
                    <a16:creationId xmlns:a16="http://schemas.microsoft.com/office/drawing/2014/main" id="{E67B733C-1485-9AA6-324E-91B0523705C3}"/>
                  </a:ext>
                </a:extLst>
              </p:cNvPr>
              <p:cNvGrpSpPr/>
              <p:nvPr/>
            </p:nvGrpSpPr>
            <p:grpSpPr bwMode="gray">
              <a:xfrm>
                <a:off x="3233737" y="2671762"/>
                <a:ext cx="75723" cy="75723"/>
                <a:chOff x="3233737" y="2671762"/>
                <a:chExt cx="75723" cy="75723"/>
              </a:xfrm>
            </p:grpSpPr>
            <p:sp>
              <p:nvSpPr>
                <p:cNvPr id="11418" name="Freeform: Shape 11417">
                  <a:extLst>
                    <a:ext uri="{FF2B5EF4-FFF2-40B4-BE49-F238E27FC236}">
                      <a16:creationId xmlns:a16="http://schemas.microsoft.com/office/drawing/2014/main" id="{DABDA58E-193E-05C7-53BF-2451415370F5}"/>
                    </a:ext>
                  </a:extLst>
                </p:cNvPr>
                <p:cNvSpPr/>
                <p:nvPr/>
              </p:nvSpPr>
              <p:spPr bwMode="gray">
                <a:xfrm>
                  <a:off x="3271551"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19" name="Freeform: Shape 11418">
                  <a:extLst>
                    <a:ext uri="{FF2B5EF4-FFF2-40B4-BE49-F238E27FC236}">
                      <a16:creationId xmlns:a16="http://schemas.microsoft.com/office/drawing/2014/main" id="{D5AFE826-384C-FABA-30E0-B050515BC895}"/>
                    </a:ext>
                  </a:extLst>
                </p:cNvPr>
                <p:cNvSpPr/>
                <p:nvPr/>
              </p:nvSpPr>
              <p:spPr bwMode="gray">
                <a:xfrm>
                  <a:off x="3233737"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0" name="Graphic 471">
                <a:extLst>
                  <a:ext uri="{FF2B5EF4-FFF2-40B4-BE49-F238E27FC236}">
                    <a16:creationId xmlns:a16="http://schemas.microsoft.com/office/drawing/2014/main" id="{D5768537-9260-3726-EABE-F53DD021BDAD}"/>
                  </a:ext>
                </a:extLst>
              </p:cNvPr>
              <p:cNvGrpSpPr/>
              <p:nvPr/>
            </p:nvGrpSpPr>
            <p:grpSpPr bwMode="gray">
              <a:xfrm>
                <a:off x="3186112" y="2671762"/>
                <a:ext cx="75723" cy="75723"/>
                <a:chOff x="3186112" y="2671762"/>
                <a:chExt cx="75723" cy="75723"/>
              </a:xfrm>
            </p:grpSpPr>
            <p:sp>
              <p:nvSpPr>
                <p:cNvPr id="11416" name="Freeform: Shape 11415">
                  <a:extLst>
                    <a:ext uri="{FF2B5EF4-FFF2-40B4-BE49-F238E27FC236}">
                      <a16:creationId xmlns:a16="http://schemas.microsoft.com/office/drawing/2014/main" id="{B4E15424-5F7B-9420-542E-C6889B717694}"/>
                    </a:ext>
                  </a:extLst>
                </p:cNvPr>
                <p:cNvSpPr/>
                <p:nvPr/>
              </p:nvSpPr>
              <p:spPr bwMode="gray">
                <a:xfrm>
                  <a:off x="3223926"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17" name="Freeform: Shape 11416">
                  <a:extLst>
                    <a:ext uri="{FF2B5EF4-FFF2-40B4-BE49-F238E27FC236}">
                      <a16:creationId xmlns:a16="http://schemas.microsoft.com/office/drawing/2014/main" id="{7864EF56-B47F-A17C-6B03-91C57CC7E67A}"/>
                    </a:ext>
                  </a:extLst>
                </p:cNvPr>
                <p:cNvSpPr/>
                <p:nvPr/>
              </p:nvSpPr>
              <p:spPr bwMode="gray">
                <a:xfrm>
                  <a:off x="3186112"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1" name="Graphic 471">
                <a:extLst>
                  <a:ext uri="{FF2B5EF4-FFF2-40B4-BE49-F238E27FC236}">
                    <a16:creationId xmlns:a16="http://schemas.microsoft.com/office/drawing/2014/main" id="{9556B0DA-9CF1-C990-9EDF-11C4E3C523A7}"/>
                  </a:ext>
                </a:extLst>
              </p:cNvPr>
              <p:cNvGrpSpPr/>
              <p:nvPr/>
            </p:nvGrpSpPr>
            <p:grpSpPr bwMode="gray">
              <a:xfrm>
                <a:off x="4270438" y="2932366"/>
                <a:ext cx="75723" cy="75723"/>
                <a:chOff x="4270438" y="2932366"/>
                <a:chExt cx="75723" cy="75723"/>
              </a:xfrm>
            </p:grpSpPr>
            <p:sp>
              <p:nvSpPr>
                <p:cNvPr id="11414" name="Freeform: Shape 11413">
                  <a:extLst>
                    <a:ext uri="{FF2B5EF4-FFF2-40B4-BE49-F238E27FC236}">
                      <a16:creationId xmlns:a16="http://schemas.microsoft.com/office/drawing/2014/main" id="{E68ADB96-20D8-112F-E98D-E47C4CAD12C9}"/>
                    </a:ext>
                  </a:extLst>
                </p:cNvPr>
                <p:cNvSpPr/>
                <p:nvPr/>
              </p:nvSpPr>
              <p:spPr bwMode="gray">
                <a:xfrm>
                  <a:off x="4308252"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15" name="Freeform: Shape 11414">
                  <a:extLst>
                    <a:ext uri="{FF2B5EF4-FFF2-40B4-BE49-F238E27FC236}">
                      <a16:creationId xmlns:a16="http://schemas.microsoft.com/office/drawing/2014/main" id="{A199D3E4-44A7-FE5F-59F0-098B9D5AFFA0}"/>
                    </a:ext>
                  </a:extLst>
                </p:cNvPr>
                <p:cNvSpPr/>
                <p:nvPr/>
              </p:nvSpPr>
              <p:spPr bwMode="gray">
                <a:xfrm>
                  <a:off x="4270438"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2" name="Graphic 471">
                <a:extLst>
                  <a:ext uri="{FF2B5EF4-FFF2-40B4-BE49-F238E27FC236}">
                    <a16:creationId xmlns:a16="http://schemas.microsoft.com/office/drawing/2014/main" id="{ED311FA5-658E-8CCF-C00E-68936C400604}"/>
                  </a:ext>
                </a:extLst>
              </p:cNvPr>
              <p:cNvGrpSpPr/>
              <p:nvPr/>
            </p:nvGrpSpPr>
            <p:grpSpPr bwMode="gray">
              <a:xfrm>
                <a:off x="4768405" y="3141344"/>
                <a:ext cx="75723" cy="75723"/>
                <a:chOff x="4768405" y="3141344"/>
                <a:chExt cx="75723" cy="75723"/>
              </a:xfrm>
            </p:grpSpPr>
            <p:sp>
              <p:nvSpPr>
                <p:cNvPr id="11412" name="Freeform: Shape 11411">
                  <a:extLst>
                    <a:ext uri="{FF2B5EF4-FFF2-40B4-BE49-F238E27FC236}">
                      <a16:creationId xmlns:a16="http://schemas.microsoft.com/office/drawing/2014/main" id="{24767B49-6FFE-B17D-71C6-721E8C1FDE99}"/>
                    </a:ext>
                  </a:extLst>
                </p:cNvPr>
                <p:cNvSpPr/>
                <p:nvPr/>
              </p:nvSpPr>
              <p:spPr bwMode="gray">
                <a:xfrm>
                  <a:off x="4806314"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13" name="Freeform: Shape 11412">
                  <a:extLst>
                    <a:ext uri="{FF2B5EF4-FFF2-40B4-BE49-F238E27FC236}">
                      <a16:creationId xmlns:a16="http://schemas.microsoft.com/office/drawing/2014/main" id="{E5D63281-680C-5603-F428-821FE4A5F45A}"/>
                    </a:ext>
                  </a:extLst>
                </p:cNvPr>
                <p:cNvSpPr/>
                <p:nvPr/>
              </p:nvSpPr>
              <p:spPr bwMode="gray">
                <a:xfrm>
                  <a:off x="4768405"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3" name="Graphic 471">
                <a:extLst>
                  <a:ext uri="{FF2B5EF4-FFF2-40B4-BE49-F238E27FC236}">
                    <a16:creationId xmlns:a16="http://schemas.microsoft.com/office/drawing/2014/main" id="{6E754EBF-75EF-09F2-A193-9CF00A2861E1}"/>
                  </a:ext>
                </a:extLst>
              </p:cNvPr>
              <p:cNvGrpSpPr/>
              <p:nvPr/>
            </p:nvGrpSpPr>
            <p:grpSpPr bwMode="gray">
              <a:xfrm>
                <a:off x="4786216" y="3141344"/>
                <a:ext cx="75723" cy="75723"/>
                <a:chOff x="4786216" y="3141344"/>
                <a:chExt cx="75723" cy="75723"/>
              </a:xfrm>
            </p:grpSpPr>
            <p:sp>
              <p:nvSpPr>
                <p:cNvPr id="11410" name="Freeform: Shape 11409">
                  <a:extLst>
                    <a:ext uri="{FF2B5EF4-FFF2-40B4-BE49-F238E27FC236}">
                      <a16:creationId xmlns:a16="http://schemas.microsoft.com/office/drawing/2014/main" id="{D4393507-476F-C224-50E2-F2C6CB0E1316}"/>
                    </a:ext>
                  </a:extLst>
                </p:cNvPr>
                <p:cNvSpPr/>
                <p:nvPr/>
              </p:nvSpPr>
              <p:spPr bwMode="gray">
                <a:xfrm>
                  <a:off x="482412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11" name="Freeform: Shape 11410">
                  <a:extLst>
                    <a:ext uri="{FF2B5EF4-FFF2-40B4-BE49-F238E27FC236}">
                      <a16:creationId xmlns:a16="http://schemas.microsoft.com/office/drawing/2014/main" id="{0A83C8AD-713E-4052-6F84-755470227140}"/>
                    </a:ext>
                  </a:extLst>
                </p:cNvPr>
                <p:cNvSpPr/>
                <p:nvPr/>
              </p:nvSpPr>
              <p:spPr bwMode="gray">
                <a:xfrm>
                  <a:off x="478621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4" name="Graphic 471">
                <a:extLst>
                  <a:ext uri="{FF2B5EF4-FFF2-40B4-BE49-F238E27FC236}">
                    <a16:creationId xmlns:a16="http://schemas.microsoft.com/office/drawing/2014/main" id="{E0B8503C-C4F6-A902-E15C-97F70E449483}"/>
                  </a:ext>
                </a:extLst>
              </p:cNvPr>
              <p:cNvGrpSpPr/>
              <p:nvPr/>
            </p:nvGrpSpPr>
            <p:grpSpPr bwMode="gray">
              <a:xfrm>
                <a:off x="4801647" y="3141344"/>
                <a:ext cx="75723" cy="75723"/>
                <a:chOff x="4801647" y="3141344"/>
                <a:chExt cx="75723" cy="75723"/>
              </a:xfrm>
            </p:grpSpPr>
            <p:sp>
              <p:nvSpPr>
                <p:cNvPr id="11408" name="Freeform: Shape 11407">
                  <a:extLst>
                    <a:ext uri="{FF2B5EF4-FFF2-40B4-BE49-F238E27FC236}">
                      <a16:creationId xmlns:a16="http://schemas.microsoft.com/office/drawing/2014/main" id="{07340741-FB8B-7503-4ACE-557456FC5FEE}"/>
                    </a:ext>
                  </a:extLst>
                </p:cNvPr>
                <p:cNvSpPr/>
                <p:nvPr/>
              </p:nvSpPr>
              <p:spPr bwMode="gray">
                <a:xfrm>
                  <a:off x="483955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09" name="Freeform: Shape 11408">
                  <a:extLst>
                    <a:ext uri="{FF2B5EF4-FFF2-40B4-BE49-F238E27FC236}">
                      <a16:creationId xmlns:a16="http://schemas.microsoft.com/office/drawing/2014/main" id="{A53A8F8B-2264-4534-8EEA-87A525E03758}"/>
                    </a:ext>
                  </a:extLst>
                </p:cNvPr>
                <p:cNvSpPr/>
                <p:nvPr/>
              </p:nvSpPr>
              <p:spPr bwMode="gray">
                <a:xfrm>
                  <a:off x="4801647"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5" name="Graphic 471">
                <a:extLst>
                  <a:ext uri="{FF2B5EF4-FFF2-40B4-BE49-F238E27FC236}">
                    <a16:creationId xmlns:a16="http://schemas.microsoft.com/office/drawing/2014/main" id="{E8224863-C799-55D6-0C10-3210B929E242}"/>
                  </a:ext>
                </a:extLst>
              </p:cNvPr>
              <p:cNvGrpSpPr/>
              <p:nvPr/>
            </p:nvGrpSpPr>
            <p:grpSpPr bwMode="gray">
              <a:xfrm>
                <a:off x="4813458" y="3141344"/>
                <a:ext cx="75628" cy="75723"/>
                <a:chOff x="4813458" y="3141344"/>
                <a:chExt cx="75628" cy="75723"/>
              </a:xfrm>
            </p:grpSpPr>
            <p:sp>
              <p:nvSpPr>
                <p:cNvPr id="11406" name="Freeform: Shape 11405">
                  <a:extLst>
                    <a:ext uri="{FF2B5EF4-FFF2-40B4-BE49-F238E27FC236}">
                      <a16:creationId xmlns:a16="http://schemas.microsoft.com/office/drawing/2014/main" id="{BE322A00-DAA6-3485-9C2E-CE87845A3132}"/>
                    </a:ext>
                  </a:extLst>
                </p:cNvPr>
                <p:cNvSpPr/>
                <p:nvPr/>
              </p:nvSpPr>
              <p:spPr bwMode="gray">
                <a:xfrm>
                  <a:off x="485127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07" name="Freeform: Shape 11406">
                  <a:extLst>
                    <a:ext uri="{FF2B5EF4-FFF2-40B4-BE49-F238E27FC236}">
                      <a16:creationId xmlns:a16="http://schemas.microsoft.com/office/drawing/2014/main" id="{BD79C79E-498C-9767-6E36-FE354E47B417}"/>
                    </a:ext>
                  </a:extLst>
                </p:cNvPr>
                <p:cNvSpPr/>
                <p:nvPr/>
              </p:nvSpPr>
              <p:spPr bwMode="gray">
                <a:xfrm>
                  <a:off x="4813458" y="317925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6" name="Graphic 471">
                <a:extLst>
                  <a:ext uri="{FF2B5EF4-FFF2-40B4-BE49-F238E27FC236}">
                    <a16:creationId xmlns:a16="http://schemas.microsoft.com/office/drawing/2014/main" id="{5305DF93-A597-2BBD-D34A-1A57D8175E55}"/>
                  </a:ext>
                </a:extLst>
              </p:cNvPr>
              <p:cNvGrpSpPr/>
              <p:nvPr/>
            </p:nvGrpSpPr>
            <p:grpSpPr bwMode="gray">
              <a:xfrm>
                <a:off x="5091302" y="3372135"/>
                <a:ext cx="75628" cy="75628"/>
                <a:chOff x="5091302" y="3372135"/>
                <a:chExt cx="75628" cy="75628"/>
              </a:xfrm>
            </p:grpSpPr>
            <p:sp>
              <p:nvSpPr>
                <p:cNvPr id="11404" name="Freeform: Shape 11403">
                  <a:extLst>
                    <a:ext uri="{FF2B5EF4-FFF2-40B4-BE49-F238E27FC236}">
                      <a16:creationId xmlns:a16="http://schemas.microsoft.com/office/drawing/2014/main" id="{065A0799-BA90-4B79-4EE7-7C0B4006ADB8}"/>
                    </a:ext>
                  </a:extLst>
                </p:cNvPr>
                <p:cNvSpPr/>
                <p:nvPr/>
              </p:nvSpPr>
              <p:spPr bwMode="gray">
                <a:xfrm>
                  <a:off x="5129116"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05" name="Freeform: Shape 11404">
                  <a:extLst>
                    <a:ext uri="{FF2B5EF4-FFF2-40B4-BE49-F238E27FC236}">
                      <a16:creationId xmlns:a16="http://schemas.microsoft.com/office/drawing/2014/main" id="{243A5255-C1DB-66BB-9EF2-00479BBC697D}"/>
                    </a:ext>
                  </a:extLst>
                </p:cNvPr>
                <p:cNvSpPr/>
                <p:nvPr/>
              </p:nvSpPr>
              <p:spPr bwMode="gray">
                <a:xfrm>
                  <a:off x="5091302"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7" name="Graphic 471">
                <a:extLst>
                  <a:ext uri="{FF2B5EF4-FFF2-40B4-BE49-F238E27FC236}">
                    <a16:creationId xmlns:a16="http://schemas.microsoft.com/office/drawing/2014/main" id="{96D55008-AFAA-8883-DE9B-5DE693BD65EC}"/>
                  </a:ext>
                </a:extLst>
              </p:cNvPr>
              <p:cNvGrpSpPr/>
              <p:nvPr/>
            </p:nvGrpSpPr>
            <p:grpSpPr bwMode="gray">
              <a:xfrm>
                <a:off x="5457634" y="3595115"/>
                <a:ext cx="75723" cy="75723"/>
                <a:chOff x="5457634" y="3595115"/>
                <a:chExt cx="75723" cy="75723"/>
              </a:xfrm>
            </p:grpSpPr>
            <p:sp>
              <p:nvSpPr>
                <p:cNvPr id="11402" name="Freeform: Shape 11401">
                  <a:extLst>
                    <a:ext uri="{FF2B5EF4-FFF2-40B4-BE49-F238E27FC236}">
                      <a16:creationId xmlns:a16="http://schemas.microsoft.com/office/drawing/2014/main" id="{0FDF58DC-BDD9-5FA0-D32B-092803CC6522}"/>
                    </a:ext>
                  </a:extLst>
                </p:cNvPr>
                <p:cNvSpPr/>
                <p:nvPr/>
              </p:nvSpPr>
              <p:spPr bwMode="gray">
                <a:xfrm>
                  <a:off x="5495543"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03" name="Freeform: Shape 11402">
                  <a:extLst>
                    <a:ext uri="{FF2B5EF4-FFF2-40B4-BE49-F238E27FC236}">
                      <a16:creationId xmlns:a16="http://schemas.microsoft.com/office/drawing/2014/main" id="{44F2B2F3-7181-091B-5259-3C691AC03993}"/>
                    </a:ext>
                  </a:extLst>
                </p:cNvPr>
                <p:cNvSpPr/>
                <p:nvPr/>
              </p:nvSpPr>
              <p:spPr bwMode="gray">
                <a:xfrm>
                  <a:off x="5457634" y="3632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8" name="Graphic 471">
                <a:extLst>
                  <a:ext uri="{FF2B5EF4-FFF2-40B4-BE49-F238E27FC236}">
                    <a16:creationId xmlns:a16="http://schemas.microsoft.com/office/drawing/2014/main" id="{718FF54B-BE2E-7865-8567-E15C438F8843}"/>
                  </a:ext>
                </a:extLst>
              </p:cNvPr>
              <p:cNvGrpSpPr/>
              <p:nvPr/>
            </p:nvGrpSpPr>
            <p:grpSpPr bwMode="gray">
              <a:xfrm>
                <a:off x="5467444" y="3595115"/>
                <a:ext cx="75628" cy="75723"/>
                <a:chOff x="5467444" y="3595115"/>
                <a:chExt cx="75628" cy="75723"/>
              </a:xfrm>
            </p:grpSpPr>
            <p:sp>
              <p:nvSpPr>
                <p:cNvPr id="11400" name="Freeform: Shape 11399">
                  <a:extLst>
                    <a:ext uri="{FF2B5EF4-FFF2-40B4-BE49-F238E27FC236}">
                      <a16:creationId xmlns:a16="http://schemas.microsoft.com/office/drawing/2014/main" id="{8998915E-957C-73D0-FB6C-5E1E856170F1}"/>
                    </a:ext>
                  </a:extLst>
                </p:cNvPr>
                <p:cNvSpPr/>
                <p:nvPr/>
              </p:nvSpPr>
              <p:spPr bwMode="gray">
                <a:xfrm>
                  <a:off x="5505259"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01" name="Freeform: Shape 11400">
                  <a:extLst>
                    <a:ext uri="{FF2B5EF4-FFF2-40B4-BE49-F238E27FC236}">
                      <a16:creationId xmlns:a16="http://schemas.microsoft.com/office/drawing/2014/main" id="{D2ADF8B5-B4DA-270D-8EF9-58C4B4FEBA36}"/>
                    </a:ext>
                  </a:extLst>
                </p:cNvPr>
                <p:cNvSpPr/>
                <p:nvPr/>
              </p:nvSpPr>
              <p:spPr bwMode="gray">
                <a:xfrm>
                  <a:off x="546744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49" name="Graphic 471">
                <a:extLst>
                  <a:ext uri="{FF2B5EF4-FFF2-40B4-BE49-F238E27FC236}">
                    <a16:creationId xmlns:a16="http://schemas.microsoft.com/office/drawing/2014/main" id="{F3143042-B6F1-DBD0-B83C-0D3BE72922DD}"/>
                  </a:ext>
                </a:extLst>
              </p:cNvPr>
              <p:cNvGrpSpPr/>
              <p:nvPr/>
            </p:nvGrpSpPr>
            <p:grpSpPr bwMode="gray">
              <a:xfrm>
                <a:off x="5666422" y="3675030"/>
                <a:ext cx="75723" cy="75723"/>
                <a:chOff x="5666422" y="3675030"/>
                <a:chExt cx="75723" cy="75723"/>
              </a:xfrm>
            </p:grpSpPr>
            <p:sp>
              <p:nvSpPr>
                <p:cNvPr id="11398" name="Freeform: Shape 11397">
                  <a:extLst>
                    <a:ext uri="{FF2B5EF4-FFF2-40B4-BE49-F238E27FC236}">
                      <a16:creationId xmlns:a16="http://schemas.microsoft.com/office/drawing/2014/main" id="{D0E1C84E-CB54-50C3-A223-6D35D55D481C}"/>
                    </a:ext>
                  </a:extLst>
                </p:cNvPr>
                <p:cNvSpPr/>
                <p:nvPr/>
              </p:nvSpPr>
              <p:spPr bwMode="gray">
                <a:xfrm>
                  <a:off x="570423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99" name="Freeform: Shape 11398">
                  <a:extLst>
                    <a:ext uri="{FF2B5EF4-FFF2-40B4-BE49-F238E27FC236}">
                      <a16:creationId xmlns:a16="http://schemas.microsoft.com/office/drawing/2014/main" id="{0F7F293D-6916-CE9E-F75C-38CED01BFB8A}"/>
                    </a:ext>
                  </a:extLst>
                </p:cNvPr>
                <p:cNvSpPr/>
                <p:nvPr/>
              </p:nvSpPr>
              <p:spPr bwMode="gray">
                <a:xfrm>
                  <a:off x="5666422"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0" name="Graphic 471">
                <a:extLst>
                  <a:ext uri="{FF2B5EF4-FFF2-40B4-BE49-F238E27FC236}">
                    <a16:creationId xmlns:a16="http://schemas.microsoft.com/office/drawing/2014/main" id="{E53EF9E8-87DD-AFE7-02A7-71FD9FDC309C}"/>
                  </a:ext>
                </a:extLst>
              </p:cNvPr>
              <p:cNvGrpSpPr/>
              <p:nvPr/>
            </p:nvGrpSpPr>
            <p:grpSpPr bwMode="gray">
              <a:xfrm>
                <a:off x="5960649" y="3701509"/>
                <a:ext cx="75723" cy="75723"/>
                <a:chOff x="5960649" y="3701509"/>
                <a:chExt cx="75723" cy="75723"/>
              </a:xfrm>
            </p:grpSpPr>
            <p:sp>
              <p:nvSpPr>
                <p:cNvPr id="11396" name="Freeform: Shape 11395">
                  <a:extLst>
                    <a:ext uri="{FF2B5EF4-FFF2-40B4-BE49-F238E27FC236}">
                      <a16:creationId xmlns:a16="http://schemas.microsoft.com/office/drawing/2014/main" id="{9388F75C-2904-4A1C-C093-164286D9A32C}"/>
                    </a:ext>
                  </a:extLst>
                </p:cNvPr>
                <p:cNvSpPr/>
                <p:nvPr/>
              </p:nvSpPr>
              <p:spPr bwMode="gray">
                <a:xfrm>
                  <a:off x="5998558"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97" name="Freeform: Shape 11396">
                  <a:extLst>
                    <a:ext uri="{FF2B5EF4-FFF2-40B4-BE49-F238E27FC236}">
                      <a16:creationId xmlns:a16="http://schemas.microsoft.com/office/drawing/2014/main" id="{380E98FE-7D11-9E6C-15A8-D089B92887F6}"/>
                    </a:ext>
                  </a:extLst>
                </p:cNvPr>
                <p:cNvSpPr/>
                <p:nvPr/>
              </p:nvSpPr>
              <p:spPr bwMode="gray">
                <a:xfrm>
                  <a:off x="5960649"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1" name="Graphic 471">
                <a:extLst>
                  <a:ext uri="{FF2B5EF4-FFF2-40B4-BE49-F238E27FC236}">
                    <a16:creationId xmlns:a16="http://schemas.microsoft.com/office/drawing/2014/main" id="{9CA66D21-4DA3-59EB-9638-F728A73AB831}"/>
                  </a:ext>
                </a:extLst>
              </p:cNvPr>
              <p:cNvGrpSpPr/>
              <p:nvPr/>
            </p:nvGrpSpPr>
            <p:grpSpPr bwMode="gray">
              <a:xfrm>
                <a:off x="6127908" y="3850480"/>
                <a:ext cx="75628" cy="75723"/>
                <a:chOff x="6127908" y="3850480"/>
                <a:chExt cx="75628" cy="75723"/>
              </a:xfrm>
            </p:grpSpPr>
            <p:sp>
              <p:nvSpPr>
                <p:cNvPr id="11394" name="Freeform: Shape 11393">
                  <a:extLst>
                    <a:ext uri="{FF2B5EF4-FFF2-40B4-BE49-F238E27FC236}">
                      <a16:creationId xmlns:a16="http://schemas.microsoft.com/office/drawing/2014/main" id="{84745772-3053-1580-D8D9-D3594A0FF13C}"/>
                    </a:ext>
                  </a:extLst>
                </p:cNvPr>
                <p:cNvSpPr/>
                <p:nvPr/>
              </p:nvSpPr>
              <p:spPr bwMode="gray">
                <a:xfrm>
                  <a:off x="6165722"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95" name="Freeform: Shape 11394">
                  <a:extLst>
                    <a:ext uri="{FF2B5EF4-FFF2-40B4-BE49-F238E27FC236}">
                      <a16:creationId xmlns:a16="http://schemas.microsoft.com/office/drawing/2014/main" id="{F09C06FD-A7E2-5B7A-5A21-96DE00C0275B}"/>
                    </a:ext>
                  </a:extLst>
                </p:cNvPr>
                <p:cNvSpPr/>
                <p:nvPr/>
              </p:nvSpPr>
              <p:spPr bwMode="gray">
                <a:xfrm>
                  <a:off x="6127908"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2" name="Graphic 471">
                <a:extLst>
                  <a:ext uri="{FF2B5EF4-FFF2-40B4-BE49-F238E27FC236}">
                    <a16:creationId xmlns:a16="http://schemas.microsoft.com/office/drawing/2014/main" id="{333EF6C7-E53D-CE9D-FB29-47CC7DA7899D}"/>
                  </a:ext>
                </a:extLst>
              </p:cNvPr>
              <p:cNvGrpSpPr/>
              <p:nvPr/>
            </p:nvGrpSpPr>
            <p:grpSpPr bwMode="gray">
              <a:xfrm>
                <a:off x="6117811" y="3850480"/>
                <a:ext cx="75723" cy="75723"/>
                <a:chOff x="6117811" y="3850480"/>
                <a:chExt cx="75723" cy="75723"/>
              </a:xfrm>
            </p:grpSpPr>
            <p:sp>
              <p:nvSpPr>
                <p:cNvPr id="11392" name="Freeform: Shape 11391">
                  <a:extLst>
                    <a:ext uri="{FF2B5EF4-FFF2-40B4-BE49-F238E27FC236}">
                      <a16:creationId xmlns:a16="http://schemas.microsoft.com/office/drawing/2014/main" id="{5DAAC1B1-CF60-2512-1202-120F5F92BF6F}"/>
                    </a:ext>
                  </a:extLst>
                </p:cNvPr>
                <p:cNvSpPr/>
                <p:nvPr/>
              </p:nvSpPr>
              <p:spPr bwMode="gray">
                <a:xfrm>
                  <a:off x="6155721"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93" name="Freeform: Shape 11392">
                  <a:extLst>
                    <a:ext uri="{FF2B5EF4-FFF2-40B4-BE49-F238E27FC236}">
                      <a16:creationId xmlns:a16="http://schemas.microsoft.com/office/drawing/2014/main" id="{32E673E9-D8B7-C5B4-1712-0B29674304D3}"/>
                    </a:ext>
                  </a:extLst>
                </p:cNvPr>
                <p:cNvSpPr/>
                <p:nvPr/>
              </p:nvSpPr>
              <p:spPr bwMode="gray">
                <a:xfrm>
                  <a:off x="6117811" y="3888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3" name="Graphic 471">
                <a:extLst>
                  <a:ext uri="{FF2B5EF4-FFF2-40B4-BE49-F238E27FC236}">
                    <a16:creationId xmlns:a16="http://schemas.microsoft.com/office/drawing/2014/main" id="{1DE347A1-6781-64A8-7DB3-77EDC4631419}"/>
                  </a:ext>
                </a:extLst>
              </p:cNvPr>
              <p:cNvGrpSpPr/>
              <p:nvPr/>
            </p:nvGrpSpPr>
            <p:grpSpPr bwMode="gray">
              <a:xfrm>
                <a:off x="6297834" y="3916012"/>
                <a:ext cx="75628" cy="75723"/>
                <a:chOff x="6297834" y="3916012"/>
                <a:chExt cx="75628" cy="75723"/>
              </a:xfrm>
            </p:grpSpPr>
            <p:sp>
              <p:nvSpPr>
                <p:cNvPr id="11390" name="Freeform: Shape 11389">
                  <a:extLst>
                    <a:ext uri="{FF2B5EF4-FFF2-40B4-BE49-F238E27FC236}">
                      <a16:creationId xmlns:a16="http://schemas.microsoft.com/office/drawing/2014/main" id="{B4B05228-DF35-76E9-B8A8-AADDF9032A46}"/>
                    </a:ext>
                  </a:extLst>
                </p:cNvPr>
                <p:cNvSpPr/>
                <p:nvPr/>
              </p:nvSpPr>
              <p:spPr bwMode="gray">
                <a:xfrm>
                  <a:off x="633564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91" name="Freeform: Shape 11390">
                  <a:extLst>
                    <a:ext uri="{FF2B5EF4-FFF2-40B4-BE49-F238E27FC236}">
                      <a16:creationId xmlns:a16="http://schemas.microsoft.com/office/drawing/2014/main" id="{D78C808D-5110-006B-3505-C59BD98840C6}"/>
                    </a:ext>
                  </a:extLst>
                </p:cNvPr>
                <p:cNvSpPr/>
                <p:nvPr/>
              </p:nvSpPr>
              <p:spPr bwMode="gray">
                <a:xfrm>
                  <a:off x="6297834" y="39539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4" name="Graphic 471">
                <a:extLst>
                  <a:ext uri="{FF2B5EF4-FFF2-40B4-BE49-F238E27FC236}">
                    <a16:creationId xmlns:a16="http://schemas.microsoft.com/office/drawing/2014/main" id="{9A039A43-F3FB-A43A-1E08-FE8A9C912CAB}"/>
                  </a:ext>
                </a:extLst>
              </p:cNvPr>
              <p:cNvGrpSpPr/>
              <p:nvPr/>
            </p:nvGrpSpPr>
            <p:grpSpPr bwMode="gray">
              <a:xfrm>
                <a:off x="6308407" y="3916012"/>
                <a:ext cx="75723" cy="75723"/>
                <a:chOff x="6308407" y="3916012"/>
                <a:chExt cx="75723" cy="75723"/>
              </a:xfrm>
            </p:grpSpPr>
            <p:sp>
              <p:nvSpPr>
                <p:cNvPr id="11388" name="Freeform: Shape 11387">
                  <a:extLst>
                    <a:ext uri="{FF2B5EF4-FFF2-40B4-BE49-F238E27FC236}">
                      <a16:creationId xmlns:a16="http://schemas.microsoft.com/office/drawing/2014/main" id="{99983D31-8190-0863-D901-04B0D1C4F302}"/>
                    </a:ext>
                  </a:extLst>
                </p:cNvPr>
                <p:cNvSpPr/>
                <p:nvPr/>
              </p:nvSpPr>
              <p:spPr bwMode="gray">
                <a:xfrm>
                  <a:off x="6346316"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89" name="Freeform: Shape 11388">
                  <a:extLst>
                    <a:ext uri="{FF2B5EF4-FFF2-40B4-BE49-F238E27FC236}">
                      <a16:creationId xmlns:a16="http://schemas.microsoft.com/office/drawing/2014/main" id="{CFCA392E-64EB-62E1-F8FD-17D67BDE1968}"/>
                    </a:ext>
                  </a:extLst>
                </p:cNvPr>
                <p:cNvSpPr/>
                <p:nvPr/>
              </p:nvSpPr>
              <p:spPr bwMode="gray">
                <a:xfrm>
                  <a:off x="630840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5" name="Graphic 471">
                <a:extLst>
                  <a:ext uri="{FF2B5EF4-FFF2-40B4-BE49-F238E27FC236}">
                    <a16:creationId xmlns:a16="http://schemas.microsoft.com/office/drawing/2014/main" id="{5FE26EAC-4A02-0274-2A15-9D3FBCFAF165}"/>
                  </a:ext>
                </a:extLst>
              </p:cNvPr>
              <p:cNvGrpSpPr/>
              <p:nvPr/>
            </p:nvGrpSpPr>
            <p:grpSpPr bwMode="gray">
              <a:xfrm>
                <a:off x="6326980" y="3916012"/>
                <a:ext cx="75723" cy="75723"/>
                <a:chOff x="6326980" y="3916012"/>
                <a:chExt cx="75723" cy="75723"/>
              </a:xfrm>
            </p:grpSpPr>
            <p:sp>
              <p:nvSpPr>
                <p:cNvPr id="11386" name="Freeform: Shape 11385">
                  <a:extLst>
                    <a:ext uri="{FF2B5EF4-FFF2-40B4-BE49-F238E27FC236}">
                      <a16:creationId xmlns:a16="http://schemas.microsoft.com/office/drawing/2014/main" id="{A780745B-66DF-199F-8783-E4097C28FC3A}"/>
                    </a:ext>
                  </a:extLst>
                </p:cNvPr>
                <p:cNvSpPr/>
                <p:nvPr/>
              </p:nvSpPr>
              <p:spPr bwMode="gray">
                <a:xfrm>
                  <a:off x="6364795"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87" name="Freeform: Shape 11386">
                  <a:extLst>
                    <a:ext uri="{FF2B5EF4-FFF2-40B4-BE49-F238E27FC236}">
                      <a16:creationId xmlns:a16="http://schemas.microsoft.com/office/drawing/2014/main" id="{45A7377A-FB5A-6094-2E85-4267F07048B8}"/>
                    </a:ext>
                  </a:extLst>
                </p:cNvPr>
                <p:cNvSpPr/>
                <p:nvPr/>
              </p:nvSpPr>
              <p:spPr bwMode="gray">
                <a:xfrm>
                  <a:off x="6326980"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6" name="Graphic 471">
                <a:extLst>
                  <a:ext uri="{FF2B5EF4-FFF2-40B4-BE49-F238E27FC236}">
                    <a16:creationId xmlns:a16="http://schemas.microsoft.com/office/drawing/2014/main" id="{31CEB36D-21C1-786F-5636-DC40F4718BA9}"/>
                  </a:ext>
                </a:extLst>
              </p:cNvPr>
              <p:cNvGrpSpPr/>
              <p:nvPr/>
            </p:nvGrpSpPr>
            <p:grpSpPr bwMode="gray">
              <a:xfrm>
                <a:off x="6361937" y="3916012"/>
                <a:ext cx="75723" cy="75723"/>
                <a:chOff x="6361937" y="3916012"/>
                <a:chExt cx="75723" cy="75723"/>
              </a:xfrm>
            </p:grpSpPr>
            <p:sp>
              <p:nvSpPr>
                <p:cNvPr id="11384" name="Freeform: Shape 11383">
                  <a:extLst>
                    <a:ext uri="{FF2B5EF4-FFF2-40B4-BE49-F238E27FC236}">
                      <a16:creationId xmlns:a16="http://schemas.microsoft.com/office/drawing/2014/main" id="{D3EA2810-7347-8ABC-F54D-5B1982FAFAB0}"/>
                    </a:ext>
                  </a:extLst>
                </p:cNvPr>
                <p:cNvSpPr/>
                <p:nvPr/>
              </p:nvSpPr>
              <p:spPr bwMode="gray">
                <a:xfrm>
                  <a:off x="6399751"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85" name="Freeform: Shape 11384">
                  <a:extLst>
                    <a:ext uri="{FF2B5EF4-FFF2-40B4-BE49-F238E27FC236}">
                      <a16:creationId xmlns:a16="http://schemas.microsoft.com/office/drawing/2014/main" id="{EADFC41F-565A-BD45-AED0-63378A7E5B25}"/>
                    </a:ext>
                  </a:extLst>
                </p:cNvPr>
                <p:cNvSpPr/>
                <p:nvPr/>
              </p:nvSpPr>
              <p:spPr bwMode="gray">
                <a:xfrm>
                  <a:off x="636193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7" name="Graphic 471">
                <a:extLst>
                  <a:ext uri="{FF2B5EF4-FFF2-40B4-BE49-F238E27FC236}">
                    <a16:creationId xmlns:a16="http://schemas.microsoft.com/office/drawing/2014/main" id="{349DB308-17CC-654B-831F-413CCDA8A8DA}"/>
                  </a:ext>
                </a:extLst>
              </p:cNvPr>
              <p:cNvGrpSpPr/>
              <p:nvPr/>
            </p:nvGrpSpPr>
            <p:grpSpPr bwMode="gray">
              <a:xfrm>
                <a:off x="6520624" y="3916012"/>
                <a:ext cx="75723" cy="75723"/>
                <a:chOff x="6520624" y="3916012"/>
                <a:chExt cx="75723" cy="75723"/>
              </a:xfrm>
            </p:grpSpPr>
            <p:sp>
              <p:nvSpPr>
                <p:cNvPr id="11382" name="Freeform: Shape 11381">
                  <a:extLst>
                    <a:ext uri="{FF2B5EF4-FFF2-40B4-BE49-F238E27FC236}">
                      <a16:creationId xmlns:a16="http://schemas.microsoft.com/office/drawing/2014/main" id="{54BA5669-ED5B-C180-0306-02EDED127089}"/>
                    </a:ext>
                  </a:extLst>
                </p:cNvPr>
                <p:cNvSpPr/>
                <p:nvPr/>
              </p:nvSpPr>
              <p:spPr bwMode="gray">
                <a:xfrm>
                  <a:off x="655843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83" name="Freeform: Shape 11382">
                  <a:extLst>
                    <a:ext uri="{FF2B5EF4-FFF2-40B4-BE49-F238E27FC236}">
                      <a16:creationId xmlns:a16="http://schemas.microsoft.com/office/drawing/2014/main" id="{21DAC38B-5F19-D5B8-0367-D28D92DBB172}"/>
                    </a:ext>
                  </a:extLst>
                </p:cNvPr>
                <p:cNvSpPr/>
                <p:nvPr/>
              </p:nvSpPr>
              <p:spPr bwMode="gray">
                <a:xfrm>
                  <a:off x="652062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8" name="Graphic 471">
                <a:extLst>
                  <a:ext uri="{FF2B5EF4-FFF2-40B4-BE49-F238E27FC236}">
                    <a16:creationId xmlns:a16="http://schemas.microsoft.com/office/drawing/2014/main" id="{FBF082FF-D112-0119-B84E-EED12DEA45FC}"/>
                  </a:ext>
                </a:extLst>
              </p:cNvPr>
              <p:cNvGrpSpPr/>
              <p:nvPr/>
            </p:nvGrpSpPr>
            <p:grpSpPr bwMode="gray">
              <a:xfrm>
                <a:off x="6571963" y="3916012"/>
                <a:ext cx="75723" cy="75723"/>
                <a:chOff x="6571963" y="3916012"/>
                <a:chExt cx="75723" cy="75723"/>
              </a:xfrm>
            </p:grpSpPr>
            <p:sp>
              <p:nvSpPr>
                <p:cNvPr id="11380" name="Freeform: Shape 11379">
                  <a:extLst>
                    <a:ext uri="{FF2B5EF4-FFF2-40B4-BE49-F238E27FC236}">
                      <a16:creationId xmlns:a16="http://schemas.microsoft.com/office/drawing/2014/main" id="{84383B78-1B6F-0BEA-D2E7-F51768FA1D6E}"/>
                    </a:ext>
                  </a:extLst>
                </p:cNvPr>
                <p:cNvSpPr/>
                <p:nvPr/>
              </p:nvSpPr>
              <p:spPr bwMode="gray">
                <a:xfrm>
                  <a:off x="660987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81" name="Freeform: Shape 11380">
                  <a:extLst>
                    <a:ext uri="{FF2B5EF4-FFF2-40B4-BE49-F238E27FC236}">
                      <a16:creationId xmlns:a16="http://schemas.microsoft.com/office/drawing/2014/main" id="{48973A35-8C77-F424-C675-1A010AC992F8}"/>
                    </a:ext>
                  </a:extLst>
                </p:cNvPr>
                <p:cNvSpPr/>
                <p:nvPr/>
              </p:nvSpPr>
              <p:spPr bwMode="gray">
                <a:xfrm>
                  <a:off x="657196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59" name="Graphic 471">
                <a:extLst>
                  <a:ext uri="{FF2B5EF4-FFF2-40B4-BE49-F238E27FC236}">
                    <a16:creationId xmlns:a16="http://schemas.microsoft.com/office/drawing/2014/main" id="{7FC4E91C-CB25-1DA9-CB6B-ABDB56553925}"/>
                  </a:ext>
                </a:extLst>
              </p:cNvPr>
              <p:cNvGrpSpPr/>
              <p:nvPr/>
            </p:nvGrpSpPr>
            <p:grpSpPr bwMode="gray">
              <a:xfrm>
                <a:off x="6535483" y="3916012"/>
                <a:ext cx="75723" cy="75723"/>
                <a:chOff x="6535483" y="3916012"/>
                <a:chExt cx="75723" cy="75723"/>
              </a:xfrm>
            </p:grpSpPr>
            <p:sp>
              <p:nvSpPr>
                <p:cNvPr id="11378" name="Freeform: Shape 11377">
                  <a:extLst>
                    <a:ext uri="{FF2B5EF4-FFF2-40B4-BE49-F238E27FC236}">
                      <a16:creationId xmlns:a16="http://schemas.microsoft.com/office/drawing/2014/main" id="{18CA7BE3-6B37-2AD9-55B1-C34CB3791F74}"/>
                    </a:ext>
                  </a:extLst>
                </p:cNvPr>
                <p:cNvSpPr/>
                <p:nvPr/>
              </p:nvSpPr>
              <p:spPr bwMode="gray">
                <a:xfrm>
                  <a:off x="6573392"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79" name="Freeform: Shape 11378">
                  <a:extLst>
                    <a:ext uri="{FF2B5EF4-FFF2-40B4-BE49-F238E27FC236}">
                      <a16:creationId xmlns:a16="http://schemas.microsoft.com/office/drawing/2014/main" id="{3D039E48-194B-846D-A6D5-3FCE900A4A5C}"/>
                    </a:ext>
                  </a:extLst>
                </p:cNvPr>
                <p:cNvSpPr/>
                <p:nvPr/>
              </p:nvSpPr>
              <p:spPr bwMode="gray">
                <a:xfrm>
                  <a:off x="653548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0" name="Graphic 471">
                <a:extLst>
                  <a:ext uri="{FF2B5EF4-FFF2-40B4-BE49-F238E27FC236}">
                    <a16:creationId xmlns:a16="http://schemas.microsoft.com/office/drawing/2014/main" id="{46BE5191-DF9F-913D-4D8F-72D353A89F46}"/>
                  </a:ext>
                </a:extLst>
              </p:cNvPr>
              <p:cNvGrpSpPr/>
              <p:nvPr/>
            </p:nvGrpSpPr>
            <p:grpSpPr bwMode="gray">
              <a:xfrm>
                <a:off x="6661689" y="3916012"/>
                <a:ext cx="75723" cy="75723"/>
                <a:chOff x="6661689" y="3916012"/>
                <a:chExt cx="75723" cy="75723"/>
              </a:xfrm>
            </p:grpSpPr>
            <p:sp>
              <p:nvSpPr>
                <p:cNvPr id="11376" name="Freeform: Shape 11375">
                  <a:extLst>
                    <a:ext uri="{FF2B5EF4-FFF2-40B4-BE49-F238E27FC236}">
                      <a16:creationId xmlns:a16="http://schemas.microsoft.com/office/drawing/2014/main" id="{ED762D40-2C92-AC3F-E3F7-5D68E6DC7AA4}"/>
                    </a:ext>
                  </a:extLst>
                </p:cNvPr>
                <p:cNvSpPr/>
                <p:nvPr/>
              </p:nvSpPr>
              <p:spPr bwMode="gray">
                <a:xfrm>
                  <a:off x="669950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77" name="Freeform: Shape 11376">
                  <a:extLst>
                    <a:ext uri="{FF2B5EF4-FFF2-40B4-BE49-F238E27FC236}">
                      <a16:creationId xmlns:a16="http://schemas.microsoft.com/office/drawing/2014/main" id="{28B94336-9189-6CD5-9082-417941E82019}"/>
                    </a:ext>
                  </a:extLst>
                </p:cNvPr>
                <p:cNvSpPr/>
                <p:nvPr/>
              </p:nvSpPr>
              <p:spPr bwMode="gray">
                <a:xfrm>
                  <a:off x="6661689"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1" name="Graphic 471">
                <a:extLst>
                  <a:ext uri="{FF2B5EF4-FFF2-40B4-BE49-F238E27FC236}">
                    <a16:creationId xmlns:a16="http://schemas.microsoft.com/office/drawing/2014/main" id="{0AE2BE5A-BDA7-74D2-F4D0-CB9765B0738C}"/>
                  </a:ext>
                </a:extLst>
              </p:cNvPr>
              <p:cNvGrpSpPr/>
              <p:nvPr/>
            </p:nvGrpSpPr>
            <p:grpSpPr bwMode="gray">
              <a:xfrm>
                <a:off x="6705790" y="3916012"/>
                <a:ext cx="75628" cy="75723"/>
                <a:chOff x="6705790" y="3916012"/>
                <a:chExt cx="75628" cy="75723"/>
              </a:xfrm>
            </p:grpSpPr>
            <p:sp>
              <p:nvSpPr>
                <p:cNvPr id="11374" name="Freeform: Shape 11373">
                  <a:extLst>
                    <a:ext uri="{FF2B5EF4-FFF2-40B4-BE49-F238E27FC236}">
                      <a16:creationId xmlns:a16="http://schemas.microsoft.com/office/drawing/2014/main" id="{80066156-D0FC-8E6F-1837-D5767962A6C4}"/>
                    </a:ext>
                  </a:extLst>
                </p:cNvPr>
                <p:cNvSpPr/>
                <p:nvPr/>
              </p:nvSpPr>
              <p:spPr bwMode="gray">
                <a:xfrm>
                  <a:off x="6743604"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75" name="Freeform: Shape 11374">
                  <a:extLst>
                    <a:ext uri="{FF2B5EF4-FFF2-40B4-BE49-F238E27FC236}">
                      <a16:creationId xmlns:a16="http://schemas.microsoft.com/office/drawing/2014/main" id="{1EE7BCB6-5F16-AD14-3102-5D69873A060B}"/>
                    </a:ext>
                  </a:extLst>
                </p:cNvPr>
                <p:cNvSpPr/>
                <p:nvPr/>
              </p:nvSpPr>
              <p:spPr bwMode="gray">
                <a:xfrm>
                  <a:off x="6705790" y="39539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2" name="Graphic 471">
                <a:extLst>
                  <a:ext uri="{FF2B5EF4-FFF2-40B4-BE49-F238E27FC236}">
                    <a16:creationId xmlns:a16="http://schemas.microsoft.com/office/drawing/2014/main" id="{97634FB3-A795-1700-2927-5FC890BA30EF}"/>
                  </a:ext>
                </a:extLst>
              </p:cNvPr>
              <p:cNvGrpSpPr/>
              <p:nvPr/>
            </p:nvGrpSpPr>
            <p:grpSpPr bwMode="gray">
              <a:xfrm>
                <a:off x="6719125" y="3916012"/>
                <a:ext cx="75723" cy="75723"/>
                <a:chOff x="6719125" y="3916012"/>
                <a:chExt cx="75723" cy="75723"/>
              </a:xfrm>
            </p:grpSpPr>
            <p:sp>
              <p:nvSpPr>
                <p:cNvPr id="11372" name="Freeform: Shape 11371">
                  <a:extLst>
                    <a:ext uri="{FF2B5EF4-FFF2-40B4-BE49-F238E27FC236}">
                      <a16:creationId xmlns:a16="http://schemas.microsoft.com/office/drawing/2014/main" id="{EFD0B792-7938-CFA9-CF26-56C6CCB81944}"/>
                    </a:ext>
                  </a:extLst>
                </p:cNvPr>
                <p:cNvSpPr/>
                <p:nvPr/>
              </p:nvSpPr>
              <p:spPr bwMode="gray">
                <a:xfrm>
                  <a:off x="6756939"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73" name="Freeform: Shape 11372">
                  <a:extLst>
                    <a:ext uri="{FF2B5EF4-FFF2-40B4-BE49-F238E27FC236}">
                      <a16:creationId xmlns:a16="http://schemas.microsoft.com/office/drawing/2014/main" id="{31AB0459-0587-795E-D410-EBB147D4FEE9}"/>
                    </a:ext>
                  </a:extLst>
                </p:cNvPr>
                <p:cNvSpPr/>
                <p:nvPr/>
              </p:nvSpPr>
              <p:spPr bwMode="gray">
                <a:xfrm>
                  <a:off x="6719125"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3" name="Graphic 471">
                <a:extLst>
                  <a:ext uri="{FF2B5EF4-FFF2-40B4-BE49-F238E27FC236}">
                    <a16:creationId xmlns:a16="http://schemas.microsoft.com/office/drawing/2014/main" id="{54D87AAF-494A-F474-F5E2-2927688FE28A}"/>
                  </a:ext>
                </a:extLst>
              </p:cNvPr>
              <p:cNvGrpSpPr/>
              <p:nvPr/>
            </p:nvGrpSpPr>
            <p:grpSpPr bwMode="gray">
              <a:xfrm>
                <a:off x="6841997" y="3965638"/>
                <a:ext cx="75723" cy="75628"/>
                <a:chOff x="6841997" y="3965638"/>
                <a:chExt cx="75723" cy="75628"/>
              </a:xfrm>
            </p:grpSpPr>
            <p:sp>
              <p:nvSpPr>
                <p:cNvPr id="11370" name="Freeform: Shape 11369">
                  <a:extLst>
                    <a:ext uri="{FF2B5EF4-FFF2-40B4-BE49-F238E27FC236}">
                      <a16:creationId xmlns:a16="http://schemas.microsoft.com/office/drawing/2014/main" id="{BEF8059A-8952-5C80-857A-E7F1BB1A3346}"/>
                    </a:ext>
                  </a:extLst>
                </p:cNvPr>
                <p:cNvSpPr/>
                <p:nvPr/>
              </p:nvSpPr>
              <p:spPr bwMode="gray">
                <a:xfrm>
                  <a:off x="687990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71" name="Freeform: Shape 11370">
                  <a:extLst>
                    <a:ext uri="{FF2B5EF4-FFF2-40B4-BE49-F238E27FC236}">
                      <a16:creationId xmlns:a16="http://schemas.microsoft.com/office/drawing/2014/main" id="{112DD3CC-EFF0-0FB0-3ECA-E35F5A957DD1}"/>
                    </a:ext>
                  </a:extLst>
                </p:cNvPr>
                <p:cNvSpPr/>
                <p:nvPr/>
              </p:nvSpPr>
              <p:spPr bwMode="gray">
                <a:xfrm>
                  <a:off x="6841997"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4" name="Graphic 471">
                <a:extLst>
                  <a:ext uri="{FF2B5EF4-FFF2-40B4-BE49-F238E27FC236}">
                    <a16:creationId xmlns:a16="http://schemas.microsoft.com/office/drawing/2014/main" id="{933946A1-2764-EDB3-B66B-57F0878C63DB}"/>
                  </a:ext>
                </a:extLst>
              </p:cNvPr>
              <p:cNvGrpSpPr/>
              <p:nvPr/>
            </p:nvGrpSpPr>
            <p:grpSpPr bwMode="gray">
              <a:xfrm>
                <a:off x="7416831" y="4107084"/>
                <a:ext cx="75628" cy="75723"/>
                <a:chOff x="7416831" y="4107084"/>
                <a:chExt cx="75628" cy="75723"/>
              </a:xfrm>
            </p:grpSpPr>
            <p:sp>
              <p:nvSpPr>
                <p:cNvPr id="11368" name="Freeform: Shape 11367">
                  <a:extLst>
                    <a:ext uri="{FF2B5EF4-FFF2-40B4-BE49-F238E27FC236}">
                      <a16:creationId xmlns:a16="http://schemas.microsoft.com/office/drawing/2014/main" id="{62D41C38-7BCC-C938-5D0D-A2EEBB85CAB4}"/>
                    </a:ext>
                  </a:extLst>
                </p:cNvPr>
                <p:cNvSpPr/>
                <p:nvPr/>
              </p:nvSpPr>
              <p:spPr bwMode="gray">
                <a:xfrm>
                  <a:off x="74546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69" name="Freeform: Shape 11368">
                  <a:extLst>
                    <a:ext uri="{FF2B5EF4-FFF2-40B4-BE49-F238E27FC236}">
                      <a16:creationId xmlns:a16="http://schemas.microsoft.com/office/drawing/2014/main" id="{63552939-AB11-B4CA-DDED-0678A74789B7}"/>
                    </a:ext>
                  </a:extLst>
                </p:cNvPr>
                <p:cNvSpPr/>
                <p:nvPr/>
              </p:nvSpPr>
              <p:spPr bwMode="gray">
                <a:xfrm>
                  <a:off x="7416831"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365" name="Graphic 471">
                <a:extLst>
                  <a:ext uri="{FF2B5EF4-FFF2-40B4-BE49-F238E27FC236}">
                    <a16:creationId xmlns:a16="http://schemas.microsoft.com/office/drawing/2014/main" id="{BE1F7CA3-0B64-FBF9-9654-1330BCAFC6BD}"/>
                  </a:ext>
                </a:extLst>
              </p:cNvPr>
              <p:cNvGrpSpPr/>
              <p:nvPr/>
            </p:nvGrpSpPr>
            <p:grpSpPr bwMode="gray">
              <a:xfrm>
                <a:off x="7509604" y="4107084"/>
                <a:ext cx="75723" cy="75723"/>
                <a:chOff x="7509604" y="4107084"/>
                <a:chExt cx="75723" cy="75723"/>
              </a:xfrm>
            </p:grpSpPr>
            <p:sp>
              <p:nvSpPr>
                <p:cNvPr id="11366" name="Freeform: Shape 11365">
                  <a:extLst>
                    <a:ext uri="{FF2B5EF4-FFF2-40B4-BE49-F238E27FC236}">
                      <a16:creationId xmlns:a16="http://schemas.microsoft.com/office/drawing/2014/main" id="{0B11FE6B-B849-BEAC-F3EB-9A965CE02E58}"/>
                    </a:ext>
                  </a:extLst>
                </p:cNvPr>
                <p:cNvSpPr/>
                <p:nvPr/>
              </p:nvSpPr>
              <p:spPr bwMode="gray">
                <a:xfrm>
                  <a:off x="754751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367" name="Freeform: Shape 11366">
                  <a:extLst>
                    <a:ext uri="{FF2B5EF4-FFF2-40B4-BE49-F238E27FC236}">
                      <a16:creationId xmlns:a16="http://schemas.microsoft.com/office/drawing/2014/main" id="{AB7770A1-0762-7A95-9E31-4DDCCB041CAE}"/>
                    </a:ext>
                  </a:extLst>
                </p:cNvPr>
                <p:cNvSpPr/>
                <p:nvPr/>
              </p:nvSpPr>
              <p:spPr bwMode="gray">
                <a:xfrm>
                  <a:off x="7509604"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1253" name="Freeform: Shape 11252">
              <a:extLst>
                <a:ext uri="{FF2B5EF4-FFF2-40B4-BE49-F238E27FC236}">
                  <a16:creationId xmlns:a16="http://schemas.microsoft.com/office/drawing/2014/main" id="{3D093B25-F521-F87E-5D01-4A66C5373004}"/>
                </a:ext>
              </a:extLst>
            </p:cNvPr>
            <p:cNvSpPr/>
            <p:nvPr/>
          </p:nvSpPr>
          <p:spPr bwMode="gray">
            <a:xfrm>
              <a:off x="3195922" y="2709576"/>
              <a:ext cx="5776626" cy="1435322"/>
            </a:xfrm>
            <a:custGeom>
              <a:avLst/>
              <a:gdLst>
                <a:gd name="connsiteX0" fmla="*/ 5776627 w 5776626"/>
                <a:gd name="connsiteY0" fmla="*/ 1435322 h 1435322"/>
                <a:gd name="connsiteX1" fmla="*/ 4221480 w 5776626"/>
                <a:gd name="connsiteY1" fmla="*/ 1435322 h 1435322"/>
                <a:gd name="connsiteX2" fmla="*/ 4221480 w 5776626"/>
                <a:gd name="connsiteY2" fmla="*/ 1357122 h 1435322"/>
                <a:gd name="connsiteX3" fmla="*/ 4019550 w 5776626"/>
                <a:gd name="connsiteY3" fmla="*/ 1357122 h 1435322"/>
                <a:gd name="connsiteX4" fmla="*/ 4019550 w 5776626"/>
                <a:gd name="connsiteY4" fmla="*/ 1293876 h 1435322"/>
                <a:gd name="connsiteX5" fmla="*/ 3683984 w 5776626"/>
                <a:gd name="connsiteY5" fmla="*/ 1293876 h 1435322"/>
                <a:gd name="connsiteX6" fmla="*/ 3683984 w 5776626"/>
                <a:gd name="connsiteY6" fmla="*/ 1244441 h 1435322"/>
                <a:gd name="connsiteX7" fmla="*/ 3093815 w 5776626"/>
                <a:gd name="connsiteY7" fmla="*/ 1244441 h 1435322"/>
                <a:gd name="connsiteX8" fmla="*/ 3093815 w 5776626"/>
                <a:gd name="connsiteY8" fmla="*/ 1209961 h 1435322"/>
                <a:gd name="connsiteX9" fmla="*/ 3027807 w 5776626"/>
                <a:gd name="connsiteY9" fmla="*/ 1209961 h 1435322"/>
                <a:gd name="connsiteX10" fmla="*/ 3027807 w 5776626"/>
                <a:gd name="connsiteY10" fmla="*/ 1178719 h 1435322"/>
                <a:gd name="connsiteX11" fmla="*/ 2952750 w 5776626"/>
                <a:gd name="connsiteY11" fmla="*/ 1178719 h 1435322"/>
                <a:gd name="connsiteX12" fmla="*/ 2952750 w 5776626"/>
                <a:gd name="connsiteY12" fmla="*/ 1121188 h 1435322"/>
                <a:gd name="connsiteX13" fmla="*/ 2874550 w 5776626"/>
                <a:gd name="connsiteY13" fmla="*/ 1121188 h 1435322"/>
                <a:gd name="connsiteX14" fmla="*/ 2874550 w 5776626"/>
                <a:gd name="connsiteY14" fmla="*/ 1058799 h 1435322"/>
                <a:gd name="connsiteX15" fmla="*/ 2809685 w 5776626"/>
                <a:gd name="connsiteY15" fmla="*/ 1058799 h 1435322"/>
                <a:gd name="connsiteX16" fmla="*/ 2809685 w 5776626"/>
                <a:gd name="connsiteY16" fmla="*/ 1030034 h 1435322"/>
                <a:gd name="connsiteX17" fmla="*/ 2702338 w 5776626"/>
                <a:gd name="connsiteY17" fmla="*/ 1030034 h 1435322"/>
                <a:gd name="connsiteX18" fmla="*/ 2702338 w 5776626"/>
                <a:gd name="connsiteY18" fmla="*/ 1003364 h 1435322"/>
                <a:gd name="connsiteX19" fmla="*/ 2511838 w 5776626"/>
                <a:gd name="connsiteY19" fmla="*/ 1003364 h 1435322"/>
                <a:gd name="connsiteX20" fmla="*/ 2511838 w 5776626"/>
                <a:gd name="connsiteY20" fmla="*/ 976027 h 1435322"/>
                <a:gd name="connsiteX21" fmla="*/ 2439638 w 5776626"/>
                <a:gd name="connsiteY21" fmla="*/ 976027 h 1435322"/>
                <a:gd name="connsiteX22" fmla="*/ 2439638 w 5776626"/>
                <a:gd name="connsiteY22" fmla="*/ 946976 h 1435322"/>
                <a:gd name="connsiteX23" fmla="*/ 2343626 w 5776626"/>
                <a:gd name="connsiteY23" fmla="*/ 946976 h 1435322"/>
                <a:gd name="connsiteX24" fmla="*/ 2343626 w 5776626"/>
                <a:gd name="connsiteY24" fmla="*/ 922973 h 1435322"/>
                <a:gd name="connsiteX25" fmla="*/ 2197703 w 5776626"/>
                <a:gd name="connsiteY25" fmla="*/ 922973 h 1435322"/>
                <a:gd name="connsiteX26" fmla="*/ 2197703 w 5776626"/>
                <a:gd name="connsiteY26" fmla="*/ 878681 h 1435322"/>
                <a:gd name="connsiteX27" fmla="*/ 2176653 w 5776626"/>
                <a:gd name="connsiteY27" fmla="*/ 878681 h 1435322"/>
                <a:gd name="connsiteX28" fmla="*/ 2176653 w 5776626"/>
                <a:gd name="connsiteY28" fmla="*/ 856012 h 1435322"/>
                <a:gd name="connsiteX29" fmla="*/ 2119027 w 5776626"/>
                <a:gd name="connsiteY29" fmla="*/ 856012 h 1435322"/>
                <a:gd name="connsiteX30" fmla="*/ 2119027 w 5776626"/>
                <a:gd name="connsiteY30" fmla="*/ 833342 h 1435322"/>
                <a:gd name="connsiteX31" fmla="*/ 2070830 w 5776626"/>
                <a:gd name="connsiteY31" fmla="*/ 833342 h 1435322"/>
                <a:gd name="connsiteX32" fmla="*/ 2070830 w 5776626"/>
                <a:gd name="connsiteY32" fmla="*/ 811530 h 1435322"/>
                <a:gd name="connsiteX33" fmla="*/ 2029111 w 5776626"/>
                <a:gd name="connsiteY33" fmla="*/ 811530 h 1435322"/>
                <a:gd name="connsiteX34" fmla="*/ 2029111 w 5776626"/>
                <a:gd name="connsiteY34" fmla="*/ 790099 h 1435322"/>
                <a:gd name="connsiteX35" fmla="*/ 2012061 w 5776626"/>
                <a:gd name="connsiteY35" fmla="*/ 790099 h 1435322"/>
                <a:gd name="connsiteX36" fmla="*/ 2012061 w 5776626"/>
                <a:gd name="connsiteY36" fmla="*/ 753999 h 1435322"/>
                <a:gd name="connsiteX37" fmla="*/ 1992630 w 5776626"/>
                <a:gd name="connsiteY37" fmla="*/ 753999 h 1435322"/>
                <a:gd name="connsiteX38" fmla="*/ 1992630 w 5776626"/>
                <a:gd name="connsiteY38" fmla="*/ 743426 h 1435322"/>
                <a:gd name="connsiteX39" fmla="*/ 1979295 w 5776626"/>
                <a:gd name="connsiteY39" fmla="*/ 743426 h 1435322"/>
                <a:gd name="connsiteX40" fmla="*/ 1979295 w 5776626"/>
                <a:gd name="connsiteY40" fmla="*/ 718757 h 1435322"/>
                <a:gd name="connsiteX41" fmla="*/ 1947196 w 5776626"/>
                <a:gd name="connsiteY41" fmla="*/ 718757 h 1435322"/>
                <a:gd name="connsiteX42" fmla="*/ 1947196 w 5776626"/>
                <a:gd name="connsiteY42" fmla="*/ 700373 h 1435322"/>
                <a:gd name="connsiteX43" fmla="*/ 1905857 w 5776626"/>
                <a:gd name="connsiteY43" fmla="*/ 700373 h 1435322"/>
                <a:gd name="connsiteX44" fmla="*/ 1905857 w 5776626"/>
                <a:gd name="connsiteY44" fmla="*/ 633984 h 1435322"/>
                <a:gd name="connsiteX45" fmla="*/ 1887474 w 5776626"/>
                <a:gd name="connsiteY45" fmla="*/ 633984 h 1435322"/>
                <a:gd name="connsiteX46" fmla="*/ 1887474 w 5776626"/>
                <a:gd name="connsiteY46" fmla="*/ 594741 h 1435322"/>
                <a:gd name="connsiteX47" fmla="*/ 1876235 w 5776626"/>
                <a:gd name="connsiteY47" fmla="*/ 594741 h 1435322"/>
                <a:gd name="connsiteX48" fmla="*/ 1876235 w 5776626"/>
                <a:gd name="connsiteY48" fmla="*/ 545306 h 1435322"/>
                <a:gd name="connsiteX49" fmla="*/ 1828038 w 5776626"/>
                <a:gd name="connsiteY49" fmla="*/ 545306 h 1435322"/>
                <a:gd name="connsiteX50" fmla="*/ 1828038 w 5776626"/>
                <a:gd name="connsiteY50" fmla="*/ 527114 h 1435322"/>
                <a:gd name="connsiteX51" fmla="*/ 1798415 w 5776626"/>
                <a:gd name="connsiteY51" fmla="*/ 527114 h 1435322"/>
                <a:gd name="connsiteX52" fmla="*/ 1798415 w 5776626"/>
                <a:gd name="connsiteY52" fmla="*/ 498253 h 1435322"/>
                <a:gd name="connsiteX53" fmla="*/ 1770507 w 5776626"/>
                <a:gd name="connsiteY53" fmla="*/ 498253 h 1435322"/>
                <a:gd name="connsiteX54" fmla="*/ 1770507 w 5776626"/>
                <a:gd name="connsiteY54" fmla="*/ 468630 h 1435322"/>
                <a:gd name="connsiteX55" fmla="*/ 1524476 w 5776626"/>
                <a:gd name="connsiteY55" fmla="*/ 468630 h 1435322"/>
                <a:gd name="connsiteX56" fmla="*/ 1524476 w 5776626"/>
                <a:gd name="connsiteY56" fmla="*/ 407480 h 1435322"/>
                <a:gd name="connsiteX57" fmla="*/ 1404842 w 5776626"/>
                <a:gd name="connsiteY57" fmla="*/ 407480 h 1435322"/>
                <a:gd name="connsiteX58" fmla="*/ 1404842 w 5776626"/>
                <a:gd name="connsiteY58" fmla="*/ 369380 h 1435322"/>
                <a:gd name="connsiteX59" fmla="*/ 1372076 w 5776626"/>
                <a:gd name="connsiteY59" fmla="*/ 369380 h 1435322"/>
                <a:gd name="connsiteX60" fmla="*/ 1372076 w 5776626"/>
                <a:gd name="connsiteY60" fmla="*/ 361664 h 1435322"/>
                <a:gd name="connsiteX61" fmla="*/ 1348931 w 5776626"/>
                <a:gd name="connsiteY61" fmla="*/ 361664 h 1435322"/>
                <a:gd name="connsiteX62" fmla="*/ 1348931 w 5776626"/>
                <a:gd name="connsiteY62" fmla="*/ 331280 h 1435322"/>
                <a:gd name="connsiteX63" fmla="*/ 1293400 w 5776626"/>
                <a:gd name="connsiteY63" fmla="*/ 331280 h 1435322"/>
                <a:gd name="connsiteX64" fmla="*/ 1293400 w 5776626"/>
                <a:gd name="connsiteY64" fmla="*/ 309753 h 1435322"/>
                <a:gd name="connsiteX65" fmla="*/ 1218438 w 5776626"/>
                <a:gd name="connsiteY65" fmla="*/ 309753 h 1435322"/>
                <a:gd name="connsiteX66" fmla="*/ 1218438 w 5776626"/>
                <a:gd name="connsiteY66" fmla="*/ 271653 h 1435322"/>
                <a:gd name="connsiteX67" fmla="*/ 1191673 w 5776626"/>
                <a:gd name="connsiteY67" fmla="*/ 271653 h 1435322"/>
                <a:gd name="connsiteX68" fmla="*/ 1191673 w 5776626"/>
                <a:gd name="connsiteY68" fmla="*/ 260699 h 1435322"/>
                <a:gd name="connsiteX69" fmla="*/ 1059942 w 5776626"/>
                <a:gd name="connsiteY69" fmla="*/ 260699 h 1435322"/>
                <a:gd name="connsiteX70" fmla="*/ 1059942 w 5776626"/>
                <a:gd name="connsiteY70" fmla="*/ 238220 h 1435322"/>
                <a:gd name="connsiteX71" fmla="*/ 990219 w 5776626"/>
                <a:gd name="connsiteY71" fmla="*/ 238220 h 1435322"/>
                <a:gd name="connsiteX72" fmla="*/ 990219 w 5776626"/>
                <a:gd name="connsiteY72" fmla="*/ 223838 h 1435322"/>
                <a:gd name="connsiteX73" fmla="*/ 953738 w 5776626"/>
                <a:gd name="connsiteY73" fmla="*/ 223838 h 1435322"/>
                <a:gd name="connsiteX74" fmla="*/ 953738 w 5776626"/>
                <a:gd name="connsiteY74" fmla="*/ 191453 h 1435322"/>
                <a:gd name="connsiteX75" fmla="*/ 904304 w 5776626"/>
                <a:gd name="connsiteY75" fmla="*/ 191453 h 1435322"/>
                <a:gd name="connsiteX76" fmla="*/ 904304 w 5776626"/>
                <a:gd name="connsiteY76" fmla="*/ 176784 h 1435322"/>
                <a:gd name="connsiteX77" fmla="*/ 857250 w 5776626"/>
                <a:gd name="connsiteY77" fmla="*/ 176784 h 1435322"/>
                <a:gd name="connsiteX78" fmla="*/ 857250 w 5776626"/>
                <a:gd name="connsiteY78" fmla="*/ 134684 h 1435322"/>
                <a:gd name="connsiteX79" fmla="*/ 811054 w 5776626"/>
                <a:gd name="connsiteY79" fmla="*/ 134684 h 1435322"/>
                <a:gd name="connsiteX80" fmla="*/ 811054 w 5776626"/>
                <a:gd name="connsiteY80" fmla="*/ 119253 h 1435322"/>
                <a:gd name="connsiteX81" fmla="*/ 724757 w 5776626"/>
                <a:gd name="connsiteY81" fmla="*/ 119253 h 1435322"/>
                <a:gd name="connsiteX82" fmla="*/ 724757 w 5776626"/>
                <a:gd name="connsiteY82" fmla="*/ 101441 h 1435322"/>
                <a:gd name="connsiteX83" fmla="*/ 688277 w 5776626"/>
                <a:gd name="connsiteY83" fmla="*/ 101441 h 1435322"/>
                <a:gd name="connsiteX84" fmla="*/ 688277 w 5776626"/>
                <a:gd name="connsiteY84" fmla="*/ 84773 h 1435322"/>
                <a:gd name="connsiteX85" fmla="*/ 645700 w 5776626"/>
                <a:gd name="connsiteY85" fmla="*/ 84773 h 1435322"/>
                <a:gd name="connsiteX86" fmla="*/ 645700 w 5776626"/>
                <a:gd name="connsiteY86" fmla="*/ 73057 h 1435322"/>
                <a:gd name="connsiteX87" fmla="*/ 576834 w 5776626"/>
                <a:gd name="connsiteY87" fmla="*/ 73057 h 1435322"/>
                <a:gd name="connsiteX88" fmla="*/ 576834 w 5776626"/>
                <a:gd name="connsiteY88" fmla="*/ 50768 h 1435322"/>
                <a:gd name="connsiteX89" fmla="*/ 435388 w 5776626"/>
                <a:gd name="connsiteY89" fmla="*/ 50768 h 1435322"/>
                <a:gd name="connsiteX90" fmla="*/ 435388 w 5776626"/>
                <a:gd name="connsiteY90" fmla="*/ 34862 h 1435322"/>
                <a:gd name="connsiteX91" fmla="*/ 306896 w 5776626"/>
                <a:gd name="connsiteY91" fmla="*/ 34862 h 1435322"/>
                <a:gd name="connsiteX92" fmla="*/ 306896 w 5776626"/>
                <a:gd name="connsiteY92" fmla="*/ 17145 h 1435322"/>
                <a:gd name="connsiteX93" fmla="*/ 130492 w 5776626"/>
                <a:gd name="connsiteY93" fmla="*/ 17145 h 1435322"/>
                <a:gd name="connsiteX94" fmla="*/ 130492 w 5776626"/>
                <a:gd name="connsiteY94" fmla="*/ 0 h 1435322"/>
                <a:gd name="connsiteX95" fmla="*/ 0 w 5776626"/>
                <a:gd name="connsiteY95" fmla="*/ 0 h 14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776626" h="1435322">
                  <a:moveTo>
                    <a:pt x="5776627" y="1435322"/>
                  </a:moveTo>
                  <a:lnTo>
                    <a:pt x="4221480" y="1435322"/>
                  </a:lnTo>
                  <a:lnTo>
                    <a:pt x="4221480" y="1357122"/>
                  </a:lnTo>
                  <a:lnTo>
                    <a:pt x="4019550" y="1357122"/>
                  </a:lnTo>
                  <a:lnTo>
                    <a:pt x="4019550" y="1293876"/>
                  </a:lnTo>
                  <a:lnTo>
                    <a:pt x="3683984" y="1293876"/>
                  </a:lnTo>
                  <a:lnTo>
                    <a:pt x="3683984" y="1244441"/>
                  </a:lnTo>
                  <a:lnTo>
                    <a:pt x="3093815" y="1244441"/>
                  </a:lnTo>
                  <a:lnTo>
                    <a:pt x="3093815" y="1209961"/>
                  </a:lnTo>
                  <a:lnTo>
                    <a:pt x="3027807" y="1209961"/>
                  </a:lnTo>
                  <a:lnTo>
                    <a:pt x="3027807" y="1178719"/>
                  </a:lnTo>
                  <a:lnTo>
                    <a:pt x="2952750" y="1178719"/>
                  </a:lnTo>
                  <a:lnTo>
                    <a:pt x="2952750" y="1121188"/>
                  </a:lnTo>
                  <a:lnTo>
                    <a:pt x="2874550" y="1121188"/>
                  </a:lnTo>
                  <a:lnTo>
                    <a:pt x="2874550" y="1058799"/>
                  </a:lnTo>
                  <a:lnTo>
                    <a:pt x="2809685" y="1058799"/>
                  </a:lnTo>
                  <a:lnTo>
                    <a:pt x="2809685" y="1030034"/>
                  </a:lnTo>
                  <a:lnTo>
                    <a:pt x="2702338" y="1030034"/>
                  </a:lnTo>
                  <a:lnTo>
                    <a:pt x="2702338" y="1003364"/>
                  </a:lnTo>
                  <a:lnTo>
                    <a:pt x="2511838" y="1003364"/>
                  </a:lnTo>
                  <a:lnTo>
                    <a:pt x="2511838" y="976027"/>
                  </a:lnTo>
                  <a:lnTo>
                    <a:pt x="2439638" y="976027"/>
                  </a:lnTo>
                  <a:lnTo>
                    <a:pt x="2439638" y="946976"/>
                  </a:lnTo>
                  <a:lnTo>
                    <a:pt x="2343626" y="946976"/>
                  </a:lnTo>
                  <a:lnTo>
                    <a:pt x="2343626" y="922973"/>
                  </a:lnTo>
                  <a:lnTo>
                    <a:pt x="2197703" y="922973"/>
                  </a:lnTo>
                  <a:lnTo>
                    <a:pt x="2197703" y="878681"/>
                  </a:lnTo>
                  <a:lnTo>
                    <a:pt x="2176653" y="878681"/>
                  </a:lnTo>
                  <a:lnTo>
                    <a:pt x="2176653" y="856012"/>
                  </a:lnTo>
                  <a:lnTo>
                    <a:pt x="2119027" y="856012"/>
                  </a:lnTo>
                  <a:lnTo>
                    <a:pt x="2119027" y="833342"/>
                  </a:lnTo>
                  <a:lnTo>
                    <a:pt x="2070830" y="833342"/>
                  </a:lnTo>
                  <a:lnTo>
                    <a:pt x="2070830" y="811530"/>
                  </a:lnTo>
                  <a:lnTo>
                    <a:pt x="2029111" y="811530"/>
                  </a:lnTo>
                  <a:lnTo>
                    <a:pt x="2029111" y="790099"/>
                  </a:lnTo>
                  <a:lnTo>
                    <a:pt x="2012061" y="790099"/>
                  </a:lnTo>
                  <a:lnTo>
                    <a:pt x="2012061" y="753999"/>
                  </a:lnTo>
                  <a:lnTo>
                    <a:pt x="1992630" y="753999"/>
                  </a:lnTo>
                  <a:lnTo>
                    <a:pt x="1992630" y="743426"/>
                  </a:lnTo>
                  <a:lnTo>
                    <a:pt x="1979295" y="743426"/>
                  </a:lnTo>
                  <a:lnTo>
                    <a:pt x="1979295" y="718757"/>
                  </a:lnTo>
                  <a:lnTo>
                    <a:pt x="1947196" y="718757"/>
                  </a:lnTo>
                  <a:lnTo>
                    <a:pt x="1947196" y="700373"/>
                  </a:lnTo>
                  <a:lnTo>
                    <a:pt x="1905857" y="700373"/>
                  </a:lnTo>
                  <a:lnTo>
                    <a:pt x="1905857" y="633984"/>
                  </a:lnTo>
                  <a:lnTo>
                    <a:pt x="1887474" y="633984"/>
                  </a:lnTo>
                  <a:lnTo>
                    <a:pt x="1887474" y="594741"/>
                  </a:lnTo>
                  <a:lnTo>
                    <a:pt x="1876235" y="594741"/>
                  </a:lnTo>
                  <a:lnTo>
                    <a:pt x="1876235" y="545306"/>
                  </a:lnTo>
                  <a:lnTo>
                    <a:pt x="1828038" y="545306"/>
                  </a:lnTo>
                  <a:lnTo>
                    <a:pt x="1828038" y="527114"/>
                  </a:lnTo>
                  <a:lnTo>
                    <a:pt x="1798415" y="527114"/>
                  </a:lnTo>
                  <a:lnTo>
                    <a:pt x="1798415" y="498253"/>
                  </a:lnTo>
                  <a:lnTo>
                    <a:pt x="1770507" y="498253"/>
                  </a:lnTo>
                  <a:lnTo>
                    <a:pt x="1770507" y="468630"/>
                  </a:lnTo>
                  <a:lnTo>
                    <a:pt x="1524476" y="468630"/>
                  </a:lnTo>
                  <a:lnTo>
                    <a:pt x="1524476" y="407480"/>
                  </a:lnTo>
                  <a:lnTo>
                    <a:pt x="1404842" y="407480"/>
                  </a:lnTo>
                  <a:lnTo>
                    <a:pt x="1404842" y="369380"/>
                  </a:lnTo>
                  <a:lnTo>
                    <a:pt x="1372076" y="369380"/>
                  </a:lnTo>
                  <a:lnTo>
                    <a:pt x="1372076" y="361664"/>
                  </a:lnTo>
                  <a:lnTo>
                    <a:pt x="1348931" y="361664"/>
                  </a:lnTo>
                  <a:lnTo>
                    <a:pt x="1348931" y="331280"/>
                  </a:lnTo>
                  <a:lnTo>
                    <a:pt x="1293400" y="331280"/>
                  </a:lnTo>
                  <a:lnTo>
                    <a:pt x="1293400" y="309753"/>
                  </a:lnTo>
                  <a:lnTo>
                    <a:pt x="1218438" y="309753"/>
                  </a:lnTo>
                  <a:lnTo>
                    <a:pt x="1218438" y="271653"/>
                  </a:lnTo>
                  <a:lnTo>
                    <a:pt x="1191673" y="271653"/>
                  </a:lnTo>
                  <a:lnTo>
                    <a:pt x="1191673" y="260699"/>
                  </a:lnTo>
                  <a:lnTo>
                    <a:pt x="1059942" y="260699"/>
                  </a:lnTo>
                  <a:lnTo>
                    <a:pt x="1059942" y="238220"/>
                  </a:lnTo>
                  <a:lnTo>
                    <a:pt x="990219" y="238220"/>
                  </a:lnTo>
                  <a:lnTo>
                    <a:pt x="990219" y="223838"/>
                  </a:lnTo>
                  <a:lnTo>
                    <a:pt x="953738" y="223838"/>
                  </a:lnTo>
                  <a:lnTo>
                    <a:pt x="953738" y="191453"/>
                  </a:lnTo>
                  <a:lnTo>
                    <a:pt x="904304" y="191453"/>
                  </a:lnTo>
                  <a:lnTo>
                    <a:pt x="904304" y="176784"/>
                  </a:lnTo>
                  <a:lnTo>
                    <a:pt x="857250" y="176784"/>
                  </a:lnTo>
                  <a:lnTo>
                    <a:pt x="857250" y="134684"/>
                  </a:lnTo>
                  <a:lnTo>
                    <a:pt x="811054" y="134684"/>
                  </a:lnTo>
                  <a:lnTo>
                    <a:pt x="811054" y="119253"/>
                  </a:lnTo>
                  <a:lnTo>
                    <a:pt x="724757" y="119253"/>
                  </a:lnTo>
                  <a:lnTo>
                    <a:pt x="724757" y="101441"/>
                  </a:lnTo>
                  <a:lnTo>
                    <a:pt x="688277" y="101441"/>
                  </a:lnTo>
                  <a:lnTo>
                    <a:pt x="688277" y="84773"/>
                  </a:lnTo>
                  <a:lnTo>
                    <a:pt x="645700" y="84773"/>
                  </a:lnTo>
                  <a:lnTo>
                    <a:pt x="645700" y="73057"/>
                  </a:lnTo>
                  <a:lnTo>
                    <a:pt x="576834" y="73057"/>
                  </a:lnTo>
                  <a:lnTo>
                    <a:pt x="576834" y="50768"/>
                  </a:lnTo>
                  <a:lnTo>
                    <a:pt x="435388" y="50768"/>
                  </a:lnTo>
                  <a:lnTo>
                    <a:pt x="435388" y="34862"/>
                  </a:lnTo>
                  <a:lnTo>
                    <a:pt x="306896" y="34862"/>
                  </a:lnTo>
                  <a:lnTo>
                    <a:pt x="306896" y="17145"/>
                  </a:lnTo>
                  <a:lnTo>
                    <a:pt x="130492" y="17145"/>
                  </a:lnTo>
                  <a:lnTo>
                    <a:pt x="130492" y="0"/>
                  </a:lnTo>
                  <a:lnTo>
                    <a:pt x="0" y="0"/>
                  </a:lnTo>
                </a:path>
              </a:pathLst>
            </a:custGeom>
            <a:noFill/>
            <a:ln w="19050" cap="flat">
              <a:solidFill>
                <a:schemeClr val="accent3">
                  <a:lumMod val="20000"/>
                  <a:lumOff val="80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50" name="Group 11249">
            <a:extLst>
              <a:ext uri="{FF2B5EF4-FFF2-40B4-BE49-F238E27FC236}">
                <a16:creationId xmlns:a16="http://schemas.microsoft.com/office/drawing/2014/main" id="{460FA091-2362-68E3-7B27-6524779A63EF}"/>
              </a:ext>
            </a:extLst>
          </p:cNvPr>
          <p:cNvGrpSpPr/>
          <p:nvPr/>
        </p:nvGrpSpPr>
        <p:grpSpPr bwMode="gray">
          <a:xfrm>
            <a:off x="701816" y="1494904"/>
            <a:ext cx="6708522" cy="1462659"/>
            <a:chOff x="3057525" y="2700337"/>
            <a:chExt cx="6077616" cy="1462659"/>
          </a:xfrm>
        </p:grpSpPr>
        <p:grpSp>
          <p:nvGrpSpPr>
            <p:cNvPr id="11590" name="Graphic 75">
              <a:extLst>
                <a:ext uri="{FF2B5EF4-FFF2-40B4-BE49-F238E27FC236}">
                  <a16:creationId xmlns:a16="http://schemas.microsoft.com/office/drawing/2014/main" id="{00AD29D9-FA79-8683-BCBD-34CCD2F0B9F9}"/>
                </a:ext>
              </a:extLst>
            </p:cNvPr>
            <p:cNvGrpSpPr/>
            <p:nvPr/>
          </p:nvGrpSpPr>
          <p:grpSpPr bwMode="gray">
            <a:xfrm>
              <a:off x="3153537" y="2760059"/>
              <a:ext cx="5981604" cy="1402937"/>
              <a:chOff x="3153537" y="2760059"/>
              <a:chExt cx="5981604" cy="1402937"/>
            </a:xfrm>
          </p:grpSpPr>
          <p:grpSp>
            <p:nvGrpSpPr>
              <p:cNvPr id="11592" name="Graphic 75">
                <a:extLst>
                  <a:ext uri="{FF2B5EF4-FFF2-40B4-BE49-F238E27FC236}">
                    <a16:creationId xmlns:a16="http://schemas.microsoft.com/office/drawing/2014/main" id="{D6D1F4D5-7E5D-7E84-E49D-65D3B055A36C}"/>
                  </a:ext>
                </a:extLst>
              </p:cNvPr>
              <p:cNvGrpSpPr/>
              <p:nvPr/>
            </p:nvGrpSpPr>
            <p:grpSpPr bwMode="gray">
              <a:xfrm>
                <a:off x="9059418" y="4087272"/>
                <a:ext cx="75723" cy="75723"/>
                <a:chOff x="9059418" y="4087272"/>
                <a:chExt cx="75723" cy="75723"/>
              </a:xfrm>
            </p:grpSpPr>
            <p:sp>
              <p:nvSpPr>
                <p:cNvPr id="11980" name="Freeform: Shape 11979">
                  <a:extLst>
                    <a:ext uri="{FF2B5EF4-FFF2-40B4-BE49-F238E27FC236}">
                      <a16:creationId xmlns:a16="http://schemas.microsoft.com/office/drawing/2014/main" id="{8EBD80C0-C25E-8B84-61CA-ADD0BB4D9290}"/>
                    </a:ext>
                  </a:extLst>
                </p:cNvPr>
                <p:cNvSpPr/>
                <p:nvPr/>
              </p:nvSpPr>
              <p:spPr bwMode="gray">
                <a:xfrm>
                  <a:off x="909732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81" name="Freeform: Shape 11980">
                  <a:extLst>
                    <a:ext uri="{FF2B5EF4-FFF2-40B4-BE49-F238E27FC236}">
                      <a16:creationId xmlns:a16="http://schemas.microsoft.com/office/drawing/2014/main" id="{84C92CBC-2775-A9F7-5FB6-FA9B53012804}"/>
                    </a:ext>
                  </a:extLst>
                </p:cNvPr>
                <p:cNvSpPr/>
                <p:nvPr/>
              </p:nvSpPr>
              <p:spPr bwMode="gray">
                <a:xfrm>
                  <a:off x="9059418"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3" name="Graphic 75">
                <a:extLst>
                  <a:ext uri="{FF2B5EF4-FFF2-40B4-BE49-F238E27FC236}">
                    <a16:creationId xmlns:a16="http://schemas.microsoft.com/office/drawing/2014/main" id="{A4341B5B-5A5A-97A2-B646-ACF8FA89FFB6}"/>
                  </a:ext>
                </a:extLst>
              </p:cNvPr>
              <p:cNvGrpSpPr/>
              <p:nvPr/>
            </p:nvGrpSpPr>
            <p:grpSpPr bwMode="gray">
              <a:xfrm>
                <a:off x="9004935" y="4087272"/>
                <a:ext cx="75723" cy="75723"/>
                <a:chOff x="9004935" y="4087272"/>
                <a:chExt cx="75723" cy="75723"/>
              </a:xfrm>
            </p:grpSpPr>
            <p:sp>
              <p:nvSpPr>
                <p:cNvPr id="11978" name="Freeform: Shape 11977">
                  <a:extLst>
                    <a:ext uri="{FF2B5EF4-FFF2-40B4-BE49-F238E27FC236}">
                      <a16:creationId xmlns:a16="http://schemas.microsoft.com/office/drawing/2014/main" id="{2098CEA3-42DA-3808-E602-4062A19D20D9}"/>
                    </a:ext>
                  </a:extLst>
                </p:cNvPr>
                <p:cNvSpPr/>
                <p:nvPr/>
              </p:nvSpPr>
              <p:spPr bwMode="gray">
                <a:xfrm>
                  <a:off x="90427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79" name="Freeform: Shape 11978">
                  <a:extLst>
                    <a:ext uri="{FF2B5EF4-FFF2-40B4-BE49-F238E27FC236}">
                      <a16:creationId xmlns:a16="http://schemas.microsoft.com/office/drawing/2014/main" id="{A6AFD54E-A108-EBE3-46ED-6802682D8F43}"/>
                    </a:ext>
                  </a:extLst>
                </p:cNvPr>
                <p:cNvSpPr/>
                <p:nvPr/>
              </p:nvSpPr>
              <p:spPr bwMode="gray">
                <a:xfrm>
                  <a:off x="9004935"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4" name="Graphic 75">
                <a:extLst>
                  <a:ext uri="{FF2B5EF4-FFF2-40B4-BE49-F238E27FC236}">
                    <a16:creationId xmlns:a16="http://schemas.microsoft.com/office/drawing/2014/main" id="{352FD8AB-2A0F-02DC-C7F5-8726BECF3592}"/>
                  </a:ext>
                </a:extLst>
              </p:cNvPr>
              <p:cNvGrpSpPr/>
              <p:nvPr/>
            </p:nvGrpSpPr>
            <p:grpSpPr bwMode="gray">
              <a:xfrm>
                <a:off x="8612314" y="4087272"/>
                <a:ext cx="75628" cy="75723"/>
                <a:chOff x="8612314" y="4087272"/>
                <a:chExt cx="75628" cy="75723"/>
              </a:xfrm>
            </p:grpSpPr>
            <p:sp>
              <p:nvSpPr>
                <p:cNvPr id="11976" name="Freeform: Shape 11975">
                  <a:extLst>
                    <a:ext uri="{FF2B5EF4-FFF2-40B4-BE49-F238E27FC236}">
                      <a16:creationId xmlns:a16="http://schemas.microsoft.com/office/drawing/2014/main" id="{8DA329C8-7B1B-9AC1-1816-5827C2E32E11}"/>
                    </a:ext>
                  </a:extLst>
                </p:cNvPr>
                <p:cNvSpPr/>
                <p:nvPr/>
              </p:nvSpPr>
              <p:spPr bwMode="gray">
                <a:xfrm>
                  <a:off x="8650128"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77" name="Freeform: Shape 11976">
                  <a:extLst>
                    <a:ext uri="{FF2B5EF4-FFF2-40B4-BE49-F238E27FC236}">
                      <a16:creationId xmlns:a16="http://schemas.microsoft.com/office/drawing/2014/main" id="{DEA9DDD0-FC7F-4035-152B-828FC9DC704F}"/>
                    </a:ext>
                  </a:extLst>
                </p:cNvPr>
                <p:cNvSpPr/>
                <p:nvPr/>
              </p:nvSpPr>
              <p:spPr bwMode="gray">
                <a:xfrm>
                  <a:off x="8612314" y="4125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5" name="Graphic 75">
                <a:extLst>
                  <a:ext uri="{FF2B5EF4-FFF2-40B4-BE49-F238E27FC236}">
                    <a16:creationId xmlns:a16="http://schemas.microsoft.com/office/drawing/2014/main" id="{3E94565C-E27D-D1B0-AE62-40504B752CE2}"/>
                  </a:ext>
                </a:extLst>
              </p:cNvPr>
              <p:cNvGrpSpPr/>
              <p:nvPr/>
            </p:nvGrpSpPr>
            <p:grpSpPr bwMode="gray">
              <a:xfrm>
                <a:off x="8399240" y="4087272"/>
                <a:ext cx="75723" cy="75723"/>
                <a:chOff x="8399240" y="4087272"/>
                <a:chExt cx="75723" cy="75723"/>
              </a:xfrm>
            </p:grpSpPr>
            <p:sp>
              <p:nvSpPr>
                <p:cNvPr id="11974" name="Freeform: Shape 11973">
                  <a:extLst>
                    <a:ext uri="{FF2B5EF4-FFF2-40B4-BE49-F238E27FC236}">
                      <a16:creationId xmlns:a16="http://schemas.microsoft.com/office/drawing/2014/main" id="{FFE3FB4F-D794-B7B5-5321-0CAA35E050FA}"/>
                    </a:ext>
                  </a:extLst>
                </p:cNvPr>
                <p:cNvSpPr/>
                <p:nvPr/>
              </p:nvSpPr>
              <p:spPr bwMode="gray">
                <a:xfrm>
                  <a:off x="84371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75" name="Freeform: Shape 11974">
                  <a:extLst>
                    <a:ext uri="{FF2B5EF4-FFF2-40B4-BE49-F238E27FC236}">
                      <a16:creationId xmlns:a16="http://schemas.microsoft.com/office/drawing/2014/main" id="{63F501E8-13D0-E460-4066-69FCB5262DAB}"/>
                    </a:ext>
                  </a:extLst>
                </p:cNvPr>
                <p:cNvSpPr/>
                <p:nvPr/>
              </p:nvSpPr>
              <p:spPr bwMode="gray">
                <a:xfrm>
                  <a:off x="839924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6" name="Graphic 75">
                <a:extLst>
                  <a:ext uri="{FF2B5EF4-FFF2-40B4-BE49-F238E27FC236}">
                    <a16:creationId xmlns:a16="http://schemas.microsoft.com/office/drawing/2014/main" id="{73666EA0-364B-6EA5-13FB-72D768A3420B}"/>
                  </a:ext>
                </a:extLst>
              </p:cNvPr>
              <p:cNvGrpSpPr/>
              <p:nvPr/>
            </p:nvGrpSpPr>
            <p:grpSpPr bwMode="gray">
              <a:xfrm>
                <a:off x="8291703" y="4087272"/>
                <a:ext cx="75628" cy="75723"/>
                <a:chOff x="8291703" y="4087272"/>
                <a:chExt cx="75628" cy="75723"/>
              </a:xfrm>
            </p:grpSpPr>
            <p:sp>
              <p:nvSpPr>
                <p:cNvPr id="11972" name="Freeform: Shape 11971">
                  <a:extLst>
                    <a:ext uri="{FF2B5EF4-FFF2-40B4-BE49-F238E27FC236}">
                      <a16:creationId xmlns:a16="http://schemas.microsoft.com/office/drawing/2014/main" id="{44F173BC-7DF7-EC7C-53F1-986DAFB79985}"/>
                    </a:ext>
                  </a:extLst>
                </p:cNvPr>
                <p:cNvSpPr/>
                <p:nvPr/>
              </p:nvSpPr>
              <p:spPr bwMode="gray">
                <a:xfrm>
                  <a:off x="832951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73" name="Freeform: Shape 11972">
                  <a:extLst>
                    <a:ext uri="{FF2B5EF4-FFF2-40B4-BE49-F238E27FC236}">
                      <a16:creationId xmlns:a16="http://schemas.microsoft.com/office/drawing/2014/main" id="{7B05DD9F-2F42-BEA4-EDD8-17F492F1034B}"/>
                    </a:ext>
                  </a:extLst>
                </p:cNvPr>
                <p:cNvSpPr/>
                <p:nvPr/>
              </p:nvSpPr>
              <p:spPr bwMode="gray">
                <a:xfrm>
                  <a:off x="8291703"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7" name="Graphic 75">
                <a:extLst>
                  <a:ext uri="{FF2B5EF4-FFF2-40B4-BE49-F238E27FC236}">
                    <a16:creationId xmlns:a16="http://schemas.microsoft.com/office/drawing/2014/main" id="{217A8C13-36CF-8842-82A4-0B5EF4C7E952}"/>
                  </a:ext>
                </a:extLst>
              </p:cNvPr>
              <p:cNvGrpSpPr/>
              <p:nvPr/>
            </p:nvGrpSpPr>
            <p:grpSpPr bwMode="gray">
              <a:xfrm>
                <a:off x="8191690" y="4087272"/>
                <a:ext cx="75628" cy="75723"/>
                <a:chOff x="8191690" y="4087272"/>
                <a:chExt cx="75628" cy="75723"/>
              </a:xfrm>
            </p:grpSpPr>
            <p:sp>
              <p:nvSpPr>
                <p:cNvPr id="11970" name="Freeform: Shape 11969">
                  <a:extLst>
                    <a:ext uri="{FF2B5EF4-FFF2-40B4-BE49-F238E27FC236}">
                      <a16:creationId xmlns:a16="http://schemas.microsoft.com/office/drawing/2014/main" id="{96413CB4-B942-C9AD-DD15-9C3580F66386}"/>
                    </a:ext>
                  </a:extLst>
                </p:cNvPr>
                <p:cNvSpPr/>
                <p:nvPr/>
              </p:nvSpPr>
              <p:spPr bwMode="gray">
                <a:xfrm>
                  <a:off x="8229504"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71" name="Freeform: Shape 11970">
                  <a:extLst>
                    <a:ext uri="{FF2B5EF4-FFF2-40B4-BE49-F238E27FC236}">
                      <a16:creationId xmlns:a16="http://schemas.microsoft.com/office/drawing/2014/main" id="{6AC6B5B2-4047-6D0F-6F6A-1FE3EC9DF57C}"/>
                    </a:ext>
                  </a:extLst>
                </p:cNvPr>
                <p:cNvSpPr/>
                <p:nvPr/>
              </p:nvSpPr>
              <p:spPr bwMode="gray">
                <a:xfrm>
                  <a:off x="8191690"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8" name="Graphic 75">
                <a:extLst>
                  <a:ext uri="{FF2B5EF4-FFF2-40B4-BE49-F238E27FC236}">
                    <a16:creationId xmlns:a16="http://schemas.microsoft.com/office/drawing/2014/main" id="{3F8A2738-3988-A7BA-5213-C183D925EB17}"/>
                  </a:ext>
                </a:extLst>
              </p:cNvPr>
              <p:cNvGrpSpPr/>
              <p:nvPr/>
            </p:nvGrpSpPr>
            <p:grpSpPr bwMode="gray">
              <a:xfrm>
                <a:off x="8163115" y="4087272"/>
                <a:ext cx="75628" cy="75723"/>
                <a:chOff x="8163115" y="4087272"/>
                <a:chExt cx="75628" cy="75723"/>
              </a:xfrm>
            </p:grpSpPr>
            <p:sp>
              <p:nvSpPr>
                <p:cNvPr id="11968" name="Freeform: Shape 11967">
                  <a:extLst>
                    <a:ext uri="{FF2B5EF4-FFF2-40B4-BE49-F238E27FC236}">
                      <a16:creationId xmlns:a16="http://schemas.microsoft.com/office/drawing/2014/main" id="{B05EAC97-9F9B-9A8B-E5ED-9D2D728707FE}"/>
                    </a:ext>
                  </a:extLst>
                </p:cNvPr>
                <p:cNvSpPr/>
                <p:nvPr/>
              </p:nvSpPr>
              <p:spPr bwMode="gray">
                <a:xfrm>
                  <a:off x="820092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69" name="Freeform: Shape 11968">
                  <a:extLst>
                    <a:ext uri="{FF2B5EF4-FFF2-40B4-BE49-F238E27FC236}">
                      <a16:creationId xmlns:a16="http://schemas.microsoft.com/office/drawing/2014/main" id="{A0A5101E-960F-2E40-E876-8F412CB24A93}"/>
                    </a:ext>
                  </a:extLst>
                </p:cNvPr>
                <p:cNvSpPr/>
                <p:nvPr/>
              </p:nvSpPr>
              <p:spPr bwMode="gray">
                <a:xfrm>
                  <a:off x="8163115"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599" name="Graphic 75">
                <a:extLst>
                  <a:ext uri="{FF2B5EF4-FFF2-40B4-BE49-F238E27FC236}">
                    <a16:creationId xmlns:a16="http://schemas.microsoft.com/office/drawing/2014/main" id="{788EC279-F1BF-C7DF-96A9-0048F2BEFE86}"/>
                  </a:ext>
                </a:extLst>
              </p:cNvPr>
              <p:cNvGrpSpPr/>
              <p:nvPr/>
            </p:nvGrpSpPr>
            <p:grpSpPr bwMode="gray">
              <a:xfrm>
                <a:off x="8158829" y="4087272"/>
                <a:ext cx="75723" cy="75723"/>
                <a:chOff x="8158829" y="4087272"/>
                <a:chExt cx="75723" cy="75723"/>
              </a:xfrm>
            </p:grpSpPr>
            <p:sp>
              <p:nvSpPr>
                <p:cNvPr id="11966" name="Freeform: Shape 11965">
                  <a:extLst>
                    <a:ext uri="{FF2B5EF4-FFF2-40B4-BE49-F238E27FC236}">
                      <a16:creationId xmlns:a16="http://schemas.microsoft.com/office/drawing/2014/main" id="{EFB1B2D0-F8D5-0738-49D4-A79D1CB9F396}"/>
                    </a:ext>
                  </a:extLst>
                </p:cNvPr>
                <p:cNvSpPr/>
                <p:nvPr/>
              </p:nvSpPr>
              <p:spPr bwMode="gray">
                <a:xfrm>
                  <a:off x="8196643"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67" name="Freeform: Shape 11966">
                  <a:extLst>
                    <a:ext uri="{FF2B5EF4-FFF2-40B4-BE49-F238E27FC236}">
                      <a16:creationId xmlns:a16="http://schemas.microsoft.com/office/drawing/2014/main" id="{0BD084B3-077D-EFD1-FDE3-D32371913BC7}"/>
                    </a:ext>
                  </a:extLst>
                </p:cNvPr>
                <p:cNvSpPr/>
                <p:nvPr/>
              </p:nvSpPr>
              <p:spPr bwMode="gray">
                <a:xfrm>
                  <a:off x="8158829"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0" name="Graphic 75">
                <a:extLst>
                  <a:ext uri="{FF2B5EF4-FFF2-40B4-BE49-F238E27FC236}">
                    <a16:creationId xmlns:a16="http://schemas.microsoft.com/office/drawing/2014/main" id="{C9D167D8-6A4F-73CF-5B3B-24EBFCE9A37E}"/>
                  </a:ext>
                </a:extLst>
              </p:cNvPr>
              <p:cNvGrpSpPr/>
              <p:nvPr/>
            </p:nvGrpSpPr>
            <p:grpSpPr bwMode="gray">
              <a:xfrm>
                <a:off x="8104060" y="4087272"/>
                <a:ext cx="75723" cy="75723"/>
                <a:chOff x="8104060" y="4087272"/>
                <a:chExt cx="75723" cy="75723"/>
              </a:xfrm>
            </p:grpSpPr>
            <p:sp>
              <p:nvSpPr>
                <p:cNvPr id="11964" name="Freeform: Shape 11963">
                  <a:extLst>
                    <a:ext uri="{FF2B5EF4-FFF2-40B4-BE49-F238E27FC236}">
                      <a16:creationId xmlns:a16="http://schemas.microsoft.com/office/drawing/2014/main" id="{C0D0260A-9112-D3A9-14B1-1F76142C47C5}"/>
                    </a:ext>
                  </a:extLst>
                </p:cNvPr>
                <p:cNvSpPr/>
                <p:nvPr/>
              </p:nvSpPr>
              <p:spPr bwMode="gray">
                <a:xfrm>
                  <a:off x="8141970"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65" name="Freeform: Shape 11964">
                  <a:extLst>
                    <a:ext uri="{FF2B5EF4-FFF2-40B4-BE49-F238E27FC236}">
                      <a16:creationId xmlns:a16="http://schemas.microsoft.com/office/drawing/2014/main" id="{A734ABE6-EA96-3F33-5AD4-92CAFA078D58}"/>
                    </a:ext>
                  </a:extLst>
                </p:cNvPr>
                <p:cNvSpPr/>
                <p:nvPr/>
              </p:nvSpPr>
              <p:spPr bwMode="gray">
                <a:xfrm>
                  <a:off x="810406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1" name="Graphic 75">
                <a:extLst>
                  <a:ext uri="{FF2B5EF4-FFF2-40B4-BE49-F238E27FC236}">
                    <a16:creationId xmlns:a16="http://schemas.microsoft.com/office/drawing/2014/main" id="{60DE3702-46D0-5736-6F29-181BBFB29C1A}"/>
                  </a:ext>
                </a:extLst>
              </p:cNvPr>
              <p:cNvGrpSpPr/>
              <p:nvPr/>
            </p:nvGrpSpPr>
            <p:grpSpPr bwMode="gray">
              <a:xfrm>
                <a:off x="7987379" y="3895153"/>
                <a:ext cx="75723" cy="75723"/>
                <a:chOff x="7987379" y="3895153"/>
                <a:chExt cx="75723" cy="75723"/>
              </a:xfrm>
            </p:grpSpPr>
            <p:sp>
              <p:nvSpPr>
                <p:cNvPr id="11962" name="Freeform: Shape 11961">
                  <a:extLst>
                    <a:ext uri="{FF2B5EF4-FFF2-40B4-BE49-F238E27FC236}">
                      <a16:creationId xmlns:a16="http://schemas.microsoft.com/office/drawing/2014/main" id="{97391ECF-8221-3C20-BC44-9256DA2B383A}"/>
                    </a:ext>
                  </a:extLst>
                </p:cNvPr>
                <p:cNvSpPr/>
                <p:nvPr/>
              </p:nvSpPr>
              <p:spPr bwMode="gray">
                <a:xfrm>
                  <a:off x="802519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63" name="Freeform: Shape 11962">
                  <a:extLst>
                    <a:ext uri="{FF2B5EF4-FFF2-40B4-BE49-F238E27FC236}">
                      <a16:creationId xmlns:a16="http://schemas.microsoft.com/office/drawing/2014/main" id="{E2D4E1FC-BCB7-2EF9-6CCD-60F7DCBF325C}"/>
                    </a:ext>
                  </a:extLst>
                </p:cNvPr>
                <p:cNvSpPr/>
                <p:nvPr/>
              </p:nvSpPr>
              <p:spPr bwMode="gray">
                <a:xfrm>
                  <a:off x="7987379"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2" name="Graphic 75">
                <a:extLst>
                  <a:ext uri="{FF2B5EF4-FFF2-40B4-BE49-F238E27FC236}">
                    <a16:creationId xmlns:a16="http://schemas.microsoft.com/office/drawing/2014/main" id="{5CEE14B4-5FA0-BDFA-427E-A49B672E3636}"/>
                  </a:ext>
                </a:extLst>
              </p:cNvPr>
              <p:cNvGrpSpPr/>
              <p:nvPr/>
            </p:nvGrpSpPr>
            <p:grpSpPr bwMode="gray">
              <a:xfrm>
                <a:off x="7916703" y="3895153"/>
                <a:ext cx="75723" cy="75723"/>
                <a:chOff x="7916703" y="3895153"/>
                <a:chExt cx="75723" cy="75723"/>
              </a:xfrm>
            </p:grpSpPr>
            <p:sp>
              <p:nvSpPr>
                <p:cNvPr id="11960" name="Freeform: Shape 11959">
                  <a:extLst>
                    <a:ext uri="{FF2B5EF4-FFF2-40B4-BE49-F238E27FC236}">
                      <a16:creationId xmlns:a16="http://schemas.microsoft.com/office/drawing/2014/main" id="{E78EDA32-1C23-7093-18EE-56FF51130D54}"/>
                    </a:ext>
                  </a:extLst>
                </p:cNvPr>
                <p:cNvSpPr/>
                <p:nvPr/>
              </p:nvSpPr>
              <p:spPr bwMode="gray">
                <a:xfrm>
                  <a:off x="795461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61" name="Freeform: Shape 11960">
                  <a:extLst>
                    <a:ext uri="{FF2B5EF4-FFF2-40B4-BE49-F238E27FC236}">
                      <a16:creationId xmlns:a16="http://schemas.microsoft.com/office/drawing/2014/main" id="{B439A11C-C212-783B-20B1-820921EFFDAA}"/>
                    </a:ext>
                  </a:extLst>
                </p:cNvPr>
                <p:cNvSpPr/>
                <p:nvPr/>
              </p:nvSpPr>
              <p:spPr bwMode="gray">
                <a:xfrm>
                  <a:off x="79167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3" name="Graphic 75">
                <a:extLst>
                  <a:ext uri="{FF2B5EF4-FFF2-40B4-BE49-F238E27FC236}">
                    <a16:creationId xmlns:a16="http://schemas.microsoft.com/office/drawing/2014/main" id="{58CB2CCB-47DA-074A-D902-34773CF87E85}"/>
                  </a:ext>
                </a:extLst>
              </p:cNvPr>
              <p:cNvGrpSpPr/>
              <p:nvPr/>
            </p:nvGrpSpPr>
            <p:grpSpPr bwMode="gray">
              <a:xfrm>
                <a:off x="7874222" y="3895153"/>
                <a:ext cx="75628" cy="75723"/>
                <a:chOff x="7874222" y="3895153"/>
                <a:chExt cx="75628" cy="75723"/>
              </a:xfrm>
            </p:grpSpPr>
            <p:sp>
              <p:nvSpPr>
                <p:cNvPr id="11958" name="Freeform: Shape 11957">
                  <a:extLst>
                    <a:ext uri="{FF2B5EF4-FFF2-40B4-BE49-F238E27FC236}">
                      <a16:creationId xmlns:a16="http://schemas.microsoft.com/office/drawing/2014/main" id="{1D5B3CF0-7632-624B-4BEB-F2BD3C16FF23}"/>
                    </a:ext>
                  </a:extLst>
                </p:cNvPr>
                <p:cNvSpPr/>
                <p:nvPr/>
              </p:nvSpPr>
              <p:spPr bwMode="gray">
                <a:xfrm>
                  <a:off x="7912036"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59" name="Freeform: Shape 11958">
                  <a:extLst>
                    <a:ext uri="{FF2B5EF4-FFF2-40B4-BE49-F238E27FC236}">
                      <a16:creationId xmlns:a16="http://schemas.microsoft.com/office/drawing/2014/main" id="{8EFF98AE-D200-D791-FA8F-6DF6AEB42F4B}"/>
                    </a:ext>
                  </a:extLst>
                </p:cNvPr>
                <p:cNvSpPr/>
                <p:nvPr/>
              </p:nvSpPr>
              <p:spPr bwMode="gray">
                <a:xfrm>
                  <a:off x="7874222" y="393296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4" name="Graphic 75">
                <a:extLst>
                  <a:ext uri="{FF2B5EF4-FFF2-40B4-BE49-F238E27FC236}">
                    <a16:creationId xmlns:a16="http://schemas.microsoft.com/office/drawing/2014/main" id="{9D9BB0C5-9DC0-9C38-2045-90AD6F81EA1B}"/>
                  </a:ext>
                </a:extLst>
              </p:cNvPr>
              <p:cNvGrpSpPr/>
              <p:nvPr/>
            </p:nvGrpSpPr>
            <p:grpSpPr bwMode="gray">
              <a:xfrm>
                <a:off x="7724203" y="3895153"/>
                <a:ext cx="75723" cy="75723"/>
                <a:chOff x="7724203" y="3895153"/>
                <a:chExt cx="75723" cy="75723"/>
              </a:xfrm>
            </p:grpSpPr>
            <p:sp>
              <p:nvSpPr>
                <p:cNvPr id="11956" name="Freeform: Shape 11955">
                  <a:extLst>
                    <a:ext uri="{FF2B5EF4-FFF2-40B4-BE49-F238E27FC236}">
                      <a16:creationId xmlns:a16="http://schemas.microsoft.com/office/drawing/2014/main" id="{672CC9E4-1C5B-F7C8-07F2-51D6D9CA45A6}"/>
                    </a:ext>
                  </a:extLst>
                </p:cNvPr>
                <p:cNvSpPr/>
                <p:nvPr/>
              </p:nvSpPr>
              <p:spPr bwMode="gray">
                <a:xfrm>
                  <a:off x="7762017"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57" name="Freeform: Shape 11956">
                  <a:extLst>
                    <a:ext uri="{FF2B5EF4-FFF2-40B4-BE49-F238E27FC236}">
                      <a16:creationId xmlns:a16="http://schemas.microsoft.com/office/drawing/2014/main" id="{D1BE34E1-6CEA-F1D3-90FB-5FB3B80A186A}"/>
                    </a:ext>
                  </a:extLst>
                </p:cNvPr>
                <p:cNvSpPr/>
                <p:nvPr/>
              </p:nvSpPr>
              <p:spPr bwMode="gray">
                <a:xfrm>
                  <a:off x="77242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5" name="Graphic 75">
                <a:extLst>
                  <a:ext uri="{FF2B5EF4-FFF2-40B4-BE49-F238E27FC236}">
                    <a16:creationId xmlns:a16="http://schemas.microsoft.com/office/drawing/2014/main" id="{9601A35E-4AAC-0B0F-CE9D-70554876082D}"/>
                  </a:ext>
                </a:extLst>
              </p:cNvPr>
              <p:cNvGrpSpPr/>
              <p:nvPr/>
            </p:nvGrpSpPr>
            <p:grpSpPr bwMode="gray">
              <a:xfrm>
                <a:off x="7631811" y="3766280"/>
                <a:ext cx="75723" cy="75628"/>
                <a:chOff x="7631811" y="3766280"/>
                <a:chExt cx="75723" cy="75628"/>
              </a:xfrm>
            </p:grpSpPr>
            <p:sp>
              <p:nvSpPr>
                <p:cNvPr id="11954" name="Freeform: Shape 11953">
                  <a:extLst>
                    <a:ext uri="{FF2B5EF4-FFF2-40B4-BE49-F238E27FC236}">
                      <a16:creationId xmlns:a16="http://schemas.microsoft.com/office/drawing/2014/main" id="{DD2EB2E2-14A5-EE9E-016F-B6F04F01F3C6}"/>
                    </a:ext>
                  </a:extLst>
                </p:cNvPr>
                <p:cNvSpPr/>
                <p:nvPr/>
              </p:nvSpPr>
              <p:spPr bwMode="gray">
                <a:xfrm>
                  <a:off x="766962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55" name="Freeform: Shape 11954">
                  <a:extLst>
                    <a:ext uri="{FF2B5EF4-FFF2-40B4-BE49-F238E27FC236}">
                      <a16:creationId xmlns:a16="http://schemas.microsoft.com/office/drawing/2014/main" id="{49CC46F3-19D6-7127-9434-9989E521E138}"/>
                    </a:ext>
                  </a:extLst>
                </p:cNvPr>
                <p:cNvSpPr/>
                <p:nvPr/>
              </p:nvSpPr>
              <p:spPr bwMode="gray">
                <a:xfrm>
                  <a:off x="763181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6" name="Graphic 75">
                <a:extLst>
                  <a:ext uri="{FF2B5EF4-FFF2-40B4-BE49-F238E27FC236}">
                    <a16:creationId xmlns:a16="http://schemas.microsoft.com/office/drawing/2014/main" id="{64573C80-EBDE-55D8-2FF3-EFDBDE1C78CE}"/>
                  </a:ext>
                </a:extLst>
              </p:cNvPr>
              <p:cNvGrpSpPr/>
              <p:nvPr/>
            </p:nvGrpSpPr>
            <p:grpSpPr bwMode="gray">
              <a:xfrm>
                <a:off x="7565040" y="3766280"/>
                <a:ext cx="75723" cy="75628"/>
                <a:chOff x="7565040" y="3766280"/>
                <a:chExt cx="75723" cy="75628"/>
              </a:xfrm>
            </p:grpSpPr>
            <p:sp>
              <p:nvSpPr>
                <p:cNvPr id="11952" name="Freeform: Shape 11951">
                  <a:extLst>
                    <a:ext uri="{FF2B5EF4-FFF2-40B4-BE49-F238E27FC236}">
                      <a16:creationId xmlns:a16="http://schemas.microsoft.com/office/drawing/2014/main" id="{E77F414D-ACDE-E3BE-6556-5E8EDD8817F7}"/>
                    </a:ext>
                  </a:extLst>
                </p:cNvPr>
                <p:cNvSpPr/>
                <p:nvPr/>
              </p:nvSpPr>
              <p:spPr bwMode="gray">
                <a:xfrm>
                  <a:off x="760285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53" name="Freeform: Shape 11952">
                  <a:extLst>
                    <a:ext uri="{FF2B5EF4-FFF2-40B4-BE49-F238E27FC236}">
                      <a16:creationId xmlns:a16="http://schemas.microsoft.com/office/drawing/2014/main" id="{8E89CF72-D646-9685-186A-A4E99DDEC635}"/>
                    </a:ext>
                  </a:extLst>
                </p:cNvPr>
                <p:cNvSpPr/>
                <p:nvPr/>
              </p:nvSpPr>
              <p:spPr bwMode="gray">
                <a:xfrm>
                  <a:off x="7565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7" name="Graphic 75">
                <a:extLst>
                  <a:ext uri="{FF2B5EF4-FFF2-40B4-BE49-F238E27FC236}">
                    <a16:creationId xmlns:a16="http://schemas.microsoft.com/office/drawing/2014/main" id="{F5100A47-F35D-D591-7B8D-8F4753805EBB}"/>
                  </a:ext>
                </a:extLst>
              </p:cNvPr>
              <p:cNvGrpSpPr/>
              <p:nvPr/>
            </p:nvGrpSpPr>
            <p:grpSpPr bwMode="gray">
              <a:xfrm>
                <a:off x="7537989" y="3766280"/>
                <a:ext cx="75723" cy="75628"/>
                <a:chOff x="7537989" y="3766280"/>
                <a:chExt cx="75723" cy="75628"/>
              </a:xfrm>
            </p:grpSpPr>
            <p:sp>
              <p:nvSpPr>
                <p:cNvPr id="11950" name="Freeform: Shape 11949">
                  <a:extLst>
                    <a:ext uri="{FF2B5EF4-FFF2-40B4-BE49-F238E27FC236}">
                      <a16:creationId xmlns:a16="http://schemas.microsoft.com/office/drawing/2014/main" id="{6CE1D728-7889-1DFC-8D9F-4A1F11F07B6D}"/>
                    </a:ext>
                  </a:extLst>
                </p:cNvPr>
                <p:cNvSpPr/>
                <p:nvPr/>
              </p:nvSpPr>
              <p:spPr bwMode="gray">
                <a:xfrm>
                  <a:off x="757580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51" name="Freeform: Shape 11950">
                  <a:extLst>
                    <a:ext uri="{FF2B5EF4-FFF2-40B4-BE49-F238E27FC236}">
                      <a16:creationId xmlns:a16="http://schemas.microsoft.com/office/drawing/2014/main" id="{34398157-951D-E86C-A3FC-21A366F70549}"/>
                    </a:ext>
                  </a:extLst>
                </p:cNvPr>
                <p:cNvSpPr/>
                <p:nvPr/>
              </p:nvSpPr>
              <p:spPr bwMode="gray">
                <a:xfrm>
                  <a:off x="7537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8" name="Graphic 75">
                <a:extLst>
                  <a:ext uri="{FF2B5EF4-FFF2-40B4-BE49-F238E27FC236}">
                    <a16:creationId xmlns:a16="http://schemas.microsoft.com/office/drawing/2014/main" id="{22966AC6-6A5F-265B-D773-E1F11185670C}"/>
                  </a:ext>
                </a:extLst>
              </p:cNvPr>
              <p:cNvGrpSpPr/>
              <p:nvPr/>
            </p:nvGrpSpPr>
            <p:grpSpPr bwMode="gray">
              <a:xfrm>
                <a:off x="7478077" y="3766280"/>
                <a:ext cx="75723" cy="75628"/>
                <a:chOff x="7478077" y="3766280"/>
                <a:chExt cx="75723" cy="75628"/>
              </a:xfrm>
            </p:grpSpPr>
            <p:sp>
              <p:nvSpPr>
                <p:cNvPr id="11948" name="Freeform: Shape 11947">
                  <a:extLst>
                    <a:ext uri="{FF2B5EF4-FFF2-40B4-BE49-F238E27FC236}">
                      <a16:creationId xmlns:a16="http://schemas.microsoft.com/office/drawing/2014/main" id="{ED7914F9-5ECE-8739-3826-73816EA2FC46}"/>
                    </a:ext>
                  </a:extLst>
                </p:cNvPr>
                <p:cNvSpPr/>
                <p:nvPr/>
              </p:nvSpPr>
              <p:spPr bwMode="gray">
                <a:xfrm>
                  <a:off x="751589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49" name="Freeform: Shape 11948">
                  <a:extLst>
                    <a:ext uri="{FF2B5EF4-FFF2-40B4-BE49-F238E27FC236}">
                      <a16:creationId xmlns:a16="http://schemas.microsoft.com/office/drawing/2014/main" id="{4E3AF6D2-1EDC-0921-0C92-58B28F111A75}"/>
                    </a:ext>
                  </a:extLst>
                </p:cNvPr>
                <p:cNvSpPr/>
                <p:nvPr/>
              </p:nvSpPr>
              <p:spPr bwMode="gray">
                <a:xfrm>
                  <a:off x="747807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09" name="Graphic 75">
                <a:extLst>
                  <a:ext uri="{FF2B5EF4-FFF2-40B4-BE49-F238E27FC236}">
                    <a16:creationId xmlns:a16="http://schemas.microsoft.com/office/drawing/2014/main" id="{9C7FC148-D14F-0187-738B-2E3FC927C60B}"/>
                  </a:ext>
                </a:extLst>
              </p:cNvPr>
              <p:cNvGrpSpPr/>
              <p:nvPr/>
            </p:nvGrpSpPr>
            <p:grpSpPr bwMode="gray">
              <a:xfrm>
                <a:off x="7150989" y="3766280"/>
                <a:ext cx="75723" cy="75628"/>
                <a:chOff x="7150989" y="3766280"/>
                <a:chExt cx="75723" cy="75628"/>
              </a:xfrm>
            </p:grpSpPr>
            <p:sp>
              <p:nvSpPr>
                <p:cNvPr id="11946" name="Freeform: Shape 11945">
                  <a:extLst>
                    <a:ext uri="{FF2B5EF4-FFF2-40B4-BE49-F238E27FC236}">
                      <a16:creationId xmlns:a16="http://schemas.microsoft.com/office/drawing/2014/main" id="{F4637809-AE58-96CE-1452-E35679789D00}"/>
                    </a:ext>
                  </a:extLst>
                </p:cNvPr>
                <p:cNvSpPr/>
                <p:nvPr/>
              </p:nvSpPr>
              <p:spPr bwMode="gray">
                <a:xfrm>
                  <a:off x="718880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47" name="Freeform: Shape 11946">
                  <a:extLst>
                    <a:ext uri="{FF2B5EF4-FFF2-40B4-BE49-F238E27FC236}">
                      <a16:creationId xmlns:a16="http://schemas.microsoft.com/office/drawing/2014/main" id="{AB9D0415-9E60-7641-72FB-5179E9ECF8A0}"/>
                    </a:ext>
                  </a:extLst>
                </p:cNvPr>
                <p:cNvSpPr/>
                <p:nvPr/>
              </p:nvSpPr>
              <p:spPr bwMode="gray">
                <a:xfrm>
                  <a:off x="7150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0" name="Graphic 75">
                <a:extLst>
                  <a:ext uri="{FF2B5EF4-FFF2-40B4-BE49-F238E27FC236}">
                    <a16:creationId xmlns:a16="http://schemas.microsoft.com/office/drawing/2014/main" id="{6D3F6920-7085-B546-34DB-9CFC776E8560}"/>
                  </a:ext>
                </a:extLst>
              </p:cNvPr>
              <p:cNvGrpSpPr/>
              <p:nvPr/>
            </p:nvGrpSpPr>
            <p:grpSpPr bwMode="gray">
              <a:xfrm>
                <a:off x="6904958" y="3703605"/>
                <a:ext cx="75723" cy="75628"/>
                <a:chOff x="6904958" y="3703605"/>
                <a:chExt cx="75723" cy="75628"/>
              </a:xfrm>
            </p:grpSpPr>
            <p:sp>
              <p:nvSpPr>
                <p:cNvPr id="11944" name="Freeform: Shape 11943">
                  <a:extLst>
                    <a:ext uri="{FF2B5EF4-FFF2-40B4-BE49-F238E27FC236}">
                      <a16:creationId xmlns:a16="http://schemas.microsoft.com/office/drawing/2014/main" id="{E9AF63D9-706E-FACD-8499-38A57A491086}"/>
                    </a:ext>
                  </a:extLst>
                </p:cNvPr>
                <p:cNvSpPr/>
                <p:nvPr/>
              </p:nvSpPr>
              <p:spPr bwMode="gray">
                <a:xfrm>
                  <a:off x="6942772"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45" name="Freeform: Shape 11944">
                  <a:extLst>
                    <a:ext uri="{FF2B5EF4-FFF2-40B4-BE49-F238E27FC236}">
                      <a16:creationId xmlns:a16="http://schemas.microsoft.com/office/drawing/2014/main" id="{F30919BF-4821-6512-3561-179E11A10613}"/>
                    </a:ext>
                  </a:extLst>
                </p:cNvPr>
                <p:cNvSpPr/>
                <p:nvPr/>
              </p:nvSpPr>
              <p:spPr bwMode="gray">
                <a:xfrm>
                  <a:off x="6904958"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1" name="Graphic 75">
                <a:extLst>
                  <a:ext uri="{FF2B5EF4-FFF2-40B4-BE49-F238E27FC236}">
                    <a16:creationId xmlns:a16="http://schemas.microsoft.com/office/drawing/2014/main" id="{E3783910-86B2-E9E4-4ACF-FFD05467AABA}"/>
                  </a:ext>
                </a:extLst>
              </p:cNvPr>
              <p:cNvGrpSpPr/>
              <p:nvPr/>
            </p:nvGrpSpPr>
            <p:grpSpPr bwMode="gray">
              <a:xfrm>
                <a:off x="6792658" y="3647979"/>
                <a:ext cx="75723" cy="75723"/>
                <a:chOff x="6792658" y="3647979"/>
                <a:chExt cx="75723" cy="75723"/>
              </a:xfrm>
            </p:grpSpPr>
            <p:sp>
              <p:nvSpPr>
                <p:cNvPr id="11942" name="Freeform: Shape 11941">
                  <a:extLst>
                    <a:ext uri="{FF2B5EF4-FFF2-40B4-BE49-F238E27FC236}">
                      <a16:creationId xmlns:a16="http://schemas.microsoft.com/office/drawing/2014/main" id="{7101432E-126A-1F54-A02D-1B515E02E1BF}"/>
                    </a:ext>
                  </a:extLst>
                </p:cNvPr>
                <p:cNvSpPr/>
                <p:nvPr/>
              </p:nvSpPr>
              <p:spPr bwMode="gray">
                <a:xfrm>
                  <a:off x="6830568"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43" name="Freeform: Shape 11942">
                  <a:extLst>
                    <a:ext uri="{FF2B5EF4-FFF2-40B4-BE49-F238E27FC236}">
                      <a16:creationId xmlns:a16="http://schemas.microsoft.com/office/drawing/2014/main" id="{B0823B72-2EF2-1840-645B-A2520BC1FE71}"/>
                    </a:ext>
                  </a:extLst>
                </p:cNvPr>
                <p:cNvSpPr/>
                <p:nvPr/>
              </p:nvSpPr>
              <p:spPr bwMode="gray">
                <a:xfrm>
                  <a:off x="6792658"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2" name="Graphic 75">
                <a:extLst>
                  <a:ext uri="{FF2B5EF4-FFF2-40B4-BE49-F238E27FC236}">
                    <a16:creationId xmlns:a16="http://schemas.microsoft.com/office/drawing/2014/main" id="{015BC751-E386-5EF2-57D6-ED721B89E508}"/>
                  </a:ext>
                </a:extLst>
              </p:cNvPr>
              <p:cNvGrpSpPr/>
              <p:nvPr/>
            </p:nvGrpSpPr>
            <p:grpSpPr bwMode="gray">
              <a:xfrm>
                <a:off x="6671976" y="3598164"/>
                <a:ext cx="75628" cy="75723"/>
                <a:chOff x="6671976" y="3598164"/>
                <a:chExt cx="75628" cy="75723"/>
              </a:xfrm>
            </p:grpSpPr>
            <p:sp>
              <p:nvSpPr>
                <p:cNvPr id="11940" name="Freeform: Shape 11939">
                  <a:extLst>
                    <a:ext uri="{FF2B5EF4-FFF2-40B4-BE49-F238E27FC236}">
                      <a16:creationId xmlns:a16="http://schemas.microsoft.com/office/drawing/2014/main" id="{E98BD9E1-7344-5FCE-604E-BE30BEA4D45E}"/>
                    </a:ext>
                  </a:extLst>
                </p:cNvPr>
                <p:cNvSpPr/>
                <p:nvPr/>
              </p:nvSpPr>
              <p:spPr bwMode="gray">
                <a:xfrm>
                  <a:off x="670979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41" name="Freeform: Shape 11940">
                  <a:extLst>
                    <a:ext uri="{FF2B5EF4-FFF2-40B4-BE49-F238E27FC236}">
                      <a16:creationId xmlns:a16="http://schemas.microsoft.com/office/drawing/2014/main" id="{D5339E51-79CB-ACBB-1E9D-D3A90DA941C1}"/>
                    </a:ext>
                  </a:extLst>
                </p:cNvPr>
                <p:cNvSpPr/>
                <p:nvPr/>
              </p:nvSpPr>
              <p:spPr bwMode="gray">
                <a:xfrm>
                  <a:off x="667197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3" name="Graphic 75">
                <a:extLst>
                  <a:ext uri="{FF2B5EF4-FFF2-40B4-BE49-F238E27FC236}">
                    <a16:creationId xmlns:a16="http://schemas.microsoft.com/office/drawing/2014/main" id="{DFD8E00E-A8C7-9487-BD04-359A6C685C49}"/>
                  </a:ext>
                </a:extLst>
              </p:cNvPr>
              <p:cNvGrpSpPr/>
              <p:nvPr/>
            </p:nvGrpSpPr>
            <p:grpSpPr bwMode="gray">
              <a:xfrm>
                <a:off x="6604254" y="3598164"/>
                <a:ext cx="75723" cy="75723"/>
                <a:chOff x="6604254" y="3598164"/>
                <a:chExt cx="75723" cy="75723"/>
              </a:xfrm>
            </p:grpSpPr>
            <p:sp>
              <p:nvSpPr>
                <p:cNvPr id="11938" name="Freeform: Shape 11937">
                  <a:extLst>
                    <a:ext uri="{FF2B5EF4-FFF2-40B4-BE49-F238E27FC236}">
                      <a16:creationId xmlns:a16="http://schemas.microsoft.com/office/drawing/2014/main" id="{959E4824-114D-2DEC-7FE4-4F38B056B0D7}"/>
                    </a:ext>
                  </a:extLst>
                </p:cNvPr>
                <p:cNvSpPr/>
                <p:nvPr/>
              </p:nvSpPr>
              <p:spPr bwMode="gray">
                <a:xfrm>
                  <a:off x="6642068"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39" name="Freeform: Shape 11938">
                  <a:extLst>
                    <a:ext uri="{FF2B5EF4-FFF2-40B4-BE49-F238E27FC236}">
                      <a16:creationId xmlns:a16="http://schemas.microsoft.com/office/drawing/2014/main" id="{1D5335C4-1096-95B3-54B9-164516ADCB9D}"/>
                    </a:ext>
                  </a:extLst>
                </p:cNvPr>
                <p:cNvSpPr/>
                <p:nvPr/>
              </p:nvSpPr>
              <p:spPr bwMode="gray">
                <a:xfrm>
                  <a:off x="6604254"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4" name="Graphic 75">
                <a:extLst>
                  <a:ext uri="{FF2B5EF4-FFF2-40B4-BE49-F238E27FC236}">
                    <a16:creationId xmlns:a16="http://schemas.microsoft.com/office/drawing/2014/main" id="{6EB8ECB7-1F1B-F1BC-30F6-7DE577721494}"/>
                  </a:ext>
                </a:extLst>
              </p:cNvPr>
              <p:cNvGrpSpPr/>
              <p:nvPr/>
            </p:nvGrpSpPr>
            <p:grpSpPr bwMode="gray">
              <a:xfrm>
                <a:off x="6519100" y="3598164"/>
                <a:ext cx="75723" cy="75723"/>
                <a:chOff x="6519100" y="3598164"/>
                <a:chExt cx="75723" cy="75723"/>
              </a:xfrm>
            </p:grpSpPr>
            <p:sp>
              <p:nvSpPr>
                <p:cNvPr id="11936" name="Freeform: Shape 11935">
                  <a:extLst>
                    <a:ext uri="{FF2B5EF4-FFF2-40B4-BE49-F238E27FC236}">
                      <a16:creationId xmlns:a16="http://schemas.microsoft.com/office/drawing/2014/main" id="{A838965F-3F31-06F1-43EE-C0ED979DD650}"/>
                    </a:ext>
                  </a:extLst>
                </p:cNvPr>
                <p:cNvSpPr/>
                <p:nvPr/>
              </p:nvSpPr>
              <p:spPr bwMode="gray">
                <a:xfrm>
                  <a:off x="6557010"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37" name="Freeform: Shape 11936">
                  <a:extLst>
                    <a:ext uri="{FF2B5EF4-FFF2-40B4-BE49-F238E27FC236}">
                      <a16:creationId xmlns:a16="http://schemas.microsoft.com/office/drawing/2014/main" id="{B24731FC-0E25-CBE4-2535-4B7EE6D9A10D}"/>
                    </a:ext>
                  </a:extLst>
                </p:cNvPr>
                <p:cNvSpPr/>
                <p:nvPr/>
              </p:nvSpPr>
              <p:spPr bwMode="gray">
                <a:xfrm>
                  <a:off x="6519100"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5" name="Graphic 75">
                <a:extLst>
                  <a:ext uri="{FF2B5EF4-FFF2-40B4-BE49-F238E27FC236}">
                    <a16:creationId xmlns:a16="http://schemas.microsoft.com/office/drawing/2014/main" id="{20C650FE-3911-0B83-F58C-318AD2F8F046}"/>
                  </a:ext>
                </a:extLst>
              </p:cNvPr>
              <p:cNvGrpSpPr/>
              <p:nvPr/>
            </p:nvGrpSpPr>
            <p:grpSpPr bwMode="gray">
              <a:xfrm>
                <a:off x="6462426" y="3598164"/>
                <a:ext cx="75628" cy="75723"/>
                <a:chOff x="6462426" y="3598164"/>
                <a:chExt cx="75628" cy="75723"/>
              </a:xfrm>
            </p:grpSpPr>
            <p:sp>
              <p:nvSpPr>
                <p:cNvPr id="11934" name="Freeform: Shape 11933">
                  <a:extLst>
                    <a:ext uri="{FF2B5EF4-FFF2-40B4-BE49-F238E27FC236}">
                      <a16:creationId xmlns:a16="http://schemas.microsoft.com/office/drawing/2014/main" id="{04F03953-4E19-FD83-93D7-B25C0D7512C1}"/>
                    </a:ext>
                  </a:extLst>
                </p:cNvPr>
                <p:cNvSpPr/>
                <p:nvPr/>
              </p:nvSpPr>
              <p:spPr bwMode="gray">
                <a:xfrm>
                  <a:off x="650024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35" name="Freeform: Shape 11934">
                  <a:extLst>
                    <a:ext uri="{FF2B5EF4-FFF2-40B4-BE49-F238E27FC236}">
                      <a16:creationId xmlns:a16="http://schemas.microsoft.com/office/drawing/2014/main" id="{07B05019-5DB3-6F09-1407-74ECED269570}"/>
                    </a:ext>
                  </a:extLst>
                </p:cNvPr>
                <p:cNvSpPr/>
                <p:nvPr/>
              </p:nvSpPr>
              <p:spPr bwMode="gray">
                <a:xfrm>
                  <a:off x="646242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6" name="Graphic 75">
                <a:extLst>
                  <a:ext uri="{FF2B5EF4-FFF2-40B4-BE49-F238E27FC236}">
                    <a16:creationId xmlns:a16="http://schemas.microsoft.com/office/drawing/2014/main" id="{7ECCBFD6-3CD4-C3D3-DBD9-0C89481E413B}"/>
                  </a:ext>
                </a:extLst>
              </p:cNvPr>
              <p:cNvGrpSpPr/>
              <p:nvPr/>
            </p:nvGrpSpPr>
            <p:grpSpPr bwMode="gray">
              <a:xfrm>
                <a:off x="6420993" y="3598164"/>
                <a:ext cx="75723" cy="75723"/>
                <a:chOff x="6420993" y="3598164"/>
                <a:chExt cx="75723" cy="75723"/>
              </a:xfrm>
            </p:grpSpPr>
            <p:sp>
              <p:nvSpPr>
                <p:cNvPr id="11932" name="Freeform: Shape 11931">
                  <a:extLst>
                    <a:ext uri="{FF2B5EF4-FFF2-40B4-BE49-F238E27FC236}">
                      <a16:creationId xmlns:a16="http://schemas.microsoft.com/office/drawing/2014/main" id="{A8EC65CC-0DB1-D4C3-B565-3695EDDA7FDF}"/>
                    </a:ext>
                  </a:extLst>
                </p:cNvPr>
                <p:cNvSpPr/>
                <p:nvPr/>
              </p:nvSpPr>
              <p:spPr bwMode="gray">
                <a:xfrm>
                  <a:off x="6458902"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33" name="Freeform: Shape 11932">
                  <a:extLst>
                    <a:ext uri="{FF2B5EF4-FFF2-40B4-BE49-F238E27FC236}">
                      <a16:creationId xmlns:a16="http://schemas.microsoft.com/office/drawing/2014/main" id="{CE032F8B-7C7B-EB9B-3C35-ADA5D9E69096}"/>
                    </a:ext>
                  </a:extLst>
                </p:cNvPr>
                <p:cNvSpPr/>
                <p:nvPr/>
              </p:nvSpPr>
              <p:spPr bwMode="gray">
                <a:xfrm>
                  <a:off x="6420993"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7" name="Graphic 75">
                <a:extLst>
                  <a:ext uri="{FF2B5EF4-FFF2-40B4-BE49-F238E27FC236}">
                    <a16:creationId xmlns:a16="http://schemas.microsoft.com/office/drawing/2014/main" id="{7431E4E5-E57C-C090-C66E-51FDAF9AC4BC}"/>
                  </a:ext>
                </a:extLst>
              </p:cNvPr>
              <p:cNvGrpSpPr/>
              <p:nvPr/>
            </p:nvGrpSpPr>
            <p:grpSpPr bwMode="gray">
              <a:xfrm>
                <a:off x="6399561" y="3598164"/>
                <a:ext cx="75723" cy="75723"/>
                <a:chOff x="6399561" y="3598164"/>
                <a:chExt cx="75723" cy="75723"/>
              </a:xfrm>
            </p:grpSpPr>
            <p:sp>
              <p:nvSpPr>
                <p:cNvPr id="11930" name="Freeform: Shape 11929">
                  <a:extLst>
                    <a:ext uri="{FF2B5EF4-FFF2-40B4-BE49-F238E27FC236}">
                      <a16:creationId xmlns:a16="http://schemas.microsoft.com/office/drawing/2014/main" id="{4EEB85E3-CD4C-4A61-0BF4-C02F27E23EFD}"/>
                    </a:ext>
                  </a:extLst>
                </p:cNvPr>
                <p:cNvSpPr/>
                <p:nvPr/>
              </p:nvSpPr>
              <p:spPr bwMode="gray">
                <a:xfrm>
                  <a:off x="6437376"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31" name="Freeform: Shape 11930">
                  <a:extLst>
                    <a:ext uri="{FF2B5EF4-FFF2-40B4-BE49-F238E27FC236}">
                      <a16:creationId xmlns:a16="http://schemas.microsoft.com/office/drawing/2014/main" id="{2C3C4AF6-4754-A91A-B02C-2BB88E8E2148}"/>
                    </a:ext>
                  </a:extLst>
                </p:cNvPr>
                <p:cNvSpPr/>
                <p:nvPr/>
              </p:nvSpPr>
              <p:spPr bwMode="gray">
                <a:xfrm>
                  <a:off x="6399561"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8" name="Graphic 75">
                <a:extLst>
                  <a:ext uri="{FF2B5EF4-FFF2-40B4-BE49-F238E27FC236}">
                    <a16:creationId xmlns:a16="http://schemas.microsoft.com/office/drawing/2014/main" id="{FE2C0EAC-B461-407D-08F1-F002F2F9CAA4}"/>
                  </a:ext>
                </a:extLst>
              </p:cNvPr>
              <p:cNvGrpSpPr/>
              <p:nvPr/>
            </p:nvGrpSpPr>
            <p:grpSpPr bwMode="gray">
              <a:xfrm>
                <a:off x="6375273" y="3598164"/>
                <a:ext cx="75628" cy="75723"/>
                <a:chOff x="6375273" y="3598164"/>
                <a:chExt cx="75628" cy="75723"/>
              </a:xfrm>
            </p:grpSpPr>
            <p:sp>
              <p:nvSpPr>
                <p:cNvPr id="11928" name="Freeform: Shape 11927">
                  <a:extLst>
                    <a:ext uri="{FF2B5EF4-FFF2-40B4-BE49-F238E27FC236}">
                      <a16:creationId xmlns:a16="http://schemas.microsoft.com/office/drawing/2014/main" id="{8BD1AD34-6532-57EB-2450-C4EFDC273336}"/>
                    </a:ext>
                  </a:extLst>
                </p:cNvPr>
                <p:cNvSpPr/>
                <p:nvPr/>
              </p:nvSpPr>
              <p:spPr bwMode="gray">
                <a:xfrm>
                  <a:off x="6413087"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29" name="Freeform: Shape 11928">
                  <a:extLst>
                    <a:ext uri="{FF2B5EF4-FFF2-40B4-BE49-F238E27FC236}">
                      <a16:creationId xmlns:a16="http://schemas.microsoft.com/office/drawing/2014/main" id="{6EBC160C-99E2-AF5F-0499-26F19FD1D68E}"/>
                    </a:ext>
                  </a:extLst>
                </p:cNvPr>
                <p:cNvSpPr/>
                <p:nvPr/>
              </p:nvSpPr>
              <p:spPr bwMode="gray">
                <a:xfrm>
                  <a:off x="6375273"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19" name="Graphic 75">
                <a:extLst>
                  <a:ext uri="{FF2B5EF4-FFF2-40B4-BE49-F238E27FC236}">
                    <a16:creationId xmlns:a16="http://schemas.microsoft.com/office/drawing/2014/main" id="{89E33554-B916-00B1-2073-460528310565}"/>
                  </a:ext>
                </a:extLst>
              </p:cNvPr>
              <p:cNvGrpSpPr/>
              <p:nvPr/>
            </p:nvGrpSpPr>
            <p:grpSpPr bwMode="gray">
              <a:xfrm>
                <a:off x="6152292" y="3556825"/>
                <a:ext cx="75723" cy="75723"/>
                <a:chOff x="6152292" y="3556825"/>
                <a:chExt cx="75723" cy="75723"/>
              </a:xfrm>
            </p:grpSpPr>
            <p:sp>
              <p:nvSpPr>
                <p:cNvPr id="11926" name="Freeform: Shape 11925">
                  <a:extLst>
                    <a:ext uri="{FF2B5EF4-FFF2-40B4-BE49-F238E27FC236}">
                      <a16:creationId xmlns:a16="http://schemas.microsoft.com/office/drawing/2014/main" id="{4385484B-F57E-170B-5BD0-8385A86C4FE2}"/>
                    </a:ext>
                  </a:extLst>
                </p:cNvPr>
                <p:cNvSpPr/>
                <p:nvPr/>
              </p:nvSpPr>
              <p:spPr bwMode="gray">
                <a:xfrm>
                  <a:off x="6190202"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27" name="Freeform: Shape 11926">
                  <a:extLst>
                    <a:ext uri="{FF2B5EF4-FFF2-40B4-BE49-F238E27FC236}">
                      <a16:creationId xmlns:a16="http://schemas.microsoft.com/office/drawing/2014/main" id="{9B78759C-437E-123A-017E-DE189F7F00FC}"/>
                    </a:ext>
                  </a:extLst>
                </p:cNvPr>
                <p:cNvSpPr/>
                <p:nvPr/>
              </p:nvSpPr>
              <p:spPr bwMode="gray">
                <a:xfrm>
                  <a:off x="6152292"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0" name="Graphic 75">
                <a:extLst>
                  <a:ext uri="{FF2B5EF4-FFF2-40B4-BE49-F238E27FC236}">
                    <a16:creationId xmlns:a16="http://schemas.microsoft.com/office/drawing/2014/main" id="{13B6C6E0-0D39-07C3-D1DC-6209B320E158}"/>
                  </a:ext>
                </a:extLst>
              </p:cNvPr>
              <p:cNvGrpSpPr/>
              <p:nvPr/>
            </p:nvGrpSpPr>
            <p:grpSpPr bwMode="gray">
              <a:xfrm>
                <a:off x="6123908" y="3525202"/>
                <a:ext cx="75723" cy="75723"/>
                <a:chOff x="6123908" y="3525202"/>
                <a:chExt cx="75723" cy="75723"/>
              </a:xfrm>
            </p:grpSpPr>
            <p:sp>
              <p:nvSpPr>
                <p:cNvPr id="11924" name="Freeform: Shape 11923">
                  <a:extLst>
                    <a:ext uri="{FF2B5EF4-FFF2-40B4-BE49-F238E27FC236}">
                      <a16:creationId xmlns:a16="http://schemas.microsoft.com/office/drawing/2014/main" id="{0CB584DA-93CC-69A6-F707-E7991D3BAA6E}"/>
                    </a:ext>
                  </a:extLst>
                </p:cNvPr>
                <p:cNvSpPr/>
                <p:nvPr/>
              </p:nvSpPr>
              <p:spPr bwMode="gray">
                <a:xfrm>
                  <a:off x="6161817"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25" name="Freeform: Shape 11924">
                  <a:extLst>
                    <a:ext uri="{FF2B5EF4-FFF2-40B4-BE49-F238E27FC236}">
                      <a16:creationId xmlns:a16="http://schemas.microsoft.com/office/drawing/2014/main" id="{4CAC9B51-23C9-1C4C-B4D3-4820C2B4417E}"/>
                    </a:ext>
                  </a:extLst>
                </p:cNvPr>
                <p:cNvSpPr/>
                <p:nvPr/>
              </p:nvSpPr>
              <p:spPr bwMode="gray">
                <a:xfrm>
                  <a:off x="6123908"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1" name="Graphic 75">
                <a:extLst>
                  <a:ext uri="{FF2B5EF4-FFF2-40B4-BE49-F238E27FC236}">
                    <a16:creationId xmlns:a16="http://schemas.microsoft.com/office/drawing/2014/main" id="{2F7A05F6-ACC5-6FEC-583E-B6B336DE0ADA}"/>
                  </a:ext>
                </a:extLst>
              </p:cNvPr>
              <p:cNvGrpSpPr/>
              <p:nvPr/>
            </p:nvGrpSpPr>
            <p:grpSpPr bwMode="gray">
              <a:xfrm>
                <a:off x="6134481" y="3525202"/>
                <a:ext cx="75723" cy="75723"/>
                <a:chOff x="6134481" y="3525202"/>
                <a:chExt cx="75723" cy="75723"/>
              </a:xfrm>
            </p:grpSpPr>
            <p:sp>
              <p:nvSpPr>
                <p:cNvPr id="11922" name="Freeform: Shape 11921">
                  <a:extLst>
                    <a:ext uri="{FF2B5EF4-FFF2-40B4-BE49-F238E27FC236}">
                      <a16:creationId xmlns:a16="http://schemas.microsoft.com/office/drawing/2014/main" id="{560BB071-2166-77DD-9805-4FA9891C76A6}"/>
                    </a:ext>
                  </a:extLst>
                </p:cNvPr>
                <p:cNvSpPr/>
                <p:nvPr/>
              </p:nvSpPr>
              <p:spPr bwMode="gray">
                <a:xfrm>
                  <a:off x="6172295"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23" name="Freeform: Shape 11922">
                  <a:extLst>
                    <a:ext uri="{FF2B5EF4-FFF2-40B4-BE49-F238E27FC236}">
                      <a16:creationId xmlns:a16="http://schemas.microsoft.com/office/drawing/2014/main" id="{AF0C7354-C78C-165E-867E-DD12335C442F}"/>
                    </a:ext>
                  </a:extLst>
                </p:cNvPr>
                <p:cNvSpPr/>
                <p:nvPr/>
              </p:nvSpPr>
              <p:spPr bwMode="gray">
                <a:xfrm>
                  <a:off x="6134481"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2" name="Graphic 75">
                <a:extLst>
                  <a:ext uri="{FF2B5EF4-FFF2-40B4-BE49-F238E27FC236}">
                    <a16:creationId xmlns:a16="http://schemas.microsoft.com/office/drawing/2014/main" id="{6FA37156-2AFA-FDB9-FB78-1B13BEFA6E9C}"/>
                  </a:ext>
                </a:extLst>
              </p:cNvPr>
              <p:cNvGrpSpPr/>
              <p:nvPr/>
            </p:nvGrpSpPr>
            <p:grpSpPr bwMode="gray">
              <a:xfrm>
                <a:off x="5947791" y="3421475"/>
                <a:ext cx="75723" cy="75628"/>
                <a:chOff x="5947791" y="3421475"/>
                <a:chExt cx="75723" cy="75628"/>
              </a:xfrm>
            </p:grpSpPr>
            <p:sp>
              <p:nvSpPr>
                <p:cNvPr id="11920" name="Freeform: Shape 11919">
                  <a:extLst>
                    <a:ext uri="{FF2B5EF4-FFF2-40B4-BE49-F238E27FC236}">
                      <a16:creationId xmlns:a16="http://schemas.microsoft.com/office/drawing/2014/main" id="{D3874EA7-B022-A260-34CB-F0BF84B98468}"/>
                    </a:ext>
                  </a:extLst>
                </p:cNvPr>
                <p:cNvSpPr/>
                <p:nvPr/>
              </p:nvSpPr>
              <p:spPr bwMode="gray">
                <a:xfrm>
                  <a:off x="5985605"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21" name="Freeform: Shape 11920">
                  <a:extLst>
                    <a:ext uri="{FF2B5EF4-FFF2-40B4-BE49-F238E27FC236}">
                      <a16:creationId xmlns:a16="http://schemas.microsoft.com/office/drawing/2014/main" id="{07C4240F-AA35-C557-28D2-11E77AAD9C0D}"/>
                    </a:ext>
                  </a:extLst>
                </p:cNvPr>
                <p:cNvSpPr/>
                <p:nvPr/>
              </p:nvSpPr>
              <p:spPr bwMode="gray">
                <a:xfrm>
                  <a:off x="5947791"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3" name="Graphic 75">
                <a:extLst>
                  <a:ext uri="{FF2B5EF4-FFF2-40B4-BE49-F238E27FC236}">
                    <a16:creationId xmlns:a16="http://schemas.microsoft.com/office/drawing/2014/main" id="{28878F73-FFD8-DECF-9C0C-82237D8D9FF7}"/>
                  </a:ext>
                </a:extLst>
              </p:cNvPr>
              <p:cNvGrpSpPr/>
              <p:nvPr/>
            </p:nvGrpSpPr>
            <p:grpSpPr bwMode="gray">
              <a:xfrm>
                <a:off x="5808249" y="3421475"/>
                <a:ext cx="75723" cy="75628"/>
                <a:chOff x="5808249" y="3421475"/>
                <a:chExt cx="75723" cy="75628"/>
              </a:xfrm>
            </p:grpSpPr>
            <p:sp>
              <p:nvSpPr>
                <p:cNvPr id="11918" name="Freeform: Shape 11917">
                  <a:extLst>
                    <a:ext uri="{FF2B5EF4-FFF2-40B4-BE49-F238E27FC236}">
                      <a16:creationId xmlns:a16="http://schemas.microsoft.com/office/drawing/2014/main" id="{BCDE8D2F-4083-CFF6-556C-7D587300EB0E}"/>
                    </a:ext>
                  </a:extLst>
                </p:cNvPr>
                <p:cNvSpPr/>
                <p:nvPr/>
              </p:nvSpPr>
              <p:spPr bwMode="gray">
                <a:xfrm>
                  <a:off x="5846064"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19" name="Freeform: Shape 11918">
                  <a:extLst>
                    <a:ext uri="{FF2B5EF4-FFF2-40B4-BE49-F238E27FC236}">
                      <a16:creationId xmlns:a16="http://schemas.microsoft.com/office/drawing/2014/main" id="{1C5A41B7-8755-6B00-6C04-AEAF6ACB7216}"/>
                    </a:ext>
                  </a:extLst>
                </p:cNvPr>
                <p:cNvSpPr/>
                <p:nvPr/>
              </p:nvSpPr>
              <p:spPr bwMode="gray">
                <a:xfrm>
                  <a:off x="5808249"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4" name="Graphic 75">
                <a:extLst>
                  <a:ext uri="{FF2B5EF4-FFF2-40B4-BE49-F238E27FC236}">
                    <a16:creationId xmlns:a16="http://schemas.microsoft.com/office/drawing/2014/main" id="{D8394CDA-F67E-3409-D37A-F3C0FBCB67D6}"/>
                  </a:ext>
                </a:extLst>
              </p:cNvPr>
              <p:cNvGrpSpPr/>
              <p:nvPr/>
            </p:nvGrpSpPr>
            <p:grpSpPr bwMode="gray">
              <a:xfrm>
                <a:off x="5770435" y="3421475"/>
                <a:ext cx="75628" cy="75628"/>
                <a:chOff x="5770435" y="3421475"/>
                <a:chExt cx="75628" cy="75628"/>
              </a:xfrm>
            </p:grpSpPr>
            <p:sp>
              <p:nvSpPr>
                <p:cNvPr id="11916" name="Freeform: Shape 11915">
                  <a:extLst>
                    <a:ext uri="{FF2B5EF4-FFF2-40B4-BE49-F238E27FC236}">
                      <a16:creationId xmlns:a16="http://schemas.microsoft.com/office/drawing/2014/main" id="{56AFC2FB-EE02-5653-ADF8-00A92B90B40D}"/>
                    </a:ext>
                  </a:extLst>
                </p:cNvPr>
                <p:cNvSpPr/>
                <p:nvPr/>
              </p:nvSpPr>
              <p:spPr bwMode="gray">
                <a:xfrm>
                  <a:off x="5808249"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17" name="Freeform: Shape 11916">
                  <a:extLst>
                    <a:ext uri="{FF2B5EF4-FFF2-40B4-BE49-F238E27FC236}">
                      <a16:creationId xmlns:a16="http://schemas.microsoft.com/office/drawing/2014/main" id="{8CECBA36-0A91-4178-A896-210B7CF823A2}"/>
                    </a:ext>
                  </a:extLst>
                </p:cNvPr>
                <p:cNvSpPr/>
                <p:nvPr/>
              </p:nvSpPr>
              <p:spPr bwMode="gray">
                <a:xfrm>
                  <a:off x="5770435" y="345928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5" name="Graphic 75">
                <a:extLst>
                  <a:ext uri="{FF2B5EF4-FFF2-40B4-BE49-F238E27FC236}">
                    <a16:creationId xmlns:a16="http://schemas.microsoft.com/office/drawing/2014/main" id="{2A9DDF8F-ABBD-9E89-E1B1-5B1EDA7ED334}"/>
                  </a:ext>
                </a:extLst>
              </p:cNvPr>
              <p:cNvGrpSpPr/>
              <p:nvPr/>
            </p:nvGrpSpPr>
            <p:grpSpPr bwMode="gray">
              <a:xfrm>
                <a:off x="5533739" y="3392900"/>
                <a:ext cx="75723" cy="75628"/>
                <a:chOff x="5533739" y="3392900"/>
                <a:chExt cx="75723" cy="75628"/>
              </a:xfrm>
            </p:grpSpPr>
            <p:sp>
              <p:nvSpPr>
                <p:cNvPr id="11914" name="Freeform: Shape 11913">
                  <a:extLst>
                    <a:ext uri="{FF2B5EF4-FFF2-40B4-BE49-F238E27FC236}">
                      <a16:creationId xmlns:a16="http://schemas.microsoft.com/office/drawing/2014/main" id="{452B676F-FFC0-764B-3967-D6B5BE0660E7}"/>
                    </a:ext>
                  </a:extLst>
                </p:cNvPr>
                <p:cNvSpPr/>
                <p:nvPr/>
              </p:nvSpPr>
              <p:spPr bwMode="gray">
                <a:xfrm>
                  <a:off x="557164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15" name="Freeform: Shape 11914">
                  <a:extLst>
                    <a:ext uri="{FF2B5EF4-FFF2-40B4-BE49-F238E27FC236}">
                      <a16:creationId xmlns:a16="http://schemas.microsoft.com/office/drawing/2014/main" id="{257E1359-D71E-E809-553D-E9FFEE134171}"/>
                    </a:ext>
                  </a:extLst>
                </p:cNvPr>
                <p:cNvSpPr/>
                <p:nvPr/>
              </p:nvSpPr>
              <p:spPr bwMode="gray">
                <a:xfrm>
                  <a:off x="5533739"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6" name="Graphic 75">
                <a:extLst>
                  <a:ext uri="{FF2B5EF4-FFF2-40B4-BE49-F238E27FC236}">
                    <a16:creationId xmlns:a16="http://schemas.microsoft.com/office/drawing/2014/main" id="{F570277D-D9B3-5197-E693-45B819CDB8E8}"/>
                  </a:ext>
                </a:extLst>
              </p:cNvPr>
              <p:cNvGrpSpPr/>
              <p:nvPr/>
            </p:nvGrpSpPr>
            <p:grpSpPr bwMode="gray">
              <a:xfrm>
                <a:off x="5352288" y="3338607"/>
                <a:ext cx="75723" cy="75628"/>
                <a:chOff x="5352288" y="3338607"/>
                <a:chExt cx="75723" cy="75628"/>
              </a:xfrm>
            </p:grpSpPr>
            <p:sp>
              <p:nvSpPr>
                <p:cNvPr id="11912" name="Freeform: Shape 11911">
                  <a:extLst>
                    <a:ext uri="{FF2B5EF4-FFF2-40B4-BE49-F238E27FC236}">
                      <a16:creationId xmlns:a16="http://schemas.microsoft.com/office/drawing/2014/main" id="{6CB0CF12-0E66-DE95-E5C5-006E1CB34A7C}"/>
                    </a:ext>
                  </a:extLst>
                </p:cNvPr>
                <p:cNvSpPr/>
                <p:nvPr/>
              </p:nvSpPr>
              <p:spPr bwMode="gray">
                <a:xfrm>
                  <a:off x="539010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13" name="Freeform: Shape 11912">
                  <a:extLst>
                    <a:ext uri="{FF2B5EF4-FFF2-40B4-BE49-F238E27FC236}">
                      <a16:creationId xmlns:a16="http://schemas.microsoft.com/office/drawing/2014/main" id="{2C20A5BA-DCCA-6EDC-C305-C8A5761FCA71}"/>
                    </a:ext>
                  </a:extLst>
                </p:cNvPr>
                <p:cNvSpPr/>
                <p:nvPr/>
              </p:nvSpPr>
              <p:spPr bwMode="gray">
                <a:xfrm>
                  <a:off x="535228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7" name="Graphic 75">
                <a:extLst>
                  <a:ext uri="{FF2B5EF4-FFF2-40B4-BE49-F238E27FC236}">
                    <a16:creationId xmlns:a16="http://schemas.microsoft.com/office/drawing/2014/main" id="{B0C7C334-04FC-9C7E-0EF2-2BE2BDC74CAC}"/>
                  </a:ext>
                </a:extLst>
              </p:cNvPr>
              <p:cNvGrpSpPr/>
              <p:nvPr/>
            </p:nvGrpSpPr>
            <p:grpSpPr bwMode="gray">
              <a:xfrm>
                <a:off x="5306377" y="3311652"/>
                <a:ext cx="75723" cy="75628"/>
                <a:chOff x="5306377" y="3311652"/>
                <a:chExt cx="75723" cy="75628"/>
              </a:xfrm>
            </p:grpSpPr>
            <p:sp>
              <p:nvSpPr>
                <p:cNvPr id="11910" name="Freeform: Shape 11909">
                  <a:extLst>
                    <a:ext uri="{FF2B5EF4-FFF2-40B4-BE49-F238E27FC236}">
                      <a16:creationId xmlns:a16="http://schemas.microsoft.com/office/drawing/2014/main" id="{07287211-78D7-321F-B220-A89BB55609E7}"/>
                    </a:ext>
                  </a:extLst>
                </p:cNvPr>
                <p:cNvSpPr/>
                <p:nvPr/>
              </p:nvSpPr>
              <p:spPr bwMode="gray">
                <a:xfrm>
                  <a:off x="5344191"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11" name="Freeform: Shape 11910">
                  <a:extLst>
                    <a:ext uri="{FF2B5EF4-FFF2-40B4-BE49-F238E27FC236}">
                      <a16:creationId xmlns:a16="http://schemas.microsoft.com/office/drawing/2014/main" id="{D29F284D-F9EE-62DC-EC3E-D060773C70DB}"/>
                    </a:ext>
                  </a:extLst>
                </p:cNvPr>
                <p:cNvSpPr/>
                <p:nvPr/>
              </p:nvSpPr>
              <p:spPr bwMode="gray">
                <a:xfrm>
                  <a:off x="5306377"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8" name="Graphic 75">
                <a:extLst>
                  <a:ext uri="{FF2B5EF4-FFF2-40B4-BE49-F238E27FC236}">
                    <a16:creationId xmlns:a16="http://schemas.microsoft.com/office/drawing/2014/main" id="{BC16AC3D-4A9B-ED81-8FB3-0E1483669066}"/>
                  </a:ext>
                </a:extLst>
              </p:cNvPr>
              <p:cNvGrpSpPr/>
              <p:nvPr/>
            </p:nvGrpSpPr>
            <p:grpSpPr bwMode="gray">
              <a:xfrm>
                <a:off x="5295138" y="3311652"/>
                <a:ext cx="75723" cy="75628"/>
                <a:chOff x="5295138" y="3311652"/>
                <a:chExt cx="75723" cy="75628"/>
              </a:xfrm>
            </p:grpSpPr>
            <p:sp>
              <p:nvSpPr>
                <p:cNvPr id="11908" name="Freeform: Shape 11907">
                  <a:extLst>
                    <a:ext uri="{FF2B5EF4-FFF2-40B4-BE49-F238E27FC236}">
                      <a16:creationId xmlns:a16="http://schemas.microsoft.com/office/drawing/2014/main" id="{A48C3BA4-82B9-62C9-A1B7-0D2A2BD9474E}"/>
                    </a:ext>
                  </a:extLst>
                </p:cNvPr>
                <p:cNvSpPr/>
                <p:nvPr/>
              </p:nvSpPr>
              <p:spPr bwMode="gray">
                <a:xfrm>
                  <a:off x="533295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09" name="Freeform: Shape 11908">
                  <a:extLst>
                    <a:ext uri="{FF2B5EF4-FFF2-40B4-BE49-F238E27FC236}">
                      <a16:creationId xmlns:a16="http://schemas.microsoft.com/office/drawing/2014/main" id="{AC429AB3-E649-9EF4-41C9-DD5E319D0DEB}"/>
                    </a:ext>
                  </a:extLst>
                </p:cNvPr>
                <p:cNvSpPr/>
                <p:nvPr/>
              </p:nvSpPr>
              <p:spPr bwMode="gray">
                <a:xfrm>
                  <a:off x="5295138"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29" name="Graphic 75">
                <a:extLst>
                  <a:ext uri="{FF2B5EF4-FFF2-40B4-BE49-F238E27FC236}">
                    <a16:creationId xmlns:a16="http://schemas.microsoft.com/office/drawing/2014/main" id="{7BAEE7BA-AED0-369B-21C4-C8810D43559A}"/>
                  </a:ext>
                </a:extLst>
              </p:cNvPr>
              <p:cNvGrpSpPr/>
              <p:nvPr/>
            </p:nvGrpSpPr>
            <p:grpSpPr bwMode="gray">
              <a:xfrm>
                <a:off x="5283898" y="3311652"/>
                <a:ext cx="75628" cy="75628"/>
                <a:chOff x="5283898" y="3311652"/>
                <a:chExt cx="75628" cy="75628"/>
              </a:xfrm>
            </p:grpSpPr>
            <p:sp>
              <p:nvSpPr>
                <p:cNvPr id="11906" name="Freeform: Shape 11905">
                  <a:extLst>
                    <a:ext uri="{FF2B5EF4-FFF2-40B4-BE49-F238E27FC236}">
                      <a16:creationId xmlns:a16="http://schemas.microsoft.com/office/drawing/2014/main" id="{317AA715-1C8C-ECF9-B0A9-DA94F9A1C545}"/>
                    </a:ext>
                  </a:extLst>
                </p:cNvPr>
                <p:cNvSpPr/>
                <p:nvPr/>
              </p:nvSpPr>
              <p:spPr bwMode="gray">
                <a:xfrm>
                  <a:off x="532171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07" name="Freeform: Shape 11906">
                  <a:extLst>
                    <a:ext uri="{FF2B5EF4-FFF2-40B4-BE49-F238E27FC236}">
                      <a16:creationId xmlns:a16="http://schemas.microsoft.com/office/drawing/2014/main" id="{25703926-50EC-C27B-00BE-3F9F93D1C458}"/>
                    </a:ext>
                  </a:extLst>
                </p:cNvPr>
                <p:cNvSpPr/>
                <p:nvPr/>
              </p:nvSpPr>
              <p:spPr bwMode="gray">
                <a:xfrm>
                  <a:off x="5283898" y="3349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0" name="Graphic 75">
                <a:extLst>
                  <a:ext uri="{FF2B5EF4-FFF2-40B4-BE49-F238E27FC236}">
                    <a16:creationId xmlns:a16="http://schemas.microsoft.com/office/drawing/2014/main" id="{DAF0D315-1080-A011-AC1E-B01F73E02D8B}"/>
                  </a:ext>
                </a:extLst>
              </p:cNvPr>
              <p:cNvGrpSpPr/>
              <p:nvPr/>
            </p:nvGrpSpPr>
            <p:grpSpPr bwMode="gray">
              <a:xfrm>
                <a:off x="5255609" y="3289458"/>
                <a:ext cx="75723" cy="75628"/>
                <a:chOff x="5255609" y="3289458"/>
                <a:chExt cx="75723" cy="75628"/>
              </a:xfrm>
            </p:grpSpPr>
            <p:sp>
              <p:nvSpPr>
                <p:cNvPr id="11904" name="Freeform: Shape 11903">
                  <a:extLst>
                    <a:ext uri="{FF2B5EF4-FFF2-40B4-BE49-F238E27FC236}">
                      <a16:creationId xmlns:a16="http://schemas.microsoft.com/office/drawing/2014/main" id="{0D1A9836-6F65-B306-8187-C9FBDD6C5E1F}"/>
                    </a:ext>
                  </a:extLst>
                </p:cNvPr>
                <p:cNvSpPr/>
                <p:nvPr/>
              </p:nvSpPr>
              <p:spPr bwMode="gray">
                <a:xfrm>
                  <a:off x="529342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05" name="Freeform: Shape 11904">
                  <a:extLst>
                    <a:ext uri="{FF2B5EF4-FFF2-40B4-BE49-F238E27FC236}">
                      <a16:creationId xmlns:a16="http://schemas.microsoft.com/office/drawing/2014/main" id="{CA8B9227-B3D9-B7BE-0878-115EA6EC6A92}"/>
                    </a:ext>
                  </a:extLst>
                </p:cNvPr>
                <p:cNvSpPr/>
                <p:nvPr/>
              </p:nvSpPr>
              <p:spPr bwMode="gray">
                <a:xfrm>
                  <a:off x="5255609"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1" name="Graphic 75">
                <a:extLst>
                  <a:ext uri="{FF2B5EF4-FFF2-40B4-BE49-F238E27FC236}">
                    <a16:creationId xmlns:a16="http://schemas.microsoft.com/office/drawing/2014/main" id="{B19C7FCA-51A6-E43A-B40C-9B33BBCC1ABC}"/>
                  </a:ext>
                </a:extLst>
              </p:cNvPr>
              <p:cNvGrpSpPr/>
              <p:nvPr/>
            </p:nvGrpSpPr>
            <p:grpSpPr bwMode="gray">
              <a:xfrm>
                <a:off x="5211794" y="3289458"/>
                <a:ext cx="75723" cy="75628"/>
                <a:chOff x="5211794" y="3289458"/>
                <a:chExt cx="75723" cy="75628"/>
              </a:xfrm>
            </p:grpSpPr>
            <p:sp>
              <p:nvSpPr>
                <p:cNvPr id="11902" name="Freeform: Shape 11901">
                  <a:extLst>
                    <a:ext uri="{FF2B5EF4-FFF2-40B4-BE49-F238E27FC236}">
                      <a16:creationId xmlns:a16="http://schemas.microsoft.com/office/drawing/2014/main" id="{9F5D63C0-1251-86C5-6865-0CD06FF86CF0}"/>
                    </a:ext>
                  </a:extLst>
                </p:cNvPr>
                <p:cNvSpPr/>
                <p:nvPr/>
              </p:nvSpPr>
              <p:spPr bwMode="gray">
                <a:xfrm>
                  <a:off x="524970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03" name="Freeform: Shape 11902">
                  <a:extLst>
                    <a:ext uri="{FF2B5EF4-FFF2-40B4-BE49-F238E27FC236}">
                      <a16:creationId xmlns:a16="http://schemas.microsoft.com/office/drawing/2014/main" id="{3774649C-8B29-D79F-167F-B1997B52810D}"/>
                    </a:ext>
                  </a:extLst>
                </p:cNvPr>
                <p:cNvSpPr/>
                <p:nvPr/>
              </p:nvSpPr>
              <p:spPr bwMode="gray">
                <a:xfrm>
                  <a:off x="5211794"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2" name="Graphic 75">
                <a:extLst>
                  <a:ext uri="{FF2B5EF4-FFF2-40B4-BE49-F238E27FC236}">
                    <a16:creationId xmlns:a16="http://schemas.microsoft.com/office/drawing/2014/main" id="{EBA03BB1-6184-0D58-59DE-956A25B7AA95}"/>
                  </a:ext>
                </a:extLst>
              </p:cNvPr>
              <p:cNvGrpSpPr/>
              <p:nvPr/>
            </p:nvGrpSpPr>
            <p:grpSpPr bwMode="gray">
              <a:xfrm>
                <a:off x="4961382" y="3220878"/>
                <a:ext cx="75628" cy="75628"/>
                <a:chOff x="4961382" y="3220878"/>
                <a:chExt cx="75628" cy="75628"/>
              </a:xfrm>
            </p:grpSpPr>
            <p:sp>
              <p:nvSpPr>
                <p:cNvPr id="11900" name="Freeform: Shape 11899">
                  <a:extLst>
                    <a:ext uri="{FF2B5EF4-FFF2-40B4-BE49-F238E27FC236}">
                      <a16:creationId xmlns:a16="http://schemas.microsoft.com/office/drawing/2014/main" id="{A952A68C-BFBE-1232-5155-B7D59C377BFA}"/>
                    </a:ext>
                  </a:extLst>
                </p:cNvPr>
                <p:cNvSpPr/>
                <p:nvPr/>
              </p:nvSpPr>
              <p:spPr bwMode="gray">
                <a:xfrm>
                  <a:off x="499919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901" name="Freeform: Shape 11900">
                  <a:extLst>
                    <a:ext uri="{FF2B5EF4-FFF2-40B4-BE49-F238E27FC236}">
                      <a16:creationId xmlns:a16="http://schemas.microsoft.com/office/drawing/2014/main" id="{E846245D-6EF0-E0B1-8C82-2BE6D7C29957}"/>
                    </a:ext>
                  </a:extLst>
                </p:cNvPr>
                <p:cNvSpPr/>
                <p:nvPr/>
              </p:nvSpPr>
              <p:spPr bwMode="gray">
                <a:xfrm>
                  <a:off x="4961382" y="32586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3" name="Graphic 75">
                <a:extLst>
                  <a:ext uri="{FF2B5EF4-FFF2-40B4-BE49-F238E27FC236}">
                    <a16:creationId xmlns:a16="http://schemas.microsoft.com/office/drawing/2014/main" id="{B2CFE708-F8B4-182C-1E9B-BCD2A0CA23F9}"/>
                  </a:ext>
                </a:extLst>
              </p:cNvPr>
              <p:cNvGrpSpPr/>
              <p:nvPr/>
            </p:nvGrpSpPr>
            <p:grpSpPr bwMode="gray">
              <a:xfrm>
                <a:off x="4904994" y="3175825"/>
                <a:ext cx="75723" cy="75723"/>
                <a:chOff x="4904994" y="3175825"/>
                <a:chExt cx="75723" cy="75723"/>
              </a:xfrm>
            </p:grpSpPr>
            <p:sp>
              <p:nvSpPr>
                <p:cNvPr id="11898" name="Freeform: Shape 11897">
                  <a:extLst>
                    <a:ext uri="{FF2B5EF4-FFF2-40B4-BE49-F238E27FC236}">
                      <a16:creationId xmlns:a16="http://schemas.microsoft.com/office/drawing/2014/main" id="{76261455-B5CF-E18F-7BDF-D0791DAF9CE5}"/>
                    </a:ext>
                  </a:extLst>
                </p:cNvPr>
                <p:cNvSpPr/>
                <p:nvPr/>
              </p:nvSpPr>
              <p:spPr bwMode="gray">
                <a:xfrm>
                  <a:off x="4942903" y="3175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99" name="Freeform: Shape 11898">
                  <a:extLst>
                    <a:ext uri="{FF2B5EF4-FFF2-40B4-BE49-F238E27FC236}">
                      <a16:creationId xmlns:a16="http://schemas.microsoft.com/office/drawing/2014/main" id="{FD842E8C-06C2-7A5B-D5C3-7B44F60A4D9B}"/>
                    </a:ext>
                  </a:extLst>
                </p:cNvPr>
                <p:cNvSpPr/>
                <p:nvPr/>
              </p:nvSpPr>
              <p:spPr bwMode="gray">
                <a:xfrm>
                  <a:off x="4904994" y="32137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4" name="Graphic 75">
                <a:extLst>
                  <a:ext uri="{FF2B5EF4-FFF2-40B4-BE49-F238E27FC236}">
                    <a16:creationId xmlns:a16="http://schemas.microsoft.com/office/drawing/2014/main" id="{74248DAD-C942-1383-7418-A413552F9F18}"/>
                  </a:ext>
                </a:extLst>
              </p:cNvPr>
              <p:cNvGrpSpPr/>
              <p:nvPr/>
            </p:nvGrpSpPr>
            <p:grpSpPr bwMode="gray">
              <a:xfrm>
                <a:off x="4850320" y="3162776"/>
                <a:ext cx="75723" cy="75723"/>
                <a:chOff x="4850320" y="3162776"/>
                <a:chExt cx="75723" cy="75723"/>
              </a:xfrm>
            </p:grpSpPr>
            <p:sp>
              <p:nvSpPr>
                <p:cNvPr id="11896" name="Freeform: Shape 11895">
                  <a:extLst>
                    <a:ext uri="{FF2B5EF4-FFF2-40B4-BE49-F238E27FC236}">
                      <a16:creationId xmlns:a16="http://schemas.microsoft.com/office/drawing/2014/main" id="{855ADE97-242F-A071-F3C6-1A0DAC02D0E7}"/>
                    </a:ext>
                  </a:extLst>
                </p:cNvPr>
                <p:cNvSpPr/>
                <p:nvPr/>
              </p:nvSpPr>
              <p:spPr bwMode="gray">
                <a:xfrm>
                  <a:off x="4888230"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97" name="Freeform: Shape 11896">
                  <a:extLst>
                    <a:ext uri="{FF2B5EF4-FFF2-40B4-BE49-F238E27FC236}">
                      <a16:creationId xmlns:a16="http://schemas.microsoft.com/office/drawing/2014/main" id="{311BADE5-8730-3F68-DBB3-AEA58572E4F2}"/>
                    </a:ext>
                  </a:extLst>
                </p:cNvPr>
                <p:cNvSpPr/>
                <p:nvPr/>
              </p:nvSpPr>
              <p:spPr bwMode="gray">
                <a:xfrm>
                  <a:off x="4850320"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5" name="Graphic 75">
                <a:extLst>
                  <a:ext uri="{FF2B5EF4-FFF2-40B4-BE49-F238E27FC236}">
                    <a16:creationId xmlns:a16="http://schemas.microsoft.com/office/drawing/2014/main" id="{6DD848D0-7F4B-C70D-BB8E-873A2AFEDE92}"/>
                  </a:ext>
                </a:extLst>
              </p:cNvPr>
              <p:cNvGrpSpPr/>
              <p:nvPr/>
            </p:nvGrpSpPr>
            <p:grpSpPr bwMode="gray">
              <a:xfrm>
                <a:off x="4822983" y="3162776"/>
                <a:ext cx="75723" cy="75723"/>
                <a:chOff x="4822983" y="3162776"/>
                <a:chExt cx="75723" cy="75723"/>
              </a:xfrm>
            </p:grpSpPr>
            <p:sp>
              <p:nvSpPr>
                <p:cNvPr id="11894" name="Freeform: Shape 11893">
                  <a:extLst>
                    <a:ext uri="{FF2B5EF4-FFF2-40B4-BE49-F238E27FC236}">
                      <a16:creationId xmlns:a16="http://schemas.microsoft.com/office/drawing/2014/main" id="{52641440-70E3-8064-E2F1-FE4F1783C60B}"/>
                    </a:ext>
                  </a:extLst>
                </p:cNvPr>
                <p:cNvSpPr/>
                <p:nvPr/>
              </p:nvSpPr>
              <p:spPr bwMode="gray">
                <a:xfrm>
                  <a:off x="4860798"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95" name="Freeform: Shape 11894">
                  <a:extLst>
                    <a:ext uri="{FF2B5EF4-FFF2-40B4-BE49-F238E27FC236}">
                      <a16:creationId xmlns:a16="http://schemas.microsoft.com/office/drawing/2014/main" id="{F06B4D68-EFEA-D967-F1BC-B581CD567028}"/>
                    </a:ext>
                  </a:extLst>
                </p:cNvPr>
                <p:cNvSpPr/>
                <p:nvPr/>
              </p:nvSpPr>
              <p:spPr bwMode="gray">
                <a:xfrm>
                  <a:off x="4822983"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6" name="Graphic 75">
                <a:extLst>
                  <a:ext uri="{FF2B5EF4-FFF2-40B4-BE49-F238E27FC236}">
                    <a16:creationId xmlns:a16="http://schemas.microsoft.com/office/drawing/2014/main" id="{B92B9C33-9C1F-F6F1-C1AE-D8812CEF091E}"/>
                  </a:ext>
                </a:extLst>
              </p:cNvPr>
              <p:cNvGrpSpPr/>
              <p:nvPr/>
            </p:nvGrpSpPr>
            <p:grpSpPr bwMode="gray">
              <a:xfrm>
                <a:off x="4756118" y="3162776"/>
                <a:ext cx="75628" cy="75723"/>
                <a:chOff x="4756118" y="3162776"/>
                <a:chExt cx="75628" cy="75723"/>
              </a:xfrm>
            </p:grpSpPr>
            <p:sp>
              <p:nvSpPr>
                <p:cNvPr id="11892" name="Freeform: Shape 11891">
                  <a:extLst>
                    <a:ext uri="{FF2B5EF4-FFF2-40B4-BE49-F238E27FC236}">
                      <a16:creationId xmlns:a16="http://schemas.microsoft.com/office/drawing/2014/main" id="{56B69D1B-B600-577E-BD5F-DDC6D37A1A75}"/>
                    </a:ext>
                  </a:extLst>
                </p:cNvPr>
                <p:cNvSpPr/>
                <p:nvPr/>
              </p:nvSpPr>
              <p:spPr bwMode="gray">
                <a:xfrm>
                  <a:off x="4793932"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93" name="Freeform: Shape 11892">
                  <a:extLst>
                    <a:ext uri="{FF2B5EF4-FFF2-40B4-BE49-F238E27FC236}">
                      <a16:creationId xmlns:a16="http://schemas.microsoft.com/office/drawing/2014/main" id="{361F3A47-F021-72D3-ED45-86D94B36AD81}"/>
                    </a:ext>
                  </a:extLst>
                </p:cNvPr>
                <p:cNvSpPr/>
                <p:nvPr/>
              </p:nvSpPr>
              <p:spPr bwMode="gray">
                <a:xfrm>
                  <a:off x="4756118" y="3200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7" name="Graphic 75">
                <a:extLst>
                  <a:ext uri="{FF2B5EF4-FFF2-40B4-BE49-F238E27FC236}">
                    <a16:creationId xmlns:a16="http://schemas.microsoft.com/office/drawing/2014/main" id="{D1FEAEBF-5780-3989-65B1-951670A495C7}"/>
                  </a:ext>
                </a:extLst>
              </p:cNvPr>
              <p:cNvGrpSpPr/>
              <p:nvPr/>
            </p:nvGrpSpPr>
            <p:grpSpPr bwMode="gray">
              <a:xfrm>
                <a:off x="4726305" y="3141821"/>
                <a:ext cx="75723" cy="75628"/>
                <a:chOff x="4726305" y="3141821"/>
                <a:chExt cx="75723" cy="75628"/>
              </a:xfrm>
            </p:grpSpPr>
            <p:sp>
              <p:nvSpPr>
                <p:cNvPr id="11890" name="Freeform: Shape 11889">
                  <a:extLst>
                    <a:ext uri="{FF2B5EF4-FFF2-40B4-BE49-F238E27FC236}">
                      <a16:creationId xmlns:a16="http://schemas.microsoft.com/office/drawing/2014/main" id="{87BDE990-2756-90C8-162A-1FC0F66E3FF6}"/>
                    </a:ext>
                  </a:extLst>
                </p:cNvPr>
                <p:cNvSpPr/>
                <p:nvPr/>
              </p:nvSpPr>
              <p:spPr bwMode="gray">
                <a:xfrm>
                  <a:off x="4764119" y="314182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91" name="Freeform: Shape 11890">
                  <a:extLst>
                    <a:ext uri="{FF2B5EF4-FFF2-40B4-BE49-F238E27FC236}">
                      <a16:creationId xmlns:a16="http://schemas.microsoft.com/office/drawing/2014/main" id="{9364FBA1-27A2-DAF4-39B1-09AB4F98ACCA}"/>
                    </a:ext>
                  </a:extLst>
                </p:cNvPr>
                <p:cNvSpPr/>
                <p:nvPr/>
              </p:nvSpPr>
              <p:spPr bwMode="gray">
                <a:xfrm>
                  <a:off x="4726305"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8" name="Graphic 75">
                <a:extLst>
                  <a:ext uri="{FF2B5EF4-FFF2-40B4-BE49-F238E27FC236}">
                    <a16:creationId xmlns:a16="http://schemas.microsoft.com/office/drawing/2014/main" id="{5B6F7A41-C9B8-A068-CC4A-F730FE3440AD}"/>
                  </a:ext>
                </a:extLst>
              </p:cNvPr>
              <p:cNvGrpSpPr/>
              <p:nvPr/>
            </p:nvGrpSpPr>
            <p:grpSpPr bwMode="gray">
              <a:xfrm>
                <a:off x="4696491" y="3120485"/>
                <a:ext cx="75723" cy="75723"/>
                <a:chOff x="4696491" y="3120485"/>
                <a:chExt cx="75723" cy="75723"/>
              </a:xfrm>
            </p:grpSpPr>
            <p:sp>
              <p:nvSpPr>
                <p:cNvPr id="11888" name="Freeform: Shape 11887">
                  <a:extLst>
                    <a:ext uri="{FF2B5EF4-FFF2-40B4-BE49-F238E27FC236}">
                      <a16:creationId xmlns:a16="http://schemas.microsoft.com/office/drawing/2014/main" id="{A817D02A-D2CB-93AE-C881-A0045F693603}"/>
                    </a:ext>
                  </a:extLst>
                </p:cNvPr>
                <p:cNvSpPr/>
                <p:nvPr/>
              </p:nvSpPr>
              <p:spPr bwMode="gray">
                <a:xfrm>
                  <a:off x="4734401" y="3120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89" name="Freeform: Shape 11888">
                  <a:extLst>
                    <a:ext uri="{FF2B5EF4-FFF2-40B4-BE49-F238E27FC236}">
                      <a16:creationId xmlns:a16="http://schemas.microsoft.com/office/drawing/2014/main" id="{F2C7B670-895F-849A-E54D-AC519564CA20}"/>
                    </a:ext>
                  </a:extLst>
                </p:cNvPr>
                <p:cNvSpPr/>
                <p:nvPr/>
              </p:nvSpPr>
              <p:spPr bwMode="gray">
                <a:xfrm>
                  <a:off x="4696491" y="31583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39" name="Graphic 75">
                <a:extLst>
                  <a:ext uri="{FF2B5EF4-FFF2-40B4-BE49-F238E27FC236}">
                    <a16:creationId xmlns:a16="http://schemas.microsoft.com/office/drawing/2014/main" id="{7EF4C686-8249-B63A-C1C2-24B73670B8E2}"/>
                  </a:ext>
                </a:extLst>
              </p:cNvPr>
              <p:cNvGrpSpPr/>
              <p:nvPr/>
            </p:nvGrpSpPr>
            <p:grpSpPr bwMode="gray">
              <a:xfrm>
                <a:off x="4658677" y="3098958"/>
                <a:ext cx="75723" cy="75628"/>
                <a:chOff x="4658677" y="3098958"/>
                <a:chExt cx="75723" cy="75628"/>
              </a:xfrm>
            </p:grpSpPr>
            <p:sp>
              <p:nvSpPr>
                <p:cNvPr id="11886" name="Freeform: Shape 11885">
                  <a:extLst>
                    <a:ext uri="{FF2B5EF4-FFF2-40B4-BE49-F238E27FC236}">
                      <a16:creationId xmlns:a16="http://schemas.microsoft.com/office/drawing/2014/main" id="{C3F0205C-F8B8-AA97-3AA8-9501D6CCF106}"/>
                    </a:ext>
                  </a:extLst>
                </p:cNvPr>
                <p:cNvSpPr/>
                <p:nvPr/>
              </p:nvSpPr>
              <p:spPr bwMode="gray">
                <a:xfrm>
                  <a:off x="4696491" y="30989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87" name="Freeform: Shape 11886">
                  <a:extLst>
                    <a:ext uri="{FF2B5EF4-FFF2-40B4-BE49-F238E27FC236}">
                      <a16:creationId xmlns:a16="http://schemas.microsoft.com/office/drawing/2014/main" id="{639DE598-4AE2-253B-1CE2-87871BC552CB}"/>
                    </a:ext>
                  </a:extLst>
                </p:cNvPr>
                <p:cNvSpPr/>
                <p:nvPr/>
              </p:nvSpPr>
              <p:spPr bwMode="gray">
                <a:xfrm>
                  <a:off x="4658677" y="31367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0" name="Graphic 75">
                <a:extLst>
                  <a:ext uri="{FF2B5EF4-FFF2-40B4-BE49-F238E27FC236}">
                    <a16:creationId xmlns:a16="http://schemas.microsoft.com/office/drawing/2014/main" id="{9A0A17A0-2FD0-4A9A-FBA5-B54582964D37}"/>
                  </a:ext>
                </a:extLst>
              </p:cNvPr>
              <p:cNvGrpSpPr/>
              <p:nvPr/>
            </p:nvGrpSpPr>
            <p:grpSpPr bwMode="gray">
              <a:xfrm>
                <a:off x="4608099" y="3080099"/>
                <a:ext cx="75628" cy="75723"/>
                <a:chOff x="4608099" y="3080099"/>
                <a:chExt cx="75628" cy="75723"/>
              </a:xfrm>
            </p:grpSpPr>
            <p:sp>
              <p:nvSpPr>
                <p:cNvPr id="11884" name="Freeform: Shape 11883">
                  <a:extLst>
                    <a:ext uri="{FF2B5EF4-FFF2-40B4-BE49-F238E27FC236}">
                      <a16:creationId xmlns:a16="http://schemas.microsoft.com/office/drawing/2014/main" id="{50F3804F-F3DD-AC0F-6ED7-FE4100D7442D}"/>
                    </a:ext>
                  </a:extLst>
                </p:cNvPr>
                <p:cNvSpPr/>
                <p:nvPr/>
              </p:nvSpPr>
              <p:spPr bwMode="gray">
                <a:xfrm>
                  <a:off x="4645914"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85" name="Freeform: Shape 11884">
                  <a:extLst>
                    <a:ext uri="{FF2B5EF4-FFF2-40B4-BE49-F238E27FC236}">
                      <a16:creationId xmlns:a16="http://schemas.microsoft.com/office/drawing/2014/main" id="{0BA4D2BD-A59B-2332-8B58-5E5809B3F154}"/>
                    </a:ext>
                  </a:extLst>
                </p:cNvPr>
                <p:cNvSpPr/>
                <p:nvPr/>
              </p:nvSpPr>
              <p:spPr bwMode="gray">
                <a:xfrm>
                  <a:off x="4608099" y="31179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1" name="Graphic 75">
                <a:extLst>
                  <a:ext uri="{FF2B5EF4-FFF2-40B4-BE49-F238E27FC236}">
                    <a16:creationId xmlns:a16="http://schemas.microsoft.com/office/drawing/2014/main" id="{4422A5B4-1365-55C1-F75D-91E1AAD6CF82}"/>
                  </a:ext>
                </a:extLst>
              </p:cNvPr>
              <p:cNvGrpSpPr/>
              <p:nvPr/>
            </p:nvGrpSpPr>
            <p:grpSpPr bwMode="gray">
              <a:xfrm>
                <a:off x="4577048" y="3057906"/>
                <a:ext cx="75723" cy="75723"/>
                <a:chOff x="4577048" y="3057906"/>
                <a:chExt cx="75723" cy="75723"/>
              </a:xfrm>
            </p:grpSpPr>
            <p:sp>
              <p:nvSpPr>
                <p:cNvPr id="11882" name="Freeform: Shape 11881">
                  <a:extLst>
                    <a:ext uri="{FF2B5EF4-FFF2-40B4-BE49-F238E27FC236}">
                      <a16:creationId xmlns:a16="http://schemas.microsoft.com/office/drawing/2014/main" id="{FFBCE4D0-9D48-05B0-A66E-994E7E8665D1}"/>
                    </a:ext>
                  </a:extLst>
                </p:cNvPr>
                <p:cNvSpPr/>
                <p:nvPr/>
              </p:nvSpPr>
              <p:spPr bwMode="gray">
                <a:xfrm>
                  <a:off x="4614862" y="305790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83" name="Freeform: Shape 11882">
                  <a:extLst>
                    <a:ext uri="{FF2B5EF4-FFF2-40B4-BE49-F238E27FC236}">
                      <a16:creationId xmlns:a16="http://schemas.microsoft.com/office/drawing/2014/main" id="{39CE8A5F-2DAF-297A-ADCA-F3AE7D440E2B}"/>
                    </a:ext>
                  </a:extLst>
                </p:cNvPr>
                <p:cNvSpPr/>
                <p:nvPr/>
              </p:nvSpPr>
              <p:spPr bwMode="gray">
                <a:xfrm>
                  <a:off x="4577048" y="3095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2" name="Graphic 75">
                <a:extLst>
                  <a:ext uri="{FF2B5EF4-FFF2-40B4-BE49-F238E27FC236}">
                    <a16:creationId xmlns:a16="http://schemas.microsoft.com/office/drawing/2014/main" id="{1E5A7567-F266-6C0C-BFCA-124835D59133}"/>
                  </a:ext>
                </a:extLst>
              </p:cNvPr>
              <p:cNvGrpSpPr/>
              <p:nvPr/>
            </p:nvGrpSpPr>
            <p:grpSpPr bwMode="gray">
              <a:xfrm>
                <a:off x="4551521" y="3038760"/>
                <a:ext cx="75723" cy="75723"/>
                <a:chOff x="4551521" y="3038760"/>
                <a:chExt cx="75723" cy="75723"/>
              </a:xfrm>
            </p:grpSpPr>
            <p:sp>
              <p:nvSpPr>
                <p:cNvPr id="11880" name="Freeform: Shape 11879">
                  <a:extLst>
                    <a:ext uri="{FF2B5EF4-FFF2-40B4-BE49-F238E27FC236}">
                      <a16:creationId xmlns:a16="http://schemas.microsoft.com/office/drawing/2014/main" id="{04184DE6-472A-54EF-C2B1-FE3CDF4E7981}"/>
                    </a:ext>
                  </a:extLst>
                </p:cNvPr>
                <p:cNvSpPr/>
                <p:nvPr/>
              </p:nvSpPr>
              <p:spPr bwMode="gray">
                <a:xfrm>
                  <a:off x="458933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81" name="Freeform: Shape 11880">
                  <a:extLst>
                    <a:ext uri="{FF2B5EF4-FFF2-40B4-BE49-F238E27FC236}">
                      <a16:creationId xmlns:a16="http://schemas.microsoft.com/office/drawing/2014/main" id="{B2C998A1-8FD8-8AD0-2892-BF898A6973E8}"/>
                    </a:ext>
                  </a:extLst>
                </p:cNvPr>
                <p:cNvSpPr/>
                <p:nvPr/>
              </p:nvSpPr>
              <p:spPr bwMode="gray">
                <a:xfrm>
                  <a:off x="455152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3" name="Graphic 75">
                <a:extLst>
                  <a:ext uri="{FF2B5EF4-FFF2-40B4-BE49-F238E27FC236}">
                    <a16:creationId xmlns:a16="http://schemas.microsoft.com/office/drawing/2014/main" id="{5FA29221-C5CF-092D-A3DB-5E749FCB6F8F}"/>
                  </a:ext>
                </a:extLst>
              </p:cNvPr>
              <p:cNvGrpSpPr/>
              <p:nvPr/>
            </p:nvGrpSpPr>
            <p:grpSpPr bwMode="gray">
              <a:xfrm>
                <a:off x="4463700" y="3038760"/>
                <a:ext cx="75628" cy="75723"/>
                <a:chOff x="4463700" y="3038760"/>
                <a:chExt cx="75628" cy="75723"/>
              </a:xfrm>
            </p:grpSpPr>
            <p:sp>
              <p:nvSpPr>
                <p:cNvPr id="11878" name="Freeform: Shape 11877">
                  <a:extLst>
                    <a:ext uri="{FF2B5EF4-FFF2-40B4-BE49-F238E27FC236}">
                      <a16:creationId xmlns:a16="http://schemas.microsoft.com/office/drawing/2014/main" id="{CFD4B038-23E0-EFDE-846F-107448A86434}"/>
                    </a:ext>
                  </a:extLst>
                </p:cNvPr>
                <p:cNvSpPr/>
                <p:nvPr/>
              </p:nvSpPr>
              <p:spPr bwMode="gray">
                <a:xfrm>
                  <a:off x="450151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79" name="Freeform: Shape 11878">
                  <a:extLst>
                    <a:ext uri="{FF2B5EF4-FFF2-40B4-BE49-F238E27FC236}">
                      <a16:creationId xmlns:a16="http://schemas.microsoft.com/office/drawing/2014/main" id="{EF6EE609-2ECD-8F04-D803-037D1901EC3F}"/>
                    </a:ext>
                  </a:extLst>
                </p:cNvPr>
                <p:cNvSpPr/>
                <p:nvPr/>
              </p:nvSpPr>
              <p:spPr bwMode="gray">
                <a:xfrm>
                  <a:off x="4463700" y="30765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4" name="Graphic 75">
                <a:extLst>
                  <a:ext uri="{FF2B5EF4-FFF2-40B4-BE49-F238E27FC236}">
                    <a16:creationId xmlns:a16="http://schemas.microsoft.com/office/drawing/2014/main" id="{071EE65D-1FCB-D5BF-8150-A09AB98D33B5}"/>
                  </a:ext>
                </a:extLst>
              </p:cNvPr>
              <p:cNvGrpSpPr/>
              <p:nvPr/>
            </p:nvGrpSpPr>
            <p:grpSpPr bwMode="gray">
              <a:xfrm>
                <a:off x="4453318" y="3038760"/>
                <a:ext cx="75723" cy="75723"/>
                <a:chOff x="4453318" y="3038760"/>
                <a:chExt cx="75723" cy="75723"/>
              </a:xfrm>
            </p:grpSpPr>
            <p:sp>
              <p:nvSpPr>
                <p:cNvPr id="11876" name="Freeform: Shape 11875">
                  <a:extLst>
                    <a:ext uri="{FF2B5EF4-FFF2-40B4-BE49-F238E27FC236}">
                      <a16:creationId xmlns:a16="http://schemas.microsoft.com/office/drawing/2014/main" id="{3F74EEEE-953F-F845-A8FB-B891CF2B3A4C}"/>
                    </a:ext>
                  </a:extLst>
                </p:cNvPr>
                <p:cNvSpPr/>
                <p:nvPr/>
              </p:nvSpPr>
              <p:spPr bwMode="gray">
                <a:xfrm>
                  <a:off x="4491132"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77" name="Freeform: Shape 11876">
                  <a:extLst>
                    <a:ext uri="{FF2B5EF4-FFF2-40B4-BE49-F238E27FC236}">
                      <a16:creationId xmlns:a16="http://schemas.microsoft.com/office/drawing/2014/main" id="{740E36EA-631C-1848-CFF0-18BD8DD9D89C}"/>
                    </a:ext>
                  </a:extLst>
                </p:cNvPr>
                <p:cNvSpPr/>
                <p:nvPr/>
              </p:nvSpPr>
              <p:spPr bwMode="gray">
                <a:xfrm>
                  <a:off x="4453318"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5" name="Graphic 75">
                <a:extLst>
                  <a:ext uri="{FF2B5EF4-FFF2-40B4-BE49-F238E27FC236}">
                    <a16:creationId xmlns:a16="http://schemas.microsoft.com/office/drawing/2014/main" id="{F8292358-FFF4-4420-9D4C-7266E2738845}"/>
                  </a:ext>
                </a:extLst>
              </p:cNvPr>
              <p:cNvGrpSpPr/>
              <p:nvPr/>
            </p:nvGrpSpPr>
            <p:grpSpPr bwMode="gray">
              <a:xfrm>
                <a:off x="4124134" y="3020091"/>
                <a:ext cx="75628" cy="75628"/>
                <a:chOff x="4124134" y="3020091"/>
                <a:chExt cx="75628" cy="75628"/>
              </a:xfrm>
            </p:grpSpPr>
            <p:sp>
              <p:nvSpPr>
                <p:cNvPr id="11874" name="Freeform: Shape 11873">
                  <a:extLst>
                    <a:ext uri="{FF2B5EF4-FFF2-40B4-BE49-F238E27FC236}">
                      <a16:creationId xmlns:a16="http://schemas.microsoft.com/office/drawing/2014/main" id="{3988E10E-4007-4EA1-D9BF-4621C6D8EC7F}"/>
                    </a:ext>
                  </a:extLst>
                </p:cNvPr>
                <p:cNvSpPr/>
                <p:nvPr/>
              </p:nvSpPr>
              <p:spPr bwMode="gray">
                <a:xfrm>
                  <a:off x="4161948"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75" name="Freeform: Shape 11874">
                  <a:extLst>
                    <a:ext uri="{FF2B5EF4-FFF2-40B4-BE49-F238E27FC236}">
                      <a16:creationId xmlns:a16="http://schemas.microsoft.com/office/drawing/2014/main" id="{CDCBDBD4-1534-37AF-411B-DE53D680DE5D}"/>
                    </a:ext>
                  </a:extLst>
                </p:cNvPr>
                <p:cNvSpPr/>
                <p:nvPr/>
              </p:nvSpPr>
              <p:spPr bwMode="gray">
                <a:xfrm>
                  <a:off x="4124134"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6" name="Graphic 75">
                <a:extLst>
                  <a:ext uri="{FF2B5EF4-FFF2-40B4-BE49-F238E27FC236}">
                    <a16:creationId xmlns:a16="http://schemas.microsoft.com/office/drawing/2014/main" id="{D69A0A53-04D0-02AB-F62D-B52D88394726}"/>
                  </a:ext>
                </a:extLst>
              </p:cNvPr>
              <p:cNvGrpSpPr/>
              <p:nvPr/>
            </p:nvGrpSpPr>
            <p:grpSpPr bwMode="gray">
              <a:xfrm>
                <a:off x="3539775" y="2791682"/>
                <a:ext cx="75628" cy="75628"/>
                <a:chOff x="3539775" y="2791682"/>
                <a:chExt cx="75628" cy="75628"/>
              </a:xfrm>
            </p:grpSpPr>
            <p:sp>
              <p:nvSpPr>
                <p:cNvPr id="11872" name="Freeform: Shape 11871">
                  <a:extLst>
                    <a:ext uri="{FF2B5EF4-FFF2-40B4-BE49-F238E27FC236}">
                      <a16:creationId xmlns:a16="http://schemas.microsoft.com/office/drawing/2014/main" id="{F8D6D185-BC03-9916-11FE-696630111B84}"/>
                    </a:ext>
                  </a:extLst>
                </p:cNvPr>
                <p:cNvSpPr/>
                <p:nvPr/>
              </p:nvSpPr>
              <p:spPr bwMode="gray">
                <a:xfrm>
                  <a:off x="3577590" y="279168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73" name="Freeform: Shape 11872">
                  <a:extLst>
                    <a:ext uri="{FF2B5EF4-FFF2-40B4-BE49-F238E27FC236}">
                      <a16:creationId xmlns:a16="http://schemas.microsoft.com/office/drawing/2014/main" id="{266E2AE3-D45F-6CFE-C2F6-42A9BA0D983F}"/>
                    </a:ext>
                  </a:extLst>
                </p:cNvPr>
                <p:cNvSpPr/>
                <p:nvPr/>
              </p:nvSpPr>
              <p:spPr bwMode="gray">
                <a:xfrm>
                  <a:off x="3539775" y="28294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7" name="Graphic 75">
                <a:extLst>
                  <a:ext uri="{FF2B5EF4-FFF2-40B4-BE49-F238E27FC236}">
                    <a16:creationId xmlns:a16="http://schemas.microsoft.com/office/drawing/2014/main" id="{047E5323-6C8B-13B6-B6FC-CECE395D033A}"/>
                  </a:ext>
                </a:extLst>
              </p:cNvPr>
              <p:cNvGrpSpPr/>
              <p:nvPr/>
            </p:nvGrpSpPr>
            <p:grpSpPr bwMode="gray">
              <a:xfrm>
                <a:off x="3238785" y="2760059"/>
                <a:ext cx="75723" cy="75628"/>
                <a:chOff x="3238785" y="2760059"/>
                <a:chExt cx="75723" cy="75628"/>
              </a:xfrm>
            </p:grpSpPr>
            <p:sp>
              <p:nvSpPr>
                <p:cNvPr id="11870" name="Freeform: Shape 11869">
                  <a:extLst>
                    <a:ext uri="{FF2B5EF4-FFF2-40B4-BE49-F238E27FC236}">
                      <a16:creationId xmlns:a16="http://schemas.microsoft.com/office/drawing/2014/main" id="{03374848-D7D4-852F-C5BA-CC662250BDCE}"/>
                    </a:ext>
                  </a:extLst>
                </p:cNvPr>
                <p:cNvSpPr/>
                <p:nvPr/>
              </p:nvSpPr>
              <p:spPr bwMode="gray">
                <a:xfrm>
                  <a:off x="3276600"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71" name="Freeform: Shape 11870">
                  <a:extLst>
                    <a:ext uri="{FF2B5EF4-FFF2-40B4-BE49-F238E27FC236}">
                      <a16:creationId xmlns:a16="http://schemas.microsoft.com/office/drawing/2014/main" id="{17309F4A-23EF-D08D-7595-7181273B7575}"/>
                    </a:ext>
                  </a:extLst>
                </p:cNvPr>
                <p:cNvSpPr/>
                <p:nvPr/>
              </p:nvSpPr>
              <p:spPr bwMode="gray">
                <a:xfrm>
                  <a:off x="3238785" y="2797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8" name="Graphic 75">
                <a:extLst>
                  <a:ext uri="{FF2B5EF4-FFF2-40B4-BE49-F238E27FC236}">
                    <a16:creationId xmlns:a16="http://schemas.microsoft.com/office/drawing/2014/main" id="{A302879D-8491-2112-BD84-36A03BBF0EFF}"/>
                  </a:ext>
                </a:extLst>
              </p:cNvPr>
              <p:cNvGrpSpPr/>
              <p:nvPr/>
            </p:nvGrpSpPr>
            <p:grpSpPr bwMode="gray">
              <a:xfrm>
                <a:off x="3153537" y="2760059"/>
                <a:ext cx="75628" cy="75628"/>
                <a:chOff x="3153537" y="2760059"/>
                <a:chExt cx="75628" cy="75628"/>
              </a:xfrm>
            </p:grpSpPr>
            <p:sp>
              <p:nvSpPr>
                <p:cNvPr id="11868" name="Freeform: Shape 11867">
                  <a:extLst>
                    <a:ext uri="{FF2B5EF4-FFF2-40B4-BE49-F238E27FC236}">
                      <a16:creationId xmlns:a16="http://schemas.microsoft.com/office/drawing/2014/main" id="{E2FE523E-1944-B5C3-DE7D-AB8C53FEFE82}"/>
                    </a:ext>
                  </a:extLst>
                </p:cNvPr>
                <p:cNvSpPr/>
                <p:nvPr/>
              </p:nvSpPr>
              <p:spPr bwMode="gray">
                <a:xfrm>
                  <a:off x="3191351"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69" name="Freeform: Shape 11868">
                  <a:extLst>
                    <a:ext uri="{FF2B5EF4-FFF2-40B4-BE49-F238E27FC236}">
                      <a16:creationId xmlns:a16="http://schemas.microsoft.com/office/drawing/2014/main" id="{70F51296-F0DE-A9F5-29F7-82A595EC8BFC}"/>
                    </a:ext>
                  </a:extLst>
                </p:cNvPr>
                <p:cNvSpPr/>
                <p:nvPr/>
              </p:nvSpPr>
              <p:spPr bwMode="gray">
                <a:xfrm>
                  <a:off x="3153537" y="27978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49" name="Graphic 75">
                <a:extLst>
                  <a:ext uri="{FF2B5EF4-FFF2-40B4-BE49-F238E27FC236}">
                    <a16:creationId xmlns:a16="http://schemas.microsoft.com/office/drawing/2014/main" id="{1CC262F4-7766-5895-BDC1-49938909FE41}"/>
                  </a:ext>
                </a:extLst>
              </p:cNvPr>
              <p:cNvGrpSpPr/>
              <p:nvPr/>
            </p:nvGrpSpPr>
            <p:grpSpPr bwMode="gray">
              <a:xfrm>
                <a:off x="4092511" y="3004375"/>
                <a:ext cx="75628" cy="75723"/>
                <a:chOff x="4092511" y="3004375"/>
                <a:chExt cx="75628" cy="75723"/>
              </a:xfrm>
            </p:grpSpPr>
            <p:sp>
              <p:nvSpPr>
                <p:cNvPr id="11866" name="Freeform: Shape 11865">
                  <a:extLst>
                    <a:ext uri="{FF2B5EF4-FFF2-40B4-BE49-F238E27FC236}">
                      <a16:creationId xmlns:a16="http://schemas.microsoft.com/office/drawing/2014/main" id="{1FAC025C-8EA0-39D9-3F0A-FCF36E77054F}"/>
                    </a:ext>
                  </a:extLst>
                </p:cNvPr>
                <p:cNvSpPr/>
                <p:nvPr/>
              </p:nvSpPr>
              <p:spPr bwMode="gray">
                <a:xfrm>
                  <a:off x="4130325" y="3004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67" name="Freeform: Shape 11866">
                  <a:extLst>
                    <a:ext uri="{FF2B5EF4-FFF2-40B4-BE49-F238E27FC236}">
                      <a16:creationId xmlns:a16="http://schemas.microsoft.com/office/drawing/2014/main" id="{9C145997-63DD-B1C6-F87D-57A4ACC8EEBC}"/>
                    </a:ext>
                  </a:extLst>
                </p:cNvPr>
                <p:cNvSpPr/>
                <p:nvPr/>
              </p:nvSpPr>
              <p:spPr bwMode="gray">
                <a:xfrm>
                  <a:off x="4092511" y="30422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0" name="Graphic 75">
                <a:extLst>
                  <a:ext uri="{FF2B5EF4-FFF2-40B4-BE49-F238E27FC236}">
                    <a16:creationId xmlns:a16="http://schemas.microsoft.com/office/drawing/2014/main" id="{512F21F8-3C4C-6AA6-ED65-1A2E769507C8}"/>
                  </a:ext>
                </a:extLst>
              </p:cNvPr>
              <p:cNvGrpSpPr/>
              <p:nvPr/>
            </p:nvGrpSpPr>
            <p:grpSpPr bwMode="gray">
              <a:xfrm>
                <a:off x="4161948" y="3020091"/>
                <a:ext cx="75723" cy="75628"/>
                <a:chOff x="4161948" y="3020091"/>
                <a:chExt cx="75723" cy="75628"/>
              </a:xfrm>
            </p:grpSpPr>
            <p:sp>
              <p:nvSpPr>
                <p:cNvPr id="11864" name="Freeform: Shape 11863">
                  <a:extLst>
                    <a:ext uri="{FF2B5EF4-FFF2-40B4-BE49-F238E27FC236}">
                      <a16:creationId xmlns:a16="http://schemas.microsoft.com/office/drawing/2014/main" id="{0727B2E4-0683-293E-AB48-7AFAB5C7A8E7}"/>
                    </a:ext>
                  </a:extLst>
                </p:cNvPr>
                <p:cNvSpPr/>
                <p:nvPr/>
              </p:nvSpPr>
              <p:spPr bwMode="gray">
                <a:xfrm>
                  <a:off x="419976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65" name="Freeform: Shape 11864">
                  <a:extLst>
                    <a:ext uri="{FF2B5EF4-FFF2-40B4-BE49-F238E27FC236}">
                      <a16:creationId xmlns:a16="http://schemas.microsoft.com/office/drawing/2014/main" id="{AA6A3A65-23D4-9BCD-075A-B547CF6F0670}"/>
                    </a:ext>
                  </a:extLst>
                </p:cNvPr>
                <p:cNvSpPr/>
                <p:nvPr/>
              </p:nvSpPr>
              <p:spPr bwMode="gray">
                <a:xfrm>
                  <a:off x="416194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1" name="Graphic 75">
                <a:extLst>
                  <a:ext uri="{FF2B5EF4-FFF2-40B4-BE49-F238E27FC236}">
                    <a16:creationId xmlns:a16="http://schemas.microsoft.com/office/drawing/2014/main" id="{E295618A-455D-1605-9D89-F2C6C9EF3973}"/>
                  </a:ext>
                </a:extLst>
              </p:cNvPr>
              <p:cNvGrpSpPr/>
              <p:nvPr/>
            </p:nvGrpSpPr>
            <p:grpSpPr bwMode="gray">
              <a:xfrm>
                <a:off x="4176141" y="3020091"/>
                <a:ext cx="75628" cy="75628"/>
                <a:chOff x="4176141" y="3020091"/>
                <a:chExt cx="75628" cy="75628"/>
              </a:xfrm>
            </p:grpSpPr>
            <p:sp>
              <p:nvSpPr>
                <p:cNvPr id="11862" name="Freeform: Shape 11861">
                  <a:extLst>
                    <a:ext uri="{FF2B5EF4-FFF2-40B4-BE49-F238E27FC236}">
                      <a16:creationId xmlns:a16="http://schemas.microsoft.com/office/drawing/2014/main" id="{20AA9850-BE26-39D0-A0E4-2A34A06A8298}"/>
                    </a:ext>
                  </a:extLst>
                </p:cNvPr>
                <p:cNvSpPr/>
                <p:nvPr/>
              </p:nvSpPr>
              <p:spPr bwMode="gray">
                <a:xfrm>
                  <a:off x="421395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63" name="Freeform: Shape 11862">
                  <a:extLst>
                    <a:ext uri="{FF2B5EF4-FFF2-40B4-BE49-F238E27FC236}">
                      <a16:creationId xmlns:a16="http://schemas.microsoft.com/office/drawing/2014/main" id="{9F805FA2-2EFA-1F02-1008-16782CFE8C4B}"/>
                    </a:ext>
                  </a:extLst>
                </p:cNvPr>
                <p:cNvSpPr/>
                <p:nvPr/>
              </p:nvSpPr>
              <p:spPr bwMode="gray">
                <a:xfrm>
                  <a:off x="4176141"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2" name="Graphic 75">
                <a:extLst>
                  <a:ext uri="{FF2B5EF4-FFF2-40B4-BE49-F238E27FC236}">
                    <a16:creationId xmlns:a16="http://schemas.microsoft.com/office/drawing/2014/main" id="{CE2EE034-D9C9-8EDA-3F00-080079D97B82}"/>
                  </a:ext>
                </a:extLst>
              </p:cNvPr>
              <p:cNvGrpSpPr/>
              <p:nvPr/>
            </p:nvGrpSpPr>
            <p:grpSpPr bwMode="gray">
              <a:xfrm>
                <a:off x="4190238" y="3020091"/>
                <a:ext cx="75723" cy="75628"/>
                <a:chOff x="4190238" y="3020091"/>
                <a:chExt cx="75723" cy="75628"/>
              </a:xfrm>
            </p:grpSpPr>
            <p:sp>
              <p:nvSpPr>
                <p:cNvPr id="11860" name="Freeform: Shape 11859">
                  <a:extLst>
                    <a:ext uri="{FF2B5EF4-FFF2-40B4-BE49-F238E27FC236}">
                      <a16:creationId xmlns:a16="http://schemas.microsoft.com/office/drawing/2014/main" id="{993C1C75-3815-D545-7FFD-922C4A4E3823}"/>
                    </a:ext>
                  </a:extLst>
                </p:cNvPr>
                <p:cNvSpPr/>
                <p:nvPr/>
              </p:nvSpPr>
              <p:spPr bwMode="gray">
                <a:xfrm>
                  <a:off x="4228147"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61" name="Freeform: Shape 11860">
                  <a:extLst>
                    <a:ext uri="{FF2B5EF4-FFF2-40B4-BE49-F238E27FC236}">
                      <a16:creationId xmlns:a16="http://schemas.microsoft.com/office/drawing/2014/main" id="{579317AA-CE6D-B5B9-71E9-39DC76C8DE1E}"/>
                    </a:ext>
                  </a:extLst>
                </p:cNvPr>
                <p:cNvSpPr/>
                <p:nvPr/>
              </p:nvSpPr>
              <p:spPr bwMode="gray">
                <a:xfrm>
                  <a:off x="419023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3" name="Graphic 75">
                <a:extLst>
                  <a:ext uri="{FF2B5EF4-FFF2-40B4-BE49-F238E27FC236}">
                    <a16:creationId xmlns:a16="http://schemas.microsoft.com/office/drawing/2014/main" id="{B28F8730-860D-14F1-01C6-B3471611DC52}"/>
                  </a:ext>
                </a:extLst>
              </p:cNvPr>
              <p:cNvGrpSpPr/>
              <p:nvPr/>
            </p:nvGrpSpPr>
            <p:grpSpPr bwMode="gray">
              <a:xfrm>
                <a:off x="4204430" y="3020091"/>
                <a:ext cx="75723" cy="75628"/>
                <a:chOff x="4204430" y="3020091"/>
                <a:chExt cx="75723" cy="75628"/>
              </a:xfrm>
            </p:grpSpPr>
            <p:sp>
              <p:nvSpPr>
                <p:cNvPr id="11858" name="Freeform: Shape 11857">
                  <a:extLst>
                    <a:ext uri="{FF2B5EF4-FFF2-40B4-BE49-F238E27FC236}">
                      <a16:creationId xmlns:a16="http://schemas.microsoft.com/office/drawing/2014/main" id="{36377C2C-43F6-3407-7268-1806E4C0DD94}"/>
                    </a:ext>
                  </a:extLst>
                </p:cNvPr>
                <p:cNvSpPr/>
                <p:nvPr/>
              </p:nvSpPr>
              <p:spPr bwMode="gray">
                <a:xfrm>
                  <a:off x="4242244"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59" name="Freeform: Shape 11858">
                  <a:extLst>
                    <a:ext uri="{FF2B5EF4-FFF2-40B4-BE49-F238E27FC236}">
                      <a16:creationId xmlns:a16="http://schemas.microsoft.com/office/drawing/2014/main" id="{A2FAD466-49C1-F58C-D2A5-C8D1F6085452}"/>
                    </a:ext>
                  </a:extLst>
                </p:cNvPr>
                <p:cNvSpPr/>
                <p:nvPr/>
              </p:nvSpPr>
              <p:spPr bwMode="gray">
                <a:xfrm>
                  <a:off x="4204430"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4" name="Graphic 75">
                <a:extLst>
                  <a:ext uri="{FF2B5EF4-FFF2-40B4-BE49-F238E27FC236}">
                    <a16:creationId xmlns:a16="http://schemas.microsoft.com/office/drawing/2014/main" id="{B9CD2E65-DE2B-24EE-11AE-6D0C930DEA4A}"/>
                  </a:ext>
                </a:extLst>
              </p:cNvPr>
              <p:cNvGrpSpPr/>
              <p:nvPr/>
            </p:nvGrpSpPr>
            <p:grpSpPr bwMode="gray">
              <a:xfrm>
                <a:off x="4246911" y="3020091"/>
                <a:ext cx="75723" cy="75628"/>
                <a:chOff x="4246911" y="3020091"/>
                <a:chExt cx="75723" cy="75628"/>
              </a:xfrm>
            </p:grpSpPr>
            <p:sp>
              <p:nvSpPr>
                <p:cNvPr id="11856" name="Freeform: Shape 11855">
                  <a:extLst>
                    <a:ext uri="{FF2B5EF4-FFF2-40B4-BE49-F238E27FC236}">
                      <a16:creationId xmlns:a16="http://schemas.microsoft.com/office/drawing/2014/main" id="{2634EF86-A694-CFB4-66BE-4FCE02878220}"/>
                    </a:ext>
                  </a:extLst>
                </p:cNvPr>
                <p:cNvSpPr/>
                <p:nvPr/>
              </p:nvSpPr>
              <p:spPr bwMode="gray">
                <a:xfrm>
                  <a:off x="428472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57" name="Freeform: Shape 11856">
                  <a:extLst>
                    <a:ext uri="{FF2B5EF4-FFF2-40B4-BE49-F238E27FC236}">
                      <a16:creationId xmlns:a16="http://schemas.microsoft.com/office/drawing/2014/main" id="{A0A81F74-2F26-5C36-9D7E-7273D57C4DDF}"/>
                    </a:ext>
                  </a:extLst>
                </p:cNvPr>
                <p:cNvSpPr/>
                <p:nvPr/>
              </p:nvSpPr>
              <p:spPr bwMode="gray">
                <a:xfrm>
                  <a:off x="424691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5" name="Graphic 75">
                <a:extLst>
                  <a:ext uri="{FF2B5EF4-FFF2-40B4-BE49-F238E27FC236}">
                    <a16:creationId xmlns:a16="http://schemas.microsoft.com/office/drawing/2014/main" id="{9C93D933-F842-4CD2-4394-4A0FFE62DF07}"/>
                  </a:ext>
                </a:extLst>
              </p:cNvPr>
              <p:cNvGrpSpPr/>
              <p:nvPr/>
            </p:nvGrpSpPr>
            <p:grpSpPr bwMode="gray">
              <a:xfrm>
                <a:off x="4283392" y="3020091"/>
                <a:ext cx="75723" cy="75628"/>
                <a:chOff x="4283392" y="3020091"/>
                <a:chExt cx="75723" cy="75628"/>
              </a:xfrm>
            </p:grpSpPr>
            <p:sp>
              <p:nvSpPr>
                <p:cNvPr id="11854" name="Freeform: Shape 11853">
                  <a:extLst>
                    <a:ext uri="{FF2B5EF4-FFF2-40B4-BE49-F238E27FC236}">
                      <a16:creationId xmlns:a16="http://schemas.microsoft.com/office/drawing/2014/main" id="{5123B863-F304-1787-E278-57780B139438}"/>
                    </a:ext>
                  </a:extLst>
                </p:cNvPr>
                <p:cNvSpPr/>
                <p:nvPr/>
              </p:nvSpPr>
              <p:spPr bwMode="gray">
                <a:xfrm>
                  <a:off x="432120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55" name="Freeform: Shape 11854">
                  <a:extLst>
                    <a:ext uri="{FF2B5EF4-FFF2-40B4-BE49-F238E27FC236}">
                      <a16:creationId xmlns:a16="http://schemas.microsoft.com/office/drawing/2014/main" id="{6185401A-9961-D399-CDF4-89942AC084D4}"/>
                    </a:ext>
                  </a:extLst>
                </p:cNvPr>
                <p:cNvSpPr/>
                <p:nvPr/>
              </p:nvSpPr>
              <p:spPr bwMode="gray">
                <a:xfrm>
                  <a:off x="4283392"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6" name="Graphic 75">
                <a:extLst>
                  <a:ext uri="{FF2B5EF4-FFF2-40B4-BE49-F238E27FC236}">
                    <a16:creationId xmlns:a16="http://schemas.microsoft.com/office/drawing/2014/main" id="{BD4A224A-320C-E9AF-30F0-0F291655A849}"/>
                  </a:ext>
                </a:extLst>
              </p:cNvPr>
              <p:cNvGrpSpPr/>
              <p:nvPr/>
            </p:nvGrpSpPr>
            <p:grpSpPr bwMode="gray">
              <a:xfrm>
                <a:off x="4296441" y="3020091"/>
                <a:ext cx="75723" cy="75628"/>
                <a:chOff x="4296441" y="3020091"/>
                <a:chExt cx="75723" cy="75628"/>
              </a:xfrm>
            </p:grpSpPr>
            <p:sp>
              <p:nvSpPr>
                <p:cNvPr id="11852" name="Freeform: Shape 11851">
                  <a:extLst>
                    <a:ext uri="{FF2B5EF4-FFF2-40B4-BE49-F238E27FC236}">
                      <a16:creationId xmlns:a16="http://schemas.microsoft.com/office/drawing/2014/main" id="{ED54EA36-5EE2-6E62-6430-C6DB5E228258}"/>
                    </a:ext>
                  </a:extLst>
                </p:cNvPr>
                <p:cNvSpPr/>
                <p:nvPr/>
              </p:nvSpPr>
              <p:spPr bwMode="gray">
                <a:xfrm>
                  <a:off x="4334351"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53" name="Freeform: Shape 11852">
                  <a:extLst>
                    <a:ext uri="{FF2B5EF4-FFF2-40B4-BE49-F238E27FC236}">
                      <a16:creationId xmlns:a16="http://schemas.microsoft.com/office/drawing/2014/main" id="{361B9938-3A15-541C-1D5D-45DB384E542B}"/>
                    </a:ext>
                  </a:extLst>
                </p:cNvPr>
                <p:cNvSpPr/>
                <p:nvPr/>
              </p:nvSpPr>
              <p:spPr bwMode="gray">
                <a:xfrm>
                  <a:off x="429644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7" name="Graphic 75">
                <a:extLst>
                  <a:ext uri="{FF2B5EF4-FFF2-40B4-BE49-F238E27FC236}">
                    <a16:creationId xmlns:a16="http://schemas.microsoft.com/office/drawing/2014/main" id="{3C8AE2BD-19AC-E572-B24C-8B3A0B97DBDA}"/>
                  </a:ext>
                </a:extLst>
              </p:cNvPr>
              <p:cNvGrpSpPr/>
              <p:nvPr/>
            </p:nvGrpSpPr>
            <p:grpSpPr bwMode="gray">
              <a:xfrm>
                <a:off x="4425791" y="3020091"/>
                <a:ext cx="75723" cy="75628"/>
                <a:chOff x="4425791" y="3020091"/>
                <a:chExt cx="75723" cy="75628"/>
              </a:xfrm>
            </p:grpSpPr>
            <p:sp>
              <p:nvSpPr>
                <p:cNvPr id="11850" name="Freeform: Shape 11849">
                  <a:extLst>
                    <a:ext uri="{FF2B5EF4-FFF2-40B4-BE49-F238E27FC236}">
                      <a16:creationId xmlns:a16="http://schemas.microsoft.com/office/drawing/2014/main" id="{675756EC-54F7-6795-08C0-D83DE4309860}"/>
                    </a:ext>
                  </a:extLst>
                </p:cNvPr>
                <p:cNvSpPr/>
                <p:nvPr/>
              </p:nvSpPr>
              <p:spPr bwMode="gray">
                <a:xfrm>
                  <a:off x="44637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51" name="Freeform: Shape 11850">
                  <a:extLst>
                    <a:ext uri="{FF2B5EF4-FFF2-40B4-BE49-F238E27FC236}">
                      <a16:creationId xmlns:a16="http://schemas.microsoft.com/office/drawing/2014/main" id="{FFC52E39-471E-02BB-3E1A-D275414F576D}"/>
                    </a:ext>
                  </a:extLst>
                </p:cNvPr>
                <p:cNvSpPr/>
                <p:nvPr/>
              </p:nvSpPr>
              <p:spPr bwMode="gray">
                <a:xfrm>
                  <a:off x="442579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8" name="Graphic 75">
                <a:extLst>
                  <a:ext uri="{FF2B5EF4-FFF2-40B4-BE49-F238E27FC236}">
                    <a16:creationId xmlns:a16="http://schemas.microsoft.com/office/drawing/2014/main" id="{F73036A2-B2DC-0200-0AD6-BF232982F71B}"/>
                  </a:ext>
                </a:extLst>
              </p:cNvPr>
              <p:cNvGrpSpPr/>
              <p:nvPr/>
            </p:nvGrpSpPr>
            <p:grpSpPr bwMode="gray">
              <a:xfrm>
                <a:off x="4398930" y="3020091"/>
                <a:ext cx="75628" cy="75628"/>
                <a:chOff x="4398930" y="3020091"/>
                <a:chExt cx="75628" cy="75628"/>
              </a:xfrm>
            </p:grpSpPr>
            <p:sp>
              <p:nvSpPr>
                <p:cNvPr id="11848" name="Freeform: Shape 11847">
                  <a:extLst>
                    <a:ext uri="{FF2B5EF4-FFF2-40B4-BE49-F238E27FC236}">
                      <a16:creationId xmlns:a16="http://schemas.microsoft.com/office/drawing/2014/main" id="{BCF028DB-2CBD-D192-8198-C5FACFF4E6B3}"/>
                    </a:ext>
                  </a:extLst>
                </p:cNvPr>
                <p:cNvSpPr/>
                <p:nvPr/>
              </p:nvSpPr>
              <p:spPr bwMode="gray">
                <a:xfrm>
                  <a:off x="443674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49" name="Freeform: Shape 11848">
                  <a:extLst>
                    <a:ext uri="{FF2B5EF4-FFF2-40B4-BE49-F238E27FC236}">
                      <a16:creationId xmlns:a16="http://schemas.microsoft.com/office/drawing/2014/main" id="{62825A5C-3F55-4A06-B199-9B603C8D5219}"/>
                    </a:ext>
                  </a:extLst>
                </p:cNvPr>
                <p:cNvSpPr/>
                <p:nvPr/>
              </p:nvSpPr>
              <p:spPr bwMode="gray">
                <a:xfrm>
                  <a:off x="4398930" y="30579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59" name="Graphic 75">
                <a:extLst>
                  <a:ext uri="{FF2B5EF4-FFF2-40B4-BE49-F238E27FC236}">
                    <a16:creationId xmlns:a16="http://schemas.microsoft.com/office/drawing/2014/main" id="{462A34A9-165B-A08E-8507-E94C7A7FBC5A}"/>
                  </a:ext>
                </a:extLst>
              </p:cNvPr>
              <p:cNvGrpSpPr/>
              <p:nvPr/>
            </p:nvGrpSpPr>
            <p:grpSpPr bwMode="gray">
              <a:xfrm>
                <a:off x="4348734" y="3020091"/>
                <a:ext cx="75723" cy="75628"/>
                <a:chOff x="4348734" y="3020091"/>
                <a:chExt cx="75723" cy="75628"/>
              </a:xfrm>
            </p:grpSpPr>
            <p:sp>
              <p:nvSpPr>
                <p:cNvPr id="11846" name="Freeform: Shape 11845">
                  <a:extLst>
                    <a:ext uri="{FF2B5EF4-FFF2-40B4-BE49-F238E27FC236}">
                      <a16:creationId xmlns:a16="http://schemas.microsoft.com/office/drawing/2014/main" id="{058C151D-72D1-C589-7480-E7E94B712A3B}"/>
                    </a:ext>
                  </a:extLst>
                </p:cNvPr>
                <p:cNvSpPr/>
                <p:nvPr/>
              </p:nvSpPr>
              <p:spPr bwMode="gray">
                <a:xfrm>
                  <a:off x="438664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47" name="Freeform: Shape 11846">
                  <a:extLst>
                    <a:ext uri="{FF2B5EF4-FFF2-40B4-BE49-F238E27FC236}">
                      <a16:creationId xmlns:a16="http://schemas.microsoft.com/office/drawing/2014/main" id="{0B6419D7-D3B7-2DB2-B23B-0824AD1E0949}"/>
                    </a:ext>
                  </a:extLst>
                </p:cNvPr>
                <p:cNvSpPr/>
                <p:nvPr/>
              </p:nvSpPr>
              <p:spPr bwMode="gray">
                <a:xfrm>
                  <a:off x="4348734"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0" name="Graphic 75">
                <a:extLst>
                  <a:ext uri="{FF2B5EF4-FFF2-40B4-BE49-F238E27FC236}">
                    <a16:creationId xmlns:a16="http://schemas.microsoft.com/office/drawing/2014/main" id="{F85BA94D-3D3B-F248-F303-4088931ECE24}"/>
                  </a:ext>
                </a:extLst>
              </p:cNvPr>
              <p:cNvGrpSpPr/>
              <p:nvPr/>
            </p:nvGrpSpPr>
            <p:grpSpPr bwMode="gray">
              <a:xfrm>
                <a:off x="4322635" y="3020091"/>
                <a:ext cx="75628" cy="75628"/>
                <a:chOff x="4322635" y="3020091"/>
                <a:chExt cx="75628" cy="75628"/>
              </a:xfrm>
            </p:grpSpPr>
            <p:sp>
              <p:nvSpPr>
                <p:cNvPr id="11844" name="Freeform: Shape 11843">
                  <a:extLst>
                    <a:ext uri="{FF2B5EF4-FFF2-40B4-BE49-F238E27FC236}">
                      <a16:creationId xmlns:a16="http://schemas.microsoft.com/office/drawing/2014/main" id="{1592F295-CDB0-2B73-2742-B89CB596F712}"/>
                    </a:ext>
                  </a:extLst>
                </p:cNvPr>
                <p:cNvSpPr/>
                <p:nvPr/>
              </p:nvSpPr>
              <p:spPr bwMode="gray">
                <a:xfrm>
                  <a:off x="436044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45" name="Freeform: Shape 11844">
                  <a:extLst>
                    <a:ext uri="{FF2B5EF4-FFF2-40B4-BE49-F238E27FC236}">
                      <a16:creationId xmlns:a16="http://schemas.microsoft.com/office/drawing/2014/main" id="{E4CAB0D5-4694-E187-8FB9-F880B43CD026}"/>
                    </a:ext>
                  </a:extLst>
                </p:cNvPr>
                <p:cNvSpPr/>
                <p:nvPr/>
              </p:nvSpPr>
              <p:spPr bwMode="gray">
                <a:xfrm>
                  <a:off x="4322635"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1" name="Graphic 75">
                <a:extLst>
                  <a:ext uri="{FF2B5EF4-FFF2-40B4-BE49-F238E27FC236}">
                    <a16:creationId xmlns:a16="http://schemas.microsoft.com/office/drawing/2014/main" id="{819E28F8-C403-A68F-08AB-16DB397745E9}"/>
                  </a:ext>
                </a:extLst>
              </p:cNvPr>
              <p:cNvGrpSpPr/>
              <p:nvPr/>
            </p:nvGrpSpPr>
            <p:grpSpPr bwMode="gray">
              <a:xfrm>
                <a:off x="4309586" y="3020091"/>
                <a:ext cx="75628" cy="75628"/>
                <a:chOff x="4309586" y="3020091"/>
                <a:chExt cx="75628" cy="75628"/>
              </a:xfrm>
            </p:grpSpPr>
            <p:sp>
              <p:nvSpPr>
                <p:cNvPr id="11842" name="Freeform: Shape 11841">
                  <a:extLst>
                    <a:ext uri="{FF2B5EF4-FFF2-40B4-BE49-F238E27FC236}">
                      <a16:creationId xmlns:a16="http://schemas.microsoft.com/office/drawing/2014/main" id="{CE9377E8-3D4B-24DD-BA09-6BF583A7E162}"/>
                    </a:ext>
                  </a:extLst>
                </p:cNvPr>
                <p:cNvSpPr/>
                <p:nvPr/>
              </p:nvSpPr>
              <p:spPr bwMode="gray">
                <a:xfrm>
                  <a:off x="43474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43" name="Freeform: Shape 11842">
                  <a:extLst>
                    <a:ext uri="{FF2B5EF4-FFF2-40B4-BE49-F238E27FC236}">
                      <a16:creationId xmlns:a16="http://schemas.microsoft.com/office/drawing/2014/main" id="{46AAEDE3-923B-CCD7-4E0A-21F5418D3059}"/>
                    </a:ext>
                  </a:extLst>
                </p:cNvPr>
                <p:cNvSpPr/>
                <p:nvPr/>
              </p:nvSpPr>
              <p:spPr bwMode="gray">
                <a:xfrm>
                  <a:off x="4309586"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2" name="Graphic 75">
                <a:extLst>
                  <a:ext uri="{FF2B5EF4-FFF2-40B4-BE49-F238E27FC236}">
                    <a16:creationId xmlns:a16="http://schemas.microsoft.com/office/drawing/2014/main" id="{2FBDA012-37E5-AF61-8D8C-B6B417893546}"/>
                  </a:ext>
                </a:extLst>
              </p:cNvPr>
              <p:cNvGrpSpPr/>
              <p:nvPr/>
            </p:nvGrpSpPr>
            <p:grpSpPr bwMode="gray">
              <a:xfrm>
                <a:off x="4232719" y="3020091"/>
                <a:ext cx="75723" cy="75628"/>
                <a:chOff x="4232719" y="3020091"/>
                <a:chExt cx="75723" cy="75628"/>
              </a:xfrm>
            </p:grpSpPr>
            <p:sp>
              <p:nvSpPr>
                <p:cNvPr id="11840" name="Freeform: Shape 11839">
                  <a:extLst>
                    <a:ext uri="{FF2B5EF4-FFF2-40B4-BE49-F238E27FC236}">
                      <a16:creationId xmlns:a16="http://schemas.microsoft.com/office/drawing/2014/main" id="{F7127AAA-ED1D-033E-1EE3-D3BF86E56B85}"/>
                    </a:ext>
                  </a:extLst>
                </p:cNvPr>
                <p:cNvSpPr/>
                <p:nvPr/>
              </p:nvSpPr>
              <p:spPr bwMode="gray">
                <a:xfrm>
                  <a:off x="427062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41" name="Freeform: Shape 11840">
                  <a:extLst>
                    <a:ext uri="{FF2B5EF4-FFF2-40B4-BE49-F238E27FC236}">
                      <a16:creationId xmlns:a16="http://schemas.microsoft.com/office/drawing/2014/main" id="{D1A4F6B6-59B4-6796-ABDE-56CADC4C6359}"/>
                    </a:ext>
                  </a:extLst>
                </p:cNvPr>
                <p:cNvSpPr/>
                <p:nvPr/>
              </p:nvSpPr>
              <p:spPr bwMode="gray">
                <a:xfrm>
                  <a:off x="4232719"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3" name="Graphic 75">
                <a:extLst>
                  <a:ext uri="{FF2B5EF4-FFF2-40B4-BE49-F238E27FC236}">
                    <a16:creationId xmlns:a16="http://schemas.microsoft.com/office/drawing/2014/main" id="{46C81F16-1F87-AE72-BF98-3D4358D9C70C}"/>
                  </a:ext>
                </a:extLst>
              </p:cNvPr>
              <p:cNvGrpSpPr/>
              <p:nvPr/>
            </p:nvGrpSpPr>
            <p:grpSpPr bwMode="gray">
              <a:xfrm>
                <a:off x="4218622" y="3020091"/>
                <a:ext cx="75628" cy="75628"/>
                <a:chOff x="4218622" y="3020091"/>
                <a:chExt cx="75628" cy="75628"/>
              </a:xfrm>
            </p:grpSpPr>
            <p:sp>
              <p:nvSpPr>
                <p:cNvPr id="11838" name="Freeform: Shape 11837">
                  <a:extLst>
                    <a:ext uri="{FF2B5EF4-FFF2-40B4-BE49-F238E27FC236}">
                      <a16:creationId xmlns:a16="http://schemas.microsoft.com/office/drawing/2014/main" id="{923DD8D9-6AFC-3577-0F3D-F17D84C0EC87}"/>
                    </a:ext>
                  </a:extLst>
                </p:cNvPr>
                <p:cNvSpPr/>
                <p:nvPr/>
              </p:nvSpPr>
              <p:spPr bwMode="gray">
                <a:xfrm>
                  <a:off x="425643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39" name="Freeform: Shape 11838">
                  <a:extLst>
                    <a:ext uri="{FF2B5EF4-FFF2-40B4-BE49-F238E27FC236}">
                      <a16:creationId xmlns:a16="http://schemas.microsoft.com/office/drawing/2014/main" id="{3F6C72C4-AA8B-1BA4-89B8-439934DD79BD}"/>
                    </a:ext>
                  </a:extLst>
                </p:cNvPr>
                <p:cNvSpPr/>
                <p:nvPr/>
              </p:nvSpPr>
              <p:spPr bwMode="gray">
                <a:xfrm>
                  <a:off x="4218622"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4" name="Graphic 75">
                <a:extLst>
                  <a:ext uri="{FF2B5EF4-FFF2-40B4-BE49-F238E27FC236}">
                    <a16:creationId xmlns:a16="http://schemas.microsoft.com/office/drawing/2014/main" id="{5469A3D4-A438-8FCB-A90B-002DBD4DB9E2}"/>
                  </a:ext>
                </a:extLst>
              </p:cNvPr>
              <p:cNvGrpSpPr/>
              <p:nvPr/>
            </p:nvGrpSpPr>
            <p:grpSpPr bwMode="gray">
              <a:xfrm>
                <a:off x="4536281" y="3038760"/>
                <a:ext cx="75723" cy="75723"/>
                <a:chOff x="4536281" y="3038760"/>
                <a:chExt cx="75723" cy="75723"/>
              </a:xfrm>
            </p:grpSpPr>
            <p:sp>
              <p:nvSpPr>
                <p:cNvPr id="11836" name="Freeform: Shape 11835">
                  <a:extLst>
                    <a:ext uri="{FF2B5EF4-FFF2-40B4-BE49-F238E27FC236}">
                      <a16:creationId xmlns:a16="http://schemas.microsoft.com/office/drawing/2014/main" id="{57E50397-4E15-DAC8-A2C7-EB220BE2C602}"/>
                    </a:ext>
                  </a:extLst>
                </p:cNvPr>
                <p:cNvSpPr/>
                <p:nvPr/>
              </p:nvSpPr>
              <p:spPr bwMode="gray">
                <a:xfrm>
                  <a:off x="4574190"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37" name="Freeform: Shape 11836">
                  <a:extLst>
                    <a:ext uri="{FF2B5EF4-FFF2-40B4-BE49-F238E27FC236}">
                      <a16:creationId xmlns:a16="http://schemas.microsoft.com/office/drawing/2014/main" id="{449F4015-94C5-01B9-336E-5BC2299AA19E}"/>
                    </a:ext>
                  </a:extLst>
                </p:cNvPr>
                <p:cNvSpPr/>
                <p:nvPr/>
              </p:nvSpPr>
              <p:spPr bwMode="gray">
                <a:xfrm>
                  <a:off x="453628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5" name="Graphic 75">
                <a:extLst>
                  <a:ext uri="{FF2B5EF4-FFF2-40B4-BE49-F238E27FC236}">
                    <a16:creationId xmlns:a16="http://schemas.microsoft.com/office/drawing/2014/main" id="{C4CD042B-2392-BD16-0E86-1D1B648561F8}"/>
                  </a:ext>
                </a:extLst>
              </p:cNvPr>
              <p:cNvGrpSpPr/>
              <p:nvPr/>
            </p:nvGrpSpPr>
            <p:grpSpPr bwMode="gray">
              <a:xfrm>
                <a:off x="4627245" y="3080099"/>
                <a:ext cx="75628" cy="75723"/>
                <a:chOff x="4627245" y="3080099"/>
                <a:chExt cx="75628" cy="75723"/>
              </a:xfrm>
            </p:grpSpPr>
            <p:sp>
              <p:nvSpPr>
                <p:cNvPr id="11834" name="Freeform: Shape 11833">
                  <a:extLst>
                    <a:ext uri="{FF2B5EF4-FFF2-40B4-BE49-F238E27FC236}">
                      <a16:creationId xmlns:a16="http://schemas.microsoft.com/office/drawing/2014/main" id="{74F9C326-9816-DAFF-222B-6929E5EB6B36}"/>
                    </a:ext>
                  </a:extLst>
                </p:cNvPr>
                <p:cNvSpPr/>
                <p:nvPr/>
              </p:nvSpPr>
              <p:spPr bwMode="gray">
                <a:xfrm>
                  <a:off x="4665059"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35" name="Freeform: Shape 11834">
                  <a:extLst>
                    <a:ext uri="{FF2B5EF4-FFF2-40B4-BE49-F238E27FC236}">
                      <a16:creationId xmlns:a16="http://schemas.microsoft.com/office/drawing/2014/main" id="{273937C0-B979-7EEA-DE56-6EB22D685DA0}"/>
                    </a:ext>
                  </a:extLst>
                </p:cNvPr>
                <p:cNvSpPr/>
                <p:nvPr/>
              </p:nvSpPr>
              <p:spPr bwMode="gray">
                <a:xfrm>
                  <a:off x="4627245" y="31179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6" name="Graphic 75">
                <a:extLst>
                  <a:ext uri="{FF2B5EF4-FFF2-40B4-BE49-F238E27FC236}">
                    <a16:creationId xmlns:a16="http://schemas.microsoft.com/office/drawing/2014/main" id="{64208AB9-BEB1-1ACB-250D-D4FF7FBACFA2}"/>
                  </a:ext>
                </a:extLst>
              </p:cNvPr>
              <p:cNvGrpSpPr/>
              <p:nvPr/>
            </p:nvGrpSpPr>
            <p:grpSpPr bwMode="gray">
              <a:xfrm>
                <a:off x="4637817" y="3080099"/>
                <a:ext cx="75723" cy="75723"/>
                <a:chOff x="4637817" y="3080099"/>
                <a:chExt cx="75723" cy="75723"/>
              </a:xfrm>
            </p:grpSpPr>
            <p:sp>
              <p:nvSpPr>
                <p:cNvPr id="11832" name="Freeform: Shape 11831">
                  <a:extLst>
                    <a:ext uri="{FF2B5EF4-FFF2-40B4-BE49-F238E27FC236}">
                      <a16:creationId xmlns:a16="http://schemas.microsoft.com/office/drawing/2014/main" id="{DE6C1140-A434-6C8C-8669-19A47B09B852}"/>
                    </a:ext>
                  </a:extLst>
                </p:cNvPr>
                <p:cNvSpPr/>
                <p:nvPr/>
              </p:nvSpPr>
              <p:spPr bwMode="gray">
                <a:xfrm>
                  <a:off x="4675727"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33" name="Freeform: Shape 11832">
                  <a:extLst>
                    <a:ext uri="{FF2B5EF4-FFF2-40B4-BE49-F238E27FC236}">
                      <a16:creationId xmlns:a16="http://schemas.microsoft.com/office/drawing/2014/main" id="{C2EE8901-F1BE-4E4A-7D2E-7F307E71E8C5}"/>
                    </a:ext>
                  </a:extLst>
                </p:cNvPr>
                <p:cNvSpPr/>
                <p:nvPr/>
              </p:nvSpPr>
              <p:spPr bwMode="gray">
                <a:xfrm>
                  <a:off x="4637817" y="31179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7" name="Graphic 75">
                <a:extLst>
                  <a:ext uri="{FF2B5EF4-FFF2-40B4-BE49-F238E27FC236}">
                    <a16:creationId xmlns:a16="http://schemas.microsoft.com/office/drawing/2014/main" id="{A9118498-42A7-C3FA-91EA-31B78E4F9A8E}"/>
                  </a:ext>
                </a:extLst>
              </p:cNvPr>
              <p:cNvGrpSpPr/>
              <p:nvPr/>
            </p:nvGrpSpPr>
            <p:grpSpPr bwMode="gray">
              <a:xfrm>
                <a:off x="5060346" y="3220878"/>
                <a:ext cx="75723" cy="75628"/>
                <a:chOff x="5060346" y="3220878"/>
                <a:chExt cx="75723" cy="75628"/>
              </a:xfrm>
            </p:grpSpPr>
            <p:sp>
              <p:nvSpPr>
                <p:cNvPr id="11830" name="Freeform: Shape 11829">
                  <a:extLst>
                    <a:ext uri="{FF2B5EF4-FFF2-40B4-BE49-F238E27FC236}">
                      <a16:creationId xmlns:a16="http://schemas.microsoft.com/office/drawing/2014/main" id="{178C7815-D211-C086-CBFD-622C4942077C}"/>
                    </a:ext>
                  </a:extLst>
                </p:cNvPr>
                <p:cNvSpPr/>
                <p:nvPr/>
              </p:nvSpPr>
              <p:spPr bwMode="gray">
                <a:xfrm>
                  <a:off x="509825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31" name="Freeform: Shape 11830">
                  <a:extLst>
                    <a:ext uri="{FF2B5EF4-FFF2-40B4-BE49-F238E27FC236}">
                      <a16:creationId xmlns:a16="http://schemas.microsoft.com/office/drawing/2014/main" id="{E63CFEF3-CA20-1246-3492-8D7E3A34CBBC}"/>
                    </a:ext>
                  </a:extLst>
                </p:cNvPr>
                <p:cNvSpPr/>
                <p:nvPr/>
              </p:nvSpPr>
              <p:spPr bwMode="gray">
                <a:xfrm>
                  <a:off x="5060346"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8" name="Graphic 75">
                <a:extLst>
                  <a:ext uri="{FF2B5EF4-FFF2-40B4-BE49-F238E27FC236}">
                    <a16:creationId xmlns:a16="http://schemas.microsoft.com/office/drawing/2014/main" id="{1B52E659-5374-A6D0-6821-F202F47FD873}"/>
                  </a:ext>
                </a:extLst>
              </p:cNvPr>
              <p:cNvGrpSpPr/>
              <p:nvPr/>
            </p:nvGrpSpPr>
            <p:grpSpPr bwMode="gray">
              <a:xfrm>
                <a:off x="5051298" y="3220878"/>
                <a:ext cx="75628" cy="75628"/>
                <a:chOff x="5051298" y="3220878"/>
                <a:chExt cx="75628" cy="75628"/>
              </a:xfrm>
            </p:grpSpPr>
            <p:sp>
              <p:nvSpPr>
                <p:cNvPr id="11828" name="Freeform: Shape 11827">
                  <a:extLst>
                    <a:ext uri="{FF2B5EF4-FFF2-40B4-BE49-F238E27FC236}">
                      <a16:creationId xmlns:a16="http://schemas.microsoft.com/office/drawing/2014/main" id="{3FA3FCD8-847C-9F2F-26C4-3BB3DB040BC1}"/>
                    </a:ext>
                  </a:extLst>
                </p:cNvPr>
                <p:cNvSpPr/>
                <p:nvPr/>
              </p:nvSpPr>
              <p:spPr bwMode="gray">
                <a:xfrm>
                  <a:off x="508911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29" name="Freeform: Shape 11828">
                  <a:extLst>
                    <a:ext uri="{FF2B5EF4-FFF2-40B4-BE49-F238E27FC236}">
                      <a16:creationId xmlns:a16="http://schemas.microsoft.com/office/drawing/2014/main" id="{656DAE39-CE6B-CD3A-BE83-B63C1BC2EB3B}"/>
                    </a:ext>
                  </a:extLst>
                </p:cNvPr>
                <p:cNvSpPr/>
                <p:nvPr/>
              </p:nvSpPr>
              <p:spPr bwMode="gray">
                <a:xfrm>
                  <a:off x="5051298" y="32586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69" name="Graphic 75">
                <a:extLst>
                  <a:ext uri="{FF2B5EF4-FFF2-40B4-BE49-F238E27FC236}">
                    <a16:creationId xmlns:a16="http://schemas.microsoft.com/office/drawing/2014/main" id="{57A08C53-6E66-EACC-117A-2BE30541340B}"/>
                  </a:ext>
                </a:extLst>
              </p:cNvPr>
              <p:cNvGrpSpPr/>
              <p:nvPr/>
            </p:nvGrpSpPr>
            <p:grpSpPr bwMode="gray">
              <a:xfrm>
                <a:off x="5116925" y="3220878"/>
                <a:ext cx="75723" cy="75628"/>
                <a:chOff x="5116925" y="3220878"/>
                <a:chExt cx="75723" cy="75628"/>
              </a:xfrm>
            </p:grpSpPr>
            <p:sp>
              <p:nvSpPr>
                <p:cNvPr id="11826" name="Freeform: Shape 11825">
                  <a:extLst>
                    <a:ext uri="{FF2B5EF4-FFF2-40B4-BE49-F238E27FC236}">
                      <a16:creationId xmlns:a16="http://schemas.microsoft.com/office/drawing/2014/main" id="{89E62AA4-3E95-3C9E-86EB-C4ACFEBA81E8}"/>
                    </a:ext>
                  </a:extLst>
                </p:cNvPr>
                <p:cNvSpPr/>
                <p:nvPr/>
              </p:nvSpPr>
              <p:spPr bwMode="gray">
                <a:xfrm>
                  <a:off x="5154739"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27" name="Freeform: Shape 11826">
                  <a:extLst>
                    <a:ext uri="{FF2B5EF4-FFF2-40B4-BE49-F238E27FC236}">
                      <a16:creationId xmlns:a16="http://schemas.microsoft.com/office/drawing/2014/main" id="{115C064D-3B10-07BC-500D-A14CBF9F2B0C}"/>
                    </a:ext>
                  </a:extLst>
                </p:cNvPr>
                <p:cNvSpPr/>
                <p:nvPr/>
              </p:nvSpPr>
              <p:spPr bwMode="gray">
                <a:xfrm>
                  <a:off x="5116925"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0" name="Graphic 75">
                <a:extLst>
                  <a:ext uri="{FF2B5EF4-FFF2-40B4-BE49-F238E27FC236}">
                    <a16:creationId xmlns:a16="http://schemas.microsoft.com/office/drawing/2014/main" id="{2BA62E50-7917-EBE3-F7A1-FCD2F0AE16B1}"/>
                  </a:ext>
                </a:extLst>
              </p:cNvPr>
              <p:cNvGrpSpPr/>
              <p:nvPr/>
            </p:nvGrpSpPr>
            <p:grpSpPr bwMode="gray">
              <a:xfrm>
                <a:off x="5178075" y="3242405"/>
                <a:ext cx="75628" cy="75723"/>
                <a:chOff x="5178075" y="3242405"/>
                <a:chExt cx="75628" cy="75723"/>
              </a:xfrm>
            </p:grpSpPr>
            <p:sp>
              <p:nvSpPr>
                <p:cNvPr id="11824" name="Freeform: Shape 11823">
                  <a:extLst>
                    <a:ext uri="{FF2B5EF4-FFF2-40B4-BE49-F238E27FC236}">
                      <a16:creationId xmlns:a16="http://schemas.microsoft.com/office/drawing/2014/main" id="{8CC9F95C-3950-A670-3D98-E056599E29DF}"/>
                    </a:ext>
                  </a:extLst>
                </p:cNvPr>
                <p:cNvSpPr/>
                <p:nvPr/>
              </p:nvSpPr>
              <p:spPr bwMode="gray">
                <a:xfrm>
                  <a:off x="5215890"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25" name="Freeform: Shape 11824">
                  <a:extLst>
                    <a:ext uri="{FF2B5EF4-FFF2-40B4-BE49-F238E27FC236}">
                      <a16:creationId xmlns:a16="http://schemas.microsoft.com/office/drawing/2014/main" id="{39EF034D-8AC1-D174-D53C-6CB3655D2FDA}"/>
                    </a:ext>
                  </a:extLst>
                </p:cNvPr>
                <p:cNvSpPr/>
                <p:nvPr/>
              </p:nvSpPr>
              <p:spPr bwMode="gray">
                <a:xfrm>
                  <a:off x="5178075" y="32802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1" name="Graphic 75">
                <a:extLst>
                  <a:ext uri="{FF2B5EF4-FFF2-40B4-BE49-F238E27FC236}">
                    <a16:creationId xmlns:a16="http://schemas.microsoft.com/office/drawing/2014/main" id="{DF4FC6B7-2896-6C2E-F769-8D30299DCEF9}"/>
                  </a:ext>
                </a:extLst>
              </p:cNvPr>
              <p:cNvGrpSpPr/>
              <p:nvPr/>
            </p:nvGrpSpPr>
            <p:grpSpPr bwMode="gray">
              <a:xfrm>
                <a:off x="5122068" y="3242405"/>
                <a:ext cx="75723" cy="75723"/>
                <a:chOff x="5122068" y="3242405"/>
                <a:chExt cx="75723" cy="75723"/>
              </a:xfrm>
            </p:grpSpPr>
            <p:sp>
              <p:nvSpPr>
                <p:cNvPr id="11822" name="Freeform: Shape 11821">
                  <a:extLst>
                    <a:ext uri="{FF2B5EF4-FFF2-40B4-BE49-F238E27FC236}">
                      <a16:creationId xmlns:a16="http://schemas.microsoft.com/office/drawing/2014/main" id="{DB9C336B-1081-5496-F45A-E2EF884ED76F}"/>
                    </a:ext>
                  </a:extLst>
                </p:cNvPr>
                <p:cNvSpPr/>
                <p:nvPr/>
              </p:nvSpPr>
              <p:spPr bwMode="gray">
                <a:xfrm>
                  <a:off x="5159978"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23" name="Freeform: Shape 11822">
                  <a:extLst>
                    <a:ext uri="{FF2B5EF4-FFF2-40B4-BE49-F238E27FC236}">
                      <a16:creationId xmlns:a16="http://schemas.microsoft.com/office/drawing/2014/main" id="{8B24EF13-D9F5-CD84-83AC-D89E883D54CC}"/>
                    </a:ext>
                  </a:extLst>
                </p:cNvPr>
                <p:cNvSpPr/>
                <p:nvPr/>
              </p:nvSpPr>
              <p:spPr bwMode="gray">
                <a:xfrm>
                  <a:off x="5122068"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2" name="Graphic 75">
                <a:extLst>
                  <a:ext uri="{FF2B5EF4-FFF2-40B4-BE49-F238E27FC236}">
                    <a16:creationId xmlns:a16="http://schemas.microsoft.com/office/drawing/2014/main" id="{0576014B-59E7-FA7C-CC8B-60DB838C7FB9}"/>
                  </a:ext>
                </a:extLst>
              </p:cNvPr>
              <p:cNvGrpSpPr/>
              <p:nvPr/>
            </p:nvGrpSpPr>
            <p:grpSpPr bwMode="gray">
              <a:xfrm>
                <a:off x="5135594" y="3242405"/>
                <a:ext cx="75723" cy="75723"/>
                <a:chOff x="5135594" y="3242405"/>
                <a:chExt cx="75723" cy="75723"/>
              </a:xfrm>
            </p:grpSpPr>
            <p:sp>
              <p:nvSpPr>
                <p:cNvPr id="11820" name="Freeform: Shape 11819">
                  <a:extLst>
                    <a:ext uri="{FF2B5EF4-FFF2-40B4-BE49-F238E27FC236}">
                      <a16:creationId xmlns:a16="http://schemas.microsoft.com/office/drawing/2014/main" id="{70C0623B-18E2-6C2D-1F65-A2022AE8835B}"/>
                    </a:ext>
                  </a:extLst>
                </p:cNvPr>
                <p:cNvSpPr/>
                <p:nvPr/>
              </p:nvSpPr>
              <p:spPr bwMode="gray">
                <a:xfrm>
                  <a:off x="5173503"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21" name="Freeform: Shape 11820">
                  <a:extLst>
                    <a:ext uri="{FF2B5EF4-FFF2-40B4-BE49-F238E27FC236}">
                      <a16:creationId xmlns:a16="http://schemas.microsoft.com/office/drawing/2014/main" id="{A2707FA1-6264-1731-857D-2D1741C82FB0}"/>
                    </a:ext>
                  </a:extLst>
                </p:cNvPr>
                <p:cNvSpPr/>
                <p:nvPr/>
              </p:nvSpPr>
              <p:spPr bwMode="gray">
                <a:xfrm>
                  <a:off x="5135594"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3" name="Graphic 75">
                <a:extLst>
                  <a:ext uri="{FF2B5EF4-FFF2-40B4-BE49-F238E27FC236}">
                    <a16:creationId xmlns:a16="http://schemas.microsoft.com/office/drawing/2014/main" id="{57F6E157-7EA7-DEA0-9F54-405A0AC25257}"/>
                  </a:ext>
                </a:extLst>
              </p:cNvPr>
              <p:cNvGrpSpPr/>
              <p:nvPr/>
            </p:nvGrpSpPr>
            <p:grpSpPr bwMode="gray">
              <a:xfrm>
                <a:off x="5149119" y="3242405"/>
                <a:ext cx="75723" cy="75723"/>
                <a:chOff x="5149119" y="3242405"/>
                <a:chExt cx="75723" cy="75723"/>
              </a:xfrm>
            </p:grpSpPr>
            <p:sp>
              <p:nvSpPr>
                <p:cNvPr id="11818" name="Freeform: Shape 11817">
                  <a:extLst>
                    <a:ext uri="{FF2B5EF4-FFF2-40B4-BE49-F238E27FC236}">
                      <a16:creationId xmlns:a16="http://schemas.microsoft.com/office/drawing/2014/main" id="{C5480E3D-ED4C-A351-5B17-7E4B18C5ACD8}"/>
                    </a:ext>
                  </a:extLst>
                </p:cNvPr>
                <p:cNvSpPr/>
                <p:nvPr/>
              </p:nvSpPr>
              <p:spPr bwMode="gray">
                <a:xfrm>
                  <a:off x="5187029"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19" name="Freeform: Shape 11818">
                  <a:extLst>
                    <a:ext uri="{FF2B5EF4-FFF2-40B4-BE49-F238E27FC236}">
                      <a16:creationId xmlns:a16="http://schemas.microsoft.com/office/drawing/2014/main" id="{06B0A602-B002-5791-7FC3-31A3AEDB3C3D}"/>
                    </a:ext>
                  </a:extLst>
                </p:cNvPr>
                <p:cNvSpPr/>
                <p:nvPr/>
              </p:nvSpPr>
              <p:spPr bwMode="gray">
                <a:xfrm>
                  <a:off x="5149119"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4" name="Graphic 75">
                <a:extLst>
                  <a:ext uri="{FF2B5EF4-FFF2-40B4-BE49-F238E27FC236}">
                    <a16:creationId xmlns:a16="http://schemas.microsoft.com/office/drawing/2014/main" id="{59B3D394-9826-6BBF-9E7A-0200BD81BBC7}"/>
                  </a:ext>
                </a:extLst>
              </p:cNvPr>
              <p:cNvGrpSpPr/>
              <p:nvPr/>
            </p:nvGrpSpPr>
            <p:grpSpPr bwMode="gray">
              <a:xfrm>
                <a:off x="5018722" y="3220878"/>
                <a:ext cx="75723" cy="75628"/>
                <a:chOff x="5018722" y="3220878"/>
                <a:chExt cx="75723" cy="75628"/>
              </a:xfrm>
            </p:grpSpPr>
            <p:sp>
              <p:nvSpPr>
                <p:cNvPr id="11816" name="Freeform: Shape 11815">
                  <a:extLst>
                    <a:ext uri="{FF2B5EF4-FFF2-40B4-BE49-F238E27FC236}">
                      <a16:creationId xmlns:a16="http://schemas.microsoft.com/office/drawing/2014/main" id="{53F9A1EB-2C0B-8D6C-3192-C5A663C84C9B}"/>
                    </a:ext>
                  </a:extLst>
                </p:cNvPr>
                <p:cNvSpPr/>
                <p:nvPr/>
              </p:nvSpPr>
              <p:spPr bwMode="gray">
                <a:xfrm>
                  <a:off x="505663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17" name="Freeform: Shape 11816">
                  <a:extLst>
                    <a:ext uri="{FF2B5EF4-FFF2-40B4-BE49-F238E27FC236}">
                      <a16:creationId xmlns:a16="http://schemas.microsoft.com/office/drawing/2014/main" id="{FDC6AB5F-7A51-4170-C1B5-4FE422A98172}"/>
                    </a:ext>
                  </a:extLst>
                </p:cNvPr>
                <p:cNvSpPr/>
                <p:nvPr/>
              </p:nvSpPr>
              <p:spPr bwMode="gray">
                <a:xfrm>
                  <a:off x="501872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5" name="Graphic 75">
                <a:extLst>
                  <a:ext uri="{FF2B5EF4-FFF2-40B4-BE49-F238E27FC236}">
                    <a16:creationId xmlns:a16="http://schemas.microsoft.com/office/drawing/2014/main" id="{F8AE9162-6271-FC76-0A27-C72D4D0BE739}"/>
                  </a:ext>
                </a:extLst>
              </p:cNvPr>
              <p:cNvGrpSpPr/>
              <p:nvPr/>
            </p:nvGrpSpPr>
            <p:grpSpPr bwMode="gray">
              <a:xfrm>
                <a:off x="4999577" y="3220878"/>
                <a:ext cx="75723" cy="75628"/>
                <a:chOff x="4999577" y="3220878"/>
                <a:chExt cx="75723" cy="75628"/>
              </a:xfrm>
            </p:grpSpPr>
            <p:sp>
              <p:nvSpPr>
                <p:cNvPr id="11814" name="Freeform: Shape 11813">
                  <a:extLst>
                    <a:ext uri="{FF2B5EF4-FFF2-40B4-BE49-F238E27FC236}">
                      <a16:creationId xmlns:a16="http://schemas.microsoft.com/office/drawing/2014/main" id="{923F5469-A1E9-030E-2051-64AF8D4490F1}"/>
                    </a:ext>
                  </a:extLst>
                </p:cNvPr>
                <p:cNvSpPr/>
                <p:nvPr/>
              </p:nvSpPr>
              <p:spPr bwMode="gray">
                <a:xfrm>
                  <a:off x="503748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15" name="Freeform: Shape 11814">
                  <a:extLst>
                    <a:ext uri="{FF2B5EF4-FFF2-40B4-BE49-F238E27FC236}">
                      <a16:creationId xmlns:a16="http://schemas.microsoft.com/office/drawing/2014/main" id="{8C7B8FAB-546B-23A4-399F-582408A8F0EA}"/>
                    </a:ext>
                  </a:extLst>
                </p:cNvPr>
                <p:cNvSpPr/>
                <p:nvPr/>
              </p:nvSpPr>
              <p:spPr bwMode="gray">
                <a:xfrm>
                  <a:off x="4999577"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6" name="Graphic 75">
                <a:extLst>
                  <a:ext uri="{FF2B5EF4-FFF2-40B4-BE49-F238E27FC236}">
                    <a16:creationId xmlns:a16="http://schemas.microsoft.com/office/drawing/2014/main" id="{83C7DC6F-D123-B3A3-3834-BC425079ECFD}"/>
                  </a:ext>
                </a:extLst>
              </p:cNvPr>
              <p:cNvGrpSpPr/>
              <p:nvPr/>
            </p:nvGrpSpPr>
            <p:grpSpPr bwMode="gray">
              <a:xfrm>
                <a:off x="4980432" y="3220878"/>
                <a:ext cx="75723" cy="75628"/>
                <a:chOff x="4980432" y="3220878"/>
                <a:chExt cx="75723" cy="75628"/>
              </a:xfrm>
            </p:grpSpPr>
            <p:sp>
              <p:nvSpPr>
                <p:cNvPr id="11812" name="Freeform: Shape 11811">
                  <a:extLst>
                    <a:ext uri="{FF2B5EF4-FFF2-40B4-BE49-F238E27FC236}">
                      <a16:creationId xmlns:a16="http://schemas.microsoft.com/office/drawing/2014/main" id="{DBA3C7A5-E3A7-2904-4731-7789FAD9BD16}"/>
                    </a:ext>
                  </a:extLst>
                </p:cNvPr>
                <p:cNvSpPr/>
                <p:nvPr/>
              </p:nvSpPr>
              <p:spPr bwMode="gray">
                <a:xfrm>
                  <a:off x="5018341"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13" name="Freeform: Shape 11812">
                  <a:extLst>
                    <a:ext uri="{FF2B5EF4-FFF2-40B4-BE49-F238E27FC236}">
                      <a16:creationId xmlns:a16="http://schemas.microsoft.com/office/drawing/2014/main" id="{B90DF594-B126-74EB-FE08-9D183DE37038}"/>
                    </a:ext>
                  </a:extLst>
                </p:cNvPr>
                <p:cNvSpPr/>
                <p:nvPr/>
              </p:nvSpPr>
              <p:spPr bwMode="gray">
                <a:xfrm>
                  <a:off x="498043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7" name="Graphic 75">
                <a:extLst>
                  <a:ext uri="{FF2B5EF4-FFF2-40B4-BE49-F238E27FC236}">
                    <a16:creationId xmlns:a16="http://schemas.microsoft.com/office/drawing/2014/main" id="{8C8238A4-F76B-2A6B-C893-41FAE0ECEC4C}"/>
                  </a:ext>
                </a:extLst>
              </p:cNvPr>
              <p:cNvGrpSpPr/>
              <p:nvPr/>
            </p:nvGrpSpPr>
            <p:grpSpPr bwMode="gray">
              <a:xfrm>
                <a:off x="5390102" y="3338607"/>
                <a:ext cx="75723" cy="75628"/>
                <a:chOff x="5390102" y="3338607"/>
                <a:chExt cx="75723" cy="75628"/>
              </a:xfrm>
            </p:grpSpPr>
            <p:sp>
              <p:nvSpPr>
                <p:cNvPr id="11810" name="Freeform: Shape 11809">
                  <a:extLst>
                    <a:ext uri="{FF2B5EF4-FFF2-40B4-BE49-F238E27FC236}">
                      <a16:creationId xmlns:a16="http://schemas.microsoft.com/office/drawing/2014/main" id="{835570BD-E173-8F8D-B109-5659A94C121D}"/>
                    </a:ext>
                  </a:extLst>
                </p:cNvPr>
                <p:cNvSpPr/>
                <p:nvPr/>
              </p:nvSpPr>
              <p:spPr bwMode="gray">
                <a:xfrm>
                  <a:off x="542801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11" name="Freeform: Shape 11810">
                  <a:extLst>
                    <a:ext uri="{FF2B5EF4-FFF2-40B4-BE49-F238E27FC236}">
                      <a16:creationId xmlns:a16="http://schemas.microsoft.com/office/drawing/2014/main" id="{2B058055-D84A-EA76-40CB-162D6BBAC784}"/>
                    </a:ext>
                  </a:extLst>
                </p:cNvPr>
                <p:cNvSpPr/>
                <p:nvPr/>
              </p:nvSpPr>
              <p:spPr bwMode="gray">
                <a:xfrm>
                  <a:off x="5390102"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8" name="Graphic 75">
                <a:extLst>
                  <a:ext uri="{FF2B5EF4-FFF2-40B4-BE49-F238E27FC236}">
                    <a16:creationId xmlns:a16="http://schemas.microsoft.com/office/drawing/2014/main" id="{2A30D93A-540D-7559-246A-AA2C410A6693}"/>
                  </a:ext>
                </a:extLst>
              </p:cNvPr>
              <p:cNvGrpSpPr/>
              <p:nvPr/>
            </p:nvGrpSpPr>
            <p:grpSpPr bwMode="gray">
              <a:xfrm>
                <a:off x="5439537" y="3338607"/>
                <a:ext cx="75628" cy="75628"/>
                <a:chOff x="5439537" y="3338607"/>
                <a:chExt cx="75628" cy="75628"/>
              </a:xfrm>
            </p:grpSpPr>
            <p:sp>
              <p:nvSpPr>
                <p:cNvPr id="11808" name="Freeform: Shape 11807">
                  <a:extLst>
                    <a:ext uri="{FF2B5EF4-FFF2-40B4-BE49-F238E27FC236}">
                      <a16:creationId xmlns:a16="http://schemas.microsoft.com/office/drawing/2014/main" id="{BB61AF03-05CF-488D-445B-4A899AE38BA8}"/>
                    </a:ext>
                  </a:extLst>
                </p:cNvPr>
                <p:cNvSpPr/>
                <p:nvPr/>
              </p:nvSpPr>
              <p:spPr bwMode="gray">
                <a:xfrm>
                  <a:off x="547735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09" name="Freeform: Shape 11808">
                  <a:extLst>
                    <a:ext uri="{FF2B5EF4-FFF2-40B4-BE49-F238E27FC236}">
                      <a16:creationId xmlns:a16="http://schemas.microsoft.com/office/drawing/2014/main" id="{7B21D23F-CB28-4D05-6A4C-97E2007AF855}"/>
                    </a:ext>
                  </a:extLst>
                </p:cNvPr>
                <p:cNvSpPr/>
                <p:nvPr/>
              </p:nvSpPr>
              <p:spPr bwMode="gray">
                <a:xfrm>
                  <a:off x="5439537" y="33764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79" name="Graphic 75">
                <a:extLst>
                  <a:ext uri="{FF2B5EF4-FFF2-40B4-BE49-F238E27FC236}">
                    <a16:creationId xmlns:a16="http://schemas.microsoft.com/office/drawing/2014/main" id="{A8314773-944D-0006-6251-D0194A14A6AE}"/>
                  </a:ext>
                </a:extLst>
              </p:cNvPr>
              <p:cNvGrpSpPr/>
              <p:nvPr/>
            </p:nvGrpSpPr>
            <p:grpSpPr bwMode="gray">
              <a:xfrm>
                <a:off x="5472969" y="3338607"/>
                <a:ext cx="75723" cy="75628"/>
                <a:chOff x="5472969" y="3338607"/>
                <a:chExt cx="75723" cy="75628"/>
              </a:xfrm>
            </p:grpSpPr>
            <p:sp>
              <p:nvSpPr>
                <p:cNvPr id="11806" name="Freeform: Shape 11805">
                  <a:extLst>
                    <a:ext uri="{FF2B5EF4-FFF2-40B4-BE49-F238E27FC236}">
                      <a16:creationId xmlns:a16="http://schemas.microsoft.com/office/drawing/2014/main" id="{05645244-AFBE-BFB4-C7E5-2A48A218F958}"/>
                    </a:ext>
                  </a:extLst>
                </p:cNvPr>
                <p:cNvSpPr/>
                <p:nvPr/>
              </p:nvSpPr>
              <p:spPr bwMode="gray">
                <a:xfrm>
                  <a:off x="5510784"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07" name="Freeform: Shape 11806">
                  <a:extLst>
                    <a:ext uri="{FF2B5EF4-FFF2-40B4-BE49-F238E27FC236}">
                      <a16:creationId xmlns:a16="http://schemas.microsoft.com/office/drawing/2014/main" id="{A072BBC5-8B9C-A723-4400-7A9F5FBFD3C5}"/>
                    </a:ext>
                  </a:extLst>
                </p:cNvPr>
                <p:cNvSpPr/>
                <p:nvPr/>
              </p:nvSpPr>
              <p:spPr bwMode="gray">
                <a:xfrm>
                  <a:off x="5472969"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0" name="Graphic 75">
                <a:extLst>
                  <a:ext uri="{FF2B5EF4-FFF2-40B4-BE49-F238E27FC236}">
                    <a16:creationId xmlns:a16="http://schemas.microsoft.com/office/drawing/2014/main" id="{5C4180ED-AFFF-E448-92DD-F034BD7DE3C7}"/>
                  </a:ext>
                </a:extLst>
              </p:cNvPr>
              <p:cNvGrpSpPr/>
              <p:nvPr/>
            </p:nvGrpSpPr>
            <p:grpSpPr bwMode="gray">
              <a:xfrm>
                <a:off x="5504307" y="3338607"/>
                <a:ext cx="75628" cy="75628"/>
                <a:chOff x="5504307" y="3338607"/>
                <a:chExt cx="75628" cy="75628"/>
              </a:xfrm>
            </p:grpSpPr>
            <p:sp>
              <p:nvSpPr>
                <p:cNvPr id="11804" name="Freeform: Shape 11803">
                  <a:extLst>
                    <a:ext uri="{FF2B5EF4-FFF2-40B4-BE49-F238E27FC236}">
                      <a16:creationId xmlns:a16="http://schemas.microsoft.com/office/drawing/2014/main" id="{9D95A803-6321-066B-281A-73A47CF008AA}"/>
                    </a:ext>
                  </a:extLst>
                </p:cNvPr>
                <p:cNvSpPr/>
                <p:nvPr/>
              </p:nvSpPr>
              <p:spPr bwMode="gray">
                <a:xfrm>
                  <a:off x="554212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05" name="Freeform: Shape 11804">
                  <a:extLst>
                    <a:ext uri="{FF2B5EF4-FFF2-40B4-BE49-F238E27FC236}">
                      <a16:creationId xmlns:a16="http://schemas.microsoft.com/office/drawing/2014/main" id="{D6F9760E-FE9E-BEAC-25DC-07410E03DC78}"/>
                    </a:ext>
                  </a:extLst>
                </p:cNvPr>
                <p:cNvSpPr/>
                <p:nvPr/>
              </p:nvSpPr>
              <p:spPr bwMode="gray">
                <a:xfrm>
                  <a:off x="5504307" y="33764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1" name="Graphic 75">
                <a:extLst>
                  <a:ext uri="{FF2B5EF4-FFF2-40B4-BE49-F238E27FC236}">
                    <a16:creationId xmlns:a16="http://schemas.microsoft.com/office/drawing/2014/main" id="{58084410-7855-A990-904C-3ED0BB8ABF99}"/>
                  </a:ext>
                </a:extLst>
              </p:cNvPr>
              <p:cNvGrpSpPr/>
              <p:nvPr/>
            </p:nvGrpSpPr>
            <p:grpSpPr bwMode="gray">
              <a:xfrm>
                <a:off x="5489448" y="3338607"/>
                <a:ext cx="75723" cy="75628"/>
                <a:chOff x="5489448" y="3338607"/>
                <a:chExt cx="75723" cy="75628"/>
              </a:xfrm>
            </p:grpSpPr>
            <p:sp>
              <p:nvSpPr>
                <p:cNvPr id="11802" name="Freeform: Shape 11801">
                  <a:extLst>
                    <a:ext uri="{FF2B5EF4-FFF2-40B4-BE49-F238E27FC236}">
                      <a16:creationId xmlns:a16="http://schemas.microsoft.com/office/drawing/2014/main" id="{7ED5B919-F9A1-FC6D-EAAA-F094E0DBCE5A}"/>
                    </a:ext>
                  </a:extLst>
                </p:cNvPr>
                <p:cNvSpPr/>
                <p:nvPr/>
              </p:nvSpPr>
              <p:spPr bwMode="gray">
                <a:xfrm>
                  <a:off x="552726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03" name="Freeform: Shape 11802">
                  <a:extLst>
                    <a:ext uri="{FF2B5EF4-FFF2-40B4-BE49-F238E27FC236}">
                      <a16:creationId xmlns:a16="http://schemas.microsoft.com/office/drawing/2014/main" id="{9C2372CB-3FD4-BC89-139D-DAF6987FEA6E}"/>
                    </a:ext>
                  </a:extLst>
                </p:cNvPr>
                <p:cNvSpPr/>
                <p:nvPr/>
              </p:nvSpPr>
              <p:spPr bwMode="gray">
                <a:xfrm>
                  <a:off x="548944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2" name="Graphic 75">
                <a:extLst>
                  <a:ext uri="{FF2B5EF4-FFF2-40B4-BE49-F238E27FC236}">
                    <a16:creationId xmlns:a16="http://schemas.microsoft.com/office/drawing/2014/main" id="{8EDEB654-55F0-387D-0C41-C49CBB4FD42E}"/>
                  </a:ext>
                </a:extLst>
              </p:cNvPr>
              <p:cNvGrpSpPr/>
              <p:nvPr/>
            </p:nvGrpSpPr>
            <p:grpSpPr bwMode="gray">
              <a:xfrm>
                <a:off x="5548693" y="3392900"/>
                <a:ext cx="75628" cy="75628"/>
                <a:chOff x="5548693" y="3392900"/>
                <a:chExt cx="75628" cy="75628"/>
              </a:xfrm>
            </p:grpSpPr>
            <p:sp>
              <p:nvSpPr>
                <p:cNvPr id="11800" name="Freeform: Shape 11799">
                  <a:extLst>
                    <a:ext uri="{FF2B5EF4-FFF2-40B4-BE49-F238E27FC236}">
                      <a16:creationId xmlns:a16="http://schemas.microsoft.com/office/drawing/2014/main" id="{DB91AF6F-EEE3-98A3-CD8B-F317324910B3}"/>
                    </a:ext>
                  </a:extLst>
                </p:cNvPr>
                <p:cNvSpPr/>
                <p:nvPr/>
              </p:nvSpPr>
              <p:spPr bwMode="gray">
                <a:xfrm>
                  <a:off x="55865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801" name="Freeform: Shape 11800">
                  <a:extLst>
                    <a:ext uri="{FF2B5EF4-FFF2-40B4-BE49-F238E27FC236}">
                      <a16:creationId xmlns:a16="http://schemas.microsoft.com/office/drawing/2014/main" id="{BB3002D7-A8AC-F9C2-1513-C695FCE0B210}"/>
                    </a:ext>
                  </a:extLst>
                </p:cNvPr>
                <p:cNvSpPr/>
                <p:nvPr/>
              </p:nvSpPr>
              <p:spPr bwMode="gray">
                <a:xfrm>
                  <a:off x="5548693"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3" name="Graphic 75">
                <a:extLst>
                  <a:ext uri="{FF2B5EF4-FFF2-40B4-BE49-F238E27FC236}">
                    <a16:creationId xmlns:a16="http://schemas.microsoft.com/office/drawing/2014/main" id="{A24E709E-1D7A-9A22-5465-928DB6C473AE}"/>
                  </a:ext>
                </a:extLst>
              </p:cNvPr>
              <p:cNvGrpSpPr/>
              <p:nvPr/>
            </p:nvGrpSpPr>
            <p:grpSpPr bwMode="gray">
              <a:xfrm>
                <a:off x="5561076" y="3392900"/>
                <a:ext cx="75723" cy="75628"/>
                <a:chOff x="5561076" y="3392900"/>
                <a:chExt cx="75723" cy="75628"/>
              </a:xfrm>
            </p:grpSpPr>
            <p:sp>
              <p:nvSpPr>
                <p:cNvPr id="11798" name="Freeform: Shape 11797">
                  <a:extLst>
                    <a:ext uri="{FF2B5EF4-FFF2-40B4-BE49-F238E27FC236}">
                      <a16:creationId xmlns:a16="http://schemas.microsoft.com/office/drawing/2014/main" id="{46DDC443-1FE4-179C-D3C3-4D58EA5F2ED0}"/>
                    </a:ext>
                  </a:extLst>
                </p:cNvPr>
                <p:cNvSpPr/>
                <p:nvPr/>
              </p:nvSpPr>
              <p:spPr bwMode="gray">
                <a:xfrm>
                  <a:off x="559898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99" name="Freeform: Shape 11798">
                  <a:extLst>
                    <a:ext uri="{FF2B5EF4-FFF2-40B4-BE49-F238E27FC236}">
                      <a16:creationId xmlns:a16="http://schemas.microsoft.com/office/drawing/2014/main" id="{1C2F150B-02B4-BD8C-2E44-C97F16C722B3}"/>
                    </a:ext>
                  </a:extLst>
                </p:cNvPr>
                <p:cNvSpPr/>
                <p:nvPr/>
              </p:nvSpPr>
              <p:spPr bwMode="gray">
                <a:xfrm>
                  <a:off x="556107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4" name="Graphic 75">
                <a:extLst>
                  <a:ext uri="{FF2B5EF4-FFF2-40B4-BE49-F238E27FC236}">
                    <a16:creationId xmlns:a16="http://schemas.microsoft.com/office/drawing/2014/main" id="{B89B748C-23F7-57AF-8412-C0EAC5AC08BF}"/>
                  </a:ext>
                </a:extLst>
              </p:cNvPr>
              <p:cNvGrpSpPr/>
              <p:nvPr/>
            </p:nvGrpSpPr>
            <p:grpSpPr bwMode="gray">
              <a:xfrm>
                <a:off x="5588793" y="3392900"/>
                <a:ext cx="75723" cy="75628"/>
                <a:chOff x="5588793" y="3392900"/>
                <a:chExt cx="75723" cy="75628"/>
              </a:xfrm>
            </p:grpSpPr>
            <p:sp>
              <p:nvSpPr>
                <p:cNvPr id="11796" name="Freeform: Shape 11795">
                  <a:extLst>
                    <a:ext uri="{FF2B5EF4-FFF2-40B4-BE49-F238E27FC236}">
                      <a16:creationId xmlns:a16="http://schemas.microsoft.com/office/drawing/2014/main" id="{23D15273-23D8-B8E6-883F-6EDD723303D2}"/>
                    </a:ext>
                  </a:extLst>
                </p:cNvPr>
                <p:cNvSpPr/>
                <p:nvPr/>
              </p:nvSpPr>
              <p:spPr bwMode="gray">
                <a:xfrm>
                  <a:off x="562660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97" name="Freeform: Shape 11796">
                  <a:extLst>
                    <a:ext uri="{FF2B5EF4-FFF2-40B4-BE49-F238E27FC236}">
                      <a16:creationId xmlns:a16="http://schemas.microsoft.com/office/drawing/2014/main" id="{E799EAA9-92DA-E490-FD0C-06FE94003DA6}"/>
                    </a:ext>
                  </a:extLst>
                </p:cNvPr>
                <p:cNvSpPr/>
                <p:nvPr/>
              </p:nvSpPr>
              <p:spPr bwMode="gray">
                <a:xfrm>
                  <a:off x="558879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5" name="Graphic 75">
                <a:extLst>
                  <a:ext uri="{FF2B5EF4-FFF2-40B4-BE49-F238E27FC236}">
                    <a16:creationId xmlns:a16="http://schemas.microsoft.com/office/drawing/2014/main" id="{CF2A48F9-DE05-9FCF-2191-768ACA42EABA}"/>
                  </a:ext>
                </a:extLst>
              </p:cNvPr>
              <p:cNvGrpSpPr/>
              <p:nvPr/>
            </p:nvGrpSpPr>
            <p:grpSpPr bwMode="gray">
              <a:xfrm>
                <a:off x="5602128" y="3392900"/>
                <a:ext cx="75723" cy="75628"/>
                <a:chOff x="5602128" y="3392900"/>
                <a:chExt cx="75723" cy="75628"/>
              </a:xfrm>
            </p:grpSpPr>
            <p:sp>
              <p:nvSpPr>
                <p:cNvPr id="11794" name="Freeform: Shape 11793">
                  <a:extLst>
                    <a:ext uri="{FF2B5EF4-FFF2-40B4-BE49-F238E27FC236}">
                      <a16:creationId xmlns:a16="http://schemas.microsoft.com/office/drawing/2014/main" id="{39A4CEDC-F0D0-C978-72C8-B505C8098B4D}"/>
                    </a:ext>
                  </a:extLst>
                </p:cNvPr>
                <p:cNvSpPr/>
                <p:nvPr/>
              </p:nvSpPr>
              <p:spPr bwMode="gray">
                <a:xfrm>
                  <a:off x="564003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95" name="Freeform: Shape 11794">
                  <a:extLst>
                    <a:ext uri="{FF2B5EF4-FFF2-40B4-BE49-F238E27FC236}">
                      <a16:creationId xmlns:a16="http://schemas.microsoft.com/office/drawing/2014/main" id="{9332DF16-A873-D5ED-1EE5-49A31A587581}"/>
                    </a:ext>
                  </a:extLst>
                </p:cNvPr>
                <p:cNvSpPr/>
                <p:nvPr/>
              </p:nvSpPr>
              <p:spPr bwMode="gray">
                <a:xfrm>
                  <a:off x="5602128"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6" name="Graphic 75">
                <a:extLst>
                  <a:ext uri="{FF2B5EF4-FFF2-40B4-BE49-F238E27FC236}">
                    <a16:creationId xmlns:a16="http://schemas.microsoft.com/office/drawing/2014/main" id="{8242E4FB-3BE0-BF76-EEC3-710C1223162C}"/>
                  </a:ext>
                </a:extLst>
              </p:cNvPr>
              <p:cNvGrpSpPr/>
              <p:nvPr/>
            </p:nvGrpSpPr>
            <p:grpSpPr bwMode="gray">
              <a:xfrm>
                <a:off x="5745956" y="3392900"/>
                <a:ext cx="75723" cy="75628"/>
                <a:chOff x="5745956" y="3392900"/>
                <a:chExt cx="75723" cy="75628"/>
              </a:xfrm>
            </p:grpSpPr>
            <p:sp>
              <p:nvSpPr>
                <p:cNvPr id="11792" name="Freeform: Shape 11791">
                  <a:extLst>
                    <a:ext uri="{FF2B5EF4-FFF2-40B4-BE49-F238E27FC236}">
                      <a16:creationId xmlns:a16="http://schemas.microsoft.com/office/drawing/2014/main" id="{CD712EA1-456F-42CC-AFDA-C8CF567123E7}"/>
                    </a:ext>
                  </a:extLst>
                </p:cNvPr>
                <p:cNvSpPr/>
                <p:nvPr/>
              </p:nvSpPr>
              <p:spPr bwMode="gray">
                <a:xfrm>
                  <a:off x="5783770"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93" name="Freeform: Shape 11792">
                  <a:extLst>
                    <a:ext uri="{FF2B5EF4-FFF2-40B4-BE49-F238E27FC236}">
                      <a16:creationId xmlns:a16="http://schemas.microsoft.com/office/drawing/2014/main" id="{4B3BBD5B-2B17-72B9-31F1-24B436A3C520}"/>
                    </a:ext>
                  </a:extLst>
                </p:cNvPr>
                <p:cNvSpPr/>
                <p:nvPr/>
              </p:nvSpPr>
              <p:spPr bwMode="gray">
                <a:xfrm>
                  <a:off x="574595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7" name="Graphic 75">
                <a:extLst>
                  <a:ext uri="{FF2B5EF4-FFF2-40B4-BE49-F238E27FC236}">
                    <a16:creationId xmlns:a16="http://schemas.microsoft.com/office/drawing/2014/main" id="{34F4DF71-2E6C-6250-C39C-8919FBDA24D1}"/>
                  </a:ext>
                </a:extLst>
              </p:cNvPr>
              <p:cNvGrpSpPr/>
              <p:nvPr/>
            </p:nvGrpSpPr>
            <p:grpSpPr bwMode="gray">
              <a:xfrm>
                <a:off x="5709475" y="3392900"/>
                <a:ext cx="75723" cy="75628"/>
                <a:chOff x="5709475" y="3392900"/>
                <a:chExt cx="75723" cy="75628"/>
              </a:xfrm>
            </p:grpSpPr>
            <p:sp>
              <p:nvSpPr>
                <p:cNvPr id="11790" name="Freeform: Shape 11789">
                  <a:extLst>
                    <a:ext uri="{FF2B5EF4-FFF2-40B4-BE49-F238E27FC236}">
                      <a16:creationId xmlns:a16="http://schemas.microsoft.com/office/drawing/2014/main" id="{176225C9-9F42-7CFC-EC9B-1F752CE109CF}"/>
                    </a:ext>
                  </a:extLst>
                </p:cNvPr>
                <p:cNvSpPr/>
                <p:nvPr/>
              </p:nvSpPr>
              <p:spPr bwMode="gray">
                <a:xfrm>
                  <a:off x="5747289"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91" name="Freeform: Shape 11790">
                  <a:extLst>
                    <a:ext uri="{FF2B5EF4-FFF2-40B4-BE49-F238E27FC236}">
                      <a16:creationId xmlns:a16="http://schemas.microsoft.com/office/drawing/2014/main" id="{A46E4982-FE31-5FFD-4513-5E7C4B0ABF6B}"/>
                    </a:ext>
                  </a:extLst>
                </p:cNvPr>
                <p:cNvSpPr/>
                <p:nvPr/>
              </p:nvSpPr>
              <p:spPr bwMode="gray">
                <a:xfrm>
                  <a:off x="5709475"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8" name="Graphic 75">
                <a:extLst>
                  <a:ext uri="{FF2B5EF4-FFF2-40B4-BE49-F238E27FC236}">
                    <a16:creationId xmlns:a16="http://schemas.microsoft.com/office/drawing/2014/main" id="{BC3BFB92-73EE-A72F-03DE-0788998F23CB}"/>
                  </a:ext>
                </a:extLst>
              </p:cNvPr>
              <p:cNvGrpSpPr/>
              <p:nvPr/>
            </p:nvGrpSpPr>
            <p:grpSpPr bwMode="gray">
              <a:xfrm>
                <a:off x="5682996" y="3392900"/>
                <a:ext cx="75723" cy="75628"/>
                <a:chOff x="5682996" y="3392900"/>
                <a:chExt cx="75723" cy="75628"/>
              </a:xfrm>
            </p:grpSpPr>
            <p:sp>
              <p:nvSpPr>
                <p:cNvPr id="11788" name="Freeform: Shape 11787">
                  <a:extLst>
                    <a:ext uri="{FF2B5EF4-FFF2-40B4-BE49-F238E27FC236}">
                      <a16:creationId xmlns:a16="http://schemas.microsoft.com/office/drawing/2014/main" id="{E3FF73C5-34A4-EABC-4A06-943E3C8FC05F}"/>
                    </a:ext>
                  </a:extLst>
                </p:cNvPr>
                <p:cNvSpPr/>
                <p:nvPr/>
              </p:nvSpPr>
              <p:spPr bwMode="gray">
                <a:xfrm>
                  <a:off x="572090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89" name="Freeform: Shape 11788">
                  <a:extLst>
                    <a:ext uri="{FF2B5EF4-FFF2-40B4-BE49-F238E27FC236}">
                      <a16:creationId xmlns:a16="http://schemas.microsoft.com/office/drawing/2014/main" id="{C04DF67C-14F8-CDA9-2C94-0FEF2332410C}"/>
                    </a:ext>
                  </a:extLst>
                </p:cNvPr>
                <p:cNvSpPr/>
                <p:nvPr/>
              </p:nvSpPr>
              <p:spPr bwMode="gray">
                <a:xfrm>
                  <a:off x="568299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89" name="Graphic 75">
                <a:extLst>
                  <a:ext uri="{FF2B5EF4-FFF2-40B4-BE49-F238E27FC236}">
                    <a16:creationId xmlns:a16="http://schemas.microsoft.com/office/drawing/2014/main" id="{0127D88C-2C26-C07D-C00D-4E03C59FD85D}"/>
                  </a:ext>
                </a:extLst>
              </p:cNvPr>
              <p:cNvGrpSpPr/>
              <p:nvPr/>
            </p:nvGrpSpPr>
            <p:grpSpPr bwMode="gray">
              <a:xfrm>
                <a:off x="5647753" y="3392900"/>
                <a:ext cx="75723" cy="75628"/>
                <a:chOff x="5647753" y="3392900"/>
                <a:chExt cx="75723" cy="75628"/>
              </a:xfrm>
            </p:grpSpPr>
            <p:sp>
              <p:nvSpPr>
                <p:cNvPr id="11786" name="Freeform: Shape 11785">
                  <a:extLst>
                    <a:ext uri="{FF2B5EF4-FFF2-40B4-BE49-F238E27FC236}">
                      <a16:creationId xmlns:a16="http://schemas.microsoft.com/office/drawing/2014/main" id="{FEBAA794-38E7-19EB-F2FC-571EDE6147FA}"/>
                    </a:ext>
                  </a:extLst>
                </p:cNvPr>
                <p:cNvSpPr/>
                <p:nvPr/>
              </p:nvSpPr>
              <p:spPr bwMode="gray">
                <a:xfrm>
                  <a:off x="568556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87" name="Freeform: Shape 11786">
                  <a:extLst>
                    <a:ext uri="{FF2B5EF4-FFF2-40B4-BE49-F238E27FC236}">
                      <a16:creationId xmlns:a16="http://schemas.microsoft.com/office/drawing/2014/main" id="{A88D4889-2AE9-409D-AFF5-A186FABA6D25}"/>
                    </a:ext>
                  </a:extLst>
                </p:cNvPr>
                <p:cNvSpPr/>
                <p:nvPr/>
              </p:nvSpPr>
              <p:spPr bwMode="gray">
                <a:xfrm>
                  <a:off x="564775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0" name="Graphic 75">
                <a:extLst>
                  <a:ext uri="{FF2B5EF4-FFF2-40B4-BE49-F238E27FC236}">
                    <a16:creationId xmlns:a16="http://schemas.microsoft.com/office/drawing/2014/main" id="{6246F956-CB60-54EC-EC5D-CD081A45B12F}"/>
                  </a:ext>
                </a:extLst>
              </p:cNvPr>
              <p:cNvGrpSpPr/>
              <p:nvPr/>
            </p:nvGrpSpPr>
            <p:grpSpPr bwMode="gray">
              <a:xfrm>
                <a:off x="5618892" y="3392900"/>
                <a:ext cx="75628" cy="75628"/>
                <a:chOff x="5618892" y="3392900"/>
                <a:chExt cx="75628" cy="75628"/>
              </a:xfrm>
            </p:grpSpPr>
            <p:sp>
              <p:nvSpPr>
                <p:cNvPr id="11784" name="Freeform: Shape 11783">
                  <a:extLst>
                    <a:ext uri="{FF2B5EF4-FFF2-40B4-BE49-F238E27FC236}">
                      <a16:creationId xmlns:a16="http://schemas.microsoft.com/office/drawing/2014/main" id="{B5C4EC8A-162E-55EF-BD9D-0D009038E066}"/>
                    </a:ext>
                  </a:extLst>
                </p:cNvPr>
                <p:cNvSpPr/>
                <p:nvPr/>
              </p:nvSpPr>
              <p:spPr bwMode="gray">
                <a:xfrm>
                  <a:off x="56567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85" name="Freeform: Shape 11784">
                  <a:extLst>
                    <a:ext uri="{FF2B5EF4-FFF2-40B4-BE49-F238E27FC236}">
                      <a16:creationId xmlns:a16="http://schemas.microsoft.com/office/drawing/2014/main" id="{D065C040-FF74-0034-BDF1-5F11540F50FA}"/>
                    </a:ext>
                  </a:extLst>
                </p:cNvPr>
                <p:cNvSpPr/>
                <p:nvPr/>
              </p:nvSpPr>
              <p:spPr bwMode="gray">
                <a:xfrm>
                  <a:off x="5618892"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1" name="Graphic 75">
                <a:extLst>
                  <a:ext uri="{FF2B5EF4-FFF2-40B4-BE49-F238E27FC236}">
                    <a16:creationId xmlns:a16="http://schemas.microsoft.com/office/drawing/2014/main" id="{5F7F2BBF-FA65-3795-393D-AD087CBDCBDB}"/>
                  </a:ext>
                </a:extLst>
              </p:cNvPr>
              <p:cNvGrpSpPr/>
              <p:nvPr/>
            </p:nvGrpSpPr>
            <p:grpSpPr bwMode="gray">
              <a:xfrm>
                <a:off x="5734431" y="3392900"/>
                <a:ext cx="75628" cy="75628"/>
                <a:chOff x="5734431" y="3392900"/>
                <a:chExt cx="75628" cy="75628"/>
              </a:xfrm>
            </p:grpSpPr>
            <p:sp>
              <p:nvSpPr>
                <p:cNvPr id="11782" name="Freeform: Shape 11781">
                  <a:extLst>
                    <a:ext uri="{FF2B5EF4-FFF2-40B4-BE49-F238E27FC236}">
                      <a16:creationId xmlns:a16="http://schemas.microsoft.com/office/drawing/2014/main" id="{71DD5B03-D116-B8EF-4A4C-6E75F162A997}"/>
                    </a:ext>
                  </a:extLst>
                </p:cNvPr>
                <p:cNvSpPr/>
                <p:nvPr/>
              </p:nvSpPr>
              <p:spPr bwMode="gray">
                <a:xfrm>
                  <a:off x="577224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83" name="Freeform: Shape 11782">
                  <a:extLst>
                    <a:ext uri="{FF2B5EF4-FFF2-40B4-BE49-F238E27FC236}">
                      <a16:creationId xmlns:a16="http://schemas.microsoft.com/office/drawing/2014/main" id="{22EFF179-6AC8-3C94-A986-B0F5FC56BC26}"/>
                    </a:ext>
                  </a:extLst>
                </p:cNvPr>
                <p:cNvSpPr/>
                <p:nvPr/>
              </p:nvSpPr>
              <p:spPr bwMode="gray">
                <a:xfrm>
                  <a:off x="5734431"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2" name="Graphic 75">
                <a:extLst>
                  <a:ext uri="{FF2B5EF4-FFF2-40B4-BE49-F238E27FC236}">
                    <a16:creationId xmlns:a16="http://schemas.microsoft.com/office/drawing/2014/main" id="{06C317B8-EAD9-8A17-D78C-E1F964340882}"/>
                  </a:ext>
                </a:extLst>
              </p:cNvPr>
              <p:cNvGrpSpPr/>
              <p:nvPr/>
            </p:nvGrpSpPr>
            <p:grpSpPr bwMode="gray">
              <a:xfrm>
                <a:off x="5757481" y="3392900"/>
                <a:ext cx="75723" cy="75628"/>
                <a:chOff x="5757481" y="3392900"/>
                <a:chExt cx="75723" cy="75628"/>
              </a:xfrm>
            </p:grpSpPr>
            <p:sp>
              <p:nvSpPr>
                <p:cNvPr id="11780" name="Freeform: Shape 11779">
                  <a:extLst>
                    <a:ext uri="{FF2B5EF4-FFF2-40B4-BE49-F238E27FC236}">
                      <a16:creationId xmlns:a16="http://schemas.microsoft.com/office/drawing/2014/main" id="{5B17C5D9-80A2-275E-17AD-78D241D0A2B0}"/>
                    </a:ext>
                  </a:extLst>
                </p:cNvPr>
                <p:cNvSpPr/>
                <p:nvPr/>
              </p:nvSpPr>
              <p:spPr bwMode="gray">
                <a:xfrm>
                  <a:off x="579529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81" name="Freeform: Shape 11780">
                  <a:extLst>
                    <a:ext uri="{FF2B5EF4-FFF2-40B4-BE49-F238E27FC236}">
                      <a16:creationId xmlns:a16="http://schemas.microsoft.com/office/drawing/2014/main" id="{33C8EA17-C531-9637-9E72-571B7A35B666}"/>
                    </a:ext>
                  </a:extLst>
                </p:cNvPr>
                <p:cNvSpPr/>
                <p:nvPr/>
              </p:nvSpPr>
              <p:spPr bwMode="gray">
                <a:xfrm>
                  <a:off x="5757481"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3" name="Graphic 75">
                <a:extLst>
                  <a:ext uri="{FF2B5EF4-FFF2-40B4-BE49-F238E27FC236}">
                    <a16:creationId xmlns:a16="http://schemas.microsoft.com/office/drawing/2014/main" id="{DCB69FAE-6AE9-D915-B0AB-1DC1F62FAFDC}"/>
                  </a:ext>
                </a:extLst>
              </p:cNvPr>
              <p:cNvGrpSpPr/>
              <p:nvPr/>
            </p:nvGrpSpPr>
            <p:grpSpPr bwMode="gray">
              <a:xfrm>
                <a:off x="6008655" y="3450431"/>
                <a:ext cx="75723" cy="75723"/>
                <a:chOff x="6008655" y="3450431"/>
                <a:chExt cx="75723" cy="75723"/>
              </a:xfrm>
            </p:grpSpPr>
            <p:sp>
              <p:nvSpPr>
                <p:cNvPr id="11778" name="Freeform: Shape 11777">
                  <a:extLst>
                    <a:ext uri="{FF2B5EF4-FFF2-40B4-BE49-F238E27FC236}">
                      <a16:creationId xmlns:a16="http://schemas.microsoft.com/office/drawing/2014/main" id="{DA1B70B9-F29B-2184-AD45-EFBD3E8B9131}"/>
                    </a:ext>
                  </a:extLst>
                </p:cNvPr>
                <p:cNvSpPr/>
                <p:nvPr/>
              </p:nvSpPr>
              <p:spPr bwMode="gray">
                <a:xfrm>
                  <a:off x="6046565"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79" name="Freeform: Shape 11778">
                  <a:extLst>
                    <a:ext uri="{FF2B5EF4-FFF2-40B4-BE49-F238E27FC236}">
                      <a16:creationId xmlns:a16="http://schemas.microsoft.com/office/drawing/2014/main" id="{4310DFE5-12F8-BE79-8581-675474F9352A}"/>
                    </a:ext>
                  </a:extLst>
                </p:cNvPr>
                <p:cNvSpPr/>
                <p:nvPr/>
              </p:nvSpPr>
              <p:spPr bwMode="gray">
                <a:xfrm>
                  <a:off x="6008655"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4" name="Graphic 75">
                <a:extLst>
                  <a:ext uri="{FF2B5EF4-FFF2-40B4-BE49-F238E27FC236}">
                    <a16:creationId xmlns:a16="http://schemas.microsoft.com/office/drawing/2014/main" id="{76355052-D225-7467-24D3-D3945BB251B9}"/>
                  </a:ext>
                </a:extLst>
              </p:cNvPr>
              <p:cNvGrpSpPr/>
              <p:nvPr/>
            </p:nvGrpSpPr>
            <p:grpSpPr bwMode="gray">
              <a:xfrm>
                <a:off x="6027134" y="3450431"/>
                <a:ext cx="75723" cy="75723"/>
                <a:chOff x="6027134" y="3450431"/>
                <a:chExt cx="75723" cy="75723"/>
              </a:xfrm>
            </p:grpSpPr>
            <p:sp>
              <p:nvSpPr>
                <p:cNvPr id="11776" name="Freeform: Shape 11775">
                  <a:extLst>
                    <a:ext uri="{FF2B5EF4-FFF2-40B4-BE49-F238E27FC236}">
                      <a16:creationId xmlns:a16="http://schemas.microsoft.com/office/drawing/2014/main" id="{9DB995B2-BD8D-00E5-B6C8-CD5BED9D96C4}"/>
                    </a:ext>
                  </a:extLst>
                </p:cNvPr>
                <p:cNvSpPr/>
                <p:nvPr/>
              </p:nvSpPr>
              <p:spPr bwMode="gray">
                <a:xfrm>
                  <a:off x="606494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77" name="Freeform: Shape 11776">
                  <a:extLst>
                    <a:ext uri="{FF2B5EF4-FFF2-40B4-BE49-F238E27FC236}">
                      <a16:creationId xmlns:a16="http://schemas.microsoft.com/office/drawing/2014/main" id="{1F49ABE1-3D6C-592D-684C-EF8B1266831A}"/>
                    </a:ext>
                  </a:extLst>
                </p:cNvPr>
                <p:cNvSpPr/>
                <p:nvPr/>
              </p:nvSpPr>
              <p:spPr bwMode="gray">
                <a:xfrm>
                  <a:off x="6027134"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5" name="Graphic 75">
                <a:extLst>
                  <a:ext uri="{FF2B5EF4-FFF2-40B4-BE49-F238E27FC236}">
                    <a16:creationId xmlns:a16="http://schemas.microsoft.com/office/drawing/2014/main" id="{FF6C68D2-9061-FD73-8198-37A0E53F111A}"/>
                  </a:ext>
                </a:extLst>
              </p:cNvPr>
              <p:cNvGrpSpPr/>
              <p:nvPr/>
            </p:nvGrpSpPr>
            <p:grpSpPr bwMode="gray">
              <a:xfrm>
                <a:off x="6076759" y="3450431"/>
                <a:ext cx="75723" cy="75723"/>
                <a:chOff x="6076759" y="3450431"/>
                <a:chExt cx="75723" cy="75723"/>
              </a:xfrm>
            </p:grpSpPr>
            <p:sp>
              <p:nvSpPr>
                <p:cNvPr id="11774" name="Freeform: Shape 11773">
                  <a:extLst>
                    <a:ext uri="{FF2B5EF4-FFF2-40B4-BE49-F238E27FC236}">
                      <a16:creationId xmlns:a16="http://schemas.microsoft.com/office/drawing/2014/main" id="{6688CD2C-693B-3149-62FC-C5BB7305CA82}"/>
                    </a:ext>
                  </a:extLst>
                </p:cNvPr>
                <p:cNvSpPr/>
                <p:nvPr/>
              </p:nvSpPr>
              <p:spPr bwMode="gray">
                <a:xfrm>
                  <a:off x="6114573"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75" name="Freeform: Shape 11774">
                  <a:extLst>
                    <a:ext uri="{FF2B5EF4-FFF2-40B4-BE49-F238E27FC236}">
                      <a16:creationId xmlns:a16="http://schemas.microsoft.com/office/drawing/2014/main" id="{33BC0DB1-027F-6251-4142-D1C78252E35B}"/>
                    </a:ext>
                  </a:extLst>
                </p:cNvPr>
                <p:cNvSpPr/>
                <p:nvPr/>
              </p:nvSpPr>
              <p:spPr bwMode="gray">
                <a:xfrm>
                  <a:off x="6076759"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6" name="Graphic 75">
                <a:extLst>
                  <a:ext uri="{FF2B5EF4-FFF2-40B4-BE49-F238E27FC236}">
                    <a16:creationId xmlns:a16="http://schemas.microsoft.com/office/drawing/2014/main" id="{5D93600C-1165-37C5-4E00-1047F2C26075}"/>
                  </a:ext>
                </a:extLst>
              </p:cNvPr>
              <p:cNvGrpSpPr/>
              <p:nvPr/>
            </p:nvGrpSpPr>
            <p:grpSpPr bwMode="gray">
              <a:xfrm>
                <a:off x="6064948" y="3450431"/>
                <a:ext cx="75723" cy="75723"/>
                <a:chOff x="6064948" y="3450431"/>
                <a:chExt cx="75723" cy="75723"/>
              </a:xfrm>
            </p:grpSpPr>
            <p:sp>
              <p:nvSpPr>
                <p:cNvPr id="11772" name="Freeform: Shape 11771">
                  <a:extLst>
                    <a:ext uri="{FF2B5EF4-FFF2-40B4-BE49-F238E27FC236}">
                      <a16:creationId xmlns:a16="http://schemas.microsoft.com/office/drawing/2014/main" id="{926CA9B4-22CC-BB6B-A5EA-97F031D8E31B}"/>
                    </a:ext>
                  </a:extLst>
                </p:cNvPr>
                <p:cNvSpPr/>
                <p:nvPr/>
              </p:nvSpPr>
              <p:spPr bwMode="gray">
                <a:xfrm>
                  <a:off x="610285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73" name="Freeform: Shape 11772">
                  <a:extLst>
                    <a:ext uri="{FF2B5EF4-FFF2-40B4-BE49-F238E27FC236}">
                      <a16:creationId xmlns:a16="http://schemas.microsoft.com/office/drawing/2014/main" id="{6A7DB316-1BB7-CD1E-9156-6FA90801B500}"/>
                    </a:ext>
                  </a:extLst>
                </p:cNvPr>
                <p:cNvSpPr/>
                <p:nvPr/>
              </p:nvSpPr>
              <p:spPr bwMode="gray">
                <a:xfrm>
                  <a:off x="6064948"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7" name="Graphic 75">
                <a:extLst>
                  <a:ext uri="{FF2B5EF4-FFF2-40B4-BE49-F238E27FC236}">
                    <a16:creationId xmlns:a16="http://schemas.microsoft.com/office/drawing/2014/main" id="{33C220A6-1669-DC3A-9B00-E41D40E1F780}"/>
                  </a:ext>
                </a:extLst>
              </p:cNvPr>
              <p:cNvGrpSpPr/>
              <p:nvPr/>
            </p:nvGrpSpPr>
            <p:grpSpPr bwMode="gray">
              <a:xfrm>
                <a:off x="6206204" y="3556825"/>
                <a:ext cx="75723" cy="75723"/>
                <a:chOff x="6206204" y="3556825"/>
                <a:chExt cx="75723" cy="75723"/>
              </a:xfrm>
            </p:grpSpPr>
            <p:sp>
              <p:nvSpPr>
                <p:cNvPr id="11770" name="Freeform: Shape 11769">
                  <a:extLst>
                    <a:ext uri="{FF2B5EF4-FFF2-40B4-BE49-F238E27FC236}">
                      <a16:creationId xmlns:a16="http://schemas.microsoft.com/office/drawing/2014/main" id="{0C6B7584-F1E7-4824-2FF2-58B38C7AA91D}"/>
                    </a:ext>
                  </a:extLst>
                </p:cNvPr>
                <p:cNvSpPr/>
                <p:nvPr/>
              </p:nvSpPr>
              <p:spPr bwMode="gray">
                <a:xfrm>
                  <a:off x="624411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71" name="Freeform: Shape 11770">
                  <a:extLst>
                    <a:ext uri="{FF2B5EF4-FFF2-40B4-BE49-F238E27FC236}">
                      <a16:creationId xmlns:a16="http://schemas.microsoft.com/office/drawing/2014/main" id="{F9D8AA93-0F36-5E43-87C2-4595D20ECE65}"/>
                    </a:ext>
                  </a:extLst>
                </p:cNvPr>
                <p:cNvSpPr/>
                <p:nvPr/>
              </p:nvSpPr>
              <p:spPr bwMode="gray">
                <a:xfrm>
                  <a:off x="6206204"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8" name="Graphic 75">
                <a:extLst>
                  <a:ext uri="{FF2B5EF4-FFF2-40B4-BE49-F238E27FC236}">
                    <a16:creationId xmlns:a16="http://schemas.microsoft.com/office/drawing/2014/main" id="{BF6DF7D3-78BB-84F5-48F8-1222706F5C94}"/>
                  </a:ext>
                </a:extLst>
              </p:cNvPr>
              <p:cNvGrpSpPr/>
              <p:nvPr/>
            </p:nvGrpSpPr>
            <p:grpSpPr bwMode="gray">
              <a:xfrm>
                <a:off x="6215538" y="3556825"/>
                <a:ext cx="75723" cy="75723"/>
                <a:chOff x="6215538" y="3556825"/>
                <a:chExt cx="75723" cy="75723"/>
              </a:xfrm>
            </p:grpSpPr>
            <p:sp>
              <p:nvSpPr>
                <p:cNvPr id="11768" name="Freeform: Shape 11767">
                  <a:extLst>
                    <a:ext uri="{FF2B5EF4-FFF2-40B4-BE49-F238E27FC236}">
                      <a16:creationId xmlns:a16="http://schemas.microsoft.com/office/drawing/2014/main" id="{D14ABE52-8A54-6CFD-AA0D-D4475387EA21}"/>
                    </a:ext>
                  </a:extLst>
                </p:cNvPr>
                <p:cNvSpPr/>
                <p:nvPr/>
              </p:nvSpPr>
              <p:spPr bwMode="gray">
                <a:xfrm>
                  <a:off x="625335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69" name="Freeform: Shape 11768">
                  <a:extLst>
                    <a:ext uri="{FF2B5EF4-FFF2-40B4-BE49-F238E27FC236}">
                      <a16:creationId xmlns:a16="http://schemas.microsoft.com/office/drawing/2014/main" id="{0BC6045B-A004-2DC0-6B02-6812464CDDA2}"/>
                    </a:ext>
                  </a:extLst>
                </p:cNvPr>
                <p:cNvSpPr/>
                <p:nvPr/>
              </p:nvSpPr>
              <p:spPr bwMode="gray">
                <a:xfrm>
                  <a:off x="6215538"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699" name="Graphic 75">
                <a:extLst>
                  <a:ext uri="{FF2B5EF4-FFF2-40B4-BE49-F238E27FC236}">
                    <a16:creationId xmlns:a16="http://schemas.microsoft.com/office/drawing/2014/main" id="{EAEA94CC-154E-5AC7-C67D-66E7706929B6}"/>
                  </a:ext>
                </a:extLst>
              </p:cNvPr>
              <p:cNvGrpSpPr/>
              <p:nvPr/>
            </p:nvGrpSpPr>
            <p:grpSpPr bwMode="gray">
              <a:xfrm>
                <a:off x="6228016" y="3556825"/>
                <a:ext cx="75723" cy="75723"/>
                <a:chOff x="6228016" y="3556825"/>
                <a:chExt cx="75723" cy="75723"/>
              </a:xfrm>
            </p:grpSpPr>
            <p:sp>
              <p:nvSpPr>
                <p:cNvPr id="11766" name="Freeform: Shape 11765">
                  <a:extLst>
                    <a:ext uri="{FF2B5EF4-FFF2-40B4-BE49-F238E27FC236}">
                      <a16:creationId xmlns:a16="http://schemas.microsoft.com/office/drawing/2014/main" id="{C08759A6-3237-D2EC-0E43-C016B8DA6CF1}"/>
                    </a:ext>
                  </a:extLst>
                </p:cNvPr>
                <p:cNvSpPr/>
                <p:nvPr/>
              </p:nvSpPr>
              <p:spPr bwMode="gray">
                <a:xfrm>
                  <a:off x="6265830"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67" name="Freeform: Shape 11766">
                  <a:extLst>
                    <a:ext uri="{FF2B5EF4-FFF2-40B4-BE49-F238E27FC236}">
                      <a16:creationId xmlns:a16="http://schemas.microsoft.com/office/drawing/2014/main" id="{6CCC188A-21D6-D023-FA84-0BD0A2B7267E}"/>
                    </a:ext>
                  </a:extLst>
                </p:cNvPr>
                <p:cNvSpPr/>
                <p:nvPr/>
              </p:nvSpPr>
              <p:spPr bwMode="gray">
                <a:xfrm>
                  <a:off x="6228016"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0" name="Graphic 75">
                <a:extLst>
                  <a:ext uri="{FF2B5EF4-FFF2-40B4-BE49-F238E27FC236}">
                    <a16:creationId xmlns:a16="http://schemas.microsoft.com/office/drawing/2014/main" id="{53DB0196-4CA7-0194-6547-E6414C2B23BF}"/>
                  </a:ext>
                </a:extLst>
              </p:cNvPr>
              <p:cNvGrpSpPr/>
              <p:nvPr/>
            </p:nvGrpSpPr>
            <p:grpSpPr bwMode="gray">
              <a:xfrm>
                <a:off x="6246399" y="3556825"/>
                <a:ext cx="75628" cy="75723"/>
                <a:chOff x="6246399" y="3556825"/>
                <a:chExt cx="75628" cy="75723"/>
              </a:xfrm>
            </p:grpSpPr>
            <p:sp>
              <p:nvSpPr>
                <p:cNvPr id="11764" name="Freeform: Shape 11763">
                  <a:extLst>
                    <a:ext uri="{FF2B5EF4-FFF2-40B4-BE49-F238E27FC236}">
                      <a16:creationId xmlns:a16="http://schemas.microsoft.com/office/drawing/2014/main" id="{940A6198-1B2B-7F14-41F7-C627F3113181}"/>
                    </a:ext>
                  </a:extLst>
                </p:cNvPr>
                <p:cNvSpPr/>
                <p:nvPr/>
              </p:nvSpPr>
              <p:spPr bwMode="gray">
                <a:xfrm>
                  <a:off x="628421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65" name="Freeform: Shape 11764">
                  <a:extLst>
                    <a:ext uri="{FF2B5EF4-FFF2-40B4-BE49-F238E27FC236}">
                      <a16:creationId xmlns:a16="http://schemas.microsoft.com/office/drawing/2014/main" id="{7635DCEE-DC6F-1CD4-49B0-4DD8FF05320A}"/>
                    </a:ext>
                  </a:extLst>
                </p:cNvPr>
                <p:cNvSpPr/>
                <p:nvPr/>
              </p:nvSpPr>
              <p:spPr bwMode="gray">
                <a:xfrm>
                  <a:off x="6246399" y="3594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1" name="Graphic 75">
                <a:extLst>
                  <a:ext uri="{FF2B5EF4-FFF2-40B4-BE49-F238E27FC236}">
                    <a16:creationId xmlns:a16="http://schemas.microsoft.com/office/drawing/2014/main" id="{119B0D0D-6084-9037-1CA6-074689FCC1F3}"/>
                  </a:ext>
                </a:extLst>
              </p:cNvPr>
              <p:cNvGrpSpPr/>
              <p:nvPr/>
            </p:nvGrpSpPr>
            <p:grpSpPr bwMode="gray">
              <a:xfrm>
                <a:off x="6313741" y="3556825"/>
                <a:ext cx="75723" cy="75723"/>
                <a:chOff x="6313741" y="3556825"/>
                <a:chExt cx="75723" cy="75723"/>
              </a:xfrm>
            </p:grpSpPr>
            <p:sp>
              <p:nvSpPr>
                <p:cNvPr id="11762" name="Freeform: Shape 11761">
                  <a:extLst>
                    <a:ext uri="{FF2B5EF4-FFF2-40B4-BE49-F238E27FC236}">
                      <a16:creationId xmlns:a16="http://schemas.microsoft.com/office/drawing/2014/main" id="{357F3555-5E12-D430-7C60-25194C26C625}"/>
                    </a:ext>
                  </a:extLst>
                </p:cNvPr>
                <p:cNvSpPr/>
                <p:nvPr/>
              </p:nvSpPr>
              <p:spPr bwMode="gray">
                <a:xfrm>
                  <a:off x="6351651"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63" name="Freeform: Shape 11762">
                  <a:extLst>
                    <a:ext uri="{FF2B5EF4-FFF2-40B4-BE49-F238E27FC236}">
                      <a16:creationId xmlns:a16="http://schemas.microsoft.com/office/drawing/2014/main" id="{B28294FF-0CF4-23AE-3C9A-981083E2BF99}"/>
                    </a:ext>
                  </a:extLst>
                </p:cNvPr>
                <p:cNvSpPr/>
                <p:nvPr/>
              </p:nvSpPr>
              <p:spPr bwMode="gray">
                <a:xfrm>
                  <a:off x="6313741"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2" name="Graphic 75">
                <a:extLst>
                  <a:ext uri="{FF2B5EF4-FFF2-40B4-BE49-F238E27FC236}">
                    <a16:creationId xmlns:a16="http://schemas.microsoft.com/office/drawing/2014/main" id="{BEA49620-9C7F-5996-792A-3A776D3B25B8}"/>
                  </a:ext>
                </a:extLst>
              </p:cNvPr>
              <p:cNvGrpSpPr/>
              <p:nvPr/>
            </p:nvGrpSpPr>
            <p:grpSpPr bwMode="gray">
              <a:xfrm>
                <a:off x="6301930" y="3556825"/>
                <a:ext cx="75628" cy="75723"/>
                <a:chOff x="6301930" y="3556825"/>
                <a:chExt cx="75628" cy="75723"/>
              </a:xfrm>
            </p:grpSpPr>
            <p:sp>
              <p:nvSpPr>
                <p:cNvPr id="11760" name="Freeform: Shape 11759">
                  <a:extLst>
                    <a:ext uri="{FF2B5EF4-FFF2-40B4-BE49-F238E27FC236}">
                      <a16:creationId xmlns:a16="http://schemas.microsoft.com/office/drawing/2014/main" id="{DB903912-A298-24EC-679C-0A547C7FFE5D}"/>
                    </a:ext>
                  </a:extLst>
                </p:cNvPr>
                <p:cNvSpPr/>
                <p:nvPr/>
              </p:nvSpPr>
              <p:spPr bwMode="gray">
                <a:xfrm>
                  <a:off x="633974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61" name="Freeform: Shape 11760">
                  <a:extLst>
                    <a:ext uri="{FF2B5EF4-FFF2-40B4-BE49-F238E27FC236}">
                      <a16:creationId xmlns:a16="http://schemas.microsoft.com/office/drawing/2014/main" id="{8EC8052D-962C-A434-7498-F52E56B375D6}"/>
                    </a:ext>
                  </a:extLst>
                </p:cNvPr>
                <p:cNvSpPr/>
                <p:nvPr/>
              </p:nvSpPr>
              <p:spPr bwMode="gray">
                <a:xfrm>
                  <a:off x="6301930" y="35946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3" name="Graphic 75">
                <a:extLst>
                  <a:ext uri="{FF2B5EF4-FFF2-40B4-BE49-F238E27FC236}">
                    <a16:creationId xmlns:a16="http://schemas.microsoft.com/office/drawing/2014/main" id="{AF6E4663-CC5D-73F0-4226-696C107211B6}"/>
                  </a:ext>
                </a:extLst>
              </p:cNvPr>
              <p:cNvGrpSpPr/>
              <p:nvPr/>
            </p:nvGrpSpPr>
            <p:grpSpPr bwMode="gray">
              <a:xfrm>
                <a:off x="6816185" y="3647979"/>
                <a:ext cx="75723" cy="75723"/>
                <a:chOff x="6816185" y="3647979"/>
                <a:chExt cx="75723" cy="75723"/>
              </a:xfrm>
            </p:grpSpPr>
            <p:sp>
              <p:nvSpPr>
                <p:cNvPr id="11758" name="Freeform: Shape 11757">
                  <a:extLst>
                    <a:ext uri="{FF2B5EF4-FFF2-40B4-BE49-F238E27FC236}">
                      <a16:creationId xmlns:a16="http://schemas.microsoft.com/office/drawing/2014/main" id="{3BFF1C42-CECB-D2D4-8BBF-5D59B68E5D0B}"/>
                    </a:ext>
                  </a:extLst>
                </p:cNvPr>
                <p:cNvSpPr/>
                <p:nvPr/>
              </p:nvSpPr>
              <p:spPr bwMode="gray">
                <a:xfrm>
                  <a:off x="685409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59" name="Freeform: Shape 11758">
                  <a:extLst>
                    <a:ext uri="{FF2B5EF4-FFF2-40B4-BE49-F238E27FC236}">
                      <a16:creationId xmlns:a16="http://schemas.microsoft.com/office/drawing/2014/main" id="{90A5E0E0-0F23-9BE2-3856-C608296524B8}"/>
                    </a:ext>
                  </a:extLst>
                </p:cNvPr>
                <p:cNvSpPr/>
                <p:nvPr/>
              </p:nvSpPr>
              <p:spPr bwMode="gray">
                <a:xfrm>
                  <a:off x="6816185"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4" name="Graphic 75">
                <a:extLst>
                  <a:ext uri="{FF2B5EF4-FFF2-40B4-BE49-F238E27FC236}">
                    <a16:creationId xmlns:a16="http://schemas.microsoft.com/office/drawing/2014/main" id="{7B36A90E-2C62-517E-1263-2D770FF8D637}"/>
                  </a:ext>
                </a:extLst>
              </p:cNvPr>
              <p:cNvGrpSpPr/>
              <p:nvPr/>
            </p:nvGrpSpPr>
            <p:grpSpPr bwMode="gray">
              <a:xfrm>
                <a:off x="6825519" y="3647979"/>
                <a:ext cx="75723" cy="75723"/>
                <a:chOff x="6825519" y="3647979"/>
                <a:chExt cx="75723" cy="75723"/>
              </a:xfrm>
            </p:grpSpPr>
            <p:sp>
              <p:nvSpPr>
                <p:cNvPr id="11756" name="Freeform: Shape 11755">
                  <a:extLst>
                    <a:ext uri="{FF2B5EF4-FFF2-40B4-BE49-F238E27FC236}">
                      <a16:creationId xmlns:a16="http://schemas.microsoft.com/office/drawing/2014/main" id="{4BE382C7-3CAE-D23A-3648-D6E035D50401}"/>
                    </a:ext>
                  </a:extLst>
                </p:cNvPr>
                <p:cNvSpPr/>
                <p:nvPr/>
              </p:nvSpPr>
              <p:spPr bwMode="gray">
                <a:xfrm>
                  <a:off x="6863429"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57" name="Freeform: Shape 11756">
                  <a:extLst>
                    <a:ext uri="{FF2B5EF4-FFF2-40B4-BE49-F238E27FC236}">
                      <a16:creationId xmlns:a16="http://schemas.microsoft.com/office/drawing/2014/main" id="{717A1352-15B4-853A-F178-EF155D9E8124}"/>
                    </a:ext>
                  </a:extLst>
                </p:cNvPr>
                <p:cNvSpPr/>
                <p:nvPr/>
              </p:nvSpPr>
              <p:spPr bwMode="gray">
                <a:xfrm>
                  <a:off x="6825519"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5" name="Graphic 75">
                <a:extLst>
                  <a:ext uri="{FF2B5EF4-FFF2-40B4-BE49-F238E27FC236}">
                    <a16:creationId xmlns:a16="http://schemas.microsoft.com/office/drawing/2014/main" id="{F4C91B77-7EB9-C492-3387-3A6CD2AB2C28}"/>
                  </a:ext>
                </a:extLst>
              </p:cNvPr>
              <p:cNvGrpSpPr/>
              <p:nvPr/>
            </p:nvGrpSpPr>
            <p:grpSpPr bwMode="gray">
              <a:xfrm>
                <a:off x="6842950" y="3647979"/>
                <a:ext cx="75723" cy="75723"/>
                <a:chOff x="6842950" y="3647979"/>
                <a:chExt cx="75723" cy="75723"/>
              </a:xfrm>
            </p:grpSpPr>
            <p:sp>
              <p:nvSpPr>
                <p:cNvPr id="11754" name="Freeform: Shape 11753">
                  <a:extLst>
                    <a:ext uri="{FF2B5EF4-FFF2-40B4-BE49-F238E27FC236}">
                      <a16:creationId xmlns:a16="http://schemas.microsoft.com/office/drawing/2014/main" id="{29C8B43B-6F42-1575-B505-8FDB80D0C630}"/>
                    </a:ext>
                  </a:extLst>
                </p:cNvPr>
                <p:cNvSpPr/>
                <p:nvPr/>
              </p:nvSpPr>
              <p:spPr bwMode="gray">
                <a:xfrm>
                  <a:off x="6880860"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55" name="Freeform: Shape 11754">
                  <a:extLst>
                    <a:ext uri="{FF2B5EF4-FFF2-40B4-BE49-F238E27FC236}">
                      <a16:creationId xmlns:a16="http://schemas.microsoft.com/office/drawing/2014/main" id="{9B9B4E45-F5FD-EB59-0E85-206E0406A249}"/>
                    </a:ext>
                  </a:extLst>
                </p:cNvPr>
                <p:cNvSpPr/>
                <p:nvPr/>
              </p:nvSpPr>
              <p:spPr bwMode="gray">
                <a:xfrm>
                  <a:off x="6842950"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6" name="Graphic 75">
                <a:extLst>
                  <a:ext uri="{FF2B5EF4-FFF2-40B4-BE49-F238E27FC236}">
                    <a16:creationId xmlns:a16="http://schemas.microsoft.com/office/drawing/2014/main" id="{876CACB2-20BD-3965-AD31-97EE4D62FBA9}"/>
                  </a:ext>
                </a:extLst>
              </p:cNvPr>
              <p:cNvGrpSpPr/>
              <p:nvPr/>
            </p:nvGrpSpPr>
            <p:grpSpPr bwMode="gray">
              <a:xfrm>
                <a:off x="6880860" y="3647979"/>
                <a:ext cx="75628" cy="75723"/>
                <a:chOff x="6880860" y="3647979"/>
                <a:chExt cx="75628" cy="75723"/>
              </a:xfrm>
            </p:grpSpPr>
            <p:sp>
              <p:nvSpPr>
                <p:cNvPr id="11752" name="Freeform: Shape 11751">
                  <a:extLst>
                    <a:ext uri="{FF2B5EF4-FFF2-40B4-BE49-F238E27FC236}">
                      <a16:creationId xmlns:a16="http://schemas.microsoft.com/office/drawing/2014/main" id="{7023CBD0-A689-1412-D491-3DAF80A6EE7E}"/>
                    </a:ext>
                  </a:extLst>
                </p:cNvPr>
                <p:cNvSpPr/>
                <p:nvPr/>
              </p:nvSpPr>
              <p:spPr bwMode="gray">
                <a:xfrm>
                  <a:off x="691867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53" name="Freeform: Shape 11752">
                  <a:extLst>
                    <a:ext uri="{FF2B5EF4-FFF2-40B4-BE49-F238E27FC236}">
                      <a16:creationId xmlns:a16="http://schemas.microsoft.com/office/drawing/2014/main" id="{39893BF4-35E6-563D-6AFA-C13A6FE198A3}"/>
                    </a:ext>
                  </a:extLst>
                </p:cNvPr>
                <p:cNvSpPr/>
                <p:nvPr/>
              </p:nvSpPr>
              <p:spPr bwMode="gray">
                <a:xfrm>
                  <a:off x="6880860" y="368588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7" name="Graphic 75">
                <a:extLst>
                  <a:ext uri="{FF2B5EF4-FFF2-40B4-BE49-F238E27FC236}">
                    <a16:creationId xmlns:a16="http://schemas.microsoft.com/office/drawing/2014/main" id="{799FAD1E-0F76-40F2-5210-EA15EBB4E15D}"/>
                  </a:ext>
                </a:extLst>
              </p:cNvPr>
              <p:cNvGrpSpPr/>
              <p:nvPr/>
            </p:nvGrpSpPr>
            <p:grpSpPr bwMode="gray">
              <a:xfrm>
                <a:off x="6975157" y="3703605"/>
                <a:ext cx="75723" cy="75628"/>
                <a:chOff x="6975157" y="3703605"/>
                <a:chExt cx="75723" cy="75628"/>
              </a:xfrm>
            </p:grpSpPr>
            <p:sp>
              <p:nvSpPr>
                <p:cNvPr id="11750" name="Freeform: Shape 11749">
                  <a:extLst>
                    <a:ext uri="{FF2B5EF4-FFF2-40B4-BE49-F238E27FC236}">
                      <a16:creationId xmlns:a16="http://schemas.microsoft.com/office/drawing/2014/main" id="{0D342CF6-00E7-C987-A489-3A96AB0DF7D2}"/>
                    </a:ext>
                  </a:extLst>
                </p:cNvPr>
                <p:cNvSpPr/>
                <p:nvPr/>
              </p:nvSpPr>
              <p:spPr bwMode="gray">
                <a:xfrm>
                  <a:off x="7013067"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51" name="Freeform: Shape 11750">
                  <a:extLst>
                    <a:ext uri="{FF2B5EF4-FFF2-40B4-BE49-F238E27FC236}">
                      <a16:creationId xmlns:a16="http://schemas.microsoft.com/office/drawing/2014/main" id="{CDD52843-16C9-9F15-D7E6-EFCFE4B63E9E}"/>
                    </a:ext>
                  </a:extLst>
                </p:cNvPr>
                <p:cNvSpPr/>
                <p:nvPr/>
              </p:nvSpPr>
              <p:spPr bwMode="gray">
                <a:xfrm>
                  <a:off x="6975157"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8" name="Graphic 75">
                <a:extLst>
                  <a:ext uri="{FF2B5EF4-FFF2-40B4-BE49-F238E27FC236}">
                    <a16:creationId xmlns:a16="http://schemas.microsoft.com/office/drawing/2014/main" id="{95765A74-B62D-5BD8-F092-EDA415C99964}"/>
                  </a:ext>
                </a:extLst>
              </p:cNvPr>
              <p:cNvGrpSpPr/>
              <p:nvPr/>
            </p:nvGrpSpPr>
            <p:grpSpPr bwMode="gray">
              <a:xfrm>
                <a:off x="7026021" y="3703605"/>
                <a:ext cx="75723" cy="75628"/>
                <a:chOff x="7026021" y="3703605"/>
                <a:chExt cx="75723" cy="75628"/>
              </a:xfrm>
            </p:grpSpPr>
            <p:sp>
              <p:nvSpPr>
                <p:cNvPr id="11748" name="Freeform: Shape 11747">
                  <a:extLst>
                    <a:ext uri="{FF2B5EF4-FFF2-40B4-BE49-F238E27FC236}">
                      <a16:creationId xmlns:a16="http://schemas.microsoft.com/office/drawing/2014/main" id="{43295319-66A1-39DB-B58E-8007E1B86277}"/>
                    </a:ext>
                  </a:extLst>
                </p:cNvPr>
                <p:cNvSpPr/>
                <p:nvPr/>
              </p:nvSpPr>
              <p:spPr bwMode="gray">
                <a:xfrm>
                  <a:off x="706393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49" name="Freeform: Shape 11748">
                  <a:extLst>
                    <a:ext uri="{FF2B5EF4-FFF2-40B4-BE49-F238E27FC236}">
                      <a16:creationId xmlns:a16="http://schemas.microsoft.com/office/drawing/2014/main" id="{93C38C85-68D3-9300-CA45-A51D11E21416}"/>
                    </a:ext>
                  </a:extLst>
                </p:cNvPr>
                <p:cNvSpPr/>
                <p:nvPr/>
              </p:nvSpPr>
              <p:spPr bwMode="gray">
                <a:xfrm>
                  <a:off x="7026021"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09" name="Graphic 75">
                <a:extLst>
                  <a:ext uri="{FF2B5EF4-FFF2-40B4-BE49-F238E27FC236}">
                    <a16:creationId xmlns:a16="http://schemas.microsoft.com/office/drawing/2014/main" id="{69654206-060B-F0D7-084A-49198291DD0F}"/>
                  </a:ext>
                </a:extLst>
              </p:cNvPr>
              <p:cNvGrpSpPr/>
              <p:nvPr/>
            </p:nvGrpSpPr>
            <p:grpSpPr bwMode="gray">
              <a:xfrm>
                <a:off x="7001446" y="3703605"/>
                <a:ext cx="75723" cy="75628"/>
                <a:chOff x="7001446" y="3703605"/>
                <a:chExt cx="75723" cy="75628"/>
              </a:xfrm>
            </p:grpSpPr>
            <p:sp>
              <p:nvSpPr>
                <p:cNvPr id="11746" name="Freeform: Shape 11745">
                  <a:extLst>
                    <a:ext uri="{FF2B5EF4-FFF2-40B4-BE49-F238E27FC236}">
                      <a16:creationId xmlns:a16="http://schemas.microsoft.com/office/drawing/2014/main" id="{5BBDFE9A-7E12-E999-3863-AA6931650BFF}"/>
                    </a:ext>
                  </a:extLst>
                </p:cNvPr>
                <p:cNvSpPr/>
                <p:nvPr/>
              </p:nvSpPr>
              <p:spPr bwMode="gray">
                <a:xfrm>
                  <a:off x="703926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47" name="Freeform: Shape 11746">
                  <a:extLst>
                    <a:ext uri="{FF2B5EF4-FFF2-40B4-BE49-F238E27FC236}">
                      <a16:creationId xmlns:a16="http://schemas.microsoft.com/office/drawing/2014/main" id="{CBB677CF-D7C9-1D03-7D51-3C3A35D2AA3B}"/>
                    </a:ext>
                  </a:extLst>
                </p:cNvPr>
                <p:cNvSpPr/>
                <p:nvPr/>
              </p:nvSpPr>
              <p:spPr bwMode="gray">
                <a:xfrm>
                  <a:off x="7001446"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0" name="Graphic 75">
                <a:extLst>
                  <a:ext uri="{FF2B5EF4-FFF2-40B4-BE49-F238E27FC236}">
                    <a16:creationId xmlns:a16="http://schemas.microsoft.com/office/drawing/2014/main" id="{FFB6C83A-B657-9DA0-CA0B-1112C560D87F}"/>
                  </a:ext>
                </a:extLst>
              </p:cNvPr>
              <p:cNvGrpSpPr/>
              <p:nvPr/>
            </p:nvGrpSpPr>
            <p:grpSpPr bwMode="gray">
              <a:xfrm>
                <a:off x="7178040" y="3766280"/>
                <a:ext cx="75723" cy="75628"/>
                <a:chOff x="7178040" y="3766280"/>
                <a:chExt cx="75723" cy="75628"/>
              </a:xfrm>
            </p:grpSpPr>
            <p:sp>
              <p:nvSpPr>
                <p:cNvPr id="11744" name="Freeform: Shape 11743">
                  <a:extLst>
                    <a:ext uri="{FF2B5EF4-FFF2-40B4-BE49-F238E27FC236}">
                      <a16:creationId xmlns:a16="http://schemas.microsoft.com/office/drawing/2014/main" id="{CA75C916-013B-55FF-9A05-FD07C715DB24}"/>
                    </a:ext>
                  </a:extLst>
                </p:cNvPr>
                <p:cNvSpPr/>
                <p:nvPr/>
              </p:nvSpPr>
              <p:spPr bwMode="gray">
                <a:xfrm>
                  <a:off x="721585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45" name="Freeform: Shape 11744">
                  <a:extLst>
                    <a:ext uri="{FF2B5EF4-FFF2-40B4-BE49-F238E27FC236}">
                      <a16:creationId xmlns:a16="http://schemas.microsoft.com/office/drawing/2014/main" id="{6480D64A-2FCA-FD53-EF50-AE2E5A9ACEDC}"/>
                    </a:ext>
                  </a:extLst>
                </p:cNvPr>
                <p:cNvSpPr/>
                <p:nvPr/>
              </p:nvSpPr>
              <p:spPr bwMode="gray">
                <a:xfrm>
                  <a:off x="7178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1" name="Graphic 75">
                <a:extLst>
                  <a:ext uri="{FF2B5EF4-FFF2-40B4-BE49-F238E27FC236}">
                    <a16:creationId xmlns:a16="http://schemas.microsoft.com/office/drawing/2014/main" id="{CC964BAF-660D-EDFD-80B8-1A6AFC7CFAAC}"/>
                  </a:ext>
                </a:extLst>
              </p:cNvPr>
              <p:cNvGrpSpPr/>
              <p:nvPr/>
            </p:nvGrpSpPr>
            <p:grpSpPr bwMode="gray">
              <a:xfrm>
                <a:off x="7186231" y="3766280"/>
                <a:ext cx="75723" cy="75628"/>
                <a:chOff x="7186231" y="3766280"/>
                <a:chExt cx="75723" cy="75628"/>
              </a:xfrm>
            </p:grpSpPr>
            <p:sp>
              <p:nvSpPr>
                <p:cNvPr id="11742" name="Freeform: Shape 11741">
                  <a:extLst>
                    <a:ext uri="{FF2B5EF4-FFF2-40B4-BE49-F238E27FC236}">
                      <a16:creationId xmlns:a16="http://schemas.microsoft.com/office/drawing/2014/main" id="{758AE516-8459-715A-B21B-9E1F155F9A39}"/>
                    </a:ext>
                  </a:extLst>
                </p:cNvPr>
                <p:cNvSpPr/>
                <p:nvPr/>
              </p:nvSpPr>
              <p:spPr bwMode="gray">
                <a:xfrm>
                  <a:off x="722414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43" name="Freeform: Shape 11742">
                  <a:extLst>
                    <a:ext uri="{FF2B5EF4-FFF2-40B4-BE49-F238E27FC236}">
                      <a16:creationId xmlns:a16="http://schemas.microsoft.com/office/drawing/2014/main" id="{2C898CE4-3228-0062-33FA-503B47010C83}"/>
                    </a:ext>
                  </a:extLst>
                </p:cNvPr>
                <p:cNvSpPr/>
                <p:nvPr/>
              </p:nvSpPr>
              <p:spPr bwMode="gray">
                <a:xfrm>
                  <a:off x="718623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2" name="Graphic 75">
                <a:extLst>
                  <a:ext uri="{FF2B5EF4-FFF2-40B4-BE49-F238E27FC236}">
                    <a16:creationId xmlns:a16="http://schemas.microsoft.com/office/drawing/2014/main" id="{FA6833C3-6A41-B6A2-4244-E47C87297F6C}"/>
                  </a:ext>
                </a:extLst>
              </p:cNvPr>
              <p:cNvGrpSpPr/>
              <p:nvPr/>
            </p:nvGrpSpPr>
            <p:grpSpPr bwMode="gray">
              <a:xfrm>
                <a:off x="7235475" y="3766280"/>
                <a:ext cx="75723" cy="75628"/>
                <a:chOff x="7235475" y="3766280"/>
                <a:chExt cx="75723" cy="75628"/>
              </a:xfrm>
            </p:grpSpPr>
            <p:sp>
              <p:nvSpPr>
                <p:cNvPr id="11740" name="Freeform: Shape 11739">
                  <a:extLst>
                    <a:ext uri="{FF2B5EF4-FFF2-40B4-BE49-F238E27FC236}">
                      <a16:creationId xmlns:a16="http://schemas.microsoft.com/office/drawing/2014/main" id="{20D046F8-6E8D-B0C9-D336-83A3004D5C43}"/>
                    </a:ext>
                  </a:extLst>
                </p:cNvPr>
                <p:cNvSpPr/>
                <p:nvPr/>
              </p:nvSpPr>
              <p:spPr bwMode="gray">
                <a:xfrm>
                  <a:off x="727338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41" name="Freeform: Shape 11740">
                  <a:extLst>
                    <a:ext uri="{FF2B5EF4-FFF2-40B4-BE49-F238E27FC236}">
                      <a16:creationId xmlns:a16="http://schemas.microsoft.com/office/drawing/2014/main" id="{72E7CE29-3302-9764-647A-F6C9B171A30E}"/>
                    </a:ext>
                  </a:extLst>
                </p:cNvPr>
                <p:cNvSpPr/>
                <p:nvPr/>
              </p:nvSpPr>
              <p:spPr bwMode="gray">
                <a:xfrm>
                  <a:off x="7235475"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3" name="Graphic 75">
                <a:extLst>
                  <a:ext uri="{FF2B5EF4-FFF2-40B4-BE49-F238E27FC236}">
                    <a16:creationId xmlns:a16="http://schemas.microsoft.com/office/drawing/2014/main" id="{15A4B34B-3D08-1215-35DB-BF4B5FE8BBA6}"/>
                  </a:ext>
                </a:extLst>
              </p:cNvPr>
              <p:cNvGrpSpPr/>
              <p:nvPr/>
            </p:nvGrpSpPr>
            <p:grpSpPr bwMode="gray">
              <a:xfrm>
                <a:off x="7245858" y="3766280"/>
                <a:ext cx="75628" cy="75628"/>
                <a:chOff x="7245858" y="3766280"/>
                <a:chExt cx="75628" cy="75628"/>
              </a:xfrm>
            </p:grpSpPr>
            <p:sp>
              <p:nvSpPr>
                <p:cNvPr id="11738" name="Freeform: Shape 11737">
                  <a:extLst>
                    <a:ext uri="{FF2B5EF4-FFF2-40B4-BE49-F238E27FC236}">
                      <a16:creationId xmlns:a16="http://schemas.microsoft.com/office/drawing/2014/main" id="{EBD14886-A256-830F-B8E3-27A471429D0C}"/>
                    </a:ext>
                  </a:extLst>
                </p:cNvPr>
                <p:cNvSpPr/>
                <p:nvPr/>
              </p:nvSpPr>
              <p:spPr bwMode="gray">
                <a:xfrm>
                  <a:off x="728367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39" name="Freeform: Shape 11738">
                  <a:extLst>
                    <a:ext uri="{FF2B5EF4-FFF2-40B4-BE49-F238E27FC236}">
                      <a16:creationId xmlns:a16="http://schemas.microsoft.com/office/drawing/2014/main" id="{6C2AE365-EAA9-CAF2-7AF3-91B56A99976E}"/>
                    </a:ext>
                  </a:extLst>
                </p:cNvPr>
                <p:cNvSpPr/>
                <p:nvPr/>
              </p:nvSpPr>
              <p:spPr bwMode="gray">
                <a:xfrm>
                  <a:off x="7245858"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4" name="Graphic 75">
                <a:extLst>
                  <a:ext uri="{FF2B5EF4-FFF2-40B4-BE49-F238E27FC236}">
                    <a16:creationId xmlns:a16="http://schemas.microsoft.com/office/drawing/2014/main" id="{B56704F4-F565-3638-3088-09C7631341C9}"/>
                  </a:ext>
                </a:extLst>
              </p:cNvPr>
              <p:cNvGrpSpPr/>
              <p:nvPr/>
            </p:nvGrpSpPr>
            <p:grpSpPr bwMode="gray">
              <a:xfrm>
                <a:off x="7301769" y="3766280"/>
                <a:ext cx="75723" cy="75628"/>
                <a:chOff x="7301769" y="3766280"/>
                <a:chExt cx="75723" cy="75628"/>
              </a:xfrm>
            </p:grpSpPr>
            <p:sp>
              <p:nvSpPr>
                <p:cNvPr id="11736" name="Freeform: Shape 11735">
                  <a:extLst>
                    <a:ext uri="{FF2B5EF4-FFF2-40B4-BE49-F238E27FC236}">
                      <a16:creationId xmlns:a16="http://schemas.microsoft.com/office/drawing/2014/main" id="{413C2070-5874-EA3F-89D8-8A6547159AF2}"/>
                    </a:ext>
                  </a:extLst>
                </p:cNvPr>
                <p:cNvSpPr/>
                <p:nvPr/>
              </p:nvSpPr>
              <p:spPr bwMode="gray">
                <a:xfrm>
                  <a:off x="733958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37" name="Freeform: Shape 11736">
                  <a:extLst>
                    <a:ext uri="{FF2B5EF4-FFF2-40B4-BE49-F238E27FC236}">
                      <a16:creationId xmlns:a16="http://schemas.microsoft.com/office/drawing/2014/main" id="{51BB8BA5-2D89-612C-0C16-E78AA62E8A94}"/>
                    </a:ext>
                  </a:extLst>
                </p:cNvPr>
                <p:cNvSpPr/>
                <p:nvPr/>
              </p:nvSpPr>
              <p:spPr bwMode="gray">
                <a:xfrm>
                  <a:off x="730176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5" name="Graphic 75">
                <a:extLst>
                  <a:ext uri="{FF2B5EF4-FFF2-40B4-BE49-F238E27FC236}">
                    <a16:creationId xmlns:a16="http://schemas.microsoft.com/office/drawing/2014/main" id="{E49AC5AE-CC72-AA35-D3E0-092AD89028BA}"/>
                  </a:ext>
                </a:extLst>
              </p:cNvPr>
              <p:cNvGrpSpPr/>
              <p:nvPr/>
            </p:nvGrpSpPr>
            <p:grpSpPr bwMode="gray">
              <a:xfrm>
                <a:off x="7322724" y="3766280"/>
                <a:ext cx="75723" cy="75628"/>
                <a:chOff x="7322724" y="3766280"/>
                <a:chExt cx="75723" cy="75628"/>
              </a:xfrm>
            </p:grpSpPr>
            <p:sp>
              <p:nvSpPr>
                <p:cNvPr id="11734" name="Freeform: Shape 11733">
                  <a:extLst>
                    <a:ext uri="{FF2B5EF4-FFF2-40B4-BE49-F238E27FC236}">
                      <a16:creationId xmlns:a16="http://schemas.microsoft.com/office/drawing/2014/main" id="{2076CC0C-7E4B-1F9D-A242-9FCC74755A8E}"/>
                    </a:ext>
                  </a:extLst>
                </p:cNvPr>
                <p:cNvSpPr/>
                <p:nvPr/>
              </p:nvSpPr>
              <p:spPr bwMode="gray">
                <a:xfrm>
                  <a:off x="736063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35" name="Freeform: Shape 11734">
                  <a:extLst>
                    <a:ext uri="{FF2B5EF4-FFF2-40B4-BE49-F238E27FC236}">
                      <a16:creationId xmlns:a16="http://schemas.microsoft.com/office/drawing/2014/main" id="{7D365A0F-D32F-5910-54F2-DFB22476F7A0}"/>
                    </a:ext>
                  </a:extLst>
                </p:cNvPr>
                <p:cNvSpPr/>
                <p:nvPr/>
              </p:nvSpPr>
              <p:spPr bwMode="gray">
                <a:xfrm>
                  <a:off x="7322724"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6" name="Graphic 75">
                <a:extLst>
                  <a:ext uri="{FF2B5EF4-FFF2-40B4-BE49-F238E27FC236}">
                    <a16:creationId xmlns:a16="http://schemas.microsoft.com/office/drawing/2014/main" id="{C624BE27-311C-7171-44BF-6634C5307FA6}"/>
                  </a:ext>
                </a:extLst>
              </p:cNvPr>
              <p:cNvGrpSpPr/>
              <p:nvPr/>
            </p:nvGrpSpPr>
            <p:grpSpPr bwMode="gray">
              <a:xfrm>
                <a:off x="7361967" y="3766280"/>
                <a:ext cx="75723" cy="75628"/>
                <a:chOff x="7361967" y="3766280"/>
                <a:chExt cx="75723" cy="75628"/>
              </a:xfrm>
            </p:grpSpPr>
            <p:sp>
              <p:nvSpPr>
                <p:cNvPr id="11732" name="Freeform: Shape 11731">
                  <a:extLst>
                    <a:ext uri="{FF2B5EF4-FFF2-40B4-BE49-F238E27FC236}">
                      <a16:creationId xmlns:a16="http://schemas.microsoft.com/office/drawing/2014/main" id="{32D35C04-EF78-A209-3514-4F7BC7FE59C1}"/>
                    </a:ext>
                  </a:extLst>
                </p:cNvPr>
                <p:cNvSpPr/>
                <p:nvPr/>
              </p:nvSpPr>
              <p:spPr bwMode="gray">
                <a:xfrm>
                  <a:off x="739978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33" name="Freeform: Shape 11732">
                  <a:extLst>
                    <a:ext uri="{FF2B5EF4-FFF2-40B4-BE49-F238E27FC236}">
                      <a16:creationId xmlns:a16="http://schemas.microsoft.com/office/drawing/2014/main" id="{168267A9-7500-55B1-A9F9-F528B546088A}"/>
                    </a:ext>
                  </a:extLst>
                </p:cNvPr>
                <p:cNvSpPr/>
                <p:nvPr/>
              </p:nvSpPr>
              <p:spPr bwMode="gray">
                <a:xfrm>
                  <a:off x="736196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7" name="Graphic 75">
                <a:extLst>
                  <a:ext uri="{FF2B5EF4-FFF2-40B4-BE49-F238E27FC236}">
                    <a16:creationId xmlns:a16="http://schemas.microsoft.com/office/drawing/2014/main" id="{0FF86A64-C6A8-DB8F-EEE7-C15FC191E600}"/>
                  </a:ext>
                </a:extLst>
              </p:cNvPr>
              <p:cNvGrpSpPr/>
              <p:nvPr/>
            </p:nvGrpSpPr>
            <p:grpSpPr bwMode="gray">
              <a:xfrm>
                <a:off x="7413688" y="3766280"/>
                <a:ext cx="75628" cy="75628"/>
                <a:chOff x="7413688" y="3766280"/>
                <a:chExt cx="75628" cy="75628"/>
              </a:xfrm>
            </p:grpSpPr>
            <p:sp>
              <p:nvSpPr>
                <p:cNvPr id="11730" name="Freeform: Shape 11729">
                  <a:extLst>
                    <a:ext uri="{FF2B5EF4-FFF2-40B4-BE49-F238E27FC236}">
                      <a16:creationId xmlns:a16="http://schemas.microsoft.com/office/drawing/2014/main" id="{A5601AC0-FB2B-8CE0-D178-CB5FF4197787}"/>
                    </a:ext>
                  </a:extLst>
                </p:cNvPr>
                <p:cNvSpPr/>
                <p:nvPr/>
              </p:nvSpPr>
              <p:spPr bwMode="gray">
                <a:xfrm>
                  <a:off x="745150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31" name="Freeform: Shape 11730">
                  <a:extLst>
                    <a:ext uri="{FF2B5EF4-FFF2-40B4-BE49-F238E27FC236}">
                      <a16:creationId xmlns:a16="http://schemas.microsoft.com/office/drawing/2014/main" id="{9C5BA532-FFA7-E68A-258D-B596971A103A}"/>
                    </a:ext>
                  </a:extLst>
                </p:cNvPr>
                <p:cNvSpPr/>
                <p:nvPr/>
              </p:nvSpPr>
              <p:spPr bwMode="gray">
                <a:xfrm>
                  <a:off x="7413688" y="38040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8" name="Graphic 75">
                <a:extLst>
                  <a:ext uri="{FF2B5EF4-FFF2-40B4-BE49-F238E27FC236}">
                    <a16:creationId xmlns:a16="http://schemas.microsoft.com/office/drawing/2014/main" id="{948A0547-87E3-CEE0-4F32-4509342D2192}"/>
                  </a:ext>
                </a:extLst>
              </p:cNvPr>
              <p:cNvGrpSpPr/>
              <p:nvPr/>
            </p:nvGrpSpPr>
            <p:grpSpPr bwMode="gray">
              <a:xfrm>
                <a:off x="7433119" y="3766280"/>
                <a:ext cx="75628" cy="75628"/>
                <a:chOff x="7433119" y="3766280"/>
                <a:chExt cx="75628" cy="75628"/>
              </a:xfrm>
            </p:grpSpPr>
            <p:sp>
              <p:nvSpPr>
                <p:cNvPr id="11728" name="Freeform: Shape 11727">
                  <a:extLst>
                    <a:ext uri="{FF2B5EF4-FFF2-40B4-BE49-F238E27FC236}">
                      <a16:creationId xmlns:a16="http://schemas.microsoft.com/office/drawing/2014/main" id="{FF20FDD1-64FD-DA12-D10F-39765E3CDC0F}"/>
                    </a:ext>
                  </a:extLst>
                </p:cNvPr>
                <p:cNvSpPr/>
                <p:nvPr/>
              </p:nvSpPr>
              <p:spPr bwMode="gray">
                <a:xfrm>
                  <a:off x="747093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29" name="Freeform: Shape 11728">
                  <a:extLst>
                    <a:ext uri="{FF2B5EF4-FFF2-40B4-BE49-F238E27FC236}">
                      <a16:creationId xmlns:a16="http://schemas.microsoft.com/office/drawing/2014/main" id="{E84E4675-7EA8-ADD6-CC61-D165A27F1DDD}"/>
                    </a:ext>
                  </a:extLst>
                </p:cNvPr>
                <p:cNvSpPr/>
                <p:nvPr/>
              </p:nvSpPr>
              <p:spPr bwMode="gray">
                <a:xfrm>
                  <a:off x="7433119"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19" name="Graphic 75">
                <a:extLst>
                  <a:ext uri="{FF2B5EF4-FFF2-40B4-BE49-F238E27FC236}">
                    <a16:creationId xmlns:a16="http://schemas.microsoft.com/office/drawing/2014/main" id="{72406C10-AD31-65A2-3011-290796D54BFD}"/>
                  </a:ext>
                </a:extLst>
              </p:cNvPr>
              <p:cNvGrpSpPr/>
              <p:nvPr/>
            </p:nvGrpSpPr>
            <p:grpSpPr bwMode="gray">
              <a:xfrm>
                <a:off x="7446740" y="3766280"/>
                <a:ext cx="75723" cy="75628"/>
                <a:chOff x="7446740" y="3766280"/>
                <a:chExt cx="75723" cy="75628"/>
              </a:xfrm>
            </p:grpSpPr>
            <p:sp>
              <p:nvSpPr>
                <p:cNvPr id="11726" name="Freeform: Shape 11725">
                  <a:extLst>
                    <a:ext uri="{FF2B5EF4-FFF2-40B4-BE49-F238E27FC236}">
                      <a16:creationId xmlns:a16="http://schemas.microsoft.com/office/drawing/2014/main" id="{49581B77-EF69-BB2D-52FB-6CB91C197EE8}"/>
                    </a:ext>
                  </a:extLst>
                </p:cNvPr>
                <p:cNvSpPr/>
                <p:nvPr/>
              </p:nvSpPr>
              <p:spPr bwMode="gray">
                <a:xfrm>
                  <a:off x="748464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27" name="Freeform: Shape 11726">
                  <a:extLst>
                    <a:ext uri="{FF2B5EF4-FFF2-40B4-BE49-F238E27FC236}">
                      <a16:creationId xmlns:a16="http://schemas.microsoft.com/office/drawing/2014/main" id="{9A30187D-1DB8-1C66-08B3-C2C4CBC7C7B5}"/>
                    </a:ext>
                  </a:extLst>
                </p:cNvPr>
                <p:cNvSpPr/>
                <p:nvPr/>
              </p:nvSpPr>
              <p:spPr bwMode="gray">
                <a:xfrm>
                  <a:off x="74467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20" name="Graphic 75">
                <a:extLst>
                  <a:ext uri="{FF2B5EF4-FFF2-40B4-BE49-F238E27FC236}">
                    <a16:creationId xmlns:a16="http://schemas.microsoft.com/office/drawing/2014/main" id="{52DCF69E-5370-14BB-0068-672E93FD1DC2}"/>
                  </a:ext>
                </a:extLst>
              </p:cNvPr>
              <p:cNvGrpSpPr/>
              <p:nvPr/>
            </p:nvGrpSpPr>
            <p:grpSpPr bwMode="gray">
              <a:xfrm>
                <a:off x="7456170" y="3766280"/>
                <a:ext cx="75723" cy="75628"/>
                <a:chOff x="7456170" y="3766280"/>
                <a:chExt cx="75723" cy="75628"/>
              </a:xfrm>
            </p:grpSpPr>
            <p:sp>
              <p:nvSpPr>
                <p:cNvPr id="11724" name="Freeform: Shape 11723">
                  <a:extLst>
                    <a:ext uri="{FF2B5EF4-FFF2-40B4-BE49-F238E27FC236}">
                      <a16:creationId xmlns:a16="http://schemas.microsoft.com/office/drawing/2014/main" id="{F9CA9DFA-6B0E-49B8-AAA5-1E0597E6AA7B}"/>
                    </a:ext>
                  </a:extLst>
                </p:cNvPr>
                <p:cNvSpPr/>
                <p:nvPr/>
              </p:nvSpPr>
              <p:spPr bwMode="gray">
                <a:xfrm>
                  <a:off x="749407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25" name="Freeform: Shape 11724">
                  <a:extLst>
                    <a:ext uri="{FF2B5EF4-FFF2-40B4-BE49-F238E27FC236}">
                      <a16:creationId xmlns:a16="http://schemas.microsoft.com/office/drawing/2014/main" id="{1D01ED05-4CA2-74A0-9235-DC28BE85AB52}"/>
                    </a:ext>
                  </a:extLst>
                </p:cNvPr>
                <p:cNvSpPr/>
                <p:nvPr/>
              </p:nvSpPr>
              <p:spPr bwMode="gray">
                <a:xfrm>
                  <a:off x="745617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721" name="Graphic 75">
                <a:extLst>
                  <a:ext uri="{FF2B5EF4-FFF2-40B4-BE49-F238E27FC236}">
                    <a16:creationId xmlns:a16="http://schemas.microsoft.com/office/drawing/2014/main" id="{8F9E0B35-E51C-C5E3-0671-789F87BF42C7}"/>
                  </a:ext>
                </a:extLst>
              </p:cNvPr>
              <p:cNvGrpSpPr/>
              <p:nvPr/>
            </p:nvGrpSpPr>
            <p:grpSpPr bwMode="gray">
              <a:xfrm>
                <a:off x="7697057" y="3895153"/>
                <a:ext cx="75723" cy="75723"/>
                <a:chOff x="7697057" y="3895153"/>
                <a:chExt cx="75723" cy="75723"/>
              </a:xfrm>
            </p:grpSpPr>
            <p:sp>
              <p:nvSpPr>
                <p:cNvPr id="11722" name="Freeform: Shape 11721">
                  <a:extLst>
                    <a:ext uri="{FF2B5EF4-FFF2-40B4-BE49-F238E27FC236}">
                      <a16:creationId xmlns:a16="http://schemas.microsoft.com/office/drawing/2014/main" id="{89344623-5EA3-053B-74AC-76E0FAF2F55B}"/>
                    </a:ext>
                  </a:extLst>
                </p:cNvPr>
                <p:cNvSpPr/>
                <p:nvPr/>
              </p:nvSpPr>
              <p:spPr bwMode="gray">
                <a:xfrm>
                  <a:off x="7734871"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23" name="Freeform: Shape 11722">
                  <a:extLst>
                    <a:ext uri="{FF2B5EF4-FFF2-40B4-BE49-F238E27FC236}">
                      <a16:creationId xmlns:a16="http://schemas.microsoft.com/office/drawing/2014/main" id="{82407E88-B178-15D6-0490-9477BB4895A9}"/>
                    </a:ext>
                  </a:extLst>
                </p:cNvPr>
                <p:cNvSpPr/>
                <p:nvPr/>
              </p:nvSpPr>
              <p:spPr bwMode="gray">
                <a:xfrm>
                  <a:off x="7697057"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11591" name="Freeform: Shape 11590">
              <a:extLst>
                <a:ext uri="{FF2B5EF4-FFF2-40B4-BE49-F238E27FC236}">
                  <a16:creationId xmlns:a16="http://schemas.microsoft.com/office/drawing/2014/main" id="{A0CDF6EF-F5F2-05A3-C37B-4B933048381F}"/>
                </a:ext>
              </a:extLst>
            </p:cNvPr>
            <p:cNvSpPr/>
            <p:nvPr/>
          </p:nvSpPr>
          <p:spPr bwMode="gray">
            <a:xfrm>
              <a:off x="3057525" y="2700337"/>
              <a:ext cx="6038469" cy="1424844"/>
            </a:xfrm>
            <a:custGeom>
              <a:avLst/>
              <a:gdLst>
                <a:gd name="connsiteX0" fmla="*/ 6038469 w 6038469"/>
                <a:gd name="connsiteY0" fmla="*/ 1424845 h 1424844"/>
                <a:gd name="connsiteX1" fmla="*/ 4979956 w 6038469"/>
                <a:gd name="connsiteY1" fmla="*/ 1424845 h 1424844"/>
                <a:gd name="connsiteX2" fmla="*/ 4979956 w 6038469"/>
                <a:gd name="connsiteY2" fmla="*/ 1232630 h 1424844"/>
                <a:gd name="connsiteX3" fmla="*/ 4661631 w 6038469"/>
                <a:gd name="connsiteY3" fmla="*/ 1232630 h 1424844"/>
                <a:gd name="connsiteX4" fmla="*/ 4661631 w 6038469"/>
                <a:gd name="connsiteY4" fmla="*/ 1103757 h 1424844"/>
                <a:gd name="connsiteX5" fmla="*/ 4092035 w 6038469"/>
                <a:gd name="connsiteY5" fmla="*/ 1103757 h 1424844"/>
                <a:gd name="connsiteX6" fmla="*/ 4092035 w 6038469"/>
                <a:gd name="connsiteY6" fmla="*/ 1041178 h 1424844"/>
                <a:gd name="connsiteX7" fmla="*/ 3885248 w 6038469"/>
                <a:gd name="connsiteY7" fmla="*/ 1041178 h 1424844"/>
                <a:gd name="connsiteX8" fmla="*/ 3885248 w 6038469"/>
                <a:gd name="connsiteY8" fmla="*/ 985552 h 1424844"/>
                <a:gd name="connsiteX9" fmla="*/ 3683603 w 6038469"/>
                <a:gd name="connsiteY9" fmla="*/ 985552 h 1424844"/>
                <a:gd name="connsiteX10" fmla="*/ 3683603 w 6038469"/>
                <a:gd name="connsiteY10" fmla="*/ 935641 h 1424844"/>
                <a:gd name="connsiteX11" fmla="*/ 3310795 w 6038469"/>
                <a:gd name="connsiteY11" fmla="*/ 935641 h 1424844"/>
                <a:gd name="connsiteX12" fmla="*/ 3310795 w 6038469"/>
                <a:gd name="connsiteY12" fmla="*/ 894302 h 1424844"/>
                <a:gd name="connsiteX13" fmla="*/ 3125915 w 6038469"/>
                <a:gd name="connsiteY13" fmla="*/ 894302 h 1424844"/>
                <a:gd name="connsiteX14" fmla="*/ 3125915 w 6038469"/>
                <a:gd name="connsiteY14" fmla="*/ 862679 h 1424844"/>
                <a:gd name="connsiteX15" fmla="*/ 3091910 w 6038469"/>
                <a:gd name="connsiteY15" fmla="*/ 862679 h 1424844"/>
                <a:gd name="connsiteX16" fmla="*/ 3091910 w 6038469"/>
                <a:gd name="connsiteY16" fmla="*/ 827437 h 1424844"/>
                <a:gd name="connsiteX17" fmla="*/ 3058573 w 6038469"/>
                <a:gd name="connsiteY17" fmla="*/ 827437 h 1424844"/>
                <a:gd name="connsiteX18" fmla="*/ 3058573 w 6038469"/>
                <a:gd name="connsiteY18" fmla="*/ 787622 h 1424844"/>
                <a:gd name="connsiteX19" fmla="*/ 2974562 w 6038469"/>
                <a:gd name="connsiteY19" fmla="*/ 787622 h 1424844"/>
                <a:gd name="connsiteX20" fmla="*/ 2974562 w 6038469"/>
                <a:gd name="connsiteY20" fmla="*/ 758952 h 1424844"/>
                <a:gd name="connsiteX21" fmla="*/ 2750534 w 6038469"/>
                <a:gd name="connsiteY21" fmla="*/ 758952 h 1424844"/>
                <a:gd name="connsiteX22" fmla="*/ 2750534 w 6038469"/>
                <a:gd name="connsiteY22" fmla="*/ 730377 h 1424844"/>
                <a:gd name="connsiteX23" fmla="*/ 2505456 w 6038469"/>
                <a:gd name="connsiteY23" fmla="*/ 730377 h 1424844"/>
                <a:gd name="connsiteX24" fmla="*/ 2505456 w 6038469"/>
                <a:gd name="connsiteY24" fmla="*/ 703421 h 1424844"/>
                <a:gd name="connsiteX25" fmla="*/ 2494216 w 6038469"/>
                <a:gd name="connsiteY25" fmla="*/ 703421 h 1424844"/>
                <a:gd name="connsiteX26" fmla="*/ 2494216 w 6038469"/>
                <a:gd name="connsiteY26" fmla="*/ 676085 h 1424844"/>
                <a:gd name="connsiteX27" fmla="*/ 2296668 w 6038469"/>
                <a:gd name="connsiteY27" fmla="*/ 676085 h 1424844"/>
                <a:gd name="connsiteX28" fmla="*/ 2296668 w 6038469"/>
                <a:gd name="connsiteY28" fmla="*/ 649129 h 1424844"/>
                <a:gd name="connsiteX29" fmla="*/ 2259235 w 6038469"/>
                <a:gd name="connsiteY29" fmla="*/ 649129 h 1424844"/>
                <a:gd name="connsiteX30" fmla="*/ 2259235 w 6038469"/>
                <a:gd name="connsiteY30" fmla="*/ 626936 h 1424844"/>
                <a:gd name="connsiteX31" fmla="*/ 2176272 w 6038469"/>
                <a:gd name="connsiteY31" fmla="*/ 626936 h 1424844"/>
                <a:gd name="connsiteX32" fmla="*/ 2176272 w 6038469"/>
                <a:gd name="connsiteY32" fmla="*/ 579977 h 1424844"/>
                <a:gd name="connsiteX33" fmla="*/ 2103882 w 6038469"/>
                <a:gd name="connsiteY33" fmla="*/ 579977 h 1424844"/>
                <a:gd name="connsiteX34" fmla="*/ 2103882 w 6038469"/>
                <a:gd name="connsiteY34" fmla="*/ 558356 h 1424844"/>
                <a:gd name="connsiteX35" fmla="*/ 1925003 w 6038469"/>
                <a:gd name="connsiteY35" fmla="*/ 558356 h 1424844"/>
                <a:gd name="connsiteX36" fmla="*/ 1925003 w 6038469"/>
                <a:gd name="connsiteY36" fmla="*/ 535305 h 1424844"/>
                <a:gd name="connsiteX37" fmla="*/ 1885379 w 6038469"/>
                <a:gd name="connsiteY37" fmla="*/ 535305 h 1424844"/>
                <a:gd name="connsiteX38" fmla="*/ 1885379 w 6038469"/>
                <a:gd name="connsiteY38" fmla="*/ 512826 h 1424844"/>
                <a:gd name="connsiteX39" fmla="*/ 1857375 w 6038469"/>
                <a:gd name="connsiteY39" fmla="*/ 512826 h 1424844"/>
                <a:gd name="connsiteX40" fmla="*/ 1857375 w 6038469"/>
                <a:gd name="connsiteY40" fmla="*/ 501015 h 1424844"/>
                <a:gd name="connsiteX41" fmla="*/ 1735455 w 6038469"/>
                <a:gd name="connsiteY41" fmla="*/ 501015 h 1424844"/>
                <a:gd name="connsiteX42" fmla="*/ 1735455 w 6038469"/>
                <a:gd name="connsiteY42" fmla="*/ 479108 h 1424844"/>
                <a:gd name="connsiteX43" fmla="*/ 1695641 w 6038469"/>
                <a:gd name="connsiteY43" fmla="*/ 479108 h 1424844"/>
                <a:gd name="connsiteX44" fmla="*/ 1695641 w 6038469"/>
                <a:gd name="connsiteY44" fmla="*/ 458153 h 1424844"/>
                <a:gd name="connsiteX45" fmla="*/ 1661922 w 6038469"/>
                <a:gd name="connsiteY45" fmla="*/ 458153 h 1424844"/>
                <a:gd name="connsiteX46" fmla="*/ 1661922 w 6038469"/>
                <a:gd name="connsiteY46" fmla="*/ 440817 h 1424844"/>
                <a:gd name="connsiteX47" fmla="*/ 1635443 w 6038469"/>
                <a:gd name="connsiteY47" fmla="*/ 440817 h 1424844"/>
                <a:gd name="connsiteX48" fmla="*/ 1635443 w 6038469"/>
                <a:gd name="connsiteY48" fmla="*/ 418243 h 1424844"/>
                <a:gd name="connsiteX49" fmla="*/ 1583436 w 6038469"/>
                <a:gd name="connsiteY49" fmla="*/ 418243 h 1424844"/>
                <a:gd name="connsiteX50" fmla="*/ 1583436 w 6038469"/>
                <a:gd name="connsiteY50" fmla="*/ 395192 h 1424844"/>
                <a:gd name="connsiteX51" fmla="*/ 1543622 w 6038469"/>
                <a:gd name="connsiteY51" fmla="*/ 395192 h 1424844"/>
                <a:gd name="connsiteX52" fmla="*/ 1543622 w 6038469"/>
                <a:gd name="connsiteY52" fmla="*/ 376238 h 1424844"/>
                <a:gd name="connsiteX53" fmla="*/ 1416749 w 6038469"/>
                <a:gd name="connsiteY53" fmla="*/ 376238 h 1424844"/>
                <a:gd name="connsiteX54" fmla="*/ 1416749 w 6038469"/>
                <a:gd name="connsiteY54" fmla="*/ 357569 h 1424844"/>
                <a:gd name="connsiteX55" fmla="*/ 1083088 w 6038469"/>
                <a:gd name="connsiteY55" fmla="*/ 357569 h 1424844"/>
                <a:gd name="connsiteX56" fmla="*/ 1083088 w 6038469"/>
                <a:gd name="connsiteY56" fmla="*/ 341948 h 1424844"/>
                <a:gd name="connsiteX57" fmla="*/ 1058228 w 6038469"/>
                <a:gd name="connsiteY57" fmla="*/ 341948 h 1424844"/>
                <a:gd name="connsiteX58" fmla="*/ 1058228 w 6038469"/>
                <a:gd name="connsiteY58" fmla="*/ 327660 h 1424844"/>
                <a:gd name="connsiteX59" fmla="*/ 1047560 w 6038469"/>
                <a:gd name="connsiteY59" fmla="*/ 327660 h 1424844"/>
                <a:gd name="connsiteX60" fmla="*/ 1047560 w 6038469"/>
                <a:gd name="connsiteY60" fmla="*/ 309658 h 1424844"/>
                <a:gd name="connsiteX61" fmla="*/ 991267 w 6038469"/>
                <a:gd name="connsiteY61" fmla="*/ 309658 h 1424844"/>
                <a:gd name="connsiteX62" fmla="*/ 991267 w 6038469"/>
                <a:gd name="connsiteY62" fmla="*/ 293656 h 1424844"/>
                <a:gd name="connsiteX63" fmla="*/ 936593 w 6038469"/>
                <a:gd name="connsiteY63" fmla="*/ 293656 h 1424844"/>
                <a:gd name="connsiteX64" fmla="*/ 936593 w 6038469"/>
                <a:gd name="connsiteY64" fmla="*/ 276892 h 1424844"/>
                <a:gd name="connsiteX65" fmla="*/ 896493 w 6038469"/>
                <a:gd name="connsiteY65" fmla="*/ 276892 h 1424844"/>
                <a:gd name="connsiteX66" fmla="*/ 896493 w 6038469"/>
                <a:gd name="connsiteY66" fmla="*/ 260604 h 1424844"/>
                <a:gd name="connsiteX67" fmla="*/ 863060 w 6038469"/>
                <a:gd name="connsiteY67" fmla="*/ 260604 h 1424844"/>
                <a:gd name="connsiteX68" fmla="*/ 863060 w 6038469"/>
                <a:gd name="connsiteY68" fmla="*/ 242888 h 1424844"/>
                <a:gd name="connsiteX69" fmla="*/ 851821 w 6038469"/>
                <a:gd name="connsiteY69" fmla="*/ 242888 h 1424844"/>
                <a:gd name="connsiteX70" fmla="*/ 851821 w 6038469"/>
                <a:gd name="connsiteY70" fmla="*/ 226790 h 1424844"/>
                <a:gd name="connsiteX71" fmla="*/ 818007 w 6038469"/>
                <a:gd name="connsiteY71" fmla="*/ 226790 h 1424844"/>
                <a:gd name="connsiteX72" fmla="*/ 818007 w 6038469"/>
                <a:gd name="connsiteY72" fmla="*/ 215265 h 1424844"/>
                <a:gd name="connsiteX73" fmla="*/ 773621 w 6038469"/>
                <a:gd name="connsiteY73" fmla="*/ 215265 h 1424844"/>
                <a:gd name="connsiteX74" fmla="*/ 773621 w 6038469"/>
                <a:gd name="connsiteY74" fmla="*/ 197549 h 1424844"/>
                <a:gd name="connsiteX75" fmla="*/ 695801 w 6038469"/>
                <a:gd name="connsiteY75" fmla="*/ 197549 h 1424844"/>
                <a:gd name="connsiteX76" fmla="*/ 695801 w 6038469"/>
                <a:gd name="connsiteY76" fmla="*/ 181166 h 1424844"/>
                <a:gd name="connsiteX77" fmla="*/ 690372 w 6038469"/>
                <a:gd name="connsiteY77" fmla="*/ 181166 h 1424844"/>
                <a:gd name="connsiteX78" fmla="*/ 690372 w 6038469"/>
                <a:gd name="connsiteY78" fmla="*/ 164497 h 1424844"/>
                <a:gd name="connsiteX79" fmla="*/ 661511 w 6038469"/>
                <a:gd name="connsiteY79" fmla="*/ 164497 h 1424844"/>
                <a:gd name="connsiteX80" fmla="*/ 661511 w 6038469"/>
                <a:gd name="connsiteY80" fmla="*/ 146495 h 1424844"/>
                <a:gd name="connsiteX81" fmla="*/ 555403 w 6038469"/>
                <a:gd name="connsiteY81" fmla="*/ 146495 h 1424844"/>
                <a:gd name="connsiteX82" fmla="*/ 555403 w 6038469"/>
                <a:gd name="connsiteY82" fmla="*/ 129159 h 1424844"/>
                <a:gd name="connsiteX83" fmla="*/ 416147 w 6038469"/>
                <a:gd name="connsiteY83" fmla="*/ 129159 h 1424844"/>
                <a:gd name="connsiteX84" fmla="*/ 416147 w 6038469"/>
                <a:gd name="connsiteY84" fmla="*/ 113062 h 1424844"/>
                <a:gd name="connsiteX85" fmla="*/ 360521 w 6038469"/>
                <a:gd name="connsiteY85" fmla="*/ 113062 h 1424844"/>
                <a:gd name="connsiteX86" fmla="*/ 360521 w 6038469"/>
                <a:gd name="connsiteY86" fmla="*/ 97536 h 1424844"/>
                <a:gd name="connsiteX87" fmla="*/ 125825 w 6038469"/>
                <a:gd name="connsiteY87" fmla="*/ 97536 h 1424844"/>
                <a:gd name="connsiteX88" fmla="*/ 125825 w 6038469"/>
                <a:gd name="connsiteY88" fmla="*/ 85725 h 1424844"/>
                <a:gd name="connsiteX89" fmla="*/ 120682 w 6038469"/>
                <a:gd name="connsiteY89" fmla="*/ 85725 h 1424844"/>
                <a:gd name="connsiteX90" fmla="*/ 120682 w 6038469"/>
                <a:gd name="connsiteY90" fmla="*/ 68961 h 1424844"/>
                <a:gd name="connsiteX91" fmla="*/ 63818 w 6038469"/>
                <a:gd name="connsiteY91" fmla="*/ 68961 h 1424844"/>
                <a:gd name="connsiteX92" fmla="*/ 63818 w 6038469"/>
                <a:gd name="connsiteY92" fmla="*/ 51340 h 1424844"/>
                <a:gd name="connsiteX93" fmla="*/ 52864 w 6038469"/>
                <a:gd name="connsiteY93" fmla="*/ 51340 h 1424844"/>
                <a:gd name="connsiteX94" fmla="*/ 52864 w 6038469"/>
                <a:gd name="connsiteY94" fmla="*/ 0 h 1424844"/>
                <a:gd name="connsiteX95" fmla="*/ 0 w 6038469"/>
                <a:gd name="connsiteY95" fmla="*/ 0 h 142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38469" h="1424844">
                  <a:moveTo>
                    <a:pt x="6038469" y="1424845"/>
                  </a:moveTo>
                  <a:lnTo>
                    <a:pt x="4979956" y="1424845"/>
                  </a:lnTo>
                  <a:lnTo>
                    <a:pt x="4979956" y="1232630"/>
                  </a:lnTo>
                  <a:lnTo>
                    <a:pt x="4661631" y="1232630"/>
                  </a:lnTo>
                  <a:lnTo>
                    <a:pt x="4661631" y="1103757"/>
                  </a:lnTo>
                  <a:lnTo>
                    <a:pt x="4092035" y="1103757"/>
                  </a:lnTo>
                  <a:lnTo>
                    <a:pt x="4092035" y="1041178"/>
                  </a:lnTo>
                  <a:lnTo>
                    <a:pt x="3885248" y="1041178"/>
                  </a:lnTo>
                  <a:lnTo>
                    <a:pt x="3885248" y="985552"/>
                  </a:lnTo>
                  <a:lnTo>
                    <a:pt x="3683603" y="985552"/>
                  </a:lnTo>
                  <a:lnTo>
                    <a:pt x="3683603" y="935641"/>
                  </a:lnTo>
                  <a:lnTo>
                    <a:pt x="3310795" y="935641"/>
                  </a:lnTo>
                  <a:lnTo>
                    <a:pt x="3310795" y="894302"/>
                  </a:lnTo>
                  <a:lnTo>
                    <a:pt x="3125915" y="894302"/>
                  </a:lnTo>
                  <a:lnTo>
                    <a:pt x="3125915" y="862679"/>
                  </a:lnTo>
                  <a:lnTo>
                    <a:pt x="3091910" y="862679"/>
                  </a:lnTo>
                  <a:lnTo>
                    <a:pt x="3091910" y="827437"/>
                  </a:lnTo>
                  <a:lnTo>
                    <a:pt x="3058573" y="827437"/>
                  </a:lnTo>
                  <a:lnTo>
                    <a:pt x="3058573" y="787622"/>
                  </a:lnTo>
                  <a:lnTo>
                    <a:pt x="2974562" y="787622"/>
                  </a:lnTo>
                  <a:lnTo>
                    <a:pt x="2974562" y="758952"/>
                  </a:lnTo>
                  <a:lnTo>
                    <a:pt x="2750534" y="758952"/>
                  </a:lnTo>
                  <a:lnTo>
                    <a:pt x="2750534" y="730377"/>
                  </a:lnTo>
                  <a:lnTo>
                    <a:pt x="2505456" y="730377"/>
                  </a:lnTo>
                  <a:lnTo>
                    <a:pt x="2505456" y="703421"/>
                  </a:lnTo>
                  <a:lnTo>
                    <a:pt x="2494216" y="703421"/>
                  </a:lnTo>
                  <a:lnTo>
                    <a:pt x="2494216" y="676085"/>
                  </a:lnTo>
                  <a:lnTo>
                    <a:pt x="2296668" y="676085"/>
                  </a:lnTo>
                  <a:lnTo>
                    <a:pt x="2296668" y="649129"/>
                  </a:lnTo>
                  <a:lnTo>
                    <a:pt x="2259235" y="649129"/>
                  </a:lnTo>
                  <a:lnTo>
                    <a:pt x="2259235" y="626936"/>
                  </a:lnTo>
                  <a:lnTo>
                    <a:pt x="2176272" y="626936"/>
                  </a:lnTo>
                  <a:lnTo>
                    <a:pt x="2176272" y="579977"/>
                  </a:lnTo>
                  <a:lnTo>
                    <a:pt x="2103882" y="579977"/>
                  </a:lnTo>
                  <a:lnTo>
                    <a:pt x="2103882" y="558356"/>
                  </a:lnTo>
                  <a:lnTo>
                    <a:pt x="1925003" y="558356"/>
                  </a:lnTo>
                  <a:lnTo>
                    <a:pt x="1925003" y="535305"/>
                  </a:lnTo>
                  <a:lnTo>
                    <a:pt x="1885379" y="535305"/>
                  </a:lnTo>
                  <a:lnTo>
                    <a:pt x="1885379" y="512826"/>
                  </a:lnTo>
                  <a:lnTo>
                    <a:pt x="1857375" y="512826"/>
                  </a:lnTo>
                  <a:lnTo>
                    <a:pt x="1857375" y="501015"/>
                  </a:lnTo>
                  <a:lnTo>
                    <a:pt x="1735455" y="501015"/>
                  </a:lnTo>
                  <a:lnTo>
                    <a:pt x="1735455" y="479108"/>
                  </a:lnTo>
                  <a:lnTo>
                    <a:pt x="1695641" y="479108"/>
                  </a:lnTo>
                  <a:lnTo>
                    <a:pt x="1695641" y="458153"/>
                  </a:lnTo>
                  <a:lnTo>
                    <a:pt x="1661922" y="458153"/>
                  </a:lnTo>
                  <a:lnTo>
                    <a:pt x="1661922" y="440817"/>
                  </a:lnTo>
                  <a:lnTo>
                    <a:pt x="1635443" y="440817"/>
                  </a:lnTo>
                  <a:lnTo>
                    <a:pt x="1635443" y="418243"/>
                  </a:lnTo>
                  <a:lnTo>
                    <a:pt x="1583436" y="418243"/>
                  </a:lnTo>
                  <a:lnTo>
                    <a:pt x="1583436" y="395192"/>
                  </a:lnTo>
                  <a:lnTo>
                    <a:pt x="1543622" y="395192"/>
                  </a:lnTo>
                  <a:lnTo>
                    <a:pt x="1543622" y="376238"/>
                  </a:lnTo>
                  <a:lnTo>
                    <a:pt x="1416749" y="376238"/>
                  </a:lnTo>
                  <a:lnTo>
                    <a:pt x="1416749" y="357569"/>
                  </a:lnTo>
                  <a:lnTo>
                    <a:pt x="1083088" y="357569"/>
                  </a:lnTo>
                  <a:lnTo>
                    <a:pt x="1083088" y="341948"/>
                  </a:lnTo>
                  <a:lnTo>
                    <a:pt x="1058228" y="341948"/>
                  </a:lnTo>
                  <a:lnTo>
                    <a:pt x="1058228" y="327660"/>
                  </a:lnTo>
                  <a:lnTo>
                    <a:pt x="1047560" y="327660"/>
                  </a:lnTo>
                  <a:lnTo>
                    <a:pt x="1047560" y="309658"/>
                  </a:lnTo>
                  <a:lnTo>
                    <a:pt x="991267" y="309658"/>
                  </a:lnTo>
                  <a:lnTo>
                    <a:pt x="991267" y="293656"/>
                  </a:lnTo>
                  <a:lnTo>
                    <a:pt x="936593" y="293656"/>
                  </a:lnTo>
                  <a:lnTo>
                    <a:pt x="936593" y="276892"/>
                  </a:lnTo>
                  <a:lnTo>
                    <a:pt x="896493" y="276892"/>
                  </a:lnTo>
                  <a:lnTo>
                    <a:pt x="896493" y="260604"/>
                  </a:lnTo>
                  <a:lnTo>
                    <a:pt x="863060" y="260604"/>
                  </a:lnTo>
                  <a:lnTo>
                    <a:pt x="863060" y="242888"/>
                  </a:lnTo>
                  <a:lnTo>
                    <a:pt x="851821" y="242888"/>
                  </a:lnTo>
                  <a:lnTo>
                    <a:pt x="851821" y="226790"/>
                  </a:lnTo>
                  <a:lnTo>
                    <a:pt x="818007" y="226790"/>
                  </a:lnTo>
                  <a:lnTo>
                    <a:pt x="818007" y="215265"/>
                  </a:lnTo>
                  <a:lnTo>
                    <a:pt x="773621" y="215265"/>
                  </a:lnTo>
                  <a:lnTo>
                    <a:pt x="773621" y="197549"/>
                  </a:lnTo>
                  <a:lnTo>
                    <a:pt x="695801" y="197549"/>
                  </a:lnTo>
                  <a:lnTo>
                    <a:pt x="695801" y="181166"/>
                  </a:lnTo>
                  <a:lnTo>
                    <a:pt x="690372" y="181166"/>
                  </a:lnTo>
                  <a:lnTo>
                    <a:pt x="690372" y="164497"/>
                  </a:lnTo>
                  <a:lnTo>
                    <a:pt x="661511" y="164497"/>
                  </a:lnTo>
                  <a:lnTo>
                    <a:pt x="661511" y="146495"/>
                  </a:lnTo>
                  <a:lnTo>
                    <a:pt x="555403" y="146495"/>
                  </a:lnTo>
                  <a:lnTo>
                    <a:pt x="555403" y="129159"/>
                  </a:lnTo>
                  <a:lnTo>
                    <a:pt x="416147" y="129159"/>
                  </a:lnTo>
                  <a:lnTo>
                    <a:pt x="416147" y="113062"/>
                  </a:lnTo>
                  <a:lnTo>
                    <a:pt x="360521" y="113062"/>
                  </a:lnTo>
                  <a:lnTo>
                    <a:pt x="360521" y="97536"/>
                  </a:lnTo>
                  <a:lnTo>
                    <a:pt x="125825" y="97536"/>
                  </a:lnTo>
                  <a:lnTo>
                    <a:pt x="125825" y="85725"/>
                  </a:lnTo>
                  <a:lnTo>
                    <a:pt x="120682" y="85725"/>
                  </a:lnTo>
                  <a:lnTo>
                    <a:pt x="120682" y="68961"/>
                  </a:lnTo>
                  <a:lnTo>
                    <a:pt x="63818" y="68961"/>
                  </a:lnTo>
                  <a:lnTo>
                    <a:pt x="63818" y="51340"/>
                  </a:lnTo>
                  <a:lnTo>
                    <a:pt x="52864" y="51340"/>
                  </a:lnTo>
                  <a:lnTo>
                    <a:pt x="52864" y="0"/>
                  </a:lnTo>
                  <a:lnTo>
                    <a:pt x="0" y="0"/>
                  </a:lnTo>
                </a:path>
              </a:pathLst>
            </a:custGeom>
            <a:noFill/>
            <a:ln w="19050" cap="flat">
              <a:solidFill>
                <a:schemeClr val="tx2">
                  <a:lumMod val="25000"/>
                  <a:lumOff val="7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2" name="Text Placeholder 1">
            <a:extLst>
              <a:ext uri="{FF2B5EF4-FFF2-40B4-BE49-F238E27FC236}">
                <a16:creationId xmlns:a16="http://schemas.microsoft.com/office/drawing/2014/main" id="{9161FA36-4670-6E33-7914-80C16A0AD787}"/>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
        <p:nvSpPr>
          <p:cNvPr id="5416" name="Rectangle 5415" hidden="1">
            <a:extLst>
              <a:ext uri="{FF2B5EF4-FFF2-40B4-BE49-F238E27FC236}">
                <a16:creationId xmlns:a16="http://schemas.microsoft.com/office/drawing/2014/main" id="{A3989A14-DAD2-69C4-75B6-AC5A0E07BA3E}"/>
              </a:ext>
            </a:extLst>
          </p:cNvPr>
          <p:cNvSpPr/>
          <p:nvPr/>
        </p:nvSpPr>
        <p:spPr>
          <a:xfrm>
            <a:off x="1032049" y="1036320"/>
            <a:ext cx="11029907"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6547" name="Group 6546" hidden="1">
            <a:extLst>
              <a:ext uri="{FF2B5EF4-FFF2-40B4-BE49-F238E27FC236}">
                <a16:creationId xmlns:a16="http://schemas.microsoft.com/office/drawing/2014/main" id="{C5CC07E8-1FAB-5B63-2CD1-69939F1D930D}"/>
              </a:ext>
            </a:extLst>
          </p:cNvPr>
          <p:cNvGrpSpPr/>
          <p:nvPr/>
        </p:nvGrpSpPr>
        <p:grpSpPr>
          <a:xfrm>
            <a:off x="1059032" y="1438275"/>
            <a:ext cx="6420915" cy="1511045"/>
            <a:chOff x="1028699" y="1438274"/>
            <a:chExt cx="6079998" cy="1511045"/>
          </a:xfrm>
        </p:grpSpPr>
        <p:grpSp>
          <p:nvGrpSpPr>
            <p:cNvPr id="6548" name="Group 6547">
              <a:extLst>
                <a:ext uri="{FF2B5EF4-FFF2-40B4-BE49-F238E27FC236}">
                  <a16:creationId xmlns:a16="http://schemas.microsoft.com/office/drawing/2014/main" id="{625AB0E5-038A-5C6F-B656-C52FD21A8A24}"/>
                </a:ext>
              </a:extLst>
            </p:cNvPr>
            <p:cNvGrpSpPr/>
            <p:nvPr/>
          </p:nvGrpSpPr>
          <p:grpSpPr>
            <a:xfrm>
              <a:off x="1031081" y="1476374"/>
              <a:ext cx="6077616" cy="1462659"/>
              <a:chOff x="3057525" y="2700337"/>
              <a:chExt cx="6077616" cy="1462659"/>
            </a:xfrm>
          </p:grpSpPr>
          <p:grpSp>
            <p:nvGrpSpPr>
              <p:cNvPr id="6888" name="Graphic 75">
                <a:extLst>
                  <a:ext uri="{FF2B5EF4-FFF2-40B4-BE49-F238E27FC236}">
                    <a16:creationId xmlns:a16="http://schemas.microsoft.com/office/drawing/2014/main" id="{2E505488-5F09-5EEC-3020-3ED2C2B6C28A}"/>
                  </a:ext>
                </a:extLst>
              </p:cNvPr>
              <p:cNvGrpSpPr/>
              <p:nvPr/>
            </p:nvGrpSpPr>
            <p:grpSpPr>
              <a:xfrm>
                <a:off x="3153537" y="2760059"/>
                <a:ext cx="5981604" cy="1402937"/>
                <a:chOff x="3153537" y="2760059"/>
                <a:chExt cx="5981604" cy="1402937"/>
              </a:xfrm>
            </p:grpSpPr>
            <p:grpSp>
              <p:nvGrpSpPr>
                <p:cNvPr id="6890" name="Graphic 75">
                  <a:extLst>
                    <a:ext uri="{FF2B5EF4-FFF2-40B4-BE49-F238E27FC236}">
                      <a16:creationId xmlns:a16="http://schemas.microsoft.com/office/drawing/2014/main" id="{C8B4BECF-F5CC-6C41-6EA8-7F091287E280}"/>
                    </a:ext>
                  </a:extLst>
                </p:cNvPr>
                <p:cNvGrpSpPr/>
                <p:nvPr/>
              </p:nvGrpSpPr>
              <p:grpSpPr>
                <a:xfrm>
                  <a:off x="9059418" y="4087272"/>
                  <a:ext cx="75723" cy="75723"/>
                  <a:chOff x="9059418" y="4087272"/>
                  <a:chExt cx="75723" cy="75723"/>
                </a:xfrm>
              </p:grpSpPr>
              <p:sp>
                <p:nvSpPr>
                  <p:cNvPr id="7278" name="Freeform: Shape 7277">
                    <a:extLst>
                      <a:ext uri="{FF2B5EF4-FFF2-40B4-BE49-F238E27FC236}">
                        <a16:creationId xmlns:a16="http://schemas.microsoft.com/office/drawing/2014/main" id="{E9A5CD2E-A428-0370-D6CD-F476F96FF5D2}"/>
                      </a:ext>
                    </a:extLst>
                  </p:cNvPr>
                  <p:cNvSpPr/>
                  <p:nvPr/>
                </p:nvSpPr>
                <p:spPr>
                  <a:xfrm>
                    <a:off x="909732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79" name="Freeform: Shape 7278">
                    <a:extLst>
                      <a:ext uri="{FF2B5EF4-FFF2-40B4-BE49-F238E27FC236}">
                        <a16:creationId xmlns:a16="http://schemas.microsoft.com/office/drawing/2014/main" id="{DA9E0E2B-1093-0D3B-9ECE-1C5E236F43CE}"/>
                      </a:ext>
                    </a:extLst>
                  </p:cNvPr>
                  <p:cNvSpPr/>
                  <p:nvPr/>
                </p:nvSpPr>
                <p:spPr>
                  <a:xfrm>
                    <a:off x="9059418"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1" name="Graphic 75">
                  <a:extLst>
                    <a:ext uri="{FF2B5EF4-FFF2-40B4-BE49-F238E27FC236}">
                      <a16:creationId xmlns:a16="http://schemas.microsoft.com/office/drawing/2014/main" id="{56105F49-CCAE-E625-310E-127C79D4AAEB}"/>
                    </a:ext>
                  </a:extLst>
                </p:cNvPr>
                <p:cNvGrpSpPr/>
                <p:nvPr/>
              </p:nvGrpSpPr>
              <p:grpSpPr>
                <a:xfrm>
                  <a:off x="9004935" y="4087272"/>
                  <a:ext cx="75723" cy="75723"/>
                  <a:chOff x="9004935" y="4087272"/>
                  <a:chExt cx="75723" cy="75723"/>
                </a:xfrm>
              </p:grpSpPr>
              <p:sp>
                <p:nvSpPr>
                  <p:cNvPr id="7276" name="Freeform: Shape 7275">
                    <a:extLst>
                      <a:ext uri="{FF2B5EF4-FFF2-40B4-BE49-F238E27FC236}">
                        <a16:creationId xmlns:a16="http://schemas.microsoft.com/office/drawing/2014/main" id="{76A2C7D2-4A3F-D9F1-7F46-BDD86A971894}"/>
                      </a:ext>
                    </a:extLst>
                  </p:cNvPr>
                  <p:cNvSpPr/>
                  <p:nvPr/>
                </p:nvSpPr>
                <p:spPr>
                  <a:xfrm>
                    <a:off x="90427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77" name="Freeform: Shape 7276">
                    <a:extLst>
                      <a:ext uri="{FF2B5EF4-FFF2-40B4-BE49-F238E27FC236}">
                        <a16:creationId xmlns:a16="http://schemas.microsoft.com/office/drawing/2014/main" id="{527D620E-5EA5-0030-9BB8-CD2D4B5932EE}"/>
                      </a:ext>
                    </a:extLst>
                  </p:cNvPr>
                  <p:cNvSpPr/>
                  <p:nvPr/>
                </p:nvSpPr>
                <p:spPr>
                  <a:xfrm>
                    <a:off x="9004935"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2" name="Graphic 75">
                  <a:extLst>
                    <a:ext uri="{FF2B5EF4-FFF2-40B4-BE49-F238E27FC236}">
                      <a16:creationId xmlns:a16="http://schemas.microsoft.com/office/drawing/2014/main" id="{85AC2069-F40B-C04F-A486-79D8ABACBFAE}"/>
                    </a:ext>
                  </a:extLst>
                </p:cNvPr>
                <p:cNvGrpSpPr/>
                <p:nvPr/>
              </p:nvGrpSpPr>
              <p:grpSpPr>
                <a:xfrm>
                  <a:off x="8612314" y="4087272"/>
                  <a:ext cx="75628" cy="75723"/>
                  <a:chOff x="8612314" y="4087272"/>
                  <a:chExt cx="75628" cy="75723"/>
                </a:xfrm>
              </p:grpSpPr>
              <p:sp>
                <p:nvSpPr>
                  <p:cNvPr id="7274" name="Freeform: Shape 7273">
                    <a:extLst>
                      <a:ext uri="{FF2B5EF4-FFF2-40B4-BE49-F238E27FC236}">
                        <a16:creationId xmlns:a16="http://schemas.microsoft.com/office/drawing/2014/main" id="{4FBAC624-A61F-61E8-F9BB-59BA3ADF975B}"/>
                      </a:ext>
                    </a:extLst>
                  </p:cNvPr>
                  <p:cNvSpPr/>
                  <p:nvPr/>
                </p:nvSpPr>
                <p:spPr>
                  <a:xfrm>
                    <a:off x="8650128"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75" name="Freeform: Shape 7274">
                    <a:extLst>
                      <a:ext uri="{FF2B5EF4-FFF2-40B4-BE49-F238E27FC236}">
                        <a16:creationId xmlns:a16="http://schemas.microsoft.com/office/drawing/2014/main" id="{F46FD173-6460-2A55-60AA-EF726C5E413E}"/>
                      </a:ext>
                    </a:extLst>
                  </p:cNvPr>
                  <p:cNvSpPr/>
                  <p:nvPr/>
                </p:nvSpPr>
                <p:spPr>
                  <a:xfrm>
                    <a:off x="8612314" y="41251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3" name="Graphic 75">
                  <a:extLst>
                    <a:ext uri="{FF2B5EF4-FFF2-40B4-BE49-F238E27FC236}">
                      <a16:creationId xmlns:a16="http://schemas.microsoft.com/office/drawing/2014/main" id="{2FBC680D-663B-E4C3-6186-E286585BF917}"/>
                    </a:ext>
                  </a:extLst>
                </p:cNvPr>
                <p:cNvGrpSpPr/>
                <p:nvPr/>
              </p:nvGrpSpPr>
              <p:grpSpPr>
                <a:xfrm>
                  <a:off x="8399240" y="4087272"/>
                  <a:ext cx="75723" cy="75723"/>
                  <a:chOff x="8399240" y="4087272"/>
                  <a:chExt cx="75723" cy="75723"/>
                </a:xfrm>
              </p:grpSpPr>
              <p:sp>
                <p:nvSpPr>
                  <p:cNvPr id="7272" name="Freeform: Shape 7271">
                    <a:extLst>
                      <a:ext uri="{FF2B5EF4-FFF2-40B4-BE49-F238E27FC236}">
                        <a16:creationId xmlns:a16="http://schemas.microsoft.com/office/drawing/2014/main" id="{469DCCE2-4C17-36F5-E025-D2904E28F665}"/>
                      </a:ext>
                    </a:extLst>
                  </p:cNvPr>
                  <p:cNvSpPr/>
                  <p:nvPr/>
                </p:nvSpPr>
                <p:spPr>
                  <a:xfrm>
                    <a:off x="843714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73" name="Freeform: Shape 7272">
                    <a:extLst>
                      <a:ext uri="{FF2B5EF4-FFF2-40B4-BE49-F238E27FC236}">
                        <a16:creationId xmlns:a16="http://schemas.microsoft.com/office/drawing/2014/main" id="{AF7F1BDE-A7AD-842E-0F92-C5FF5D61180F}"/>
                      </a:ext>
                    </a:extLst>
                  </p:cNvPr>
                  <p:cNvSpPr/>
                  <p:nvPr/>
                </p:nvSpPr>
                <p:spPr>
                  <a:xfrm>
                    <a:off x="839924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4" name="Graphic 75">
                  <a:extLst>
                    <a:ext uri="{FF2B5EF4-FFF2-40B4-BE49-F238E27FC236}">
                      <a16:creationId xmlns:a16="http://schemas.microsoft.com/office/drawing/2014/main" id="{989889F8-9D68-C579-9AC1-E6F1A6A170BA}"/>
                    </a:ext>
                  </a:extLst>
                </p:cNvPr>
                <p:cNvGrpSpPr/>
                <p:nvPr/>
              </p:nvGrpSpPr>
              <p:grpSpPr>
                <a:xfrm>
                  <a:off x="8291703" y="4087272"/>
                  <a:ext cx="75628" cy="75723"/>
                  <a:chOff x="8291703" y="4087272"/>
                  <a:chExt cx="75628" cy="75723"/>
                </a:xfrm>
              </p:grpSpPr>
              <p:sp>
                <p:nvSpPr>
                  <p:cNvPr id="7270" name="Freeform: Shape 7269">
                    <a:extLst>
                      <a:ext uri="{FF2B5EF4-FFF2-40B4-BE49-F238E27FC236}">
                        <a16:creationId xmlns:a16="http://schemas.microsoft.com/office/drawing/2014/main" id="{034A2237-2CC8-2906-5FF0-1E9360CC02C5}"/>
                      </a:ext>
                    </a:extLst>
                  </p:cNvPr>
                  <p:cNvSpPr/>
                  <p:nvPr/>
                </p:nvSpPr>
                <p:spPr>
                  <a:xfrm>
                    <a:off x="8329517"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71" name="Freeform: Shape 7270">
                    <a:extLst>
                      <a:ext uri="{FF2B5EF4-FFF2-40B4-BE49-F238E27FC236}">
                        <a16:creationId xmlns:a16="http://schemas.microsoft.com/office/drawing/2014/main" id="{E2629EC2-AB4A-FB79-99D5-64BBB773A3D4}"/>
                      </a:ext>
                    </a:extLst>
                  </p:cNvPr>
                  <p:cNvSpPr/>
                  <p:nvPr/>
                </p:nvSpPr>
                <p:spPr>
                  <a:xfrm>
                    <a:off x="8291703"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5" name="Graphic 75">
                  <a:extLst>
                    <a:ext uri="{FF2B5EF4-FFF2-40B4-BE49-F238E27FC236}">
                      <a16:creationId xmlns:a16="http://schemas.microsoft.com/office/drawing/2014/main" id="{B9D97F1F-C646-E0D7-6A83-B40363AB54D2}"/>
                    </a:ext>
                  </a:extLst>
                </p:cNvPr>
                <p:cNvGrpSpPr/>
                <p:nvPr/>
              </p:nvGrpSpPr>
              <p:grpSpPr>
                <a:xfrm>
                  <a:off x="8191690" y="4087272"/>
                  <a:ext cx="75628" cy="75723"/>
                  <a:chOff x="8191690" y="4087272"/>
                  <a:chExt cx="75628" cy="75723"/>
                </a:xfrm>
              </p:grpSpPr>
              <p:sp>
                <p:nvSpPr>
                  <p:cNvPr id="7268" name="Freeform: Shape 7267">
                    <a:extLst>
                      <a:ext uri="{FF2B5EF4-FFF2-40B4-BE49-F238E27FC236}">
                        <a16:creationId xmlns:a16="http://schemas.microsoft.com/office/drawing/2014/main" id="{456885B3-294C-E619-F8F4-F8AE9761E71C}"/>
                      </a:ext>
                    </a:extLst>
                  </p:cNvPr>
                  <p:cNvSpPr/>
                  <p:nvPr/>
                </p:nvSpPr>
                <p:spPr>
                  <a:xfrm>
                    <a:off x="8229504"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69" name="Freeform: Shape 7268">
                    <a:extLst>
                      <a:ext uri="{FF2B5EF4-FFF2-40B4-BE49-F238E27FC236}">
                        <a16:creationId xmlns:a16="http://schemas.microsoft.com/office/drawing/2014/main" id="{6D7CEA60-DD3E-4948-BFAB-C3DDCC4C22F9}"/>
                      </a:ext>
                    </a:extLst>
                  </p:cNvPr>
                  <p:cNvSpPr/>
                  <p:nvPr/>
                </p:nvSpPr>
                <p:spPr>
                  <a:xfrm>
                    <a:off x="8191690"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6" name="Graphic 75">
                  <a:extLst>
                    <a:ext uri="{FF2B5EF4-FFF2-40B4-BE49-F238E27FC236}">
                      <a16:creationId xmlns:a16="http://schemas.microsoft.com/office/drawing/2014/main" id="{F6D28407-F202-4859-9D38-64726F136A84}"/>
                    </a:ext>
                  </a:extLst>
                </p:cNvPr>
                <p:cNvGrpSpPr/>
                <p:nvPr/>
              </p:nvGrpSpPr>
              <p:grpSpPr>
                <a:xfrm>
                  <a:off x="8163115" y="4087272"/>
                  <a:ext cx="75628" cy="75723"/>
                  <a:chOff x="8163115" y="4087272"/>
                  <a:chExt cx="75628" cy="75723"/>
                </a:xfrm>
              </p:grpSpPr>
              <p:sp>
                <p:nvSpPr>
                  <p:cNvPr id="7266" name="Freeform: Shape 7265">
                    <a:extLst>
                      <a:ext uri="{FF2B5EF4-FFF2-40B4-BE49-F238E27FC236}">
                        <a16:creationId xmlns:a16="http://schemas.microsoft.com/office/drawing/2014/main" id="{1BD61E8E-29E7-1655-5A4E-28F3CACD8F51}"/>
                      </a:ext>
                    </a:extLst>
                  </p:cNvPr>
                  <p:cNvSpPr/>
                  <p:nvPr/>
                </p:nvSpPr>
                <p:spPr>
                  <a:xfrm>
                    <a:off x="8200929"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67" name="Freeform: Shape 7266">
                    <a:extLst>
                      <a:ext uri="{FF2B5EF4-FFF2-40B4-BE49-F238E27FC236}">
                        <a16:creationId xmlns:a16="http://schemas.microsoft.com/office/drawing/2014/main" id="{CBF005EC-2057-1949-EA3E-A135AE68AD44}"/>
                      </a:ext>
                    </a:extLst>
                  </p:cNvPr>
                  <p:cNvSpPr/>
                  <p:nvPr/>
                </p:nvSpPr>
                <p:spPr>
                  <a:xfrm>
                    <a:off x="8163115" y="41251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7" name="Graphic 75">
                  <a:extLst>
                    <a:ext uri="{FF2B5EF4-FFF2-40B4-BE49-F238E27FC236}">
                      <a16:creationId xmlns:a16="http://schemas.microsoft.com/office/drawing/2014/main" id="{B833594E-AC64-4A26-E1F7-B5E881AB7AEF}"/>
                    </a:ext>
                  </a:extLst>
                </p:cNvPr>
                <p:cNvGrpSpPr/>
                <p:nvPr/>
              </p:nvGrpSpPr>
              <p:grpSpPr>
                <a:xfrm>
                  <a:off x="8158829" y="4087272"/>
                  <a:ext cx="75723" cy="75723"/>
                  <a:chOff x="8158829" y="4087272"/>
                  <a:chExt cx="75723" cy="75723"/>
                </a:xfrm>
              </p:grpSpPr>
              <p:sp>
                <p:nvSpPr>
                  <p:cNvPr id="7264" name="Freeform: Shape 7263">
                    <a:extLst>
                      <a:ext uri="{FF2B5EF4-FFF2-40B4-BE49-F238E27FC236}">
                        <a16:creationId xmlns:a16="http://schemas.microsoft.com/office/drawing/2014/main" id="{682A2777-367B-C922-5A32-BC39D8F3C9E3}"/>
                      </a:ext>
                    </a:extLst>
                  </p:cNvPr>
                  <p:cNvSpPr/>
                  <p:nvPr/>
                </p:nvSpPr>
                <p:spPr>
                  <a:xfrm>
                    <a:off x="8196643"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65" name="Freeform: Shape 7264">
                    <a:extLst>
                      <a:ext uri="{FF2B5EF4-FFF2-40B4-BE49-F238E27FC236}">
                        <a16:creationId xmlns:a16="http://schemas.microsoft.com/office/drawing/2014/main" id="{06164D94-E9AD-9327-007B-F3F6AC8242F3}"/>
                      </a:ext>
                    </a:extLst>
                  </p:cNvPr>
                  <p:cNvSpPr/>
                  <p:nvPr/>
                </p:nvSpPr>
                <p:spPr>
                  <a:xfrm>
                    <a:off x="8158829"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8" name="Graphic 75">
                  <a:extLst>
                    <a:ext uri="{FF2B5EF4-FFF2-40B4-BE49-F238E27FC236}">
                      <a16:creationId xmlns:a16="http://schemas.microsoft.com/office/drawing/2014/main" id="{37BAB033-F36E-49D2-7938-696624CCEA1C}"/>
                    </a:ext>
                  </a:extLst>
                </p:cNvPr>
                <p:cNvGrpSpPr/>
                <p:nvPr/>
              </p:nvGrpSpPr>
              <p:grpSpPr>
                <a:xfrm>
                  <a:off x="8104060" y="4087272"/>
                  <a:ext cx="75723" cy="75723"/>
                  <a:chOff x="8104060" y="4087272"/>
                  <a:chExt cx="75723" cy="75723"/>
                </a:xfrm>
              </p:grpSpPr>
              <p:sp>
                <p:nvSpPr>
                  <p:cNvPr id="7262" name="Freeform: Shape 7261">
                    <a:extLst>
                      <a:ext uri="{FF2B5EF4-FFF2-40B4-BE49-F238E27FC236}">
                        <a16:creationId xmlns:a16="http://schemas.microsoft.com/office/drawing/2014/main" id="{AB4C883E-57D9-F0EE-5B63-896AFBFD1BAE}"/>
                      </a:ext>
                    </a:extLst>
                  </p:cNvPr>
                  <p:cNvSpPr/>
                  <p:nvPr/>
                </p:nvSpPr>
                <p:spPr>
                  <a:xfrm>
                    <a:off x="8141970" y="40872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63" name="Freeform: Shape 7262">
                    <a:extLst>
                      <a:ext uri="{FF2B5EF4-FFF2-40B4-BE49-F238E27FC236}">
                        <a16:creationId xmlns:a16="http://schemas.microsoft.com/office/drawing/2014/main" id="{B8C2DA34-4D8C-672A-102F-4416E15DD0D6}"/>
                      </a:ext>
                    </a:extLst>
                  </p:cNvPr>
                  <p:cNvSpPr/>
                  <p:nvPr/>
                </p:nvSpPr>
                <p:spPr>
                  <a:xfrm>
                    <a:off x="8104060" y="41251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99" name="Graphic 75">
                  <a:extLst>
                    <a:ext uri="{FF2B5EF4-FFF2-40B4-BE49-F238E27FC236}">
                      <a16:creationId xmlns:a16="http://schemas.microsoft.com/office/drawing/2014/main" id="{1C1CFD47-3A84-C80E-49ED-8434BB9A03DE}"/>
                    </a:ext>
                  </a:extLst>
                </p:cNvPr>
                <p:cNvGrpSpPr/>
                <p:nvPr/>
              </p:nvGrpSpPr>
              <p:grpSpPr>
                <a:xfrm>
                  <a:off x="7987379" y="3895153"/>
                  <a:ext cx="75723" cy="75723"/>
                  <a:chOff x="7987379" y="3895153"/>
                  <a:chExt cx="75723" cy="75723"/>
                </a:xfrm>
              </p:grpSpPr>
              <p:sp>
                <p:nvSpPr>
                  <p:cNvPr id="7260" name="Freeform: Shape 7259">
                    <a:extLst>
                      <a:ext uri="{FF2B5EF4-FFF2-40B4-BE49-F238E27FC236}">
                        <a16:creationId xmlns:a16="http://schemas.microsoft.com/office/drawing/2014/main" id="{8BFDCBF4-6AF8-5A6F-C010-EAE409DA2A41}"/>
                      </a:ext>
                    </a:extLst>
                  </p:cNvPr>
                  <p:cNvSpPr/>
                  <p:nvPr/>
                </p:nvSpPr>
                <p:spPr>
                  <a:xfrm>
                    <a:off x="802519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61" name="Freeform: Shape 7260">
                    <a:extLst>
                      <a:ext uri="{FF2B5EF4-FFF2-40B4-BE49-F238E27FC236}">
                        <a16:creationId xmlns:a16="http://schemas.microsoft.com/office/drawing/2014/main" id="{903F0C3E-DE40-F88E-A608-B59E1AD83995}"/>
                      </a:ext>
                    </a:extLst>
                  </p:cNvPr>
                  <p:cNvSpPr/>
                  <p:nvPr/>
                </p:nvSpPr>
                <p:spPr>
                  <a:xfrm>
                    <a:off x="7987379"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0" name="Graphic 75">
                  <a:extLst>
                    <a:ext uri="{FF2B5EF4-FFF2-40B4-BE49-F238E27FC236}">
                      <a16:creationId xmlns:a16="http://schemas.microsoft.com/office/drawing/2014/main" id="{DEC638B7-C07C-EB25-ABC3-033E3F01E4C7}"/>
                    </a:ext>
                  </a:extLst>
                </p:cNvPr>
                <p:cNvGrpSpPr/>
                <p:nvPr/>
              </p:nvGrpSpPr>
              <p:grpSpPr>
                <a:xfrm>
                  <a:off x="7916703" y="3895153"/>
                  <a:ext cx="75723" cy="75723"/>
                  <a:chOff x="7916703" y="3895153"/>
                  <a:chExt cx="75723" cy="75723"/>
                </a:xfrm>
              </p:grpSpPr>
              <p:sp>
                <p:nvSpPr>
                  <p:cNvPr id="7258" name="Freeform: Shape 7257">
                    <a:extLst>
                      <a:ext uri="{FF2B5EF4-FFF2-40B4-BE49-F238E27FC236}">
                        <a16:creationId xmlns:a16="http://schemas.microsoft.com/office/drawing/2014/main" id="{6BA3B1E1-BFF4-8AEE-5A36-B2040347E78B}"/>
                      </a:ext>
                    </a:extLst>
                  </p:cNvPr>
                  <p:cNvSpPr/>
                  <p:nvPr/>
                </p:nvSpPr>
                <p:spPr>
                  <a:xfrm>
                    <a:off x="7954613"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59" name="Freeform: Shape 7258">
                    <a:extLst>
                      <a:ext uri="{FF2B5EF4-FFF2-40B4-BE49-F238E27FC236}">
                        <a16:creationId xmlns:a16="http://schemas.microsoft.com/office/drawing/2014/main" id="{20F7297E-48CC-5079-9DE0-8B51C3D4CBE6}"/>
                      </a:ext>
                    </a:extLst>
                  </p:cNvPr>
                  <p:cNvSpPr/>
                  <p:nvPr/>
                </p:nvSpPr>
                <p:spPr>
                  <a:xfrm>
                    <a:off x="79167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1" name="Graphic 75">
                  <a:extLst>
                    <a:ext uri="{FF2B5EF4-FFF2-40B4-BE49-F238E27FC236}">
                      <a16:creationId xmlns:a16="http://schemas.microsoft.com/office/drawing/2014/main" id="{EBA6A76B-C790-FFE2-B390-A61D184333FC}"/>
                    </a:ext>
                  </a:extLst>
                </p:cNvPr>
                <p:cNvGrpSpPr/>
                <p:nvPr/>
              </p:nvGrpSpPr>
              <p:grpSpPr>
                <a:xfrm>
                  <a:off x="7874222" y="3895153"/>
                  <a:ext cx="75628" cy="75723"/>
                  <a:chOff x="7874222" y="3895153"/>
                  <a:chExt cx="75628" cy="75723"/>
                </a:xfrm>
              </p:grpSpPr>
              <p:sp>
                <p:nvSpPr>
                  <p:cNvPr id="7256" name="Freeform: Shape 7255">
                    <a:extLst>
                      <a:ext uri="{FF2B5EF4-FFF2-40B4-BE49-F238E27FC236}">
                        <a16:creationId xmlns:a16="http://schemas.microsoft.com/office/drawing/2014/main" id="{6DF4EE45-CB21-A215-5837-66F0650F92E7}"/>
                      </a:ext>
                    </a:extLst>
                  </p:cNvPr>
                  <p:cNvSpPr/>
                  <p:nvPr/>
                </p:nvSpPr>
                <p:spPr>
                  <a:xfrm>
                    <a:off x="7912036"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57" name="Freeform: Shape 7256">
                    <a:extLst>
                      <a:ext uri="{FF2B5EF4-FFF2-40B4-BE49-F238E27FC236}">
                        <a16:creationId xmlns:a16="http://schemas.microsoft.com/office/drawing/2014/main" id="{C6564903-1CC0-E7F0-166F-33C0AF50D3E8}"/>
                      </a:ext>
                    </a:extLst>
                  </p:cNvPr>
                  <p:cNvSpPr/>
                  <p:nvPr/>
                </p:nvSpPr>
                <p:spPr>
                  <a:xfrm>
                    <a:off x="7874222" y="393296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2" name="Graphic 75">
                  <a:extLst>
                    <a:ext uri="{FF2B5EF4-FFF2-40B4-BE49-F238E27FC236}">
                      <a16:creationId xmlns:a16="http://schemas.microsoft.com/office/drawing/2014/main" id="{294DE448-64A9-3E8B-0D94-620165BA0285}"/>
                    </a:ext>
                  </a:extLst>
                </p:cNvPr>
                <p:cNvGrpSpPr/>
                <p:nvPr/>
              </p:nvGrpSpPr>
              <p:grpSpPr>
                <a:xfrm>
                  <a:off x="7724203" y="3895153"/>
                  <a:ext cx="75723" cy="75723"/>
                  <a:chOff x="7724203" y="3895153"/>
                  <a:chExt cx="75723" cy="75723"/>
                </a:xfrm>
              </p:grpSpPr>
              <p:sp>
                <p:nvSpPr>
                  <p:cNvPr id="7254" name="Freeform: Shape 7253">
                    <a:extLst>
                      <a:ext uri="{FF2B5EF4-FFF2-40B4-BE49-F238E27FC236}">
                        <a16:creationId xmlns:a16="http://schemas.microsoft.com/office/drawing/2014/main" id="{2944D381-E3FD-51AF-8C3A-1D0C9CACE03B}"/>
                      </a:ext>
                    </a:extLst>
                  </p:cNvPr>
                  <p:cNvSpPr/>
                  <p:nvPr/>
                </p:nvSpPr>
                <p:spPr>
                  <a:xfrm>
                    <a:off x="7762017"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55" name="Freeform: Shape 7254">
                    <a:extLst>
                      <a:ext uri="{FF2B5EF4-FFF2-40B4-BE49-F238E27FC236}">
                        <a16:creationId xmlns:a16="http://schemas.microsoft.com/office/drawing/2014/main" id="{4C5D0B6E-B830-8E92-76E2-514F95BE98BA}"/>
                      </a:ext>
                    </a:extLst>
                  </p:cNvPr>
                  <p:cNvSpPr/>
                  <p:nvPr/>
                </p:nvSpPr>
                <p:spPr>
                  <a:xfrm>
                    <a:off x="7724203"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3" name="Graphic 75">
                  <a:extLst>
                    <a:ext uri="{FF2B5EF4-FFF2-40B4-BE49-F238E27FC236}">
                      <a16:creationId xmlns:a16="http://schemas.microsoft.com/office/drawing/2014/main" id="{F56C69AB-D818-6317-B584-B661E2437DF7}"/>
                    </a:ext>
                  </a:extLst>
                </p:cNvPr>
                <p:cNvGrpSpPr/>
                <p:nvPr/>
              </p:nvGrpSpPr>
              <p:grpSpPr>
                <a:xfrm>
                  <a:off x="7631811" y="3766280"/>
                  <a:ext cx="75723" cy="75628"/>
                  <a:chOff x="7631811" y="3766280"/>
                  <a:chExt cx="75723" cy="75628"/>
                </a:xfrm>
              </p:grpSpPr>
              <p:sp>
                <p:nvSpPr>
                  <p:cNvPr id="7252" name="Freeform: Shape 7251">
                    <a:extLst>
                      <a:ext uri="{FF2B5EF4-FFF2-40B4-BE49-F238E27FC236}">
                        <a16:creationId xmlns:a16="http://schemas.microsoft.com/office/drawing/2014/main" id="{9E61A0B4-8772-C6F0-EEE1-60BF24A49D71}"/>
                      </a:ext>
                    </a:extLst>
                  </p:cNvPr>
                  <p:cNvSpPr/>
                  <p:nvPr/>
                </p:nvSpPr>
                <p:spPr>
                  <a:xfrm>
                    <a:off x="766962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53" name="Freeform: Shape 7252">
                    <a:extLst>
                      <a:ext uri="{FF2B5EF4-FFF2-40B4-BE49-F238E27FC236}">
                        <a16:creationId xmlns:a16="http://schemas.microsoft.com/office/drawing/2014/main" id="{C0791F1B-8C2B-DCB5-6072-36D9768B17A2}"/>
                      </a:ext>
                    </a:extLst>
                  </p:cNvPr>
                  <p:cNvSpPr/>
                  <p:nvPr/>
                </p:nvSpPr>
                <p:spPr>
                  <a:xfrm>
                    <a:off x="763181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4" name="Graphic 75">
                  <a:extLst>
                    <a:ext uri="{FF2B5EF4-FFF2-40B4-BE49-F238E27FC236}">
                      <a16:creationId xmlns:a16="http://schemas.microsoft.com/office/drawing/2014/main" id="{1BE64CFD-988E-0545-0AA0-1B726BA8BFF9}"/>
                    </a:ext>
                  </a:extLst>
                </p:cNvPr>
                <p:cNvGrpSpPr/>
                <p:nvPr/>
              </p:nvGrpSpPr>
              <p:grpSpPr>
                <a:xfrm>
                  <a:off x="7565040" y="3766280"/>
                  <a:ext cx="75723" cy="75628"/>
                  <a:chOff x="7565040" y="3766280"/>
                  <a:chExt cx="75723" cy="75628"/>
                </a:xfrm>
              </p:grpSpPr>
              <p:sp>
                <p:nvSpPr>
                  <p:cNvPr id="7250" name="Freeform: Shape 7249">
                    <a:extLst>
                      <a:ext uri="{FF2B5EF4-FFF2-40B4-BE49-F238E27FC236}">
                        <a16:creationId xmlns:a16="http://schemas.microsoft.com/office/drawing/2014/main" id="{D07A809D-15F2-2CE8-E14E-82EAF9422073}"/>
                      </a:ext>
                    </a:extLst>
                  </p:cNvPr>
                  <p:cNvSpPr/>
                  <p:nvPr/>
                </p:nvSpPr>
                <p:spPr>
                  <a:xfrm>
                    <a:off x="760285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51" name="Freeform: Shape 7250">
                    <a:extLst>
                      <a:ext uri="{FF2B5EF4-FFF2-40B4-BE49-F238E27FC236}">
                        <a16:creationId xmlns:a16="http://schemas.microsoft.com/office/drawing/2014/main" id="{1F75FDB6-D90E-1B6D-5906-FC2C02FC90DF}"/>
                      </a:ext>
                    </a:extLst>
                  </p:cNvPr>
                  <p:cNvSpPr/>
                  <p:nvPr/>
                </p:nvSpPr>
                <p:spPr>
                  <a:xfrm>
                    <a:off x="7565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5" name="Graphic 75">
                  <a:extLst>
                    <a:ext uri="{FF2B5EF4-FFF2-40B4-BE49-F238E27FC236}">
                      <a16:creationId xmlns:a16="http://schemas.microsoft.com/office/drawing/2014/main" id="{BA82353F-BB64-1CB4-E612-3CF80475DD1F}"/>
                    </a:ext>
                  </a:extLst>
                </p:cNvPr>
                <p:cNvGrpSpPr/>
                <p:nvPr/>
              </p:nvGrpSpPr>
              <p:grpSpPr>
                <a:xfrm>
                  <a:off x="7537989" y="3766280"/>
                  <a:ext cx="75723" cy="75628"/>
                  <a:chOff x="7537989" y="3766280"/>
                  <a:chExt cx="75723" cy="75628"/>
                </a:xfrm>
              </p:grpSpPr>
              <p:sp>
                <p:nvSpPr>
                  <p:cNvPr id="7248" name="Freeform: Shape 7247">
                    <a:extLst>
                      <a:ext uri="{FF2B5EF4-FFF2-40B4-BE49-F238E27FC236}">
                        <a16:creationId xmlns:a16="http://schemas.microsoft.com/office/drawing/2014/main" id="{0129CF25-5739-5454-4FDC-D425771F470A}"/>
                      </a:ext>
                    </a:extLst>
                  </p:cNvPr>
                  <p:cNvSpPr/>
                  <p:nvPr/>
                </p:nvSpPr>
                <p:spPr>
                  <a:xfrm>
                    <a:off x="757580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49" name="Freeform: Shape 7248">
                    <a:extLst>
                      <a:ext uri="{FF2B5EF4-FFF2-40B4-BE49-F238E27FC236}">
                        <a16:creationId xmlns:a16="http://schemas.microsoft.com/office/drawing/2014/main" id="{CB320A8F-C836-332C-7667-7B2D60B1E27F}"/>
                      </a:ext>
                    </a:extLst>
                  </p:cNvPr>
                  <p:cNvSpPr/>
                  <p:nvPr/>
                </p:nvSpPr>
                <p:spPr>
                  <a:xfrm>
                    <a:off x="7537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6" name="Graphic 75">
                  <a:extLst>
                    <a:ext uri="{FF2B5EF4-FFF2-40B4-BE49-F238E27FC236}">
                      <a16:creationId xmlns:a16="http://schemas.microsoft.com/office/drawing/2014/main" id="{A6821D8D-746D-11BD-FEB9-92685F932F32}"/>
                    </a:ext>
                  </a:extLst>
                </p:cNvPr>
                <p:cNvGrpSpPr/>
                <p:nvPr/>
              </p:nvGrpSpPr>
              <p:grpSpPr>
                <a:xfrm>
                  <a:off x="7478077" y="3766280"/>
                  <a:ext cx="75723" cy="75628"/>
                  <a:chOff x="7478077" y="3766280"/>
                  <a:chExt cx="75723" cy="75628"/>
                </a:xfrm>
              </p:grpSpPr>
              <p:sp>
                <p:nvSpPr>
                  <p:cNvPr id="7246" name="Freeform: Shape 7245">
                    <a:extLst>
                      <a:ext uri="{FF2B5EF4-FFF2-40B4-BE49-F238E27FC236}">
                        <a16:creationId xmlns:a16="http://schemas.microsoft.com/office/drawing/2014/main" id="{9B41481B-9F45-2EBF-164F-18813259EF14}"/>
                      </a:ext>
                    </a:extLst>
                  </p:cNvPr>
                  <p:cNvSpPr/>
                  <p:nvPr/>
                </p:nvSpPr>
                <p:spPr>
                  <a:xfrm>
                    <a:off x="751589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47" name="Freeform: Shape 7246">
                    <a:extLst>
                      <a:ext uri="{FF2B5EF4-FFF2-40B4-BE49-F238E27FC236}">
                        <a16:creationId xmlns:a16="http://schemas.microsoft.com/office/drawing/2014/main" id="{2E7C35C0-ED65-FDFB-F665-0A99F1B0EC32}"/>
                      </a:ext>
                    </a:extLst>
                  </p:cNvPr>
                  <p:cNvSpPr/>
                  <p:nvPr/>
                </p:nvSpPr>
                <p:spPr>
                  <a:xfrm>
                    <a:off x="747807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7" name="Graphic 75">
                  <a:extLst>
                    <a:ext uri="{FF2B5EF4-FFF2-40B4-BE49-F238E27FC236}">
                      <a16:creationId xmlns:a16="http://schemas.microsoft.com/office/drawing/2014/main" id="{9DD6FB6B-F74E-FF32-30A3-E04819353339}"/>
                    </a:ext>
                  </a:extLst>
                </p:cNvPr>
                <p:cNvGrpSpPr/>
                <p:nvPr/>
              </p:nvGrpSpPr>
              <p:grpSpPr>
                <a:xfrm>
                  <a:off x="7150989" y="3766280"/>
                  <a:ext cx="75723" cy="75628"/>
                  <a:chOff x="7150989" y="3766280"/>
                  <a:chExt cx="75723" cy="75628"/>
                </a:xfrm>
              </p:grpSpPr>
              <p:sp>
                <p:nvSpPr>
                  <p:cNvPr id="7244" name="Freeform: Shape 7243">
                    <a:extLst>
                      <a:ext uri="{FF2B5EF4-FFF2-40B4-BE49-F238E27FC236}">
                        <a16:creationId xmlns:a16="http://schemas.microsoft.com/office/drawing/2014/main" id="{D86FE32E-BDCF-32A9-E01E-A176CE64567D}"/>
                      </a:ext>
                    </a:extLst>
                  </p:cNvPr>
                  <p:cNvSpPr/>
                  <p:nvPr/>
                </p:nvSpPr>
                <p:spPr>
                  <a:xfrm>
                    <a:off x="718880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45" name="Freeform: Shape 7244">
                    <a:extLst>
                      <a:ext uri="{FF2B5EF4-FFF2-40B4-BE49-F238E27FC236}">
                        <a16:creationId xmlns:a16="http://schemas.microsoft.com/office/drawing/2014/main" id="{A40DCF48-4077-C232-9E05-C8C0F76ACE74}"/>
                      </a:ext>
                    </a:extLst>
                  </p:cNvPr>
                  <p:cNvSpPr/>
                  <p:nvPr/>
                </p:nvSpPr>
                <p:spPr>
                  <a:xfrm>
                    <a:off x="715098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8" name="Graphic 75">
                  <a:extLst>
                    <a:ext uri="{FF2B5EF4-FFF2-40B4-BE49-F238E27FC236}">
                      <a16:creationId xmlns:a16="http://schemas.microsoft.com/office/drawing/2014/main" id="{ED7A11A5-A4D9-C8C7-5B2B-7555F9761C82}"/>
                    </a:ext>
                  </a:extLst>
                </p:cNvPr>
                <p:cNvGrpSpPr/>
                <p:nvPr/>
              </p:nvGrpSpPr>
              <p:grpSpPr>
                <a:xfrm>
                  <a:off x="6904958" y="3703605"/>
                  <a:ext cx="75723" cy="75628"/>
                  <a:chOff x="6904958" y="3703605"/>
                  <a:chExt cx="75723" cy="75628"/>
                </a:xfrm>
              </p:grpSpPr>
              <p:sp>
                <p:nvSpPr>
                  <p:cNvPr id="7242" name="Freeform: Shape 7241">
                    <a:extLst>
                      <a:ext uri="{FF2B5EF4-FFF2-40B4-BE49-F238E27FC236}">
                        <a16:creationId xmlns:a16="http://schemas.microsoft.com/office/drawing/2014/main" id="{00F9E0FD-51E3-5A85-8ECF-FEFAE28705ED}"/>
                      </a:ext>
                    </a:extLst>
                  </p:cNvPr>
                  <p:cNvSpPr/>
                  <p:nvPr/>
                </p:nvSpPr>
                <p:spPr>
                  <a:xfrm>
                    <a:off x="6942772"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43" name="Freeform: Shape 7242">
                    <a:extLst>
                      <a:ext uri="{FF2B5EF4-FFF2-40B4-BE49-F238E27FC236}">
                        <a16:creationId xmlns:a16="http://schemas.microsoft.com/office/drawing/2014/main" id="{50D82A66-885D-AAE1-6400-E77561E56F85}"/>
                      </a:ext>
                    </a:extLst>
                  </p:cNvPr>
                  <p:cNvSpPr/>
                  <p:nvPr/>
                </p:nvSpPr>
                <p:spPr>
                  <a:xfrm>
                    <a:off x="6904958"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09" name="Graphic 75">
                  <a:extLst>
                    <a:ext uri="{FF2B5EF4-FFF2-40B4-BE49-F238E27FC236}">
                      <a16:creationId xmlns:a16="http://schemas.microsoft.com/office/drawing/2014/main" id="{038DF69B-46C1-1E4A-EADE-307127DEBCF1}"/>
                    </a:ext>
                  </a:extLst>
                </p:cNvPr>
                <p:cNvGrpSpPr/>
                <p:nvPr/>
              </p:nvGrpSpPr>
              <p:grpSpPr>
                <a:xfrm>
                  <a:off x="6792658" y="3647979"/>
                  <a:ext cx="75723" cy="75723"/>
                  <a:chOff x="6792658" y="3647979"/>
                  <a:chExt cx="75723" cy="75723"/>
                </a:xfrm>
              </p:grpSpPr>
              <p:sp>
                <p:nvSpPr>
                  <p:cNvPr id="7240" name="Freeform: Shape 7239">
                    <a:extLst>
                      <a:ext uri="{FF2B5EF4-FFF2-40B4-BE49-F238E27FC236}">
                        <a16:creationId xmlns:a16="http://schemas.microsoft.com/office/drawing/2014/main" id="{ED4CF24C-49CB-B84F-2280-6477477565CD}"/>
                      </a:ext>
                    </a:extLst>
                  </p:cNvPr>
                  <p:cNvSpPr/>
                  <p:nvPr/>
                </p:nvSpPr>
                <p:spPr>
                  <a:xfrm>
                    <a:off x="6830568"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41" name="Freeform: Shape 7240">
                    <a:extLst>
                      <a:ext uri="{FF2B5EF4-FFF2-40B4-BE49-F238E27FC236}">
                        <a16:creationId xmlns:a16="http://schemas.microsoft.com/office/drawing/2014/main" id="{7828F0C7-968B-E388-B043-C9AFB92EFABD}"/>
                      </a:ext>
                    </a:extLst>
                  </p:cNvPr>
                  <p:cNvSpPr/>
                  <p:nvPr/>
                </p:nvSpPr>
                <p:spPr>
                  <a:xfrm>
                    <a:off x="6792658"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0" name="Graphic 75">
                  <a:extLst>
                    <a:ext uri="{FF2B5EF4-FFF2-40B4-BE49-F238E27FC236}">
                      <a16:creationId xmlns:a16="http://schemas.microsoft.com/office/drawing/2014/main" id="{1F309807-2D21-2193-1DE3-77740DF2ADC7}"/>
                    </a:ext>
                  </a:extLst>
                </p:cNvPr>
                <p:cNvGrpSpPr/>
                <p:nvPr/>
              </p:nvGrpSpPr>
              <p:grpSpPr>
                <a:xfrm>
                  <a:off x="6671976" y="3598164"/>
                  <a:ext cx="75628" cy="75723"/>
                  <a:chOff x="6671976" y="3598164"/>
                  <a:chExt cx="75628" cy="75723"/>
                </a:xfrm>
              </p:grpSpPr>
              <p:sp>
                <p:nvSpPr>
                  <p:cNvPr id="7238" name="Freeform: Shape 7237">
                    <a:extLst>
                      <a:ext uri="{FF2B5EF4-FFF2-40B4-BE49-F238E27FC236}">
                        <a16:creationId xmlns:a16="http://schemas.microsoft.com/office/drawing/2014/main" id="{222DAE79-3332-2EC7-ED68-B2ABE2CCF246}"/>
                      </a:ext>
                    </a:extLst>
                  </p:cNvPr>
                  <p:cNvSpPr/>
                  <p:nvPr/>
                </p:nvSpPr>
                <p:spPr>
                  <a:xfrm>
                    <a:off x="670979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39" name="Freeform: Shape 7238">
                    <a:extLst>
                      <a:ext uri="{FF2B5EF4-FFF2-40B4-BE49-F238E27FC236}">
                        <a16:creationId xmlns:a16="http://schemas.microsoft.com/office/drawing/2014/main" id="{BCAD0CC3-1824-2E20-27B8-D8124735062E}"/>
                      </a:ext>
                    </a:extLst>
                  </p:cNvPr>
                  <p:cNvSpPr/>
                  <p:nvPr/>
                </p:nvSpPr>
                <p:spPr>
                  <a:xfrm>
                    <a:off x="667197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1" name="Graphic 75">
                  <a:extLst>
                    <a:ext uri="{FF2B5EF4-FFF2-40B4-BE49-F238E27FC236}">
                      <a16:creationId xmlns:a16="http://schemas.microsoft.com/office/drawing/2014/main" id="{49846F5F-7B8D-F9DF-D6F9-73B2FFC6B2AC}"/>
                    </a:ext>
                  </a:extLst>
                </p:cNvPr>
                <p:cNvGrpSpPr/>
                <p:nvPr/>
              </p:nvGrpSpPr>
              <p:grpSpPr>
                <a:xfrm>
                  <a:off x="6604254" y="3598164"/>
                  <a:ext cx="75723" cy="75723"/>
                  <a:chOff x="6604254" y="3598164"/>
                  <a:chExt cx="75723" cy="75723"/>
                </a:xfrm>
              </p:grpSpPr>
              <p:sp>
                <p:nvSpPr>
                  <p:cNvPr id="7236" name="Freeform: Shape 7235">
                    <a:extLst>
                      <a:ext uri="{FF2B5EF4-FFF2-40B4-BE49-F238E27FC236}">
                        <a16:creationId xmlns:a16="http://schemas.microsoft.com/office/drawing/2014/main" id="{02CEEAC4-F14F-988D-D667-8A4DA670F31A}"/>
                      </a:ext>
                    </a:extLst>
                  </p:cNvPr>
                  <p:cNvSpPr/>
                  <p:nvPr/>
                </p:nvSpPr>
                <p:spPr>
                  <a:xfrm>
                    <a:off x="6642068"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37" name="Freeform: Shape 7236">
                    <a:extLst>
                      <a:ext uri="{FF2B5EF4-FFF2-40B4-BE49-F238E27FC236}">
                        <a16:creationId xmlns:a16="http://schemas.microsoft.com/office/drawing/2014/main" id="{A0365790-4744-22A3-9F4B-2680F1A8D8B5}"/>
                      </a:ext>
                    </a:extLst>
                  </p:cNvPr>
                  <p:cNvSpPr/>
                  <p:nvPr/>
                </p:nvSpPr>
                <p:spPr>
                  <a:xfrm>
                    <a:off x="6604254"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2" name="Graphic 75">
                  <a:extLst>
                    <a:ext uri="{FF2B5EF4-FFF2-40B4-BE49-F238E27FC236}">
                      <a16:creationId xmlns:a16="http://schemas.microsoft.com/office/drawing/2014/main" id="{63453AEC-BE58-0FCC-7976-CB1D67E69B3D}"/>
                    </a:ext>
                  </a:extLst>
                </p:cNvPr>
                <p:cNvGrpSpPr/>
                <p:nvPr/>
              </p:nvGrpSpPr>
              <p:grpSpPr>
                <a:xfrm>
                  <a:off x="6519100" y="3598164"/>
                  <a:ext cx="75723" cy="75723"/>
                  <a:chOff x="6519100" y="3598164"/>
                  <a:chExt cx="75723" cy="75723"/>
                </a:xfrm>
              </p:grpSpPr>
              <p:sp>
                <p:nvSpPr>
                  <p:cNvPr id="7234" name="Freeform: Shape 7233">
                    <a:extLst>
                      <a:ext uri="{FF2B5EF4-FFF2-40B4-BE49-F238E27FC236}">
                        <a16:creationId xmlns:a16="http://schemas.microsoft.com/office/drawing/2014/main" id="{BEF437B4-DF6A-4109-0A93-55B97A5EB758}"/>
                      </a:ext>
                    </a:extLst>
                  </p:cNvPr>
                  <p:cNvSpPr/>
                  <p:nvPr/>
                </p:nvSpPr>
                <p:spPr>
                  <a:xfrm>
                    <a:off x="6557010"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35" name="Freeform: Shape 7234">
                    <a:extLst>
                      <a:ext uri="{FF2B5EF4-FFF2-40B4-BE49-F238E27FC236}">
                        <a16:creationId xmlns:a16="http://schemas.microsoft.com/office/drawing/2014/main" id="{C84D46FF-1676-25B4-13F6-437E3351F2DA}"/>
                      </a:ext>
                    </a:extLst>
                  </p:cNvPr>
                  <p:cNvSpPr/>
                  <p:nvPr/>
                </p:nvSpPr>
                <p:spPr>
                  <a:xfrm>
                    <a:off x="6519100"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3" name="Graphic 75">
                  <a:extLst>
                    <a:ext uri="{FF2B5EF4-FFF2-40B4-BE49-F238E27FC236}">
                      <a16:creationId xmlns:a16="http://schemas.microsoft.com/office/drawing/2014/main" id="{08F87354-F06A-CA69-88BA-E5ED433267E8}"/>
                    </a:ext>
                  </a:extLst>
                </p:cNvPr>
                <p:cNvGrpSpPr/>
                <p:nvPr/>
              </p:nvGrpSpPr>
              <p:grpSpPr>
                <a:xfrm>
                  <a:off x="6462426" y="3598164"/>
                  <a:ext cx="75628" cy="75723"/>
                  <a:chOff x="6462426" y="3598164"/>
                  <a:chExt cx="75628" cy="75723"/>
                </a:xfrm>
              </p:grpSpPr>
              <p:sp>
                <p:nvSpPr>
                  <p:cNvPr id="7232" name="Freeform: Shape 7231">
                    <a:extLst>
                      <a:ext uri="{FF2B5EF4-FFF2-40B4-BE49-F238E27FC236}">
                        <a16:creationId xmlns:a16="http://schemas.microsoft.com/office/drawing/2014/main" id="{050F22F5-D40D-993A-77C2-BB28A4192D97}"/>
                      </a:ext>
                    </a:extLst>
                  </p:cNvPr>
                  <p:cNvSpPr/>
                  <p:nvPr/>
                </p:nvSpPr>
                <p:spPr>
                  <a:xfrm>
                    <a:off x="6500241"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33" name="Freeform: Shape 7232">
                    <a:extLst>
                      <a:ext uri="{FF2B5EF4-FFF2-40B4-BE49-F238E27FC236}">
                        <a16:creationId xmlns:a16="http://schemas.microsoft.com/office/drawing/2014/main" id="{9D5A4A70-F5B7-4F65-31D3-5BDC213FAE7B}"/>
                      </a:ext>
                    </a:extLst>
                  </p:cNvPr>
                  <p:cNvSpPr/>
                  <p:nvPr/>
                </p:nvSpPr>
                <p:spPr>
                  <a:xfrm>
                    <a:off x="6462426"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4" name="Graphic 75">
                  <a:extLst>
                    <a:ext uri="{FF2B5EF4-FFF2-40B4-BE49-F238E27FC236}">
                      <a16:creationId xmlns:a16="http://schemas.microsoft.com/office/drawing/2014/main" id="{A1217A8C-D97D-768E-758E-79BB4036F3EC}"/>
                    </a:ext>
                  </a:extLst>
                </p:cNvPr>
                <p:cNvGrpSpPr/>
                <p:nvPr/>
              </p:nvGrpSpPr>
              <p:grpSpPr>
                <a:xfrm>
                  <a:off x="6420993" y="3598164"/>
                  <a:ext cx="75723" cy="75723"/>
                  <a:chOff x="6420993" y="3598164"/>
                  <a:chExt cx="75723" cy="75723"/>
                </a:xfrm>
              </p:grpSpPr>
              <p:sp>
                <p:nvSpPr>
                  <p:cNvPr id="7230" name="Freeform: Shape 7229">
                    <a:extLst>
                      <a:ext uri="{FF2B5EF4-FFF2-40B4-BE49-F238E27FC236}">
                        <a16:creationId xmlns:a16="http://schemas.microsoft.com/office/drawing/2014/main" id="{FBE206E8-5A44-63DF-5323-AA64A1AFF587}"/>
                      </a:ext>
                    </a:extLst>
                  </p:cNvPr>
                  <p:cNvSpPr/>
                  <p:nvPr/>
                </p:nvSpPr>
                <p:spPr>
                  <a:xfrm>
                    <a:off x="6458902"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31" name="Freeform: Shape 7230">
                    <a:extLst>
                      <a:ext uri="{FF2B5EF4-FFF2-40B4-BE49-F238E27FC236}">
                        <a16:creationId xmlns:a16="http://schemas.microsoft.com/office/drawing/2014/main" id="{089B1A60-A51D-1EB7-23F8-7DB68EF8694D}"/>
                      </a:ext>
                    </a:extLst>
                  </p:cNvPr>
                  <p:cNvSpPr/>
                  <p:nvPr/>
                </p:nvSpPr>
                <p:spPr>
                  <a:xfrm>
                    <a:off x="6420993"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5" name="Graphic 75">
                  <a:extLst>
                    <a:ext uri="{FF2B5EF4-FFF2-40B4-BE49-F238E27FC236}">
                      <a16:creationId xmlns:a16="http://schemas.microsoft.com/office/drawing/2014/main" id="{02D75450-219B-38F1-F8FA-79C6A0AF9110}"/>
                    </a:ext>
                  </a:extLst>
                </p:cNvPr>
                <p:cNvGrpSpPr/>
                <p:nvPr/>
              </p:nvGrpSpPr>
              <p:grpSpPr>
                <a:xfrm>
                  <a:off x="6399561" y="3598164"/>
                  <a:ext cx="75723" cy="75723"/>
                  <a:chOff x="6399561" y="3598164"/>
                  <a:chExt cx="75723" cy="75723"/>
                </a:xfrm>
              </p:grpSpPr>
              <p:sp>
                <p:nvSpPr>
                  <p:cNvPr id="7228" name="Freeform: Shape 7227">
                    <a:extLst>
                      <a:ext uri="{FF2B5EF4-FFF2-40B4-BE49-F238E27FC236}">
                        <a16:creationId xmlns:a16="http://schemas.microsoft.com/office/drawing/2014/main" id="{13222F81-16BC-4987-309D-48C3E13CD519}"/>
                      </a:ext>
                    </a:extLst>
                  </p:cNvPr>
                  <p:cNvSpPr/>
                  <p:nvPr/>
                </p:nvSpPr>
                <p:spPr>
                  <a:xfrm>
                    <a:off x="6437376"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29" name="Freeform: Shape 7228">
                    <a:extLst>
                      <a:ext uri="{FF2B5EF4-FFF2-40B4-BE49-F238E27FC236}">
                        <a16:creationId xmlns:a16="http://schemas.microsoft.com/office/drawing/2014/main" id="{BD4F6129-7739-D967-B97B-206DC6D31069}"/>
                      </a:ext>
                    </a:extLst>
                  </p:cNvPr>
                  <p:cNvSpPr/>
                  <p:nvPr/>
                </p:nvSpPr>
                <p:spPr>
                  <a:xfrm>
                    <a:off x="6399561" y="36359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6" name="Graphic 75">
                  <a:extLst>
                    <a:ext uri="{FF2B5EF4-FFF2-40B4-BE49-F238E27FC236}">
                      <a16:creationId xmlns:a16="http://schemas.microsoft.com/office/drawing/2014/main" id="{8B83A624-8B75-472F-73AD-515D4668AF38}"/>
                    </a:ext>
                  </a:extLst>
                </p:cNvPr>
                <p:cNvGrpSpPr/>
                <p:nvPr/>
              </p:nvGrpSpPr>
              <p:grpSpPr>
                <a:xfrm>
                  <a:off x="6375273" y="3598164"/>
                  <a:ext cx="75628" cy="75723"/>
                  <a:chOff x="6375273" y="3598164"/>
                  <a:chExt cx="75628" cy="75723"/>
                </a:xfrm>
              </p:grpSpPr>
              <p:sp>
                <p:nvSpPr>
                  <p:cNvPr id="7226" name="Freeform: Shape 7225">
                    <a:extLst>
                      <a:ext uri="{FF2B5EF4-FFF2-40B4-BE49-F238E27FC236}">
                        <a16:creationId xmlns:a16="http://schemas.microsoft.com/office/drawing/2014/main" id="{A8B1821C-D90F-771B-35DB-E9EA5C3A3181}"/>
                      </a:ext>
                    </a:extLst>
                  </p:cNvPr>
                  <p:cNvSpPr/>
                  <p:nvPr/>
                </p:nvSpPr>
                <p:spPr>
                  <a:xfrm>
                    <a:off x="6413087" y="359816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27" name="Freeform: Shape 7226">
                    <a:extLst>
                      <a:ext uri="{FF2B5EF4-FFF2-40B4-BE49-F238E27FC236}">
                        <a16:creationId xmlns:a16="http://schemas.microsoft.com/office/drawing/2014/main" id="{9E470969-0A68-4A98-D55D-0DBE5A6B83F8}"/>
                      </a:ext>
                    </a:extLst>
                  </p:cNvPr>
                  <p:cNvSpPr/>
                  <p:nvPr/>
                </p:nvSpPr>
                <p:spPr>
                  <a:xfrm>
                    <a:off x="6375273" y="36359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7" name="Graphic 75">
                  <a:extLst>
                    <a:ext uri="{FF2B5EF4-FFF2-40B4-BE49-F238E27FC236}">
                      <a16:creationId xmlns:a16="http://schemas.microsoft.com/office/drawing/2014/main" id="{2A2CA498-D791-183C-CFD9-D4F9E192220F}"/>
                    </a:ext>
                  </a:extLst>
                </p:cNvPr>
                <p:cNvGrpSpPr/>
                <p:nvPr/>
              </p:nvGrpSpPr>
              <p:grpSpPr>
                <a:xfrm>
                  <a:off x="6152292" y="3556825"/>
                  <a:ext cx="75723" cy="75723"/>
                  <a:chOff x="6152292" y="3556825"/>
                  <a:chExt cx="75723" cy="75723"/>
                </a:xfrm>
              </p:grpSpPr>
              <p:sp>
                <p:nvSpPr>
                  <p:cNvPr id="7224" name="Freeform: Shape 7223">
                    <a:extLst>
                      <a:ext uri="{FF2B5EF4-FFF2-40B4-BE49-F238E27FC236}">
                        <a16:creationId xmlns:a16="http://schemas.microsoft.com/office/drawing/2014/main" id="{BC802269-9A9A-EB97-9977-5414D7968D80}"/>
                      </a:ext>
                    </a:extLst>
                  </p:cNvPr>
                  <p:cNvSpPr/>
                  <p:nvPr/>
                </p:nvSpPr>
                <p:spPr>
                  <a:xfrm>
                    <a:off x="6190202"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25" name="Freeform: Shape 7224">
                    <a:extLst>
                      <a:ext uri="{FF2B5EF4-FFF2-40B4-BE49-F238E27FC236}">
                        <a16:creationId xmlns:a16="http://schemas.microsoft.com/office/drawing/2014/main" id="{3A8B7232-D268-2A03-862C-B0CC61C050BF}"/>
                      </a:ext>
                    </a:extLst>
                  </p:cNvPr>
                  <p:cNvSpPr/>
                  <p:nvPr/>
                </p:nvSpPr>
                <p:spPr>
                  <a:xfrm>
                    <a:off x="6152292"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8" name="Graphic 75">
                  <a:extLst>
                    <a:ext uri="{FF2B5EF4-FFF2-40B4-BE49-F238E27FC236}">
                      <a16:creationId xmlns:a16="http://schemas.microsoft.com/office/drawing/2014/main" id="{07E1AB18-6AAC-9B3D-4191-FD02250D348F}"/>
                    </a:ext>
                  </a:extLst>
                </p:cNvPr>
                <p:cNvGrpSpPr/>
                <p:nvPr/>
              </p:nvGrpSpPr>
              <p:grpSpPr>
                <a:xfrm>
                  <a:off x="6123908" y="3525202"/>
                  <a:ext cx="75723" cy="75723"/>
                  <a:chOff x="6123908" y="3525202"/>
                  <a:chExt cx="75723" cy="75723"/>
                </a:xfrm>
              </p:grpSpPr>
              <p:sp>
                <p:nvSpPr>
                  <p:cNvPr id="7222" name="Freeform: Shape 7221">
                    <a:extLst>
                      <a:ext uri="{FF2B5EF4-FFF2-40B4-BE49-F238E27FC236}">
                        <a16:creationId xmlns:a16="http://schemas.microsoft.com/office/drawing/2014/main" id="{937A39DA-0782-D1DA-4463-56FD77F79B3C}"/>
                      </a:ext>
                    </a:extLst>
                  </p:cNvPr>
                  <p:cNvSpPr/>
                  <p:nvPr/>
                </p:nvSpPr>
                <p:spPr>
                  <a:xfrm>
                    <a:off x="6161817"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23" name="Freeform: Shape 7222">
                    <a:extLst>
                      <a:ext uri="{FF2B5EF4-FFF2-40B4-BE49-F238E27FC236}">
                        <a16:creationId xmlns:a16="http://schemas.microsoft.com/office/drawing/2014/main" id="{8AA514B7-DE12-40F7-DAA2-5856D8552F8C}"/>
                      </a:ext>
                    </a:extLst>
                  </p:cNvPr>
                  <p:cNvSpPr/>
                  <p:nvPr/>
                </p:nvSpPr>
                <p:spPr>
                  <a:xfrm>
                    <a:off x="6123908"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19" name="Graphic 75">
                  <a:extLst>
                    <a:ext uri="{FF2B5EF4-FFF2-40B4-BE49-F238E27FC236}">
                      <a16:creationId xmlns:a16="http://schemas.microsoft.com/office/drawing/2014/main" id="{C5419384-0EF6-37B6-650D-CC9E99D6A6DE}"/>
                    </a:ext>
                  </a:extLst>
                </p:cNvPr>
                <p:cNvGrpSpPr/>
                <p:nvPr/>
              </p:nvGrpSpPr>
              <p:grpSpPr>
                <a:xfrm>
                  <a:off x="6134481" y="3525202"/>
                  <a:ext cx="75723" cy="75723"/>
                  <a:chOff x="6134481" y="3525202"/>
                  <a:chExt cx="75723" cy="75723"/>
                </a:xfrm>
              </p:grpSpPr>
              <p:sp>
                <p:nvSpPr>
                  <p:cNvPr id="7220" name="Freeform: Shape 7219">
                    <a:extLst>
                      <a:ext uri="{FF2B5EF4-FFF2-40B4-BE49-F238E27FC236}">
                        <a16:creationId xmlns:a16="http://schemas.microsoft.com/office/drawing/2014/main" id="{E313660D-1A59-E441-64A3-484E924A68B0}"/>
                      </a:ext>
                    </a:extLst>
                  </p:cNvPr>
                  <p:cNvSpPr/>
                  <p:nvPr/>
                </p:nvSpPr>
                <p:spPr>
                  <a:xfrm>
                    <a:off x="6172295" y="3525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21" name="Freeform: Shape 7220">
                    <a:extLst>
                      <a:ext uri="{FF2B5EF4-FFF2-40B4-BE49-F238E27FC236}">
                        <a16:creationId xmlns:a16="http://schemas.microsoft.com/office/drawing/2014/main" id="{D3C7EFB3-54C1-64CF-E8F6-F1006207D9AB}"/>
                      </a:ext>
                    </a:extLst>
                  </p:cNvPr>
                  <p:cNvSpPr/>
                  <p:nvPr/>
                </p:nvSpPr>
                <p:spPr>
                  <a:xfrm>
                    <a:off x="6134481" y="3563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0" name="Graphic 75">
                  <a:extLst>
                    <a:ext uri="{FF2B5EF4-FFF2-40B4-BE49-F238E27FC236}">
                      <a16:creationId xmlns:a16="http://schemas.microsoft.com/office/drawing/2014/main" id="{F225E125-A8E2-2E02-1937-82AA28C419B1}"/>
                    </a:ext>
                  </a:extLst>
                </p:cNvPr>
                <p:cNvGrpSpPr/>
                <p:nvPr/>
              </p:nvGrpSpPr>
              <p:grpSpPr>
                <a:xfrm>
                  <a:off x="5947791" y="3421475"/>
                  <a:ext cx="75723" cy="75628"/>
                  <a:chOff x="5947791" y="3421475"/>
                  <a:chExt cx="75723" cy="75628"/>
                </a:xfrm>
              </p:grpSpPr>
              <p:sp>
                <p:nvSpPr>
                  <p:cNvPr id="7218" name="Freeform: Shape 7217">
                    <a:extLst>
                      <a:ext uri="{FF2B5EF4-FFF2-40B4-BE49-F238E27FC236}">
                        <a16:creationId xmlns:a16="http://schemas.microsoft.com/office/drawing/2014/main" id="{62741317-30EA-6234-792A-C2EAA9A8BEFF}"/>
                      </a:ext>
                    </a:extLst>
                  </p:cNvPr>
                  <p:cNvSpPr/>
                  <p:nvPr/>
                </p:nvSpPr>
                <p:spPr>
                  <a:xfrm>
                    <a:off x="5985605"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19" name="Freeform: Shape 7218">
                    <a:extLst>
                      <a:ext uri="{FF2B5EF4-FFF2-40B4-BE49-F238E27FC236}">
                        <a16:creationId xmlns:a16="http://schemas.microsoft.com/office/drawing/2014/main" id="{2E5C5D75-5487-167E-76C7-77367CEC1FB8}"/>
                      </a:ext>
                    </a:extLst>
                  </p:cNvPr>
                  <p:cNvSpPr/>
                  <p:nvPr/>
                </p:nvSpPr>
                <p:spPr>
                  <a:xfrm>
                    <a:off x="5947791"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1" name="Graphic 75">
                  <a:extLst>
                    <a:ext uri="{FF2B5EF4-FFF2-40B4-BE49-F238E27FC236}">
                      <a16:creationId xmlns:a16="http://schemas.microsoft.com/office/drawing/2014/main" id="{40CF5667-301C-629D-5B4C-0363543F7531}"/>
                    </a:ext>
                  </a:extLst>
                </p:cNvPr>
                <p:cNvGrpSpPr/>
                <p:nvPr/>
              </p:nvGrpSpPr>
              <p:grpSpPr>
                <a:xfrm>
                  <a:off x="5808249" y="3421475"/>
                  <a:ext cx="75723" cy="75628"/>
                  <a:chOff x="5808249" y="3421475"/>
                  <a:chExt cx="75723" cy="75628"/>
                </a:xfrm>
              </p:grpSpPr>
              <p:sp>
                <p:nvSpPr>
                  <p:cNvPr id="7216" name="Freeform: Shape 7215">
                    <a:extLst>
                      <a:ext uri="{FF2B5EF4-FFF2-40B4-BE49-F238E27FC236}">
                        <a16:creationId xmlns:a16="http://schemas.microsoft.com/office/drawing/2014/main" id="{4E708DE9-71F9-C2C8-501D-71ACB3F1663D}"/>
                      </a:ext>
                    </a:extLst>
                  </p:cNvPr>
                  <p:cNvSpPr/>
                  <p:nvPr/>
                </p:nvSpPr>
                <p:spPr>
                  <a:xfrm>
                    <a:off x="5846064"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17" name="Freeform: Shape 7216">
                    <a:extLst>
                      <a:ext uri="{FF2B5EF4-FFF2-40B4-BE49-F238E27FC236}">
                        <a16:creationId xmlns:a16="http://schemas.microsoft.com/office/drawing/2014/main" id="{519B830B-EC1D-F0F8-1BEE-F32E751DD84F}"/>
                      </a:ext>
                    </a:extLst>
                  </p:cNvPr>
                  <p:cNvSpPr/>
                  <p:nvPr/>
                </p:nvSpPr>
                <p:spPr>
                  <a:xfrm>
                    <a:off x="5808249" y="3459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2" name="Graphic 75">
                  <a:extLst>
                    <a:ext uri="{FF2B5EF4-FFF2-40B4-BE49-F238E27FC236}">
                      <a16:creationId xmlns:a16="http://schemas.microsoft.com/office/drawing/2014/main" id="{2FB2BE2B-4FE5-721B-24CF-B771A3D38CF9}"/>
                    </a:ext>
                  </a:extLst>
                </p:cNvPr>
                <p:cNvGrpSpPr/>
                <p:nvPr/>
              </p:nvGrpSpPr>
              <p:grpSpPr>
                <a:xfrm>
                  <a:off x="5770435" y="3421475"/>
                  <a:ext cx="75628" cy="75628"/>
                  <a:chOff x="5770435" y="3421475"/>
                  <a:chExt cx="75628" cy="75628"/>
                </a:xfrm>
              </p:grpSpPr>
              <p:sp>
                <p:nvSpPr>
                  <p:cNvPr id="7214" name="Freeform: Shape 7213">
                    <a:extLst>
                      <a:ext uri="{FF2B5EF4-FFF2-40B4-BE49-F238E27FC236}">
                        <a16:creationId xmlns:a16="http://schemas.microsoft.com/office/drawing/2014/main" id="{FB0B1ADD-EA94-1923-A1F7-AA9D3990E23C}"/>
                      </a:ext>
                    </a:extLst>
                  </p:cNvPr>
                  <p:cNvSpPr/>
                  <p:nvPr/>
                </p:nvSpPr>
                <p:spPr>
                  <a:xfrm>
                    <a:off x="5808249" y="342147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15" name="Freeform: Shape 7214">
                    <a:extLst>
                      <a:ext uri="{FF2B5EF4-FFF2-40B4-BE49-F238E27FC236}">
                        <a16:creationId xmlns:a16="http://schemas.microsoft.com/office/drawing/2014/main" id="{FA7D2029-9767-7D93-B4DC-C14088F98940}"/>
                      </a:ext>
                    </a:extLst>
                  </p:cNvPr>
                  <p:cNvSpPr/>
                  <p:nvPr/>
                </p:nvSpPr>
                <p:spPr>
                  <a:xfrm>
                    <a:off x="5770435" y="345928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3" name="Graphic 75">
                  <a:extLst>
                    <a:ext uri="{FF2B5EF4-FFF2-40B4-BE49-F238E27FC236}">
                      <a16:creationId xmlns:a16="http://schemas.microsoft.com/office/drawing/2014/main" id="{4BA42503-EC17-93D5-F53C-085CA9986558}"/>
                    </a:ext>
                  </a:extLst>
                </p:cNvPr>
                <p:cNvGrpSpPr/>
                <p:nvPr/>
              </p:nvGrpSpPr>
              <p:grpSpPr>
                <a:xfrm>
                  <a:off x="5533739" y="3392900"/>
                  <a:ext cx="75723" cy="75628"/>
                  <a:chOff x="5533739" y="3392900"/>
                  <a:chExt cx="75723" cy="75628"/>
                </a:xfrm>
              </p:grpSpPr>
              <p:sp>
                <p:nvSpPr>
                  <p:cNvPr id="7212" name="Freeform: Shape 7211">
                    <a:extLst>
                      <a:ext uri="{FF2B5EF4-FFF2-40B4-BE49-F238E27FC236}">
                        <a16:creationId xmlns:a16="http://schemas.microsoft.com/office/drawing/2014/main" id="{FEB5826A-C3E0-390B-04EF-DFA4C4800421}"/>
                      </a:ext>
                    </a:extLst>
                  </p:cNvPr>
                  <p:cNvSpPr/>
                  <p:nvPr/>
                </p:nvSpPr>
                <p:spPr>
                  <a:xfrm>
                    <a:off x="557164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13" name="Freeform: Shape 7212">
                    <a:extLst>
                      <a:ext uri="{FF2B5EF4-FFF2-40B4-BE49-F238E27FC236}">
                        <a16:creationId xmlns:a16="http://schemas.microsoft.com/office/drawing/2014/main" id="{4A9F037B-A844-F4B5-7463-1730993C7DB3}"/>
                      </a:ext>
                    </a:extLst>
                  </p:cNvPr>
                  <p:cNvSpPr/>
                  <p:nvPr/>
                </p:nvSpPr>
                <p:spPr>
                  <a:xfrm>
                    <a:off x="5533739"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4" name="Graphic 75">
                  <a:extLst>
                    <a:ext uri="{FF2B5EF4-FFF2-40B4-BE49-F238E27FC236}">
                      <a16:creationId xmlns:a16="http://schemas.microsoft.com/office/drawing/2014/main" id="{350FC8FA-5434-A467-8DB3-6CC074598C87}"/>
                    </a:ext>
                  </a:extLst>
                </p:cNvPr>
                <p:cNvGrpSpPr/>
                <p:nvPr/>
              </p:nvGrpSpPr>
              <p:grpSpPr>
                <a:xfrm>
                  <a:off x="5352288" y="3338607"/>
                  <a:ext cx="75723" cy="75628"/>
                  <a:chOff x="5352288" y="3338607"/>
                  <a:chExt cx="75723" cy="75628"/>
                </a:xfrm>
              </p:grpSpPr>
              <p:sp>
                <p:nvSpPr>
                  <p:cNvPr id="7210" name="Freeform: Shape 7209">
                    <a:extLst>
                      <a:ext uri="{FF2B5EF4-FFF2-40B4-BE49-F238E27FC236}">
                        <a16:creationId xmlns:a16="http://schemas.microsoft.com/office/drawing/2014/main" id="{16EC046D-147C-8A01-1599-368E21749BF0}"/>
                      </a:ext>
                    </a:extLst>
                  </p:cNvPr>
                  <p:cNvSpPr/>
                  <p:nvPr/>
                </p:nvSpPr>
                <p:spPr>
                  <a:xfrm>
                    <a:off x="539010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11" name="Freeform: Shape 7210">
                    <a:extLst>
                      <a:ext uri="{FF2B5EF4-FFF2-40B4-BE49-F238E27FC236}">
                        <a16:creationId xmlns:a16="http://schemas.microsoft.com/office/drawing/2014/main" id="{994580CA-D5F0-2765-B7D5-4AA23BF16024}"/>
                      </a:ext>
                    </a:extLst>
                  </p:cNvPr>
                  <p:cNvSpPr/>
                  <p:nvPr/>
                </p:nvSpPr>
                <p:spPr>
                  <a:xfrm>
                    <a:off x="535228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5" name="Graphic 75">
                  <a:extLst>
                    <a:ext uri="{FF2B5EF4-FFF2-40B4-BE49-F238E27FC236}">
                      <a16:creationId xmlns:a16="http://schemas.microsoft.com/office/drawing/2014/main" id="{26DFB4EC-C872-F014-150F-7C65B8D97DC2}"/>
                    </a:ext>
                  </a:extLst>
                </p:cNvPr>
                <p:cNvGrpSpPr/>
                <p:nvPr/>
              </p:nvGrpSpPr>
              <p:grpSpPr>
                <a:xfrm>
                  <a:off x="5306377" y="3311652"/>
                  <a:ext cx="75723" cy="75628"/>
                  <a:chOff x="5306377" y="3311652"/>
                  <a:chExt cx="75723" cy="75628"/>
                </a:xfrm>
              </p:grpSpPr>
              <p:sp>
                <p:nvSpPr>
                  <p:cNvPr id="7208" name="Freeform: Shape 7207">
                    <a:extLst>
                      <a:ext uri="{FF2B5EF4-FFF2-40B4-BE49-F238E27FC236}">
                        <a16:creationId xmlns:a16="http://schemas.microsoft.com/office/drawing/2014/main" id="{1C9F866C-4317-AA43-DE9D-7559BD6078E3}"/>
                      </a:ext>
                    </a:extLst>
                  </p:cNvPr>
                  <p:cNvSpPr/>
                  <p:nvPr/>
                </p:nvSpPr>
                <p:spPr>
                  <a:xfrm>
                    <a:off x="5344191"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09" name="Freeform: Shape 7208">
                    <a:extLst>
                      <a:ext uri="{FF2B5EF4-FFF2-40B4-BE49-F238E27FC236}">
                        <a16:creationId xmlns:a16="http://schemas.microsoft.com/office/drawing/2014/main" id="{79611279-FB51-97A2-35F0-05B86061542A}"/>
                      </a:ext>
                    </a:extLst>
                  </p:cNvPr>
                  <p:cNvSpPr/>
                  <p:nvPr/>
                </p:nvSpPr>
                <p:spPr>
                  <a:xfrm>
                    <a:off x="5306377"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6" name="Graphic 75">
                  <a:extLst>
                    <a:ext uri="{FF2B5EF4-FFF2-40B4-BE49-F238E27FC236}">
                      <a16:creationId xmlns:a16="http://schemas.microsoft.com/office/drawing/2014/main" id="{8D1BA935-C73B-EE42-212F-7A9883B13629}"/>
                    </a:ext>
                  </a:extLst>
                </p:cNvPr>
                <p:cNvGrpSpPr/>
                <p:nvPr/>
              </p:nvGrpSpPr>
              <p:grpSpPr>
                <a:xfrm>
                  <a:off x="5295138" y="3311652"/>
                  <a:ext cx="75723" cy="75628"/>
                  <a:chOff x="5295138" y="3311652"/>
                  <a:chExt cx="75723" cy="75628"/>
                </a:xfrm>
              </p:grpSpPr>
              <p:sp>
                <p:nvSpPr>
                  <p:cNvPr id="7206" name="Freeform: Shape 7205">
                    <a:extLst>
                      <a:ext uri="{FF2B5EF4-FFF2-40B4-BE49-F238E27FC236}">
                        <a16:creationId xmlns:a16="http://schemas.microsoft.com/office/drawing/2014/main" id="{D68BAB73-5A42-6945-636D-DA2FF47A50A3}"/>
                      </a:ext>
                    </a:extLst>
                  </p:cNvPr>
                  <p:cNvSpPr/>
                  <p:nvPr/>
                </p:nvSpPr>
                <p:spPr>
                  <a:xfrm>
                    <a:off x="533295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07" name="Freeform: Shape 7206">
                    <a:extLst>
                      <a:ext uri="{FF2B5EF4-FFF2-40B4-BE49-F238E27FC236}">
                        <a16:creationId xmlns:a16="http://schemas.microsoft.com/office/drawing/2014/main" id="{5373813F-0E8C-B4D3-C9AA-624336E3A9D7}"/>
                      </a:ext>
                    </a:extLst>
                  </p:cNvPr>
                  <p:cNvSpPr/>
                  <p:nvPr/>
                </p:nvSpPr>
                <p:spPr>
                  <a:xfrm>
                    <a:off x="5295138" y="33494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7" name="Graphic 75">
                  <a:extLst>
                    <a:ext uri="{FF2B5EF4-FFF2-40B4-BE49-F238E27FC236}">
                      <a16:creationId xmlns:a16="http://schemas.microsoft.com/office/drawing/2014/main" id="{BAAC7231-B992-3275-5090-5F504B71DB8C}"/>
                    </a:ext>
                  </a:extLst>
                </p:cNvPr>
                <p:cNvGrpSpPr/>
                <p:nvPr/>
              </p:nvGrpSpPr>
              <p:grpSpPr>
                <a:xfrm>
                  <a:off x="5283898" y="3311652"/>
                  <a:ext cx="75628" cy="75628"/>
                  <a:chOff x="5283898" y="3311652"/>
                  <a:chExt cx="75628" cy="75628"/>
                </a:xfrm>
              </p:grpSpPr>
              <p:sp>
                <p:nvSpPr>
                  <p:cNvPr id="7204" name="Freeform: Shape 7203">
                    <a:extLst>
                      <a:ext uri="{FF2B5EF4-FFF2-40B4-BE49-F238E27FC236}">
                        <a16:creationId xmlns:a16="http://schemas.microsoft.com/office/drawing/2014/main" id="{E50A91F6-41CC-3A34-7149-FC09CEF172D2}"/>
                      </a:ext>
                    </a:extLst>
                  </p:cNvPr>
                  <p:cNvSpPr/>
                  <p:nvPr/>
                </p:nvSpPr>
                <p:spPr>
                  <a:xfrm>
                    <a:off x="5321712" y="331165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05" name="Freeform: Shape 7204">
                    <a:extLst>
                      <a:ext uri="{FF2B5EF4-FFF2-40B4-BE49-F238E27FC236}">
                        <a16:creationId xmlns:a16="http://schemas.microsoft.com/office/drawing/2014/main" id="{4D56D536-D252-EDBE-0D58-B2AB74167161}"/>
                      </a:ext>
                    </a:extLst>
                  </p:cNvPr>
                  <p:cNvSpPr/>
                  <p:nvPr/>
                </p:nvSpPr>
                <p:spPr>
                  <a:xfrm>
                    <a:off x="5283898" y="334946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8" name="Graphic 75">
                  <a:extLst>
                    <a:ext uri="{FF2B5EF4-FFF2-40B4-BE49-F238E27FC236}">
                      <a16:creationId xmlns:a16="http://schemas.microsoft.com/office/drawing/2014/main" id="{4EB09668-99D5-51D5-1AA4-F09A19FE9D40}"/>
                    </a:ext>
                  </a:extLst>
                </p:cNvPr>
                <p:cNvGrpSpPr/>
                <p:nvPr/>
              </p:nvGrpSpPr>
              <p:grpSpPr>
                <a:xfrm>
                  <a:off x="5255609" y="3289458"/>
                  <a:ext cx="75723" cy="75628"/>
                  <a:chOff x="5255609" y="3289458"/>
                  <a:chExt cx="75723" cy="75628"/>
                </a:xfrm>
              </p:grpSpPr>
              <p:sp>
                <p:nvSpPr>
                  <p:cNvPr id="7202" name="Freeform: Shape 7201">
                    <a:extLst>
                      <a:ext uri="{FF2B5EF4-FFF2-40B4-BE49-F238E27FC236}">
                        <a16:creationId xmlns:a16="http://schemas.microsoft.com/office/drawing/2014/main" id="{DE1683FB-838E-73BF-5B9A-A5FAE78FAAE6}"/>
                      </a:ext>
                    </a:extLst>
                  </p:cNvPr>
                  <p:cNvSpPr/>
                  <p:nvPr/>
                </p:nvSpPr>
                <p:spPr>
                  <a:xfrm>
                    <a:off x="529342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03" name="Freeform: Shape 7202">
                    <a:extLst>
                      <a:ext uri="{FF2B5EF4-FFF2-40B4-BE49-F238E27FC236}">
                        <a16:creationId xmlns:a16="http://schemas.microsoft.com/office/drawing/2014/main" id="{7EA7B4CA-EB55-55B1-F0C2-A94A0BA955F8}"/>
                      </a:ext>
                    </a:extLst>
                  </p:cNvPr>
                  <p:cNvSpPr/>
                  <p:nvPr/>
                </p:nvSpPr>
                <p:spPr>
                  <a:xfrm>
                    <a:off x="5255609"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29" name="Graphic 75">
                  <a:extLst>
                    <a:ext uri="{FF2B5EF4-FFF2-40B4-BE49-F238E27FC236}">
                      <a16:creationId xmlns:a16="http://schemas.microsoft.com/office/drawing/2014/main" id="{64BAE96C-B57E-0E5A-7B39-1D71FE607AAF}"/>
                    </a:ext>
                  </a:extLst>
                </p:cNvPr>
                <p:cNvGrpSpPr/>
                <p:nvPr/>
              </p:nvGrpSpPr>
              <p:grpSpPr>
                <a:xfrm>
                  <a:off x="5211794" y="3289458"/>
                  <a:ext cx="75723" cy="75628"/>
                  <a:chOff x="5211794" y="3289458"/>
                  <a:chExt cx="75723" cy="75628"/>
                </a:xfrm>
              </p:grpSpPr>
              <p:sp>
                <p:nvSpPr>
                  <p:cNvPr id="7200" name="Freeform: Shape 7199">
                    <a:extLst>
                      <a:ext uri="{FF2B5EF4-FFF2-40B4-BE49-F238E27FC236}">
                        <a16:creationId xmlns:a16="http://schemas.microsoft.com/office/drawing/2014/main" id="{037BACBD-1E8B-1064-3A7F-4F7137FB13D6}"/>
                      </a:ext>
                    </a:extLst>
                  </p:cNvPr>
                  <p:cNvSpPr/>
                  <p:nvPr/>
                </p:nvSpPr>
                <p:spPr>
                  <a:xfrm>
                    <a:off x="5249703" y="32894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01" name="Freeform: Shape 7200">
                    <a:extLst>
                      <a:ext uri="{FF2B5EF4-FFF2-40B4-BE49-F238E27FC236}">
                        <a16:creationId xmlns:a16="http://schemas.microsoft.com/office/drawing/2014/main" id="{F4FF102B-545D-ADE5-4FB2-961078FC2B00}"/>
                      </a:ext>
                    </a:extLst>
                  </p:cNvPr>
                  <p:cNvSpPr/>
                  <p:nvPr/>
                </p:nvSpPr>
                <p:spPr>
                  <a:xfrm>
                    <a:off x="5211794" y="33272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0" name="Graphic 75">
                  <a:extLst>
                    <a:ext uri="{FF2B5EF4-FFF2-40B4-BE49-F238E27FC236}">
                      <a16:creationId xmlns:a16="http://schemas.microsoft.com/office/drawing/2014/main" id="{CC8E3039-5D33-34CF-118C-6A0105B16533}"/>
                    </a:ext>
                  </a:extLst>
                </p:cNvPr>
                <p:cNvGrpSpPr/>
                <p:nvPr/>
              </p:nvGrpSpPr>
              <p:grpSpPr>
                <a:xfrm>
                  <a:off x="4961382" y="3220878"/>
                  <a:ext cx="75628" cy="75628"/>
                  <a:chOff x="4961382" y="3220878"/>
                  <a:chExt cx="75628" cy="75628"/>
                </a:xfrm>
              </p:grpSpPr>
              <p:sp>
                <p:nvSpPr>
                  <p:cNvPr id="7198" name="Freeform: Shape 7197">
                    <a:extLst>
                      <a:ext uri="{FF2B5EF4-FFF2-40B4-BE49-F238E27FC236}">
                        <a16:creationId xmlns:a16="http://schemas.microsoft.com/office/drawing/2014/main" id="{7D347E14-2EFD-322A-7FB4-C32A3F285DAC}"/>
                      </a:ext>
                    </a:extLst>
                  </p:cNvPr>
                  <p:cNvSpPr/>
                  <p:nvPr/>
                </p:nvSpPr>
                <p:spPr>
                  <a:xfrm>
                    <a:off x="499919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99" name="Freeform: Shape 7198">
                    <a:extLst>
                      <a:ext uri="{FF2B5EF4-FFF2-40B4-BE49-F238E27FC236}">
                        <a16:creationId xmlns:a16="http://schemas.microsoft.com/office/drawing/2014/main" id="{5010B3F0-10CE-3C19-D1E1-72A884784AAA}"/>
                      </a:ext>
                    </a:extLst>
                  </p:cNvPr>
                  <p:cNvSpPr/>
                  <p:nvPr/>
                </p:nvSpPr>
                <p:spPr>
                  <a:xfrm>
                    <a:off x="4961382" y="32586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1" name="Graphic 75">
                  <a:extLst>
                    <a:ext uri="{FF2B5EF4-FFF2-40B4-BE49-F238E27FC236}">
                      <a16:creationId xmlns:a16="http://schemas.microsoft.com/office/drawing/2014/main" id="{8EC2D4F5-DBD1-6E60-6B3E-BBEBA19EAA13}"/>
                    </a:ext>
                  </a:extLst>
                </p:cNvPr>
                <p:cNvGrpSpPr/>
                <p:nvPr/>
              </p:nvGrpSpPr>
              <p:grpSpPr>
                <a:xfrm>
                  <a:off x="4904994" y="3175825"/>
                  <a:ext cx="75723" cy="75723"/>
                  <a:chOff x="4904994" y="3175825"/>
                  <a:chExt cx="75723" cy="75723"/>
                </a:xfrm>
              </p:grpSpPr>
              <p:sp>
                <p:nvSpPr>
                  <p:cNvPr id="7196" name="Freeform: Shape 7195">
                    <a:extLst>
                      <a:ext uri="{FF2B5EF4-FFF2-40B4-BE49-F238E27FC236}">
                        <a16:creationId xmlns:a16="http://schemas.microsoft.com/office/drawing/2014/main" id="{43E9D000-C9E9-A47B-80CC-CCD82C7D271D}"/>
                      </a:ext>
                    </a:extLst>
                  </p:cNvPr>
                  <p:cNvSpPr/>
                  <p:nvPr/>
                </p:nvSpPr>
                <p:spPr>
                  <a:xfrm>
                    <a:off x="4942903" y="3175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97" name="Freeform: Shape 7196">
                    <a:extLst>
                      <a:ext uri="{FF2B5EF4-FFF2-40B4-BE49-F238E27FC236}">
                        <a16:creationId xmlns:a16="http://schemas.microsoft.com/office/drawing/2014/main" id="{AB76D7CC-79A8-6C73-1BDB-F3D5CB4EE786}"/>
                      </a:ext>
                    </a:extLst>
                  </p:cNvPr>
                  <p:cNvSpPr/>
                  <p:nvPr/>
                </p:nvSpPr>
                <p:spPr>
                  <a:xfrm>
                    <a:off x="4904994" y="32137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2" name="Graphic 75">
                  <a:extLst>
                    <a:ext uri="{FF2B5EF4-FFF2-40B4-BE49-F238E27FC236}">
                      <a16:creationId xmlns:a16="http://schemas.microsoft.com/office/drawing/2014/main" id="{E841A54A-EA7E-099D-8E58-16A0639379A4}"/>
                    </a:ext>
                  </a:extLst>
                </p:cNvPr>
                <p:cNvGrpSpPr/>
                <p:nvPr/>
              </p:nvGrpSpPr>
              <p:grpSpPr>
                <a:xfrm>
                  <a:off x="4850320" y="3162776"/>
                  <a:ext cx="75723" cy="75723"/>
                  <a:chOff x="4850320" y="3162776"/>
                  <a:chExt cx="75723" cy="75723"/>
                </a:xfrm>
              </p:grpSpPr>
              <p:sp>
                <p:nvSpPr>
                  <p:cNvPr id="7194" name="Freeform: Shape 7193">
                    <a:extLst>
                      <a:ext uri="{FF2B5EF4-FFF2-40B4-BE49-F238E27FC236}">
                        <a16:creationId xmlns:a16="http://schemas.microsoft.com/office/drawing/2014/main" id="{2A51FEA3-9918-F0AB-2118-7C102786B153}"/>
                      </a:ext>
                    </a:extLst>
                  </p:cNvPr>
                  <p:cNvSpPr/>
                  <p:nvPr/>
                </p:nvSpPr>
                <p:spPr>
                  <a:xfrm>
                    <a:off x="4888230"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95" name="Freeform: Shape 7194">
                    <a:extLst>
                      <a:ext uri="{FF2B5EF4-FFF2-40B4-BE49-F238E27FC236}">
                        <a16:creationId xmlns:a16="http://schemas.microsoft.com/office/drawing/2014/main" id="{9F6F6BA5-C473-2194-2D9C-877C348B4922}"/>
                      </a:ext>
                    </a:extLst>
                  </p:cNvPr>
                  <p:cNvSpPr/>
                  <p:nvPr/>
                </p:nvSpPr>
                <p:spPr>
                  <a:xfrm>
                    <a:off x="4850320"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3" name="Graphic 75">
                  <a:extLst>
                    <a:ext uri="{FF2B5EF4-FFF2-40B4-BE49-F238E27FC236}">
                      <a16:creationId xmlns:a16="http://schemas.microsoft.com/office/drawing/2014/main" id="{186157F7-A610-0D6A-C5B6-23B83A3A26D9}"/>
                    </a:ext>
                  </a:extLst>
                </p:cNvPr>
                <p:cNvGrpSpPr/>
                <p:nvPr/>
              </p:nvGrpSpPr>
              <p:grpSpPr>
                <a:xfrm>
                  <a:off x="4822983" y="3162776"/>
                  <a:ext cx="75723" cy="75723"/>
                  <a:chOff x="4822983" y="3162776"/>
                  <a:chExt cx="75723" cy="75723"/>
                </a:xfrm>
              </p:grpSpPr>
              <p:sp>
                <p:nvSpPr>
                  <p:cNvPr id="7192" name="Freeform: Shape 7191">
                    <a:extLst>
                      <a:ext uri="{FF2B5EF4-FFF2-40B4-BE49-F238E27FC236}">
                        <a16:creationId xmlns:a16="http://schemas.microsoft.com/office/drawing/2014/main" id="{C9E8CECA-804D-A742-D15E-026A8AEAD150}"/>
                      </a:ext>
                    </a:extLst>
                  </p:cNvPr>
                  <p:cNvSpPr/>
                  <p:nvPr/>
                </p:nvSpPr>
                <p:spPr>
                  <a:xfrm>
                    <a:off x="4860798"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93" name="Freeform: Shape 7192">
                    <a:extLst>
                      <a:ext uri="{FF2B5EF4-FFF2-40B4-BE49-F238E27FC236}">
                        <a16:creationId xmlns:a16="http://schemas.microsoft.com/office/drawing/2014/main" id="{EBA7776D-7246-6746-DAD3-A61435A2E466}"/>
                      </a:ext>
                    </a:extLst>
                  </p:cNvPr>
                  <p:cNvSpPr/>
                  <p:nvPr/>
                </p:nvSpPr>
                <p:spPr>
                  <a:xfrm>
                    <a:off x="4822983" y="32005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4" name="Graphic 75">
                  <a:extLst>
                    <a:ext uri="{FF2B5EF4-FFF2-40B4-BE49-F238E27FC236}">
                      <a16:creationId xmlns:a16="http://schemas.microsoft.com/office/drawing/2014/main" id="{7BBA44B3-B10E-3BBD-E54D-263E2AFE07FB}"/>
                    </a:ext>
                  </a:extLst>
                </p:cNvPr>
                <p:cNvGrpSpPr/>
                <p:nvPr/>
              </p:nvGrpSpPr>
              <p:grpSpPr>
                <a:xfrm>
                  <a:off x="4756118" y="3162776"/>
                  <a:ext cx="75628" cy="75723"/>
                  <a:chOff x="4756118" y="3162776"/>
                  <a:chExt cx="75628" cy="75723"/>
                </a:xfrm>
              </p:grpSpPr>
              <p:sp>
                <p:nvSpPr>
                  <p:cNvPr id="7190" name="Freeform: Shape 7189">
                    <a:extLst>
                      <a:ext uri="{FF2B5EF4-FFF2-40B4-BE49-F238E27FC236}">
                        <a16:creationId xmlns:a16="http://schemas.microsoft.com/office/drawing/2014/main" id="{5AB8FDC6-D559-3C5A-0427-C15B3932CC30}"/>
                      </a:ext>
                    </a:extLst>
                  </p:cNvPr>
                  <p:cNvSpPr/>
                  <p:nvPr/>
                </p:nvSpPr>
                <p:spPr>
                  <a:xfrm>
                    <a:off x="4793932" y="31627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91" name="Freeform: Shape 7190">
                    <a:extLst>
                      <a:ext uri="{FF2B5EF4-FFF2-40B4-BE49-F238E27FC236}">
                        <a16:creationId xmlns:a16="http://schemas.microsoft.com/office/drawing/2014/main" id="{B67FB18C-AC9C-4F75-ADD9-A7F51E0EB199}"/>
                      </a:ext>
                    </a:extLst>
                  </p:cNvPr>
                  <p:cNvSpPr/>
                  <p:nvPr/>
                </p:nvSpPr>
                <p:spPr>
                  <a:xfrm>
                    <a:off x="4756118" y="32005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5" name="Graphic 75">
                  <a:extLst>
                    <a:ext uri="{FF2B5EF4-FFF2-40B4-BE49-F238E27FC236}">
                      <a16:creationId xmlns:a16="http://schemas.microsoft.com/office/drawing/2014/main" id="{1F33FEA8-8654-AA72-B311-0D78859F9583}"/>
                    </a:ext>
                  </a:extLst>
                </p:cNvPr>
                <p:cNvGrpSpPr/>
                <p:nvPr/>
              </p:nvGrpSpPr>
              <p:grpSpPr>
                <a:xfrm>
                  <a:off x="4726305" y="3141821"/>
                  <a:ext cx="75723" cy="75628"/>
                  <a:chOff x="4726305" y="3141821"/>
                  <a:chExt cx="75723" cy="75628"/>
                </a:xfrm>
              </p:grpSpPr>
              <p:sp>
                <p:nvSpPr>
                  <p:cNvPr id="7188" name="Freeform: Shape 7187">
                    <a:extLst>
                      <a:ext uri="{FF2B5EF4-FFF2-40B4-BE49-F238E27FC236}">
                        <a16:creationId xmlns:a16="http://schemas.microsoft.com/office/drawing/2014/main" id="{5BEDDCAD-826F-2629-8CB9-E1D4D794A9CB}"/>
                      </a:ext>
                    </a:extLst>
                  </p:cNvPr>
                  <p:cNvSpPr/>
                  <p:nvPr/>
                </p:nvSpPr>
                <p:spPr>
                  <a:xfrm>
                    <a:off x="4764119" y="314182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89" name="Freeform: Shape 7188">
                    <a:extLst>
                      <a:ext uri="{FF2B5EF4-FFF2-40B4-BE49-F238E27FC236}">
                        <a16:creationId xmlns:a16="http://schemas.microsoft.com/office/drawing/2014/main" id="{E86882EE-F680-4396-8A6C-F0FFB5CE2A22}"/>
                      </a:ext>
                    </a:extLst>
                  </p:cNvPr>
                  <p:cNvSpPr/>
                  <p:nvPr/>
                </p:nvSpPr>
                <p:spPr>
                  <a:xfrm>
                    <a:off x="4726305"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6" name="Graphic 75">
                  <a:extLst>
                    <a:ext uri="{FF2B5EF4-FFF2-40B4-BE49-F238E27FC236}">
                      <a16:creationId xmlns:a16="http://schemas.microsoft.com/office/drawing/2014/main" id="{471F5F16-B567-5240-681E-E09735F871DB}"/>
                    </a:ext>
                  </a:extLst>
                </p:cNvPr>
                <p:cNvGrpSpPr/>
                <p:nvPr/>
              </p:nvGrpSpPr>
              <p:grpSpPr>
                <a:xfrm>
                  <a:off x="4696491" y="3120485"/>
                  <a:ext cx="75723" cy="75723"/>
                  <a:chOff x="4696491" y="3120485"/>
                  <a:chExt cx="75723" cy="75723"/>
                </a:xfrm>
              </p:grpSpPr>
              <p:sp>
                <p:nvSpPr>
                  <p:cNvPr id="7186" name="Freeform: Shape 7185">
                    <a:extLst>
                      <a:ext uri="{FF2B5EF4-FFF2-40B4-BE49-F238E27FC236}">
                        <a16:creationId xmlns:a16="http://schemas.microsoft.com/office/drawing/2014/main" id="{4D033A6D-1A21-51B6-0752-2E2643E95093}"/>
                      </a:ext>
                    </a:extLst>
                  </p:cNvPr>
                  <p:cNvSpPr/>
                  <p:nvPr/>
                </p:nvSpPr>
                <p:spPr>
                  <a:xfrm>
                    <a:off x="4734401" y="31204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87" name="Freeform: Shape 7186">
                    <a:extLst>
                      <a:ext uri="{FF2B5EF4-FFF2-40B4-BE49-F238E27FC236}">
                        <a16:creationId xmlns:a16="http://schemas.microsoft.com/office/drawing/2014/main" id="{85B2F539-D6E2-7C9C-0E65-34DEE71EA178}"/>
                      </a:ext>
                    </a:extLst>
                  </p:cNvPr>
                  <p:cNvSpPr/>
                  <p:nvPr/>
                </p:nvSpPr>
                <p:spPr>
                  <a:xfrm>
                    <a:off x="4696491" y="31583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7" name="Graphic 75">
                  <a:extLst>
                    <a:ext uri="{FF2B5EF4-FFF2-40B4-BE49-F238E27FC236}">
                      <a16:creationId xmlns:a16="http://schemas.microsoft.com/office/drawing/2014/main" id="{7BA60DCF-04FA-3496-2AA5-BB31A890D379}"/>
                    </a:ext>
                  </a:extLst>
                </p:cNvPr>
                <p:cNvGrpSpPr/>
                <p:nvPr/>
              </p:nvGrpSpPr>
              <p:grpSpPr>
                <a:xfrm>
                  <a:off x="4658677" y="3098958"/>
                  <a:ext cx="75723" cy="75628"/>
                  <a:chOff x="4658677" y="3098958"/>
                  <a:chExt cx="75723" cy="75628"/>
                </a:xfrm>
              </p:grpSpPr>
              <p:sp>
                <p:nvSpPr>
                  <p:cNvPr id="7184" name="Freeform: Shape 7183">
                    <a:extLst>
                      <a:ext uri="{FF2B5EF4-FFF2-40B4-BE49-F238E27FC236}">
                        <a16:creationId xmlns:a16="http://schemas.microsoft.com/office/drawing/2014/main" id="{9B758481-F8A7-3160-D2B1-E3E1B1220CF7}"/>
                      </a:ext>
                    </a:extLst>
                  </p:cNvPr>
                  <p:cNvSpPr/>
                  <p:nvPr/>
                </p:nvSpPr>
                <p:spPr>
                  <a:xfrm>
                    <a:off x="4696491" y="30989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85" name="Freeform: Shape 7184">
                    <a:extLst>
                      <a:ext uri="{FF2B5EF4-FFF2-40B4-BE49-F238E27FC236}">
                        <a16:creationId xmlns:a16="http://schemas.microsoft.com/office/drawing/2014/main" id="{D1E0EB0D-B680-316C-F20E-918DF0039904}"/>
                      </a:ext>
                    </a:extLst>
                  </p:cNvPr>
                  <p:cNvSpPr/>
                  <p:nvPr/>
                </p:nvSpPr>
                <p:spPr>
                  <a:xfrm>
                    <a:off x="4658677" y="31367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8" name="Graphic 75">
                  <a:extLst>
                    <a:ext uri="{FF2B5EF4-FFF2-40B4-BE49-F238E27FC236}">
                      <a16:creationId xmlns:a16="http://schemas.microsoft.com/office/drawing/2014/main" id="{F02FF461-D4A4-44EF-682A-4E19E805C0DB}"/>
                    </a:ext>
                  </a:extLst>
                </p:cNvPr>
                <p:cNvGrpSpPr/>
                <p:nvPr/>
              </p:nvGrpSpPr>
              <p:grpSpPr>
                <a:xfrm>
                  <a:off x="4608099" y="3080099"/>
                  <a:ext cx="75628" cy="75723"/>
                  <a:chOff x="4608099" y="3080099"/>
                  <a:chExt cx="75628" cy="75723"/>
                </a:xfrm>
              </p:grpSpPr>
              <p:sp>
                <p:nvSpPr>
                  <p:cNvPr id="7182" name="Freeform: Shape 7181">
                    <a:extLst>
                      <a:ext uri="{FF2B5EF4-FFF2-40B4-BE49-F238E27FC236}">
                        <a16:creationId xmlns:a16="http://schemas.microsoft.com/office/drawing/2014/main" id="{B1F25B3A-8EAC-E92F-8B21-6B03A4168B78}"/>
                      </a:ext>
                    </a:extLst>
                  </p:cNvPr>
                  <p:cNvSpPr/>
                  <p:nvPr/>
                </p:nvSpPr>
                <p:spPr>
                  <a:xfrm>
                    <a:off x="4645914"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83" name="Freeform: Shape 7182">
                    <a:extLst>
                      <a:ext uri="{FF2B5EF4-FFF2-40B4-BE49-F238E27FC236}">
                        <a16:creationId xmlns:a16="http://schemas.microsoft.com/office/drawing/2014/main" id="{C79B8271-BD9E-808A-766F-49EB18F2133F}"/>
                      </a:ext>
                    </a:extLst>
                  </p:cNvPr>
                  <p:cNvSpPr/>
                  <p:nvPr/>
                </p:nvSpPr>
                <p:spPr>
                  <a:xfrm>
                    <a:off x="4608099" y="311791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39" name="Graphic 75">
                  <a:extLst>
                    <a:ext uri="{FF2B5EF4-FFF2-40B4-BE49-F238E27FC236}">
                      <a16:creationId xmlns:a16="http://schemas.microsoft.com/office/drawing/2014/main" id="{62FBE41E-459E-0DDE-712C-9B4FE6A569B0}"/>
                    </a:ext>
                  </a:extLst>
                </p:cNvPr>
                <p:cNvGrpSpPr/>
                <p:nvPr/>
              </p:nvGrpSpPr>
              <p:grpSpPr>
                <a:xfrm>
                  <a:off x="4577048" y="3057906"/>
                  <a:ext cx="75723" cy="75723"/>
                  <a:chOff x="4577048" y="3057906"/>
                  <a:chExt cx="75723" cy="75723"/>
                </a:xfrm>
              </p:grpSpPr>
              <p:sp>
                <p:nvSpPr>
                  <p:cNvPr id="7180" name="Freeform: Shape 7179">
                    <a:extLst>
                      <a:ext uri="{FF2B5EF4-FFF2-40B4-BE49-F238E27FC236}">
                        <a16:creationId xmlns:a16="http://schemas.microsoft.com/office/drawing/2014/main" id="{56B84A72-934C-570D-6B49-67A118F5E18F}"/>
                      </a:ext>
                    </a:extLst>
                  </p:cNvPr>
                  <p:cNvSpPr/>
                  <p:nvPr/>
                </p:nvSpPr>
                <p:spPr>
                  <a:xfrm>
                    <a:off x="4614862" y="305790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81" name="Freeform: Shape 7180">
                    <a:extLst>
                      <a:ext uri="{FF2B5EF4-FFF2-40B4-BE49-F238E27FC236}">
                        <a16:creationId xmlns:a16="http://schemas.microsoft.com/office/drawing/2014/main" id="{8F21652D-F2FA-D3EC-7A25-636B74073460}"/>
                      </a:ext>
                    </a:extLst>
                  </p:cNvPr>
                  <p:cNvSpPr/>
                  <p:nvPr/>
                </p:nvSpPr>
                <p:spPr>
                  <a:xfrm>
                    <a:off x="4577048" y="30957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0" name="Graphic 75">
                  <a:extLst>
                    <a:ext uri="{FF2B5EF4-FFF2-40B4-BE49-F238E27FC236}">
                      <a16:creationId xmlns:a16="http://schemas.microsoft.com/office/drawing/2014/main" id="{C93E0EA3-BF65-0FFF-8BC5-102577FD7FFF}"/>
                    </a:ext>
                  </a:extLst>
                </p:cNvPr>
                <p:cNvGrpSpPr/>
                <p:nvPr/>
              </p:nvGrpSpPr>
              <p:grpSpPr>
                <a:xfrm>
                  <a:off x="4551521" y="3038760"/>
                  <a:ext cx="75723" cy="75723"/>
                  <a:chOff x="4551521" y="3038760"/>
                  <a:chExt cx="75723" cy="75723"/>
                </a:xfrm>
              </p:grpSpPr>
              <p:sp>
                <p:nvSpPr>
                  <p:cNvPr id="7178" name="Freeform: Shape 7177">
                    <a:extLst>
                      <a:ext uri="{FF2B5EF4-FFF2-40B4-BE49-F238E27FC236}">
                        <a16:creationId xmlns:a16="http://schemas.microsoft.com/office/drawing/2014/main" id="{E534AE73-4B08-30A4-8902-237D9EAE0B42}"/>
                      </a:ext>
                    </a:extLst>
                  </p:cNvPr>
                  <p:cNvSpPr/>
                  <p:nvPr/>
                </p:nvSpPr>
                <p:spPr>
                  <a:xfrm>
                    <a:off x="458933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79" name="Freeform: Shape 7178">
                    <a:extLst>
                      <a:ext uri="{FF2B5EF4-FFF2-40B4-BE49-F238E27FC236}">
                        <a16:creationId xmlns:a16="http://schemas.microsoft.com/office/drawing/2014/main" id="{EACBDD8A-812A-B77D-55EC-960CD9116C78}"/>
                      </a:ext>
                    </a:extLst>
                  </p:cNvPr>
                  <p:cNvSpPr/>
                  <p:nvPr/>
                </p:nvSpPr>
                <p:spPr>
                  <a:xfrm>
                    <a:off x="455152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1" name="Graphic 75">
                  <a:extLst>
                    <a:ext uri="{FF2B5EF4-FFF2-40B4-BE49-F238E27FC236}">
                      <a16:creationId xmlns:a16="http://schemas.microsoft.com/office/drawing/2014/main" id="{4B14F3BB-E4AD-31D9-C568-AAE203D07CEF}"/>
                    </a:ext>
                  </a:extLst>
                </p:cNvPr>
                <p:cNvGrpSpPr/>
                <p:nvPr/>
              </p:nvGrpSpPr>
              <p:grpSpPr>
                <a:xfrm>
                  <a:off x="4463700" y="3038760"/>
                  <a:ext cx="75628" cy="75723"/>
                  <a:chOff x="4463700" y="3038760"/>
                  <a:chExt cx="75628" cy="75723"/>
                </a:xfrm>
              </p:grpSpPr>
              <p:sp>
                <p:nvSpPr>
                  <p:cNvPr id="7176" name="Freeform: Shape 7175">
                    <a:extLst>
                      <a:ext uri="{FF2B5EF4-FFF2-40B4-BE49-F238E27FC236}">
                        <a16:creationId xmlns:a16="http://schemas.microsoft.com/office/drawing/2014/main" id="{92454AA9-0BCF-63D1-286F-1138FB8AB621}"/>
                      </a:ext>
                    </a:extLst>
                  </p:cNvPr>
                  <p:cNvSpPr/>
                  <p:nvPr/>
                </p:nvSpPr>
                <p:spPr>
                  <a:xfrm>
                    <a:off x="4501515"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77" name="Freeform: Shape 7176">
                    <a:extLst>
                      <a:ext uri="{FF2B5EF4-FFF2-40B4-BE49-F238E27FC236}">
                        <a16:creationId xmlns:a16="http://schemas.microsoft.com/office/drawing/2014/main" id="{E3610F35-1948-C37D-E4D9-3791B88054E7}"/>
                      </a:ext>
                    </a:extLst>
                  </p:cNvPr>
                  <p:cNvSpPr/>
                  <p:nvPr/>
                </p:nvSpPr>
                <p:spPr>
                  <a:xfrm>
                    <a:off x="4463700" y="30765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2" name="Graphic 75">
                  <a:extLst>
                    <a:ext uri="{FF2B5EF4-FFF2-40B4-BE49-F238E27FC236}">
                      <a16:creationId xmlns:a16="http://schemas.microsoft.com/office/drawing/2014/main" id="{AD57329F-CDAB-7DFE-6E5E-AF62D72FE4C1}"/>
                    </a:ext>
                  </a:extLst>
                </p:cNvPr>
                <p:cNvGrpSpPr/>
                <p:nvPr/>
              </p:nvGrpSpPr>
              <p:grpSpPr>
                <a:xfrm>
                  <a:off x="4453318" y="3038760"/>
                  <a:ext cx="75723" cy="75723"/>
                  <a:chOff x="4453318" y="3038760"/>
                  <a:chExt cx="75723" cy="75723"/>
                </a:xfrm>
              </p:grpSpPr>
              <p:sp>
                <p:nvSpPr>
                  <p:cNvPr id="7174" name="Freeform: Shape 7173">
                    <a:extLst>
                      <a:ext uri="{FF2B5EF4-FFF2-40B4-BE49-F238E27FC236}">
                        <a16:creationId xmlns:a16="http://schemas.microsoft.com/office/drawing/2014/main" id="{79526500-4801-4018-D618-D24D4D8F7003}"/>
                      </a:ext>
                    </a:extLst>
                  </p:cNvPr>
                  <p:cNvSpPr/>
                  <p:nvPr/>
                </p:nvSpPr>
                <p:spPr>
                  <a:xfrm>
                    <a:off x="4491132"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75" name="Freeform: Shape 7174">
                    <a:extLst>
                      <a:ext uri="{FF2B5EF4-FFF2-40B4-BE49-F238E27FC236}">
                        <a16:creationId xmlns:a16="http://schemas.microsoft.com/office/drawing/2014/main" id="{8398A71D-CE9F-7ECB-A2CA-C5E3C309D6FB}"/>
                      </a:ext>
                    </a:extLst>
                  </p:cNvPr>
                  <p:cNvSpPr/>
                  <p:nvPr/>
                </p:nvSpPr>
                <p:spPr>
                  <a:xfrm>
                    <a:off x="4453318"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3" name="Graphic 75">
                  <a:extLst>
                    <a:ext uri="{FF2B5EF4-FFF2-40B4-BE49-F238E27FC236}">
                      <a16:creationId xmlns:a16="http://schemas.microsoft.com/office/drawing/2014/main" id="{2B9B2C33-C5A9-CCCA-E76C-51C0F9AF44AC}"/>
                    </a:ext>
                  </a:extLst>
                </p:cNvPr>
                <p:cNvGrpSpPr/>
                <p:nvPr/>
              </p:nvGrpSpPr>
              <p:grpSpPr>
                <a:xfrm>
                  <a:off x="4124134" y="3020091"/>
                  <a:ext cx="75628" cy="75628"/>
                  <a:chOff x="4124134" y="3020091"/>
                  <a:chExt cx="75628" cy="75628"/>
                </a:xfrm>
              </p:grpSpPr>
              <p:sp>
                <p:nvSpPr>
                  <p:cNvPr id="7172" name="Freeform: Shape 7171">
                    <a:extLst>
                      <a:ext uri="{FF2B5EF4-FFF2-40B4-BE49-F238E27FC236}">
                        <a16:creationId xmlns:a16="http://schemas.microsoft.com/office/drawing/2014/main" id="{072FFFCC-E9AE-3385-4672-116EE1B22F13}"/>
                      </a:ext>
                    </a:extLst>
                  </p:cNvPr>
                  <p:cNvSpPr/>
                  <p:nvPr/>
                </p:nvSpPr>
                <p:spPr>
                  <a:xfrm>
                    <a:off x="4161948"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73" name="Freeform: Shape 7172">
                    <a:extLst>
                      <a:ext uri="{FF2B5EF4-FFF2-40B4-BE49-F238E27FC236}">
                        <a16:creationId xmlns:a16="http://schemas.microsoft.com/office/drawing/2014/main" id="{A55CEBB1-587C-8063-09A2-26733B65FAD0}"/>
                      </a:ext>
                    </a:extLst>
                  </p:cNvPr>
                  <p:cNvSpPr/>
                  <p:nvPr/>
                </p:nvSpPr>
                <p:spPr>
                  <a:xfrm>
                    <a:off x="4124134"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4" name="Graphic 75">
                  <a:extLst>
                    <a:ext uri="{FF2B5EF4-FFF2-40B4-BE49-F238E27FC236}">
                      <a16:creationId xmlns:a16="http://schemas.microsoft.com/office/drawing/2014/main" id="{BA565346-BAA8-5E67-A57C-A9E0640D1149}"/>
                    </a:ext>
                  </a:extLst>
                </p:cNvPr>
                <p:cNvGrpSpPr/>
                <p:nvPr/>
              </p:nvGrpSpPr>
              <p:grpSpPr>
                <a:xfrm>
                  <a:off x="3539775" y="2791682"/>
                  <a:ext cx="75628" cy="75628"/>
                  <a:chOff x="3539775" y="2791682"/>
                  <a:chExt cx="75628" cy="75628"/>
                </a:xfrm>
              </p:grpSpPr>
              <p:sp>
                <p:nvSpPr>
                  <p:cNvPr id="7170" name="Freeform: Shape 7169">
                    <a:extLst>
                      <a:ext uri="{FF2B5EF4-FFF2-40B4-BE49-F238E27FC236}">
                        <a16:creationId xmlns:a16="http://schemas.microsoft.com/office/drawing/2014/main" id="{4184DDDA-86E4-295C-59BB-01C4EFD6FEE2}"/>
                      </a:ext>
                    </a:extLst>
                  </p:cNvPr>
                  <p:cNvSpPr/>
                  <p:nvPr/>
                </p:nvSpPr>
                <p:spPr>
                  <a:xfrm>
                    <a:off x="3577590" y="279168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71" name="Freeform: Shape 7170">
                    <a:extLst>
                      <a:ext uri="{FF2B5EF4-FFF2-40B4-BE49-F238E27FC236}">
                        <a16:creationId xmlns:a16="http://schemas.microsoft.com/office/drawing/2014/main" id="{D8777A4D-DD2C-5434-D299-CDB8CAA0A516}"/>
                      </a:ext>
                    </a:extLst>
                  </p:cNvPr>
                  <p:cNvSpPr/>
                  <p:nvPr/>
                </p:nvSpPr>
                <p:spPr>
                  <a:xfrm>
                    <a:off x="3539775" y="282949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5" name="Graphic 75">
                  <a:extLst>
                    <a:ext uri="{FF2B5EF4-FFF2-40B4-BE49-F238E27FC236}">
                      <a16:creationId xmlns:a16="http://schemas.microsoft.com/office/drawing/2014/main" id="{325926E2-62F4-7C86-B87B-CFECDD962F8A}"/>
                    </a:ext>
                  </a:extLst>
                </p:cNvPr>
                <p:cNvGrpSpPr/>
                <p:nvPr/>
              </p:nvGrpSpPr>
              <p:grpSpPr>
                <a:xfrm>
                  <a:off x="3238785" y="2760059"/>
                  <a:ext cx="75723" cy="75628"/>
                  <a:chOff x="3238785" y="2760059"/>
                  <a:chExt cx="75723" cy="75628"/>
                </a:xfrm>
              </p:grpSpPr>
              <p:sp>
                <p:nvSpPr>
                  <p:cNvPr id="7168" name="Freeform: Shape 7167">
                    <a:extLst>
                      <a:ext uri="{FF2B5EF4-FFF2-40B4-BE49-F238E27FC236}">
                        <a16:creationId xmlns:a16="http://schemas.microsoft.com/office/drawing/2014/main" id="{FADCEA41-2997-9A0A-8768-2A56F0F8A811}"/>
                      </a:ext>
                    </a:extLst>
                  </p:cNvPr>
                  <p:cNvSpPr/>
                  <p:nvPr/>
                </p:nvSpPr>
                <p:spPr>
                  <a:xfrm>
                    <a:off x="3276600"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69" name="Freeform: Shape 7168">
                    <a:extLst>
                      <a:ext uri="{FF2B5EF4-FFF2-40B4-BE49-F238E27FC236}">
                        <a16:creationId xmlns:a16="http://schemas.microsoft.com/office/drawing/2014/main" id="{925ADA49-92DE-25AF-0EA2-BF63B749494C}"/>
                      </a:ext>
                    </a:extLst>
                  </p:cNvPr>
                  <p:cNvSpPr/>
                  <p:nvPr/>
                </p:nvSpPr>
                <p:spPr>
                  <a:xfrm>
                    <a:off x="3238785" y="279787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6" name="Graphic 75">
                  <a:extLst>
                    <a:ext uri="{FF2B5EF4-FFF2-40B4-BE49-F238E27FC236}">
                      <a16:creationId xmlns:a16="http://schemas.microsoft.com/office/drawing/2014/main" id="{ECADD904-56A6-3BC8-55AD-C4E53743C281}"/>
                    </a:ext>
                  </a:extLst>
                </p:cNvPr>
                <p:cNvGrpSpPr/>
                <p:nvPr/>
              </p:nvGrpSpPr>
              <p:grpSpPr>
                <a:xfrm>
                  <a:off x="3153537" y="2760059"/>
                  <a:ext cx="75628" cy="75628"/>
                  <a:chOff x="3153537" y="2760059"/>
                  <a:chExt cx="75628" cy="75628"/>
                </a:xfrm>
              </p:grpSpPr>
              <p:sp>
                <p:nvSpPr>
                  <p:cNvPr id="7166" name="Freeform: Shape 7165">
                    <a:extLst>
                      <a:ext uri="{FF2B5EF4-FFF2-40B4-BE49-F238E27FC236}">
                        <a16:creationId xmlns:a16="http://schemas.microsoft.com/office/drawing/2014/main" id="{6A9954F2-FE2E-8E0E-1E4F-E7305900EB6B}"/>
                      </a:ext>
                    </a:extLst>
                  </p:cNvPr>
                  <p:cNvSpPr/>
                  <p:nvPr/>
                </p:nvSpPr>
                <p:spPr>
                  <a:xfrm>
                    <a:off x="3191351" y="276005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67" name="Freeform: Shape 7166">
                    <a:extLst>
                      <a:ext uri="{FF2B5EF4-FFF2-40B4-BE49-F238E27FC236}">
                        <a16:creationId xmlns:a16="http://schemas.microsoft.com/office/drawing/2014/main" id="{0736BE95-C928-DCF3-8FED-DD5B03E33102}"/>
                      </a:ext>
                    </a:extLst>
                  </p:cNvPr>
                  <p:cNvSpPr/>
                  <p:nvPr/>
                </p:nvSpPr>
                <p:spPr>
                  <a:xfrm>
                    <a:off x="3153537" y="279787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7" name="Graphic 75">
                  <a:extLst>
                    <a:ext uri="{FF2B5EF4-FFF2-40B4-BE49-F238E27FC236}">
                      <a16:creationId xmlns:a16="http://schemas.microsoft.com/office/drawing/2014/main" id="{843F0BD8-53AB-30B8-1ED8-E2BEA738F8C2}"/>
                    </a:ext>
                  </a:extLst>
                </p:cNvPr>
                <p:cNvGrpSpPr/>
                <p:nvPr/>
              </p:nvGrpSpPr>
              <p:grpSpPr>
                <a:xfrm>
                  <a:off x="4092511" y="3004375"/>
                  <a:ext cx="75628" cy="75723"/>
                  <a:chOff x="4092511" y="3004375"/>
                  <a:chExt cx="75628" cy="75723"/>
                </a:xfrm>
              </p:grpSpPr>
              <p:sp>
                <p:nvSpPr>
                  <p:cNvPr id="7164" name="Freeform: Shape 7163">
                    <a:extLst>
                      <a:ext uri="{FF2B5EF4-FFF2-40B4-BE49-F238E27FC236}">
                        <a16:creationId xmlns:a16="http://schemas.microsoft.com/office/drawing/2014/main" id="{200CE235-AB3C-B11F-CAC9-DA9224D36584}"/>
                      </a:ext>
                    </a:extLst>
                  </p:cNvPr>
                  <p:cNvSpPr/>
                  <p:nvPr/>
                </p:nvSpPr>
                <p:spPr>
                  <a:xfrm>
                    <a:off x="4130325" y="30043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65" name="Freeform: Shape 7164">
                    <a:extLst>
                      <a:ext uri="{FF2B5EF4-FFF2-40B4-BE49-F238E27FC236}">
                        <a16:creationId xmlns:a16="http://schemas.microsoft.com/office/drawing/2014/main" id="{240595C0-BFF5-49B3-5F22-54D571DF7BB7}"/>
                      </a:ext>
                    </a:extLst>
                  </p:cNvPr>
                  <p:cNvSpPr/>
                  <p:nvPr/>
                </p:nvSpPr>
                <p:spPr>
                  <a:xfrm>
                    <a:off x="4092511" y="304228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8" name="Graphic 75">
                  <a:extLst>
                    <a:ext uri="{FF2B5EF4-FFF2-40B4-BE49-F238E27FC236}">
                      <a16:creationId xmlns:a16="http://schemas.microsoft.com/office/drawing/2014/main" id="{31021DA0-7F4B-401D-0292-A126E132FB0B}"/>
                    </a:ext>
                  </a:extLst>
                </p:cNvPr>
                <p:cNvGrpSpPr/>
                <p:nvPr/>
              </p:nvGrpSpPr>
              <p:grpSpPr>
                <a:xfrm>
                  <a:off x="4161948" y="3020091"/>
                  <a:ext cx="75723" cy="75628"/>
                  <a:chOff x="4161948" y="3020091"/>
                  <a:chExt cx="75723" cy="75628"/>
                </a:xfrm>
              </p:grpSpPr>
              <p:sp>
                <p:nvSpPr>
                  <p:cNvPr id="7162" name="Freeform: Shape 7161">
                    <a:extLst>
                      <a:ext uri="{FF2B5EF4-FFF2-40B4-BE49-F238E27FC236}">
                        <a16:creationId xmlns:a16="http://schemas.microsoft.com/office/drawing/2014/main" id="{B56E7247-2C8F-9FA9-49A2-D1A566B271D1}"/>
                      </a:ext>
                    </a:extLst>
                  </p:cNvPr>
                  <p:cNvSpPr/>
                  <p:nvPr/>
                </p:nvSpPr>
                <p:spPr>
                  <a:xfrm>
                    <a:off x="419976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63" name="Freeform: Shape 7162">
                    <a:extLst>
                      <a:ext uri="{FF2B5EF4-FFF2-40B4-BE49-F238E27FC236}">
                        <a16:creationId xmlns:a16="http://schemas.microsoft.com/office/drawing/2014/main" id="{771EF2D0-E230-869F-4350-81756EC55CD6}"/>
                      </a:ext>
                    </a:extLst>
                  </p:cNvPr>
                  <p:cNvSpPr/>
                  <p:nvPr/>
                </p:nvSpPr>
                <p:spPr>
                  <a:xfrm>
                    <a:off x="416194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49" name="Graphic 75">
                  <a:extLst>
                    <a:ext uri="{FF2B5EF4-FFF2-40B4-BE49-F238E27FC236}">
                      <a16:creationId xmlns:a16="http://schemas.microsoft.com/office/drawing/2014/main" id="{CC81AC8A-A4D2-5CFA-DBF2-422C436A7947}"/>
                    </a:ext>
                  </a:extLst>
                </p:cNvPr>
                <p:cNvGrpSpPr/>
                <p:nvPr/>
              </p:nvGrpSpPr>
              <p:grpSpPr>
                <a:xfrm>
                  <a:off x="4176141" y="3020091"/>
                  <a:ext cx="75628" cy="75628"/>
                  <a:chOff x="4176141" y="3020091"/>
                  <a:chExt cx="75628" cy="75628"/>
                </a:xfrm>
              </p:grpSpPr>
              <p:sp>
                <p:nvSpPr>
                  <p:cNvPr id="7160" name="Freeform: Shape 7159">
                    <a:extLst>
                      <a:ext uri="{FF2B5EF4-FFF2-40B4-BE49-F238E27FC236}">
                        <a16:creationId xmlns:a16="http://schemas.microsoft.com/office/drawing/2014/main" id="{CBDAA7AF-7272-7312-A693-390C788EBBE7}"/>
                      </a:ext>
                    </a:extLst>
                  </p:cNvPr>
                  <p:cNvSpPr/>
                  <p:nvPr/>
                </p:nvSpPr>
                <p:spPr>
                  <a:xfrm>
                    <a:off x="421395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61" name="Freeform: Shape 7160">
                    <a:extLst>
                      <a:ext uri="{FF2B5EF4-FFF2-40B4-BE49-F238E27FC236}">
                        <a16:creationId xmlns:a16="http://schemas.microsoft.com/office/drawing/2014/main" id="{04126754-F186-8A25-6EE4-BEA6915538EC}"/>
                      </a:ext>
                    </a:extLst>
                  </p:cNvPr>
                  <p:cNvSpPr/>
                  <p:nvPr/>
                </p:nvSpPr>
                <p:spPr>
                  <a:xfrm>
                    <a:off x="4176141"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0" name="Graphic 75">
                  <a:extLst>
                    <a:ext uri="{FF2B5EF4-FFF2-40B4-BE49-F238E27FC236}">
                      <a16:creationId xmlns:a16="http://schemas.microsoft.com/office/drawing/2014/main" id="{7D0D170C-64E3-1B73-43F9-F4AB84091DF3}"/>
                    </a:ext>
                  </a:extLst>
                </p:cNvPr>
                <p:cNvGrpSpPr/>
                <p:nvPr/>
              </p:nvGrpSpPr>
              <p:grpSpPr>
                <a:xfrm>
                  <a:off x="4190238" y="3020091"/>
                  <a:ext cx="75723" cy="75628"/>
                  <a:chOff x="4190238" y="3020091"/>
                  <a:chExt cx="75723" cy="75628"/>
                </a:xfrm>
              </p:grpSpPr>
              <p:sp>
                <p:nvSpPr>
                  <p:cNvPr id="7158" name="Freeform: Shape 7157">
                    <a:extLst>
                      <a:ext uri="{FF2B5EF4-FFF2-40B4-BE49-F238E27FC236}">
                        <a16:creationId xmlns:a16="http://schemas.microsoft.com/office/drawing/2014/main" id="{5F09E54F-CEFA-43FB-A7C1-D31E86AD0091}"/>
                      </a:ext>
                    </a:extLst>
                  </p:cNvPr>
                  <p:cNvSpPr/>
                  <p:nvPr/>
                </p:nvSpPr>
                <p:spPr>
                  <a:xfrm>
                    <a:off x="4228147"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59" name="Freeform: Shape 7158">
                    <a:extLst>
                      <a:ext uri="{FF2B5EF4-FFF2-40B4-BE49-F238E27FC236}">
                        <a16:creationId xmlns:a16="http://schemas.microsoft.com/office/drawing/2014/main" id="{86DAEC22-79F2-F48D-0E69-FFA8893AC8B6}"/>
                      </a:ext>
                    </a:extLst>
                  </p:cNvPr>
                  <p:cNvSpPr/>
                  <p:nvPr/>
                </p:nvSpPr>
                <p:spPr>
                  <a:xfrm>
                    <a:off x="4190238"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1" name="Graphic 75">
                  <a:extLst>
                    <a:ext uri="{FF2B5EF4-FFF2-40B4-BE49-F238E27FC236}">
                      <a16:creationId xmlns:a16="http://schemas.microsoft.com/office/drawing/2014/main" id="{288BAED1-7802-006A-78AA-FC44EC1505A9}"/>
                    </a:ext>
                  </a:extLst>
                </p:cNvPr>
                <p:cNvGrpSpPr/>
                <p:nvPr/>
              </p:nvGrpSpPr>
              <p:grpSpPr>
                <a:xfrm>
                  <a:off x="4204430" y="3020091"/>
                  <a:ext cx="75723" cy="75628"/>
                  <a:chOff x="4204430" y="3020091"/>
                  <a:chExt cx="75723" cy="75628"/>
                </a:xfrm>
              </p:grpSpPr>
              <p:sp>
                <p:nvSpPr>
                  <p:cNvPr id="7156" name="Freeform: Shape 7155">
                    <a:extLst>
                      <a:ext uri="{FF2B5EF4-FFF2-40B4-BE49-F238E27FC236}">
                        <a16:creationId xmlns:a16="http://schemas.microsoft.com/office/drawing/2014/main" id="{79052993-0107-023E-8D61-39B9590B846A}"/>
                      </a:ext>
                    </a:extLst>
                  </p:cNvPr>
                  <p:cNvSpPr/>
                  <p:nvPr/>
                </p:nvSpPr>
                <p:spPr>
                  <a:xfrm>
                    <a:off x="4242244"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57" name="Freeform: Shape 7156">
                    <a:extLst>
                      <a:ext uri="{FF2B5EF4-FFF2-40B4-BE49-F238E27FC236}">
                        <a16:creationId xmlns:a16="http://schemas.microsoft.com/office/drawing/2014/main" id="{D6462503-3761-EAF5-57F6-0A6D667BA51D}"/>
                      </a:ext>
                    </a:extLst>
                  </p:cNvPr>
                  <p:cNvSpPr/>
                  <p:nvPr/>
                </p:nvSpPr>
                <p:spPr>
                  <a:xfrm>
                    <a:off x="4204430"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2" name="Graphic 75">
                  <a:extLst>
                    <a:ext uri="{FF2B5EF4-FFF2-40B4-BE49-F238E27FC236}">
                      <a16:creationId xmlns:a16="http://schemas.microsoft.com/office/drawing/2014/main" id="{14287DAC-8A9D-1AC4-7F3A-4B6A50E429CF}"/>
                    </a:ext>
                  </a:extLst>
                </p:cNvPr>
                <p:cNvGrpSpPr/>
                <p:nvPr/>
              </p:nvGrpSpPr>
              <p:grpSpPr>
                <a:xfrm>
                  <a:off x="4246911" y="3020091"/>
                  <a:ext cx="75723" cy="75628"/>
                  <a:chOff x="4246911" y="3020091"/>
                  <a:chExt cx="75723" cy="75628"/>
                </a:xfrm>
              </p:grpSpPr>
              <p:sp>
                <p:nvSpPr>
                  <p:cNvPr id="7154" name="Freeform: Shape 7153">
                    <a:extLst>
                      <a:ext uri="{FF2B5EF4-FFF2-40B4-BE49-F238E27FC236}">
                        <a16:creationId xmlns:a16="http://schemas.microsoft.com/office/drawing/2014/main" id="{DD07D4E6-0BAB-FF37-9291-EACBF79EB1D5}"/>
                      </a:ext>
                    </a:extLst>
                  </p:cNvPr>
                  <p:cNvSpPr/>
                  <p:nvPr/>
                </p:nvSpPr>
                <p:spPr>
                  <a:xfrm>
                    <a:off x="428472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55" name="Freeform: Shape 7154">
                    <a:extLst>
                      <a:ext uri="{FF2B5EF4-FFF2-40B4-BE49-F238E27FC236}">
                        <a16:creationId xmlns:a16="http://schemas.microsoft.com/office/drawing/2014/main" id="{9E5A2272-72BC-49F8-C699-12D9B819A4E0}"/>
                      </a:ext>
                    </a:extLst>
                  </p:cNvPr>
                  <p:cNvSpPr/>
                  <p:nvPr/>
                </p:nvSpPr>
                <p:spPr>
                  <a:xfrm>
                    <a:off x="424691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3" name="Graphic 75">
                  <a:extLst>
                    <a:ext uri="{FF2B5EF4-FFF2-40B4-BE49-F238E27FC236}">
                      <a16:creationId xmlns:a16="http://schemas.microsoft.com/office/drawing/2014/main" id="{AA2A0D1D-2E01-DFD9-244D-CA97C75F645C}"/>
                    </a:ext>
                  </a:extLst>
                </p:cNvPr>
                <p:cNvGrpSpPr/>
                <p:nvPr/>
              </p:nvGrpSpPr>
              <p:grpSpPr>
                <a:xfrm>
                  <a:off x="4283392" y="3020091"/>
                  <a:ext cx="75723" cy="75628"/>
                  <a:chOff x="4283392" y="3020091"/>
                  <a:chExt cx="75723" cy="75628"/>
                </a:xfrm>
              </p:grpSpPr>
              <p:sp>
                <p:nvSpPr>
                  <p:cNvPr id="7152" name="Freeform: Shape 7151">
                    <a:extLst>
                      <a:ext uri="{FF2B5EF4-FFF2-40B4-BE49-F238E27FC236}">
                        <a16:creationId xmlns:a16="http://schemas.microsoft.com/office/drawing/2014/main" id="{5E75D677-6206-47A9-7ED9-3E0D13529335}"/>
                      </a:ext>
                    </a:extLst>
                  </p:cNvPr>
                  <p:cNvSpPr/>
                  <p:nvPr/>
                </p:nvSpPr>
                <p:spPr>
                  <a:xfrm>
                    <a:off x="432120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53" name="Freeform: Shape 7152">
                    <a:extLst>
                      <a:ext uri="{FF2B5EF4-FFF2-40B4-BE49-F238E27FC236}">
                        <a16:creationId xmlns:a16="http://schemas.microsoft.com/office/drawing/2014/main" id="{9F687F3D-79EA-336D-90AD-1294C300A953}"/>
                      </a:ext>
                    </a:extLst>
                  </p:cNvPr>
                  <p:cNvSpPr/>
                  <p:nvPr/>
                </p:nvSpPr>
                <p:spPr>
                  <a:xfrm>
                    <a:off x="4283392"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4" name="Graphic 75">
                  <a:extLst>
                    <a:ext uri="{FF2B5EF4-FFF2-40B4-BE49-F238E27FC236}">
                      <a16:creationId xmlns:a16="http://schemas.microsoft.com/office/drawing/2014/main" id="{17293C9E-3895-A686-D348-5624F8C2D115}"/>
                    </a:ext>
                  </a:extLst>
                </p:cNvPr>
                <p:cNvGrpSpPr/>
                <p:nvPr/>
              </p:nvGrpSpPr>
              <p:grpSpPr>
                <a:xfrm>
                  <a:off x="4296441" y="3020091"/>
                  <a:ext cx="75723" cy="75628"/>
                  <a:chOff x="4296441" y="3020091"/>
                  <a:chExt cx="75723" cy="75628"/>
                </a:xfrm>
              </p:grpSpPr>
              <p:sp>
                <p:nvSpPr>
                  <p:cNvPr id="7150" name="Freeform: Shape 7149">
                    <a:extLst>
                      <a:ext uri="{FF2B5EF4-FFF2-40B4-BE49-F238E27FC236}">
                        <a16:creationId xmlns:a16="http://schemas.microsoft.com/office/drawing/2014/main" id="{96B1576B-12A5-4E34-9C0D-F390481BB8FE}"/>
                      </a:ext>
                    </a:extLst>
                  </p:cNvPr>
                  <p:cNvSpPr/>
                  <p:nvPr/>
                </p:nvSpPr>
                <p:spPr>
                  <a:xfrm>
                    <a:off x="4334351"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51" name="Freeform: Shape 7150">
                    <a:extLst>
                      <a:ext uri="{FF2B5EF4-FFF2-40B4-BE49-F238E27FC236}">
                        <a16:creationId xmlns:a16="http://schemas.microsoft.com/office/drawing/2014/main" id="{D26682B4-13D9-A548-EDF3-AAED462A87A0}"/>
                      </a:ext>
                    </a:extLst>
                  </p:cNvPr>
                  <p:cNvSpPr/>
                  <p:nvPr/>
                </p:nvSpPr>
                <p:spPr>
                  <a:xfrm>
                    <a:off x="429644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5" name="Graphic 75">
                  <a:extLst>
                    <a:ext uri="{FF2B5EF4-FFF2-40B4-BE49-F238E27FC236}">
                      <a16:creationId xmlns:a16="http://schemas.microsoft.com/office/drawing/2014/main" id="{8962C544-6357-3312-5B73-6FFDC71A1785}"/>
                    </a:ext>
                  </a:extLst>
                </p:cNvPr>
                <p:cNvGrpSpPr/>
                <p:nvPr/>
              </p:nvGrpSpPr>
              <p:grpSpPr>
                <a:xfrm>
                  <a:off x="4425791" y="3020091"/>
                  <a:ext cx="75723" cy="75628"/>
                  <a:chOff x="4425791" y="3020091"/>
                  <a:chExt cx="75723" cy="75628"/>
                </a:xfrm>
              </p:grpSpPr>
              <p:sp>
                <p:nvSpPr>
                  <p:cNvPr id="7148" name="Freeform: Shape 7147">
                    <a:extLst>
                      <a:ext uri="{FF2B5EF4-FFF2-40B4-BE49-F238E27FC236}">
                        <a16:creationId xmlns:a16="http://schemas.microsoft.com/office/drawing/2014/main" id="{4675A5D3-F46A-4C12-794F-1813182D10D6}"/>
                      </a:ext>
                    </a:extLst>
                  </p:cNvPr>
                  <p:cNvSpPr/>
                  <p:nvPr/>
                </p:nvSpPr>
                <p:spPr>
                  <a:xfrm>
                    <a:off x="44637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49" name="Freeform: Shape 7148">
                    <a:extLst>
                      <a:ext uri="{FF2B5EF4-FFF2-40B4-BE49-F238E27FC236}">
                        <a16:creationId xmlns:a16="http://schemas.microsoft.com/office/drawing/2014/main" id="{4E080E3F-F532-8B49-C58F-4854F8AF1284}"/>
                      </a:ext>
                    </a:extLst>
                  </p:cNvPr>
                  <p:cNvSpPr/>
                  <p:nvPr/>
                </p:nvSpPr>
                <p:spPr>
                  <a:xfrm>
                    <a:off x="4425791"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6" name="Graphic 75">
                  <a:extLst>
                    <a:ext uri="{FF2B5EF4-FFF2-40B4-BE49-F238E27FC236}">
                      <a16:creationId xmlns:a16="http://schemas.microsoft.com/office/drawing/2014/main" id="{B0ED8105-58A2-6FC8-88BD-148139A01518}"/>
                    </a:ext>
                  </a:extLst>
                </p:cNvPr>
                <p:cNvGrpSpPr/>
                <p:nvPr/>
              </p:nvGrpSpPr>
              <p:grpSpPr>
                <a:xfrm>
                  <a:off x="4398930" y="3020091"/>
                  <a:ext cx="75628" cy="75628"/>
                  <a:chOff x="4398930" y="3020091"/>
                  <a:chExt cx="75628" cy="75628"/>
                </a:xfrm>
              </p:grpSpPr>
              <p:sp>
                <p:nvSpPr>
                  <p:cNvPr id="7146" name="Freeform: Shape 7145">
                    <a:extLst>
                      <a:ext uri="{FF2B5EF4-FFF2-40B4-BE49-F238E27FC236}">
                        <a16:creationId xmlns:a16="http://schemas.microsoft.com/office/drawing/2014/main" id="{BE7358DD-80FD-C143-D4EE-288613A325FC}"/>
                      </a:ext>
                    </a:extLst>
                  </p:cNvPr>
                  <p:cNvSpPr/>
                  <p:nvPr/>
                </p:nvSpPr>
                <p:spPr>
                  <a:xfrm>
                    <a:off x="4436745"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47" name="Freeform: Shape 7146">
                    <a:extLst>
                      <a:ext uri="{FF2B5EF4-FFF2-40B4-BE49-F238E27FC236}">
                        <a16:creationId xmlns:a16="http://schemas.microsoft.com/office/drawing/2014/main" id="{BAFD7D9A-F0B8-2A85-8B62-A2C1C60BAA9A}"/>
                      </a:ext>
                    </a:extLst>
                  </p:cNvPr>
                  <p:cNvSpPr/>
                  <p:nvPr/>
                </p:nvSpPr>
                <p:spPr>
                  <a:xfrm>
                    <a:off x="4398930" y="30579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7" name="Graphic 75">
                  <a:extLst>
                    <a:ext uri="{FF2B5EF4-FFF2-40B4-BE49-F238E27FC236}">
                      <a16:creationId xmlns:a16="http://schemas.microsoft.com/office/drawing/2014/main" id="{1E0890BD-FA81-2290-125E-D47A7B55B59F}"/>
                    </a:ext>
                  </a:extLst>
                </p:cNvPr>
                <p:cNvGrpSpPr/>
                <p:nvPr/>
              </p:nvGrpSpPr>
              <p:grpSpPr>
                <a:xfrm>
                  <a:off x="4348734" y="3020091"/>
                  <a:ext cx="75723" cy="75628"/>
                  <a:chOff x="4348734" y="3020091"/>
                  <a:chExt cx="75723" cy="75628"/>
                </a:xfrm>
              </p:grpSpPr>
              <p:sp>
                <p:nvSpPr>
                  <p:cNvPr id="7144" name="Freeform: Shape 7143">
                    <a:extLst>
                      <a:ext uri="{FF2B5EF4-FFF2-40B4-BE49-F238E27FC236}">
                        <a16:creationId xmlns:a16="http://schemas.microsoft.com/office/drawing/2014/main" id="{EC288417-BEB1-C4D7-AEAB-13774DDB05A9}"/>
                      </a:ext>
                    </a:extLst>
                  </p:cNvPr>
                  <p:cNvSpPr/>
                  <p:nvPr/>
                </p:nvSpPr>
                <p:spPr>
                  <a:xfrm>
                    <a:off x="4386643"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45" name="Freeform: Shape 7144">
                    <a:extLst>
                      <a:ext uri="{FF2B5EF4-FFF2-40B4-BE49-F238E27FC236}">
                        <a16:creationId xmlns:a16="http://schemas.microsoft.com/office/drawing/2014/main" id="{7F20456E-8BDA-CEB0-1B9C-2F65A76E9974}"/>
                      </a:ext>
                    </a:extLst>
                  </p:cNvPr>
                  <p:cNvSpPr/>
                  <p:nvPr/>
                </p:nvSpPr>
                <p:spPr>
                  <a:xfrm>
                    <a:off x="4348734"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8" name="Graphic 75">
                  <a:extLst>
                    <a:ext uri="{FF2B5EF4-FFF2-40B4-BE49-F238E27FC236}">
                      <a16:creationId xmlns:a16="http://schemas.microsoft.com/office/drawing/2014/main" id="{48E43AED-71D2-12E8-F8E1-B0A107B81FB3}"/>
                    </a:ext>
                  </a:extLst>
                </p:cNvPr>
                <p:cNvGrpSpPr/>
                <p:nvPr/>
              </p:nvGrpSpPr>
              <p:grpSpPr>
                <a:xfrm>
                  <a:off x="4322635" y="3020091"/>
                  <a:ext cx="75628" cy="75628"/>
                  <a:chOff x="4322635" y="3020091"/>
                  <a:chExt cx="75628" cy="75628"/>
                </a:xfrm>
              </p:grpSpPr>
              <p:sp>
                <p:nvSpPr>
                  <p:cNvPr id="7142" name="Freeform: Shape 7141">
                    <a:extLst>
                      <a:ext uri="{FF2B5EF4-FFF2-40B4-BE49-F238E27FC236}">
                        <a16:creationId xmlns:a16="http://schemas.microsoft.com/office/drawing/2014/main" id="{EA612936-9792-0508-31C4-4051E9C7DB52}"/>
                      </a:ext>
                    </a:extLst>
                  </p:cNvPr>
                  <p:cNvSpPr/>
                  <p:nvPr/>
                </p:nvSpPr>
                <p:spPr>
                  <a:xfrm>
                    <a:off x="436044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43" name="Freeform: Shape 7142">
                    <a:extLst>
                      <a:ext uri="{FF2B5EF4-FFF2-40B4-BE49-F238E27FC236}">
                        <a16:creationId xmlns:a16="http://schemas.microsoft.com/office/drawing/2014/main" id="{74E700FC-CFB8-DDDA-D2F6-CA1FE69CB7A2}"/>
                      </a:ext>
                    </a:extLst>
                  </p:cNvPr>
                  <p:cNvSpPr/>
                  <p:nvPr/>
                </p:nvSpPr>
                <p:spPr>
                  <a:xfrm>
                    <a:off x="4322635"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59" name="Graphic 75">
                  <a:extLst>
                    <a:ext uri="{FF2B5EF4-FFF2-40B4-BE49-F238E27FC236}">
                      <a16:creationId xmlns:a16="http://schemas.microsoft.com/office/drawing/2014/main" id="{A1291903-07AC-FEE6-DBCF-25F491F9A223}"/>
                    </a:ext>
                  </a:extLst>
                </p:cNvPr>
                <p:cNvGrpSpPr/>
                <p:nvPr/>
              </p:nvGrpSpPr>
              <p:grpSpPr>
                <a:xfrm>
                  <a:off x="4309586" y="3020091"/>
                  <a:ext cx="75628" cy="75628"/>
                  <a:chOff x="4309586" y="3020091"/>
                  <a:chExt cx="75628" cy="75628"/>
                </a:xfrm>
              </p:grpSpPr>
              <p:sp>
                <p:nvSpPr>
                  <p:cNvPr id="7140" name="Freeform: Shape 7139">
                    <a:extLst>
                      <a:ext uri="{FF2B5EF4-FFF2-40B4-BE49-F238E27FC236}">
                        <a16:creationId xmlns:a16="http://schemas.microsoft.com/office/drawing/2014/main" id="{FC08E4ED-E614-A91B-4349-A2E8153ABA82}"/>
                      </a:ext>
                    </a:extLst>
                  </p:cNvPr>
                  <p:cNvSpPr/>
                  <p:nvPr/>
                </p:nvSpPr>
                <p:spPr>
                  <a:xfrm>
                    <a:off x="4347400"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41" name="Freeform: Shape 7140">
                    <a:extLst>
                      <a:ext uri="{FF2B5EF4-FFF2-40B4-BE49-F238E27FC236}">
                        <a16:creationId xmlns:a16="http://schemas.microsoft.com/office/drawing/2014/main" id="{771993D3-0D6D-3026-CA4C-17B6BF21CCF4}"/>
                      </a:ext>
                    </a:extLst>
                  </p:cNvPr>
                  <p:cNvSpPr/>
                  <p:nvPr/>
                </p:nvSpPr>
                <p:spPr>
                  <a:xfrm>
                    <a:off x="4309586"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0" name="Graphic 75">
                  <a:extLst>
                    <a:ext uri="{FF2B5EF4-FFF2-40B4-BE49-F238E27FC236}">
                      <a16:creationId xmlns:a16="http://schemas.microsoft.com/office/drawing/2014/main" id="{82AABE9C-6119-9712-5E6D-139CDF1B60A2}"/>
                    </a:ext>
                  </a:extLst>
                </p:cNvPr>
                <p:cNvGrpSpPr/>
                <p:nvPr/>
              </p:nvGrpSpPr>
              <p:grpSpPr>
                <a:xfrm>
                  <a:off x="4232719" y="3020091"/>
                  <a:ext cx="75723" cy="75628"/>
                  <a:chOff x="4232719" y="3020091"/>
                  <a:chExt cx="75723" cy="75628"/>
                </a:xfrm>
              </p:grpSpPr>
              <p:sp>
                <p:nvSpPr>
                  <p:cNvPr id="7138" name="Freeform: Shape 7137">
                    <a:extLst>
                      <a:ext uri="{FF2B5EF4-FFF2-40B4-BE49-F238E27FC236}">
                        <a16:creationId xmlns:a16="http://schemas.microsoft.com/office/drawing/2014/main" id="{AC34C39B-1D5E-E65F-1C81-5DC85E752752}"/>
                      </a:ext>
                    </a:extLst>
                  </p:cNvPr>
                  <p:cNvSpPr/>
                  <p:nvPr/>
                </p:nvSpPr>
                <p:spPr>
                  <a:xfrm>
                    <a:off x="4270629"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39" name="Freeform: Shape 7138">
                    <a:extLst>
                      <a:ext uri="{FF2B5EF4-FFF2-40B4-BE49-F238E27FC236}">
                        <a16:creationId xmlns:a16="http://schemas.microsoft.com/office/drawing/2014/main" id="{583DB814-7626-5DA1-A89A-D6A38471D291}"/>
                      </a:ext>
                    </a:extLst>
                  </p:cNvPr>
                  <p:cNvSpPr/>
                  <p:nvPr/>
                </p:nvSpPr>
                <p:spPr>
                  <a:xfrm>
                    <a:off x="4232719" y="30579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1" name="Graphic 75">
                  <a:extLst>
                    <a:ext uri="{FF2B5EF4-FFF2-40B4-BE49-F238E27FC236}">
                      <a16:creationId xmlns:a16="http://schemas.microsoft.com/office/drawing/2014/main" id="{4B69D476-DBDC-2DC9-6732-4B935219B573}"/>
                    </a:ext>
                  </a:extLst>
                </p:cNvPr>
                <p:cNvGrpSpPr/>
                <p:nvPr/>
              </p:nvGrpSpPr>
              <p:grpSpPr>
                <a:xfrm>
                  <a:off x="4218622" y="3020091"/>
                  <a:ext cx="75628" cy="75628"/>
                  <a:chOff x="4218622" y="3020091"/>
                  <a:chExt cx="75628" cy="75628"/>
                </a:xfrm>
              </p:grpSpPr>
              <p:sp>
                <p:nvSpPr>
                  <p:cNvPr id="7136" name="Freeform: Shape 7135">
                    <a:extLst>
                      <a:ext uri="{FF2B5EF4-FFF2-40B4-BE49-F238E27FC236}">
                        <a16:creationId xmlns:a16="http://schemas.microsoft.com/office/drawing/2014/main" id="{C5C67102-DB0D-A47F-849C-DDD4741FC0DC}"/>
                      </a:ext>
                    </a:extLst>
                  </p:cNvPr>
                  <p:cNvSpPr/>
                  <p:nvPr/>
                </p:nvSpPr>
                <p:spPr>
                  <a:xfrm>
                    <a:off x="4256436" y="302009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37" name="Freeform: Shape 7136">
                    <a:extLst>
                      <a:ext uri="{FF2B5EF4-FFF2-40B4-BE49-F238E27FC236}">
                        <a16:creationId xmlns:a16="http://schemas.microsoft.com/office/drawing/2014/main" id="{51D1F752-6ED4-C918-D5FE-451874317FFA}"/>
                      </a:ext>
                    </a:extLst>
                  </p:cNvPr>
                  <p:cNvSpPr/>
                  <p:nvPr/>
                </p:nvSpPr>
                <p:spPr>
                  <a:xfrm>
                    <a:off x="4218622" y="30579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2" name="Graphic 75">
                  <a:extLst>
                    <a:ext uri="{FF2B5EF4-FFF2-40B4-BE49-F238E27FC236}">
                      <a16:creationId xmlns:a16="http://schemas.microsoft.com/office/drawing/2014/main" id="{C45BBA0E-A1AB-5AE8-EA21-6D566C59C2CE}"/>
                    </a:ext>
                  </a:extLst>
                </p:cNvPr>
                <p:cNvGrpSpPr/>
                <p:nvPr/>
              </p:nvGrpSpPr>
              <p:grpSpPr>
                <a:xfrm>
                  <a:off x="4536281" y="3038760"/>
                  <a:ext cx="75723" cy="75723"/>
                  <a:chOff x="4536281" y="3038760"/>
                  <a:chExt cx="75723" cy="75723"/>
                </a:xfrm>
              </p:grpSpPr>
              <p:sp>
                <p:nvSpPr>
                  <p:cNvPr id="7134" name="Freeform: Shape 7133">
                    <a:extLst>
                      <a:ext uri="{FF2B5EF4-FFF2-40B4-BE49-F238E27FC236}">
                        <a16:creationId xmlns:a16="http://schemas.microsoft.com/office/drawing/2014/main" id="{B9C618E2-E3F2-D490-FE18-259D16EF010A}"/>
                      </a:ext>
                    </a:extLst>
                  </p:cNvPr>
                  <p:cNvSpPr/>
                  <p:nvPr/>
                </p:nvSpPr>
                <p:spPr>
                  <a:xfrm>
                    <a:off x="4574190" y="30387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35" name="Freeform: Shape 7134">
                    <a:extLst>
                      <a:ext uri="{FF2B5EF4-FFF2-40B4-BE49-F238E27FC236}">
                        <a16:creationId xmlns:a16="http://schemas.microsoft.com/office/drawing/2014/main" id="{95B4365B-C166-FFB0-5DD4-E64B81364533}"/>
                      </a:ext>
                    </a:extLst>
                  </p:cNvPr>
                  <p:cNvSpPr/>
                  <p:nvPr/>
                </p:nvSpPr>
                <p:spPr>
                  <a:xfrm>
                    <a:off x="4536281" y="30765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3" name="Graphic 75">
                  <a:extLst>
                    <a:ext uri="{FF2B5EF4-FFF2-40B4-BE49-F238E27FC236}">
                      <a16:creationId xmlns:a16="http://schemas.microsoft.com/office/drawing/2014/main" id="{C84D0F66-EA23-15E6-ABF1-6545C451D341}"/>
                    </a:ext>
                  </a:extLst>
                </p:cNvPr>
                <p:cNvGrpSpPr/>
                <p:nvPr/>
              </p:nvGrpSpPr>
              <p:grpSpPr>
                <a:xfrm>
                  <a:off x="4627245" y="3080099"/>
                  <a:ext cx="75628" cy="75723"/>
                  <a:chOff x="4627245" y="3080099"/>
                  <a:chExt cx="75628" cy="75723"/>
                </a:xfrm>
              </p:grpSpPr>
              <p:sp>
                <p:nvSpPr>
                  <p:cNvPr id="7132" name="Freeform: Shape 7131">
                    <a:extLst>
                      <a:ext uri="{FF2B5EF4-FFF2-40B4-BE49-F238E27FC236}">
                        <a16:creationId xmlns:a16="http://schemas.microsoft.com/office/drawing/2014/main" id="{65C7067B-87A6-F0A6-1356-466E4B5F2EB1}"/>
                      </a:ext>
                    </a:extLst>
                  </p:cNvPr>
                  <p:cNvSpPr/>
                  <p:nvPr/>
                </p:nvSpPr>
                <p:spPr>
                  <a:xfrm>
                    <a:off x="4665059"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33" name="Freeform: Shape 7132">
                    <a:extLst>
                      <a:ext uri="{FF2B5EF4-FFF2-40B4-BE49-F238E27FC236}">
                        <a16:creationId xmlns:a16="http://schemas.microsoft.com/office/drawing/2014/main" id="{4FFEA5D8-09A8-4C43-6F1D-325945D76817}"/>
                      </a:ext>
                    </a:extLst>
                  </p:cNvPr>
                  <p:cNvSpPr/>
                  <p:nvPr/>
                </p:nvSpPr>
                <p:spPr>
                  <a:xfrm>
                    <a:off x="4627245" y="31179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4" name="Graphic 75">
                  <a:extLst>
                    <a:ext uri="{FF2B5EF4-FFF2-40B4-BE49-F238E27FC236}">
                      <a16:creationId xmlns:a16="http://schemas.microsoft.com/office/drawing/2014/main" id="{050B0406-69C9-BAFF-1858-D6E1CC9ADD27}"/>
                    </a:ext>
                  </a:extLst>
                </p:cNvPr>
                <p:cNvGrpSpPr/>
                <p:nvPr/>
              </p:nvGrpSpPr>
              <p:grpSpPr>
                <a:xfrm>
                  <a:off x="4637817" y="3080099"/>
                  <a:ext cx="75723" cy="75723"/>
                  <a:chOff x="4637817" y="3080099"/>
                  <a:chExt cx="75723" cy="75723"/>
                </a:xfrm>
              </p:grpSpPr>
              <p:sp>
                <p:nvSpPr>
                  <p:cNvPr id="7130" name="Freeform: Shape 7129">
                    <a:extLst>
                      <a:ext uri="{FF2B5EF4-FFF2-40B4-BE49-F238E27FC236}">
                        <a16:creationId xmlns:a16="http://schemas.microsoft.com/office/drawing/2014/main" id="{5A2772C6-96E5-2452-277E-559F74908760}"/>
                      </a:ext>
                    </a:extLst>
                  </p:cNvPr>
                  <p:cNvSpPr/>
                  <p:nvPr/>
                </p:nvSpPr>
                <p:spPr>
                  <a:xfrm>
                    <a:off x="4675727" y="30800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31" name="Freeform: Shape 7130">
                    <a:extLst>
                      <a:ext uri="{FF2B5EF4-FFF2-40B4-BE49-F238E27FC236}">
                        <a16:creationId xmlns:a16="http://schemas.microsoft.com/office/drawing/2014/main" id="{0AAE5AB8-F887-BA6C-9A8B-3892EA189827}"/>
                      </a:ext>
                    </a:extLst>
                  </p:cNvPr>
                  <p:cNvSpPr/>
                  <p:nvPr/>
                </p:nvSpPr>
                <p:spPr>
                  <a:xfrm>
                    <a:off x="4637817" y="31179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5" name="Graphic 75">
                  <a:extLst>
                    <a:ext uri="{FF2B5EF4-FFF2-40B4-BE49-F238E27FC236}">
                      <a16:creationId xmlns:a16="http://schemas.microsoft.com/office/drawing/2014/main" id="{1C2DE76F-0327-8FE9-78DB-C541B4FC8C75}"/>
                    </a:ext>
                  </a:extLst>
                </p:cNvPr>
                <p:cNvGrpSpPr/>
                <p:nvPr/>
              </p:nvGrpSpPr>
              <p:grpSpPr>
                <a:xfrm>
                  <a:off x="5060346" y="3220878"/>
                  <a:ext cx="75723" cy="75628"/>
                  <a:chOff x="5060346" y="3220878"/>
                  <a:chExt cx="75723" cy="75628"/>
                </a:xfrm>
              </p:grpSpPr>
              <p:sp>
                <p:nvSpPr>
                  <p:cNvPr id="7128" name="Freeform: Shape 7127">
                    <a:extLst>
                      <a:ext uri="{FF2B5EF4-FFF2-40B4-BE49-F238E27FC236}">
                        <a16:creationId xmlns:a16="http://schemas.microsoft.com/office/drawing/2014/main" id="{DB8E3CB0-509C-35D9-9D0E-DFA6C7FF7A7A}"/>
                      </a:ext>
                    </a:extLst>
                  </p:cNvPr>
                  <p:cNvSpPr/>
                  <p:nvPr/>
                </p:nvSpPr>
                <p:spPr>
                  <a:xfrm>
                    <a:off x="509825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29" name="Freeform: Shape 7128">
                    <a:extLst>
                      <a:ext uri="{FF2B5EF4-FFF2-40B4-BE49-F238E27FC236}">
                        <a16:creationId xmlns:a16="http://schemas.microsoft.com/office/drawing/2014/main" id="{A34D7755-59FC-349F-6BCB-9D480CAD860B}"/>
                      </a:ext>
                    </a:extLst>
                  </p:cNvPr>
                  <p:cNvSpPr/>
                  <p:nvPr/>
                </p:nvSpPr>
                <p:spPr>
                  <a:xfrm>
                    <a:off x="5060346"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6" name="Graphic 75">
                  <a:extLst>
                    <a:ext uri="{FF2B5EF4-FFF2-40B4-BE49-F238E27FC236}">
                      <a16:creationId xmlns:a16="http://schemas.microsoft.com/office/drawing/2014/main" id="{22B78395-4732-9576-0A66-851D46D338DB}"/>
                    </a:ext>
                  </a:extLst>
                </p:cNvPr>
                <p:cNvGrpSpPr/>
                <p:nvPr/>
              </p:nvGrpSpPr>
              <p:grpSpPr>
                <a:xfrm>
                  <a:off x="5051298" y="3220878"/>
                  <a:ext cx="75628" cy="75628"/>
                  <a:chOff x="5051298" y="3220878"/>
                  <a:chExt cx="75628" cy="75628"/>
                </a:xfrm>
              </p:grpSpPr>
              <p:sp>
                <p:nvSpPr>
                  <p:cNvPr id="7126" name="Freeform: Shape 7125">
                    <a:extLst>
                      <a:ext uri="{FF2B5EF4-FFF2-40B4-BE49-F238E27FC236}">
                        <a16:creationId xmlns:a16="http://schemas.microsoft.com/office/drawing/2014/main" id="{5DDA81E8-88B0-4ABD-E40B-52759D65B228}"/>
                      </a:ext>
                    </a:extLst>
                  </p:cNvPr>
                  <p:cNvSpPr/>
                  <p:nvPr/>
                </p:nvSpPr>
                <p:spPr>
                  <a:xfrm>
                    <a:off x="508911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27" name="Freeform: Shape 7126">
                    <a:extLst>
                      <a:ext uri="{FF2B5EF4-FFF2-40B4-BE49-F238E27FC236}">
                        <a16:creationId xmlns:a16="http://schemas.microsoft.com/office/drawing/2014/main" id="{DA28CD96-1F24-60FB-033E-D083EA8CF1AC}"/>
                      </a:ext>
                    </a:extLst>
                  </p:cNvPr>
                  <p:cNvSpPr/>
                  <p:nvPr/>
                </p:nvSpPr>
                <p:spPr>
                  <a:xfrm>
                    <a:off x="5051298" y="325869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7" name="Graphic 75">
                  <a:extLst>
                    <a:ext uri="{FF2B5EF4-FFF2-40B4-BE49-F238E27FC236}">
                      <a16:creationId xmlns:a16="http://schemas.microsoft.com/office/drawing/2014/main" id="{089EF5E3-8F03-67AE-AAD3-A172D42A6F4B}"/>
                    </a:ext>
                  </a:extLst>
                </p:cNvPr>
                <p:cNvGrpSpPr/>
                <p:nvPr/>
              </p:nvGrpSpPr>
              <p:grpSpPr>
                <a:xfrm>
                  <a:off x="5116925" y="3220878"/>
                  <a:ext cx="75723" cy="75628"/>
                  <a:chOff x="5116925" y="3220878"/>
                  <a:chExt cx="75723" cy="75628"/>
                </a:xfrm>
              </p:grpSpPr>
              <p:sp>
                <p:nvSpPr>
                  <p:cNvPr id="7124" name="Freeform: Shape 7123">
                    <a:extLst>
                      <a:ext uri="{FF2B5EF4-FFF2-40B4-BE49-F238E27FC236}">
                        <a16:creationId xmlns:a16="http://schemas.microsoft.com/office/drawing/2014/main" id="{A5826811-AD0E-0751-4AF3-3657CDE1EB12}"/>
                      </a:ext>
                    </a:extLst>
                  </p:cNvPr>
                  <p:cNvSpPr/>
                  <p:nvPr/>
                </p:nvSpPr>
                <p:spPr>
                  <a:xfrm>
                    <a:off x="5154739"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25" name="Freeform: Shape 7124">
                    <a:extLst>
                      <a:ext uri="{FF2B5EF4-FFF2-40B4-BE49-F238E27FC236}">
                        <a16:creationId xmlns:a16="http://schemas.microsoft.com/office/drawing/2014/main" id="{08A81EEA-F0FA-7EE8-4FA4-2EC2F79DBAC3}"/>
                      </a:ext>
                    </a:extLst>
                  </p:cNvPr>
                  <p:cNvSpPr/>
                  <p:nvPr/>
                </p:nvSpPr>
                <p:spPr>
                  <a:xfrm>
                    <a:off x="5116925"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8" name="Graphic 75">
                  <a:extLst>
                    <a:ext uri="{FF2B5EF4-FFF2-40B4-BE49-F238E27FC236}">
                      <a16:creationId xmlns:a16="http://schemas.microsoft.com/office/drawing/2014/main" id="{0EEB31F5-66E6-88DD-F9AB-D9FEB3351AAB}"/>
                    </a:ext>
                  </a:extLst>
                </p:cNvPr>
                <p:cNvGrpSpPr/>
                <p:nvPr/>
              </p:nvGrpSpPr>
              <p:grpSpPr>
                <a:xfrm>
                  <a:off x="5178075" y="3242405"/>
                  <a:ext cx="75628" cy="75723"/>
                  <a:chOff x="5178075" y="3242405"/>
                  <a:chExt cx="75628" cy="75723"/>
                </a:xfrm>
              </p:grpSpPr>
              <p:sp>
                <p:nvSpPr>
                  <p:cNvPr id="7122" name="Freeform: Shape 7121">
                    <a:extLst>
                      <a:ext uri="{FF2B5EF4-FFF2-40B4-BE49-F238E27FC236}">
                        <a16:creationId xmlns:a16="http://schemas.microsoft.com/office/drawing/2014/main" id="{76D1A305-0BC6-020B-BFBE-9258DC143D93}"/>
                      </a:ext>
                    </a:extLst>
                  </p:cNvPr>
                  <p:cNvSpPr/>
                  <p:nvPr/>
                </p:nvSpPr>
                <p:spPr>
                  <a:xfrm>
                    <a:off x="5215890"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23" name="Freeform: Shape 7122">
                    <a:extLst>
                      <a:ext uri="{FF2B5EF4-FFF2-40B4-BE49-F238E27FC236}">
                        <a16:creationId xmlns:a16="http://schemas.microsoft.com/office/drawing/2014/main" id="{21109CF5-4ABC-B66D-1FA2-494887BE5BB9}"/>
                      </a:ext>
                    </a:extLst>
                  </p:cNvPr>
                  <p:cNvSpPr/>
                  <p:nvPr/>
                </p:nvSpPr>
                <p:spPr>
                  <a:xfrm>
                    <a:off x="5178075" y="32802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69" name="Graphic 75">
                  <a:extLst>
                    <a:ext uri="{FF2B5EF4-FFF2-40B4-BE49-F238E27FC236}">
                      <a16:creationId xmlns:a16="http://schemas.microsoft.com/office/drawing/2014/main" id="{27744BC3-B393-542C-B892-50AE5E14212E}"/>
                    </a:ext>
                  </a:extLst>
                </p:cNvPr>
                <p:cNvGrpSpPr/>
                <p:nvPr/>
              </p:nvGrpSpPr>
              <p:grpSpPr>
                <a:xfrm>
                  <a:off x="5122068" y="3242405"/>
                  <a:ext cx="75723" cy="75723"/>
                  <a:chOff x="5122068" y="3242405"/>
                  <a:chExt cx="75723" cy="75723"/>
                </a:xfrm>
              </p:grpSpPr>
              <p:sp>
                <p:nvSpPr>
                  <p:cNvPr id="7120" name="Freeform: Shape 7119">
                    <a:extLst>
                      <a:ext uri="{FF2B5EF4-FFF2-40B4-BE49-F238E27FC236}">
                        <a16:creationId xmlns:a16="http://schemas.microsoft.com/office/drawing/2014/main" id="{79932F49-382B-04FB-3D0B-6D6FB91EE414}"/>
                      </a:ext>
                    </a:extLst>
                  </p:cNvPr>
                  <p:cNvSpPr/>
                  <p:nvPr/>
                </p:nvSpPr>
                <p:spPr>
                  <a:xfrm>
                    <a:off x="5159978"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21" name="Freeform: Shape 7120">
                    <a:extLst>
                      <a:ext uri="{FF2B5EF4-FFF2-40B4-BE49-F238E27FC236}">
                        <a16:creationId xmlns:a16="http://schemas.microsoft.com/office/drawing/2014/main" id="{82A36DD9-A3E2-0B57-2081-A4DF138A7DF5}"/>
                      </a:ext>
                    </a:extLst>
                  </p:cNvPr>
                  <p:cNvSpPr/>
                  <p:nvPr/>
                </p:nvSpPr>
                <p:spPr>
                  <a:xfrm>
                    <a:off x="5122068"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0" name="Graphic 75">
                  <a:extLst>
                    <a:ext uri="{FF2B5EF4-FFF2-40B4-BE49-F238E27FC236}">
                      <a16:creationId xmlns:a16="http://schemas.microsoft.com/office/drawing/2014/main" id="{23AB9CBA-68CB-7514-A253-66E5E4260F1A}"/>
                    </a:ext>
                  </a:extLst>
                </p:cNvPr>
                <p:cNvGrpSpPr/>
                <p:nvPr/>
              </p:nvGrpSpPr>
              <p:grpSpPr>
                <a:xfrm>
                  <a:off x="5135594" y="3242405"/>
                  <a:ext cx="75723" cy="75723"/>
                  <a:chOff x="5135594" y="3242405"/>
                  <a:chExt cx="75723" cy="75723"/>
                </a:xfrm>
              </p:grpSpPr>
              <p:sp>
                <p:nvSpPr>
                  <p:cNvPr id="7118" name="Freeform: Shape 7117">
                    <a:extLst>
                      <a:ext uri="{FF2B5EF4-FFF2-40B4-BE49-F238E27FC236}">
                        <a16:creationId xmlns:a16="http://schemas.microsoft.com/office/drawing/2014/main" id="{C5A8F358-E828-BB23-4545-D78AC4DDC56D}"/>
                      </a:ext>
                    </a:extLst>
                  </p:cNvPr>
                  <p:cNvSpPr/>
                  <p:nvPr/>
                </p:nvSpPr>
                <p:spPr>
                  <a:xfrm>
                    <a:off x="5173503"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19" name="Freeform: Shape 7118">
                    <a:extLst>
                      <a:ext uri="{FF2B5EF4-FFF2-40B4-BE49-F238E27FC236}">
                        <a16:creationId xmlns:a16="http://schemas.microsoft.com/office/drawing/2014/main" id="{613D3667-8461-C344-40B6-9E5750968E6F}"/>
                      </a:ext>
                    </a:extLst>
                  </p:cNvPr>
                  <p:cNvSpPr/>
                  <p:nvPr/>
                </p:nvSpPr>
                <p:spPr>
                  <a:xfrm>
                    <a:off x="5135594"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1" name="Graphic 75">
                  <a:extLst>
                    <a:ext uri="{FF2B5EF4-FFF2-40B4-BE49-F238E27FC236}">
                      <a16:creationId xmlns:a16="http://schemas.microsoft.com/office/drawing/2014/main" id="{750B23A6-EEF4-C66D-124E-AD97E40442EB}"/>
                    </a:ext>
                  </a:extLst>
                </p:cNvPr>
                <p:cNvGrpSpPr/>
                <p:nvPr/>
              </p:nvGrpSpPr>
              <p:grpSpPr>
                <a:xfrm>
                  <a:off x="5149119" y="3242405"/>
                  <a:ext cx="75723" cy="75723"/>
                  <a:chOff x="5149119" y="3242405"/>
                  <a:chExt cx="75723" cy="75723"/>
                </a:xfrm>
              </p:grpSpPr>
              <p:sp>
                <p:nvSpPr>
                  <p:cNvPr id="7116" name="Freeform: Shape 7115">
                    <a:extLst>
                      <a:ext uri="{FF2B5EF4-FFF2-40B4-BE49-F238E27FC236}">
                        <a16:creationId xmlns:a16="http://schemas.microsoft.com/office/drawing/2014/main" id="{C56E5159-A3F9-BC17-016E-C7FFBD7CBFCB}"/>
                      </a:ext>
                    </a:extLst>
                  </p:cNvPr>
                  <p:cNvSpPr/>
                  <p:nvPr/>
                </p:nvSpPr>
                <p:spPr>
                  <a:xfrm>
                    <a:off x="5187029" y="32424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17" name="Freeform: Shape 7116">
                    <a:extLst>
                      <a:ext uri="{FF2B5EF4-FFF2-40B4-BE49-F238E27FC236}">
                        <a16:creationId xmlns:a16="http://schemas.microsoft.com/office/drawing/2014/main" id="{D8CBF2C4-3C2A-8E25-727D-B84B8FF8288D}"/>
                      </a:ext>
                    </a:extLst>
                  </p:cNvPr>
                  <p:cNvSpPr/>
                  <p:nvPr/>
                </p:nvSpPr>
                <p:spPr>
                  <a:xfrm>
                    <a:off x="5149119" y="32802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2" name="Graphic 75">
                  <a:extLst>
                    <a:ext uri="{FF2B5EF4-FFF2-40B4-BE49-F238E27FC236}">
                      <a16:creationId xmlns:a16="http://schemas.microsoft.com/office/drawing/2014/main" id="{554F51AB-50F7-4761-7ACD-62F9AD9EAF3E}"/>
                    </a:ext>
                  </a:extLst>
                </p:cNvPr>
                <p:cNvGrpSpPr/>
                <p:nvPr/>
              </p:nvGrpSpPr>
              <p:grpSpPr>
                <a:xfrm>
                  <a:off x="5018722" y="3220878"/>
                  <a:ext cx="75723" cy="75628"/>
                  <a:chOff x="5018722" y="3220878"/>
                  <a:chExt cx="75723" cy="75628"/>
                </a:xfrm>
              </p:grpSpPr>
              <p:sp>
                <p:nvSpPr>
                  <p:cNvPr id="7114" name="Freeform: Shape 7113">
                    <a:extLst>
                      <a:ext uri="{FF2B5EF4-FFF2-40B4-BE49-F238E27FC236}">
                        <a16:creationId xmlns:a16="http://schemas.microsoft.com/office/drawing/2014/main" id="{CA1FE823-2A2D-A465-87F8-8D2ED49872F7}"/>
                      </a:ext>
                    </a:extLst>
                  </p:cNvPr>
                  <p:cNvSpPr/>
                  <p:nvPr/>
                </p:nvSpPr>
                <p:spPr>
                  <a:xfrm>
                    <a:off x="5056632"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15" name="Freeform: Shape 7114">
                    <a:extLst>
                      <a:ext uri="{FF2B5EF4-FFF2-40B4-BE49-F238E27FC236}">
                        <a16:creationId xmlns:a16="http://schemas.microsoft.com/office/drawing/2014/main" id="{74B84316-44A1-260F-D148-16D99ED3D777}"/>
                      </a:ext>
                    </a:extLst>
                  </p:cNvPr>
                  <p:cNvSpPr/>
                  <p:nvPr/>
                </p:nvSpPr>
                <p:spPr>
                  <a:xfrm>
                    <a:off x="501872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3" name="Graphic 75">
                  <a:extLst>
                    <a:ext uri="{FF2B5EF4-FFF2-40B4-BE49-F238E27FC236}">
                      <a16:creationId xmlns:a16="http://schemas.microsoft.com/office/drawing/2014/main" id="{99F4BA6D-E4AD-2831-9728-1B940F5BAF0B}"/>
                    </a:ext>
                  </a:extLst>
                </p:cNvPr>
                <p:cNvGrpSpPr/>
                <p:nvPr/>
              </p:nvGrpSpPr>
              <p:grpSpPr>
                <a:xfrm>
                  <a:off x="4999577" y="3220878"/>
                  <a:ext cx="75723" cy="75628"/>
                  <a:chOff x="4999577" y="3220878"/>
                  <a:chExt cx="75723" cy="75628"/>
                </a:xfrm>
              </p:grpSpPr>
              <p:sp>
                <p:nvSpPr>
                  <p:cNvPr id="7112" name="Freeform: Shape 7111">
                    <a:extLst>
                      <a:ext uri="{FF2B5EF4-FFF2-40B4-BE49-F238E27FC236}">
                        <a16:creationId xmlns:a16="http://schemas.microsoft.com/office/drawing/2014/main" id="{CC872C22-34F0-5C62-EA2B-770B7487EF32}"/>
                      </a:ext>
                    </a:extLst>
                  </p:cNvPr>
                  <p:cNvSpPr/>
                  <p:nvPr/>
                </p:nvSpPr>
                <p:spPr>
                  <a:xfrm>
                    <a:off x="5037486"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13" name="Freeform: Shape 7112">
                    <a:extLst>
                      <a:ext uri="{FF2B5EF4-FFF2-40B4-BE49-F238E27FC236}">
                        <a16:creationId xmlns:a16="http://schemas.microsoft.com/office/drawing/2014/main" id="{ECAA5128-89F2-CE76-08EB-B6BD4C3D9E30}"/>
                      </a:ext>
                    </a:extLst>
                  </p:cNvPr>
                  <p:cNvSpPr/>
                  <p:nvPr/>
                </p:nvSpPr>
                <p:spPr>
                  <a:xfrm>
                    <a:off x="4999577"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4" name="Graphic 75">
                  <a:extLst>
                    <a:ext uri="{FF2B5EF4-FFF2-40B4-BE49-F238E27FC236}">
                      <a16:creationId xmlns:a16="http://schemas.microsoft.com/office/drawing/2014/main" id="{07C3E59F-1C70-43E2-14F2-3121824CD560}"/>
                    </a:ext>
                  </a:extLst>
                </p:cNvPr>
                <p:cNvGrpSpPr/>
                <p:nvPr/>
              </p:nvGrpSpPr>
              <p:grpSpPr>
                <a:xfrm>
                  <a:off x="4980432" y="3220878"/>
                  <a:ext cx="75723" cy="75628"/>
                  <a:chOff x="4980432" y="3220878"/>
                  <a:chExt cx="75723" cy="75628"/>
                </a:xfrm>
              </p:grpSpPr>
              <p:sp>
                <p:nvSpPr>
                  <p:cNvPr id="7110" name="Freeform: Shape 7109">
                    <a:extLst>
                      <a:ext uri="{FF2B5EF4-FFF2-40B4-BE49-F238E27FC236}">
                        <a16:creationId xmlns:a16="http://schemas.microsoft.com/office/drawing/2014/main" id="{C5FEEF31-A1C2-D5DA-BEA9-01F9BB4996EB}"/>
                      </a:ext>
                    </a:extLst>
                  </p:cNvPr>
                  <p:cNvSpPr/>
                  <p:nvPr/>
                </p:nvSpPr>
                <p:spPr>
                  <a:xfrm>
                    <a:off x="5018341" y="322087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11" name="Freeform: Shape 7110">
                    <a:extLst>
                      <a:ext uri="{FF2B5EF4-FFF2-40B4-BE49-F238E27FC236}">
                        <a16:creationId xmlns:a16="http://schemas.microsoft.com/office/drawing/2014/main" id="{34CDF040-04F5-A20E-B71F-50BA9F672F96}"/>
                      </a:ext>
                    </a:extLst>
                  </p:cNvPr>
                  <p:cNvSpPr/>
                  <p:nvPr/>
                </p:nvSpPr>
                <p:spPr>
                  <a:xfrm>
                    <a:off x="4980432" y="32586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5" name="Graphic 75">
                  <a:extLst>
                    <a:ext uri="{FF2B5EF4-FFF2-40B4-BE49-F238E27FC236}">
                      <a16:creationId xmlns:a16="http://schemas.microsoft.com/office/drawing/2014/main" id="{B04B174E-7868-7057-C1C5-2F3C38FFF5F5}"/>
                    </a:ext>
                  </a:extLst>
                </p:cNvPr>
                <p:cNvGrpSpPr/>
                <p:nvPr/>
              </p:nvGrpSpPr>
              <p:grpSpPr>
                <a:xfrm>
                  <a:off x="5390102" y="3338607"/>
                  <a:ext cx="75723" cy="75628"/>
                  <a:chOff x="5390102" y="3338607"/>
                  <a:chExt cx="75723" cy="75628"/>
                </a:xfrm>
              </p:grpSpPr>
              <p:sp>
                <p:nvSpPr>
                  <p:cNvPr id="7108" name="Freeform: Shape 7107">
                    <a:extLst>
                      <a:ext uri="{FF2B5EF4-FFF2-40B4-BE49-F238E27FC236}">
                        <a16:creationId xmlns:a16="http://schemas.microsoft.com/office/drawing/2014/main" id="{6D398BFA-E6E7-B380-4849-D965F817B5B9}"/>
                      </a:ext>
                    </a:extLst>
                  </p:cNvPr>
                  <p:cNvSpPr/>
                  <p:nvPr/>
                </p:nvSpPr>
                <p:spPr>
                  <a:xfrm>
                    <a:off x="542801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09" name="Freeform: Shape 7108">
                    <a:extLst>
                      <a:ext uri="{FF2B5EF4-FFF2-40B4-BE49-F238E27FC236}">
                        <a16:creationId xmlns:a16="http://schemas.microsoft.com/office/drawing/2014/main" id="{8541B683-696B-AFD1-5EE8-B195A08A67BC}"/>
                      </a:ext>
                    </a:extLst>
                  </p:cNvPr>
                  <p:cNvSpPr/>
                  <p:nvPr/>
                </p:nvSpPr>
                <p:spPr>
                  <a:xfrm>
                    <a:off x="5390102"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6" name="Graphic 75">
                  <a:extLst>
                    <a:ext uri="{FF2B5EF4-FFF2-40B4-BE49-F238E27FC236}">
                      <a16:creationId xmlns:a16="http://schemas.microsoft.com/office/drawing/2014/main" id="{90889F0C-5EA1-B1F6-5F59-DC14341EF130}"/>
                    </a:ext>
                  </a:extLst>
                </p:cNvPr>
                <p:cNvGrpSpPr/>
                <p:nvPr/>
              </p:nvGrpSpPr>
              <p:grpSpPr>
                <a:xfrm>
                  <a:off x="5439537" y="3338607"/>
                  <a:ext cx="75628" cy="75628"/>
                  <a:chOff x="5439537" y="3338607"/>
                  <a:chExt cx="75628" cy="75628"/>
                </a:xfrm>
              </p:grpSpPr>
              <p:sp>
                <p:nvSpPr>
                  <p:cNvPr id="7106" name="Freeform: Shape 7105">
                    <a:extLst>
                      <a:ext uri="{FF2B5EF4-FFF2-40B4-BE49-F238E27FC236}">
                        <a16:creationId xmlns:a16="http://schemas.microsoft.com/office/drawing/2014/main" id="{F7972E4C-3915-DCDF-8F58-15757E7193C9}"/>
                      </a:ext>
                    </a:extLst>
                  </p:cNvPr>
                  <p:cNvSpPr/>
                  <p:nvPr/>
                </p:nvSpPr>
                <p:spPr>
                  <a:xfrm>
                    <a:off x="547735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07" name="Freeform: Shape 7106">
                    <a:extLst>
                      <a:ext uri="{FF2B5EF4-FFF2-40B4-BE49-F238E27FC236}">
                        <a16:creationId xmlns:a16="http://schemas.microsoft.com/office/drawing/2014/main" id="{C7E9D196-5A5F-5C8B-15DB-DC4C4776AC79}"/>
                      </a:ext>
                    </a:extLst>
                  </p:cNvPr>
                  <p:cNvSpPr/>
                  <p:nvPr/>
                </p:nvSpPr>
                <p:spPr>
                  <a:xfrm>
                    <a:off x="5439537" y="33764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7" name="Graphic 75">
                  <a:extLst>
                    <a:ext uri="{FF2B5EF4-FFF2-40B4-BE49-F238E27FC236}">
                      <a16:creationId xmlns:a16="http://schemas.microsoft.com/office/drawing/2014/main" id="{24BAFFC7-2B4A-7CD3-7995-2094B1EFF13B}"/>
                    </a:ext>
                  </a:extLst>
                </p:cNvPr>
                <p:cNvGrpSpPr/>
                <p:nvPr/>
              </p:nvGrpSpPr>
              <p:grpSpPr>
                <a:xfrm>
                  <a:off x="5472969" y="3338607"/>
                  <a:ext cx="75723" cy="75628"/>
                  <a:chOff x="5472969" y="3338607"/>
                  <a:chExt cx="75723" cy="75628"/>
                </a:xfrm>
              </p:grpSpPr>
              <p:sp>
                <p:nvSpPr>
                  <p:cNvPr id="7104" name="Freeform: Shape 7103">
                    <a:extLst>
                      <a:ext uri="{FF2B5EF4-FFF2-40B4-BE49-F238E27FC236}">
                        <a16:creationId xmlns:a16="http://schemas.microsoft.com/office/drawing/2014/main" id="{88587648-7803-ED02-0559-8C572B4B6856}"/>
                      </a:ext>
                    </a:extLst>
                  </p:cNvPr>
                  <p:cNvSpPr/>
                  <p:nvPr/>
                </p:nvSpPr>
                <p:spPr>
                  <a:xfrm>
                    <a:off x="5510784"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05" name="Freeform: Shape 7104">
                    <a:extLst>
                      <a:ext uri="{FF2B5EF4-FFF2-40B4-BE49-F238E27FC236}">
                        <a16:creationId xmlns:a16="http://schemas.microsoft.com/office/drawing/2014/main" id="{148068DA-6C54-E99B-0F7A-ECD836841605}"/>
                      </a:ext>
                    </a:extLst>
                  </p:cNvPr>
                  <p:cNvSpPr/>
                  <p:nvPr/>
                </p:nvSpPr>
                <p:spPr>
                  <a:xfrm>
                    <a:off x="5472969"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8" name="Graphic 75">
                  <a:extLst>
                    <a:ext uri="{FF2B5EF4-FFF2-40B4-BE49-F238E27FC236}">
                      <a16:creationId xmlns:a16="http://schemas.microsoft.com/office/drawing/2014/main" id="{14FC0A53-5141-1467-7CC2-E47169AE4ADA}"/>
                    </a:ext>
                  </a:extLst>
                </p:cNvPr>
                <p:cNvGrpSpPr/>
                <p:nvPr/>
              </p:nvGrpSpPr>
              <p:grpSpPr>
                <a:xfrm>
                  <a:off x="5504307" y="3338607"/>
                  <a:ext cx="75628" cy="75628"/>
                  <a:chOff x="5504307" y="3338607"/>
                  <a:chExt cx="75628" cy="75628"/>
                </a:xfrm>
              </p:grpSpPr>
              <p:sp>
                <p:nvSpPr>
                  <p:cNvPr id="7102" name="Freeform: Shape 7101">
                    <a:extLst>
                      <a:ext uri="{FF2B5EF4-FFF2-40B4-BE49-F238E27FC236}">
                        <a16:creationId xmlns:a16="http://schemas.microsoft.com/office/drawing/2014/main" id="{02AB0A07-5AD0-C8A0-A21E-277DBE67F42E}"/>
                      </a:ext>
                    </a:extLst>
                  </p:cNvPr>
                  <p:cNvSpPr/>
                  <p:nvPr/>
                </p:nvSpPr>
                <p:spPr>
                  <a:xfrm>
                    <a:off x="5542121"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03" name="Freeform: Shape 7102">
                    <a:extLst>
                      <a:ext uri="{FF2B5EF4-FFF2-40B4-BE49-F238E27FC236}">
                        <a16:creationId xmlns:a16="http://schemas.microsoft.com/office/drawing/2014/main" id="{CF4E553D-246B-7E1D-B037-04474F96F00C}"/>
                      </a:ext>
                    </a:extLst>
                  </p:cNvPr>
                  <p:cNvSpPr/>
                  <p:nvPr/>
                </p:nvSpPr>
                <p:spPr>
                  <a:xfrm>
                    <a:off x="5504307" y="33764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79" name="Graphic 75">
                  <a:extLst>
                    <a:ext uri="{FF2B5EF4-FFF2-40B4-BE49-F238E27FC236}">
                      <a16:creationId xmlns:a16="http://schemas.microsoft.com/office/drawing/2014/main" id="{9364ED40-80CF-47FA-6153-F0C174CB92FE}"/>
                    </a:ext>
                  </a:extLst>
                </p:cNvPr>
                <p:cNvGrpSpPr/>
                <p:nvPr/>
              </p:nvGrpSpPr>
              <p:grpSpPr>
                <a:xfrm>
                  <a:off x="5489448" y="3338607"/>
                  <a:ext cx="75723" cy="75628"/>
                  <a:chOff x="5489448" y="3338607"/>
                  <a:chExt cx="75723" cy="75628"/>
                </a:xfrm>
              </p:grpSpPr>
              <p:sp>
                <p:nvSpPr>
                  <p:cNvPr id="7100" name="Freeform: Shape 7099">
                    <a:extLst>
                      <a:ext uri="{FF2B5EF4-FFF2-40B4-BE49-F238E27FC236}">
                        <a16:creationId xmlns:a16="http://schemas.microsoft.com/office/drawing/2014/main" id="{7CD20E07-7F1C-1866-5F6D-432D249FF859}"/>
                      </a:ext>
                    </a:extLst>
                  </p:cNvPr>
                  <p:cNvSpPr/>
                  <p:nvPr/>
                </p:nvSpPr>
                <p:spPr>
                  <a:xfrm>
                    <a:off x="5527262" y="333860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01" name="Freeform: Shape 7100">
                    <a:extLst>
                      <a:ext uri="{FF2B5EF4-FFF2-40B4-BE49-F238E27FC236}">
                        <a16:creationId xmlns:a16="http://schemas.microsoft.com/office/drawing/2014/main" id="{755A11D0-26E0-7145-69FB-4E75DEC98FB9}"/>
                      </a:ext>
                    </a:extLst>
                  </p:cNvPr>
                  <p:cNvSpPr/>
                  <p:nvPr/>
                </p:nvSpPr>
                <p:spPr>
                  <a:xfrm>
                    <a:off x="5489448" y="33764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0" name="Graphic 75">
                  <a:extLst>
                    <a:ext uri="{FF2B5EF4-FFF2-40B4-BE49-F238E27FC236}">
                      <a16:creationId xmlns:a16="http://schemas.microsoft.com/office/drawing/2014/main" id="{59ABD35A-2982-22B6-182E-DBFDA21563A8}"/>
                    </a:ext>
                  </a:extLst>
                </p:cNvPr>
                <p:cNvGrpSpPr/>
                <p:nvPr/>
              </p:nvGrpSpPr>
              <p:grpSpPr>
                <a:xfrm>
                  <a:off x="5548693" y="3392900"/>
                  <a:ext cx="75628" cy="75628"/>
                  <a:chOff x="5548693" y="3392900"/>
                  <a:chExt cx="75628" cy="75628"/>
                </a:xfrm>
              </p:grpSpPr>
              <p:sp>
                <p:nvSpPr>
                  <p:cNvPr id="7098" name="Freeform: Shape 7097">
                    <a:extLst>
                      <a:ext uri="{FF2B5EF4-FFF2-40B4-BE49-F238E27FC236}">
                        <a16:creationId xmlns:a16="http://schemas.microsoft.com/office/drawing/2014/main" id="{10214363-9D8E-A568-6AA4-E24B011D4F02}"/>
                      </a:ext>
                    </a:extLst>
                  </p:cNvPr>
                  <p:cNvSpPr/>
                  <p:nvPr/>
                </p:nvSpPr>
                <p:spPr>
                  <a:xfrm>
                    <a:off x="55865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99" name="Freeform: Shape 7098">
                    <a:extLst>
                      <a:ext uri="{FF2B5EF4-FFF2-40B4-BE49-F238E27FC236}">
                        <a16:creationId xmlns:a16="http://schemas.microsoft.com/office/drawing/2014/main" id="{C4AAFCCE-18AA-18CD-A03F-718426758DFC}"/>
                      </a:ext>
                    </a:extLst>
                  </p:cNvPr>
                  <p:cNvSpPr/>
                  <p:nvPr/>
                </p:nvSpPr>
                <p:spPr>
                  <a:xfrm>
                    <a:off x="5548693"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1" name="Graphic 75">
                  <a:extLst>
                    <a:ext uri="{FF2B5EF4-FFF2-40B4-BE49-F238E27FC236}">
                      <a16:creationId xmlns:a16="http://schemas.microsoft.com/office/drawing/2014/main" id="{5871FAA5-41E5-4F9C-C1C5-4EBE15344D3A}"/>
                    </a:ext>
                  </a:extLst>
                </p:cNvPr>
                <p:cNvGrpSpPr/>
                <p:nvPr/>
              </p:nvGrpSpPr>
              <p:grpSpPr>
                <a:xfrm>
                  <a:off x="5561076" y="3392900"/>
                  <a:ext cx="75723" cy="75628"/>
                  <a:chOff x="5561076" y="3392900"/>
                  <a:chExt cx="75723" cy="75628"/>
                </a:xfrm>
              </p:grpSpPr>
              <p:sp>
                <p:nvSpPr>
                  <p:cNvPr id="7096" name="Freeform: Shape 7095">
                    <a:extLst>
                      <a:ext uri="{FF2B5EF4-FFF2-40B4-BE49-F238E27FC236}">
                        <a16:creationId xmlns:a16="http://schemas.microsoft.com/office/drawing/2014/main" id="{904319BE-64B1-8FA5-446F-D0B0C31FE76F}"/>
                      </a:ext>
                    </a:extLst>
                  </p:cNvPr>
                  <p:cNvSpPr/>
                  <p:nvPr/>
                </p:nvSpPr>
                <p:spPr>
                  <a:xfrm>
                    <a:off x="559898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97" name="Freeform: Shape 7096">
                    <a:extLst>
                      <a:ext uri="{FF2B5EF4-FFF2-40B4-BE49-F238E27FC236}">
                        <a16:creationId xmlns:a16="http://schemas.microsoft.com/office/drawing/2014/main" id="{3E1E1860-6214-55E0-AA68-1C9842A45137}"/>
                      </a:ext>
                    </a:extLst>
                  </p:cNvPr>
                  <p:cNvSpPr/>
                  <p:nvPr/>
                </p:nvSpPr>
                <p:spPr>
                  <a:xfrm>
                    <a:off x="556107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2" name="Graphic 75">
                  <a:extLst>
                    <a:ext uri="{FF2B5EF4-FFF2-40B4-BE49-F238E27FC236}">
                      <a16:creationId xmlns:a16="http://schemas.microsoft.com/office/drawing/2014/main" id="{3177DC1E-C788-F595-FE43-34E4273BB660}"/>
                    </a:ext>
                  </a:extLst>
                </p:cNvPr>
                <p:cNvGrpSpPr/>
                <p:nvPr/>
              </p:nvGrpSpPr>
              <p:grpSpPr>
                <a:xfrm>
                  <a:off x="5588793" y="3392900"/>
                  <a:ext cx="75723" cy="75628"/>
                  <a:chOff x="5588793" y="3392900"/>
                  <a:chExt cx="75723" cy="75628"/>
                </a:xfrm>
              </p:grpSpPr>
              <p:sp>
                <p:nvSpPr>
                  <p:cNvPr id="7094" name="Freeform: Shape 7093">
                    <a:extLst>
                      <a:ext uri="{FF2B5EF4-FFF2-40B4-BE49-F238E27FC236}">
                        <a16:creationId xmlns:a16="http://schemas.microsoft.com/office/drawing/2014/main" id="{0244339B-3841-BFB6-18A5-FA5419169167}"/>
                      </a:ext>
                    </a:extLst>
                  </p:cNvPr>
                  <p:cNvSpPr/>
                  <p:nvPr/>
                </p:nvSpPr>
                <p:spPr>
                  <a:xfrm>
                    <a:off x="562660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95" name="Freeform: Shape 7094">
                    <a:extLst>
                      <a:ext uri="{FF2B5EF4-FFF2-40B4-BE49-F238E27FC236}">
                        <a16:creationId xmlns:a16="http://schemas.microsoft.com/office/drawing/2014/main" id="{38F15F16-96A9-7836-67B7-39F94D55982E}"/>
                      </a:ext>
                    </a:extLst>
                  </p:cNvPr>
                  <p:cNvSpPr/>
                  <p:nvPr/>
                </p:nvSpPr>
                <p:spPr>
                  <a:xfrm>
                    <a:off x="558879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3" name="Graphic 75">
                  <a:extLst>
                    <a:ext uri="{FF2B5EF4-FFF2-40B4-BE49-F238E27FC236}">
                      <a16:creationId xmlns:a16="http://schemas.microsoft.com/office/drawing/2014/main" id="{55C655FA-1190-9E2D-0BB3-40306287B23E}"/>
                    </a:ext>
                  </a:extLst>
                </p:cNvPr>
                <p:cNvGrpSpPr/>
                <p:nvPr/>
              </p:nvGrpSpPr>
              <p:grpSpPr>
                <a:xfrm>
                  <a:off x="5602128" y="3392900"/>
                  <a:ext cx="75723" cy="75628"/>
                  <a:chOff x="5602128" y="3392900"/>
                  <a:chExt cx="75723" cy="75628"/>
                </a:xfrm>
              </p:grpSpPr>
              <p:sp>
                <p:nvSpPr>
                  <p:cNvPr id="7092" name="Freeform: Shape 7091">
                    <a:extLst>
                      <a:ext uri="{FF2B5EF4-FFF2-40B4-BE49-F238E27FC236}">
                        <a16:creationId xmlns:a16="http://schemas.microsoft.com/office/drawing/2014/main" id="{EFE18459-82CB-5C63-F947-8238C151FC30}"/>
                      </a:ext>
                    </a:extLst>
                  </p:cNvPr>
                  <p:cNvSpPr/>
                  <p:nvPr/>
                </p:nvSpPr>
                <p:spPr>
                  <a:xfrm>
                    <a:off x="5640038"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93" name="Freeform: Shape 7092">
                    <a:extLst>
                      <a:ext uri="{FF2B5EF4-FFF2-40B4-BE49-F238E27FC236}">
                        <a16:creationId xmlns:a16="http://schemas.microsoft.com/office/drawing/2014/main" id="{706F914B-FE0A-FD0A-C55E-E36797DCD74C}"/>
                      </a:ext>
                    </a:extLst>
                  </p:cNvPr>
                  <p:cNvSpPr/>
                  <p:nvPr/>
                </p:nvSpPr>
                <p:spPr>
                  <a:xfrm>
                    <a:off x="5602128"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4" name="Graphic 75">
                  <a:extLst>
                    <a:ext uri="{FF2B5EF4-FFF2-40B4-BE49-F238E27FC236}">
                      <a16:creationId xmlns:a16="http://schemas.microsoft.com/office/drawing/2014/main" id="{7E67F58A-1622-7CBB-2B86-6A765C2C8950}"/>
                    </a:ext>
                  </a:extLst>
                </p:cNvPr>
                <p:cNvGrpSpPr/>
                <p:nvPr/>
              </p:nvGrpSpPr>
              <p:grpSpPr>
                <a:xfrm>
                  <a:off x="5745956" y="3392900"/>
                  <a:ext cx="75723" cy="75628"/>
                  <a:chOff x="5745956" y="3392900"/>
                  <a:chExt cx="75723" cy="75628"/>
                </a:xfrm>
              </p:grpSpPr>
              <p:sp>
                <p:nvSpPr>
                  <p:cNvPr id="7090" name="Freeform: Shape 7089">
                    <a:extLst>
                      <a:ext uri="{FF2B5EF4-FFF2-40B4-BE49-F238E27FC236}">
                        <a16:creationId xmlns:a16="http://schemas.microsoft.com/office/drawing/2014/main" id="{D58AA75E-9000-2F37-E178-4B32803AE71B}"/>
                      </a:ext>
                    </a:extLst>
                  </p:cNvPr>
                  <p:cNvSpPr/>
                  <p:nvPr/>
                </p:nvSpPr>
                <p:spPr>
                  <a:xfrm>
                    <a:off x="5783770"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91" name="Freeform: Shape 7090">
                    <a:extLst>
                      <a:ext uri="{FF2B5EF4-FFF2-40B4-BE49-F238E27FC236}">
                        <a16:creationId xmlns:a16="http://schemas.microsoft.com/office/drawing/2014/main" id="{1F38BFAB-ACDC-B1A7-1293-49EBD16633CD}"/>
                      </a:ext>
                    </a:extLst>
                  </p:cNvPr>
                  <p:cNvSpPr/>
                  <p:nvPr/>
                </p:nvSpPr>
                <p:spPr>
                  <a:xfrm>
                    <a:off x="574595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5" name="Graphic 75">
                  <a:extLst>
                    <a:ext uri="{FF2B5EF4-FFF2-40B4-BE49-F238E27FC236}">
                      <a16:creationId xmlns:a16="http://schemas.microsoft.com/office/drawing/2014/main" id="{3ACF9276-B963-EEB8-FD25-2E9ACD03FC23}"/>
                    </a:ext>
                  </a:extLst>
                </p:cNvPr>
                <p:cNvGrpSpPr/>
                <p:nvPr/>
              </p:nvGrpSpPr>
              <p:grpSpPr>
                <a:xfrm>
                  <a:off x="5709475" y="3392900"/>
                  <a:ext cx="75723" cy="75628"/>
                  <a:chOff x="5709475" y="3392900"/>
                  <a:chExt cx="75723" cy="75628"/>
                </a:xfrm>
              </p:grpSpPr>
              <p:sp>
                <p:nvSpPr>
                  <p:cNvPr id="7088" name="Freeform: Shape 7087">
                    <a:extLst>
                      <a:ext uri="{FF2B5EF4-FFF2-40B4-BE49-F238E27FC236}">
                        <a16:creationId xmlns:a16="http://schemas.microsoft.com/office/drawing/2014/main" id="{C7C8E705-D489-6220-D4B2-9F3ACBD10EA1}"/>
                      </a:ext>
                    </a:extLst>
                  </p:cNvPr>
                  <p:cNvSpPr/>
                  <p:nvPr/>
                </p:nvSpPr>
                <p:spPr>
                  <a:xfrm>
                    <a:off x="5747289"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89" name="Freeform: Shape 7088">
                    <a:extLst>
                      <a:ext uri="{FF2B5EF4-FFF2-40B4-BE49-F238E27FC236}">
                        <a16:creationId xmlns:a16="http://schemas.microsoft.com/office/drawing/2014/main" id="{76B89ADE-1ACC-A8F6-9887-FCE0FA4D6FB9}"/>
                      </a:ext>
                    </a:extLst>
                  </p:cNvPr>
                  <p:cNvSpPr/>
                  <p:nvPr/>
                </p:nvSpPr>
                <p:spPr>
                  <a:xfrm>
                    <a:off x="5709475"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6" name="Graphic 75">
                  <a:extLst>
                    <a:ext uri="{FF2B5EF4-FFF2-40B4-BE49-F238E27FC236}">
                      <a16:creationId xmlns:a16="http://schemas.microsoft.com/office/drawing/2014/main" id="{36E387E7-A250-EB73-9A50-65B7E4C6AE18}"/>
                    </a:ext>
                  </a:extLst>
                </p:cNvPr>
                <p:cNvGrpSpPr/>
                <p:nvPr/>
              </p:nvGrpSpPr>
              <p:grpSpPr>
                <a:xfrm>
                  <a:off x="5682996" y="3392900"/>
                  <a:ext cx="75723" cy="75628"/>
                  <a:chOff x="5682996" y="3392900"/>
                  <a:chExt cx="75723" cy="75628"/>
                </a:xfrm>
              </p:grpSpPr>
              <p:sp>
                <p:nvSpPr>
                  <p:cNvPr id="7086" name="Freeform: Shape 7085">
                    <a:extLst>
                      <a:ext uri="{FF2B5EF4-FFF2-40B4-BE49-F238E27FC236}">
                        <a16:creationId xmlns:a16="http://schemas.microsoft.com/office/drawing/2014/main" id="{3C67A344-8A25-3A88-C954-AF21072C1F68}"/>
                      </a:ext>
                    </a:extLst>
                  </p:cNvPr>
                  <p:cNvSpPr/>
                  <p:nvPr/>
                </p:nvSpPr>
                <p:spPr>
                  <a:xfrm>
                    <a:off x="572090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87" name="Freeform: Shape 7086">
                    <a:extLst>
                      <a:ext uri="{FF2B5EF4-FFF2-40B4-BE49-F238E27FC236}">
                        <a16:creationId xmlns:a16="http://schemas.microsoft.com/office/drawing/2014/main" id="{4A56AA83-B599-0439-7247-F526DBBEB96D}"/>
                      </a:ext>
                    </a:extLst>
                  </p:cNvPr>
                  <p:cNvSpPr/>
                  <p:nvPr/>
                </p:nvSpPr>
                <p:spPr>
                  <a:xfrm>
                    <a:off x="5682996"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7" name="Graphic 75">
                  <a:extLst>
                    <a:ext uri="{FF2B5EF4-FFF2-40B4-BE49-F238E27FC236}">
                      <a16:creationId xmlns:a16="http://schemas.microsoft.com/office/drawing/2014/main" id="{7555D511-564C-3BBE-29E7-E51C8C90B533}"/>
                    </a:ext>
                  </a:extLst>
                </p:cNvPr>
                <p:cNvGrpSpPr/>
                <p:nvPr/>
              </p:nvGrpSpPr>
              <p:grpSpPr>
                <a:xfrm>
                  <a:off x="5647753" y="3392900"/>
                  <a:ext cx="75723" cy="75628"/>
                  <a:chOff x="5647753" y="3392900"/>
                  <a:chExt cx="75723" cy="75628"/>
                </a:xfrm>
              </p:grpSpPr>
              <p:sp>
                <p:nvSpPr>
                  <p:cNvPr id="7084" name="Freeform: Shape 7083">
                    <a:extLst>
                      <a:ext uri="{FF2B5EF4-FFF2-40B4-BE49-F238E27FC236}">
                        <a16:creationId xmlns:a16="http://schemas.microsoft.com/office/drawing/2014/main" id="{BDBD5C28-A5FD-5EDF-0B51-7062D52B1A97}"/>
                      </a:ext>
                    </a:extLst>
                  </p:cNvPr>
                  <p:cNvSpPr/>
                  <p:nvPr/>
                </p:nvSpPr>
                <p:spPr>
                  <a:xfrm>
                    <a:off x="568556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85" name="Freeform: Shape 7084">
                    <a:extLst>
                      <a:ext uri="{FF2B5EF4-FFF2-40B4-BE49-F238E27FC236}">
                        <a16:creationId xmlns:a16="http://schemas.microsoft.com/office/drawing/2014/main" id="{5CE94A7A-F3ED-EE69-1E15-AE255FCB6BB5}"/>
                      </a:ext>
                    </a:extLst>
                  </p:cNvPr>
                  <p:cNvSpPr/>
                  <p:nvPr/>
                </p:nvSpPr>
                <p:spPr>
                  <a:xfrm>
                    <a:off x="5647753"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8" name="Graphic 75">
                  <a:extLst>
                    <a:ext uri="{FF2B5EF4-FFF2-40B4-BE49-F238E27FC236}">
                      <a16:creationId xmlns:a16="http://schemas.microsoft.com/office/drawing/2014/main" id="{EF1C9D00-0902-19EF-F1FB-00C67A6C8CDC}"/>
                    </a:ext>
                  </a:extLst>
                </p:cNvPr>
                <p:cNvGrpSpPr/>
                <p:nvPr/>
              </p:nvGrpSpPr>
              <p:grpSpPr>
                <a:xfrm>
                  <a:off x="5618892" y="3392900"/>
                  <a:ext cx="75628" cy="75628"/>
                  <a:chOff x="5618892" y="3392900"/>
                  <a:chExt cx="75628" cy="75628"/>
                </a:xfrm>
              </p:grpSpPr>
              <p:sp>
                <p:nvSpPr>
                  <p:cNvPr id="7082" name="Freeform: Shape 7081">
                    <a:extLst>
                      <a:ext uri="{FF2B5EF4-FFF2-40B4-BE49-F238E27FC236}">
                        <a16:creationId xmlns:a16="http://schemas.microsoft.com/office/drawing/2014/main" id="{AF2A1020-C511-F5D7-2152-BCFBEB6781C2}"/>
                      </a:ext>
                    </a:extLst>
                  </p:cNvPr>
                  <p:cNvSpPr/>
                  <p:nvPr/>
                </p:nvSpPr>
                <p:spPr>
                  <a:xfrm>
                    <a:off x="5656707"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83" name="Freeform: Shape 7082">
                    <a:extLst>
                      <a:ext uri="{FF2B5EF4-FFF2-40B4-BE49-F238E27FC236}">
                        <a16:creationId xmlns:a16="http://schemas.microsoft.com/office/drawing/2014/main" id="{A76734B8-8AFC-7571-308B-DE9D3F383A79}"/>
                      </a:ext>
                    </a:extLst>
                  </p:cNvPr>
                  <p:cNvSpPr/>
                  <p:nvPr/>
                </p:nvSpPr>
                <p:spPr>
                  <a:xfrm>
                    <a:off x="5618892"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89" name="Graphic 75">
                  <a:extLst>
                    <a:ext uri="{FF2B5EF4-FFF2-40B4-BE49-F238E27FC236}">
                      <a16:creationId xmlns:a16="http://schemas.microsoft.com/office/drawing/2014/main" id="{472F551E-158F-8D87-FD1C-29322E94C398}"/>
                    </a:ext>
                  </a:extLst>
                </p:cNvPr>
                <p:cNvGrpSpPr/>
                <p:nvPr/>
              </p:nvGrpSpPr>
              <p:grpSpPr>
                <a:xfrm>
                  <a:off x="5734431" y="3392900"/>
                  <a:ext cx="75628" cy="75628"/>
                  <a:chOff x="5734431" y="3392900"/>
                  <a:chExt cx="75628" cy="75628"/>
                </a:xfrm>
              </p:grpSpPr>
              <p:sp>
                <p:nvSpPr>
                  <p:cNvPr id="7080" name="Freeform: Shape 7079">
                    <a:extLst>
                      <a:ext uri="{FF2B5EF4-FFF2-40B4-BE49-F238E27FC236}">
                        <a16:creationId xmlns:a16="http://schemas.microsoft.com/office/drawing/2014/main" id="{BE5791FB-4173-168B-4964-55F2C80EAD88}"/>
                      </a:ext>
                    </a:extLst>
                  </p:cNvPr>
                  <p:cNvSpPr/>
                  <p:nvPr/>
                </p:nvSpPr>
                <p:spPr>
                  <a:xfrm>
                    <a:off x="577224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81" name="Freeform: Shape 7080">
                    <a:extLst>
                      <a:ext uri="{FF2B5EF4-FFF2-40B4-BE49-F238E27FC236}">
                        <a16:creationId xmlns:a16="http://schemas.microsoft.com/office/drawing/2014/main" id="{D65B21C8-2306-2F28-97A2-3C92B0B052B7}"/>
                      </a:ext>
                    </a:extLst>
                  </p:cNvPr>
                  <p:cNvSpPr/>
                  <p:nvPr/>
                </p:nvSpPr>
                <p:spPr>
                  <a:xfrm>
                    <a:off x="5734431" y="343071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0" name="Graphic 75">
                  <a:extLst>
                    <a:ext uri="{FF2B5EF4-FFF2-40B4-BE49-F238E27FC236}">
                      <a16:creationId xmlns:a16="http://schemas.microsoft.com/office/drawing/2014/main" id="{EF8FAB45-8508-AE9C-7892-979E489AB2ED}"/>
                    </a:ext>
                  </a:extLst>
                </p:cNvPr>
                <p:cNvGrpSpPr/>
                <p:nvPr/>
              </p:nvGrpSpPr>
              <p:grpSpPr>
                <a:xfrm>
                  <a:off x="5757481" y="3392900"/>
                  <a:ext cx="75723" cy="75628"/>
                  <a:chOff x="5757481" y="3392900"/>
                  <a:chExt cx="75723" cy="75628"/>
                </a:xfrm>
              </p:grpSpPr>
              <p:sp>
                <p:nvSpPr>
                  <p:cNvPr id="7078" name="Freeform: Shape 7077">
                    <a:extLst>
                      <a:ext uri="{FF2B5EF4-FFF2-40B4-BE49-F238E27FC236}">
                        <a16:creationId xmlns:a16="http://schemas.microsoft.com/office/drawing/2014/main" id="{55719D79-2661-9B04-A213-1F21A522F626}"/>
                      </a:ext>
                    </a:extLst>
                  </p:cNvPr>
                  <p:cNvSpPr/>
                  <p:nvPr/>
                </p:nvSpPr>
                <p:spPr>
                  <a:xfrm>
                    <a:off x="5795295" y="339290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79" name="Freeform: Shape 7078">
                    <a:extLst>
                      <a:ext uri="{FF2B5EF4-FFF2-40B4-BE49-F238E27FC236}">
                        <a16:creationId xmlns:a16="http://schemas.microsoft.com/office/drawing/2014/main" id="{17ADF78C-B75A-16E6-CB2E-9EDD9E716B04}"/>
                      </a:ext>
                    </a:extLst>
                  </p:cNvPr>
                  <p:cNvSpPr/>
                  <p:nvPr/>
                </p:nvSpPr>
                <p:spPr>
                  <a:xfrm>
                    <a:off x="5757481" y="343071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1" name="Graphic 75">
                  <a:extLst>
                    <a:ext uri="{FF2B5EF4-FFF2-40B4-BE49-F238E27FC236}">
                      <a16:creationId xmlns:a16="http://schemas.microsoft.com/office/drawing/2014/main" id="{DCF0AC04-59F1-099F-1316-72F3202B21A9}"/>
                    </a:ext>
                  </a:extLst>
                </p:cNvPr>
                <p:cNvGrpSpPr/>
                <p:nvPr/>
              </p:nvGrpSpPr>
              <p:grpSpPr>
                <a:xfrm>
                  <a:off x="6008655" y="3450431"/>
                  <a:ext cx="75723" cy="75723"/>
                  <a:chOff x="6008655" y="3450431"/>
                  <a:chExt cx="75723" cy="75723"/>
                </a:xfrm>
              </p:grpSpPr>
              <p:sp>
                <p:nvSpPr>
                  <p:cNvPr id="7076" name="Freeform: Shape 7075">
                    <a:extLst>
                      <a:ext uri="{FF2B5EF4-FFF2-40B4-BE49-F238E27FC236}">
                        <a16:creationId xmlns:a16="http://schemas.microsoft.com/office/drawing/2014/main" id="{C28E5A4A-6B68-88B4-0B5D-ABE3BC4F5480}"/>
                      </a:ext>
                    </a:extLst>
                  </p:cNvPr>
                  <p:cNvSpPr/>
                  <p:nvPr/>
                </p:nvSpPr>
                <p:spPr>
                  <a:xfrm>
                    <a:off x="6046565"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77" name="Freeform: Shape 7076">
                    <a:extLst>
                      <a:ext uri="{FF2B5EF4-FFF2-40B4-BE49-F238E27FC236}">
                        <a16:creationId xmlns:a16="http://schemas.microsoft.com/office/drawing/2014/main" id="{6BC14574-76FF-853A-C2E0-D3A6D7DA4019}"/>
                      </a:ext>
                    </a:extLst>
                  </p:cNvPr>
                  <p:cNvSpPr/>
                  <p:nvPr/>
                </p:nvSpPr>
                <p:spPr>
                  <a:xfrm>
                    <a:off x="6008655"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2" name="Graphic 75">
                  <a:extLst>
                    <a:ext uri="{FF2B5EF4-FFF2-40B4-BE49-F238E27FC236}">
                      <a16:creationId xmlns:a16="http://schemas.microsoft.com/office/drawing/2014/main" id="{C836D9DD-0969-C800-6D15-957C40501069}"/>
                    </a:ext>
                  </a:extLst>
                </p:cNvPr>
                <p:cNvGrpSpPr/>
                <p:nvPr/>
              </p:nvGrpSpPr>
              <p:grpSpPr>
                <a:xfrm>
                  <a:off x="6027134" y="3450431"/>
                  <a:ext cx="75723" cy="75723"/>
                  <a:chOff x="6027134" y="3450431"/>
                  <a:chExt cx="75723" cy="75723"/>
                </a:xfrm>
              </p:grpSpPr>
              <p:sp>
                <p:nvSpPr>
                  <p:cNvPr id="7074" name="Freeform: Shape 7073">
                    <a:extLst>
                      <a:ext uri="{FF2B5EF4-FFF2-40B4-BE49-F238E27FC236}">
                        <a16:creationId xmlns:a16="http://schemas.microsoft.com/office/drawing/2014/main" id="{73D1B72A-35CE-850E-CD97-143B17095618}"/>
                      </a:ext>
                    </a:extLst>
                  </p:cNvPr>
                  <p:cNvSpPr/>
                  <p:nvPr/>
                </p:nvSpPr>
                <p:spPr>
                  <a:xfrm>
                    <a:off x="606494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75" name="Freeform: Shape 7074">
                    <a:extLst>
                      <a:ext uri="{FF2B5EF4-FFF2-40B4-BE49-F238E27FC236}">
                        <a16:creationId xmlns:a16="http://schemas.microsoft.com/office/drawing/2014/main" id="{E2862C4A-E253-EEE9-0496-048EB44367A1}"/>
                      </a:ext>
                    </a:extLst>
                  </p:cNvPr>
                  <p:cNvSpPr/>
                  <p:nvPr/>
                </p:nvSpPr>
                <p:spPr>
                  <a:xfrm>
                    <a:off x="6027134"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3" name="Graphic 75">
                  <a:extLst>
                    <a:ext uri="{FF2B5EF4-FFF2-40B4-BE49-F238E27FC236}">
                      <a16:creationId xmlns:a16="http://schemas.microsoft.com/office/drawing/2014/main" id="{472882FF-4ABF-E6EE-23E3-C39E4AD64D56}"/>
                    </a:ext>
                  </a:extLst>
                </p:cNvPr>
                <p:cNvGrpSpPr/>
                <p:nvPr/>
              </p:nvGrpSpPr>
              <p:grpSpPr>
                <a:xfrm>
                  <a:off x="6076759" y="3450431"/>
                  <a:ext cx="75723" cy="75723"/>
                  <a:chOff x="6076759" y="3450431"/>
                  <a:chExt cx="75723" cy="75723"/>
                </a:xfrm>
              </p:grpSpPr>
              <p:sp>
                <p:nvSpPr>
                  <p:cNvPr id="7072" name="Freeform: Shape 7071">
                    <a:extLst>
                      <a:ext uri="{FF2B5EF4-FFF2-40B4-BE49-F238E27FC236}">
                        <a16:creationId xmlns:a16="http://schemas.microsoft.com/office/drawing/2014/main" id="{086BFC65-5AFB-DB09-906C-007BDCE19F09}"/>
                      </a:ext>
                    </a:extLst>
                  </p:cNvPr>
                  <p:cNvSpPr/>
                  <p:nvPr/>
                </p:nvSpPr>
                <p:spPr>
                  <a:xfrm>
                    <a:off x="6114573"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73" name="Freeform: Shape 7072">
                    <a:extLst>
                      <a:ext uri="{FF2B5EF4-FFF2-40B4-BE49-F238E27FC236}">
                        <a16:creationId xmlns:a16="http://schemas.microsoft.com/office/drawing/2014/main" id="{0CB4ACD5-B515-0537-7F08-40612A07EB13}"/>
                      </a:ext>
                    </a:extLst>
                  </p:cNvPr>
                  <p:cNvSpPr/>
                  <p:nvPr/>
                </p:nvSpPr>
                <p:spPr>
                  <a:xfrm>
                    <a:off x="6076759"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4" name="Graphic 75">
                  <a:extLst>
                    <a:ext uri="{FF2B5EF4-FFF2-40B4-BE49-F238E27FC236}">
                      <a16:creationId xmlns:a16="http://schemas.microsoft.com/office/drawing/2014/main" id="{B6DA9461-9933-91D1-488E-671CB2FB408C}"/>
                    </a:ext>
                  </a:extLst>
                </p:cNvPr>
                <p:cNvGrpSpPr/>
                <p:nvPr/>
              </p:nvGrpSpPr>
              <p:grpSpPr>
                <a:xfrm>
                  <a:off x="6064948" y="3450431"/>
                  <a:ext cx="75723" cy="75723"/>
                  <a:chOff x="6064948" y="3450431"/>
                  <a:chExt cx="75723" cy="75723"/>
                </a:xfrm>
              </p:grpSpPr>
              <p:sp>
                <p:nvSpPr>
                  <p:cNvPr id="7070" name="Freeform: Shape 7069">
                    <a:extLst>
                      <a:ext uri="{FF2B5EF4-FFF2-40B4-BE49-F238E27FC236}">
                        <a16:creationId xmlns:a16="http://schemas.microsoft.com/office/drawing/2014/main" id="{1FCC1C47-12EA-873F-EE78-E9542A41DCE9}"/>
                      </a:ext>
                    </a:extLst>
                  </p:cNvPr>
                  <p:cNvSpPr/>
                  <p:nvPr/>
                </p:nvSpPr>
                <p:spPr>
                  <a:xfrm>
                    <a:off x="6102858" y="34504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71" name="Freeform: Shape 7070">
                    <a:extLst>
                      <a:ext uri="{FF2B5EF4-FFF2-40B4-BE49-F238E27FC236}">
                        <a16:creationId xmlns:a16="http://schemas.microsoft.com/office/drawing/2014/main" id="{2C28FF14-361E-0776-4755-6E2A79577C6F}"/>
                      </a:ext>
                    </a:extLst>
                  </p:cNvPr>
                  <p:cNvSpPr/>
                  <p:nvPr/>
                </p:nvSpPr>
                <p:spPr>
                  <a:xfrm>
                    <a:off x="6064948" y="348824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5" name="Graphic 75">
                  <a:extLst>
                    <a:ext uri="{FF2B5EF4-FFF2-40B4-BE49-F238E27FC236}">
                      <a16:creationId xmlns:a16="http://schemas.microsoft.com/office/drawing/2014/main" id="{5DE94BBF-E4B9-23FA-129D-5AD7CE5C6AAD}"/>
                    </a:ext>
                  </a:extLst>
                </p:cNvPr>
                <p:cNvGrpSpPr/>
                <p:nvPr/>
              </p:nvGrpSpPr>
              <p:grpSpPr>
                <a:xfrm>
                  <a:off x="6206204" y="3556825"/>
                  <a:ext cx="75723" cy="75723"/>
                  <a:chOff x="6206204" y="3556825"/>
                  <a:chExt cx="75723" cy="75723"/>
                </a:xfrm>
              </p:grpSpPr>
              <p:sp>
                <p:nvSpPr>
                  <p:cNvPr id="7068" name="Freeform: Shape 7067">
                    <a:extLst>
                      <a:ext uri="{FF2B5EF4-FFF2-40B4-BE49-F238E27FC236}">
                        <a16:creationId xmlns:a16="http://schemas.microsoft.com/office/drawing/2014/main" id="{7B911BF1-9DB3-DE85-A63F-133DC7431164}"/>
                      </a:ext>
                    </a:extLst>
                  </p:cNvPr>
                  <p:cNvSpPr/>
                  <p:nvPr/>
                </p:nvSpPr>
                <p:spPr>
                  <a:xfrm>
                    <a:off x="624411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69" name="Freeform: Shape 7068">
                    <a:extLst>
                      <a:ext uri="{FF2B5EF4-FFF2-40B4-BE49-F238E27FC236}">
                        <a16:creationId xmlns:a16="http://schemas.microsoft.com/office/drawing/2014/main" id="{5ED3F6F7-AB9E-471C-66CC-141A9301365B}"/>
                      </a:ext>
                    </a:extLst>
                  </p:cNvPr>
                  <p:cNvSpPr/>
                  <p:nvPr/>
                </p:nvSpPr>
                <p:spPr>
                  <a:xfrm>
                    <a:off x="6206204"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6" name="Graphic 75">
                  <a:extLst>
                    <a:ext uri="{FF2B5EF4-FFF2-40B4-BE49-F238E27FC236}">
                      <a16:creationId xmlns:a16="http://schemas.microsoft.com/office/drawing/2014/main" id="{8B73DDEB-19E3-3368-EDB5-36F7E77CE6DC}"/>
                    </a:ext>
                  </a:extLst>
                </p:cNvPr>
                <p:cNvGrpSpPr/>
                <p:nvPr/>
              </p:nvGrpSpPr>
              <p:grpSpPr>
                <a:xfrm>
                  <a:off x="6215538" y="3556825"/>
                  <a:ext cx="75723" cy="75723"/>
                  <a:chOff x="6215538" y="3556825"/>
                  <a:chExt cx="75723" cy="75723"/>
                </a:xfrm>
              </p:grpSpPr>
              <p:sp>
                <p:nvSpPr>
                  <p:cNvPr id="7066" name="Freeform: Shape 7065">
                    <a:extLst>
                      <a:ext uri="{FF2B5EF4-FFF2-40B4-BE49-F238E27FC236}">
                        <a16:creationId xmlns:a16="http://schemas.microsoft.com/office/drawing/2014/main" id="{68D32330-11DF-F9D8-5D9C-47DA30A1BCFE}"/>
                      </a:ext>
                    </a:extLst>
                  </p:cNvPr>
                  <p:cNvSpPr/>
                  <p:nvPr/>
                </p:nvSpPr>
                <p:spPr>
                  <a:xfrm>
                    <a:off x="6253353"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67" name="Freeform: Shape 7066">
                    <a:extLst>
                      <a:ext uri="{FF2B5EF4-FFF2-40B4-BE49-F238E27FC236}">
                        <a16:creationId xmlns:a16="http://schemas.microsoft.com/office/drawing/2014/main" id="{61B64117-B5EC-8795-66C9-9C67521BD5E4}"/>
                      </a:ext>
                    </a:extLst>
                  </p:cNvPr>
                  <p:cNvSpPr/>
                  <p:nvPr/>
                </p:nvSpPr>
                <p:spPr>
                  <a:xfrm>
                    <a:off x="6215538"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7" name="Graphic 75">
                  <a:extLst>
                    <a:ext uri="{FF2B5EF4-FFF2-40B4-BE49-F238E27FC236}">
                      <a16:creationId xmlns:a16="http://schemas.microsoft.com/office/drawing/2014/main" id="{6B5903D4-8CEB-5AEE-4195-3B89992C4F5F}"/>
                    </a:ext>
                  </a:extLst>
                </p:cNvPr>
                <p:cNvGrpSpPr/>
                <p:nvPr/>
              </p:nvGrpSpPr>
              <p:grpSpPr>
                <a:xfrm>
                  <a:off x="6228016" y="3556825"/>
                  <a:ext cx="75723" cy="75723"/>
                  <a:chOff x="6228016" y="3556825"/>
                  <a:chExt cx="75723" cy="75723"/>
                </a:xfrm>
              </p:grpSpPr>
              <p:sp>
                <p:nvSpPr>
                  <p:cNvPr id="7064" name="Freeform: Shape 7063">
                    <a:extLst>
                      <a:ext uri="{FF2B5EF4-FFF2-40B4-BE49-F238E27FC236}">
                        <a16:creationId xmlns:a16="http://schemas.microsoft.com/office/drawing/2014/main" id="{6EDE079B-5252-24F5-F62D-2DB0343483A6}"/>
                      </a:ext>
                    </a:extLst>
                  </p:cNvPr>
                  <p:cNvSpPr/>
                  <p:nvPr/>
                </p:nvSpPr>
                <p:spPr>
                  <a:xfrm>
                    <a:off x="6265830"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65" name="Freeform: Shape 7064">
                    <a:extLst>
                      <a:ext uri="{FF2B5EF4-FFF2-40B4-BE49-F238E27FC236}">
                        <a16:creationId xmlns:a16="http://schemas.microsoft.com/office/drawing/2014/main" id="{149F2818-D12E-82A9-2DFA-5D68F963AB0A}"/>
                      </a:ext>
                    </a:extLst>
                  </p:cNvPr>
                  <p:cNvSpPr/>
                  <p:nvPr/>
                </p:nvSpPr>
                <p:spPr>
                  <a:xfrm>
                    <a:off x="6228016"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8" name="Graphic 75">
                  <a:extLst>
                    <a:ext uri="{FF2B5EF4-FFF2-40B4-BE49-F238E27FC236}">
                      <a16:creationId xmlns:a16="http://schemas.microsoft.com/office/drawing/2014/main" id="{F21B5A0B-D2D5-4F5D-5D62-C908F001820D}"/>
                    </a:ext>
                  </a:extLst>
                </p:cNvPr>
                <p:cNvGrpSpPr/>
                <p:nvPr/>
              </p:nvGrpSpPr>
              <p:grpSpPr>
                <a:xfrm>
                  <a:off x="6246399" y="3556825"/>
                  <a:ext cx="75628" cy="75723"/>
                  <a:chOff x="6246399" y="3556825"/>
                  <a:chExt cx="75628" cy="75723"/>
                </a:xfrm>
              </p:grpSpPr>
              <p:sp>
                <p:nvSpPr>
                  <p:cNvPr id="7062" name="Freeform: Shape 7061">
                    <a:extLst>
                      <a:ext uri="{FF2B5EF4-FFF2-40B4-BE49-F238E27FC236}">
                        <a16:creationId xmlns:a16="http://schemas.microsoft.com/office/drawing/2014/main" id="{E294DB9B-A5C9-2DB6-CDF2-439A9C4FB337}"/>
                      </a:ext>
                    </a:extLst>
                  </p:cNvPr>
                  <p:cNvSpPr/>
                  <p:nvPr/>
                </p:nvSpPr>
                <p:spPr>
                  <a:xfrm>
                    <a:off x="628421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63" name="Freeform: Shape 7062">
                    <a:extLst>
                      <a:ext uri="{FF2B5EF4-FFF2-40B4-BE49-F238E27FC236}">
                        <a16:creationId xmlns:a16="http://schemas.microsoft.com/office/drawing/2014/main" id="{A437709B-C804-A5F4-D5BE-E2C1BA879431}"/>
                      </a:ext>
                    </a:extLst>
                  </p:cNvPr>
                  <p:cNvSpPr/>
                  <p:nvPr/>
                </p:nvSpPr>
                <p:spPr>
                  <a:xfrm>
                    <a:off x="6246399" y="35946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999" name="Graphic 75">
                  <a:extLst>
                    <a:ext uri="{FF2B5EF4-FFF2-40B4-BE49-F238E27FC236}">
                      <a16:creationId xmlns:a16="http://schemas.microsoft.com/office/drawing/2014/main" id="{3BB2FCD4-A7FB-1975-2398-430BAFA894A1}"/>
                    </a:ext>
                  </a:extLst>
                </p:cNvPr>
                <p:cNvGrpSpPr/>
                <p:nvPr/>
              </p:nvGrpSpPr>
              <p:grpSpPr>
                <a:xfrm>
                  <a:off x="6313741" y="3556825"/>
                  <a:ext cx="75723" cy="75723"/>
                  <a:chOff x="6313741" y="3556825"/>
                  <a:chExt cx="75723" cy="75723"/>
                </a:xfrm>
              </p:grpSpPr>
              <p:sp>
                <p:nvSpPr>
                  <p:cNvPr id="7060" name="Freeform: Shape 7059">
                    <a:extLst>
                      <a:ext uri="{FF2B5EF4-FFF2-40B4-BE49-F238E27FC236}">
                        <a16:creationId xmlns:a16="http://schemas.microsoft.com/office/drawing/2014/main" id="{C03418C1-B4E8-F6F5-9F58-7E2263A2CE53}"/>
                      </a:ext>
                    </a:extLst>
                  </p:cNvPr>
                  <p:cNvSpPr/>
                  <p:nvPr/>
                </p:nvSpPr>
                <p:spPr>
                  <a:xfrm>
                    <a:off x="6351651"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61" name="Freeform: Shape 7060">
                    <a:extLst>
                      <a:ext uri="{FF2B5EF4-FFF2-40B4-BE49-F238E27FC236}">
                        <a16:creationId xmlns:a16="http://schemas.microsoft.com/office/drawing/2014/main" id="{2978D62A-F241-8468-BD65-E2DA8160CD8B}"/>
                      </a:ext>
                    </a:extLst>
                  </p:cNvPr>
                  <p:cNvSpPr/>
                  <p:nvPr/>
                </p:nvSpPr>
                <p:spPr>
                  <a:xfrm>
                    <a:off x="6313741" y="35946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0" name="Graphic 75">
                  <a:extLst>
                    <a:ext uri="{FF2B5EF4-FFF2-40B4-BE49-F238E27FC236}">
                      <a16:creationId xmlns:a16="http://schemas.microsoft.com/office/drawing/2014/main" id="{DDEF6526-4789-D998-AC51-DF265F822FFB}"/>
                    </a:ext>
                  </a:extLst>
                </p:cNvPr>
                <p:cNvGrpSpPr/>
                <p:nvPr/>
              </p:nvGrpSpPr>
              <p:grpSpPr>
                <a:xfrm>
                  <a:off x="6301930" y="3556825"/>
                  <a:ext cx="75628" cy="75723"/>
                  <a:chOff x="6301930" y="3556825"/>
                  <a:chExt cx="75628" cy="75723"/>
                </a:xfrm>
              </p:grpSpPr>
              <p:sp>
                <p:nvSpPr>
                  <p:cNvPr id="7058" name="Freeform: Shape 7057">
                    <a:extLst>
                      <a:ext uri="{FF2B5EF4-FFF2-40B4-BE49-F238E27FC236}">
                        <a16:creationId xmlns:a16="http://schemas.microsoft.com/office/drawing/2014/main" id="{491FD731-4C6C-5D29-DC37-87C94F9872DA}"/>
                      </a:ext>
                    </a:extLst>
                  </p:cNvPr>
                  <p:cNvSpPr/>
                  <p:nvPr/>
                </p:nvSpPr>
                <p:spPr>
                  <a:xfrm>
                    <a:off x="6339744" y="355682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59" name="Freeform: Shape 7058">
                    <a:extLst>
                      <a:ext uri="{FF2B5EF4-FFF2-40B4-BE49-F238E27FC236}">
                        <a16:creationId xmlns:a16="http://schemas.microsoft.com/office/drawing/2014/main" id="{7B1906A7-F4C3-7679-EA33-710656606324}"/>
                      </a:ext>
                    </a:extLst>
                  </p:cNvPr>
                  <p:cNvSpPr/>
                  <p:nvPr/>
                </p:nvSpPr>
                <p:spPr>
                  <a:xfrm>
                    <a:off x="6301930" y="35946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1" name="Graphic 75">
                  <a:extLst>
                    <a:ext uri="{FF2B5EF4-FFF2-40B4-BE49-F238E27FC236}">
                      <a16:creationId xmlns:a16="http://schemas.microsoft.com/office/drawing/2014/main" id="{51CEE6AC-4EDE-C810-419E-9835DFC2FB3F}"/>
                    </a:ext>
                  </a:extLst>
                </p:cNvPr>
                <p:cNvGrpSpPr/>
                <p:nvPr/>
              </p:nvGrpSpPr>
              <p:grpSpPr>
                <a:xfrm>
                  <a:off x="6816185" y="3647979"/>
                  <a:ext cx="75723" cy="75723"/>
                  <a:chOff x="6816185" y="3647979"/>
                  <a:chExt cx="75723" cy="75723"/>
                </a:xfrm>
              </p:grpSpPr>
              <p:sp>
                <p:nvSpPr>
                  <p:cNvPr id="7056" name="Freeform: Shape 7055">
                    <a:extLst>
                      <a:ext uri="{FF2B5EF4-FFF2-40B4-BE49-F238E27FC236}">
                        <a16:creationId xmlns:a16="http://schemas.microsoft.com/office/drawing/2014/main" id="{C2A2E00D-D55C-A2C7-E874-C7473B1C0769}"/>
                      </a:ext>
                    </a:extLst>
                  </p:cNvPr>
                  <p:cNvSpPr/>
                  <p:nvPr/>
                </p:nvSpPr>
                <p:spPr>
                  <a:xfrm>
                    <a:off x="685409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57" name="Freeform: Shape 7056">
                    <a:extLst>
                      <a:ext uri="{FF2B5EF4-FFF2-40B4-BE49-F238E27FC236}">
                        <a16:creationId xmlns:a16="http://schemas.microsoft.com/office/drawing/2014/main" id="{8E535A53-F48B-A133-D99F-027B8577867E}"/>
                      </a:ext>
                    </a:extLst>
                  </p:cNvPr>
                  <p:cNvSpPr/>
                  <p:nvPr/>
                </p:nvSpPr>
                <p:spPr>
                  <a:xfrm>
                    <a:off x="6816185"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2" name="Graphic 75">
                  <a:extLst>
                    <a:ext uri="{FF2B5EF4-FFF2-40B4-BE49-F238E27FC236}">
                      <a16:creationId xmlns:a16="http://schemas.microsoft.com/office/drawing/2014/main" id="{BDBAE12A-A8C4-D385-8C13-6A0782DD47FF}"/>
                    </a:ext>
                  </a:extLst>
                </p:cNvPr>
                <p:cNvGrpSpPr/>
                <p:nvPr/>
              </p:nvGrpSpPr>
              <p:grpSpPr>
                <a:xfrm>
                  <a:off x="6825519" y="3647979"/>
                  <a:ext cx="75723" cy="75723"/>
                  <a:chOff x="6825519" y="3647979"/>
                  <a:chExt cx="75723" cy="75723"/>
                </a:xfrm>
              </p:grpSpPr>
              <p:sp>
                <p:nvSpPr>
                  <p:cNvPr id="7054" name="Freeform: Shape 7053">
                    <a:extLst>
                      <a:ext uri="{FF2B5EF4-FFF2-40B4-BE49-F238E27FC236}">
                        <a16:creationId xmlns:a16="http://schemas.microsoft.com/office/drawing/2014/main" id="{7EA89D72-53EA-8988-5C76-45FC9E5E68D9}"/>
                      </a:ext>
                    </a:extLst>
                  </p:cNvPr>
                  <p:cNvSpPr/>
                  <p:nvPr/>
                </p:nvSpPr>
                <p:spPr>
                  <a:xfrm>
                    <a:off x="6863429"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55" name="Freeform: Shape 7054">
                    <a:extLst>
                      <a:ext uri="{FF2B5EF4-FFF2-40B4-BE49-F238E27FC236}">
                        <a16:creationId xmlns:a16="http://schemas.microsoft.com/office/drawing/2014/main" id="{01575549-9B91-4D5A-EC31-5E06284BC46D}"/>
                      </a:ext>
                    </a:extLst>
                  </p:cNvPr>
                  <p:cNvSpPr/>
                  <p:nvPr/>
                </p:nvSpPr>
                <p:spPr>
                  <a:xfrm>
                    <a:off x="6825519"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3" name="Graphic 75">
                  <a:extLst>
                    <a:ext uri="{FF2B5EF4-FFF2-40B4-BE49-F238E27FC236}">
                      <a16:creationId xmlns:a16="http://schemas.microsoft.com/office/drawing/2014/main" id="{F6FCE8F2-C225-651D-297B-583A876E79BD}"/>
                    </a:ext>
                  </a:extLst>
                </p:cNvPr>
                <p:cNvGrpSpPr/>
                <p:nvPr/>
              </p:nvGrpSpPr>
              <p:grpSpPr>
                <a:xfrm>
                  <a:off x="6842950" y="3647979"/>
                  <a:ext cx="75723" cy="75723"/>
                  <a:chOff x="6842950" y="3647979"/>
                  <a:chExt cx="75723" cy="75723"/>
                </a:xfrm>
              </p:grpSpPr>
              <p:sp>
                <p:nvSpPr>
                  <p:cNvPr id="7052" name="Freeform: Shape 7051">
                    <a:extLst>
                      <a:ext uri="{FF2B5EF4-FFF2-40B4-BE49-F238E27FC236}">
                        <a16:creationId xmlns:a16="http://schemas.microsoft.com/office/drawing/2014/main" id="{DCD6A9A2-495B-50F2-C6D3-5EFC91AB7248}"/>
                      </a:ext>
                    </a:extLst>
                  </p:cNvPr>
                  <p:cNvSpPr/>
                  <p:nvPr/>
                </p:nvSpPr>
                <p:spPr>
                  <a:xfrm>
                    <a:off x="6880860"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53" name="Freeform: Shape 7052">
                    <a:extLst>
                      <a:ext uri="{FF2B5EF4-FFF2-40B4-BE49-F238E27FC236}">
                        <a16:creationId xmlns:a16="http://schemas.microsoft.com/office/drawing/2014/main" id="{FAE208C3-470C-DD1A-4FEC-4BFB9A4D3C1D}"/>
                      </a:ext>
                    </a:extLst>
                  </p:cNvPr>
                  <p:cNvSpPr/>
                  <p:nvPr/>
                </p:nvSpPr>
                <p:spPr>
                  <a:xfrm>
                    <a:off x="6842950" y="36858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4" name="Graphic 75">
                  <a:extLst>
                    <a:ext uri="{FF2B5EF4-FFF2-40B4-BE49-F238E27FC236}">
                      <a16:creationId xmlns:a16="http://schemas.microsoft.com/office/drawing/2014/main" id="{F2FD192A-F8CF-1A7B-0CA8-D151FD2D86E7}"/>
                    </a:ext>
                  </a:extLst>
                </p:cNvPr>
                <p:cNvGrpSpPr/>
                <p:nvPr/>
              </p:nvGrpSpPr>
              <p:grpSpPr>
                <a:xfrm>
                  <a:off x="6880860" y="3647979"/>
                  <a:ext cx="75628" cy="75723"/>
                  <a:chOff x="6880860" y="3647979"/>
                  <a:chExt cx="75628" cy="75723"/>
                </a:xfrm>
              </p:grpSpPr>
              <p:sp>
                <p:nvSpPr>
                  <p:cNvPr id="7050" name="Freeform: Shape 7049">
                    <a:extLst>
                      <a:ext uri="{FF2B5EF4-FFF2-40B4-BE49-F238E27FC236}">
                        <a16:creationId xmlns:a16="http://schemas.microsoft.com/office/drawing/2014/main" id="{46893E45-05D9-2478-18A5-2F5098CA45F5}"/>
                      </a:ext>
                    </a:extLst>
                  </p:cNvPr>
                  <p:cNvSpPr/>
                  <p:nvPr/>
                </p:nvSpPr>
                <p:spPr>
                  <a:xfrm>
                    <a:off x="6918674" y="364797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51" name="Freeform: Shape 7050">
                    <a:extLst>
                      <a:ext uri="{FF2B5EF4-FFF2-40B4-BE49-F238E27FC236}">
                        <a16:creationId xmlns:a16="http://schemas.microsoft.com/office/drawing/2014/main" id="{CEE80E01-ED96-B22A-A521-1D7D811B5577}"/>
                      </a:ext>
                    </a:extLst>
                  </p:cNvPr>
                  <p:cNvSpPr/>
                  <p:nvPr/>
                </p:nvSpPr>
                <p:spPr>
                  <a:xfrm>
                    <a:off x="6880860" y="368588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5" name="Graphic 75">
                  <a:extLst>
                    <a:ext uri="{FF2B5EF4-FFF2-40B4-BE49-F238E27FC236}">
                      <a16:creationId xmlns:a16="http://schemas.microsoft.com/office/drawing/2014/main" id="{DF09757C-0199-078C-4204-D614186C9434}"/>
                    </a:ext>
                  </a:extLst>
                </p:cNvPr>
                <p:cNvGrpSpPr/>
                <p:nvPr/>
              </p:nvGrpSpPr>
              <p:grpSpPr>
                <a:xfrm>
                  <a:off x="6975157" y="3703605"/>
                  <a:ext cx="75723" cy="75628"/>
                  <a:chOff x="6975157" y="3703605"/>
                  <a:chExt cx="75723" cy="75628"/>
                </a:xfrm>
              </p:grpSpPr>
              <p:sp>
                <p:nvSpPr>
                  <p:cNvPr id="7048" name="Freeform: Shape 7047">
                    <a:extLst>
                      <a:ext uri="{FF2B5EF4-FFF2-40B4-BE49-F238E27FC236}">
                        <a16:creationId xmlns:a16="http://schemas.microsoft.com/office/drawing/2014/main" id="{6304C912-A826-D829-7572-A0B19E8E088D}"/>
                      </a:ext>
                    </a:extLst>
                  </p:cNvPr>
                  <p:cNvSpPr/>
                  <p:nvPr/>
                </p:nvSpPr>
                <p:spPr>
                  <a:xfrm>
                    <a:off x="7013067"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49" name="Freeform: Shape 7048">
                    <a:extLst>
                      <a:ext uri="{FF2B5EF4-FFF2-40B4-BE49-F238E27FC236}">
                        <a16:creationId xmlns:a16="http://schemas.microsoft.com/office/drawing/2014/main" id="{53C336BD-548B-62E8-0E83-8252131C543A}"/>
                      </a:ext>
                    </a:extLst>
                  </p:cNvPr>
                  <p:cNvSpPr/>
                  <p:nvPr/>
                </p:nvSpPr>
                <p:spPr>
                  <a:xfrm>
                    <a:off x="6975157"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6" name="Graphic 75">
                  <a:extLst>
                    <a:ext uri="{FF2B5EF4-FFF2-40B4-BE49-F238E27FC236}">
                      <a16:creationId xmlns:a16="http://schemas.microsoft.com/office/drawing/2014/main" id="{C7B75B75-FF21-7BD7-1E91-42D9BA4A6304}"/>
                    </a:ext>
                  </a:extLst>
                </p:cNvPr>
                <p:cNvGrpSpPr/>
                <p:nvPr/>
              </p:nvGrpSpPr>
              <p:grpSpPr>
                <a:xfrm>
                  <a:off x="7026021" y="3703605"/>
                  <a:ext cx="75723" cy="75628"/>
                  <a:chOff x="7026021" y="3703605"/>
                  <a:chExt cx="75723" cy="75628"/>
                </a:xfrm>
              </p:grpSpPr>
              <p:sp>
                <p:nvSpPr>
                  <p:cNvPr id="7046" name="Freeform: Shape 7045">
                    <a:extLst>
                      <a:ext uri="{FF2B5EF4-FFF2-40B4-BE49-F238E27FC236}">
                        <a16:creationId xmlns:a16="http://schemas.microsoft.com/office/drawing/2014/main" id="{A9FCC165-2FD5-02E0-19C4-5158EEB8BC98}"/>
                      </a:ext>
                    </a:extLst>
                  </p:cNvPr>
                  <p:cNvSpPr/>
                  <p:nvPr/>
                </p:nvSpPr>
                <p:spPr>
                  <a:xfrm>
                    <a:off x="706393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47" name="Freeform: Shape 7046">
                    <a:extLst>
                      <a:ext uri="{FF2B5EF4-FFF2-40B4-BE49-F238E27FC236}">
                        <a16:creationId xmlns:a16="http://schemas.microsoft.com/office/drawing/2014/main" id="{AA7E710E-7515-84E6-378D-A98B0947757A}"/>
                      </a:ext>
                    </a:extLst>
                  </p:cNvPr>
                  <p:cNvSpPr/>
                  <p:nvPr/>
                </p:nvSpPr>
                <p:spPr>
                  <a:xfrm>
                    <a:off x="7026021"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7" name="Graphic 75">
                  <a:extLst>
                    <a:ext uri="{FF2B5EF4-FFF2-40B4-BE49-F238E27FC236}">
                      <a16:creationId xmlns:a16="http://schemas.microsoft.com/office/drawing/2014/main" id="{A975CAD0-2291-12B1-8A75-7C007C0D91B4}"/>
                    </a:ext>
                  </a:extLst>
                </p:cNvPr>
                <p:cNvGrpSpPr/>
                <p:nvPr/>
              </p:nvGrpSpPr>
              <p:grpSpPr>
                <a:xfrm>
                  <a:off x="7001446" y="3703605"/>
                  <a:ext cx="75723" cy="75628"/>
                  <a:chOff x="7001446" y="3703605"/>
                  <a:chExt cx="75723" cy="75628"/>
                </a:xfrm>
              </p:grpSpPr>
              <p:sp>
                <p:nvSpPr>
                  <p:cNvPr id="7044" name="Freeform: Shape 7043">
                    <a:extLst>
                      <a:ext uri="{FF2B5EF4-FFF2-40B4-BE49-F238E27FC236}">
                        <a16:creationId xmlns:a16="http://schemas.microsoft.com/office/drawing/2014/main" id="{5737A8AC-17C7-EF60-E28F-AAEA7C2276DE}"/>
                      </a:ext>
                    </a:extLst>
                  </p:cNvPr>
                  <p:cNvSpPr/>
                  <p:nvPr/>
                </p:nvSpPr>
                <p:spPr>
                  <a:xfrm>
                    <a:off x="7039260" y="370360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45" name="Freeform: Shape 7044">
                    <a:extLst>
                      <a:ext uri="{FF2B5EF4-FFF2-40B4-BE49-F238E27FC236}">
                        <a16:creationId xmlns:a16="http://schemas.microsoft.com/office/drawing/2014/main" id="{607DEDA3-0583-A5E2-9A54-202EF767D002}"/>
                      </a:ext>
                    </a:extLst>
                  </p:cNvPr>
                  <p:cNvSpPr/>
                  <p:nvPr/>
                </p:nvSpPr>
                <p:spPr>
                  <a:xfrm>
                    <a:off x="7001446" y="374142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8" name="Graphic 75">
                  <a:extLst>
                    <a:ext uri="{FF2B5EF4-FFF2-40B4-BE49-F238E27FC236}">
                      <a16:creationId xmlns:a16="http://schemas.microsoft.com/office/drawing/2014/main" id="{108A8E1F-15A9-AE1B-9036-74B2DF79CA6F}"/>
                    </a:ext>
                  </a:extLst>
                </p:cNvPr>
                <p:cNvGrpSpPr/>
                <p:nvPr/>
              </p:nvGrpSpPr>
              <p:grpSpPr>
                <a:xfrm>
                  <a:off x="7178040" y="3766280"/>
                  <a:ext cx="75723" cy="75628"/>
                  <a:chOff x="7178040" y="3766280"/>
                  <a:chExt cx="75723" cy="75628"/>
                </a:xfrm>
              </p:grpSpPr>
              <p:sp>
                <p:nvSpPr>
                  <p:cNvPr id="7042" name="Freeform: Shape 7041">
                    <a:extLst>
                      <a:ext uri="{FF2B5EF4-FFF2-40B4-BE49-F238E27FC236}">
                        <a16:creationId xmlns:a16="http://schemas.microsoft.com/office/drawing/2014/main" id="{77614B68-865F-B109-F7FB-1B7AFB83EDDE}"/>
                      </a:ext>
                    </a:extLst>
                  </p:cNvPr>
                  <p:cNvSpPr/>
                  <p:nvPr/>
                </p:nvSpPr>
                <p:spPr>
                  <a:xfrm>
                    <a:off x="721585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43" name="Freeform: Shape 7042">
                    <a:extLst>
                      <a:ext uri="{FF2B5EF4-FFF2-40B4-BE49-F238E27FC236}">
                        <a16:creationId xmlns:a16="http://schemas.microsoft.com/office/drawing/2014/main" id="{0F5AFE6C-6ADA-8753-1FFF-29D402AC9D5E}"/>
                      </a:ext>
                    </a:extLst>
                  </p:cNvPr>
                  <p:cNvSpPr/>
                  <p:nvPr/>
                </p:nvSpPr>
                <p:spPr>
                  <a:xfrm>
                    <a:off x="71780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09" name="Graphic 75">
                  <a:extLst>
                    <a:ext uri="{FF2B5EF4-FFF2-40B4-BE49-F238E27FC236}">
                      <a16:creationId xmlns:a16="http://schemas.microsoft.com/office/drawing/2014/main" id="{D0555C1C-294E-AE86-441B-D3A3DE3ED5C6}"/>
                    </a:ext>
                  </a:extLst>
                </p:cNvPr>
                <p:cNvGrpSpPr/>
                <p:nvPr/>
              </p:nvGrpSpPr>
              <p:grpSpPr>
                <a:xfrm>
                  <a:off x="7186231" y="3766280"/>
                  <a:ext cx="75723" cy="75628"/>
                  <a:chOff x="7186231" y="3766280"/>
                  <a:chExt cx="75723" cy="75628"/>
                </a:xfrm>
              </p:grpSpPr>
              <p:sp>
                <p:nvSpPr>
                  <p:cNvPr id="7040" name="Freeform: Shape 7039">
                    <a:extLst>
                      <a:ext uri="{FF2B5EF4-FFF2-40B4-BE49-F238E27FC236}">
                        <a16:creationId xmlns:a16="http://schemas.microsoft.com/office/drawing/2014/main" id="{B9402E88-4B2B-BD55-E4EB-8BDD584F6C72}"/>
                      </a:ext>
                    </a:extLst>
                  </p:cNvPr>
                  <p:cNvSpPr/>
                  <p:nvPr/>
                </p:nvSpPr>
                <p:spPr>
                  <a:xfrm>
                    <a:off x="7224141"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41" name="Freeform: Shape 7040">
                    <a:extLst>
                      <a:ext uri="{FF2B5EF4-FFF2-40B4-BE49-F238E27FC236}">
                        <a16:creationId xmlns:a16="http://schemas.microsoft.com/office/drawing/2014/main" id="{3D20C7ED-F778-32C5-CB42-93A8607A1808}"/>
                      </a:ext>
                    </a:extLst>
                  </p:cNvPr>
                  <p:cNvSpPr/>
                  <p:nvPr/>
                </p:nvSpPr>
                <p:spPr>
                  <a:xfrm>
                    <a:off x="7186231"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0" name="Graphic 75">
                  <a:extLst>
                    <a:ext uri="{FF2B5EF4-FFF2-40B4-BE49-F238E27FC236}">
                      <a16:creationId xmlns:a16="http://schemas.microsoft.com/office/drawing/2014/main" id="{5A7622FF-FBB5-5ABA-9454-379446465B5C}"/>
                    </a:ext>
                  </a:extLst>
                </p:cNvPr>
                <p:cNvGrpSpPr/>
                <p:nvPr/>
              </p:nvGrpSpPr>
              <p:grpSpPr>
                <a:xfrm>
                  <a:off x="7235475" y="3766280"/>
                  <a:ext cx="75723" cy="75628"/>
                  <a:chOff x="7235475" y="3766280"/>
                  <a:chExt cx="75723" cy="75628"/>
                </a:xfrm>
              </p:grpSpPr>
              <p:sp>
                <p:nvSpPr>
                  <p:cNvPr id="7038" name="Freeform: Shape 7037">
                    <a:extLst>
                      <a:ext uri="{FF2B5EF4-FFF2-40B4-BE49-F238E27FC236}">
                        <a16:creationId xmlns:a16="http://schemas.microsoft.com/office/drawing/2014/main" id="{26BD103A-8B6D-6239-8C78-B1F5CEC00A47}"/>
                      </a:ext>
                    </a:extLst>
                  </p:cNvPr>
                  <p:cNvSpPr/>
                  <p:nvPr/>
                </p:nvSpPr>
                <p:spPr>
                  <a:xfrm>
                    <a:off x="7273385"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39" name="Freeform: Shape 7038">
                    <a:extLst>
                      <a:ext uri="{FF2B5EF4-FFF2-40B4-BE49-F238E27FC236}">
                        <a16:creationId xmlns:a16="http://schemas.microsoft.com/office/drawing/2014/main" id="{D41C8617-02D3-330D-50EB-8555E8B2191D}"/>
                      </a:ext>
                    </a:extLst>
                  </p:cNvPr>
                  <p:cNvSpPr/>
                  <p:nvPr/>
                </p:nvSpPr>
                <p:spPr>
                  <a:xfrm>
                    <a:off x="7235475"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1" name="Graphic 75">
                  <a:extLst>
                    <a:ext uri="{FF2B5EF4-FFF2-40B4-BE49-F238E27FC236}">
                      <a16:creationId xmlns:a16="http://schemas.microsoft.com/office/drawing/2014/main" id="{851F2FDF-3601-CE31-5920-2C59D1C14FA5}"/>
                    </a:ext>
                  </a:extLst>
                </p:cNvPr>
                <p:cNvGrpSpPr/>
                <p:nvPr/>
              </p:nvGrpSpPr>
              <p:grpSpPr>
                <a:xfrm>
                  <a:off x="7245858" y="3766280"/>
                  <a:ext cx="75628" cy="75628"/>
                  <a:chOff x="7245858" y="3766280"/>
                  <a:chExt cx="75628" cy="75628"/>
                </a:xfrm>
              </p:grpSpPr>
              <p:sp>
                <p:nvSpPr>
                  <p:cNvPr id="7036" name="Freeform: Shape 7035">
                    <a:extLst>
                      <a:ext uri="{FF2B5EF4-FFF2-40B4-BE49-F238E27FC236}">
                        <a16:creationId xmlns:a16="http://schemas.microsoft.com/office/drawing/2014/main" id="{2D78F236-4731-F9AC-9299-2610100E820E}"/>
                      </a:ext>
                    </a:extLst>
                  </p:cNvPr>
                  <p:cNvSpPr/>
                  <p:nvPr/>
                </p:nvSpPr>
                <p:spPr>
                  <a:xfrm>
                    <a:off x="728367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37" name="Freeform: Shape 7036">
                    <a:extLst>
                      <a:ext uri="{FF2B5EF4-FFF2-40B4-BE49-F238E27FC236}">
                        <a16:creationId xmlns:a16="http://schemas.microsoft.com/office/drawing/2014/main" id="{B0BED543-A9C2-3641-3ACB-835F8534F4B8}"/>
                      </a:ext>
                    </a:extLst>
                  </p:cNvPr>
                  <p:cNvSpPr/>
                  <p:nvPr/>
                </p:nvSpPr>
                <p:spPr>
                  <a:xfrm>
                    <a:off x="7245858"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2" name="Graphic 75">
                  <a:extLst>
                    <a:ext uri="{FF2B5EF4-FFF2-40B4-BE49-F238E27FC236}">
                      <a16:creationId xmlns:a16="http://schemas.microsoft.com/office/drawing/2014/main" id="{899E871C-9613-A33F-BD1C-8AFF0C9EE766}"/>
                    </a:ext>
                  </a:extLst>
                </p:cNvPr>
                <p:cNvGrpSpPr/>
                <p:nvPr/>
              </p:nvGrpSpPr>
              <p:grpSpPr>
                <a:xfrm>
                  <a:off x="7301769" y="3766280"/>
                  <a:ext cx="75723" cy="75628"/>
                  <a:chOff x="7301769" y="3766280"/>
                  <a:chExt cx="75723" cy="75628"/>
                </a:xfrm>
              </p:grpSpPr>
              <p:sp>
                <p:nvSpPr>
                  <p:cNvPr id="7034" name="Freeform: Shape 7033">
                    <a:extLst>
                      <a:ext uri="{FF2B5EF4-FFF2-40B4-BE49-F238E27FC236}">
                        <a16:creationId xmlns:a16="http://schemas.microsoft.com/office/drawing/2014/main" id="{0C188FC7-4038-110D-D2E0-DF4A542019FE}"/>
                      </a:ext>
                    </a:extLst>
                  </p:cNvPr>
                  <p:cNvSpPr/>
                  <p:nvPr/>
                </p:nvSpPr>
                <p:spPr>
                  <a:xfrm>
                    <a:off x="733958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35" name="Freeform: Shape 7034">
                    <a:extLst>
                      <a:ext uri="{FF2B5EF4-FFF2-40B4-BE49-F238E27FC236}">
                        <a16:creationId xmlns:a16="http://schemas.microsoft.com/office/drawing/2014/main" id="{D20670CD-D9FC-79EA-FEDF-1605EB1217D2}"/>
                      </a:ext>
                    </a:extLst>
                  </p:cNvPr>
                  <p:cNvSpPr/>
                  <p:nvPr/>
                </p:nvSpPr>
                <p:spPr>
                  <a:xfrm>
                    <a:off x="7301769"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3" name="Graphic 75">
                  <a:extLst>
                    <a:ext uri="{FF2B5EF4-FFF2-40B4-BE49-F238E27FC236}">
                      <a16:creationId xmlns:a16="http://schemas.microsoft.com/office/drawing/2014/main" id="{3ECC4F50-7CEB-6913-3B33-B7046259D738}"/>
                    </a:ext>
                  </a:extLst>
                </p:cNvPr>
                <p:cNvGrpSpPr/>
                <p:nvPr/>
              </p:nvGrpSpPr>
              <p:grpSpPr>
                <a:xfrm>
                  <a:off x="7322724" y="3766280"/>
                  <a:ext cx="75723" cy="75628"/>
                  <a:chOff x="7322724" y="3766280"/>
                  <a:chExt cx="75723" cy="75628"/>
                </a:xfrm>
              </p:grpSpPr>
              <p:sp>
                <p:nvSpPr>
                  <p:cNvPr id="7032" name="Freeform: Shape 7031">
                    <a:extLst>
                      <a:ext uri="{FF2B5EF4-FFF2-40B4-BE49-F238E27FC236}">
                        <a16:creationId xmlns:a16="http://schemas.microsoft.com/office/drawing/2014/main" id="{C100F7E0-F136-7337-A1CD-36C040C83E57}"/>
                      </a:ext>
                    </a:extLst>
                  </p:cNvPr>
                  <p:cNvSpPr/>
                  <p:nvPr/>
                </p:nvSpPr>
                <p:spPr>
                  <a:xfrm>
                    <a:off x="7360634"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33" name="Freeform: Shape 7032">
                    <a:extLst>
                      <a:ext uri="{FF2B5EF4-FFF2-40B4-BE49-F238E27FC236}">
                        <a16:creationId xmlns:a16="http://schemas.microsoft.com/office/drawing/2014/main" id="{B8DAB26B-97DC-3684-A2FA-1B227AC9899F}"/>
                      </a:ext>
                    </a:extLst>
                  </p:cNvPr>
                  <p:cNvSpPr/>
                  <p:nvPr/>
                </p:nvSpPr>
                <p:spPr>
                  <a:xfrm>
                    <a:off x="7322724"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4" name="Graphic 75">
                  <a:extLst>
                    <a:ext uri="{FF2B5EF4-FFF2-40B4-BE49-F238E27FC236}">
                      <a16:creationId xmlns:a16="http://schemas.microsoft.com/office/drawing/2014/main" id="{D388F3FF-CF93-4675-11A3-8BA007DB93AB}"/>
                    </a:ext>
                  </a:extLst>
                </p:cNvPr>
                <p:cNvGrpSpPr/>
                <p:nvPr/>
              </p:nvGrpSpPr>
              <p:grpSpPr>
                <a:xfrm>
                  <a:off x="7361967" y="3766280"/>
                  <a:ext cx="75723" cy="75628"/>
                  <a:chOff x="7361967" y="3766280"/>
                  <a:chExt cx="75723" cy="75628"/>
                </a:xfrm>
              </p:grpSpPr>
              <p:sp>
                <p:nvSpPr>
                  <p:cNvPr id="7030" name="Freeform: Shape 7029">
                    <a:extLst>
                      <a:ext uri="{FF2B5EF4-FFF2-40B4-BE49-F238E27FC236}">
                        <a16:creationId xmlns:a16="http://schemas.microsoft.com/office/drawing/2014/main" id="{17883ED5-7B36-0895-A977-A4B2F1600415}"/>
                      </a:ext>
                    </a:extLst>
                  </p:cNvPr>
                  <p:cNvSpPr/>
                  <p:nvPr/>
                </p:nvSpPr>
                <p:spPr>
                  <a:xfrm>
                    <a:off x="739978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31" name="Freeform: Shape 7030">
                    <a:extLst>
                      <a:ext uri="{FF2B5EF4-FFF2-40B4-BE49-F238E27FC236}">
                        <a16:creationId xmlns:a16="http://schemas.microsoft.com/office/drawing/2014/main" id="{78E968F8-D965-F612-058E-317C5D6B38F4}"/>
                      </a:ext>
                    </a:extLst>
                  </p:cNvPr>
                  <p:cNvSpPr/>
                  <p:nvPr/>
                </p:nvSpPr>
                <p:spPr>
                  <a:xfrm>
                    <a:off x="7361967"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5" name="Graphic 75">
                  <a:extLst>
                    <a:ext uri="{FF2B5EF4-FFF2-40B4-BE49-F238E27FC236}">
                      <a16:creationId xmlns:a16="http://schemas.microsoft.com/office/drawing/2014/main" id="{D77D1D3A-DE4C-AB10-5E1B-66F1A22CFC25}"/>
                    </a:ext>
                  </a:extLst>
                </p:cNvPr>
                <p:cNvGrpSpPr/>
                <p:nvPr/>
              </p:nvGrpSpPr>
              <p:grpSpPr>
                <a:xfrm>
                  <a:off x="7413688" y="3766280"/>
                  <a:ext cx="75628" cy="75628"/>
                  <a:chOff x="7413688" y="3766280"/>
                  <a:chExt cx="75628" cy="75628"/>
                </a:xfrm>
              </p:grpSpPr>
              <p:sp>
                <p:nvSpPr>
                  <p:cNvPr id="7028" name="Freeform: Shape 7027">
                    <a:extLst>
                      <a:ext uri="{FF2B5EF4-FFF2-40B4-BE49-F238E27FC236}">
                        <a16:creationId xmlns:a16="http://schemas.microsoft.com/office/drawing/2014/main" id="{C30874A6-6382-35FD-C5CF-6BFE57CD20E4}"/>
                      </a:ext>
                    </a:extLst>
                  </p:cNvPr>
                  <p:cNvSpPr/>
                  <p:nvPr/>
                </p:nvSpPr>
                <p:spPr>
                  <a:xfrm>
                    <a:off x="7451502"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29" name="Freeform: Shape 7028">
                    <a:extLst>
                      <a:ext uri="{FF2B5EF4-FFF2-40B4-BE49-F238E27FC236}">
                        <a16:creationId xmlns:a16="http://schemas.microsoft.com/office/drawing/2014/main" id="{876C0522-DF28-20EF-2B2B-872EDD0361A7}"/>
                      </a:ext>
                    </a:extLst>
                  </p:cNvPr>
                  <p:cNvSpPr/>
                  <p:nvPr/>
                </p:nvSpPr>
                <p:spPr>
                  <a:xfrm>
                    <a:off x="7413688" y="38040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6" name="Graphic 75">
                  <a:extLst>
                    <a:ext uri="{FF2B5EF4-FFF2-40B4-BE49-F238E27FC236}">
                      <a16:creationId xmlns:a16="http://schemas.microsoft.com/office/drawing/2014/main" id="{1731FB53-5E65-775E-C598-CF5664042397}"/>
                    </a:ext>
                  </a:extLst>
                </p:cNvPr>
                <p:cNvGrpSpPr/>
                <p:nvPr/>
              </p:nvGrpSpPr>
              <p:grpSpPr>
                <a:xfrm>
                  <a:off x="7433119" y="3766280"/>
                  <a:ext cx="75628" cy="75628"/>
                  <a:chOff x="7433119" y="3766280"/>
                  <a:chExt cx="75628" cy="75628"/>
                </a:xfrm>
              </p:grpSpPr>
              <p:sp>
                <p:nvSpPr>
                  <p:cNvPr id="7026" name="Freeform: Shape 7025">
                    <a:extLst>
                      <a:ext uri="{FF2B5EF4-FFF2-40B4-BE49-F238E27FC236}">
                        <a16:creationId xmlns:a16="http://schemas.microsoft.com/office/drawing/2014/main" id="{C2488C92-4B43-0262-F352-390BA49BB112}"/>
                      </a:ext>
                    </a:extLst>
                  </p:cNvPr>
                  <p:cNvSpPr/>
                  <p:nvPr/>
                </p:nvSpPr>
                <p:spPr>
                  <a:xfrm>
                    <a:off x="7470933"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27" name="Freeform: Shape 7026">
                    <a:extLst>
                      <a:ext uri="{FF2B5EF4-FFF2-40B4-BE49-F238E27FC236}">
                        <a16:creationId xmlns:a16="http://schemas.microsoft.com/office/drawing/2014/main" id="{F25CC34E-939D-D34D-AE53-3BD14ADC3305}"/>
                      </a:ext>
                    </a:extLst>
                  </p:cNvPr>
                  <p:cNvSpPr/>
                  <p:nvPr/>
                </p:nvSpPr>
                <p:spPr>
                  <a:xfrm>
                    <a:off x="7433119" y="3804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7" name="Graphic 75">
                  <a:extLst>
                    <a:ext uri="{FF2B5EF4-FFF2-40B4-BE49-F238E27FC236}">
                      <a16:creationId xmlns:a16="http://schemas.microsoft.com/office/drawing/2014/main" id="{B1ECDF26-1B0C-2864-D1E8-446EF0AAB752}"/>
                    </a:ext>
                  </a:extLst>
                </p:cNvPr>
                <p:cNvGrpSpPr/>
                <p:nvPr/>
              </p:nvGrpSpPr>
              <p:grpSpPr>
                <a:xfrm>
                  <a:off x="7446740" y="3766280"/>
                  <a:ext cx="75723" cy="75628"/>
                  <a:chOff x="7446740" y="3766280"/>
                  <a:chExt cx="75723" cy="75628"/>
                </a:xfrm>
              </p:grpSpPr>
              <p:sp>
                <p:nvSpPr>
                  <p:cNvPr id="7024" name="Freeform: Shape 7023">
                    <a:extLst>
                      <a:ext uri="{FF2B5EF4-FFF2-40B4-BE49-F238E27FC236}">
                        <a16:creationId xmlns:a16="http://schemas.microsoft.com/office/drawing/2014/main" id="{584248E6-A829-94B0-0285-8479ECC0308A}"/>
                      </a:ext>
                    </a:extLst>
                  </p:cNvPr>
                  <p:cNvSpPr/>
                  <p:nvPr/>
                </p:nvSpPr>
                <p:spPr>
                  <a:xfrm>
                    <a:off x="748464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25" name="Freeform: Shape 7024">
                    <a:extLst>
                      <a:ext uri="{FF2B5EF4-FFF2-40B4-BE49-F238E27FC236}">
                        <a16:creationId xmlns:a16="http://schemas.microsoft.com/office/drawing/2014/main" id="{BABD2C97-C7AA-FE45-137B-F86314F245EA}"/>
                      </a:ext>
                    </a:extLst>
                  </p:cNvPr>
                  <p:cNvSpPr/>
                  <p:nvPr/>
                </p:nvSpPr>
                <p:spPr>
                  <a:xfrm>
                    <a:off x="744674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8" name="Graphic 75">
                  <a:extLst>
                    <a:ext uri="{FF2B5EF4-FFF2-40B4-BE49-F238E27FC236}">
                      <a16:creationId xmlns:a16="http://schemas.microsoft.com/office/drawing/2014/main" id="{655A15D4-FD72-36C9-4CB5-42303359BE17}"/>
                    </a:ext>
                  </a:extLst>
                </p:cNvPr>
                <p:cNvGrpSpPr/>
                <p:nvPr/>
              </p:nvGrpSpPr>
              <p:grpSpPr>
                <a:xfrm>
                  <a:off x="7456170" y="3766280"/>
                  <a:ext cx="75723" cy="75628"/>
                  <a:chOff x="7456170" y="3766280"/>
                  <a:chExt cx="75723" cy="75628"/>
                </a:xfrm>
              </p:grpSpPr>
              <p:sp>
                <p:nvSpPr>
                  <p:cNvPr id="7022" name="Freeform: Shape 7021">
                    <a:extLst>
                      <a:ext uri="{FF2B5EF4-FFF2-40B4-BE49-F238E27FC236}">
                        <a16:creationId xmlns:a16="http://schemas.microsoft.com/office/drawing/2014/main" id="{409659E0-C79B-2235-E1EC-4B856C3FB560}"/>
                      </a:ext>
                    </a:extLst>
                  </p:cNvPr>
                  <p:cNvSpPr/>
                  <p:nvPr/>
                </p:nvSpPr>
                <p:spPr>
                  <a:xfrm>
                    <a:off x="7494079" y="3766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23" name="Freeform: Shape 7022">
                    <a:extLst>
                      <a:ext uri="{FF2B5EF4-FFF2-40B4-BE49-F238E27FC236}">
                        <a16:creationId xmlns:a16="http://schemas.microsoft.com/office/drawing/2014/main" id="{64FE9E85-EFDE-F922-CC4E-2DC709324241}"/>
                      </a:ext>
                    </a:extLst>
                  </p:cNvPr>
                  <p:cNvSpPr/>
                  <p:nvPr/>
                </p:nvSpPr>
                <p:spPr>
                  <a:xfrm>
                    <a:off x="7456170" y="3804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7019" name="Graphic 75">
                  <a:extLst>
                    <a:ext uri="{FF2B5EF4-FFF2-40B4-BE49-F238E27FC236}">
                      <a16:creationId xmlns:a16="http://schemas.microsoft.com/office/drawing/2014/main" id="{D8463112-EE64-68F0-8096-E9D0A04C4931}"/>
                    </a:ext>
                  </a:extLst>
                </p:cNvPr>
                <p:cNvGrpSpPr/>
                <p:nvPr/>
              </p:nvGrpSpPr>
              <p:grpSpPr>
                <a:xfrm>
                  <a:off x="7697057" y="3895153"/>
                  <a:ext cx="75723" cy="75723"/>
                  <a:chOff x="7697057" y="3895153"/>
                  <a:chExt cx="75723" cy="75723"/>
                </a:xfrm>
              </p:grpSpPr>
              <p:sp>
                <p:nvSpPr>
                  <p:cNvPr id="7020" name="Freeform: Shape 7019">
                    <a:extLst>
                      <a:ext uri="{FF2B5EF4-FFF2-40B4-BE49-F238E27FC236}">
                        <a16:creationId xmlns:a16="http://schemas.microsoft.com/office/drawing/2014/main" id="{CF4B80DF-3D4A-A460-A47A-7CFEBE27E016}"/>
                      </a:ext>
                    </a:extLst>
                  </p:cNvPr>
                  <p:cNvSpPr/>
                  <p:nvPr/>
                </p:nvSpPr>
                <p:spPr>
                  <a:xfrm>
                    <a:off x="7734871" y="38951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021" name="Freeform: Shape 7020">
                    <a:extLst>
                      <a:ext uri="{FF2B5EF4-FFF2-40B4-BE49-F238E27FC236}">
                        <a16:creationId xmlns:a16="http://schemas.microsoft.com/office/drawing/2014/main" id="{A1FB2CA0-B2AB-8A96-700C-B8B099B2D470}"/>
                      </a:ext>
                    </a:extLst>
                  </p:cNvPr>
                  <p:cNvSpPr/>
                  <p:nvPr/>
                </p:nvSpPr>
                <p:spPr>
                  <a:xfrm>
                    <a:off x="7697057" y="39329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6889" name="Freeform: Shape 6888">
                <a:extLst>
                  <a:ext uri="{FF2B5EF4-FFF2-40B4-BE49-F238E27FC236}">
                    <a16:creationId xmlns:a16="http://schemas.microsoft.com/office/drawing/2014/main" id="{B35A87FE-B2BC-C434-9724-78D4B5265014}"/>
                  </a:ext>
                </a:extLst>
              </p:cNvPr>
              <p:cNvSpPr/>
              <p:nvPr/>
            </p:nvSpPr>
            <p:spPr>
              <a:xfrm>
                <a:off x="3057525" y="2700337"/>
                <a:ext cx="6038469" cy="1424844"/>
              </a:xfrm>
              <a:custGeom>
                <a:avLst/>
                <a:gdLst>
                  <a:gd name="connsiteX0" fmla="*/ 6038469 w 6038469"/>
                  <a:gd name="connsiteY0" fmla="*/ 1424845 h 1424844"/>
                  <a:gd name="connsiteX1" fmla="*/ 4979956 w 6038469"/>
                  <a:gd name="connsiteY1" fmla="*/ 1424845 h 1424844"/>
                  <a:gd name="connsiteX2" fmla="*/ 4979956 w 6038469"/>
                  <a:gd name="connsiteY2" fmla="*/ 1232630 h 1424844"/>
                  <a:gd name="connsiteX3" fmla="*/ 4661631 w 6038469"/>
                  <a:gd name="connsiteY3" fmla="*/ 1232630 h 1424844"/>
                  <a:gd name="connsiteX4" fmla="*/ 4661631 w 6038469"/>
                  <a:gd name="connsiteY4" fmla="*/ 1103757 h 1424844"/>
                  <a:gd name="connsiteX5" fmla="*/ 4092035 w 6038469"/>
                  <a:gd name="connsiteY5" fmla="*/ 1103757 h 1424844"/>
                  <a:gd name="connsiteX6" fmla="*/ 4092035 w 6038469"/>
                  <a:gd name="connsiteY6" fmla="*/ 1041178 h 1424844"/>
                  <a:gd name="connsiteX7" fmla="*/ 3885248 w 6038469"/>
                  <a:gd name="connsiteY7" fmla="*/ 1041178 h 1424844"/>
                  <a:gd name="connsiteX8" fmla="*/ 3885248 w 6038469"/>
                  <a:gd name="connsiteY8" fmla="*/ 985552 h 1424844"/>
                  <a:gd name="connsiteX9" fmla="*/ 3683603 w 6038469"/>
                  <a:gd name="connsiteY9" fmla="*/ 985552 h 1424844"/>
                  <a:gd name="connsiteX10" fmla="*/ 3683603 w 6038469"/>
                  <a:gd name="connsiteY10" fmla="*/ 935641 h 1424844"/>
                  <a:gd name="connsiteX11" fmla="*/ 3310795 w 6038469"/>
                  <a:gd name="connsiteY11" fmla="*/ 935641 h 1424844"/>
                  <a:gd name="connsiteX12" fmla="*/ 3310795 w 6038469"/>
                  <a:gd name="connsiteY12" fmla="*/ 894302 h 1424844"/>
                  <a:gd name="connsiteX13" fmla="*/ 3125915 w 6038469"/>
                  <a:gd name="connsiteY13" fmla="*/ 894302 h 1424844"/>
                  <a:gd name="connsiteX14" fmla="*/ 3125915 w 6038469"/>
                  <a:gd name="connsiteY14" fmla="*/ 862679 h 1424844"/>
                  <a:gd name="connsiteX15" fmla="*/ 3091910 w 6038469"/>
                  <a:gd name="connsiteY15" fmla="*/ 862679 h 1424844"/>
                  <a:gd name="connsiteX16" fmla="*/ 3091910 w 6038469"/>
                  <a:gd name="connsiteY16" fmla="*/ 827437 h 1424844"/>
                  <a:gd name="connsiteX17" fmla="*/ 3058573 w 6038469"/>
                  <a:gd name="connsiteY17" fmla="*/ 827437 h 1424844"/>
                  <a:gd name="connsiteX18" fmla="*/ 3058573 w 6038469"/>
                  <a:gd name="connsiteY18" fmla="*/ 787622 h 1424844"/>
                  <a:gd name="connsiteX19" fmla="*/ 2974562 w 6038469"/>
                  <a:gd name="connsiteY19" fmla="*/ 787622 h 1424844"/>
                  <a:gd name="connsiteX20" fmla="*/ 2974562 w 6038469"/>
                  <a:gd name="connsiteY20" fmla="*/ 758952 h 1424844"/>
                  <a:gd name="connsiteX21" fmla="*/ 2750534 w 6038469"/>
                  <a:gd name="connsiteY21" fmla="*/ 758952 h 1424844"/>
                  <a:gd name="connsiteX22" fmla="*/ 2750534 w 6038469"/>
                  <a:gd name="connsiteY22" fmla="*/ 730377 h 1424844"/>
                  <a:gd name="connsiteX23" fmla="*/ 2505456 w 6038469"/>
                  <a:gd name="connsiteY23" fmla="*/ 730377 h 1424844"/>
                  <a:gd name="connsiteX24" fmla="*/ 2505456 w 6038469"/>
                  <a:gd name="connsiteY24" fmla="*/ 703421 h 1424844"/>
                  <a:gd name="connsiteX25" fmla="*/ 2494216 w 6038469"/>
                  <a:gd name="connsiteY25" fmla="*/ 703421 h 1424844"/>
                  <a:gd name="connsiteX26" fmla="*/ 2494216 w 6038469"/>
                  <a:gd name="connsiteY26" fmla="*/ 676085 h 1424844"/>
                  <a:gd name="connsiteX27" fmla="*/ 2296668 w 6038469"/>
                  <a:gd name="connsiteY27" fmla="*/ 676085 h 1424844"/>
                  <a:gd name="connsiteX28" fmla="*/ 2296668 w 6038469"/>
                  <a:gd name="connsiteY28" fmla="*/ 649129 h 1424844"/>
                  <a:gd name="connsiteX29" fmla="*/ 2259235 w 6038469"/>
                  <a:gd name="connsiteY29" fmla="*/ 649129 h 1424844"/>
                  <a:gd name="connsiteX30" fmla="*/ 2259235 w 6038469"/>
                  <a:gd name="connsiteY30" fmla="*/ 626936 h 1424844"/>
                  <a:gd name="connsiteX31" fmla="*/ 2176272 w 6038469"/>
                  <a:gd name="connsiteY31" fmla="*/ 626936 h 1424844"/>
                  <a:gd name="connsiteX32" fmla="*/ 2176272 w 6038469"/>
                  <a:gd name="connsiteY32" fmla="*/ 579977 h 1424844"/>
                  <a:gd name="connsiteX33" fmla="*/ 2103882 w 6038469"/>
                  <a:gd name="connsiteY33" fmla="*/ 579977 h 1424844"/>
                  <a:gd name="connsiteX34" fmla="*/ 2103882 w 6038469"/>
                  <a:gd name="connsiteY34" fmla="*/ 558356 h 1424844"/>
                  <a:gd name="connsiteX35" fmla="*/ 1925003 w 6038469"/>
                  <a:gd name="connsiteY35" fmla="*/ 558356 h 1424844"/>
                  <a:gd name="connsiteX36" fmla="*/ 1925003 w 6038469"/>
                  <a:gd name="connsiteY36" fmla="*/ 535305 h 1424844"/>
                  <a:gd name="connsiteX37" fmla="*/ 1885379 w 6038469"/>
                  <a:gd name="connsiteY37" fmla="*/ 535305 h 1424844"/>
                  <a:gd name="connsiteX38" fmla="*/ 1885379 w 6038469"/>
                  <a:gd name="connsiteY38" fmla="*/ 512826 h 1424844"/>
                  <a:gd name="connsiteX39" fmla="*/ 1857375 w 6038469"/>
                  <a:gd name="connsiteY39" fmla="*/ 512826 h 1424844"/>
                  <a:gd name="connsiteX40" fmla="*/ 1857375 w 6038469"/>
                  <a:gd name="connsiteY40" fmla="*/ 501015 h 1424844"/>
                  <a:gd name="connsiteX41" fmla="*/ 1735455 w 6038469"/>
                  <a:gd name="connsiteY41" fmla="*/ 501015 h 1424844"/>
                  <a:gd name="connsiteX42" fmla="*/ 1735455 w 6038469"/>
                  <a:gd name="connsiteY42" fmla="*/ 479108 h 1424844"/>
                  <a:gd name="connsiteX43" fmla="*/ 1695641 w 6038469"/>
                  <a:gd name="connsiteY43" fmla="*/ 479108 h 1424844"/>
                  <a:gd name="connsiteX44" fmla="*/ 1695641 w 6038469"/>
                  <a:gd name="connsiteY44" fmla="*/ 458153 h 1424844"/>
                  <a:gd name="connsiteX45" fmla="*/ 1661922 w 6038469"/>
                  <a:gd name="connsiteY45" fmla="*/ 458153 h 1424844"/>
                  <a:gd name="connsiteX46" fmla="*/ 1661922 w 6038469"/>
                  <a:gd name="connsiteY46" fmla="*/ 440817 h 1424844"/>
                  <a:gd name="connsiteX47" fmla="*/ 1635443 w 6038469"/>
                  <a:gd name="connsiteY47" fmla="*/ 440817 h 1424844"/>
                  <a:gd name="connsiteX48" fmla="*/ 1635443 w 6038469"/>
                  <a:gd name="connsiteY48" fmla="*/ 418243 h 1424844"/>
                  <a:gd name="connsiteX49" fmla="*/ 1583436 w 6038469"/>
                  <a:gd name="connsiteY49" fmla="*/ 418243 h 1424844"/>
                  <a:gd name="connsiteX50" fmla="*/ 1583436 w 6038469"/>
                  <a:gd name="connsiteY50" fmla="*/ 395192 h 1424844"/>
                  <a:gd name="connsiteX51" fmla="*/ 1543622 w 6038469"/>
                  <a:gd name="connsiteY51" fmla="*/ 395192 h 1424844"/>
                  <a:gd name="connsiteX52" fmla="*/ 1543622 w 6038469"/>
                  <a:gd name="connsiteY52" fmla="*/ 376238 h 1424844"/>
                  <a:gd name="connsiteX53" fmla="*/ 1416749 w 6038469"/>
                  <a:gd name="connsiteY53" fmla="*/ 376238 h 1424844"/>
                  <a:gd name="connsiteX54" fmla="*/ 1416749 w 6038469"/>
                  <a:gd name="connsiteY54" fmla="*/ 357569 h 1424844"/>
                  <a:gd name="connsiteX55" fmla="*/ 1083088 w 6038469"/>
                  <a:gd name="connsiteY55" fmla="*/ 357569 h 1424844"/>
                  <a:gd name="connsiteX56" fmla="*/ 1083088 w 6038469"/>
                  <a:gd name="connsiteY56" fmla="*/ 341948 h 1424844"/>
                  <a:gd name="connsiteX57" fmla="*/ 1058228 w 6038469"/>
                  <a:gd name="connsiteY57" fmla="*/ 341948 h 1424844"/>
                  <a:gd name="connsiteX58" fmla="*/ 1058228 w 6038469"/>
                  <a:gd name="connsiteY58" fmla="*/ 327660 h 1424844"/>
                  <a:gd name="connsiteX59" fmla="*/ 1047560 w 6038469"/>
                  <a:gd name="connsiteY59" fmla="*/ 327660 h 1424844"/>
                  <a:gd name="connsiteX60" fmla="*/ 1047560 w 6038469"/>
                  <a:gd name="connsiteY60" fmla="*/ 309658 h 1424844"/>
                  <a:gd name="connsiteX61" fmla="*/ 991267 w 6038469"/>
                  <a:gd name="connsiteY61" fmla="*/ 309658 h 1424844"/>
                  <a:gd name="connsiteX62" fmla="*/ 991267 w 6038469"/>
                  <a:gd name="connsiteY62" fmla="*/ 293656 h 1424844"/>
                  <a:gd name="connsiteX63" fmla="*/ 936593 w 6038469"/>
                  <a:gd name="connsiteY63" fmla="*/ 293656 h 1424844"/>
                  <a:gd name="connsiteX64" fmla="*/ 936593 w 6038469"/>
                  <a:gd name="connsiteY64" fmla="*/ 276892 h 1424844"/>
                  <a:gd name="connsiteX65" fmla="*/ 896493 w 6038469"/>
                  <a:gd name="connsiteY65" fmla="*/ 276892 h 1424844"/>
                  <a:gd name="connsiteX66" fmla="*/ 896493 w 6038469"/>
                  <a:gd name="connsiteY66" fmla="*/ 260604 h 1424844"/>
                  <a:gd name="connsiteX67" fmla="*/ 863060 w 6038469"/>
                  <a:gd name="connsiteY67" fmla="*/ 260604 h 1424844"/>
                  <a:gd name="connsiteX68" fmla="*/ 863060 w 6038469"/>
                  <a:gd name="connsiteY68" fmla="*/ 242888 h 1424844"/>
                  <a:gd name="connsiteX69" fmla="*/ 851821 w 6038469"/>
                  <a:gd name="connsiteY69" fmla="*/ 242888 h 1424844"/>
                  <a:gd name="connsiteX70" fmla="*/ 851821 w 6038469"/>
                  <a:gd name="connsiteY70" fmla="*/ 226790 h 1424844"/>
                  <a:gd name="connsiteX71" fmla="*/ 818007 w 6038469"/>
                  <a:gd name="connsiteY71" fmla="*/ 226790 h 1424844"/>
                  <a:gd name="connsiteX72" fmla="*/ 818007 w 6038469"/>
                  <a:gd name="connsiteY72" fmla="*/ 215265 h 1424844"/>
                  <a:gd name="connsiteX73" fmla="*/ 773621 w 6038469"/>
                  <a:gd name="connsiteY73" fmla="*/ 215265 h 1424844"/>
                  <a:gd name="connsiteX74" fmla="*/ 773621 w 6038469"/>
                  <a:gd name="connsiteY74" fmla="*/ 197549 h 1424844"/>
                  <a:gd name="connsiteX75" fmla="*/ 695801 w 6038469"/>
                  <a:gd name="connsiteY75" fmla="*/ 197549 h 1424844"/>
                  <a:gd name="connsiteX76" fmla="*/ 695801 w 6038469"/>
                  <a:gd name="connsiteY76" fmla="*/ 181166 h 1424844"/>
                  <a:gd name="connsiteX77" fmla="*/ 690372 w 6038469"/>
                  <a:gd name="connsiteY77" fmla="*/ 181166 h 1424844"/>
                  <a:gd name="connsiteX78" fmla="*/ 690372 w 6038469"/>
                  <a:gd name="connsiteY78" fmla="*/ 164497 h 1424844"/>
                  <a:gd name="connsiteX79" fmla="*/ 661511 w 6038469"/>
                  <a:gd name="connsiteY79" fmla="*/ 164497 h 1424844"/>
                  <a:gd name="connsiteX80" fmla="*/ 661511 w 6038469"/>
                  <a:gd name="connsiteY80" fmla="*/ 146495 h 1424844"/>
                  <a:gd name="connsiteX81" fmla="*/ 555403 w 6038469"/>
                  <a:gd name="connsiteY81" fmla="*/ 146495 h 1424844"/>
                  <a:gd name="connsiteX82" fmla="*/ 555403 w 6038469"/>
                  <a:gd name="connsiteY82" fmla="*/ 129159 h 1424844"/>
                  <a:gd name="connsiteX83" fmla="*/ 416147 w 6038469"/>
                  <a:gd name="connsiteY83" fmla="*/ 129159 h 1424844"/>
                  <a:gd name="connsiteX84" fmla="*/ 416147 w 6038469"/>
                  <a:gd name="connsiteY84" fmla="*/ 113062 h 1424844"/>
                  <a:gd name="connsiteX85" fmla="*/ 360521 w 6038469"/>
                  <a:gd name="connsiteY85" fmla="*/ 113062 h 1424844"/>
                  <a:gd name="connsiteX86" fmla="*/ 360521 w 6038469"/>
                  <a:gd name="connsiteY86" fmla="*/ 97536 h 1424844"/>
                  <a:gd name="connsiteX87" fmla="*/ 125825 w 6038469"/>
                  <a:gd name="connsiteY87" fmla="*/ 97536 h 1424844"/>
                  <a:gd name="connsiteX88" fmla="*/ 125825 w 6038469"/>
                  <a:gd name="connsiteY88" fmla="*/ 85725 h 1424844"/>
                  <a:gd name="connsiteX89" fmla="*/ 120682 w 6038469"/>
                  <a:gd name="connsiteY89" fmla="*/ 85725 h 1424844"/>
                  <a:gd name="connsiteX90" fmla="*/ 120682 w 6038469"/>
                  <a:gd name="connsiteY90" fmla="*/ 68961 h 1424844"/>
                  <a:gd name="connsiteX91" fmla="*/ 63818 w 6038469"/>
                  <a:gd name="connsiteY91" fmla="*/ 68961 h 1424844"/>
                  <a:gd name="connsiteX92" fmla="*/ 63818 w 6038469"/>
                  <a:gd name="connsiteY92" fmla="*/ 51340 h 1424844"/>
                  <a:gd name="connsiteX93" fmla="*/ 52864 w 6038469"/>
                  <a:gd name="connsiteY93" fmla="*/ 51340 h 1424844"/>
                  <a:gd name="connsiteX94" fmla="*/ 52864 w 6038469"/>
                  <a:gd name="connsiteY94" fmla="*/ 0 h 1424844"/>
                  <a:gd name="connsiteX95" fmla="*/ 0 w 6038469"/>
                  <a:gd name="connsiteY95" fmla="*/ 0 h 142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38469" h="1424844">
                    <a:moveTo>
                      <a:pt x="6038469" y="1424845"/>
                    </a:moveTo>
                    <a:lnTo>
                      <a:pt x="4979956" y="1424845"/>
                    </a:lnTo>
                    <a:lnTo>
                      <a:pt x="4979956" y="1232630"/>
                    </a:lnTo>
                    <a:lnTo>
                      <a:pt x="4661631" y="1232630"/>
                    </a:lnTo>
                    <a:lnTo>
                      <a:pt x="4661631" y="1103757"/>
                    </a:lnTo>
                    <a:lnTo>
                      <a:pt x="4092035" y="1103757"/>
                    </a:lnTo>
                    <a:lnTo>
                      <a:pt x="4092035" y="1041178"/>
                    </a:lnTo>
                    <a:lnTo>
                      <a:pt x="3885248" y="1041178"/>
                    </a:lnTo>
                    <a:lnTo>
                      <a:pt x="3885248" y="985552"/>
                    </a:lnTo>
                    <a:lnTo>
                      <a:pt x="3683603" y="985552"/>
                    </a:lnTo>
                    <a:lnTo>
                      <a:pt x="3683603" y="935641"/>
                    </a:lnTo>
                    <a:lnTo>
                      <a:pt x="3310795" y="935641"/>
                    </a:lnTo>
                    <a:lnTo>
                      <a:pt x="3310795" y="894302"/>
                    </a:lnTo>
                    <a:lnTo>
                      <a:pt x="3125915" y="894302"/>
                    </a:lnTo>
                    <a:lnTo>
                      <a:pt x="3125915" y="862679"/>
                    </a:lnTo>
                    <a:lnTo>
                      <a:pt x="3091910" y="862679"/>
                    </a:lnTo>
                    <a:lnTo>
                      <a:pt x="3091910" y="827437"/>
                    </a:lnTo>
                    <a:lnTo>
                      <a:pt x="3058573" y="827437"/>
                    </a:lnTo>
                    <a:lnTo>
                      <a:pt x="3058573" y="787622"/>
                    </a:lnTo>
                    <a:lnTo>
                      <a:pt x="2974562" y="787622"/>
                    </a:lnTo>
                    <a:lnTo>
                      <a:pt x="2974562" y="758952"/>
                    </a:lnTo>
                    <a:lnTo>
                      <a:pt x="2750534" y="758952"/>
                    </a:lnTo>
                    <a:lnTo>
                      <a:pt x="2750534" y="730377"/>
                    </a:lnTo>
                    <a:lnTo>
                      <a:pt x="2505456" y="730377"/>
                    </a:lnTo>
                    <a:lnTo>
                      <a:pt x="2505456" y="703421"/>
                    </a:lnTo>
                    <a:lnTo>
                      <a:pt x="2494216" y="703421"/>
                    </a:lnTo>
                    <a:lnTo>
                      <a:pt x="2494216" y="676085"/>
                    </a:lnTo>
                    <a:lnTo>
                      <a:pt x="2296668" y="676085"/>
                    </a:lnTo>
                    <a:lnTo>
                      <a:pt x="2296668" y="649129"/>
                    </a:lnTo>
                    <a:lnTo>
                      <a:pt x="2259235" y="649129"/>
                    </a:lnTo>
                    <a:lnTo>
                      <a:pt x="2259235" y="626936"/>
                    </a:lnTo>
                    <a:lnTo>
                      <a:pt x="2176272" y="626936"/>
                    </a:lnTo>
                    <a:lnTo>
                      <a:pt x="2176272" y="579977"/>
                    </a:lnTo>
                    <a:lnTo>
                      <a:pt x="2103882" y="579977"/>
                    </a:lnTo>
                    <a:lnTo>
                      <a:pt x="2103882" y="558356"/>
                    </a:lnTo>
                    <a:lnTo>
                      <a:pt x="1925003" y="558356"/>
                    </a:lnTo>
                    <a:lnTo>
                      <a:pt x="1925003" y="535305"/>
                    </a:lnTo>
                    <a:lnTo>
                      <a:pt x="1885379" y="535305"/>
                    </a:lnTo>
                    <a:lnTo>
                      <a:pt x="1885379" y="512826"/>
                    </a:lnTo>
                    <a:lnTo>
                      <a:pt x="1857375" y="512826"/>
                    </a:lnTo>
                    <a:lnTo>
                      <a:pt x="1857375" y="501015"/>
                    </a:lnTo>
                    <a:lnTo>
                      <a:pt x="1735455" y="501015"/>
                    </a:lnTo>
                    <a:lnTo>
                      <a:pt x="1735455" y="479108"/>
                    </a:lnTo>
                    <a:lnTo>
                      <a:pt x="1695641" y="479108"/>
                    </a:lnTo>
                    <a:lnTo>
                      <a:pt x="1695641" y="458153"/>
                    </a:lnTo>
                    <a:lnTo>
                      <a:pt x="1661922" y="458153"/>
                    </a:lnTo>
                    <a:lnTo>
                      <a:pt x="1661922" y="440817"/>
                    </a:lnTo>
                    <a:lnTo>
                      <a:pt x="1635443" y="440817"/>
                    </a:lnTo>
                    <a:lnTo>
                      <a:pt x="1635443" y="418243"/>
                    </a:lnTo>
                    <a:lnTo>
                      <a:pt x="1583436" y="418243"/>
                    </a:lnTo>
                    <a:lnTo>
                      <a:pt x="1583436" y="395192"/>
                    </a:lnTo>
                    <a:lnTo>
                      <a:pt x="1543622" y="395192"/>
                    </a:lnTo>
                    <a:lnTo>
                      <a:pt x="1543622" y="376238"/>
                    </a:lnTo>
                    <a:lnTo>
                      <a:pt x="1416749" y="376238"/>
                    </a:lnTo>
                    <a:lnTo>
                      <a:pt x="1416749" y="357569"/>
                    </a:lnTo>
                    <a:lnTo>
                      <a:pt x="1083088" y="357569"/>
                    </a:lnTo>
                    <a:lnTo>
                      <a:pt x="1083088" y="341948"/>
                    </a:lnTo>
                    <a:lnTo>
                      <a:pt x="1058228" y="341948"/>
                    </a:lnTo>
                    <a:lnTo>
                      <a:pt x="1058228" y="327660"/>
                    </a:lnTo>
                    <a:lnTo>
                      <a:pt x="1047560" y="327660"/>
                    </a:lnTo>
                    <a:lnTo>
                      <a:pt x="1047560" y="309658"/>
                    </a:lnTo>
                    <a:lnTo>
                      <a:pt x="991267" y="309658"/>
                    </a:lnTo>
                    <a:lnTo>
                      <a:pt x="991267" y="293656"/>
                    </a:lnTo>
                    <a:lnTo>
                      <a:pt x="936593" y="293656"/>
                    </a:lnTo>
                    <a:lnTo>
                      <a:pt x="936593" y="276892"/>
                    </a:lnTo>
                    <a:lnTo>
                      <a:pt x="896493" y="276892"/>
                    </a:lnTo>
                    <a:lnTo>
                      <a:pt x="896493" y="260604"/>
                    </a:lnTo>
                    <a:lnTo>
                      <a:pt x="863060" y="260604"/>
                    </a:lnTo>
                    <a:lnTo>
                      <a:pt x="863060" y="242888"/>
                    </a:lnTo>
                    <a:lnTo>
                      <a:pt x="851821" y="242888"/>
                    </a:lnTo>
                    <a:lnTo>
                      <a:pt x="851821" y="226790"/>
                    </a:lnTo>
                    <a:lnTo>
                      <a:pt x="818007" y="226790"/>
                    </a:lnTo>
                    <a:lnTo>
                      <a:pt x="818007" y="215265"/>
                    </a:lnTo>
                    <a:lnTo>
                      <a:pt x="773621" y="215265"/>
                    </a:lnTo>
                    <a:lnTo>
                      <a:pt x="773621" y="197549"/>
                    </a:lnTo>
                    <a:lnTo>
                      <a:pt x="695801" y="197549"/>
                    </a:lnTo>
                    <a:lnTo>
                      <a:pt x="695801" y="181166"/>
                    </a:lnTo>
                    <a:lnTo>
                      <a:pt x="690372" y="181166"/>
                    </a:lnTo>
                    <a:lnTo>
                      <a:pt x="690372" y="164497"/>
                    </a:lnTo>
                    <a:lnTo>
                      <a:pt x="661511" y="164497"/>
                    </a:lnTo>
                    <a:lnTo>
                      <a:pt x="661511" y="146495"/>
                    </a:lnTo>
                    <a:lnTo>
                      <a:pt x="555403" y="146495"/>
                    </a:lnTo>
                    <a:lnTo>
                      <a:pt x="555403" y="129159"/>
                    </a:lnTo>
                    <a:lnTo>
                      <a:pt x="416147" y="129159"/>
                    </a:lnTo>
                    <a:lnTo>
                      <a:pt x="416147" y="113062"/>
                    </a:lnTo>
                    <a:lnTo>
                      <a:pt x="360521" y="113062"/>
                    </a:lnTo>
                    <a:lnTo>
                      <a:pt x="360521" y="97536"/>
                    </a:lnTo>
                    <a:lnTo>
                      <a:pt x="125825" y="97536"/>
                    </a:lnTo>
                    <a:lnTo>
                      <a:pt x="125825" y="85725"/>
                    </a:lnTo>
                    <a:lnTo>
                      <a:pt x="120682" y="85725"/>
                    </a:lnTo>
                    <a:lnTo>
                      <a:pt x="120682" y="68961"/>
                    </a:lnTo>
                    <a:lnTo>
                      <a:pt x="63818" y="68961"/>
                    </a:lnTo>
                    <a:lnTo>
                      <a:pt x="63818" y="51340"/>
                    </a:lnTo>
                    <a:lnTo>
                      <a:pt x="52864" y="51340"/>
                    </a:lnTo>
                    <a:lnTo>
                      <a:pt x="52864" y="0"/>
                    </a:lnTo>
                    <a:lnTo>
                      <a:pt x="0" y="0"/>
                    </a:lnTo>
                  </a:path>
                </a:pathLst>
              </a:custGeom>
              <a:noFill/>
              <a:ln w="12700"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49" name="Group 6548">
              <a:extLst>
                <a:ext uri="{FF2B5EF4-FFF2-40B4-BE49-F238E27FC236}">
                  <a16:creationId xmlns:a16="http://schemas.microsoft.com/office/drawing/2014/main" id="{CB5CE923-7BB2-499C-8DDF-5F2392B19F1A}"/>
                </a:ext>
              </a:extLst>
            </p:cNvPr>
            <p:cNvGrpSpPr/>
            <p:nvPr/>
          </p:nvGrpSpPr>
          <p:grpSpPr>
            <a:xfrm>
              <a:off x="1028699" y="1438274"/>
              <a:ext cx="5824347" cy="1511045"/>
              <a:chOff x="3186112" y="2671762"/>
              <a:chExt cx="5824347" cy="1511045"/>
            </a:xfrm>
          </p:grpSpPr>
          <p:grpSp>
            <p:nvGrpSpPr>
              <p:cNvPr id="6550" name="Graphic 471">
                <a:extLst>
                  <a:ext uri="{FF2B5EF4-FFF2-40B4-BE49-F238E27FC236}">
                    <a16:creationId xmlns:a16="http://schemas.microsoft.com/office/drawing/2014/main" id="{C44DDFAC-EF1F-192D-AD12-B663F0561647}"/>
                  </a:ext>
                </a:extLst>
              </p:cNvPr>
              <p:cNvGrpSpPr/>
              <p:nvPr/>
            </p:nvGrpSpPr>
            <p:grpSpPr>
              <a:xfrm>
                <a:off x="3186112" y="2671762"/>
                <a:ext cx="5824347" cy="1511045"/>
                <a:chOff x="3186112" y="2671762"/>
                <a:chExt cx="5824347" cy="1511045"/>
              </a:xfrm>
            </p:grpSpPr>
            <p:grpSp>
              <p:nvGrpSpPr>
                <p:cNvPr id="6552" name="Graphic 471">
                  <a:extLst>
                    <a:ext uri="{FF2B5EF4-FFF2-40B4-BE49-F238E27FC236}">
                      <a16:creationId xmlns:a16="http://schemas.microsoft.com/office/drawing/2014/main" id="{BAC62146-B099-CD0D-880F-5BB3AD58181A}"/>
                    </a:ext>
                  </a:extLst>
                </p:cNvPr>
                <p:cNvGrpSpPr/>
                <p:nvPr/>
              </p:nvGrpSpPr>
              <p:grpSpPr>
                <a:xfrm>
                  <a:off x="8934735" y="4107084"/>
                  <a:ext cx="75723" cy="75723"/>
                  <a:chOff x="8934735" y="4107084"/>
                  <a:chExt cx="75723" cy="75723"/>
                </a:xfrm>
              </p:grpSpPr>
              <p:sp>
                <p:nvSpPr>
                  <p:cNvPr id="6886" name="Freeform: Shape 6885">
                    <a:extLst>
                      <a:ext uri="{FF2B5EF4-FFF2-40B4-BE49-F238E27FC236}">
                        <a16:creationId xmlns:a16="http://schemas.microsoft.com/office/drawing/2014/main" id="{5CD3608F-7B1B-3C61-317B-E0C98EF0AAC8}"/>
                      </a:ext>
                    </a:extLst>
                  </p:cNvPr>
                  <p:cNvSpPr/>
                  <p:nvPr/>
                </p:nvSpPr>
                <p:spPr>
                  <a:xfrm>
                    <a:off x="897254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87" name="Freeform: Shape 6886">
                    <a:extLst>
                      <a:ext uri="{FF2B5EF4-FFF2-40B4-BE49-F238E27FC236}">
                        <a16:creationId xmlns:a16="http://schemas.microsoft.com/office/drawing/2014/main" id="{F78C80B3-9C86-A8DC-5DA7-DE17EE011361}"/>
                      </a:ext>
                    </a:extLst>
                  </p:cNvPr>
                  <p:cNvSpPr/>
                  <p:nvPr/>
                </p:nvSpPr>
                <p:spPr>
                  <a:xfrm>
                    <a:off x="89347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3" name="Graphic 471">
                  <a:extLst>
                    <a:ext uri="{FF2B5EF4-FFF2-40B4-BE49-F238E27FC236}">
                      <a16:creationId xmlns:a16="http://schemas.microsoft.com/office/drawing/2014/main" id="{A5E24698-ED26-8097-85EA-23A22B0AC349}"/>
                    </a:ext>
                  </a:extLst>
                </p:cNvPr>
                <p:cNvGrpSpPr/>
                <p:nvPr/>
              </p:nvGrpSpPr>
              <p:grpSpPr>
                <a:xfrm>
                  <a:off x="8759189" y="4107084"/>
                  <a:ext cx="75723" cy="75723"/>
                  <a:chOff x="8759189" y="4107084"/>
                  <a:chExt cx="75723" cy="75723"/>
                </a:xfrm>
              </p:grpSpPr>
              <p:sp>
                <p:nvSpPr>
                  <p:cNvPr id="6884" name="Freeform: Shape 6883">
                    <a:extLst>
                      <a:ext uri="{FF2B5EF4-FFF2-40B4-BE49-F238E27FC236}">
                        <a16:creationId xmlns:a16="http://schemas.microsoft.com/office/drawing/2014/main" id="{5467EE4A-9E32-8F59-663B-EFDC55ED09A7}"/>
                      </a:ext>
                    </a:extLst>
                  </p:cNvPr>
                  <p:cNvSpPr/>
                  <p:nvPr/>
                </p:nvSpPr>
                <p:spPr>
                  <a:xfrm>
                    <a:off x="879709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85" name="Freeform: Shape 6884">
                    <a:extLst>
                      <a:ext uri="{FF2B5EF4-FFF2-40B4-BE49-F238E27FC236}">
                        <a16:creationId xmlns:a16="http://schemas.microsoft.com/office/drawing/2014/main" id="{96992187-F729-6185-3F51-F0A3F0DA51D3}"/>
                      </a:ext>
                    </a:extLst>
                  </p:cNvPr>
                  <p:cNvSpPr/>
                  <p:nvPr/>
                </p:nvSpPr>
                <p:spPr>
                  <a:xfrm>
                    <a:off x="87591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4" name="Graphic 471">
                  <a:extLst>
                    <a:ext uri="{FF2B5EF4-FFF2-40B4-BE49-F238E27FC236}">
                      <a16:creationId xmlns:a16="http://schemas.microsoft.com/office/drawing/2014/main" id="{414CE966-198E-A5CB-4E9D-6775E920933F}"/>
                    </a:ext>
                  </a:extLst>
                </p:cNvPr>
                <p:cNvGrpSpPr/>
                <p:nvPr/>
              </p:nvGrpSpPr>
              <p:grpSpPr>
                <a:xfrm>
                  <a:off x="8687466" y="4107084"/>
                  <a:ext cx="75723" cy="75723"/>
                  <a:chOff x="8687466" y="4107084"/>
                  <a:chExt cx="75723" cy="75723"/>
                </a:xfrm>
              </p:grpSpPr>
              <p:sp>
                <p:nvSpPr>
                  <p:cNvPr id="6882" name="Freeform: Shape 6881">
                    <a:extLst>
                      <a:ext uri="{FF2B5EF4-FFF2-40B4-BE49-F238E27FC236}">
                        <a16:creationId xmlns:a16="http://schemas.microsoft.com/office/drawing/2014/main" id="{CFF29BA2-9394-4B2B-1F7D-FE670526382C}"/>
                      </a:ext>
                    </a:extLst>
                  </p:cNvPr>
                  <p:cNvSpPr/>
                  <p:nvPr/>
                </p:nvSpPr>
                <p:spPr>
                  <a:xfrm>
                    <a:off x="872537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83" name="Freeform: Shape 6882">
                    <a:extLst>
                      <a:ext uri="{FF2B5EF4-FFF2-40B4-BE49-F238E27FC236}">
                        <a16:creationId xmlns:a16="http://schemas.microsoft.com/office/drawing/2014/main" id="{D5DA6D67-870A-ED28-6F9A-B514B0EF3B07}"/>
                      </a:ext>
                    </a:extLst>
                  </p:cNvPr>
                  <p:cNvSpPr/>
                  <p:nvPr/>
                </p:nvSpPr>
                <p:spPr>
                  <a:xfrm>
                    <a:off x="868746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5" name="Graphic 471">
                  <a:extLst>
                    <a:ext uri="{FF2B5EF4-FFF2-40B4-BE49-F238E27FC236}">
                      <a16:creationId xmlns:a16="http://schemas.microsoft.com/office/drawing/2014/main" id="{349C218F-62E1-A0ED-DE34-90F977075A8B}"/>
                    </a:ext>
                  </a:extLst>
                </p:cNvPr>
                <p:cNvGrpSpPr/>
                <p:nvPr/>
              </p:nvGrpSpPr>
              <p:grpSpPr>
                <a:xfrm>
                  <a:off x="8430958" y="4107084"/>
                  <a:ext cx="75628" cy="75723"/>
                  <a:chOff x="8430958" y="4107084"/>
                  <a:chExt cx="75628" cy="75723"/>
                </a:xfrm>
              </p:grpSpPr>
              <p:sp>
                <p:nvSpPr>
                  <p:cNvPr id="6880" name="Freeform: Shape 6879">
                    <a:extLst>
                      <a:ext uri="{FF2B5EF4-FFF2-40B4-BE49-F238E27FC236}">
                        <a16:creationId xmlns:a16="http://schemas.microsoft.com/office/drawing/2014/main" id="{C3D0D060-CE16-EF28-205F-7513097B74B6}"/>
                      </a:ext>
                    </a:extLst>
                  </p:cNvPr>
                  <p:cNvSpPr/>
                  <p:nvPr/>
                </p:nvSpPr>
                <p:spPr>
                  <a:xfrm>
                    <a:off x="8468772"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81" name="Freeform: Shape 6880">
                    <a:extLst>
                      <a:ext uri="{FF2B5EF4-FFF2-40B4-BE49-F238E27FC236}">
                        <a16:creationId xmlns:a16="http://schemas.microsoft.com/office/drawing/2014/main" id="{B92DDB13-6379-5953-B0B3-ACA5AE72C695}"/>
                      </a:ext>
                    </a:extLst>
                  </p:cNvPr>
                  <p:cNvSpPr/>
                  <p:nvPr/>
                </p:nvSpPr>
                <p:spPr>
                  <a:xfrm>
                    <a:off x="8430958"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6" name="Graphic 471">
                  <a:extLst>
                    <a:ext uri="{FF2B5EF4-FFF2-40B4-BE49-F238E27FC236}">
                      <a16:creationId xmlns:a16="http://schemas.microsoft.com/office/drawing/2014/main" id="{B1FB5C51-D4E3-D9F1-6B23-B48B26C0F3F3}"/>
                    </a:ext>
                  </a:extLst>
                </p:cNvPr>
                <p:cNvGrpSpPr/>
                <p:nvPr/>
              </p:nvGrpSpPr>
              <p:grpSpPr>
                <a:xfrm>
                  <a:off x="8244077" y="4107084"/>
                  <a:ext cx="75723" cy="75723"/>
                  <a:chOff x="8244077" y="4107084"/>
                  <a:chExt cx="75723" cy="75723"/>
                </a:xfrm>
              </p:grpSpPr>
              <p:sp>
                <p:nvSpPr>
                  <p:cNvPr id="6878" name="Freeform: Shape 6877">
                    <a:extLst>
                      <a:ext uri="{FF2B5EF4-FFF2-40B4-BE49-F238E27FC236}">
                        <a16:creationId xmlns:a16="http://schemas.microsoft.com/office/drawing/2014/main" id="{34296F0B-7C8C-964A-D815-9214515602BC}"/>
                      </a:ext>
                    </a:extLst>
                  </p:cNvPr>
                  <p:cNvSpPr/>
                  <p:nvPr/>
                </p:nvSpPr>
                <p:spPr>
                  <a:xfrm>
                    <a:off x="828189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79" name="Freeform: Shape 6878">
                    <a:extLst>
                      <a:ext uri="{FF2B5EF4-FFF2-40B4-BE49-F238E27FC236}">
                        <a16:creationId xmlns:a16="http://schemas.microsoft.com/office/drawing/2014/main" id="{CC2962ED-7FCE-83C2-F1E3-6851EE5D84D0}"/>
                      </a:ext>
                    </a:extLst>
                  </p:cNvPr>
                  <p:cNvSpPr/>
                  <p:nvPr/>
                </p:nvSpPr>
                <p:spPr>
                  <a:xfrm>
                    <a:off x="8244077" y="414489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7" name="Graphic 471">
                  <a:extLst>
                    <a:ext uri="{FF2B5EF4-FFF2-40B4-BE49-F238E27FC236}">
                      <a16:creationId xmlns:a16="http://schemas.microsoft.com/office/drawing/2014/main" id="{09ED2127-57C1-082A-6F5F-78D30B67B479}"/>
                    </a:ext>
                  </a:extLst>
                </p:cNvPr>
                <p:cNvGrpSpPr/>
                <p:nvPr/>
              </p:nvGrpSpPr>
              <p:grpSpPr>
                <a:xfrm>
                  <a:off x="8223789" y="4107084"/>
                  <a:ext cx="75723" cy="75723"/>
                  <a:chOff x="8223789" y="4107084"/>
                  <a:chExt cx="75723" cy="75723"/>
                </a:xfrm>
              </p:grpSpPr>
              <p:sp>
                <p:nvSpPr>
                  <p:cNvPr id="6876" name="Freeform: Shape 6875">
                    <a:extLst>
                      <a:ext uri="{FF2B5EF4-FFF2-40B4-BE49-F238E27FC236}">
                        <a16:creationId xmlns:a16="http://schemas.microsoft.com/office/drawing/2014/main" id="{4D746E77-6BD8-B491-B9CD-8D64D27546B1}"/>
                      </a:ext>
                    </a:extLst>
                  </p:cNvPr>
                  <p:cNvSpPr/>
                  <p:nvPr/>
                </p:nvSpPr>
                <p:spPr>
                  <a:xfrm>
                    <a:off x="826160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77" name="Freeform: Shape 6876">
                    <a:extLst>
                      <a:ext uri="{FF2B5EF4-FFF2-40B4-BE49-F238E27FC236}">
                        <a16:creationId xmlns:a16="http://schemas.microsoft.com/office/drawing/2014/main" id="{45C9361A-23F8-299A-DE2F-FDF9FA4F79AD}"/>
                      </a:ext>
                    </a:extLst>
                  </p:cNvPr>
                  <p:cNvSpPr/>
                  <p:nvPr/>
                </p:nvSpPr>
                <p:spPr>
                  <a:xfrm>
                    <a:off x="822378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8" name="Graphic 471">
                  <a:extLst>
                    <a:ext uri="{FF2B5EF4-FFF2-40B4-BE49-F238E27FC236}">
                      <a16:creationId xmlns:a16="http://schemas.microsoft.com/office/drawing/2014/main" id="{2A2E98E4-D616-2EFA-9007-28C1D1AC2276}"/>
                    </a:ext>
                  </a:extLst>
                </p:cNvPr>
                <p:cNvGrpSpPr/>
                <p:nvPr/>
              </p:nvGrpSpPr>
              <p:grpSpPr>
                <a:xfrm>
                  <a:off x="8163019" y="4107084"/>
                  <a:ext cx="75628" cy="75723"/>
                  <a:chOff x="8163019" y="4107084"/>
                  <a:chExt cx="75628" cy="75723"/>
                </a:xfrm>
              </p:grpSpPr>
              <p:sp>
                <p:nvSpPr>
                  <p:cNvPr id="6874" name="Freeform: Shape 6873">
                    <a:extLst>
                      <a:ext uri="{FF2B5EF4-FFF2-40B4-BE49-F238E27FC236}">
                        <a16:creationId xmlns:a16="http://schemas.microsoft.com/office/drawing/2014/main" id="{57E371EF-3545-EF31-F66A-6CF8581FBF3F}"/>
                      </a:ext>
                    </a:extLst>
                  </p:cNvPr>
                  <p:cNvSpPr/>
                  <p:nvPr/>
                </p:nvSpPr>
                <p:spPr>
                  <a:xfrm>
                    <a:off x="820083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75" name="Freeform: Shape 6874">
                    <a:extLst>
                      <a:ext uri="{FF2B5EF4-FFF2-40B4-BE49-F238E27FC236}">
                        <a16:creationId xmlns:a16="http://schemas.microsoft.com/office/drawing/2014/main" id="{286D6C86-3732-2AEB-6774-DB33CE7A01B7}"/>
                      </a:ext>
                    </a:extLst>
                  </p:cNvPr>
                  <p:cNvSpPr/>
                  <p:nvPr/>
                </p:nvSpPr>
                <p:spPr>
                  <a:xfrm>
                    <a:off x="8163019" y="414489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59" name="Graphic 471">
                  <a:extLst>
                    <a:ext uri="{FF2B5EF4-FFF2-40B4-BE49-F238E27FC236}">
                      <a16:creationId xmlns:a16="http://schemas.microsoft.com/office/drawing/2014/main" id="{FDC76160-C49D-7781-B1ED-F3572D2155BE}"/>
                    </a:ext>
                  </a:extLst>
                </p:cNvPr>
                <p:cNvGrpSpPr/>
                <p:nvPr/>
              </p:nvGrpSpPr>
              <p:grpSpPr>
                <a:xfrm>
                  <a:off x="8095297" y="4107084"/>
                  <a:ext cx="75723" cy="75723"/>
                  <a:chOff x="8095297" y="4107084"/>
                  <a:chExt cx="75723" cy="75723"/>
                </a:xfrm>
              </p:grpSpPr>
              <p:sp>
                <p:nvSpPr>
                  <p:cNvPr id="6872" name="Freeform: Shape 6871">
                    <a:extLst>
                      <a:ext uri="{FF2B5EF4-FFF2-40B4-BE49-F238E27FC236}">
                        <a16:creationId xmlns:a16="http://schemas.microsoft.com/office/drawing/2014/main" id="{AF3BEA26-EADC-0D56-F94A-72A67C684EEE}"/>
                      </a:ext>
                    </a:extLst>
                  </p:cNvPr>
                  <p:cNvSpPr/>
                  <p:nvPr/>
                </p:nvSpPr>
                <p:spPr>
                  <a:xfrm>
                    <a:off x="8133111"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73" name="Freeform: Shape 6872">
                    <a:extLst>
                      <a:ext uri="{FF2B5EF4-FFF2-40B4-BE49-F238E27FC236}">
                        <a16:creationId xmlns:a16="http://schemas.microsoft.com/office/drawing/2014/main" id="{B3477080-9BD5-E8D7-947F-DBE4999A2E0A}"/>
                      </a:ext>
                    </a:extLst>
                  </p:cNvPr>
                  <p:cNvSpPr/>
                  <p:nvPr/>
                </p:nvSpPr>
                <p:spPr>
                  <a:xfrm>
                    <a:off x="8095297"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0" name="Graphic 471">
                  <a:extLst>
                    <a:ext uri="{FF2B5EF4-FFF2-40B4-BE49-F238E27FC236}">
                      <a16:creationId xmlns:a16="http://schemas.microsoft.com/office/drawing/2014/main" id="{E2206A92-5EC2-3CF2-2A8B-27D0CE3BEA90}"/>
                    </a:ext>
                  </a:extLst>
                </p:cNvPr>
                <p:cNvGrpSpPr/>
                <p:nvPr/>
              </p:nvGrpSpPr>
              <p:grpSpPr>
                <a:xfrm>
                  <a:off x="8060435" y="4107084"/>
                  <a:ext cx="75723" cy="75723"/>
                  <a:chOff x="8060435" y="4107084"/>
                  <a:chExt cx="75723" cy="75723"/>
                </a:xfrm>
              </p:grpSpPr>
              <p:sp>
                <p:nvSpPr>
                  <p:cNvPr id="6870" name="Freeform: Shape 6869">
                    <a:extLst>
                      <a:ext uri="{FF2B5EF4-FFF2-40B4-BE49-F238E27FC236}">
                        <a16:creationId xmlns:a16="http://schemas.microsoft.com/office/drawing/2014/main" id="{B975BB11-5181-5E24-D056-237374587B6A}"/>
                      </a:ext>
                    </a:extLst>
                  </p:cNvPr>
                  <p:cNvSpPr/>
                  <p:nvPr/>
                </p:nvSpPr>
                <p:spPr>
                  <a:xfrm>
                    <a:off x="80983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71" name="Freeform: Shape 6870">
                    <a:extLst>
                      <a:ext uri="{FF2B5EF4-FFF2-40B4-BE49-F238E27FC236}">
                        <a16:creationId xmlns:a16="http://schemas.microsoft.com/office/drawing/2014/main" id="{8DAE860D-BEA9-05BE-BCE4-EECE1FD9A589}"/>
                      </a:ext>
                    </a:extLst>
                  </p:cNvPr>
                  <p:cNvSpPr/>
                  <p:nvPr/>
                </p:nvSpPr>
                <p:spPr>
                  <a:xfrm>
                    <a:off x="8060435"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1" name="Graphic 471">
                  <a:extLst>
                    <a:ext uri="{FF2B5EF4-FFF2-40B4-BE49-F238E27FC236}">
                      <a16:creationId xmlns:a16="http://schemas.microsoft.com/office/drawing/2014/main" id="{D73D9F55-B935-FC0A-4CAA-A172D2F6FEA9}"/>
                    </a:ext>
                  </a:extLst>
                </p:cNvPr>
                <p:cNvGrpSpPr/>
                <p:nvPr/>
              </p:nvGrpSpPr>
              <p:grpSpPr>
                <a:xfrm>
                  <a:off x="7877650" y="4107084"/>
                  <a:ext cx="75723" cy="75723"/>
                  <a:chOff x="7877650" y="4107084"/>
                  <a:chExt cx="75723" cy="75723"/>
                </a:xfrm>
              </p:grpSpPr>
              <p:sp>
                <p:nvSpPr>
                  <p:cNvPr id="6868" name="Freeform: Shape 6867">
                    <a:extLst>
                      <a:ext uri="{FF2B5EF4-FFF2-40B4-BE49-F238E27FC236}">
                        <a16:creationId xmlns:a16="http://schemas.microsoft.com/office/drawing/2014/main" id="{DAF76B90-37E9-7C8C-502C-8F5139B67AEF}"/>
                      </a:ext>
                    </a:extLst>
                  </p:cNvPr>
                  <p:cNvSpPr/>
                  <p:nvPr/>
                </p:nvSpPr>
                <p:spPr>
                  <a:xfrm>
                    <a:off x="79154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69" name="Freeform: Shape 6868">
                    <a:extLst>
                      <a:ext uri="{FF2B5EF4-FFF2-40B4-BE49-F238E27FC236}">
                        <a16:creationId xmlns:a16="http://schemas.microsoft.com/office/drawing/2014/main" id="{EB0C6307-FA7C-E005-2F52-9CE17D16F329}"/>
                      </a:ext>
                    </a:extLst>
                  </p:cNvPr>
                  <p:cNvSpPr/>
                  <p:nvPr/>
                </p:nvSpPr>
                <p:spPr>
                  <a:xfrm>
                    <a:off x="78776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2" name="Graphic 471">
                  <a:extLst>
                    <a:ext uri="{FF2B5EF4-FFF2-40B4-BE49-F238E27FC236}">
                      <a16:creationId xmlns:a16="http://schemas.microsoft.com/office/drawing/2014/main" id="{7001F2CA-C630-78F2-5DC0-C17A70074180}"/>
                    </a:ext>
                  </a:extLst>
                </p:cNvPr>
                <p:cNvGrpSpPr/>
                <p:nvPr/>
              </p:nvGrpSpPr>
              <p:grpSpPr>
                <a:xfrm>
                  <a:off x="7829454" y="4107084"/>
                  <a:ext cx="75628" cy="75723"/>
                  <a:chOff x="7829454" y="4107084"/>
                  <a:chExt cx="75628" cy="75723"/>
                </a:xfrm>
              </p:grpSpPr>
              <p:sp>
                <p:nvSpPr>
                  <p:cNvPr id="6866" name="Freeform: Shape 6865">
                    <a:extLst>
                      <a:ext uri="{FF2B5EF4-FFF2-40B4-BE49-F238E27FC236}">
                        <a16:creationId xmlns:a16="http://schemas.microsoft.com/office/drawing/2014/main" id="{77443DFD-FBC5-57C2-EA33-24BF197A846D}"/>
                      </a:ext>
                    </a:extLst>
                  </p:cNvPr>
                  <p:cNvSpPr/>
                  <p:nvPr/>
                </p:nvSpPr>
                <p:spPr>
                  <a:xfrm>
                    <a:off x="7867268"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67" name="Freeform: Shape 6866">
                    <a:extLst>
                      <a:ext uri="{FF2B5EF4-FFF2-40B4-BE49-F238E27FC236}">
                        <a16:creationId xmlns:a16="http://schemas.microsoft.com/office/drawing/2014/main" id="{B48DAA10-1529-6E8D-63A9-87E61129D643}"/>
                      </a:ext>
                    </a:extLst>
                  </p:cNvPr>
                  <p:cNvSpPr/>
                  <p:nvPr/>
                </p:nvSpPr>
                <p:spPr>
                  <a:xfrm>
                    <a:off x="7829454"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3" name="Graphic 471">
                  <a:extLst>
                    <a:ext uri="{FF2B5EF4-FFF2-40B4-BE49-F238E27FC236}">
                      <a16:creationId xmlns:a16="http://schemas.microsoft.com/office/drawing/2014/main" id="{EEA25D35-0EC1-BC79-534F-2D08FBD92B68}"/>
                    </a:ext>
                  </a:extLst>
                </p:cNvPr>
                <p:cNvGrpSpPr/>
                <p:nvPr/>
              </p:nvGrpSpPr>
              <p:grpSpPr>
                <a:xfrm>
                  <a:off x="7756492" y="4107084"/>
                  <a:ext cx="75628" cy="75723"/>
                  <a:chOff x="7756492" y="4107084"/>
                  <a:chExt cx="75628" cy="75723"/>
                </a:xfrm>
              </p:grpSpPr>
              <p:sp>
                <p:nvSpPr>
                  <p:cNvPr id="6864" name="Freeform: Shape 6863">
                    <a:extLst>
                      <a:ext uri="{FF2B5EF4-FFF2-40B4-BE49-F238E27FC236}">
                        <a16:creationId xmlns:a16="http://schemas.microsoft.com/office/drawing/2014/main" id="{140A7A92-FF64-1F16-A1D8-3A19C1E26452}"/>
                      </a:ext>
                    </a:extLst>
                  </p:cNvPr>
                  <p:cNvSpPr/>
                  <p:nvPr/>
                </p:nvSpPr>
                <p:spPr>
                  <a:xfrm>
                    <a:off x="779430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65" name="Freeform: Shape 6864">
                    <a:extLst>
                      <a:ext uri="{FF2B5EF4-FFF2-40B4-BE49-F238E27FC236}">
                        <a16:creationId xmlns:a16="http://schemas.microsoft.com/office/drawing/2014/main" id="{93C519AE-208A-9EA1-4FC8-E4B06D00367F}"/>
                      </a:ext>
                    </a:extLst>
                  </p:cNvPr>
                  <p:cNvSpPr/>
                  <p:nvPr/>
                </p:nvSpPr>
                <p:spPr>
                  <a:xfrm>
                    <a:off x="7756492"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4" name="Graphic 471">
                  <a:extLst>
                    <a:ext uri="{FF2B5EF4-FFF2-40B4-BE49-F238E27FC236}">
                      <a16:creationId xmlns:a16="http://schemas.microsoft.com/office/drawing/2014/main" id="{4F23FFF6-BD1C-26FB-4B0F-0D03C054B2D3}"/>
                    </a:ext>
                  </a:extLst>
                </p:cNvPr>
                <p:cNvGrpSpPr/>
                <p:nvPr/>
              </p:nvGrpSpPr>
              <p:grpSpPr>
                <a:xfrm>
                  <a:off x="7733728" y="4107084"/>
                  <a:ext cx="75723" cy="75723"/>
                  <a:chOff x="7733728" y="4107084"/>
                  <a:chExt cx="75723" cy="75723"/>
                </a:xfrm>
              </p:grpSpPr>
              <p:sp>
                <p:nvSpPr>
                  <p:cNvPr id="6862" name="Freeform: Shape 6861">
                    <a:extLst>
                      <a:ext uri="{FF2B5EF4-FFF2-40B4-BE49-F238E27FC236}">
                        <a16:creationId xmlns:a16="http://schemas.microsoft.com/office/drawing/2014/main" id="{2F8E3BED-0789-CBBA-9C2E-2F4FFD468475}"/>
                      </a:ext>
                    </a:extLst>
                  </p:cNvPr>
                  <p:cNvSpPr/>
                  <p:nvPr/>
                </p:nvSpPr>
                <p:spPr>
                  <a:xfrm>
                    <a:off x="7771637"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63" name="Freeform: Shape 6862">
                    <a:extLst>
                      <a:ext uri="{FF2B5EF4-FFF2-40B4-BE49-F238E27FC236}">
                        <a16:creationId xmlns:a16="http://schemas.microsoft.com/office/drawing/2014/main" id="{987C94B2-1409-574F-5DCC-A7B992586C9A}"/>
                      </a:ext>
                    </a:extLst>
                  </p:cNvPr>
                  <p:cNvSpPr/>
                  <p:nvPr/>
                </p:nvSpPr>
                <p:spPr>
                  <a:xfrm>
                    <a:off x="7733728"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5" name="Graphic 471">
                  <a:extLst>
                    <a:ext uri="{FF2B5EF4-FFF2-40B4-BE49-F238E27FC236}">
                      <a16:creationId xmlns:a16="http://schemas.microsoft.com/office/drawing/2014/main" id="{8321B165-7481-97F4-7431-A147455F0743}"/>
                    </a:ext>
                  </a:extLst>
                </p:cNvPr>
                <p:cNvGrpSpPr/>
                <p:nvPr/>
              </p:nvGrpSpPr>
              <p:grpSpPr>
                <a:xfrm>
                  <a:off x="7715916" y="4107084"/>
                  <a:ext cx="75723" cy="75723"/>
                  <a:chOff x="7715916" y="4107084"/>
                  <a:chExt cx="75723" cy="75723"/>
                </a:xfrm>
              </p:grpSpPr>
              <p:sp>
                <p:nvSpPr>
                  <p:cNvPr id="6860" name="Freeform: Shape 6859">
                    <a:extLst>
                      <a:ext uri="{FF2B5EF4-FFF2-40B4-BE49-F238E27FC236}">
                        <a16:creationId xmlns:a16="http://schemas.microsoft.com/office/drawing/2014/main" id="{B6FE6049-24C5-D156-2B4E-5C1F1ADDD8D7}"/>
                      </a:ext>
                    </a:extLst>
                  </p:cNvPr>
                  <p:cNvSpPr/>
                  <p:nvPr/>
                </p:nvSpPr>
                <p:spPr>
                  <a:xfrm>
                    <a:off x="775382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61" name="Freeform: Shape 6860">
                    <a:extLst>
                      <a:ext uri="{FF2B5EF4-FFF2-40B4-BE49-F238E27FC236}">
                        <a16:creationId xmlns:a16="http://schemas.microsoft.com/office/drawing/2014/main" id="{831247FE-3BB7-BE5D-3A9E-3D34225EE768}"/>
                      </a:ext>
                    </a:extLst>
                  </p:cNvPr>
                  <p:cNvSpPr/>
                  <p:nvPr/>
                </p:nvSpPr>
                <p:spPr>
                  <a:xfrm>
                    <a:off x="771591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6" name="Graphic 471">
                  <a:extLst>
                    <a:ext uri="{FF2B5EF4-FFF2-40B4-BE49-F238E27FC236}">
                      <a16:creationId xmlns:a16="http://schemas.microsoft.com/office/drawing/2014/main" id="{0CF88419-C280-9532-9685-67E17CD4D7C5}"/>
                    </a:ext>
                  </a:extLst>
                </p:cNvPr>
                <p:cNvGrpSpPr/>
                <p:nvPr/>
              </p:nvGrpSpPr>
              <p:grpSpPr>
                <a:xfrm>
                  <a:off x="7649050" y="4107084"/>
                  <a:ext cx="75723" cy="75723"/>
                  <a:chOff x="7649050" y="4107084"/>
                  <a:chExt cx="75723" cy="75723"/>
                </a:xfrm>
              </p:grpSpPr>
              <p:sp>
                <p:nvSpPr>
                  <p:cNvPr id="6858" name="Freeform: Shape 6857">
                    <a:extLst>
                      <a:ext uri="{FF2B5EF4-FFF2-40B4-BE49-F238E27FC236}">
                        <a16:creationId xmlns:a16="http://schemas.microsoft.com/office/drawing/2014/main" id="{31CBD6E7-1925-166B-C122-1F2A1CFC6D6D}"/>
                      </a:ext>
                    </a:extLst>
                  </p:cNvPr>
                  <p:cNvSpPr/>
                  <p:nvPr/>
                </p:nvSpPr>
                <p:spPr>
                  <a:xfrm>
                    <a:off x="768686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59" name="Freeform: Shape 6858">
                    <a:extLst>
                      <a:ext uri="{FF2B5EF4-FFF2-40B4-BE49-F238E27FC236}">
                        <a16:creationId xmlns:a16="http://schemas.microsoft.com/office/drawing/2014/main" id="{AB875EB7-D7B7-A3CA-D78D-D6F3E16D13E8}"/>
                      </a:ext>
                    </a:extLst>
                  </p:cNvPr>
                  <p:cNvSpPr/>
                  <p:nvPr/>
                </p:nvSpPr>
                <p:spPr>
                  <a:xfrm>
                    <a:off x="764905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7" name="Graphic 471">
                  <a:extLst>
                    <a:ext uri="{FF2B5EF4-FFF2-40B4-BE49-F238E27FC236}">
                      <a16:creationId xmlns:a16="http://schemas.microsoft.com/office/drawing/2014/main" id="{BEDBC653-F6F5-D21F-269D-CC0F2CCF0A9C}"/>
                    </a:ext>
                  </a:extLst>
                </p:cNvPr>
                <p:cNvGrpSpPr/>
                <p:nvPr/>
              </p:nvGrpSpPr>
              <p:grpSpPr>
                <a:xfrm>
                  <a:off x="7635715" y="4107084"/>
                  <a:ext cx="75628" cy="75723"/>
                  <a:chOff x="7635715" y="4107084"/>
                  <a:chExt cx="75628" cy="75723"/>
                </a:xfrm>
              </p:grpSpPr>
              <p:sp>
                <p:nvSpPr>
                  <p:cNvPr id="6856" name="Freeform: Shape 6855">
                    <a:extLst>
                      <a:ext uri="{FF2B5EF4-FFF2-40B4-BE49-F238E27FC236}">
                        <a16:creationId xmlns:a16="http://schemas.microsoft.com/office/drawing/2014/main" id="{CD0C3180-9C2E-1BC8-DAE5-06AE35514228}"/>
                      </a:ext>
                    </a:extLst>
                  </p:cNvPr>
                  <p:cNvSpPr/>
                  <p:nvPr/>
                </p:nvSpPr>
                <p:spPr>
                  <a:xfrm>
                    <a:off x="76735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57" name="Freeform: Shape 6856">
                    <a:extLst>
                      <a:ext uri="{FF2B5EF4-FFF2-40B4-BE49-F238E27FC236}">
                        <a16:creationId xmlns:a16="http://schemas.microsoft.com/office/drawing/2014/main" id="{4CC0B7BD-08E1-C995-C547-84209F262AF5}"/>
                      </a:ext>
                    </a:extLst>
                  </p:cNvPr>
                  <p:cNvSpPr/>
                  <p:nvPr/>
                </p:nvSpPr>
                <p:spPr>
                  <a:xfrm>
                    <a:off x="76357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8" name="Graphic 471">
                  <a:extLst>
                    <a:ext uri="{FF2B5EF4-FFF2-40B4-BE49-F238E27FC236}">
                      <a16:creationId xmlns:a16="http://schemas.microsoft.com/office/drawing/2014/main" id="{6132E951-EEBD-D791-8404-0F58578DBB28}"/>
                    </a:ext>
                  </a:extLst>
                </p:cNvPr>
                <p:cNvGrpSpPr/>
                <p:nvPr/>
              </p:nvGrpSpPr>
              <p:grpSpPr>
                <a:xfrm>
                  <a:off x="7538370" y="4107084"/>
                  <a:ext cx="75723" cy="75723"/>
                  <a:chOff x="7538370" y="4107084"/>
                  <a:chExt cx="75723" cy="75723"/>
                </a:xfrm>
              </p:grpSpPr>
              <p:sp>
                <p:nvSpPr>
                  <p:cNvPr id="6854" name="Freeform: Shape 6853">
                    <a:extLst>
                      <a:ext uri="{FF2B5EF4-FFF2-40B4-BE49-F238E27FC236}">
                        <a16:creationId xmlns:a16="http://schemas.microsoft.com/office/drawing/2014/main" id="{A04D50DC-93BA-7CF2-E186-D9C7F0885E22}"/>
                      </a:ext>
                    </a:extLst>
                  </p:cNvPr>
                  <p:cNvSpPr/>
                  <p:nvPr/>
                </p:nvSpPr>
                <p:spPr>
                  <a:xfrm>
                    <a:off x="7576279"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55" name="Freeform: Shape 6854">
                    <a:extLst>
                      <a:ext uri="{FF2B5EF4-FFF2-40B4-BE49-F238E27FC236}">
                        <a16:creationId xmlns:a16="http://schemas.microsoft.com/office/drawing/2014/main" id="{F4FAB70B-F647-9E60-3546-FFECF0DCCADF}"/>
                      </a:ext>
                    </a:extLst>
                  </p:cNvPr>
                  <p:cNvSpPr/>
                  <p:nvPr/>
                </p:nvSpPr>
                <p:spPr>
                  <a:xfrm>
                    <a:off x="7538370"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69" name="Graphic 471">
                  <a:extLst>
                    <a:ext uri="{FF2B5EF4-FFF2-40B4-BE49-F238E27FC236}">
                      <a16:creationId xmlns:a16="http://schemas.microsoft.com/office/drawing/2014/main" id="{25148086-BEA6-3020-7687-A756B06E7D71}"/>
                    </a:ext>
                  </a:extLst>
                </p:cNvPr>
                <p:cNvGrpSpPr/>
                <p:nvPr/>
              </p:nvGrpSpPr>
              <p:grpSpPr>
                <a:xfrm>
                  <a:off x="7500556" y="4107084"/>
                  <a:ext cx="75723" cy="75723"/>
                  <a:chOff x="7500556" y="4107084"/>
                  <a:chExt cx="75723" cy="75723"/>
                </a:xfrm>
              </p:grpSpPr>
              <p:sp>
                <p:nvSpPr>
                  <p:cNvPr id="6852" name="Freeform: Shape 6851">
                    <a:extLst>
                      <a:ext uri="{FF2B5EF4-FFF2-40B4-BE49-F238E27FC236}">
                        <a16:creationId xmlns:a16="http://schemas.microsoft.com/office/drawing/2014/main" id="{06BF6A76-CDAC-B073-D514-969C8F79495F}"/>
                      </a:ext>
                    </a:extLst>
                  </p:cNvPr>
                  <p:cNvSpPr/>
                  <p:nvPr/>
                </p:nvSpPr>
                <p:spPr>
                  <a:xfrm>
                    <a:off x="753837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53" name="Freeform: Shape 6852">
                    <a:extLst>
                      <a:ext uri="{FF2B5EF4-FFF2-40B4-BE49-F238E27FC236}">
                        <a16:creationId xmlns:a16="http://schemas.microsoft.com/office/drawing/2014/main" id="{C6B4A2CB-2226-191C-3B39-4C58BB3F911E}"/>
                      </a:ext>
                    </a:extLst>
                  </p:cNvPr>
                  <p:cNvSpPr/>
                  <p:nvPr/>
                </p:nvSpPr>
                <p:spPr>
                  <a:xfrm>
                    <a:off x="7500556"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0" name="Graphic 471">
                  <a:extLst>
                    <a:ext uri="{FF2B5EF4-FFF2-40B4-BE49-F238E27FC236}">
                      <a16:creationId xmlns:a16="http://schemas.microsoft.com/office/drawing/2014/main" id="{37D576EA-B8B3-0092-A63C-BC6D7B2695F1}"/>
                    </a:ext>
                  </a:extLst>
                </p:cNvPr>
                <p:cNvGrpSpPr/>
                <p:nvPr/>
              </p:nvGrpSpPr>
              <p:grpSpPr>
                <a:xfrm>
                  <a:off x="7445215" y="4107084"/>
                  <a:ext cx="75628" cy="75723"/>
                  <a:chOff x="7445215" y="4107084"/>
                  <a:chExt cx="75628" cy="75723"/>
                </a:xfrm>
              </p:grpSpPr>
              <p:sp>
                <p:nvSpPr>
                  <p:cNvPr id="6850" name="Freeform: Shape 6849">
                    <a:extLst>
                      <a:ext uri="{FF2B5EF4-FFF2-40B4-BE49-F238E27FC236}">
                        <a16:creationId xmlns:a16="http://schemas.microsoft.com/office/drawing/2014/main" id="{2BEB5516-F900-1014-CD2A-64E66E1A4AEE}"/>
                      </a:ext>
                    </a:extLst>
                  </p:cNvPr>
                  <p:cNvSpPr/>
                  <p:nvPr/>
                </p:nvSpPr>
                <p:spPr>
                  <a:xfrm>
                    <a:off x="7483030"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51" name="Freeform: Shape 6850">
                    <a:extLst>
                      <a:ext uri="{FF2B5EF4-FFF2-40B4-BE49-F238E27FC236}">
                        <a16:creationId xmlns:a16="http://schemas.microsoft.com/office/drawing/2014/main" id="{07543BD6-C33A-129D-52E9-0E2F2069A90E}"/>
                      </a:ext>
                    </a:extLst>
                  </p:cNvPr>
                  <p:cNvSpPr/>
                  <p:nvPr/>
                </p:nvSpPr>
                <p:spPr>
                  <a:xfrm>
                    <a:off x="7445215"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1" name="Graphic 471">
                  <a:extLst>
                    <a:ext uri="{FF2B5EF4-FFF2-40B4-BE49-F238E27FC236}">
                      <a16:creationId xmlns:a16="http://schemas.microsoft.com/office/drawing/2014/main" id="{AB658CB5-5C23-A622-9584-F773D00E22F8}"/>
                    </a:ext>
                  </a:extLst>
                </p:cNvPr>
                <p:cNvGrpSpPr/>
                <p:nvPr/>
              </p:nvGrpSpPr>
              <p:grpSpPr>
                <a:xfrm>
                  <a:off x="7402639" y="4107084"/>
                  <a:ext cx="75723" cy="75723"/>
                  <a:chOff x="7402639" y="4107084"/>
                  <a:chExt cx="75723" cy="75723"/>
                </a:xfrm>
              </p:grpSpPr>
              <p:sp>
                <p:nvSpPr>
                  <p:cNvPr id="6848" name="Freeform: Shape 6847">
                    <a:extLst>
                      <a:ext uri="{FF2B5EF4-FFF2-40B4-BE49-F238E27FC236}">
                        <a16:creationId xmlns:a16="http://schemas.microsoft.com/office/drawing/2014/main" id="{8FAE8893-A6B9-627B-88AD-547CB8975CD6}"/>
                      </a:ext>
                    </a:extLst>
                  </p:cNvPr>
                  <p:cNvSpPr/>
                  <p:nvPr/>
                </p:nvSpPr>
                <p:spPr>
                  <a:xfrm>
                    <a:off x="7440453"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49" name="Freeform: Shape 6848">
                    <a:extLst>
                      <a:ext uri="{FF2B5EF4-FFF2-40B4-BE49-F238E27FC236}">
                        <a16:creationId xmlns:a16="http://schemas.microsoft.com/office/drawing/2014/main" id="{F60B3910-6FBB-71D0-2F8C-32F71F8FDA33}"/>
                      </a:ext>
                    </a:extLst>
                  </p:cNvPr>
                  <p:cNvSpPr/>
                  <p:nvPr/>
                </p:nvSpPr>
                <p:spPr>
                  <a:xfrm>
                    <a:off x="7402639"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2" name="Graphic 471">
                  <a:extLst>
                    <a:ext uri="{FF2B5EF4-FFF2-40B4-BE49-F238E27FC236}">
                      <a16:creationId xmlns:a16="http://schemas.microsoft.com/office/drawing/2014/main" id="{EDADBDB4-FBE3-2934-720E-4B91AA49943D}"/>
                    </a:ext>
                  </a:extLst>
                </p:cNvPr>
                <p:cNvGrpSpPr/>
                <p:nvPr/>
              </p:nvGrpSpPr>
              <p:grpSpPr>
                <a:xfrm>
                  <a:off x="7369492" y="4028026"/>
                  <a:ext cx="75723" cy="75723"/>
                  <a:chOff x="7369492" y="4028026"/>
                  <a:chExt cx="75723" cy="75723"/>
                </a:xfrm>
              </p:grpSpPr>
              <p:sp>
                <p:nvSpPr>
                  <p:cNvPr id="6846" name="Freeform: Shape 6845">
                    <a:extLst>
                      <a:ext uri="{FF2B5EF4-FFF2-40B4-BE49-F238E27FC236}">
                        <a16:creationId xmlns:a16="http://schemas.microsoft.com/office/drawing/2014/main" id="{E9D17E4D-B06F-DE95-4D9E-08D59DC41068}"/>
                      </a:ext>
                    </a:extLst>
                  </p:cNvPr>
                  <p:cNvSpPr/>
                  <p:nvPr/>
                </p:nvSpPr>
                <p:spPr>
                  <a:xfrm>
                    <a:off x="7407306"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47" name="Freeform: Shape 6846">
                    <a:extLst>
                      <a:ext uri="{FF2B5EF4-FFF2-40B4-BE49-F238E27FC236}">
                        <a16:creationId xmlns:a16="http://schemas.microsoft.com/office/drawing/2014/main" id="{E615DCC3-126E-B5CE-43FE-88F3F2BF1DE0}"/>
                      </a:ext>
                    </a:extLst>
                  </p:cNvPr>
                  <p:cNvSpPr/>
                  <p:nvPr/>
                </p:nvSpPr>
                <p:spPr>
                  <a:xfrm>
                    <a:off x="7369492"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3" name="Graphic 471">
                  <a:extLst>
                    <a:ext uri="{FF2B5EF4-FFF2-40B4-BE49-F238E27FC236}">
                      <a16:creationId xmlns:a16="http://schemas.microsoft.com/office/drawing/2014/main" id="{985D2C2F-F2D3-F961-2333-E54C16CA94E7}"/>
                    </a:ext>
                  </a:extLst>
                </p:cNvPr>
                <p:cNvGrpSpPr/>
                <p:nvPr/>
              </p:nvGrpSpPr>
              <p:grpSpPr>
                <a:xfrm>
                  <a:off x="7310627" y="4028026"/>
                  <a:ext cx="75723" cy="75723"/>
                  <a:chOff x="7310627" y="4028026"/>
                  <a:chExt cx="75723" cy="75723"/>
                </a:xfrm>
              </p:grpSpPr>
              <p:sp>
                <p:nvSpPr>
                  <p:cNvPr id="6844" name="Freeform: Shape 6843">
                    <a:extLst>
                      <a:ext uri="{FF2B5EF4-FFF2-40B4-BE49-F238E27FC236}">
                        <a16:creationId xmlns:a16="http://schemas.microsoft.com/office/drawing/2014/main" id="{30CD2FD7-3E85-65AC-4E4F-C612D3A8B91F}"/>
                      </a:ext>
                    </a:extLst>
                  </p:cNvPr>
                  <p:cNvSpPr/>
                  <p:nvPr/>
                </p:nvSpPr>
                <p:spPr>
                  <a:xfrm>
                    <a:off x="73484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45" name="Freeform: Shape 6844">
                    <a:extLst>
                      <a:ext uri="{FF2B5EF4-FFF2-40B4-BE49-F238E27FC236}">
                        <a16:creationId xmlns:a16="http://schemas.microsoft.com/office/drawing/2014/main" id="{7D6C6433-867C-C0DC-0B44-28437BBE441B}"/>
                      </a:ext>
                    </a:extLst>
                  </p:cNvPr>
                  <p:cNvSpPr/>
                  <p:nvPr/>
                </p:nvSpPr>
                <p:spPr>
                  <a:xfrm>
                    <a:off x="7310627" y="4065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4" name="Graphic 471">
                  <a:extLst>
                    <a:ext uri="{FF2B5EF4-FFF2-40B4-BE49-F238E27FC236}">
                      <a16:creationId xmlns:a16="http://schemas.microsoft.com/office/drawing/2014/main" id="{BB7B3AA0-DA05-CD34-50C2-9CA2F60B4C4A}"/>
                    </a:ext>
                  </a:extLst>
                </p:cNvPr>
                <p:cNvGrpSpPr/>
                <p:nvPr/>
              </p:nvGrpSpPr>
              <p:grpSpPr>
                <a:xfrm>
                  <a:off x="7248619" y="4028026"/>
                  <a:ext cx="75628" cy="75723"/>
                  <a:chOff x="7248619" y="4028026"/>
                  <a:chExt cx="75628" cy="75723"/>
                </a:xfrm>
              </p:grpSpPr>
              <p:sp>
                <p:nvSpPr>
                  <p:cNvPr id="6842" name="Freeform: Shape 6841">
                    <a:extLst>
                      <a:ext uri="{FF2B5EF4-FFF2-40B4-BE49-F238E27FC236}">
                        <a16:creationId xmlns:a16="http://schemas.microsoft.com/office/drawing/2014/main" id="{AF2820A8-24BD-90B7-5722-1ED5A1E99D0D}"/>
                      </a:ext>
                    </a:extLst>
                  </p:cNvPr>
                  <p:cNvSpPr/>
                  <p:nvPr/>
                </p:nvSpPr>
                <p:spPr>
                  <a:xfrm>
                    <a:off x="7286434"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43" name="Freeform: Shape 6842">
                    <a:extLst>
                      <a:ext uri="{FF2B5EF4-FFF2-40B4-BE49-F238E27FC236}">
                        <a16:creationId xmlns:a16="http://schemas.microsoft.com/office/drawing/2014/main" id="{B15E1C07-214B-444A-2B12-BBAC3900500C}"/>
                      </a:ext>
                    </a:extLst>
                  </p:cNvPr>
                  <p:cNvSpPr/>
                  <p:nvPr/>
                </p:nvSpPr>
                <p:spPr>
                  <a:xfrm>
                    <a:off x="7248619"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5" name="Graphic 471">
                  <a:extLst>
                    <a:ext uri="{FF2B5EF4-FFF2-40B4-BE49-F238E27FC236}">
                      <a16:creationId xmlns:a16="http://schemas.microsoft.com/office/drawing/2014/main" id="{5236BEC3-E6CE-0AD7-BFB7-BDF509E775FD}"/>
                    </a:ext>
                  </a:extLst>
                </p:cNvPr>
                <p:cNvGrpSpPr/>
                <p:nvPr/>
              </p:nvGrpSpPr>
              <p:grpSpPr>
                <a:xfrm>
                  <a:off x="7232427" y="4028026"/>
                  <a:ext cx="75628" cy="75723"/>
                  <a:chOff x="7232427" y="4028026"/>
                  <a:chExt cx="75628" cy="75723"/>
                </a:xfrm>
              </p:grpSpPr>
              <p:sp>
                <p:nvSpPr>
                  <p:cNvPr id="6840" name="Freeform: Shape 6839">
                    <a:extLst>
                      <a:ext uri="{FF2B5EF4-FFF2-40B4-BE49-F238E27FC236}">
                        <a16:creationId xmlns:a16="http://schemas.microsoft.com/office/drawing/2014/main" id="{EDB04A48-8B16-6A19-4248-9E61DC664794}"/>
                      </a:ext>
                    </a:extLst>
                  </p:cNvPr>
                  <p:cNvSpPr/>
                  <p:nvPr/>
                </p:nvSpPr>
                <p:spPr>
                  <a:xfrm>
                    <a:off x="7270241" y="40280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41" name="Freeform: Shape 6840">
                    <a:extLst>
                      <a:ext uri="{FF2B5EF4-FFF2-40B4-BE49-F238E27FC236}">
                        <a16:creationId xmlns:a16="http://schemas.microsoft.com/office/drawing/2014/main" id="{CACA3ACA-0368-9690-7F7B-75E957253BCB}"/>
                      </a:ext>
                    </a:extLst>
                  </p:cNvPr>
                  <p:cNvSpPr/>
                  <p:nvPr/>
                </p:nvSpPr>
                <p:spPr>
                  <a:xfrm>
                    <a:off x="7232427" y="4065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6" name="Graphic 471">
                  <a:extLst>
                    <a:ext uri="{FF2B5EF4-FFF2-40B4-BE49-F238E27FC236}">
                      <a16:creationId xmlns:a16="http://schemas.microsoft.com/office/drawing/2014/main" id="{BC681072-A98E-D91D-CA61-BE140BB9EA95}"/>
                    </a:ext>
                  </a:extLst>
                </p:cNvPr>
                <p:cNvGrpSpPr/>
                <p:nvPr/>
              </p:nvGrpSpPr>
              <p:grpSpPr>
                <a:xfrm>
                  <a:off x="7172896" y="3965638"/>
                  <a:ext cx="75723" cy="75628"/>
                  <a:chOff x="7172896" y="3965638"/>
                  <a:chExt cx="75723" cy="75628"/>
                </a:xfrm>
              </p:grpSpPr>
              <p:sp>
                <p:nvSpPr>
                  <p:cNvPr id="6838" name="Freeform: Shape 6837">
                    <a:extLst>
                      <a:ext uri="{FF2B5EF4-FFF2-40B4-BE49-F238E27FC236}">
                        <a16:creationId xmlns:a16="http://schemas.microsoft.com/office/drawing/2014/main" id="{3BC691E7-F786-B4BA-5886-98C22ABE0EDF}"/>
                      </a:ext>
                    </a:extLst>
                  </p:cNvPr>
                  <p:cNvSpPr/>
                  <p:nvPr/>
                </p:nvSpPr>
                <p:spPr>
                  <a:xfrm>
                    <a:off x="7210710"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39" name="Freeform: Shape 6838">
                    <a:extLst>
                      <a:ext uri="{FF2B5EF4-FFF2-40B4-BE49-F238E27FC236}">
                        <a16:creationId xmlns:a16="http://schemas.microsoft.com/office/drawing/2014/main" id="{7787B4C3-3800-2FCB-C9E8-197BC3B379F1}"/>
                      </a:ext>
                    </a:extLst>
                  </p:cNvPr>
                  <p:cNvSpPr/>
                  <p:nvPr/>
                </p:nvSpPr>
                <p:spPr>
                  <a:xfrm>
                    <a:off x="7172896"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7" name="Graphic 471">
                  <a:extLst>
                    <a:ext uri="{FF2B5EF4-FFF2-40B4-BE49-F238E27FC236}">
                      <a16:creationId xmlns:a16="http://schemas.microsoft.com/office/drawing/2014/main" id="{1A875C08-4D65-3DC0-AABD-68115C252C7C}"/>
                    </a:ext>
                  </a:extLst>
                </p:cNvPr>
                <p:cNvGrpSpPr/>
                <p:nvPr/>
              </p:nvGrpSpPr>
              <p:grpSpPr>
                <a:xfrm>
                  <a:off x="7105078" y="3965638"/>
                  <a:ext cx="75723" cy="75628"/>
                  <a:chOff x="7105078" y="3965638"/>
                  <a:chExt cx="75723" cy="75628"/>
                </a:xfrm>
              </p:grpSpPr>
              <p:sp>
                <p:nvSpPr>
                  <p:cNvPr id="6836" name="Freeform: Shape 6835">
                    <a:extLst>
                      <a:ext uri="{FF2B5EF4-FFF2-40B4-BE49-F238E27FC236}">
                        <a16:creationId xmlns:a16="http://schemas.microsoft.com/office/drawing/2014/main" id="{93F70B55-75A4-0F74-CDFB-9F5BEF820DE5}"/>
                      </a:ext>
                    </a:extLst>
                  </p:cNvPr>
                  <p:cNvSpPr/>
                  <p:nvPr/>
                </p:nvSpPr>
                <p:spPr>
                  <a:xfrm>
                    <a:off x="714298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37" name="Freeform: Shape 6836">
                    <a:extLst>
                      <a:ext uri="{FF2B5EF4-FFF2-40B4-BE49-F238E27FC236}">
                        <a16:creationId xmlns:a16="http://schemas.microsoft.com/office/drawing/2014/main" id="{5C6C683E-0913-B54E-C48B-3478509A6F75}"/>
                      </a:ext>
                    </a:extLst>
                  </p:cNvPr>
                  <p:cNvSpPr/>
                  <p:nvPr/>
                </p:nvSpPr>
                <p:spPr>
                  <a:xfrm>
                    <a:off x="710507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8" name="Graphic 471">
                  <a:extLst>
                    <a:ext uri="{FF2B5EF4-FFF2-40B4-BE49-F238E27FC236}">
                      <a16:creationId xmlns:a16="http://schemas.microsoft.com/office/drawing/2014/main" id="{B1965EC9-C01E-E1EC-83D6-7083646B7074}"/>
                    </a:ext>
                  </a:extLst>
                </p:cNvPr>
                <p:cNvGrpSpPr/>
                <p:nvPr/>
              </p:nvGrpSpPr>
              <p:grpSpPr>
                <a:xfrm>
                  <a:off x="7054309" y="3965638"/>
                  <a:ext cx="75723" cy="75628"/>
                  <a:chOff x="7054309" y="3965638"/>
                  <a:chExt cx="75723" cy="75628"/>
                </a:xfrm>
              </p:grpSpPr>
              <p:sp>
                <p:nvSpPr>
                  <p:cNvPr id="6834" name="Freeform: Shape 6833">
                    <a:extLst>
                      <a:ext uri="{FF2B5EF4-FFF2-40B4-BE49-F238E27FC236}">
                        <a16:creationId xmlns:a16="http://schemas.microsoft.com/office/drawing/2014/main" id="{197D0322-0A3A-A6C8-148C-6923D651A647}"/>
                      </a:ext>
                    </a:extLst>
                  </p:cNvPr>
                  <p:cNvSpPr/>
                  <p:nvPr/>
                </p:nvSpPr>
                <p:spPr>
                  <a:xfrm>
                    <a:off x="709221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35" name="Freeform: Shape 6834">
                    <a:extLst>
                      <a:ext uri="{FF2B5EF4-FFF2-40B4-BE49-F238E27FC236}">
                        <a16:creationId xmlns:a16="http://schemas.microsoft.com/office/drawing/2014/main" id="{E375C017-940D-AB51-EDEE-98C5E0133381}"/>
                      </a:ext>
                    </a:extLst>
                  </p:cNvPr>
                  <p:cNvSpPr/>
                  <p:nvPr/>
                </p:nvSpPr>
                <p:spPr>
                  <a:xfrm>
                    <a:off x="705430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79" name="Graphic 471">
                  <a:extLst>
                    <a:ext uri="{FF2B5EF4-FFF2-40B4-BE49-F238E27FC236}">
                      <a16:creationId xmlns:a16="http://schemas.microsoft.com/office/drawing/2014/main" id="{4987F4E6-6C3E-C657-3FBA-1086F01061A7}"/>
                    </a:ext>
                  </a:extLst>
                </p:cNvPr>
                <p:cNvGrpSpPr/>
                <p:nvPr/>
              </p:nvGrpSpPr>
              <p:grpSpPr>
                <a:xfrm>
                  <a:off x="6997159" y="3965638"/>
                  <a:ext cx="75723" cy="75628"/>
                  <a:chOff x="6997159" y="3965638"/>
                  <a:chExt cx="75723" cy="75628"/>
                </a:xfrm>
              </p:grpSpPr>
              <p:sp>
                <p:nvSpPr>
                  <p:cNvPr id="6832" name="Freeform: Shape 6831">
                    <a:extLst>
                      <a:ext uri="{FF2B5EF4-FFF2-40B4-BE49-F238E27FC236}">
                        <a16:creationId xmlns:a16="http://schemas.microsoft.com/office/drawing/2014/main" id="{21DB3834-6132-B18B-1332-E5819845D576}"/>
                      </a:ext>
                    </a:extLst>
                  </p:cNvPr>
                  <p:cNvSpPr/>
                  <p:nvPr/>
                </p:nvSpPr>
                <p:spPr>
                  <a:xfrm>
                    <a:off x="703506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33" name="Freeform: Shape 6832">
                    <a:extLst>
                      <a:ext uri="{FF2B5EF4-FFF2-40B4-BE49-F238E27FC236}">
                        <a16:creationId xmlns:a16="http://schemas.microsoft.com/office/drawing/2014/main" id="{B7429610-F687-743D-1EFF-2C8E8107BEE7}"/>
                      </a:ext>
                    </a:extLst>
                  </p:cNvPr>
                  <p:cNvSpPr/>
                  <p:nvPr/>
                </p:nvSpPr>
                <p:spPr>
                  <a:xfrm>
                    <a:off x="6997159"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0" name="Graphic 471">
                  <a:extLst>
                    <a:ext uri="{FF2B5EF4-FFF2-40B4-BE49-F238E27FC236}">
                      <a16:creationId xmlns:a16="http://schemas.microsoft.com/office/drawing/2014/main" id="{995A2EEE-D164-6D8E-94C5-1526376964FC}"/>
                    </a:ext>
                  </a:extLst>
                </p:cNvPr>
                <p:cNvGrpSpPr/>
                <p:nvPr/>
              </p:nvGrpSpPr>
              <p:grpSpPr>
                <a:xfrm>
                  <a:off x="7016495" y="3965638"/>
                  <a:ext cx="75723" cy="75628"/>
                  <a:chOff x="7016495" y="3965638"/>
                  <a:chExt cx="75723" cy="75628"/>
                </a:xfrm>
              </p:grpSpPr>
              <p:sp>
                <p:nvSpPr>
                  <p:cNvPr id="6830" name="Freeform: Shape 6829">
                    <a:extLst>
                      <a:ext uri="{FF2B5EF4-FFF2-40B4-BE49-F238E27FC236}">
                        <a16:creationId xmlns:a16="http://schemas.microsoft.com/office/drawing/2014/main" id="{FDF916E6-A8C1-3281-091A-0C7161EEEDFE}"/>
                      </a:ext>
                    </a:extLst>
                  </p:cNvPr>
                  <p:cNvSpPr/>
                  <p:nvPr/>
                </p:nvSpPr>
                <p:spPr>
                  <a:xfrm>
                    <a:off x="7054309"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31" name="Freeform: Shape 6830">
                    <a:extLst>
                      <a:ext uri="{FF2B5EF4-FFF2-40B4-BE49-F238E27FC236}">
                        <a16:creationId xmlns:a16="http://schemas.microsoft.com/office/drawing/2014/main" id="{FC52813E-8E32-4080-6B31-3C4B1F465582}"/>
                      </a:ext>
                    </a:extLst>
                  </p:cNvPr>
                  <p:cNvSpPr/>
                  <p:nvPr/>
                </p:nvSpPr>
                <p:spPr>
                  <a:xfrm>
                    <a:off x="7016495"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1" name="Graphic 471">
                  <a:extLst>
                    <a:ext uri="{FF2B5EF4-FFF2-40B4-BE49-F238E27FC236}">
                      <a16:creationId xmlns:a16="http://schemas.microsoft.com/office/drawing/2014/main" id="{C548D618-5151-D2F0-BE1D-1A724FC4E723}"/>
                    </a:ext>
                  </a:extLst>
                </p:cNvPr>
                <p:cNvGrpSpPr/>
                <p:nvPr/>
              </p:nvGrpSpPr>
              <p:grpSpPr>
                <a:xfrm>
                  <a:off x="7029449" y="3965638"/>
                  <a:ext cx="75628" cy="75628"/>
                  <a:chOff x="7029449" y="3965638"/>
                  <a:chExt cx="75628" cy="75628"/>
                </a:xfrm>
              </p:grpSpPr>
              <p:sp>
                <p:nvSpPr>
                  <p:cNvPr id="6828" name="Freeform: Shape 6827">
                    <a:extLst>
                      <a:ext uri="{FF2B5EF4-FFF2-40B4-BE49-F238E27FC236}">
                        <a16:creationId xmlns:a16="http://schemas.microsoft.com/office/drawing/2014/main" id="{5702D4E2-4D4D-B3D3-0A43-DD1F13A02A20}"/>
                      </a:ext>
                    </a:extLst>
                  </p:cNvPr>
                  <p:cNvSpPr/>
                  <p:nvPr/>
                </p:nvSpPr>
                <p:spPr>
                  <a:xfrm>
                    <a:off x="7067263"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29" name="Freeform: Shape 6828">
                    <a:extLst>
                      <a:ext uri="{FF2B5EF4-FFF2-40B4-BE49-F238E27FC236}">
                        <a16:creationId xmlns:a16="http://schemas.microsoft.com/office/drawing/2014/main" id="{98DC60B7-426E-52A1-3DB4-3AE8BA11A37D}"/>
                      </a:ext>
                    </a:extLst>
                  </p:cNvPr>
                  <p:cNvSpPr/>
                  <p:nvPr/>
                </p:nvSpPr>
                <p:spPr>
                  <a:xfrm>
                    <a:off x="7029449" y="4003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2" name="Graphic 471">
                  <a:extLst>
                    <a:ext uri="{FF2B5EF4-FFF2-40B4-BE49-F238E27FC236}">
                      <a16:creationId xmlns:a16="http://schemas.microsoft.com/office/drawing/2014/main" id="{114FA02B-8869-830F-5122-181168B8EC56}"/>
                    </a:ext>
                  </a:extLst>
                </p:cNvPr>
                <p:cNvGrpSpPr/>
                <p:nvPr/>
              </p:nvGrpSpPr>
              <p:grpSpPr>
                <a:xfrm>
                  <a:off x="6962488" y="3965638"/>
                  <a:ext cx="75723" cy="75628"/>
                  <a:chOff x="6962488" y="3965638"/>
                  <a:chExt cx="75723" cy="75628"/>
                </a:xfrm>
              </p:grpSpPr>
              <p:sp>
                <p:nvSpPr>
                  <p:cNvPr id="6826" name="Freeform: Shape 6825">
                    <a:extLst>
                      <a:ext uri="{FF2B5EF4-FFF2-40B4-BE49-F238E27FC236}">
                        <a16:creationId xmlns:a16="http://schemas.microsoft.com/office/drawing/2014/main" id="{A4D43EC6-D9A5-C709-600D-974DC03A5127}"/>
                      </a:ext>
                    </a:extLst>
                  </p:cNvPr>
                  <p:cNvSpPr/>
                  <p:nvPr/>
                </p:nvSpPr>
                <p:spPr>
                  <a:xfrm>
                    <a:off x="700039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27" name="Freeform: Shape 6826">
                    <a:extLst>
                      <a:ext uri="{FF2B5EF4-FFF2-40B4-BE49-F238E27FC236}">
                        <a16:creationId xmlns:a16="http://schemas.microsoft.com/office/drawing/2014/main" id="{1ABC6D4B-32FF-3556-3FA6-B0058FEF86A4}"/>
                      </a:ext>
                    </a:extLst>
                  </p:cNvPr>
                  <p:cNvSpPr/>
                  <p:nvPr/>
                </p:nvSpPr>
                <p:spPr>
                  <a:xfrm>
                    <a:off x="6962488"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3" name="Graphic 471">
                  <a:extLst>
                    <a:ext uri="{FF2B5EF4-FFF2-40B4-BE49-F238E27FC236}">
                      <a16:creationId xmlns:a16="http://schemas.microsoft.com/office/drawing/2014/main" id="{A51507F1-DCA3-06F5-4B64-9E3464B81D37}"/>
                    </a:ext>
                  </a:extLst>
                </p:cNvPr>
                <p:cNvGrpSpPr/>
                <p:nvPr/>
              </p:nvGrpSpPr>
              <p:grpSpPr>
                <a:xfrm>
                  <a:off x="6937914" y="3965638"/>
                  <a:ext cx="75723" cy="75628"/>
                  <a:chOff x="6937914" y="3965638"/>
                  <a:chExt cx="75723" cy="75628"/>
                </a:xfrm>
              </p:grpSpPr>
              <p:sp>
                <p:nvSpPr>
                  <p:cNvPr id="6824" name="Freeform: Shape 6823">
                    <a:extLst>
                      <a:ext uri="{FF2B5EF4-FFF2-40B4-BE49-F238E27FC236}">
                        <a16:creationId xmlns:a16="http://schemas.microsoft.com/office/drawing/2014/main" id="{01C6F473-BE7A-65FE-2EEA-E3050D7C3CB8}"/>
                      </a:ext>
                    </a:extLst>
                  </p:cNvPr>
                  <p:cNvSpPr/>
                  <p:nvPr/>
                </p:nvSpPr>
                <p:spPr>
                  <a:xfrm>
                    <a:off x="6975728"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25" name="Freeform: Shape 6824">
                    <a:extLst>
                      <a:ext uri="{FF2B5EF4-FFF2-40B4-BE49-F238E27FC236}">
                        <a16:creationId xmlns:a16="http://schemas.microsoft.com/office/drawing/2014/main" id="{4ECB8C5D-EE81-2074-9836-E0A0635C19A7}"/>
                      </a:ext>
                    </a:extLst>
                  </p:cNvPr>
                  <p:cNvSpPr/>
                  <p:nvPr/>
                </p:nvSpPr>
                <p:spPr>
                  <a:xfrm>
                    <a:off x="6937914"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4" name="Graphic 471">
                  <a:extLst>
                    <a:ext uri="{FF2B5EF4-FFF2-40B4-BE49-F238E27FC236}">
                      <a16:creationId xmlns:a16="http://schemas.microsoft.com/office/drawing/2014/main" id="{CD6B1D3B-3425-2B78-EE8C-2CEB4D1F77E1}"/>
                    </a:ext>
                  </a:extLst>
                </p:cNvPr>
                <p:cNvGrpSpPr/>
                <p:nvPr/>
              </p:nvGrpSpPr>
              <p:grpSpPr>
                <a:xfrm>
                  <a:off x="6927913" y="3965638"/>
                  <a:ext cx="75628" cy="75628"/>
                  <a:chOff x="6927913" y="3965638"/>
                  <a:chExt cx="75628" cy="75628"/>
                </a:xfrm>
              </p:grpSpPr>
              <p:sp>
                <p:nvSpPr>
                  <p:cNvPr id="6822" name="Freeform: Shape 6821">
                    <a:extLst>
                      <a:ext uri="{FF2B5EF4-FFF2-40B4-BE49-F238E27FC236}">
                        <a16:creationId xmlns:a16="http://schemas.microsoft.com/office/drawing/2014/main" id="{A5FD7B12-9208-9720-628D-81402167C8F5}"/>
                      </a:ext>
                    </a:extLst>
                  </p:cNvPr>
                  <p:cNvSpPr/>
                  <p:nvPr/>
                </p:nvSpPr>
                <p:spPr>
                  <a:xfrm>
                    <a:off x="696572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23" name="Freeform: Shape 6822">
                    <a:extLst>
                      <a:ext uri="{FF2B5EF4-FFF2-40B4-BE49-F238E27FC236}">
                        <a16:creationId xmlns:a16="http://schemas.microsoft.com/office/drawing/2014/main" id="{4BEC1F0A-9867-3C44-6F8C-2F19CDBC167C}"/>
                      </a:ext>
                    </a:extLst>
                  </p:cNvPr>
                  <p:cNvSpPr/>
                  <p:nvPr/>
                </p:nvSpPr>
                <p:spPr>
                  <a:xfrm>
                    <a:off x="6927913" y="4003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5" name="Graphic 471">
                  <a:extLst>
                    <a:ext uri="{FF2B5EF4-FFF2-40B4-BE49-F238E27FC236}">
                      <a16:creationId xmlns:a16="http://schemas.microsoft.com/office/drawing/2014/main" id="{0EC12472-4494-A363-680F-B9C416EBAD50}"/>
                    </a:ext>
                  </a:extLst>
                </p:cNvPr>
                <p:cNvGrpSpPr/>
                <p:nvPr/>
              </p:nvGrpSpPr>
              <p:grpSpPr>
                <a:xfrm>
                  <a:off x="6897433" y="3965638"/>
                  <a:ext cx="75723" cy="75628"/>
                  <a:chOff x="6897433" y="3965638"/>
                  <a:chExt cx="75723" cy="75628"/>
                </a:xfrm>
              </p:grpSpPr>
              <p:sp>
                <p:nvSpPr>
                  <p:cNvPr id="6820" name="Freeform: Shape 6819">
                    <a:extLst>
                      <a:ext uri="{FF2B5EF4-FFF2-40B4-BE49-F238E27FC236}">
                        <a16:creationId xmlns:a16="http://schemas.microsoft.com/office/drawing/2014/main" id="{FBA9E9B8-1FC0-5307-9456-9D94A4DD8B23}"/>
                      </a:ext>
                    </a:extLst>
                  </p:cNvPr>
                  <p:cNvSpPr/>
                  <p:nvPr/>
                </p:nvSpPr>
                <p:spPr>
                  <a:xfrm>
                    <a:off x="6935342"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21" name="Freeform: Shape 6820">
                    <a:extLst>
                      <a:ext uri="{FF2B5EF4-FFF2-40B4-BE49-F238E27FC236}">
                        <a16:creationId xmlns:a16="http://schemas.microsoft.com/office/drawing/2014/main" id="{B63F0773-A7B8-E7CE-F733-F6E9FA585EE6}"/>
                      </a:ext>
                    </a:extLst>
                  </p:cNvPr>
                  <p:cNvSpPr/>
                  <p:nvPr/>
                </p:nvSpPr>
                <p:spPr>
                  <a:xfrm>
                    <a:off x="6897433"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6" name="Graphic 471">
                  <a:extLst>
                    <a:ext uri="{FF2B5EF4-FFF2-40B4-BE49-F238E27FC236}">
                      <a16:creationId xmlns:a16="http://schemas.microsoft.com/office/drawing/2014/main" id="{820ACAD6-DE86-EF50-B701-A3D78D183781}"/>
                    </a:ext>
                  </a:extLst>
                </p:cNvPr>
                <p:cNvGrpSpPr/>
                <p:nvPr/>
              </p:nvGrpSpPr>
              <p:grpSpPr>
                <a:xfrm>
                  <a:off x="6282594" y="3916012"/>
                  <a:ext cx="75723" cy="75723"/>
                  <a:chOff x="6282594" y="3916012"/>
                  <a:chExt cx="75723" cy="75723"/>
                </a:xfrm>
              </p:grpSpPr>
              <p:sp>
                <p:nvSpPr>
                  <p:cNvPr id="6818" name="Freeform: Shape 6817">
                    <a:extLst>
                      <a:ext uri="{FF2B5EF4-FFF2-40B4-BE49-F238E27FC236}">
                        <a16:creationId xmlns:a16="http://schemas.microsoft.com/office/drawing/2014/main" id="{FAA69BE5-8A10-B5AC-6ECD-392A70086D39}"/>
                      </a:ext>
                    </a:extLst>
                  </p:cNvPr>
                  <p:cNvSpPr/>
                  <p:nvPr/>
                </p:nvSpPr>
                <p:spPr>
                  <a:xfrm>
                    <a:off x="632040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19" name="Freeform: Shape 6818">
                    <a:extLst>
                      <a:ext uri="{FF2B5EF4-FFF2-40B4-BE49-F238E27FC236}">
                        <a16:creationId xmlns:a16="http://schemas.microsoft.com/office/drawing/2014/main" id="{8BFC5FC7-0D13-3185-E245-BE504B8A55F4}"/>
                      </a:ext>
                    </a:extLst>
                  </p:cNvPr>
                  <p:cNvSpPr/>
                  <p:nvPr/>
                </p:nvSpPr>
                <p:spPr>
                  <a:xfrm>
                    <a:off x="628259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7" name="Graphic 471">
                  <a:extLst>
                    <a:ext uri="{FF2B5EF4-FFF2-40B4-BE49-F238E27FC236}">
                      <a16:creationId xmlns:a16="http://schemas.microsoft.com/office/drawing/2014/main" id="{0D4E02D3-F7F5-EF1A-2DF0-98FDFB21C390}"/>
                    </a:ext>
                  </a:extLst>
                </p:cNvPr>
                <p:cNvGrpSpPr/>
                <p:nvPr/>
              </p:nvGrpSpPr>
              <p:grpSpPr>
                <a:xfrm>
                  <a:off x="6217062" y="3881722"/>
                  <a:ext cx="75628" cy="75628"/>
                  <a:chOff x="6217062" y="3881722"/>
                  <a:chExt cx="75628" cy="75628"/>
                </a:xfrm>
              </p:grpSpPr>
              <p:sp>
                <p:nvSpPr>
                  <p:cNvPr id="6816" name="Freeform: Shape 6815">
                    <a:extLst>
                      <a:ext uri="{FF2B5EF4-FFF2-40B4-BE49-F238E27FC236}">
                        <a16:creationId xmlns:a16="http://schemas.microsoft.com/office/drawing/2014/main" id="{FF814699-2349-58E3-B520-DE25F8A9F278}"/>
                      </a:ext>
                    </a:extLst>
                  </p:cNvPr>
                  <p:cNvSpPr/>
                  <p:nvPr/>
                </p:nvSpPr>
                <p:spPr>
                  <a:xfrm>
                    <a:off x="6254876" y="388172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17" name="Freeform: Shape 6816">
                    <a:extLst>
                      <a:ext uri="{FF2B5EF4-FFF2-40B4-BE49-F238E27FC236}">
                        <a16:creationId xmlns:a16="http://schemas.microsoft.com/office/drawing/2014/main" id="{6A5526EF-3DF6-FBFA-EEBA-D4DB8F318734}"/>
                      </a:ext>
                    </a:extLst>
                  </p:cNvPr>
                  <p:cNvSpPr/>
                  <p:nvPr/>
                </p:nvSpPr>
                <p:spPr>
                  <a:xfrm>
                    <a:off x="6217062" y="391953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8" name="Graphic 471">
                  <a:extLst>
                    <a:ext uri="{FF2B5EF4-FFF2-40B4-BE49-F238E27FC236}">
                      <a16:creationId xmlns:a16="http://schemas.microsoft.com/office/drawing/2014/main" id="{D57EBD9D-5147-B0B2-45C7-2B70CAFB246B}"/>
                    </a:ext>
                  </a:extLst>
                </p:cNvPr>
                <p:cNvGrpSpPr/>
                <p:nvPr/>
              </p:nvGrpSpPr>
              <p:grpSpPr>
                <a:xfrm>
                  <a:off x="6145529" y="3850480"/>
                  <a:ext cx="75628" cy="75723"/>
                  <a:chOff x="6145529" y="3850480"/>
                  <a:chExt cx="75628" cy="75723"/>
                </a:xfrm>
              </p:grpSpPr>
              <p:sp>
                <p:nvSpPr>
                  <p:cNvPr id="6814" name="Freeform: Shape 6813">
                    <a:extLst>
                      <a:ext uri="{FF2B5EF4-FFF2-40B4-BE49-F238E27FC236}">
                        <a16:creationId xmlns:a16="http://schemas.microsoft.com/office/drawing/2014/main" id="{F7F8CD33-6443-C064-3929-3B81BB990454}"/>
                      </a:ext>
                    </a:extLst>
                  </p:cNvPr>
                  <p:cNvSpPr/>
                  <p:nvPr/>
                </p:nvSpPr>
                <p:spPr>
                  <a:xfrm>
                    <a:off x="6183343"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15" name="Freeform: Shape 6814">
                    <a:extLst>
                      <a:ext uri="{FF2B5EF4-FFF2-40B4-BE49-F238E27FC236}">
                        <a16:creationId xmlns:a16="http://schemas.microsoft.com/office/drawing/2014/main" id="{D9566644-C1C9-779B-FB7D-0DE158678A31}"/>
                      </a:ext>
                    </a:extLst>
                  </p:cNvPr>
                  <p:cNvSpPr/>
                  <p:nvPr/>
                </p:nvSpPr>
                <p:spPr>
                  <a:xfrm>
                    <a:off x="6145529"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89" name="Graphic 471">
                  <a:extLst>
                    <a:ext uri="{FF2B5EF4-FFF2-40B4-BE49-F238E27FC236}">
                      <a16:creationId xmlns:a16="http://schemas.microsoft.com/office/drawing/2014/main" id="{E611E427-1041-E2EB-691A-A07EDF4E4C0C}"/>
                    </a:ext>
                  </a:extLst>
                </p:cNvPr>
                <p:cNvGrpSpPr/>
                <p:nvPr/>
              </p:nvGrpSpPr>
              <p:grpSpPr>
                <a:xfrm>
                  <a:off x="6086950" y="3792949"/>
                  <a:ext cx="75628" cy="75628"/>
                  <a:chOff x="6086950" y="3792949"/>
                  <a:chExt cx="75628" cy="75628"/>
                </a:xfrm>
              </p:grpSpPr>
              <p:sp>
                <p:nvSpPr>
                  <p:cNvPr id="6812" name="Freeform: Shape 6811">
                    <a:extLst>
                      <a:ext uri="{FF2B5EF4-FFF2-40B4-BE49-F238E27FC236}">
                        <a16:creationId xmlns:a16="http://schemas.microsoft.com/office/drawing/2014/main" id="{64FA7B89-CDAA-91DA-134A-6289DD544FDE}"/>
                      </a:ext>
                    </a:extLst>
                  </p:cNvPr>
                  <p:cNvSpPr/>
                  <p:nvPr/>
                </p:nvSpPr>
                <p:spPr>
                  <a:xfrm>
                    <a:off x="6124765"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13" name="Freeform: Shape 6812">
                    <a:extLst>
                      <a:ext uri="{FF2B5EF4-FFF2-40B4-BE49-F238E27FC236}">
                        <a16:creationId xmlns:a16="http://schemas.microsoft.com/office/drawing/2014/main" id="{2BF98D47-E621-7BD9-6E44-E664E887D2EE}"/>
                      </a:ext>
                    </a:extLst>
                  </p:cNvPr>
                  <p:cNvSpPr/>
                  <p:nvPr/>
                </p:nvSpPr>
                <p:spPr>
                  <a:xfrm>
                    <a:off x="6086950" y="383076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0" name="Graphic 471">
                  <a:extLst>
                    <a:ext uri="{FF2B5EF4-FFF2-40B4-BE49-F238E27FC236}">
                      <a16:creationId xmlns:a16="http://schemas.microsoft.com/office/drawing/2014/main" id="{271BF934-F2CD-BFB5-890D-5A5BE404C0BF}"/>
                    </a:ext>
                  </a:extLst>
                </p:cNvPr>
                <p:cNvGrpSpPr/>
                <p:nvPr/>
              </p:nvGrpSpPr>
              <p:grpSpPr>
                <a:xfrm>
                  <a:off x="6079997" y="3792949"/>
                  <a:ext cx="75723" cy="75628"/>
                  <a:chOff x="6079997" y="3792949"/>
                  <a:chExt cx="75723" cy="75628"/>
                </a:xfrm>
              </p:grpSpPr>
              <p:sp>
                <p:nvSpPr>
                  <p:cNvPr id="6810" name="Freeform: Shape 6809">
                    <a:extLst>
                      <a:ext uri="{FF2B5EF4-FFF2-40B4-BE49-F238E27FC236}">
                        <a16:creationId xmlns:a16="http://schemas.microsoft.com/office/drawing/2014/main" id="{44945C50-1C9A-6841-6A6B-F85E4F1CFCD8}"/>
                      </a:ext>
                    </a:extLst>
                  </p:cNvPr>
                  <p:cNvSpPr/>
                  <p:nvPr/>
                </p:nvSpPr>
                <p:spPr>
                  <a:xfrm>
                    <a:off x="6117811" y="379294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11" name="Freeform: Shape 6810">
                    <a:extLst>
                      <a:ext uri="{FF2B5EF4-FFF2-40B4-BE49-F238E27FC236}">
                        <a16:creationId xmlns:a16="http://schemas.microsoft.com/office/drawing/2014/main" id="{9D6B5AF8-4023-E3A2-6B99-F5D42C8B452D}"/>
                      </a:ext>
                    </a:extLst>
                  </p:cNvPr>
                  <p:cNvSpPr/>
                  <p:nvPr/>
                </p:nvSpPr>
                <p:spPr>
                  <a:xfrm>
                    <a:off x="6079997" y="38307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1" name="Graphic 471">
                  <a:extLst>
                    <a:ext uri="{FF2B5EF4-FFF2-40B4-BE49-F238E27FC236}">
                      <a16:creationId xmlns:a16="http://schemas.microsoft.com/office/drawing/2014/main" id="{9611149A-585A-9F34-BB7B-4D9B423A42A7}"/>
                    </a:ext>
                  </a:extLst>
                </p:cNvPr>
                <p:cNvGrpSpPr/>
                <p:nvPr/>
              </p:nvGrpSpPr>
              <p:grpSpPr>
                <a:xfrm>
                  <a:off x="6034468" y="3730465"/>
                  <a:ext cx="75628" cy="75723"/>
                  <a:chOff x="6034468" y="3730465"/>
                  <a:chExt cx="75628" cy="75723"/>
                </a:xfrm>
              </p:grpSpPr>
              <p:sp>
                <p:nvSpPr>
                  <p:cNvPr id="6808" name="Freeform: Shape 6807">
                    <a:extLst>
                      <a:ext uri="{FF2B5EF4-FFF2-40B4-BE49-F238E27FC236}">
                        <a16:creationId xmlns:a16="http://schemas.microsoft.com/office/drawing/2014/main" id="{49012013-50D4-4E3C-A890-F80D23B923CF}"/>
                      </a:ext>
                    </a:extLst>
                  </p:cNvPr>
                  <p:cNvSpPr/>
                  <p:nvPr/>
                </p:nvSpPr>
                <p:spPr>
                  <a:xfrm>
                    <a:off x="6072282"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09" name="Freeform: Shape 6808">
                    <a:extLst>
                      <a:ext uri="{FF2B5EF4-FFF2-40B4-BE49-F238E27FC236}">
                        <a16:creationId xmlns:a16="http://schemas.microsoft.com/office/drawing/2014/main" id="{BE2F7097-94D5-849D-6B90-9605B0F0BB44}"/>
                      </a:ext>
                    </a:extLst>
                  </p:cNvPr>
                  <p:cNvSpPr/>
                  <p:nvPr/>
                </p:nvSpPr>
                <p:spPr>
                  <a:xfrm>
                    <a:off x="6034468" y="37683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2" name="Graphic 471">
                  <a:extLst>
                    <a:ext uri="{FF2B5EF4-FFF2-40B4-BE49-F238E27FC236}">
                      <a16:creationId xmlns:a16="http://schemas.microsoft.com/office/drawing/2014/main" id="{7DFF4EAA-7E2C-B6B0-2B62-03888FDFED9A}"/>
                    </a:ext>
                  </a:extLst>
                </p:cNvPr>
                <p:cNvGrpSpPr/>
                <p:nvPr/>
              </p:nvGrpSpPr>
              <p:grpSpPr>
                <a:xfrm>
                  <a:off x="5981318" y="3730465"/>
                  <a:ext cx="75723" cy="75723"/>
                  <a:chOff x="5981318" y="3730465"/>
                  <a:chExt cx="75723" cy="75723"/>
                </a:xfrm>
              </p:grpSpPr>
              <p:sp>
                <p:nvSpPr>
                  <p:cNvPr id="6806" name="Freeform: Shape 6805">
                    <a:extLst>
                      <a:ext uri="{FF2B5EF4-FFF2-40B4-BE49-F238E27FC236}">
                        <a16:creationId xmlns:a16="http://schemas.microsoft.com/office/drawing/2014/main" id="{B140AC74-1F6B-E724-E396-B4489055C302}"/>
                      </a:ext>
                    </a:extLst>
                  </p:cNvPr>
                  <p:cNvSpPr/>
                  <p:nvPr/>
                </p:nvSpPr>
                <p:spPr>
                  <a:xfrm>
                    <a:off x="6019228" y="37304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07" name="Freeform: Shape 6806">
                    <a:extLst>
                      <a:ext uri="{FF2B5EF4-FFF2-40B4-BE49-F238E27FC236}">
                        <a16:creationId xmlns:a16="http://schemas.microsoft.com/office/drawing/2014/main" id="{1DEC6741-E1DF-92DA-A021-B46F4E083DE1}"/>
                      </a:ext>
                    </a:extLst>
                  </p:cNvPr>
                  <p:cNvSpPr/>
                  <p:nvPr/>
                </p:nvSpPr>
                <p:spPr>
                  <a:xfrm>
                    <a:off x="5981318" y="37683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3" name="Graphic 471">
                  <a:extLst>
                    <a:ext uri="{FF2B5EF4-FFF2-40B4-BE49-F238E27FC236}">
                      <a16:creationId xmlns:a16="http://schemas.microsoft.com/office/drawing/2014/main" id="{1846B071-F8E0-7476-1D55-590445A0E2CA}"/>
                    </a:ext>
                  </a:extLst>
                </p:cNvPr>
                <p:cNvGrpSpPr/>
                <p:nvPr/>
              </p:nvGrpSpPr>
              <p:grpSpPr>
                <a:xfrm>
                  <a:off x="5938741" y="3701509"/>
                  <a:ext cx="75723" cy="75723"/>
                  <a:chOff x="5938741" y="3701509"/>
                  <a:chExt cx="75723" cy="75723"/>
                </a:xfrm>
              </p:grpSpPr>
              <p:sp>
                <p:nvSpPr>
                  <p:cNvPr id="6804" name="Freeform: Shape 6803">
                    <a:extLst>
                      <a:ext uri="{FF2B5EF4-FFF2-40B4-BE49-F238E27FC236}">
                        <a16:creationId xmlns:a16="http://schemas.microsoft.com/office/drawing/2014/main" id="{EFFC5DF9-8AF9-2D5A-BA79-0B4C417B904D}"/>
                      </a:ext>
                    </a:extLst>
                  </p:cNvPr>
                  <p:cNvSpPr/>
                  <p:nvPr/>
                </p:nvSpPr>
                <p:spPr>
                  <a:xfrm>
                    <a:off x="5976651"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05" name="Freeform: Shape 6804">
                    <a:extLst>
                      <a:ext uri="{FF2B5EF4-FFF2-40B4-BE49-F238E27FC236}">
                        <a16:creationId xmlns:a16="http://schemas.microsoft.com/office/drawing/2014/main" id="{12B22815-C334-E0E4-E57A-7E8197F5FCBE}"/>
                      </a:ext>
                    </a:extLst>
                  </p:cNvPr>
                  <p:cNvSpPr/>
                  <p:nvPr/>
                </p:nvSpPr>
                <p:spPr>
                  <a:xfrm>
                    <a:off x="5938741"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4" name="Graphic 471">
                  <a:extLst>
                    <a:ext uri="{FF2B5EF4-FFF2-40B4-BE49-F238E27FC236}">
                      <a16:creationId xmlns:a16="http://schemas.microsoft.com/office/drawing/2014/main" id="{3C01257B-A541-BF22-6C6D-04A7EBF205F5}"/>
                    </a:ext>
                  </a:extLst>
                </p:cNvPr>
                <p:cNvGrpSpPr/>
                <p:nvPr/>
              </p:nvGrpSpPr>
              <p:grpSpPr>
                <a:xfrm>
                  <a:off x="5863113" y="3675030"/>
                  <a:ext cx="75628" cy="75723"/>
                  <a:chOff x="5863113" y="3675030"/>
                  <a:chExt cx="75628" cy="75723"/>
                </a:xfrm>
              </p:grpSpPr>
              <p:sp>
                <p:nvSpPr>
                  <p:cNvPr id="6802" name="Freeform: Shape 6801">
                    <a:extLst>
                      <a:ext uri="{FF2B5EF4-FFF2-40B4-BE49-F238E27FC236}">
                        <a16:creationId xmlns:a16="http://schemas.microsoft.com/office/drawing/2014/main" id="{339156B2-6461-A38F-F8A7-596D8EB4AF9C}"/>
                      </a:ext>
                    </a:extLst>
                  </p:cNvPr>
                  <p:cNvSpPr/>
                  <p:nvPr/>
                </p:nvSpPr>
                <p:spPr>
                  <a:xfrm>
                    <a:off x="590092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03" name="Freeform: Shape 6802">
                    <a:extLst>
                      <a:ext uri="{FF2B5EF4-FFF2-40B4-BE49-F238E27FC236}">
                        <a16:creationId xmlns:a16="http://schemas.microsoft.com/office/drawing/2014/main" id="{C39D683A-7122-E1AE-065D-E292A0D3FB48}"/>
                      </a:ext>
                    </a:extLst>
                  </p:cNvPr>
                  <p:cNvSpPr/>
                  <p:nvPr/>
                </p:nvSpPr>
                <p:spPr>
                  <a:xfrm>
                    <a:off x="5863113"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5" name="Graphic 471">
                  <a:extLst>
                    <a:ext uri="{FF2B5EF4-FFF2-40B4-BE49-F238E27FC236}">
                      <a16:creationId xmlns:a16="http://schemas.microsoft.com/office/drawing/2014/main" id="{B4C93A53-0EC8-8416-F78B-8A4D9A7DF8E0}"/>
                    </a:ext>
                  </a:extLst>
                </p:cNvPr>
                <p:cNvGrpSpPr/>
                <p:nvPr/>
              </p:nvGrpSpPr>
              <p:grpSpPr>
                <a:xfrm>
                  <a:off x="5853016" y="3675030"/>
                  <a:ext cx="75723" cy="75723"/>
                  <a:chOff x="5853016" y="3675030"/>
                  <a:chExt cx="75723" cy="75723"/>
                </a:xfrm>
              </p:grpSpPr>
              <p:sp>
                <p:nvSpPr>
                  <p:cNvPr id="6800" name="Freeform: Shape 6799">
                    <a:extLst>
                      <a:ext uri="{FF2B5EF4-FFF2-40B4-BE49-F238E27FC236}">
                        <a16:creationId xmlns:a16="http://schemas.microsoft.com/office/drawing/2014/main" id="{CC49A0AD-AF7B-14BD-AB81-42DDBB94523F}"/>
                      </a:ext>
                    </a:extLst>
                  </p:cNvPr>
                  <p:cNvSpPr/>
                  <p:nvPr/>
                </p:nvSpPr>
                <p:spPr>
                  <a:xfrm>
                    <a:off x="589092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01" name="Freeform: Shape 6800">
                    <a:extLst>
                      <a:ext uri="{FF2B5EF4-FFF2-40B4-BE49-F238E27FC236}">
                        <a16:creationId xmlns:a16="http://schemas.microsoft.com/office/drawing/2014/main" id="{FCC3CB16-41D0-3E9C-16E9-9B6005AA30A4}"/>
                      </a:ext>
                    </a:extLst>
                  </p:cNvPr>
                  <p:cNvSpPr/>
                  <p:nvPr/>
                </p:nvSpPr>
                <p:spPr>
                  <a:xfrm>
                    <a:off x="585301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6" name="Graphic 471">
                  <a:extLst>
                    <a:ext uri="{FF2B5EF4-FFF2-40B4-BE49-F238E27FC236}">
                      <a16:creationId xmlns:a16="http://schemas.microsoft.com/office/drawing/2014/main" id="{AFF357AD-F386-C60D-D5C2-31CEAFCC774E}"/>
                    </a:ext>
                  </a:extLst>
                </p:cNvPr>
                <p:cNvGrpSpPr/>
                <p:nvPr/>
              </p:nvGrpSpPr>
              <p:grpSpPr>
                <a:xfrm>
                  <a:off x="5825203" y="3675030"/>
                  <a:ext cx="75723" cy="75723"/>
                  <a:chOff x="5825203" y="3675030"/>
                  <a:chExt cx="75723" cy="75723"/>
                </a:xfrm>
              </p:grpSpPr>
              <p:sp>
                <p:nvSpPr>
                  <p:cNvPr id="6798" name="Freeform: Shape 6797">
                    <a:extLst>
                      <a:ext uri="{FF2B5EF4-FFF2-40B4-BE49-F238E27FC236}">
                        <a16:creationId xmlns:a16="http://schemas.microsoft.com/office/drawing/2014/main" id="{8B17F4E1-9C4E-5E88-02A5-8C17311A6819}"/>
                      </a:ext>
                    </a:extLst>
                  </p:cNvPr>
                  <p:cNvSpPr/>
                  <p:nvPr/>
                </p:nvSpPr>
                <p:spPr>
                  <a:xfrm>
                    <a:off x="5863113"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99" name="Freeform: Shape 6798">
                    <a:extLst>
                      <a:ext uri="{FF2B5EF4-FFF2-40B4-BE49-F238E27FC236}">
                        <a16:creationId xmlns:a16="http://schemas.microsoft.com/office/drawing/2014/main" id="{DE25A3C4-F59D-FD9D-EB17-C6C2D66FE3C3}"/>
                      </a:ext>
                    </a:extLst>
                  </p:cNvPr>
                  <p:cNvSpPr/>
                  <p:nvPr/>
                </p:nvSpPr>
                <p:spPr>
                  <a:xfrm>
                    <a:off x="582520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7" name="Graphic 471">
                  <a:extLst>
                    <a:ext uri="{FF2B5EF4-FFF2-40B4-BE49-F238E27FC236}">
                      <a16:creationId xmlns:a16="http://schemas.microsoft.com/office/drawing/2014/main" id="{9174DBE6-321E-9C9C-3C36-D3B8F102CDE0}"/>
                    </a:ext>
                  </a:extLst>
                </p:cNvPr>
                <p:cNvGrpSpPr/>
                <p:nvPr/>
              </p:nvGrpSpPr>
              <p:grpSpPr>
                <a:xfrm>
                  <a:off x="5755766" y="3675030"/>
                  <a:ext cx="75723" cy="75723"/>
                  <a:chOff x="5755766" y="3675030"/>
                  <a:chExt cx="75723" cy="75723"/>
                </a:xfrm>
              </p:grpSpPr>
              <p:sp>
                <p:nvSpPr>
                  <p:cNvPr id="6796" name="Freeform: Shape 6795">
                    <a:extLst>
                      <a:ext uri="{FF2B5EF4-FFF2-40B4-BE49-F238E27FC236}">
                        <a16:creationId xmlns:a16="http://schemas.microsoft.com/office/drawing/2014/main" id="{6DA78362-224E-2B75-06B1-A132A66D71FC}"/>
                      </a:ext>
                    </a:extLst>
                  </p:cNvPr>
                  <p:cNvSpPr/>
                  <p:nvPr/>
                </p:nvSpPr>
                <p:spPr>
                  <a:xfrm>
                    <a:off x="579367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97" name="Freeform: Shape 6796">
                    <a:extLst>
                      <a:ext uri="{FF2B5EF4-FFF2-40B4-BE49-F238E27FC236}">
                        <a16:creationId xmlns:a16="http://schemas.microsoft.com/office/drawing/2014/main" id="{5F0D1CBB-86E0-1AC5-5BE3-91B0E51458B1}"/>
                      </a:ext>
                    </a:extLst>
                  </p:cNvPr>
                  <p:cNvSpPr/>
                  <p:nvPr/>
                </p:nvSpPr>
                <p:spPr>
                  <a:xfrm>
                    <a:off x="5755766"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8" name="Graphic 471">
                  <a:extLst>
                    <a:ext uri="{FF2B5EF4-FFF2-40B4-BE49-F238E27FC236}">
                      <a16:creationId xmlns:a16="http://schemas.microsoft.com/office/drawing/2014/main" id="{484B1AC3-EA40-DACD-9D68-57936FE95F77}"/>
                    </a:ext>
                  </a:extLst>
                </p:cNvPr>
                <p:cNvGrpSpPr/>
                <p:nvPr/>
              </p:nvGrpSpPr>
              <p:grpSpPr>
                <a:xfrm>
                  <a:off x="5710522" y="3675030"/>
                  <a:ext cx="75628" cy="75723"/>
                  <a:chOff x="5710522" y="3675030"/>
                  <a:chExt cx="75628" cy="75723"/>
                </a:xfrm>
              </p:grpSpPr>
              <p:sp>
                <p:nvSpPr>
                  <p:cNvPr id="6794" name="Freeform: Shape 6793">
                    <a:extLst>
                      <a:ext uri="{FF2B5EF4-FFF2-40B4-BE49-F238E27FC236}">
                        <a16:creationId xmlns:a16="http://schemas.microsoft.com/office/drawing/2014/main" id="{C12A8C1C-0DED-E70F-1CFB-6923EB2AB322}"/>
                      </a:ext>
                    </a:extLst>
                  </p:cNvPr>
                  <p:cNvSpPr/>
                  <p:nvPr/>
                </p:nvSpPr>
                <p:spPr>
                  <a:xfrm>
                    <a:off x="574833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95" name="Freeform: Shape 6794">
                    <a:extLst>
                      <a:ext uri="{FF2B5EF4-FFF2-40B4-BE49-F238E27FC236}">
                        <a16:creationId xmlns:a16="http://schemas.microsoft.com/office/drawing/2014/main" id="{FF5E610D-5EC0-B61A-8FBA-901B592B5159}"/>
                      </a:ext>
                    </a:extLst>
                  </p:cNvPr>
                  <p:cNvSpPr/>
                  <p:nvPr/>
                </p:nvSpPr>
                <p:spPr>
                  <a:xfrm>
                    <a:off x="5710522" y="371293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599" name="Graphic 471">
                  <a:extLst>
                    <a:ext uri="{FF2B5EF4-FFF2-40B4-BE49-F238E27FC236}">
                      <a16:creationId xmlns:a16="http://schemas.microsoft.com/office/drawing/2014/main" id="{6534D1AB-8016-DD7B-5DD5-069819B44D30}"/>
                    </a:ext>
                  </a:extLst>
                </p:cNvPr>
                <p:cNvGrpSpPr/>
                <p:nvPr/>
              </p:nvGrpSpPr>
              <p:grpSpPr>
                <a:xfrm>
                  <a:off x="5693473" y="3675030"/>
                  <a:ext cx="75723" cy="75723"/>
                  <a:chOff x="5693473" y="3675030"/>
                  <a:chExt cx="75723" cy="75723"/>
                </a:xfrm>
              </p:grpSpPr>
              <p:sp>
                <p:nvSpPr>
                  <p:cNvPr id="6792" name="Freeform: Shape 6791">
                    <a:extLst>
                      <a:ext uri="{FF2B5EF4-FFF2-40B4-BE49-F238E27FC236}">
                        <a16:creationId xmlns:a16="http://schemas.microsoft.com/office/drawing/2014/main" id="{92377420-3AF5-B9E0-FF59-ACD983D80896}"/>
                      </a:ext>
                    </a:extLst>
                  </p:cNvPr>
                  <p:cNvSpPr/>
                  <p:nvPr/>
                </p:nvSpPr>
                <p:spPr>
                  <a:xfrm>
                    <a:off x="5731287"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93" name="Freeform: Shape 6792">
                    <a:extLst>
                      <a:ext uri="{FF2B5EF4-FFF2-40B4-BE49-F238E27FC236}">
                        <a16:creationId xmlns:a16="http://schemas.microsoft.com/office/drawing/2014/main" id="{DD4CDD45-A3CC-F56F-8F3D-D4D982219F9C}"/>
                      </a:ext>
                    </a:extLst>
                  </p:cNvPr>
                  <p:cNvSpPr/>
                  <p:nvPr/>
                </p:nvSpPr>
                <p:spPr>
                  <a:xfrm>
                    <a:off x="5693473"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0" name="Graphic 471">
                  <a:extLst>
                    <a:ext uri="{FF2B5EF4-FFF2-40B4-BE49-F238E27FC236}">
                      <a16:creationId xmlns:a16="http://schemas.microsoft.com/office/drawing/2014/main" id="{C54D07D3-4102-8C63-9D28-6584A365F659}"/>
                    </a:ext>
                  </a:extLst>
                </p:cNvPr>
                <p:cNvGrpSpPr/>
                <p:nvPr/>
              </p:nvGrpSpPr>
              <p:grpSpPr>
                <a:xfrm>
                  <a:off x="5680138" y="3675030"/>
                  <a:ext cx="75628" cy="75723"/>
                  <a:chOff x="5680138" y="3675030"/>
                  <a:chExt cx="75628" cy="75723"/>
                </a:xfrm>
              </p:grpSpPr>
              <p:sp>
                <p:nvSpPr>
                  <p:cNvPr id="6790" name="Freeform: Shape 6789">
                    <a:extLst>
                      <a:ext uri="{FF2B5EF4-FFF2-40B4-BE49-F238E27FC236}">
                        <a16:creationId xmlns:a16="http://schemas.microsoft.com/office/drawing/2014/main" id="{72E3F7C4-0C3D-5FB5-C7DE-64396602C8F2}"/>
                      </a:ext>
                    </a:extLst>
                  </p:cNvPr>
                  <p:cNvSpPr/>
                  <p:nvPr/>
                </p:nvSpPr>
                <p:spPr>
                  <a:xfrm>
                    <a:off x="5717952"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91" name="Freeform: Shape 6790">
                    <a:extLst>
                      <a:ext uri="{FF2B5EF4-FFF2-40B4-BE49-F238E27FC236}">
                        <a16:creationId xmlns:a16="http://schemas.microsoft.com/office/drawing/2014/main" id="{3BF78A36-6816-8DFF-FDE4-DAF1CE23500D}"/>
                      </a:ext>
                    </a:extLst>
                  </p:cNvPr>
                  <p:cNvSpPr/>
                  <p:nvPr/>
                </p:nvSpPr>
                <p:spPr>
                  <a:xfrm>
                    <a:off x="5680138" y="37129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1" name="Graphic 471">
                  <a:extLst>
                    <a:ext uri="{FF2B5EF4-FFF2-40B4-BE49-F238E27FC236}">
                      <a16:creationId xmlns:a16="http://schemas.microsoft.com/office/drawing/2014/main" id="{9A5FC37F-3C63-F8B2-A48C-7FFD9B619724}"/>
                    </a:ext>
                  </a:extLst>
                </p:cNvPr>
                <p:cNvGrpSpPr/>
                <p:nvPr/>
              </p:nvGrpSpPr>
              <p:grpSpPr>
                <a:xfrm>
                  <a:off x="5647372" y="3647693"/>
                  <a:ext cx="75723" cy="75723"/>
                  <a:chOff x="5647372" y="3647693"/>
                  <a:chExt cx="75723" cy="75723"/>
                </a:xfrm>
              </p:grpSpPr>
              <p:sp>
                <p:nvSpPr>
                  <p:cNvPr id="6788" name="Freeform: Shape 6787">
                    <a:extLst>
                      <a:ext uri="{FF2B5EF4-FFF2-40B4-BE49-F238E27FC236}">
                        <a16:creationId xmlns:a16="http://schemas.microsoft.com/office/drawing/2014/main" id="{7D1F77C1-06D5-4CBA-43A1-9F3FC49F772B}"/>
                      </a:ext>
                    </a:extLst>
                  </p:cNvPr>
                  <p:cNvSpPr/>
                  <p:nvPr/>
                </p:nvSpPr>
                <p:spPr>
                  <a:xfrm>
                    <a:off x="5685186"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89" name="Freeform: Shape 6788">
                    <a:extLst>
                      <a:ext uri="{FF2B5EF4-FFF2-40B4-BE49-F238E27FC236}">
                        <a16:creationId xmlns:a16="http://schemas.microsoft.com/office/drawing/2014/main" id="{F0C2E4C4-5F7B-384A-238E-5130BE3FE12A}"/>
                      </a:ext>
                    </a:extLst>
                  </p:cNvPr>
                  <p:cNvSpPr/>
                  <p:nvPr/>
                </p:nvSpPr>
                <p:spPr>
                  <a:xfrm>
                    <a:off x="5647372"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2" name="Graphic 471">
                  <a:extLst>
                    <a:ext uri="{FF2B5EF4-FFF2-40B4-BE49-F238E27FC236}">
                      <a16:creationId xmlns:a16="http://schemas.microsoft.com/office/drawing/2014/main" id="{E5045ADE-3B10-F317-EAC6-970EBEEF1417}"/>
                    </a:ext>
                  </a:extLst>
                </p:cNvPr>
                <p:cNvGrpSpPr/>
                <p:nvPr/>
              </p:nvGrpSpPr>
              <p:grpSpPr>
                <a:xfrm>
                  <a:off x="5612415" y="3647693"/>
                  <a:ext cx="75723" cy="75723"/>
                  <a:chOff x="5612415" y="3647693"/>
                  <a:chExt cx="75723" cy="75723"/>
                </a:xfrm>
              </p:grpSpPr>
              <p:sp>
                <p:nvSpPr>
                  <p:cNvPr id="6786" name="Freeform: Shape 6785">
                    <a:extLst>
                      <a:ext uri="{FF2B5EF4-FFF2-40B4-BE49-F238E27FC236}">
                        <a16:creationId xmlns:a16="http://schemas.microsoft.com/office/drawing/2014/main" id="{233FF83D-B867-6DDC-D0A0-1F440ADEBEB0}"/>
                      </a:ext>
                    </a:extLst>
                  </p:cNvPr>
                  <p:cNvSpPr/>
                  <p:nvPr/>
                </p:nvSpPr>
                <p:spPr>
                  <a:xfrm>
                    <a:off x="5650229" y="36476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87" name="Freeform: Shape 6786">
                    <a:extLst>
                      <a:ext uri="{FF2B5EF4-FFF2-40B4-BE49-F238E27FC236}">
                        <a16:creationId xmlns:a16="http://schemas.microsoft.com/office/drawing/2014/main" id="{3711E724-03F5-E70A-2A95-8B3D6173B8F8}"/>
                      </a:ext>
                    </a:extLst>
                  </p:cNvPr>
                  <p:cNvSpPr/>
                  <p:nvPr/>
                </p:nvSpPr>
                <p:spPr>
                  <a:xfrm>
                    <a:off x="5612415" y="36856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3" name="Graphic 471">
                  <a:extLst>
                    <a:ext uri="{FF2B5EF4-FFF2-40B4-BE49-F238E27FC236}">
                      <a16:creationId xmlns:a16="http://schemas.microsoft.com/office/drawing/2014/main" id="{C7CFEFA8-78BC-D324-9811-B5716A13A2F3}"/>
                    </a:ext>
                  </a:extLst>
                </p:cNvPr>
                <p:cNvGrpSpPr/>
                <p:nvPr/>
              </p:nvGrpSpPr>
              <p:grpSpPr>
                <a:xfrm>
                  <a:off x="5582983" y="3618547"/>
                  <a:ext cx="75723" cy="75723"/>
                  <a:chOff x="5582983" y="3618547"/>
                  <a:chExt cx="75723" cy="75723"/>
                </a:xfrm>
              </p:grpSpPr>
              <p:sp>
                <p:nvSpPr>
                  <p:cNvPr id="6784" name="Freeform: Shape 6783">
                    <a:extLst>
                      <a:ext uri="{FF2B5EF4-FFF2-40B4-BE49-F238E27FC236}">
                        <a16:creationId xmlns:a16="http://schemas.microsoft.com/office/drawing/2014/main" id="{D7FD92D0-45DF-504F-4DC7-D5ED1EACACD8}"/>
                      </a:ext>
                    </a:extLst>
                  </p:cNvPr>
                  <p:cNvSpPr/>
                  <p:nvPr/>
                </p:nvSpPr>
                <p:spPr>
                  <a:xfrm>
                    <a:off x="5620892"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85" name="Freeform: Shape 6784">
                    <a:extLst>
                      <a:ext uri="{FF2B5EF4-FFF2-40B4-BE49-F238E27FC236}">
                        <a16:creationId xmlns:a16="http://schemas.microsoft.com/office/drawing/2014/main" id="{04E2FAED-D3B2-C90E-89AF-8AC36D96DD22}"/>
                      </a:ext>
                    </a:extLst>
                  </p:cNvPr>
                  <p:cNvSpPr/>
                  <p:nvPr/>
                </p:nvSpPr>
                <p:spPr>
                  <a:xfrm>
                    <a:off x="5582983"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4" name="Graphic 471">
                  <a:extLst>
                    <a:ext uri="{FF2B5EF4-FFF2-40B4-BE49-F238E27FC236}">
                      <a16:creationId xmlns:a16="http://schemas.microsoft.com/office/drawing/2014/main" id="{75440ADB-024F-7D35-6BBD-E0CE1E266635}"/>
                    </a:ext>
                  </a:extLst>
                </p:cNvPr>
                <p:cNvGrpSpPr/>
                <p:nvPr/>
              </p:nvGrpSpPr>
              <p:grpSpPr>
                <a:xfrm>
                  <a:off x="5529928" y="3618547"/>
                  <a:ext cx="75723" cy="75723"/>
                  <a:chOff x="5529928" y="3618547"/>
                  <a:chExt cx="75723" cy="75723"/>
                </a:xfrm>
              </p:grpSpPr>
              <p:sp>
                <p:nvSpPr>
                  <p:cNvPr id="6782" name="Freeform: Shape 6781">
                    <a:extLst>
                      <a:ext uri="{FF2B5EF4-FFF2-40B4-BE49-F238E27FC236}">
                        <a16:creationId xmlns:a16="http://schemas.microsoft.com/office/drawing/2014/main" id="{131F65A8-7583-A1E6-34FE-640921106768}"/>
                      </a:ext>
                    </a:extLst>
                  </p:cNvPr>
                  <p:cNvSpPr/>
                  <p:nvPr/>
                </p:nvSpPr>
                <p:spPr>
                  <a:xfrm>
                    <a:off x="5567743"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83" name="Freeform: Shape 6782">
                    <a:extLst>
                      <a:ext uri="{FF2B5EF4-FFF2-40B4-BE49-F238E27FC236}">
                        <a16:creationId xmlns:a16="http://schemas.microsoft.com/office/drawing/2014/main" id="{56FE4DE5-0553-C03E-04BB-6E2EC2B281A7}"/>
                      </a:ext>
                    </a:extLst>
                  </p:cNvPr>
                  <p:cNvSpPr/>
                  <p:nvPr/>
                </p:nvSpPr>
                <p:spPr>
                  <a:xfrm>
                    <a:off x="5529928" y="36563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5" name="Graphic 471">
                  <a:extLst>
                    <a:ext uri="{FF2B5EF4-FFF2-40B4-BE49-F238E27FC236}">
                      <a16:creationId xmlns:a16="http://schemas.microsoft.com/office/drawing/2014/main" id="{43C6B327-695A-7E5C-9172-6CEBD81F4C68}"/>
                    </a:ext>
                  </a:extLst>
                </p:cNvPr>
                <p:cNvGrpSpPr/>
                <p:nvPr/>
              </p:nvGrpSpPr>
              <p:grpSpPr>
                <a:xfrm>
                  <a:off x="5518594" y="3618547"/>
                  <a:ext cx="75628" cy="75723"/>
                  <a:chOff x="5518594" y="3618547"/>
                  <a:chExt cx="75628" cy="75723"/>
                </a:xfrm>
              </p:grpSpPr>
              <p:sp>
                <p:nvSpPr>
                  <p:cNvPr id="6780" name="Freeform: Shape 6779">
                    <a:extLst>
                      <a:ext uri="{FF2B5EF4-FFF2-40B4-BE49-F238E27FC236}">
                        <a16:creationId xmlns:a16="http://schemas.microsoft.com/office/drawing/2014/main" id="{6E98EFCC-273F-8A39-D88C-A3C533E79E17}"/>
                      </a:ext>
                    </a:extLst>
                  </p:cNvPr>
                  <p:cNvSpPr/>
                  <p:nvPr/>
                </p:nvSpPr>
                <p:spPr>
                  <a:xfrm>
                    <a:off x="5556408" y="36185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81" name="Freeform: Shape 6780">
                    <a:extLst>
                      <a:ext uri="{FF2B5EF4-FFF2-40B4-BE49-F238E27FC236}">
                        <a16:creationId xmlns:a16="http://schemas.microsoft.com/office/drawing/2014/main" id="{FA8CD357-8F8A-1283-4B73-A28CA3312179}"/>
                      </a:ext>
                    </a:extLst>
                  </p:cNvPr>
                  <p:cNvSpPr/>
                  <p:nvPr/>
                </p:nvSpPr>
                <p:spPr>
                  <a:xfrm>
                    <a:off x="5518594" y="365636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6" name="Graphic 471">
                  <a:extLst>
                    <a:ext uri="{FF2B5EF4-FFF2-40B4-BE49-F238E27FC236}">
                      <a16:creationId xmlns:a16="http://schemas.microsoft.com/office/drawing/2014/main" id="{9AE8C623-FC3B-EFB6-7DCA-FA518CD072B5}"/>
                    </a:ext>
                  </a:extLst>
                </p:cNvPr>
                <p:cNvGrpSpPr/>
                <p:nvPr/>
              </p:nvGrpSpPr>
              <p:grpSpPr>
                <a:xfrm>
                  <a:off x="5374099" y="3595115"/>
                  <a:ext cx="75628" cy="75723"/>
                  <a:chOff x="5374099" y="3595115"/>
                  <a:chExt cx="75628" cy="75723"/>
                </a:xfrm>
              </p:grpSpPr>
              <p:sp>
                <p:nvSpPr>
                  <p:cNvPr id="6778" name="Freeform: Shape 6777">
                    <a:extLst>
                      <a:ext uri="{FF2B5EF4-FFF2-40B4-BE49-F238E27FC236}">
                        <a16:creationId xmlns:a16="http://schemas.microsoft.com/office/drawing/2014/main" id="{A92C5885-A4CB-46C6-C855-A8F80EEA29B8}"/>
                      </a:ext>
                    </a:extLst>
                  </p:cNvPr>
                  <p:cNvSpPr/>
                  <p:nvPr/>
                </p:nvSpPr>
                <p:spPr>
                  <a:xfrm>
                    <a:off x="5411914"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79" name="Freeform: Shape 6778">
                    <a:extLst>
                      <a:ext uri="{FF2B5EF4-FFF2-40B4-BE49-F238E27FC236}">
                        <a16:creationId xmlns:a16="http://schemas.microsoft.com/office/drawing/2014/main" id="{36F1AD8D-B72A-9563-C074-AEF28119BF2F}"/>
                      </a:ext>
                    </a:extLst>
                  </p:cNvPr>
                  <p:cNvSpPr/>
                  <p:nvPr/>
                </p:nvSpPr>
                <p:spPr>
                  <a:xfrm>
                    <a:off x="5374099"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7" name="Graphic 471">
                  <a:extLst>
                    <a:ext uri="{FF2B5EF4-FFF2-40B4-BE49-F238E27FC236}">
                      <a16:creationId xmlns:a16="http://schemas.microsoft.com/office/drawing/2014/main" id="{F87FF59F-3AC7-0715-3324-DA291D876583}"/>
                    </a:ext>
                  </a:extLst>
                </p:cNvPr>
                <p:cNvGrpSpPr/>
                <p:nvPr/>
              </p:nvGrpSpPr>
              <p:grpSpPr>
                <a:xfrm>
                  <a:off x="5430964" y="3595115"/>
                  <a:ext cx="75628" cy="75723"/>
                  <a:chOff x="5430964" y="3595115"/>
                  <a:chExt cx="75628" cy="75723"/>
                </a:xfrm>
              </p:grpSpPr>
              <p:sp>
                <p:nvSpPr>
                  <p:cNvPr id="6776" name="Freeform: Shape 6775">
                    <a:extLst>
                      <a:ext uri="{FF2B5EF4-FFF2-40B4-BE49-F238E27FC236}">
                        <a16:creationId xmlns:a16="http://schemas.microsoft.com/office/drawing/2014/main" id="{5CF98817-1975-AB50-E7D8-6E95C1918FAA}"/>
                      </a:ext>
                    </a:extLst>
                  </p:cNvPr>
                  <p:cNvSpPr/>
                  <p:nvPr/>
                </p:nvSpPr>
                <p:spPr>
                  <a:xfrm>
                    <a:off x="5468778"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77" name="Freeform: Shape 6776">
                    <a:extLst>
                      <a:ext uri="{FF2B5EF4-FFF2-40B4-BE49-F238E27FC236}">
                        <a16:creationId xmlns:a16="http://schemas.microsoft.com/office/drawing/2014/main" id="{FEBA3745-3B90-9303-9BD3-668DE6E6F398}"/>
                      </a:ext>
                    </a:extLst>
                  </p:cNvPr>
                  <p:cNvSpPr/>
                  <p:nvPr/>
                </p:nvSpPr>
                <p:spPr>
                  <a:xfrm>
                    <a:off x="543096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8" name="Graphic 471">
                  <a:extLst>
                    <a:ext uri="{FF2B5EF4-FFF2-40B4-BE49-F238E27FC236}">
                      <a16:creationId xmlns:a16="http://schemas.microsoft.com/office/drawing/2014/main" id="{D7A4EFF1-F257-27B2-69F7-44E70841BA4C}"/>
                    </a:ext>
                  </a:extLst>
                </p:cNvPr>
                <p:cNvGrpSpPr/>
                <p:nvPr/>
              </p:nvGrpSpPr>
              <p:grpSpPr>
                <a:xfrm>
                  <a:off x="5334761" y="3550443"/>
                  <a:ext cx="75723" cy="75723"/>
                  <a:chOff x="5334761" y="3550443"/>
                  <a:chExt cx="75723" cy="75723"/>
                </a:xfrm>
              </p:grpSpPr>
              <p:sp>
                <p:nvSpPr>
                  <p:cNvPr id="6774" name="Freeform: Shape 6773">
                    <a:extLst>
                      <a:ext uri="{FF2B5EF4-FFF2-40B4-BE49-F238E27FC236}">
                        <a16:creationId xmlns:a16="http://schemas.microsoft.com/office/drawing/2014/main" id="{307E023E-32F0-B5C7-4E74-11D89A7922F2}"/>
                      </a:ext>
                    </a:extLst>
                  </p:cNvPr>
                  <p:cNvSpPr/>
                  <p:nvPr/>
                </p:nvSpPr>
                <p:spPr>
                  <a:xfrm>
                    <a:off x="5372575" y="35504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75" name="Freeform: Shape 6774">
                    <a:extLst>
                      <a:ext uri="{FF2B5EF4-FFF2-40B4-BE49-F238E27FC236}">
                        <a16:creationId xmlns:a16="http://schemas.microsoft.com/office/drawing/2014/main" id="{47F4A2BA-324E-CEC0-2B98-BFA7127A193A}"/>
                      </a:ext>
                    </a:extLst>
                  </p:cNvPr>
                  <p:cNvSpPr/>
                  <p:nvPr/>
                </p:nvSpPr>
                <p:spPr>
                  <a:xfrm>
                    <a:off x="5334761" y="35882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09" name="Graphic 471">
                  <a:extLst>
                    <a:ext uri="{FF2B5EF4-FFF2-40B4-BE49-F238E27FC236}">
                      <a16:creationId xmlns:a16="http://schemas.microsoft.com/office/drawing/2014/main" id="{FED7188B-5EA0-8477-B162-EA7923CB2C07}"/>
                    </a:ext>
                  </a:extLst>
                </p:cNvPr>
                <p:cNvGrpSpPr/>
                <p:nvPr/>
              </p:nvGrpSpPr>
              <p:grpSpPr>
                <a:xfrm>
                  <a:off x="5314473" y="3527773"/>
                  <a:ext cx="75723" cy="75628"/>
                  <a:chOff x="5314473" y="3527773"/>
                  <a:chExt cx="75723" cy="75628"/>
                </a:xfrm>
              </p:grpSpPr>
              <p:sp>
                <p:nvSpPr>
                  <p:cNvPr id="6772" name="Freeform: Shape 6771">
                    <a:extLst>
                      <a:ext uri="{FF2B5EF4-FFF2-40B4-BE49-F238E27FC236}">
                        <a16:creationId xmlns:a16="http://schemas.microsoft.com/office/drawing/2014/main" id="{4BB0D06A-419F-B805-F696-F2E7F43B39F9}"/>
                      </a:ext>
                    </a:extLst>
                  </p:cNvPr>
                  <p:cNvSpPr/>
                  <p:nvPr/>
                </p:nvSpPr>
                <p:spPr>
                  <a:xfrm>
                    <a:off x="5352382" y="35277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73" name="Freeform: Shape 6772">
                    <a:extLst>
                      <a:ext uri="{FF2B5EF4-FFF2-40B4-BE49-F238E27FC236}">
                        <a16:creationId xmlns:a16="http://schemas.microsoft.com/office/drawing/2014/main" id="{02EB4C9C-D6F5-562F-D814-46412F2168A0}"/>
                      </a:ext>
                    </a:extLst>
                  </p:cNvPr>
                  <p:cNvSpPr/>
                  <p:nvPr/>
                </p:nvSpPr>
                <p:spPr>
                  <a:xfrm>
                    <a:off x="5314473" y="356558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0" name="Graphic 471">
                  <a:extLst>
                    <a:ext uri="{FF2B5EF4-FFF2-40B4-BE49-F238E27FC236}">
                      <a16:creationId xmlns:a16="http://schemas.microsoft.com/office/drawing/2014/main" id="{9793261A-3CE8-4873-E528-8AF99A0DA083}"/>
                    </a:ext>
                  </a:extLst>
                </p:cNvPr>
                <p:cNvGrpSpPr/>
                <p:nvPr/>
              </p:nvGrpSpPr>
              <p:grpSpPr>
                <a:xfrm>
                  <a:off x="5259037" y="3505009"/>
                  <a:ext cx="75723" cy="75723"/>
                  <a:chOff x="5259037" y="3505009"/>
                  <a:chExt cx="75723" cy="75723"/>
                </a:xfrm>
              </p:grpSpPr>
              <p:sp>
                <p:nvSpPr>
                  <p:cNvPr id="6770" name="Freeform: Shape 6769">
                    <a:extLst>
                      <a:ext uri="{FF2B5EF4-FFF2-40B4-BE49-F238E27FC236}">
                        <a16:creationId xmlns:a16="http://schemas.microsoft.com/office/drawing/2014/main" id="{B785C376-5E63-C31E-7F5E-7B1E21DA3666}"/>
                      </a:ext>
                    </a:extLst>
                  </p:cNvPr>
                  <p:cNvSpPr/>
                  <p:nvPr/>
                </p:nvSpPr>
                <p:spPr>
                  <a:xfrm>
                    <a:off x="5296947"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71" name="Freeform: Shape 6770">
                    <a:extLst>
                      <a:ext uri="{FF2B5EF4-FFF2-40B4-BE49-F238E27FC236}">
                        <a16:creationId xmlns:a16="http://schemas.microsoft.com/office/drawing/2014/main" id="{0746E5F5-8732-A87D-7A19-62E1B057772C}"/>
                      </a:ext>
                    </a:extLst>
                  </p:cNvPr>
                  <p:cNvSpPr/>
                  <p:nvPr/>
                </p:nvSpPr>
                <p:spPr>
                  <a:xfrm>
                    <a:off x="5259037" y="35429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1" name="Graphic 471">
                  <a:extLst>
                    <a:ext uri="{FF2B5EF4-FFF2-40B4-BE49-F238E27FC236}">
                      <a16:creationId xmlns:a16="http://schemas.microsoft.com/office/drawing/2014/main" id="{4D4FC934-87E5-ACAF-0E69-AB51A377F819}"/>
                    </a:ext>
                  </a:extLst>
                </p:cNvPr>
                <p:cNvGrpSpPr/>
                <p:nvPr/>
              </p:nvGrpSpPr>
              <p:grpSpPr>
                <a:xfrm>
                  <a:off x="5248465" y="3505009"/>
                  <a:ext cx="75628" cy="75723"/>
                  <a:chOff x="5248465" y="3505009"/>
                  <a:chExt cx="75628" cy="75723"/>
                </a:xfrm>
              </p:grpSpPr>
              <p:sp>
                <p:nvSpPr>
                  <p:cNvPr id="6768" name="Freeform: Shape 6767">
                    <a:extLst>
                      <a:ext uri="{FF2B5EF4-FFF2-40B4-BE49-F238E27FC236}">
                        <a16:creationId xmlns:a16="http://schemas.microsoft.com/office/drawing/2014/main" id="{E4A6BC6C-D381-BA6A-AF5A-410742E31749}"/>
                      </a:ext>
                    </a:extLst>
                  </p:cNvPr>
                  <p:cNvSpPr/>
                  <p:nvPr/>
                </p:nvSpPr>
                <p:spPr>
                  <a:xfrm>
                    <a:off x="528627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69" name="Freeform: Shape 6768">
                    <a:extLst>
                      <a:ext uri="{FF2B5EF4-FFF2-40B4-BE49-F238E27FC236}">
                        <a16:creationId xmlns:a16="http://schemas.microsoft.com/office/drawing/2014/main" id="{61402024-1C0F-83E0-72F3-404BE4C49F84}"/>
                      </a:ext>
                    </a:extLst>
                  </p:cNvPr>
                  <p:cNvSpPr/>
                  <p:nvPr/>
                </p:nvSpPr>
                <p:spPr>
                  <a:xfrm>
                    <a:off x="524846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2" name="Graphic 471">
                  <a:extLst>
                    <a:ext uri="{FF2B5EF4-FFF2-40B4-BE49-F238E27FC236}">
                      <a16:creationId xmlns:a16="http://schemas.microsoft.com/office/drawing/2014/main" id="{C87A08CC-232A-BEAF-1B55-3B0B4B0B0AAB}"/>
                    </a:ext>
                  </a:extLst>
                </p:cNvPr>
                <p:cNvGrpSpPr/>
                <p:nvPr/>
              </p:nvGrpSpPr>
              <p:grpSpPr>
                <a:xfrm>
                  <a:off x="5229415" y="3505009"/>
                  <a:ext cx="75628" cy="75723"/>
                  <a:chOff x="5229415" y="3505009"/>
                  <a:chExt cx="75628" cy="75723"/>
                </a:xfrm>
              </p:grpSpPr>
              <p:sp>
                <p:nvSpPr>
                  <p:cNvPr id="6766" name="Freeform: Shape 6765">
                    <a:extLst>
                      <a:ext uri="{FF2B5EF4-FFF2-40B4-BE49-F238E27FC236}">
                        <a16:creationId xmlns:a16="http://schemas.microsoft.com/office/drawing/2014/main" id="{5C8CC5DD-A2FA-AEF2-613D-E609EC792CF5}"/>
                      </a:ext>
                    </a:extLst>
                  </p:cNvPr>
                  <p:cNvSpPr/>
                  <p:nvPr/>
                </p:nvSpPr>
                <p:spPr>
                  <a:xfrm>
                    <a:off x="5267229" y="35050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67" name="Freeform: Shape 6766">
                    <a:extLst>
                      <a:ext uri="{FF2B5EF4-FFF2-40B4-BE49-F238E27FC236}">
                        <a16:creationId xmlns:a16="http://schemas.microsoft.com/office/drawing/2014/main" id="{557F915C-D5E6-62AF-4115-231D6C0952ED}"/>
                      </a:ext>
                    </a:extLst>
                  </p:cNvPr>
                  <p:cNvSpPr/>
                  <p:nvPr/>
                </p:nvSpPr>
                <p:spPr>
                  <a:xfrm>
                    <a:off x="5229415" y="354291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3" name="Graphic 471">
                  <a:extLst>
                    <a:ext uri="{FF2B5EF4-FFF2-40B4-BE49-F238E27FC236}">
                      <a16:creationId xmlns:a16="http://schemas.microsoft.com/office/drawing/2014/main" id="{D43F0042-F05A-E100-DA4D-ACAFD494147A}"/>
                    </a:ext>
                  </a:extLst>
                </p:cNvPr>
                <p:cNvGrpSpPr/>
                <p:nvPr/>
              </p:nvGrpSpPr>
              <p:grpSpPr>
                <a:xfrm>
                  <a:off x="5137403" y="3414235"/>
                  <a:ext cx="75628" cy="75723"/>
                  <a:chOff x="5137403" y="3414235"/>
                  <a:chExt cx="75628" cy="75723"/>
                </a:xfrm>
              </p:grpSpPr>
              <p:sp>
                <p:nvSpPr>
                  <p:cNvPr id="6764" name="Freeform: Shape 6763">
                    <a:extLst>
                      <a:ext uri="{FF2B5EF4-FFF2-40B4-BE49-F238E27FC236}">
                        <a16:creationId xmlns:a16="http://schemas.microsoft.com/office/drawing/2014/main" id="{CD907E79-BA36-44DB-377C-C61CBEC37C2B}"/>
                      </a:ext>
                    </a:extLst>
                  </p:cNvPr>
                  <p:cNvSpPr/>
                  <p:nvPr/>
                </p:nvSpPr>
                <p:spPr>
                  <a:xfrm>
                    <a:off x="5175217" y="34142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65" name="Freeform: Shape 6764">
                    <a:extLst>
                      <a:ext uri="{FF2B5EF4-FFF2-40B4-BE49-F238E27FC236}">
                        <a16:creationId xmlns:a16="http://schemas.microsoft.com/office/drawing/2014/main" id="{E8757B72-8053-DCE7-1A4D-DE2008D03951}"/>
                      </a:ext>
                    </a:extLst>
                  </p:cNvPr>
                  <p:cNvSpPr/>
                  <p:nvPr/>
                </p:nvSpPr>
                <p:spPr>
                  <a:xfrm>
                    <a:off x="5137403" y="34521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4" name="Graphic 471">
                  <a:extLst>
                    <a:ext uri="{FF2B5EF4-FFF2-40B4-BE49-F238E27FC236}">
                      <a16:creationId xmlns:a16="http://schemas.microsoft.com/office/drawing/2014/main" id="{D1099292-BA6C-5C0B-753D-8D3903357242}"/>
                    </a:ext>
                  </a:extLst>
                </p:cNvPr>
                <p:cNvGrpSpPr/>
                <p:nvPr/>
              </p:nvGrpSpPr>
              <p:grpSpPr>
                <a:xfrm>
                  <a:off x="5105875" y="3372135"/>
                  <a:ext cx="75628" cy="75628"/>
                  <a:chOff x="5105875" y="3372135"/>
                  <a:chExt cx="75628" cy="75628"/>
                </a:xfrm>
              </p:grpSpPr>
              <p:sp>
                <p:nvSpPr>
                  <p:cNvPr id="6762" name="Freeform: Shape 6761">
                    <a:extLst>
                      <a:ext uri="{FF2B5EF4-FFF2-40B4-BE49-F238E27FC236}">
                        <a16:creationId xmlns:a16="http://schemas.microsoft.com/office/drawing/2014/main" id="{ECA23445-C87B-EEB0-20EA-3EB89E4188E2}"/>
                      </a:ext>
                    </a:extLst>
                  </p:cNvPr>
                  <p:cNvSpPr/>
                  <p:nvPr/>
                </p:nvSpPr>
                <p:spPr>
                  <a:xfrm>
                    <a:off x="5143690"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63" name="Freeform: Shape 6762">
                    <a:extLst>
                      <a:ext uri="{FF2B5EF4-FFF2-40B4-BE49-F238E27FC236}">
                        <a16:creationId xmlns:a16="http://schemas.microsoft.com/office/drawing/2014/main" id="{9972BEA2-5671-3B42-76D1-495BCF7DC6F0}"/>
                      </a:ext>
                    </a:extLst>
                  </p:cNvPr>
                  <p:cNvSpPr/>
                  <p:nvPr/>
                </p:nvSpPr>
                <p:spPr>
                  <a:xfrm>
                    <a:off x="5105875"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5" name="Graphic 471">
                  <a:extLst>
                    <a:ext uri="{FF2B5EF4-FFF2-40B4-BE49-F238E27FC236}">
                      <a16:creationId xmlns:a16="http://schemas.microsoft.com/office/drawing/2014/main" id="{1733F34A-3B3B-8BC4-13E8-B7827693059A}"/>
                    </a:ext>
                  </a:extLst>
                </p:cNvPr>
                <p:cNvGrpSpPr/>
                <p:nvPr/>
              </p:nvGrpSpPr>
              <p:grpSpPr>
                <a:xfrm>
                  <a:off x="5077491" y="3372135"/>
                  <a:ext cx="75723" cy="75628"/>
                  <a:chOff x="5077491" y="3372135"/>
                  <a:chExt cx="75723" cy="75628"/>
                </a:xfrm>
              </p:grpSpPr>
              <p:sp>
                <p:nvSpPr>
                  <p:cNvPr id="6760" name="Freeform: Shape 6759">
                    <a:extLst>
                      <a:ext uri="{FF2B5EF4-FFF2-40B4-BE49-F238E27FC236}">
                        <a16:creationId xmlns:a16="http://schemas.microsoft.com/office/drawing/2014/main" id="{A0F3B140-E720-C40B-8404-6A340B278B6E}"/>
                      </a:ext>
                    </a:extLst>
                  </p:cNvPr>
                  <p:cNvSpPr/>
                  <p:nvPr/>
                </p:nvSpPr>
                <p:spPr>
                  <a:xfrm>
                    <a:off x="5115305"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61" name="Freeform: Shape 6760">
                    <a:extLst>
                      <a:ext uri="{FF2B5EF4-FFF2-40B4-BE49-F238E27FC236}">
                        <a16:creationId xmlns:a16="http://schemas.microsoft.com/office/drawing/2014/main" id="{A4FEB135-BC4C-AC21-7DA6-DAFF5286211E}"/>
                      </a:ext>
                    </a:extLst>
                  </p:cNvPr>
                  <p:cNvSpPr/>
                  <p:nvPr/>
                </p:nvSpPr>
                <p:spPr>
                  <a:xfrm>
                    <a:off x="5077491" y="340994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6" name="Graphic 471">
                  <a:extLst>
                    <a:ext uri="{FF2B5EF4-FFF2-40B4-BE49-F238E27FC236}">
                      <a16:creationId xmlns:a16="http://schemas.microsoft.com/office/drawing/2014/main" id="{C1C3E427-E132-AF48-B479-A71B9AE976FC}"/>
                    </a:ext>
                  </a:extLst>
                </p:cNvPr>
                <p:cNvGrpSpPr/>
                <p:nvPr/>
              </p:nvGrpSpPr>
              <p:grpSpPr>
                <a:xfrm>
                  <a:off x="5045582" y="3282695"/>
                  <a:ext cx="75628" cy="75723"/>
                  <a:chOff x="5045582" y="3282695"/>
                  <a:chExt cx="75628" cy="75723"/>
                </a:xfrm>
              </p:grpSpPr>
              <p:sp>
                <p:nvSpPr>
                  <p:cNvPr id="6758" name="Freeform: Shape 6757">
                    <a:extLst>
                      <a:ext uri="{FF2B5EF4-FFF2-40B4-BE49-F238E27FC236}">
                        <a16:creationId xmlns:a16="http://schemas.microsoft.com/office/drawing/2014/main" id="{35408C1E-3F4B-11AE-C54D-3D20D948D3CC}"/>
                      </a:ext>
                    </a:extLst>
                  </p:cNvPr>
                  <p:cNvSpPr/>
                  <p:nvPr/>
                </p:nvSpPr>
                <p:spPr>
                  <a:xfrm>
                    <a:off x="5083396" y="32826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59" name="Freeform: Shape 6758">
                    <a:extLst>
                      <a:ext uri="{FF2B5EF4-FFF2-40B4-BE49-F238E27FC236}">
                        <a16:creationId xmlns:a16="http://schemas.microsoft.com/office/drawing/2014/main" id="{ED5366F8-E432-1673-9A4B-A7BD70B5A414}"/>
                      </a:ext>
                    </a:extLst>
                  </p:cNvPr>
                  <p:cNvSpPr/>
                  <p:nvPr/>
                </p:nvSpPr>
                <p:spPr>
                  <a:xfrm>
                    <a:off x="5045582" y="33206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7" name="Graphic 471">
                  <a:extLst>
                    <a:ext uri="{FF2B5EF4-FFF2-40B4-BE49-F238E27FC236}">
                      <a16:creationId xmlns:a16="http://schemas.microsoft.com/office/drawing/2014/main" id="{C632D8F9-70E9-59BD-1446-20501EE93E89}"/>
                    </a:ext>
                  </a:extLst>
                </p:cNvPr>
                <p:cNvGrpSpPr/>
                <p:nvPr/>
              </p:nvGrpSpPr>
              <p:grpSpPr>
                <a:xfrm>
                  <a:off x="5009959" y="3217068"/>
                  <a:ext cx="75723" cy="75723"/>
                  <a:chOff x="5009959" y="3217068"/>
                  <a:chExt cx="75723" cy="75723"/>
                </a:xfrm>
              </p:grpSpPr>
              <p:sp>
                <p:nvSpPr>
                  <p:cNvPr id="6756" name="Freeform: Shape 6755">
                    <a:extLst>
                      <a:ext uri="{FF2B5EF4-FFF2-40B4-BE49-F238E27FC236}">
                        <a16:creationId xmlns:a16="http://schemas.microsoft.com/office/drawing/2014/main" id="{C9D3A2CC-E026-1FCA-352C-9FC514F2382E}"/>
                      </a:ext>
                    </a:extLst>
                  </p:cNvPr>
                  <p:cNvSpPr/>
                  <p:nvPr/>
                </p:nvSpPr>
                <p:spPr>
                  <a:xfrm>
                    <a:off x="5047868" y="32170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57" name="Freeform: Shape 6756">
                    <a:extLst>
                      <a:ext uri="{FF2B5EF4-FFF2-40B4-BE49-F238E27FC236}">
                        <a16:creationId xmlns:a16="http://schemas.microsoft.com/office/drawing/2014/main" id="{B2325D7C-CB1B-ACF5-A7A0-AFBF763C6D8D}"/>
                      </a:ext>
                    </a:extLst>
                  </p:cNvPr>
                  <p:cNvSpPr/>
                  <p:nvPr/>
                </p:nvSpPr>
                <p:spPr>
                  <a:xfrm>
                    <a:off x="5009959" y="32548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8" name="Graphic 471">
                  <a:extLst>
                    <a:ext uri="{FF2B5EF4-FFF2-40B4-BE49-F238E27FC236}">
                      <a16:creationId xmlns:a16="http://schemas.microsoft.com/office/drawing/2014/main" id="{211D5803-68E9-A879-BF4B-E3E14D14F4E6}"/>
                    </a:ext>
                  </a:extLst>
                </p:cNvPr>
                <p:cNvGrpSpPr/>
                <p:nvPr/>
              </p:nvGrpSpPr>
              <p:grpSpPr>
                <a:xfrm>
                  <a:off x="4981193" y="3198780"/>
                  <a:ext cx="75723" cy="75723"/>
                  <a:chOff x="4981193" y="3198780"/>
                  <a:chExt cx="75723" cy="75723"/>
                </a:xfrm>
              </p:grpSpPr>
              <p:sp>
                <p:nvSpPr>
                  <p:cNvPr id="6754" name="Freeform: Shape 6753">
                    <a:extLst>
                      <a:ext uri="{FF2B5EF4-FFF2-40B4-BE49-F238E27FC236}">
                        <a16:creationId xmlns:a16="http://schemas.microsoft.com/office/drawing/2014/main" id="{CB3AF971-2588-47F5-001F-8A1BA81C9EF9}"/>
                      </a:ext>
                    </a:extLst>
                  </p:cNvPr>
                  <p:cNvSpPr/>
                  <p:nvPr/>
                </p:nvSpPr>
                <p:spPr>
                  <a:xfrm>
                    <a:off x="5019103" y="31987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55" name="Freeform: Shape 6754">
                    <a:extLst>
                      <a:ext uri="{FF2B5EF4-FFF2-40B4-BE49-F238E27FC236}">
                        <a16:creationId xmlns:a16="http://schemas.microsoft.com/office/drawing/2014/main" id="{4A65B0FE-14A8-9869-01A0-1268C5774EEC}"/>
                      </a:ext>
                    </a:extLst>
                  </p:cNvPr>
                  <p:cNvSpPr/>
                  <p:nvPr/>
                </p:nvSpPr>
                <p:spPr>
                  <a:xfrm>
                    <a:off x="4981193" y="32366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19" name="Graphic 471">
                  <a:extLst>
                    <a:ext uri="{FF2B5EF4-FFF2-40B4-BE49-F238E27FC236}">
                      <a16:creationId xmlns:a16="http://schemas.microsoft.com/office/drawing/2014/main" id="{3A0BA3E7-DFF9-F7BC-3DF6-64FD0FE5336F}"/>
                    </a:ext>
                  </a:extLst>
                </p:cNvPr>
                <p:cNvGrpSpPr/>
                <p:nvPr/>
              </p:nvGrpSpPr>
              <p:grpSpPr>
                <a:xfrm>
                  <a:off x="4917566" y="3141344"/>
                  <a:ext cx="75723" cy="75723"/>
                  <a:chOff x="4917566" y="3141344"/>
                  <a:chExt cx="75723" cy="75723"/>
                </a:xfrm>
              </p:grpSpPr>
              <p:sp>
                <p:nvSpPr>
                  <p:cNvPr id="6752" name="Freeform: Shape 6751">
                    <a:extLst>
                      <a:ext uri="{FF2B5EF4-FFF2-40B4-BE49-F238E27FC236}">
                        <a16:creationId xmlns:a16="http://schemas.microsoft.com/office/drawing/2014/main" id="{BC40E45F-EB11-91C9-22F8-18EFD948B6E5}"/>
                      </a:ext>
                    </a:extLst>
                  </p:cNvPr>
                  <p:cNvSpPr/>
                  <p:nvPr/>
                </p:nvSpPr>
                <p:spPr>
                  <a:xfrm>
                    <a:off x="495547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53" name="Freeform: Shape 6752">
                    <a:extLst>
                      <a:ext uri="{FF2B5EF4-FFF2-40B4-BE49-F238E27FC236}">
                        <a16:creationId xmlns:a16="http://schemas.microsoft.com/office/drawing/2014/main" id="{F2051623-D052-4B68-FFE6-166CD23BCC7F}"/>
                      </a:ext>
                    </a:extLst>
                  </p:cNvPr>
                  <p:cNvSpPr/>
                  <p:nvPr/>
                </p:nvSpPr>
                <p:spPr>
                  <a:xfrm>
                    <a:off x="491756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0" name="Graphic 471">
                  <a:extLst>
                    <a:ext uri="{FF2B5EF4-FFF2-40B4-BE49-F238E27FC236}">
                      <a16:creationId xmlns:a16="http://schemas.microsoft.com/office/drawing/2014/main" id="{DD1D4714-6D15-ECA0-E4BC-95B1D65F4818}"/>
                    </a:ext>
                  </a:extLst>
                </p:cNvPr>
                <p:cNvGrpSpPr/>
                <p:nvPr/>
              </p:nvGrpSpPr>
              <p:grpSpPr>
                <a:xfrm>
                  <a:off x="4834508" y="3141344"/>
                  <a:ext cx="75723" cy="75723"/>
                  <a:chOff x="4834508" y="3141344"/>
                  <a:chExt cx="75723" cy="75723"/>
                </a:xfrm>
              </p:grpSpPr>
              <p:sp>
                <p:nvSpPr>
                  <p:cNvPr id="6750" name="Freeform: Shape 6749">
                    <a:extLst>
                      <a:ext uri="{FF2B5EF4-FFF2-40B4-BE49-F238E27FC236}">
                        <a16:creationId xmlns:a16="http://schemas.microsoft.com/office/drawing/2014/main" id="{E7878C2A-F287-3FAE-27A1-E46E37FE8B77}"/>
                      </a:ext>
                    </a:extLst>
                  </p:cNvPr>
                  <p:cNvSpPr/>
                  <p:nvPr/>
                </p:nvSpPr>
                <p:spPr>
                  <a:xfrm>
                    <a:off x="48723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51" name="Freeform: Shape 6750">
                    <a:extLst>
                      <a:ext uri="{FF2B5EF4-FFF2-40B4-BE49-F238E27FC236}">
                        <a16:creationId xmlns:a16="http://schemas.microsoft.com/office/drawing/2014/main" id="{1B53F4F3-3503-38D8-716D-6C96CDF3EAE8}"/>
                      </a:ext>
                    </a:extLst>
                  </p:cNvPr>
                  <p:cNvSpPr/>
                  <p:nvPr/>
                </p:nvSpPr>
                <p:spPr>
                  <a:xfrm>
                    <a:off x="48345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1" name="Graphic 471">
                  <a:extLst>
                    <a:ext uri="{FF2B5EF4-FFF2-40B4-BE49-F238E27FC236}">
                      <a16:creationId xmlns:a16="http://schemas.microsoft.com/office/drawing/2014/main" id="{7038847E-7757-9936-9104-7BC36268B41B}"/>
                    </a:ext>
                  </a:extLst>
                </p:cNvPr>
                <p:cNvGrpSpPr/>
                <p:nvPr/>
              </p:nvGrpSpPr>
              <p:grpSpPr>
                <a:xfrm>
                  <a:off x="4720208" y="3141344"/>
                  <a:ext cx="75723" cy="75723"/>
                  <a:chOff x="4720208" y="3141344"/>
                  <a:chExt cx="75723" cy="75723"/>
                </a:xfrm>
              </p:grpSpPr>
              <p:sp>
                <p:nvSpPr>
                  <p:cNvPr id="6748" name="Freeform: Shape 6747">
                    <a:extLst>
                      <a:ext uri="{FF2B5EF4-FFF2-40B4-BE49-F238E27FC236}">
                        <a16:creationId xmlns:a16="http://schemas.microsoft.com/office/drawing/2014/main" id="{E9FFFF8E-8154-A27C-8DED-080A6FA81426}"/>
                      </a:ext>
                    </a:extLst>
                  </p:cNvPr>
                  <p:cNvSpPr/>
                  <p:nvPr/>
                </p:nvSpPr>
                <p:spPr>
                  <a:xfrm>
                    <a:off x="475802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49" name="Freeform: Shape 6748">
                    <a:extLst>
                      <a:ext uri="{FF2B5EF4-FFF2-40B4-BE49-F238E27FC236}">
                        <a16:creationId xmlns:a16="http://schemas.microsoft.com/office/drawing/2014/main" id="{208BFE53-B7D6-3C80-3167-A1CEE732237B}"/>
                      </a:ext>
                    </a:extLst>
                  </p:cNvPr>
                  <p:cNvSpPr/>
                  <p:nvPr/>
                </p:nvSpPr>
                <p:spPr>
                  <a:xfrm>
                    <a:off x="4720208"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2" name="Graphic 471">
                  <a:extLst>
                    <a:ext uri="{FF2B5EF4-FFF2-40B4-BE49-F238E27FC236}">
                      <a16:creationId xmlns:a16="http://schemas.microsoft.com/office/drawing/2014/main" id="{B7A5D3B4-D3FE-0C7B-53A1-1D46923614C3}"/>
                    </a:ext>
                  </a:extLst>
                </p:cNvPr>
                <p:cNvGrpSpPr/>
                <p:nvPr/>
              </p:nvGrpSpPr>
              <p:grpSpPr>
                <a:xfrm>
                  <a:off x="4659820" y="3078955"/>
                  <a:ext cx="75628" cy="75723"/>
                  <a:chOff x="4659820" y="3078955"/>
                  <a:chExt cx="75628" cy="75723"/>
                </a:xfrm>
              </p:grpSpPr>
              <p:sp>
                <p:nvSpPr>
                  <p:cNvPr id="6746" name="Freeform: Shape 6745">
                    <a:extLst>
                      <a:ext uri="{FF2B5EF4-FFF2-40B4-BE49-F238E27FC236}">
                        <a16:creationId xmlns:a16="http://schemas.microsoft.com/office/drawing/2014/main" id="{A5EE049A-676B-0877-0E36-E465C708BFC9}"/>
                      </a:ext>
                    </a:extLst>
                  </p:cNvPr>
                  <p:cNvSpPr/>
                  <p:nvPr/>
                </p:nvSpPr>
                <p:spPr>
                  <a:xfrm>
                    <a:off x="4697634"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47" name="Freeform: Shape 6746">
                    <a:extLst>
                      <a:ext uri="{FF2B5EF4-FFF2-40B4-BE49-F238E27FC236}">
                        <a16:creationId xmlns:a16="http://schemas.microsoft.com/office/drawing/2014/main" id="{9D0B0E62-2E30-9B6F-6659-0ED027820118}"/>
                      </a:ext>
                    </a:extLst>
                  </p:cNvPr>
                  <p:cNvSpPr/>
                  <p:nvPr/>
                </p:nvSpPr>
                <p:spPr>
                  <a:xfrm>
                    <a:off x="4659820"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3" name="Graphic 471">
                  <a:extLst>
                    <a:ext uri="{FF2B5EF4-FFF2-40B4-BE49-F238E27FC236}">
                      <a16:creationId xmlns:a16="http://schemas.microsoft.com/office/drawing/2014/main" id="{082E6859-BFD9-4F7D-567E-1D2FFB972DE4}"/>
                    </a:ext>
                  </a:extLst>
                </p:cNvPr>
                <p:cNvGrpSpPr/>
                <p:nvPr/>
              </p:nvGrpSpPr>
              <p:grpSpPr>
                <a:xfrm>
                  <a:off x="4600765" y="3078955"/>
                  <a:ext cx="75628" cy="75723"/>
                  <a:chOff x="4600765" y="3078955"/>
                  <a:chExt cx="75628" cy="75723"/>
                </a:xfrm>
              </p:grpSpPr>
              <p:sp>
                <p:nvSpPr>
                  <p:cNvPr id="6744" name="Freeform: Shape 6743">
                    <a:extLst>
                      <a:ext uri="{FF2B5EF4-FFF2-40B4-BE49-F238E27FC236}">
                        <a16:creationId xmlns:a16="http://schemas.microsoft.com/office/drawing/2014/main" id="{E3C65419-0A14-18E1-B1B7-E4C0C1972492}"/>
                      </a:ext>
                    </a:extLst>
                  </p:cNvPr>
                  <p:cNvSpPr/>
                  <p:nvPr/>
                </p:nvSpPr>
                <p:spPr>
                  <a:xfrm>
                    <a:off x="4638579"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45" name="Freeform: Shape 6744">
                    <a:extLst>
                      <a:ext uri="{FF2B5EF4-FFF2-40B4-BE49-F238E27FC236}">
                        <a16:creationId xmlns:a16="http://schemas.microsoft.com/office/drawing/2014/main" id="{91A19B2B-D8CE-13CA-65CA-0CB0FE40E163}"/>
                      </a:ext>
                    </a:extLst>
                  </p:cNvPr>
                  <p:cNvSpPr/>
                  <p:nvPr/>
                </p:nvSpPr>
                <p:spPr>
                  <a:xfrm>
                    <a:off x="4600765" y="311677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4" name="Graphic 471">
                  <a:extLst>
                    <a:ext uri="{FF2B5EF4-FFF2-40B4-BE49-F238E27FC236}">
                      <a16:creationId xmlns:a16="http://schemas.microsoft.com/office/drawing/2014/main" id="{3271558B-D9EC-D40E-3121-17B56A58FC48}"/>
                    </a:ext>
                  </a:extLst>
                </p:cNvPr>
                <p:cNvGrpSpPr/>
                <p:nvPr/>
              </p:nvGrpSpPr>
              <p:grpSpPr>
                <a:xfrm>
                  <a:off x="4575238" y="3078955"/>
                  <a:ext cx="75628" cy="75723"/>
                  <a:chOff x="4575238" y="3078955"/>
                  <a:chExt cx="75628" cy="75723"/>
                </a:xfrm>
              </p:grpSpPr>
              <p:sp>
                <p:nvSpPr>
                  <p:cNvPr id="6742" name="Freeform: Shape 6741">
                    <a:extLst>
                      <a:ext uri="{FF2B5EF4-FFF2-40B4-BE49-F238E27FC236}">
                        <a16:creationId xmlns:a16="http://schemas.microsoft.com/office/drawing/2014/main" id="{6502E3AB-0084-A513-4039-9E46C7681165}"/>
                      </a:ext>
                    </a:extLst>
                  </p:cNvPr>
                  <p:cNvSpPr/>
                  <p:nvPr/>
                </p:nvSpPr>
                <p:spPr>
                  <a:xfrm>
                    <a:off x="4613052" y="30789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43" name="Freeform: Shape 6742">
                    <a:extLst>
                      <a:ext uri="{FF2B5EF4-FFF2-40B4-BE49-F238E27FC236}">
                        <a16:creationId xmlns:a16="http://schemas.microsoft.com/office/drawing/2014/main" id="{BA4482FC-2400-64DB-890A-76B5A0D98DF8}"/>
                      </a:ext>
                    </a:extLst>
                  </p:cNvPr>
                  <p:cNvSpPr/>
                  <p:nvPr/>
                </p:nvSpPr>
                <p:spPr>
                  <a:xfrm>
                    <a:off x="4575238" y="311677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5" name="Graphic 471">
                  <a:extLst>
                    <a:ext uri="{FF2B5EF4-FFF2-40B4-BE49-F238E27FC236}">
                      <a16:creationId xmlns:a16="http://schemas.microsoft.com/office/drawing/2014/main" id="{4C58B3B8-9908-6B65-3866-831BB04438FA}"/>
                    </a:ext>
                  </a:extLst>
                </p:cNvPr>
                <p:cNvGrpSpPr/>
                <p:nvPr/>
              </p:nvGrpSpPr>
              <p:grpSpPr>
                <a:xfrm>
                  <a:off x="4543615" y="3041141"/>
                  <a:ext cx="75628" cy="75628"/>
                  <a:chOff x="4543615" y="3041141"/>
                  <a:chExt cx="75628" cy="75628"/>
                </a:xfrm>
              </p:grpSpPr>
              <p:sp>
                <p:nvSpPr>
                  <p:cNvPr id="6740" name="Freeform: Shape 6739">
                    <a:extLst>
                      <a:ext uri="{FF2B5EF4-FFF2-40B4-BE49-F238E27FC236}">
                        <a16:creationId xmlns:a16="http://schemas.microsoft.com/office/drawing/2014/main" id="{7C1CA085-2467-FAD7-ACF0-0FEFC3C7F0BC}"/>
                      </a:ext>
                    </a:extLst>
                  </p:cNvPr>
                  <p:cNvSpPr/>
                  <p:nvPr/>
                </p:nvSpPr>
                <p:spPr>
                  <a:xfrm>
                    <a:off x="4581429"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41" name="Freeform: Shape 6740">
                    <a:extLst>
                      <a:ext uri="{FF2B5EF4-FFF2-40B4-BE49-F238E27FC236}">
                        <a16:creationId xmlns:a16="http://schemas.microsoft.com/office/drawing/2014/main" id="{79E19C62-70DE-6FF6-5ED9-CB33A1C50359}"/>
                      </a:ext>
                    </a:extLst>
                  </p:cNvPr>
                  <p:cNvSpPr/>
                  <p:nvPr/>
                </p:nvSpPr>
                <p:spPr>
                  <a:xfrm>
                    <a:off x="4543615" y="30789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6" name="Graphic 471">
                  <a:extLst>
                    <a:ext uri="{FF2B5EF4-FFF2-40B4-BE49-F238E27FC236}">
                      <a16:creationId xmlns:a16="http://schemas.microsoft.com/office/drawing/2014/main" id="{B1C3C746-CF0C-5BF5-4FBC-1BE7E9A3E1FB}"/>
                    </a:ext>
                  </a:extLst>
                </p:cNvPr>
                <p:cNvGrpSpPr/>
                <p:nvPr/>
              </p:nvGrpSpPr>
              <p:grpSpPr>
                <a:xfrm>
                  <a:off x="4518088" y="3041141"/>
                  <a:ext cx="75628" cy="75628"/>
                  <a:chOff x="4518088" y="3041141"/>
                  <a:chExt cx="75628" cy="75628"/>
                </a:xfrm>
              </p:grpSpPr>
              <p:sp>
                <p:nvSpPr>
                  <p:cNvPr id="6738" name="Freeform: Shape 6737">
                    <a:extLst>
                      <a:ext uri="{FF2B5EF4-FFF2-40B4-BE49-F238E27FC236}">
                        <a16:creationId xmlns:a16="http://schemas.microsoft.com/office/drawing/2014/main" id="{E1A76219-6481-B974-3593-D9C5BBB08548}"/>
                      </a:ext>
                    </a:extLst>
                  </p:cNvPr>
                  <p:cNvSpPr/>
                  <p:nvPr/>
                </p:nvSpPr>
                <p:spPr>
                  <a:xfrm>
                    <a:off x="4555902" y="304114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39" name="Freeform: Shape 6738">
                    <a:extLst>
                      <a:ext uri="{FF2B5EF4-FFF2-40B4-BE49-F238E27FC236}">
                        <a16:creationId xmlns:a16="http://schemas.microsoft.com/office/drawing/2014/main" id="{FEC53183-24EE-17BF-84E2-94264E05C94F}"/>
                      </a:ext>
                    </a:extLst>
                  </p:cNvPr>
                  <p:cNvSpPr/>
                  <p:nvPr/>
                </p:nvSpPr>
                <p:spPr>
                  <a:xfrm>
                    <a:off x="4518088" y="30789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7" name="Graphic 471">
                  <a:extLst>
                    <a:ext uri="{FF2B5EF4-FFF2-40B4-BE49-F238E27FC236}">
                      <a16:creationId xmlns:a16="http://schemas.microsoft.com/office/drawing/2014/main" id="{FBBF80AC-4107-2D06-DA9A-7B8E45EE1C19}"/>
                    </a:ext>
                  </a:extLst>
                </p:cNvPr>
                <p:cNvGrpSpPr/>
                <p:nvPr/>
              </p:nvGrpSpPr>
              <p:grpSpPr>
                <a:xfrm>
                  <a:off x="4501133" y="3003232"/>
                  <a:ext cx="75723" cy="75723"/>
                  <a:chOff x="4501133" y="3003232"/>
                  <a:chExt cx="75723" cy="75723"/>
                </a:xfrm>
              </p:grpSpPr>
              <p:sp>
                <p:nvSpPr>
                  <p:cNvPr id="6736" name="Freeform: Shape 6735">
                    <a:extLst>
                      <a:ext uri="{FF2B5EF4-FFF2-40B4-BE49-F238E27FC236}">
                        <a16:creationId xmlns:a16="http://schemas.microsoft.com/office/drawing/2014/main" id="{A30A5FBF-FF2A-E8BB-EEE6-CE7DE24A2AD4}"/>
                      </a:ext>
                    </a:extLst>
                  </p:cNvPr>
                  <p:cNvSpPr/>
                  <p:nvPr/>
                </p:nvSpPr>
                <p:spPr>
                  <a:xfrm>
                    <a:off x="4539043"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37" name="Freeform: Shape 6736">
                    <a:extLst>
                      <a:ext uri="{FF2B5EF4-FFF2-40B4-BE49-F238E27FC236}">
                        <a16:creationId xmlns:a16="http://schemas.microsoft.com/office/drawing/2014/main" id="{91E3B562-A328-D93C-D52A-D6B0B2CC9C92}"/>
                      </a:ext>
                    </a:extLst>
                  </p:cNvPr>
                  <p:cNvSpPr/>
                  <p:nvPr/>
                </p:nvSpPr>
                <p:spPr>
                  <a:xfrm>
                    <a:off x="4501133"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8" name="Graphic 471">
                  <a:extLst>
                    <a:ext uri="{FF2B5EF4-FFF2-40B4-BE49-F238E27FC236}">
                      <a16:creationId xmlns:a16="http://schemas.microsoft.com/office/drawing/2014/main" id="{BDBBA455-697C-F7D5-4C43-6627A3968164}"/>
                    </a:ext>
                  </a:extLst>
                </p:cNvPr>
                <p:cNvGrpSpPr/>
                <p:nvPr/>
              </p:nvGrpSpPr>
              <p:grpSpPr>
                <a:xfrm>
                  <a:off x="4475606" y="3003232"/>
                  <a:ext cx="75723" cy="75723"/>
                  <a:chOff x="4475606" y="3003232"/>
                  <a:chExt cx="75723" cy="75723"/>
                </a:xfrm>
              </p:grpSpPr>
              <p:sp>
                <p:nvSpPr>
                  <p:cNvPr id="6734" name="Freeform: Shape 6733">
                    <a:extLst>
                      <a:ext uri="{FF2B5EF4-FFF2-40B4-BE49-F238E27FC236}">
                        <a16:creationId xmlns:a16="http://schemas.microsoft.com/office/drawing/2014/main" id="{26237A4B-6C82-8575-0E9C-CD51C7C25E56}"/>
                      </a:ext>
                    </a:extLst>
                  </p:cNvPr>
                  <p:cNvSpPr/>
                  <p:nvPr/>
                </p:nvSpPr>
                <p:spPr>
                  <a:xfrm>
                    <a:off x="4513516" y="300323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35" name="Freeform: Shape 6734">
                    <a:extLst>
                      <a:ext uri="{FF2B5EF4-FFF2-40B4-BE49-F238E27FC236}">
                        <a16:creationId xmlns:a16="http://schemas.microsoft.com/office/drawing/2014/main" id="{175AD4B5-5C15-791E-B1CE-E91F2C532B9E}"/>
                      </a:ext>
                    </a:extLst>
                  </p:cNvPr>
                  <p:cNvSpPr/>
                  <p:nvPr/>
                </p:nvSpPr>
                <p:spPr>
                  <a:xfrm>
                    <a:off x="4475606" y="30411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29" name="Graphic 471">
                  <a:extLst>
                    <a:ext uri="{FF2B5EF4-FFF2-40B4-BE49-F238E27FC236}">
                      <a16:creationId xmlns:a16="http://schemas.microsoft.com/office/drawing/2014/main" id="{D65520B2-E4D1-AE37-B4DF-038F3F635680}"/>
                    </a:ext>
                  </a:extLst>
                </p:cNvPr>
                <p:cNvGrpSpPr/>
                <p:nvPr/>
              </p:nvGrpSpPr>
              <p:grpSpPr>
                <a:xfrm>
                  <a:off x="4418361" y="2981419"/>
                  <a:ext cx="75723" cy="75628"/>
                  <a:chOff x="4418361" y="2981419"/>
                  <a:chExt cx="75723" cy="75628"/>
                </a:xfrm>
              </p:grpSpPr>
              <p:sp>
                <p:nvSpPr>
                  <p:cNvPr id="6732" name="Freeform: Shape 6731">
                    <a:extLst>
                      <a:ext uri="{FF2B5EF4-FFF2-40B4-BE49-F238E27FC236}">
                        <a16:creationId xmlns:a16="http://schemas.microsoft.com/office/drawing/2014/main" id="{BA438348-397C-7CFF-42AD-4418DB56E0E0}"/>
                      </a:ext>
                    </a:extLst>
                  </p:cNvPr>
                  <p:cNvSpPr/>
                  <p:nvPr/>
                </p:nvSpPr>
                <p:spPr>
                  <a:xfrm>
                    <a:off x="4456270" y="298141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33" name="Freeform: Shape 6732">
                    <a:extLst>
                      <a:ext uri="{FF2B5EF4-FFF2-40B4-BE49-F238E27FC236}">
                        <a16:creationId xmlns:a16="http://schemas.microsoft.com/office/drawing/2014/main" id="{94C1AC6E-A245-E975-4C66-1EB9E895085D}"/>
                      </a:ext>
                    </a:extLst>
                  </p:cNvPr>
                  <p:cNvSpPr/>
                  <p:nvPr/>
                </p:nvSpPr>
                <p:spPr>
                  <a:xfrm>
                    <a:off x="4418361" y="30192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0" name="Graphic 471">
                  <a:extLst>
                    <a:ext uri="{FF2B5EF4-FFF2-40B4-BE49-F238E27FC236}">
                      <a16:creationId xmlns:a16="http://schemas.microsoft.com/office/drawing/2014/main" id="{B90BE10C-7929-0BDE-FA90-B964EEC4D5A2}"/>
                    </a:ext>
                  </a:extLst>
                </p:cNvPr>
                <p:cNvGrpSpPr/>
                <p:nvPr/>
              </p:nvGrpSpPr>
              <p:grpSpPr>
                <a:xfrm>
                  <a:off x="4349781" y="2957131"/>
                  <a:ext cx="75628" cy="75723"/>
                  <a:chOff x="4349781" y="2957131"/>
                  <a:chExt cx="75628" cy="75723"/>
                </a:xfrm>
              </p:grpSpPr>
              <p:sp>
                <p:nvSpPr>
                  <p:cNvPr id="6730" name="Freeform: Shape 6729">
                    <a:extLst>
                      <a:ext uri="{FF2B5EF4-FFF2-40B4-BE49-F238E27FC236}">
                        <a16:creationId xmlns:a16="http://schemas.microsoft.com/office/drawing/2014/main" id="{1910BD26-552B-D591-67B7-18C6C3CF45C0}"/>
                      </a:ext>
                    </a:extLst>
                  </p:cNvPr>
                  <p:cNvSpPr/>
                  <p:nvPr/>
                </p:nvSpPr>
                <p:spPr>
                  <a:xfrm>
                    <a:off x="4387595" y="29571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31" name="Freeform: Shape 6730">
                    <a:extLst>
                      <a:ext uri="{FF2B5EF4-FFF2-40B4-BE49-F238E27FC236}">
                        <a16:creationId xmlns:a16="http://schemas.microsoft.com/office/drawing/2014/main" id="{D587B0C2-203A-DEA7-8689-99ABFA418600}"/>
                      </a:ext>
                    </a:extLst>
                  </p:cNvPr>
                  <p:cNvSpPr/>
                  <p:nvPr/>
                </p:nvSpPr>
                <p:spPr>
                  <a:xfrm>
                    <a:off x="4349781" y="29949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1" name="Graphic 471">
                  <a:extLst>
                    <a:ext uri="{FF2B5EF4-FFF2-40B4-BE49-F238E27FC236}">
                      <a16:creationId xmlns:a16="http://schemas.microsoft.com/office/drawing/2014/main" id="{98886714-DF98-1C18-8879-97A573CBAD73}"/>
                    </a:ext>
                  </a:extLst>
                </p:cNvPr>
                <p:cNvGrpSpPr/>
                <p:nvPr/>
              </p:nvGrpSpPr>
              <p:grpSpPr>
                <a:xfrm>
                  <a:off x="4349781" y="2932366"/>
                  <a:ext cx="75628" cy="75723"/>
                  <a:chOff x="4349781" y="2932366"/>
                  <a:chExt cx="75628" cy="75723"/>
                </a:xfrm>
              </p:grpSpPr>
              <p:sp>
                <p:nvSpPr>
                  <p:cNvPr id="6728" name="Freeform: Shape 6727">
                    <a:extLst>
                      <a:ext uri="{FF2B5EF4-FFF2-40B4-BE49-F238E27FC236}">
                        <a16:creationId xmlns:a16="http://schemas.microsoft.com/office/drawing/2014/main" id="{6178716F-952F-E28A-8AD4-B8F61F310B81}"/>
                      </a:ext>
                    </a:extLst>
                  </p:cNvPr>
                  <p:cNvSpPr/>
                  <p:nvPr/>
                </p:nvSpPr>
                <p:spPr>
                  <a:xfrm>
                    <a:off x="4387595"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29" name="Freeform: Shape 6728">
                    <a:extLst>
                      <a:ext uri="{FF2B5EF4-FFF2-40B4-BE49-F238E27FC236}">
                        <a16:creationId xmlns:a16="http://schemas.microsoft.com/office/drawing/2014/main" id="{BFFA5D27-5729-4765-293A-4855A05C07C0}"/>
                      </a:ext>
                    </a:extLst>
                  </p:cNvPr>
                  <p:cNvSpPr/>
                  <p:nvPr/>
                </p:nvSpPr>
                <p:spPr>
                  <a:xfrm>
                    <a:off x="4349781" y="297027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2" name="Graphic 471">
                  <a:extLst>
                    <a:ext uri="{FF2B5EF4-FFF2-40B4-BE49-F238E27FC236}">
                      <a16:creationId xmlns:a16="http://schemas.microsoft.com/office/drawing/2014/main" id="{A93A76EF-B6C0-FFBC-6D0F-FC869C359D22}"/>
                    </a:ext>
                  </a:extLst>
                </p:cNvPr>
                <p:cNvGrpSpPr/>
                <p:nvPr/>
              </p:nvGrpSpPr>
              <p:grpSpPr>
                <a:xfrm>
                  <a:off x="4305299" y="2932366"/>
                  <a:ext cx="75723" cy="75723"/>
                  <a:chOff x="4305299" y="2932366"/>
                  <a:chExt cx="75723" cy="75723"/>
                </a:xfrm>
              </p:grpSpPr>
              <p:sp>
                <p:nvSpPr>
                  <p:cNvPr id="6726" name="Freeform: Shape 6725">
                    <a:extLst>
                      <a:ext uri="{FF2B5EF4-FFF2-40B4-BE49-F238E27FC236}">
                        <a16:creationId xmlns:a16="http://schemas.microsoft.com/office/drawing/2014/main" id="{01391426-6687-12C4-DCCB-EE2229E4FC62}"/>
                      </a:ext>
                    </a:extLst>
                  </p:cNvPr>
                  <p:cNvSpPr/>
                  <p:nvPr/>
                </p:nvSpPr>
                <p:spPr>
                  <a:xfrm>
                    <a:off x="4343113"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27" name="Freeform: Shape 6726">
                    <a:extLst>
                      <a:ext uri="{FF2B5EF4-FFF2-40B4-BE49-F238E27FC236}">
                        <a16:creationId xmlns:a16="http://schemas.microsoft.com/office/drawing/2014/main" id="{448B64E5-EBA5-4C7E-F64B-31A7A3FAF4B2}"/>
                      </a:ext>
                    </a:extLst>
                  </p:cNvPr>
                  <p:cNvSpPr/>
                  <p:nvPr/>
                </p:nvSpPr>
                <p:spPr>
                  <a:xfrm>
                    <a:off x="4305299"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3" name="Graphic 471">
                  <a:extLst>
                    <a:ext uri="{FF2B5EF4-FFF2-40B4-BE49-F238E27FC236}">
                      <a16:creationId xmlns:a16="http://schemas.microsoft.com/office/drawing/2014/main" id="{4EC03790-C512-F23C-01C2-602C51C32978}"/>
                    </a:ext>
                  </a:extLst>
                </p:cNvPr>
                <p:cNvGrpSpPr/>
                <p:nvPr/>
              </p:nvGrpSpPr>
              <p:grpSpPr>
                <a:xfrm>
                  <a:off x="4257865" y="2932366"/>
                  <a:ext cx="75723" cy="75723"/>
                  <a:chOff x="4257865" y="2932366"/>
                  <a:chExt cx="75723" cy="75723"/>
                </a:xfrm>
              </p:grpSpPr>
              <p:sp>
                <p:nvSpPr>
                  <p:cNvPr id="6724" name="Freeform: Shape 6723">
                    <a:extLst>
                      <a:ext uri="{FF2B5EF4-FFF2-40B4-BE49-F238E27FC236}">
                        <a16:creationId xmlns:a16="http://schemas.microsoft.com/office/drawing/2014/main" id="{7002D6AE-8153-C6FE-0381-2360D48FC685}"/>
                      </a:ext>
                    </a:extLst>
                  </p:cNvPr>
                  <p:cNvSpPr/>
                  <p:nvPr/>
                </p:nvSpPr>
                <p:spPr>
                  <a:xfrm>
                    <a:off x="4295679"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25" name="Freeform: Shape 6724">
                    <a:extLst>
                      <a:ext uri="{FF2B5EF4-FFF2-40B4-BE49-F238E27FC236}">
                        <a16:creationId xmlns:a16="http://schemas.microsoft.com/office/drawing/2014/main" id="{95759163-4D81-2863-A236-AB38A0CCBFFA}"/>
                      </a:ext>
                    </a:extLst>
                  </p:cNvPr>
                  <p:cNvSpPr/>
                  <p:nvPr/>
                </p:nvSpPr>
                <p:spPr>
                  <a:xfrm>
                    <a:off x="4257865"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4" name="Graphic 471">
                  <a:extLst>
                    <a:ext uri="{FF2B5EF4-FFF2-40B4-BE49-F238E27FC236}">
                      <a16:creationId xmlns:a16="http://schemas.microsoft.com/office/drawing/2014/main" id="{EE14E39E-ECA5-33FF-36C8-4511EA93DDF5}"/>
                    </a:ext>
                  </a:extLst>
                </p:cNvPr>
                <p:cNvGrpSpPr/>
                <p:nvPr/>
              </p:nvGrpSpPr>
              <p:grpSpPr>
                <a:xfrm>
                  <a:off x="4156709" y="2909887"/>
                  <a:ext cx="75723" cy="75723"/>
                  <a:chOff x="4156709" y="2909887"/>
                  <a:chExt cx="75723" cy="75723"/>
                </a:xfrm>
              </p:grpSpPr>
              <p:sp>
                <p:nvSpPr>
                  <p:cNvPr id="6722" name="Freeform: Shape 6721">
                    <a:extLst>
                      <a:ext uri="{FF2B5EF4-FFF2-40B4-BE49-F238E27FC236}">
                        <a16:creationId xmlns:a16="http://schemas.microsoft.com/office/drawing/2014/main" id="{0285B200-DB62-4307-5BD1-A01119838760}"/>
                      </a:ext>
                    </a:extLst>
                  </p:cNvPr>
                  <p:cNvSpPr/>
                  <p:nvPr/>
                </p:nvSpPr>
                <p:spPr>
                  <a:xfrm>
                    <a:off x="4194619" y="29098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23" name="Freeform: Shape 6722">
                    <a:extLst>
                      <a:ext uri="{FF2B5EF4-FFF2-40B4-BE49-F238E27FC236}">
                        <a16:creationId xmlns:a16="http://schemas.microsoft.com/office/drawing/2014/main" id="{7C743691-BD22-C8A3-8C32-849D68613AF1}"/>
                      </a:ext>
                    </a:extLst>
                  </p:cNvPr>
                  <p:cNvSpPr/>
                  <p:nvPr/>
                </p:nvSpPr>
                <p:spPr>
                  <a:xfrm>
                    <a:off x="4156709" y="29477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5" name="Graphic 471">
                  <a:extLst>
                    <a:ext uri="{FF2B5EF4-FFF2-40B4-BE49-F238E27FC236}">
                      <a16:creationId xmlns:a16="http://schemas.microsoft.com/office/drawing/2014/main" id="{D86B56A9-E751-2FF5-ED67-BE8CD2D5B92E}"/>
                    </a:ext>
                  </a:extLst>
                </p:cNvPr>
                <p:cNvGrpSpPr/>
                <p:nvPr/>
              </p:nvGrpSpPr>
              <p:grpSpPr>
                <a:xfrm>
                  <a:off x="3496150" y="2706623"/>
                  <a:ext cx="75723" cy="75723"/>
                  <a:chOff x="3496150" y="2706623"/>
                  <a:chExt cx="75723" cy="75723"/>
                </a:xfrm>
              </p:grpSpPr>
              <p:sp>
                <p:nvSpPr>
                  <p:cNvPr id="6720" name="Freeform: Shape 6719">
                    <a:extLst>
                      <a:ext uri="{FF2B5EF4-FFF2-40B4-BE49-F238E27FC236}">
                        <a16:creationId xmlns:a16="http://schemas.microsoft.com/office/drawing/2014/main" id="{FD868B20-7725-ACAB-6004-79BF5B48CCA0}"/>
                      </a:ext>
                    </a:extLst>
                  </p:cNvPr>
                  <p:cNvSpPr/>
                  <p:nvPr/>
                </p:nvSpPr>
                <p:spPr>
                  <a:xfrm>
                    <a:off x="3534060" y="27066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21" name="Freeform: Shape 6720">
                    <a:extLst>
                      <a:ext uri="{FF2B5EF4-FFF2-40B4-BE49-F238E27FC236}">
                        <a16:creationId xmlns:a16="http://schemas.microsoft.com/office/drawing/2014/main" id="{76022FAC-8644-757D-4792-70ACF5498744}"/>
                      </a:ext>
                    </a:extLst>
                  </p:cNvPr>
                  <p:cNvSpPr/>
                  <p:nvPr/>
                </p:nvSpPr>
                <p:spPr>
                  <a:xfrm>
                    <a:off x="3496150" y="27444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6" name="Graphic 471">
                  <a:extLst>
                    <a:ext uri="{FF2B5EF4-FFF2-40B4-BE49-F238E27FC236}">
                      <a16:creationId xmlns:a16="http://schemas.microsoft.com/office/drawing/2014/main" id="{965C1823-7492-8661-F0C8-2AC00C1DB772}"/>
                    </a:ext>
                  </a:extLst>
                </p:cNvPr>
                <p:cNvGrpSpPr/>
                <p:nvPr/>
              </p:nvGrpSpPr>
              <p:grpSpPr>
                <a:xfrm>
                  <a:off x="3288601" y="2689002"/>
                  <a:ext cx="75628" cy="75723"/>
                  <a:chOff x="3288601" y="2689002"/>
                  <a:chExt cx="75628" cy="75723"/>
                </a:xfrm>
              </p:grpSpPr>
              <p:sp>
                <p:nvSpPr>
                  <p:cNvPr id="6718" name="Freeform: Shape 6717">
                    <a:extLst>
                      <a:ext uri="{FF2B5EF4-FFF2-40B4-BE49-F238E27FC236}">
                        <a16:creationId xmlns:a16="http://schemas.microsoft.com/office/drawing/2014/main" id="{75E4462B-4189-5576-33C5-EC444FAE22C7}"/>
                      </a:ext>
                    </a:extLst>
                  </p:cNvPr>
                  <p:cNvSpPr/>
                  <p:nvPr/>
                </p:nvSpPr>
                <p:spPr>
                  <a:xfrm>
                    <a:off x="3326415" y="26890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19" name="Freeform: Shape 6718">
                    <a:extLst>
                      <a:ext uri="{FF2B5EF4-FFF2-40B4-BE49-F238E27FC236}">
                        <a16:creationId xmlns:a16="http://schemas.microsoft.com/office/drawing/2014/main" id="{0B234C98-8AA3-330E-AB7D-81F67F8D4870}"/>
                      </a:ext>
                    </a:extLst>
                  </p:cNvPr>
                  <p:cNvSpPr/>
                  <p:nvPr/>
                </p:nvSpPr>
                <p:spPr>
                  <a:xfrm>
                    <a:off x="3288601" y="272681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7" name="Graphic 471">
                  <a:extLst>
                    <a:ext uri="{FF2B5EF4-FFF2-40B4-BE49-F238E27FC236}">
                      <a16:creationId xmlns:a16="http://schemas.microsoft.com/office/drawing/2014/main" id="{73EB1E20-2168-2717-CCB7-BB6FCAF33595}"/>
                    </a:ext>
                  </a:extLst>
                </p:cNvPr>
                <p:cNvGrpSpPr/>
                <p:nvPr/>
              </p:nvGrpSpPr>
              <p:grpSpPr>
                <a:xfrm>
                  <a:off x="3233737" y="2671762"/>
                  <a:ext cx="75723" cy="75723"/>
                  <a:chOff x="3233737" y="2671762"/>
                  <a:chExt cx="75723" cy="75723"/>
                </a:xfrm>
              </p:grpSpPr>
              <p:sp>
                <p:nvSpPr>
                  <p:cNvPr id="6716" name="Freeform: Shape 6715">
                    <a:extLst>
                      <a:ext uri="{FF2B5EF4-FFF2-40B4-BE49-F238E27FC236}">
                        <a16:creationId xmlns:a16="http://schemas.microsoft.com/office/drawing/2014/main" id="{1B3412D1-4F9F-A74B-FD43-AFD1081BFEDF}"/>
                      </a:ext>
                    </a:extLst>
                  </p:cNvPr>
                  <p:cNvSpPr/>
                  <p:nvPr/>
                </p:nvSpPr>
                <p:spPr>
                  <a:xfrm>
                    <a:off x="3271551"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17" name="Freeform: Shape 6716">
                    <a:extLst>
                      <a:ext uri="{FF2B5EF4-FFF2-40B4-BE49-F238E27FC236}">
                        <a16:creationId xmlns:a16="http://schemas.microsoft.com/office/drawing/2014/main" id="{5D572655-2E9A-A5B4-B21F-3D07972AE97E}"/>
                      </a:ext>
                    </a:extLst>
                  </p:cNvPr>
                  <p:cNvSpPr/>
                  <p:nvPr/>
                </p:nvSpPr>
                <p:spPr>
                  <a:xfrm>
                    <a:off x="3233737"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8" name="Graphic 471">
                  <a:extLst>
                    <a:ext uri="{FF2B5EF4-FFF2-40B4-BE49-F238E27FC236}">
                      <a16:creationId xmlns:a16="http://schemas.microsoft.com/office/drawing/2014/main" id="{4D82EF5F-FB74-5055-4A09-D88261462D07}"/>
                    </a:ext>
                  </a:extLst>
                </p:cNvPr>
                <p:cNvGrpSpPr/>
                <p:nvPr/>
              </p:nvGrpSpPr>
              <p:grpSpPr>
                <a:xfrm>
                  <a:off x="3186112" y="2671762"/>
                  <a:ext cx="75723" cy="75723"/>
                  <a:chOff x="3186112" y="2671762"/>
                  <a:chExt cx="75723" cy="75723"/>
                </a:xfrm>
              </p:grpSpPr>
              <p:sp>
                <p:nvSpPr>
                  <p:cNvPr id="6714" name="Freeform: Shape 6713">
                    <a:extLst>
                      <a:ext uri="{FF2B5EF4-FFF2-40B4-BE49-F238E27FC236}">
                        <a16:creationId xmlns:a16="http://schemas.microsoft.com/office/drawing/2014/main" id="{08EC6131-9A4C-B636-D7B2-744B009DB8F6}"/>
                      </a:ext>
                    </a:extLst>
                  </p:cNvPr>
                  <p:cNvSpPr/>
                  <p:nvPr/>
                </p:nvSpPr>
                <p:spPr>
                  <a:xfrm>
                    <a:off x="3223926" y="267176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15" name="Freeform: Shape 6714">
                    <a:extLst>
                      <a:ext uri="{FF2B5EF4-FFF2-40B4-BE49-F238E27FC236}">
                        <a16:creationId xmlns:a16="http://schemas.microsoft.com/office/drawing/2014/main" id="{60DE96B9-F64A-2D6F-E098-BBE0F6807D28}"/>
                      </a:ext>
                    </a:extLst>
                  </p:cNvPr>
                  <p:cNvSpPr/>
                  <p:nvPr/>
                </p:nvSpPr>
                <p:spPr>
                  <a:xfrm>
                    <a:off x="3186112" y="270957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39" name="Graphic 471">
                  <a:extLst>
                    <a:ext uri="{FF2B5EF4-FFF2-40B4-BE49-F238E27FC236}">
                      <a16:creationId xmlns:a16="http://schemas.microsoft.com/office/drawing/2014/main" id="{9C9067D9-58D9-CD14-C024-F7E128C09DD6}"/>
                    </a:ext>
                  </a:extLst>
                </p:cNvPr>
                <p:cNvGrpSpPr/>
                <p:nvPr/>
              </p:nvGrpSpPr>
              <p:grpSpPr>
                <a:xfrm>
                  <a:off x="4270438" y="2932366"/>
                  <a:ext cx="75723" cy="75723"/>
                  <a:chOff x="4270438" y="2932366"/>
                  <a:chExt cx="75723" cy="75723"/>
                </a:xfrm>
              </p:grpSpPr>
              <p:sp>
                <p:nvSpPr>
                  <p:cNvPr id="6712" name="Freeform: Shape 6711">
                    <a:extLst>
                      <a:ext uri="{FF2B5EF4-FFF2-40B4-BE49-F238E27FC236}">
                        <a16:creationId xmlns:a16="http://schemas.microsoft.com/office/drawing/2014/main" id="{6A62D565-21F8-3EF8-94BF-492840BB86F9}"/>
                      </a:ext>
                    </a:extLst>
                  </p:cNvPr>
                  <p:cNvSpPr/>
                  <p:nvPr/>
                </p:nvSpPr>
                <p:spPr>
                  <a:xfrm>
                    <a:off x="4308252" y="293236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13" name="Freeform: Shape 6712">
                    <a:extLst>
                      <a:ext uri="{FF2B5EF4-FFF2-40B4-BE49-F238E27FC236}">
                        <a16:creationId xmlns:a16="http://schemas.microsoft.com/office/drawing/2014/main" id="{F1B13A72-A719-077C-A772-67760A0AF908}"/>
                      </a:ext>
                    </a:extLst>
                  </p:cNvPr>
                  <p:cNvSpPr/>
                  <p:nvPr/>
                </p:nvSpPr>
                <p:spPr>
                  <a:xfrm>
                    <a:off x="4270438" y="297027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0" name="Graphic 471">
                  <a:extLst>
                    <a:ext uri="{FF2B5EF4-FFF2-40B4-BE49-F238E27FC236}">
                      <a16:creationId xmlns:a16="http://schemas.microsoft.com/office/drawing/2014/main" id="{3E26D4B5-58EB-9564-5CF3-83F81A9BD24E}"/>
                    </a:ext>
                  </a:extLst>
                </p:cNvPr>
                <p:cNvGrpSpPr/>
                <p:nvPr/>
              </p:nvGrpSpPr>
              <p:grpSpPr>
                <a:xfrm>
                  <a:off x="4768405" y="3141344"/>
                  <a:ext cx="75723" cy="75723"/>
                  <a:chOff x="4768405" y="3141344"/>
                  <a:chExt cx="75723" cy="75723"/>
                </a:xfrm>
              </p:grpSpPr>
              <p:sp>
                <p:nvSpPr>
                  <p:cNvPr id="6710" name="Freeform: Shape 6709">
                    <a:extLst>
                      <a:ext uri="{FF2B5EF4-FFF2-40B4-BE49-F238E27FC236}">
                        <a16:creationId xmlns:a16="http://schemas.microsoft.com/office/drawing/2014/main" id="{94020760-D907-DC0F-9501-3957AFAC0D5C}"/>
                      </a:ext>
                    </a:extLst>
                  </p:cNvPr>
                  <p:cNvSpPr/>
                  <p:nvPr/>
                </p:nvSpPr>
                <p:spPr>
                  <a:xfrm>
                    <a:off x="4806314"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11" name="Freeform: Shape 6710">
                    <a:extLst>
                      <a:ext uri="{FF2B5EF4-FFF2-40B4-BE49-F238E27FC236}">
                        <a16:creationId xmlns:a16="http://schemas.microsoft.com/office/drawing/2014/main" id="{9DA6D769-80CC-49BC-9DBC-DE0FAF87D0B7}"/>
                      </a:ext>
                    </a:extLst>
                  </p:cNvPr>
                  <p:cNvSpPr/>
                  <p:nvPr/>
                </p:nvSpPr>
                <p:spPr>
                  <a:xfrm>
                    <a:off x="4768405"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1" name="Graphic 471">
                  <a:extLst>
                    <a:ext uri="{FF2B5EF4-FFF2-40B4-BE49-F238E27FC236}">
                      <a16:creationId xmlns:a16="http://schemas.microsoft.com/office/drawing/2014/main" id="{C5A3D374-81FE-B934-6788-A6F0059551FD}"/>
                    </a:ext>
                  </a:extLst>
                </p:cNvPr>
                <p:cNvGrpSpPr/>
                <p:nvPr/>
              </p:nvGrpSpPr>
              <p:grpSpPr>
                <a:xfrm>
                  <a:off x="4786216" y="3141344"/>
                  <a:ext cx="75723" cy="75723"/>
                  <a:chOff x="4786216" y="3141344"/>
                  <a:chExt cx="75723" cy="75723"/>
                </a:xfrm>
              </p:grpSpPr>
              <p:sp>
                <p:nvSpPr>
                  <p:cNvPr id="6708" name="Freeform: Shape 6707">
                    <a:extLst>
                      <a:ext uri="{FF2B5EF4-FFF2-40B4-BE49-F238E27FC236}">
                        <a16:creationId xmlns:a16="http://schemas.microsoft.com/office/drawing/2014/main" id="{A9AD4AF9-F750-2B56-13DC-86ADB8245E78}"/>
                      </a:ext>
                    </a:extLst>
                  </p:cNvPr>
                  <p:cNvSpPr/>
                  <p:nvPr/>
                </p:nvSpPr>
                <p:spPr>
                  <a:xfrm>
                    <a:off x="482412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09" name="Freeform: Shape 6708">
                    <a:extLst>
                      <a:ext uri="{FF2B5EF4-FFF2-40B4-BE49-F238E27FC236}">
                        <a16:creationId xmlns:a16="http://schemas.microsoft.com/office/drawing/2014/main" id="{A0467E99-5E75-363F-EF56-521A895F3E20}"/>
                      </a:ext>
                    </a:extLst>
                  </p:cNvPr>
                  <p:cNvSpPr/>
                  <p:nvPr/>
                </p:nvSpPr>
                <p:spPr>
                  <a:xfrm>
                    <a:off x="4786216"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2" name="Graphic 471">
                  <a:extLst>
                    <a:ext uri="{FF2B5EF4-FFF2-40B4-BE49-F238E27FC236}">
                      <a16:creationId xmlns:a16="http://schemas.microsoft.com/office/drawing/2014/main" id="{BD36449C-995B-5EA5-2AC2-8CED593C57E3}"/>
                    </a:ext>
                  </a:extLst>
                </p:cNvPr>
                <p:cNvGrpSpPr/>
                <p:nvPr/>
              </p:nvGrpSpPr>
              <p:grpSpPr>
                <a:xfrm>
                  <a:off x="4801647" y="3141344"/>
                  <a:ext cx="75723" cy="75723"/>
                  <a:chOff x="4801647" y="3141344"/>
                  <a:chExt cx="75723" cy="75723"/>
                </a:xfrm>
              </p:grpSpPr>
              <p:sp>
                <p:nvSpPr>
                  <p:cNvPr id="6706" name="Freeform: Shape 6705">
                    <a:extLst>
                      <a:ext uri="{FF2B5EF4-FFF2-40B4-BE49-F238E27FC236}">
                        <a16:creationId xmlns:a16="http://schemas.microsoft.com/office/drawing/2014/main" id="{6C4453C3-52BD-7CA8-D34A-A5010BFDCF51}"/>
                      </a:ext>
                    </a:extLst>
                  </p:cNvPr>
                  <p:cNvSpPr/>
                  <p:nvPr/>
                </p:nvSpPr>
                <p:spPr>
                  <a:xfrm>
                    <a:off x="4839556"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07" name="Freeform: Shape 6706">
                    <a:extLst>
                      <a:ext uri="{FF2B5EF4-FFF2-40B4-BE49-F238E27FC236}">
                        <a16:creationId xmlns:a16="http://schemas.microsoft.com/office/drawing/2014/main" id="{42277000-BD49-127D-648B-79BC713E9675}"/>
                      </a:ext>
                    </a:extLst>
                  </p:cNvPr>
                  <p:cNvSpPr/>
                  <p:nvPr/>
                </p:nvSpPr>
                <p:spPr>
                  <a:xfrm>
                    <a:off x="4801647" y="317925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3" name="Graphic 471">
                  <a:extLst>
                    <a:ext uri="{FF2B5EF4-FFF2-40B4-BE49-F238E27FC236}">
                      <a16:creationId xmlns:a16="http://schemas.microsoft.com/office/drawing/2014/main" id="{B94E5617-4E02-4A5C-44F6-39D115E7626D}"/>
                    </a:ext>
                  </a:extLst>
                </p:cNvPr>
                <p:cNvGrpSpPr/>
                <p:nvPr/>
              </p:nvGrpSpPr>
              <p:grpSpPr>
                <a:xfrm>
                  <a:off x="4813458" y="3141344"/>
                  <a:ext cx="75628" cy="75723"/>
                  <a:chOff x="4813458" y="3141344"/>
                  <a:chExt cx="75628" cy="75723"/>
                </a:xfrm>
              </p:grpSpPr>
              <p:sp>
                <p:nvSpPr>
                  <p:cNvPr id="6704" name="Freeform: Shape 6703">
                    <a:extLst>
                      <a:ext uri="{FF2B5EF4-FFF2-40B4-BE49-F238E27FC236}">
                        <a16:creationId xmlns:a16="http://schemas.microsoft.com/office/drawing/2014/main" id="{06A505C6-0DCF-52E5-C9F7-DB4B7BBD0518}"/>
                      </a:ext>
                    </a:extLst>
                  </p:cNvPr>
                  <p:cNvSpPr/>
                  <p:nvPr/>
                </p:nvSpPr>
                <p:spPr>
                  <a:xfrm>
                    <a:off x="4851272" y="31413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05" name="Freeform: Shape 6704">
                    <a:extLst>
                      <a:ext uri="{FF2B5EF4-FFF2-40B4-BE49-F238E27FC236}">
                        <a16:creationId xmlns:a16="http://schemas.microsoft.com/office/drawing/2014/main" id="{9F215D72-B62C-5A81-4B10-6B18D5A3F1DA}"/>
                      </a:ext>
                    </a:extLst>
                  </p:cNvPr>
                  <p:cNvSpPr/>
                  <p:nvPr/>
                </p:nvSpPr>
                <p:spPr>
                  <a:xfrm>
                    <a:off x="4813458" y="317925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4" name="Graphic 471">
                  <a:extLst>
                    <a:ext uri="{FF2B5EF4-FFF2-40B4-BE49-F238E27FC236}">
                      <a16:creationId xmlns:a16="http://schemas.microsoft.com/office/drawing/2014/main" id="{9AF91FB9-1C24-3A39-A835-661CEE445646}"/>
                    </a:ext>
                  </a:extLst>
                </p:cNvPr>
                <p:cNvGrpSpPr/>
                <p:nvPr/>
              </p:nvGrpSpPr>
              <p:grpSpPr>
                <a:xfrm>
                  <a:off x="5091302" y="3372135"/>
                  <a:ext cx="75628" cy="75628"/>
                  <a:chOff x="5091302" y="3372135"/>
                  <a:chExt cx="75628" cy="75628"/>
                </a:xfrm>
              </p:grpSpPr>
              <p:sp>
                <p:nvSpPr>
                  <p:cNvPr id="6702" name="Freeform: Shape 6701">
                    <a:extLst>
                      <a:ext uri="{FF2B5EF4-FFF2-40B4-BE49-F238E27FC236}">
                        <a16:creationId xmlns:a16="http://schemas.microsoft.com/office/drawing/2014/main" id="{A2C3210D-CE5A-57EF-C0A0-6408E12EA9DA}"/>
                      </a:ext>
                    </a:extLst>
                  </p:cNvPr>
                  <p:cNvSpPr/>
                  <p:nvPr/>
                </p:nvSpPr>
                <p:spPr>
                  <a:xfrm>
                    <a:off x="5129116" y="337213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03" name="Freeform: Shape 6702">
                    <a:extLst>
                      <a:ext uri="{FF2B5EF4-FFF2-40B4-BE49-F238E27FC236}">
                        <a16:creationId xmlns:a16="http://schemas.microsoft.com/office/drawing/2014/main" id="{6BDA3409-FBE8-ABDC-AC0E-E6635DD2772E}"/>
                      </a:ext>
                    </a:extLst>
                  </p:cNvPr>
                  <p:cNvSpPr/>
                  <p:nvPr/>
                </p:nvSpPr>
                <p:spPr>
                  <a:xfrm>
                    <a:off x="5091302" y="340994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5" name="Graphic 471">
                  <a:extLst>
                    <a:ext uri="{FF2B5EF4-FFF2-40B4-BE49-F238E27FC236}">
                      <a16:creationId xmlns:a16="http://schemas.microsoft.com/office/drawing/2014/main" id="{A4C1E658-B9A8-BD2A-3226-182D8C35C320}"/>
                    </a:ext>
                  </a:extLst>
                </p:cNvPr>
                <p:cNvGrpSpPr/>
                <p:nvPr/>
              </p:nvGrpSpPr>
              <p:grpSpPr>
                <a:xfrm>
                  <a:off x="5457634" y="3595115"/>
                  <a:ext cx="75723" cy="75723"/>
                  <a:chOff x="5457634" y="3595115"/>
                  <a:chExt cx="75723" cy="75723"/>
                </a:xfrm>
              </p:grpSpPr>
              <p:sp>
                <p:nvSpPr>
                  <p:cNvPr id="6700" name="Freeform: Shape 6699">
                    <a:extLst>
                      <a:ext uri="{FF2B5EF4-FFF2-40B4-BE49-F238E27FC236}">
                        <a16:creationId xmlns:a16="http://schemas.microsoft.com/office/drawing/2014/main" id="{721F0935-137B-7756-A60F-3B130AA52EC0}"/>
                      </a:ext>
                    </a:extLst>
                  </p:cNvPr>
                  <p:cNvSpPr/>
                  <p:nvPr/>
                </p:nvSpPr>
                <p:spPr>
                  <a:xfrm>
                    <a:off x="5495543"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01" name="Freeform: Shape 6700">
                    <a:extLst>
                      <a:ext uri="{FF2B5EF4-FFF2-40B4-BE49-F238E27FC236}">
                        <a16:creationId xmlns:a16="http://schemas.microsoft.com/office/drawing/2014/main" id="{26F1A297-3C9B-4EA4-738D-58019F1C40B2}"/>
                      </a:ext>
                    </a:extLst>
                  </p:cNvPr>
                  <p:cNvSpPr/>
                  <p:nvPr/>
                </p:nvSpPr>
                <p:spPr>
                  <a:xfrm>
                    <a:off x="5457634" y="3632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6" name="Graphic 471">
                  <a:extLst>
                    <a:ext uri="{FF2B5EF4-FFF2-40B4-BE49-F238E27FC236}">
                      <a16:creationId xmlns:a16="http://schemas.microsoft.com/office/drawing/2014/main" id="{BB11E5A2-821A-910A-0F30-F43DA32634FA}"/>
                    </a:ext>
                  </a:extLst>
                </p:cNvPr>
                <p:cNvGrpSpPr/>
                <p:nvPr/>
              </p:nvGrpSpPr>
              <p:grpSpPr>
                <a:xfrm>
                  <a:off x="5467444" y="3595115"/>
                  <a:ext cx="75628" cy="75723"/>
                  <a:chOff x="5467444" y="3595115"/>
                  <a:chExt cx="75628" cy="75723"/>
                </a:xfrm>
              </p:grpSpPr>
              <p:sp>
                <p:nvSpPr>
                  <p:cNvPr id="6698" name="Freeform: Shape 6697">
                    <a:extLst>
                      <a:ext uri="{FF2B5EF4-FFF2-40B4-BE49-F238E27FC236}">
                        <a16:creationId xmlns:a16="http://schemas.microsoft.com/office/drawing/2014/main" id="{3FA33A0C-AEF3-603A-4BA0-10A812327ED8}"/>
                      </a:ext>
                    </a:extLst>
                  </p:cNvPr>
                  <p:cNvSpPr/>
                  <p:nvPr/>
                </p:nvSpPr>
                <p:spPr>
                  <a:xfrm>
                    <a:off x="5505259" y="35951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99" name="Freeform: Shape 6698">
                    <a:extLst>
                      <a:ext uri="{FF2B5EF4-FFF2-40B4-BE49-F238E27FC236}">
                        <a16:creationId xmlns:a16="http://schemas.microsoft.com/office/drawing/2014/main" id="{B983AD55-C751-D624-9C44-94336510080E}"/>
                      </a:ext>
                    </a:extLst>
                  </p:cNvPr>
                  <p:cNvSpPr/>
                  <p:nvPr/>
                </p:nvSpPr>
                <p:spPr>
                  <a:xfrm>
                    <a:off x="5467444" y="363292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7" name="Graphic 471">
                  <a:extLst>
                    <a:ext uri="{FF2B5EF4-FFF2-40B4-BE49-F238E27FC236}">
                      <a16:creationId xmlns:a16="http://schemas.microsoft.com/office/drawing/2014/main" id="{9350E9B1-8AC7-B3AE-8DE4-417AFBFB2E95}"/>
                    </a:ext>
                  </a:extLst>
                </p:cNvPr>
                <p:cNvGrpSpPr/>
                <p:nvPr/>
              </p:nvGrpSpPr>
              <p:grpSpPr>
                <a:xfrm>
                  <a:off x="5666422" y="3675030"/>
                  <a:ext cx="75723" cy="75723"/>
                  <a:chOff x="5666422" y="3675030"/>
                  <a:chExt cx="75723" cy="75723"/>
                </a:xfrm>
              </p:grpSpPr>
              <p:sp>
                <p:nvSpPr>
                  <p:cNvPr id="6696" name="Freeform: Shape 6695">
                    <a:extLst>
                      <a:ext uri="{FF2B5EF4-FFF2-40B4-BE49-F238E27FC236}">
                        <a16:creationId xmlns:a16="http://schemas.microsoft.com/office/drawing/2014/main" id="{CC73E30A-8476-498F-7462-4BF2AC29BC65}"/>
                      </a:ext>
                    </a:extLst>
                  </p:cNvPr>
                  <p:cNvSpPr/>
                  <p:nvPr/>
                </p:nvSpPr>
                <p:spPr>
                  <a:xfrm>
                    <a:off x="5704236" y="36750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97" name="Freeform: Shape 6696">
                    <a:extLst>
                      <a:ext uri="{FF2B5EF4-FFF2-40B4-BE49-F238E27FC236}">
                        <a16:creationId xmlns:a16="http://schemas.microsoft.com/office/drawing/2014/main" id="{6A43E22E-583F-1CA3-0E0A-9BA1B1DB4E91}"/>
                      </a:ext>
                    </a:extLst>
                  </p:cNvPr>
                  <p:cNvSpPr/>
                  <p:nvPr/>
                </p:nvSpPr>
                <p:spPr>
                  <a:xfrm>
                    <a:off x="5666422" y="37129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8" name="Graphic 471">
                  <a:extLst>
                    <a:ext uri="{FF2B5EF4-FFF2-40B4-BE49-F238E27FC236}">
                      <a16:creationId xmlns:a16="http://schemas.microsoft.com/office/drawing/2014/main" id="{46605860-95CE-6B0B-BA55-4D30F18B6C57}"/>
                    </a:ext>
                  </a:extLst>
                </p:cNvPr>
                <p:cNvGrpSpPr/>
                <p:nvPr/>
              </p:nvGrpSpPr>
              <p:grpSpPr>
                <a:xfrm>
                  <a:off x="5960649" y="3701509"/>
                  <a:ext cx="75723" cy="75723"/>
                  <a:chOff x="5960649" y="3701509"/>
                  <a:chExt cx="75723" cy="75723"/>
                </a:xfrm>
              </p:grpSpPr>
              <p:sp>
                <p:nvSpPr>
                  <p:cNvPr id="6694" name="Freeform: Shape 6693">
                    <a:extLst>
                      <a:ext uri="{FF2B5EF4-FFF2-40B4-BE49-F238E27FC236}">
                        <a16:creationId xmlns:a16="http://schemas.microsoft.com/office/drawing/2014/main" id="{65E04FD6-ABFF-CA8F-7460-5179E400F158}"/>
                      </a:ext>
                    </a:extLst>
                  </p:cNvPr>
                  <p:cNvSpPr/>
                  <p:nvPr/>
                </p:nvSpPr>
                <p:spPr>
                  <a:xfrm>
                    <a:off x="5998558" y="37015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95" name="Freeform: Shape 6694">
                    <a:extLst>
                      <a:ext uri="{FF2B5EF4-FFF2-40B4-BE49-F238E27FC236}">
                        <a16:creationId xmlns:a16="http://schemas.microsoft.com/office/drawing/2014/main" id="{4DA25F3C-B9BF-4535-6C83-AD40EBAF383D}"/>
                      </a:ext>
                    </a:extLst>
                  </p:cNvPr>
                  <p:cNvSpPr/>
                  <p:nvPr/>
                </p:nvSpPr>
                <p:spPr>
                  <a:xfrm>
                    <a:off x="5960649" y="37393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49" name="Graphic 471">
                  <a:extLst>
                    <a:ext uri="{FF2B5EF4-FFF2-40B4-BE49-F238E27FC236}">
                      <a16:creationId xmlns:a16="http://schemas.microsoft.com/office/drawing/2014/main" id="{F9461985-AC76-B4D8-4BAC-FD0991ED759D}"/>
                    </a:ext>
                  </a:extLst>
                </p:cNvPr>
                <p:cNvGrpSpPr/>
                <p:nvPr/>
              </p:nvGrpSpPr>
              <p:grpSpPr>
                <a:xfrm>
                  <a:off x="6127908" y="3850480"/>
                  <a:ext cx="75628" cy="75723"/>
                  <a:chOff x="6127908" y="3850480"/>
                  <a:chExt cx="75628" cy="75723"/>
                </a:xfrm>
              </p:grpSpPr>
              <p:sp>
                <p:nvSpPr>
                  <p:cNvPr id="6692" name="Freeform: Shape 6691">
                    <a:extLst>
                      <a:ext uri="{FF2B5EF4-FFF2-40B4-BE49-F238E27FC236}">
                        <a16:creationId xmlns:a16="http://schemas.microsoft.com/office/drawing/2014/main" id="{7A6B2667-FD7C-55A2-6F99-9438302C196B}"/>
                      </a:ext>
                    </a:extLst>
                  </p:cNvPr>
                  <p:cNvSpPr/>
                  <p:nvPr/>
                </p:nvSpPr>
                <p:spPr>
                  <a:xfrm>
                    <a:off x="6165722"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93" name="Freeform: Shape 6692">
                    <a:extLst>
                      <a:ext uri="{FF2B5EF4-FFF2-40B4-BE49-F238E27FC236}">
                        <a16:creationId xmlns:a16="http://schemas.microsoft.com/office/drawing/2014/main" id="{820EAC1B-0285-8D16-6920-E51FB6E4859B}"/>
                      </a:ext>
                    </a:extLst>
                  </p:cNvPr>
                  <p:cNvSpPr/>
                  <p:nvPr/>
                </p:nvSpPr>
                <p:spPr>
                  <a:xfrm>
                    <a:off x="6127908" y="388829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0" name="Graphic 471">
                  <a:extLst>
                    <a:ext uri="{FF2B5EF4-FFF2-40B4-BE49-F238E27FC236}">
                      <a16:creationId xmlns:a16="http://schemas.microsoft.com/office/drawing/2014/main" id="{ADD3ACCD-FFCD-D4E1-96BE-1FB1EE618802}"/>
                    </a:ext>
                  </a:extLst>
                </p:cNvPr>
                <p:cNvGrpSpPr/>
                <p:nvPr/>
              </p:nvGrpSpPr>
              <p:grpSpPr>
                <a:xfrm>
                  <a:off x="6117811" y="3850480"/>
                  <a:ext cx="75723" cy="75723"/>
                  <a:chOff x="6117811" y="3850480"/>
                  <a:chExt cx="75723" cy="75723"/>
                </a:xfrm>
              </p:grpSpPr>
              <p:sp>
                <p:nvSpPr>
                  <p:cNvPr id="6690" name="Freeform: Shape 6689">
                    <a:extLst>
                      <a:ext uri="{FF2B5EF4-FFF2-40B4-BE49-F238E27FC236}">
                        <a16:creationId xmlns:a16="http://schemas.microsoft.com/office/drawing/2014/main" id="{EE035B78-2893-4872-01F1-85D4B79E1EB0}"/>
                      </a:ext>
                    </a:extLst>
                  </p:cNvPr>
                  <p:cNvSpPr/>
                  <p:nvPr/>
                </p:nvSpPr>
                <p:spPr>
                  <a:xfrm>
                    <a:off x="6155721" y="38504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91" name="Freeform: Shape 6690">
                    <a:extLst>
                      <a:ext uri="{FF2B5EF4-FFF2-40B4-BE49-F238E27FC236}">
                        <a16:creationId xmlns:a16="http://schemas.microsoft.com/office/drawing/2014/main" id="{12E2AF84-A3C3-5523-6C9B-518E78D3607F}"/>
                      </a:ext>
                    </a:extLst>
                  </p:cNvPr>
                  <p:cNvSpPr/>
                  <p:nvPr/>
                </p:nvSpPr>
                <p:spPr>
                  <a:xfrm>
                    <a:off x="6117811" y="38882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1" name="Graphic 471">
                  <a:extLst>
                    <a:ext uri="{FF2B5EF4-FFF2-40B4-BE49-F238E27FC236}">
                      <a16:creationId xmlns:a16="http://schemas.microsoft.com/office/drawing/2014/main" id="{5F45AA01-D855-05B1-1AA2-937747CC72A1}"/>
                    </a:ext>
                  </a:extLst>
                </p:cNvPr>
                <p:cNvGrpSpPr/>
                <p:nvPr/>
              </p:nvGrpSpPr>
              <p:grpSpPr>
                <a:xfrm>
                  <a:off x="6297834" y="3916012"/>
                  <a:ext cx="75628" cy="75723"/>
                  <a:chOff x="6297834" y="3916012"/>
                  <a:chExt cx="75628" cy="75723"/>
                </a:xfrm>
              </p:grpSpPr>
              <p:sp>
                <p:nvSpPr>
                  <p:cNvPr id="6688" name="Freeform: Shape 6687">
                    <a:extLst>
                      <a:ext uri="{FF2B5EF4-FFF2-40B4-BE49-F238E27FC236}">
                        <a16:creationId xmlns:a16="http://schemas.microsoft.com/office/drawing/2014/main" id="{74BBDCC4-3FED-BB51-6462-69343C812A49}"/>
                      </a:ext>
                    </a:extLst>
                  </p:cNvPr>
                  <p:cNvSpPr/>
                  <p:nvPr/>
                </p:nvSpPr>
                <p:spPr>
                  <a:xfrm>
                    <a:off x="633564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89" name="Freeform: Shape 6688">
                    <a:extLst>
                      <a:ext uri="{FF2B5EF4-FFF2-40B4-BE49-F238E27FC236}">
                        <a16:creationId xmlns:a16="http://schemas.microsoft.com/office/drawing/2014/main" id="{DDE01905-C335-48B8-4E33-B147B011716D}"/>
                      </a:ext>
                    </a:extLst>
                  </p:cNvPr>
                  <p:cNvSpPr/>
                  <p:nvPr/>
                </p:nvSpPr>
                <p:spPr>
                  <a:xfrm>
                    <a:off x="6297834" y="395392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2" name="Graphic 471">
                  <a:extLst>
                    <a:ext uri="{FF2B5EF4-FFF2-40B4-BE49-F238E27FC236}">
                      <a16:creationId xmlns:a16="http://schemas.microsoft.com/office/drawing/2014/main" id="{7A914537-E56A-18BC-C191-C543C7CAD71C}"/>
                    </a:ext>
                  </a:extLst>
                </p:cNvPr>
                <p:cNvGrpSpPr/>
                <p:nvPr/>
              </p:nvGrpSpPr>
              <p:grpSpPr>
                <a:xfrm>
                  <a:off x="6308407" y="3916012"/>
                  <a:ext cx="75723" cy="75723"/>
                  <a:chOff x="6308407" y="3916012"/>
                  <a:chExt cx="75723" cy="75723"/>
                </a:xfrm>
              </p:grpSpPr>
              <p:sp>
                <p:nvSpPr>
                  <p:cNvPr id="6686" name="Freeform: Shape 6685">
                    <a:extLst>
                      <a:ext uri="{FF2B5EF4-FFF2-40B4-BE49-F238E27FC236}">
                        <a16:creationId xmlns:a16="http://schemas.microsoft.com/office/drawing/2014/main" id="{5F27DE9A-46D3-9814-5AFA-76E920E5E1E6}"/>
                      </a:ext>
                    </a:extLst>
                  </p:cNvPr>
                  <p:cNvSpPr/>
                  <p:nvPr/>
                </p:nvSpPr>
                <p:spPr>
                  <a:xfrm>
                    <a:off x="6346316"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87" name="Freeform: Shape 6686">
                    <a:extLst>
                      <a:ext uri="{FF2B5EF4-FFF2-40B4-BE49-F238E27FC236}">
                        <a16:creationId xmlns:a16="http://schemas.microsoft.com/office/drawing/2014/main" id="{23A440F2-54F3-A10D-DC5E-8A32347AD1F2}"/>
                      </a:ext>
                    </a:extLst>
                  </p:cNvPr>
                  <p:cNvSpPr/>
                  <p:nvPr/>
                </p:nvSpPr>
                <p:spPr>
                  <a:xfrm>
                    <a:off x="630840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3" name="Graphic 471">
                  <a:extLst>
                    <a:ext uri="{FF2B5EF4-FFF2-40B4-BE49-F238E27FC236}">
                      <a16:creationId xmlns:a16="http://schemas.microsoft.com/office/drawing/2014/main" id="{F223E51E-223C-7786-9563-FC80D738CFE6}"/>
                    </a:ext>
                  </a:extLst>
                </p:cNvPr>
                <p:cNvGrpSpPr/>
                <p:nvPr/>
              </p:nvGrpSpPr>
              <p:grpSpPr>
                <a:xfrm>
                  <a:off x="6326980" y="3916012"/>
                  <a:ext cx="75723" cy="75723"/>
                  <a:chOff x="6326980" y="3916012"/>
                  <a:chExt cx="75723" cy="75723"/>
                </a:xfrm>
              </p:grpSpPr>
              <p:sp>
                <p:nvSpPr>
                  <p:cNvPr id="6684" name="Freeform: Shape 6683">
                    <a:extLst>
                      <a:ext uri="{FF2B5EF4-FFF2-40B4-BE49-F238E27FC236}">
                        <a16:creationId xmlns:a16="http://schemas.microsoft.com/office/drawing/2014/main" id="{84A83487-28F6-7B2E-3049-B6D96F84B176}"/>
                      </a:ext>
                    </a:extLst>
                  </p:cNvPr>
                  <p:cNvSpPr/>
                  <p:nvPr/>
                </p:nvSpPr>
                <p:spPr>
                  <a:xfrm>
                    <a:off x="6364795"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85" name="Freeform: Shape 6684">
                    <a:extLst>
                      <a:ext uri="{FF2B5EF4-FFF2-40B4-BE49-F238E27FC236}">
                        <a16:creationId xmlns:a16="http://schemas.microsoft.com/office/drawing/2014/main" id="{D02572E7-9752-9D16-0B57-3C3655122682}"/>
                      </a:ext>
                    </a:extLst>
                  </p:cNvPr>
                  <p:cNvSpPr/>
                  <p:nvPr/>
                </p:nvSpPr>
                <p:spPr>
                  <a:xfrm>
                    <a:off x="6326980"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4" name="Graphic 471">
                  <a:extLst>
                    <a:ext uri="{FF2B5EF4-FFF2-40B4-BE49-F238E27FC236}">
                      <a16:creationId xmlns:a16="http://schemas.microsoft.com/office/drawing/2014/main" id="{407C9DAA-97AD-896A-67C0-9B8C446FE4F1}"/>
                    </a:ext>
                  </a:extLst>
                </p:cNvPr>
                <p:cNvGrpSpPr/>
                <p:nvPr/>
              </p:nvGrpSpPr>
              <p:grpSpPr>
                <a:xfrm>
                  <a:off x="6361937" y="3916012"/>
                  <a:ext cx="75723" cy="75723"/>
                  <a:chOff x="6361937" y="3916012"/>
                  <a:chExt cx="75723" cy="75723"/>
                </a:xfrm>
              </p:grpSpPr>
              <p:sp>
                <p:nvSpPr>
                  <p:cNvPr id="6682" name="Freeform: Shape 6681">
                    <a:extLst>
                      <a:ext uri="{FF2B5EF4-FFF2-40B4-BE49-F238E27FC236}">
                        <a16:creationId xmlns:a16="http://schemas.microsoft.com/office/drawing/2014/main" id="{6E6D9CD3-6DC8-D722-1FCA-830459535556}"/>
                      </a:ext>
                    </a:extLst>
                  </p:cNvPr>
                  <p:cNvSpPr/>
                  <p:nvPr/>
                </p:nvSpPr>
                <p:spPr>
                  <a:xfrm>
                    <a:off x="6399751"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83" name="Freeform: Shape 6682">
                    <a:extLst>
                      <a:ext uri="{FF2B5EF4-FFF2-40B4-BE49-F238E27FC236}">
                        <a16:creationId xmlns:a16="http://schemas.microsoft.com/office/drawing/2014/main" id="{743DEC44-59C1-ECD0-BC5F-DCDCF4701B66}"/>
                      </a:ext>
                    </a:extLst>
                  </p:cNvPr>
                  <p:cNvSpPr/>
                  <p:nvPr/>
                </p:nvSpPr>
                <p:spPr>
                  <a:xfrm>
                    <a:off x="6361937"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5" name="Graphic 471">
                  <a:extLst>
                    <a:ext uri="{FF2B5EF4-FFF2-40B4-BE49-F238E27FC236}">
                      <a16:creationId xmlns:a16="http://schemas.microsoft.com/office/drawing/2014/main" id="{0A92ABCB-7345-2515-C9F4-5224602C1DBE}"/>
                    </a:ext>
                  </a:extLst>
                </p:cNvPr>
                <p:cNvGrpSpPr/>
                <p:nvPr/>
              </p:nvGrpSpPr>
              <p:grpSpPr>
                <a:xfrm>
                  <a:off x="6520624" y="3916012"/>
                  <a:ext cx="75723" cy="75723"/>
                  <a:chOff x="6520624" y="3916012"/>
                  <a:chExt cx="75723" cy="75723"/>
                </a:xfrm>
              </p:grpSpPr>
              <p:sp>
                <p:nvSpPr>
                  <p:cNvPr id="6680" name="Freeform: Shape 6679">
                    <a:extLst>
                      <a:ext uri="{FF2B5EF4-FFF2-40B4-BE49-F238E27FC236}">
                        <a16:creationId xmlns:a16="http://schemas.microsoft.com/office/drawing/2014/main" id="{25D3BDD0-3EE0-928C-CE8D-4C463FADA876}"/>
                      </a:ext>
                    </a:extLst>
                  </p:cNvPr>
                  <p:cNvSpPr/>
                  <p:nvPr/>
                </p:nvSpPr>
                <p:spPr>
                  <a:xfrm>
                    <a:off x="6558438"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81" name="Freeform: Shape 6680">
                    <a:extLst>
                      <a:ext uri="{FF2B5EF4-FFF2-40B4-BE49-F238E27FC236}">
                        <a16:creationId xmlns:a16="http://schemas.microsoft.com/office/drawing/2014/main" id="{94F4A2C6-BE45-EF9B-427A-FFD79D392755}"/>
                      </a:ext>
                    </a:extLst>
                  </p:cNvPr>
                  <p:cNvSpPr/>
                  <p:nvPr/>
                </p:nvSpPr>
                <p:spPr>
                  <a:xfrm>
                    <a:off x="6520624"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6" name="Graphic 471">
                  <a:extLst>
                    <a:ext uri="{FF2B5EF4-FFF2-40B4-BE49-F238E27FC236}">
                      <a16:creationId xmlns:a16="http://schemas.microsoft.com/office/drawing/2014/main" id="{33643909-8E15-6110-0215-156E70071EAE}"/>
                    </a:ext>
                  </a:extLst>
                </p:cNvPr>
                <p:cNvGrpSpPr/>
                <p:nvPr/>
              </p:nvGrpSpPr>
              <p:grpSpPr>
                <a:xfrm>
                  <a:off x="6571963" y="3916012"/>
                  <a:ext cx="75723" cy="75723"/>
                  <a:chOff x="6571963" y="3916012"/>
                  <a:chExt cx="75723" cy="75723"/>
                </a:xfrm>
              </p:grpSpPr>
              <p:sp>
                <p:nvSpPr>
                  <p:cNvPr id="6678" name="Freeform: Shape 6677">
                    <a:extLst>
                      <a:ext uri="{FF2B5EF4-FFF2-40B4-BE49-F238E27FC236}">
                        <a16:creationId xmlns:a16="http://schemas.microsoft.com/office/drawing/2014/main" id="{F7B49ED8-E4B5-22E7-DF2A-7786D68DF019}"/>
                      </a:ext>
                    </a:extLst>
                  </p:cNvPr>
                  <p:cNvSpPr/>
                  <p:nvPr/>
                </p:nvSpPr>
                <p:spPr>
                  <a:xfrm>
                    <a:off x="660987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79" name="Freeform: Shape 6678">
                    <a:extLst>
                      <a:ext uri="{FF2B5EF4-FFF2-40B4-BE49-F238E27FC236}">
                        <a16:creationId xmlns:a16="http://schemas.microsoft.com/office/drawing/2014/main" id="{6D0BC268-CAC1-28FF-4256-B12603EBAA2C}"/>
                      </a:ext>
                    </a:extLst>
                  </p:cNvPr>
                  <p:cNvSpPr/>
                  <p:nvPr/>
                </p:nvSpPr>
                <p:spPr>
                  <a:xfrm>
                    <a:off x="657196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7" name="Graphic 471">
                  <a:extLst>
                    <a:ext uri="{FF2B5EF4-FFF2-40B4-BE49-F238E27FC236}">
                      <a16:creationId xmlns:a16="http://schemas.microsoft.com/office/drawing/2014/main" id="{92FEBB2F-0CCC-4F86-518B-E49ED966CCC6}"/>
                    </a:ext>
                  </a:extLst>
                </p:cNvPr>
                <p:cNvGrpSpPr/>
                <p:nvPr/>
              </p:nvGrpSpPr>
              <p:grpSpPr>
                <a:xfrm>
                  <a:off x="6535483" y="3916012"/>
                  <a:ext cx="75723" cy="75723"/>
                  <a:chOff x="6535483" y="3916012"/>
                  <a:chExt cx="75723" cy="75723"/>
                </a:xfrm>
              </p:grpSpPr>
              <p:sp>
                <p:nvSpPr>
                  <p:cNvPr id="6676" name="Freeform: Shape 6675">
                    <a:extLst>
                      <a:ext uri="{FF2B5EF4-FFF2-40B4-BE49-F238E27FC236}">
                        <a16:creationId xmlns:a16="http://schemas.microsoft.com/office/drawing/2014/main" id="{950919CA-F7CC-BCDF-941E-22F322A86BD5}"/>
                      </a:ext>
                    </a:extLst>
                  </p:cNvPr>
                  <p:cNvSpPr/>
                  <p:nvPr/>
                </p:nvSpPr>
                <p:spPr>
                  <a:xfrm>
                    <a:off x="6573392"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77" name="Freeform: Shape 6676">
                    <a:extLst>
                      <a:ext uri="{FF2B5EF4-FFF2-40B4-BE49-F238E27FC236}">
                        <a16:creationId xmlns:a16="http://schemas.microsoft.com/office/drawing/2014/main" id="{1A493317-C01C-3F4E-1469-AEAF3ADF73DA}"/>
                      </a:ext>
                    </a:extLst>
                  </p:cNvPr>
                  <p:cNvSpPr/>
                  <p:nvPr/>
                </p:nvSpPr>
                <p:spPr>
                  <a:xfrm>
                    <a:off x="6535483"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8" name="Graphic 471">
                  <a:extLst>
                    <a:ext uri="{FF2B5EF4-FFF2-40B4-BE49-F238E27FC236}">
                      <a16:creationId xmlns:a16="http://schemas.microsoft.com/office/drawing/2014/main" id="{67742506-FE89-5DC4-739B-0F8EC4E20516}"/>
                    </a:ext>
                  </a:extLst>
                </p:cNvPr>
                <p:cNvGrpSpPr/>
                <p:nvPr/>
              </p:nvGrpSpPr>
              <p:grpSpPr>
                <a:xfrm>
                  <a:off x="6661689" y="3916012"/>
                  <a:ext cx="75723" cy="75723"/>
                  <a:chOff x="6661689" y="3916012"/>
                  <a:chExt cx="75723" cy="75723"/>
                </a:xfrm>
              </p:grpSpPr>
              <p:sp>
                <p:nvSpPr>
                  <p:cNvPr id="6674" name="Freeform: Shape 6673">
                    <a:extLst>
                      <a:ext uri="{FF2B5EF4-FFF2-40B4-BE49-F238E27FC236}">
                        <a16:creationId xmlns:a16="http://schemas.microsoft.com/office/drawing/2014/main" id="{8DF85189-354A-725B-C78C-E0DD62AE4DC7}"/>
                      </a:ext>
                    </a:extLst>
                  </p:cNvPr>
                  <p:cNvSpPr/>
                  <p:nvPr/>
                </p:nvSpPr>
                <p:spPr>
                  <a:xfrm>
                    <a:off x="6699503"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75" name="Freeform: Shape 6674">
                    <a:extLst>
                      <a:ext uri="{FF2B5EF4-FFF2-40B4-BE49-F238E27FC236}">
                        <a16:creationId xmlns:a16="http://schemas.microsoft.com/office/drawing/2014/main" id="{7646D235-B6FF-DC51-793B-B45E01756267}"/>
                      </a:ext>
                    </a:extLst>
                  </p:cNvPr>
                  <p:cNvSpPr/>
                  <p:nvPr/>
                </p:nvSpPr>
                <p:spPr>
                  <a:xfrm>
                    <a:off x="6661689"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59" name="Graphic 471">
                  <a:extLst>
                    <a:ext uri="{FF2B5EF4-FFF2-40B4-BE49-F238E27FC236}">
                      <a16:creationId xmlns:a16="http://schemas.microsoft.com/office/drawing/2014/main" id="{84786A42-A666-DA48-F99D-CB066687E184}"/>
                    </a:ext>
                  </a:extLst>
                </p:cNvPr>
                <p:cNvGrpSpPr/>
                <p:nvPr/>
              </p:nvGrpSpPr>
              <p:grpSpPr>
                <a:xfrm>
                  <a:off x="6705790" y="3916012"/>
                  <a:ext cx="75628" cy="75723"/>
                  <a:chOff x="6705790" y="3916012"/>
                  <a:chExt cx="75628" cy="75723"/>
                </a:xfrm>
              </p:grpSpPr>
              <p:sp>
                <p:nvSpPr>
                  <p:cNvPr id="6672" name="Freeform: Shape 6671">
                    <a:extLst>
                      <a:ext uri="{FF2B5EF4-FFF2-40B4-BE49-F238E27FC236}">
                        <a16:creationId xmlns:a16="http://schemas.microsoft.com/office/drawing/2014/main" id="{A0E15B96-99A3-F860-FA52-CA7B58C88A19}"/>
                      </a:ext>
                    </a:extLst>
                  </p:cNvPr>
                  <p:cNvSpPr/>
                  <p:nvPr/>
                </p:nvSpPr>
                <p:spPr>
                  <a:xfrm>
                    <a:off x="6743604"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73" name="Freeform: Shape 6672">
                    <a:extLst>
                      <a:ext uri="{FF2B5EF4-FFF2-40B4-BE49-F238E27FC236}">
                        <a16:creationId xmlns:a16="http://schemas.microsoft.com/office/drawing/2014/main" id="{F65CC061-2261-EB37-834D-35E9E867DD86}"/>
                      </a:ext>
                    </a:extLst>
                  </p:cNvPr>
                  <p:cNvSpPr/>
                  <p:nvPr/>
                </p:nvSpPr>
                <p:spPr>
                  <a:xfrm>
                    <a:off x="6705790" y="395392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60" name="Graphic 471">
                  <a:extLst>
                    <a:ext uri="{FF2B5EF4-FFF2-40B4-BE49-F238E27FC236}">
                      <a16:creationId xmlns:a16="http://schemas.microsoft.com/office/drawing/2014/main" id="{78C99333-B530-9C2B-067A-E79011A881A8}"/>
                    </a:ext>
                  </a:extLst>
                </p:cNvPr>
                <p:cNvGrpSpPr/>
                <p:nvPr/>
              </p:nvGrpSpPr>
              <p:grpSpPr>
                <a:xfrm>
                  <a:off x="6719125" y="3916012"/>
                  <a:ext cx="75723" cy="75723"/>
                  <a:chOff x="6719125" y="3916012"/>
                  <a:chExt cx="75723" cy="75723"/>
                </a:xfrm>
              </p:grpSpPr>
              <p:sp>
                <p:nvSpPr>
                  <p:cNvPr id="6670" name="Freeform: Shape 6669">
                    <a:extLst>
                      <a:ext uri="{FF2B5EF4-FFF2-40B4-BE49-F238E27FC236}">
                        <a16:creationId xmlns:a16="http://schemas.microsoft.com/office/drawing/2014/main" id="{614BBA8A-24D7-27CC-1152-664B36599C5C}"/>
                      </a:ext>
                    </a:extLst>
                  </p:cNvPr>
                  <p:cNvSpPr/>
                  <p:nvPr/>
                </p:nvSpPr>
                <p:spPr>
                  <a:xfrm>
                    <a:off x="6756939" y="39160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71" name="Freeform: Shape 6670">
                    <a:extLst>
                      <a:ext uri="{FF2B5EF4-FFF2-40B4-BE49-F238E27FC236}">
                        <a16:creationId xmlns:a16="http://schemas.microsoft.com/office/drawing/2014/main" id="{D9CD0BCA-631F-7226-4ABC-F04600021DA9}"/>
                      </a:ext>
                    </a:extLst>
                  </p:cNvPr>
                  <p:cNvSpPr/>
                  <p:nvPr/>
                </p:nvSpPr>
                <p:spPr>
                  <a:xfrm>
                    <a:off x="6719125" y="3953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61" name="Graphic 471">
                  <a:extLst>
                    <a:ext uri="{FF2B5EF4-FFF2-40B4-BE49-F238E27FC236}">
                      <a16:creationId xmlns:a16="http://schemas.microsoft.com/office/drawing/2014/main" id="{D7DF3505-D690-4AF7-2D26-0DE3E9723CFD}"/>
                    </a:ext>
                  </a:extLst>
                </p:cNvPr>
                <p:cNvGrpSpPr/>
                <p:nvPr/>
              </p:nvGrpSpPr>
              <p:grpSpPr>
                <a:xfrm>
                  <a:off x="6841997" y="3965638"/>
                  <a:ext cx="75723" cy="75628"/>
                  <a:chOff x="6841997" y="3965638"/>
                  <a:chExt cx="75723" cy="75628"/>
                </a:xfrm>
              </p:grpSpPr>
              <p:sp>
                <p:nvSpPr>
                  <p:cNvPr id="6668" name="Freeform: Shape 6667">
                    <a:extLst>
                      <a:ext uri="{FF2B5EF4-FFF2-40B4-BE49-F238E27FC236}">
                        <a16:creationId xmlns:a16="http://schemas.microsoft.com/office/drawing/2014/main" id="{E1137771-4BC2-4FFF-568C-03A6EA776D23}"/>
                      </a:ext>
                    </a:extLst>
                  </p:cNvPr>
                  <p:cNvSpPr/>
                  <p:nvPr/>
                </p:nvSpPr>
                <p:spPr>
                  <a:xfrm>
                    <a:off x="6879907" y="396563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69" name="Freeform: Shape 6668">
                    <a:extLst>
                      <a:ext uri="{FF2B5EF4-FFF2-40B4-BE49-F238E27FC236}">
                        <a16:creationId xmlns:a16="http://schemas.microsoft.com/office/drawing/2014/main" id="{E2345459-5FC9-C16A-B6FF-5B9C403B7146}"/>
                      </a:ext>
                    </a:extLst>
                  </p:cNvPr>
                  <p:cNvSpPr/>
                  <p:nvPr/>
                </p:nvSpPr>
                <p:spPr>
                  <a:xfrm>
                    <a:off x="6841997" y="4003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62" name="Graphic 471">
                  <a:extLst>
                    <a:ext uri="{FF2B5EF4-FFF2-40B4-BE49-F238E27FC236}">
                      <a16:creationId xmlns:a16="http://schemas.microsoft.com/office/drawing/2014/main" id="{60041F10-F68C-D2DD-ED86-C8EF0D80B718}"/>
                    </a:ext>
                  </a:extLst>
                </p:cNvPr>
                <p:cNvGrpSpPr/>
                <p:nvPr/>
              </p:nvGrpSpPr>
              <p:grpSpPr>
                <a:xfrm>
                  <a:off x="7416831" y="4107084"/>
                  <a:ext cx="75628" cy="75723"/>
                  <a:chOff x="7416831" y="4107084"/>
                  <a:chExt cx="75628" cy="75723"/>
                </a:xfrm>
              </p:grpSpPr>
              <p:sp>
                <p:nvSpPr>
                  <p:cNvPr id="6666" name="Freeform: Shape 6665">
                    <a:extLst>
                      <a:ext uri="{FF2B5EF4-FFF2-40B4-BE49-F238E27FC236}">
                        <a16:creationId xmlns:a16="http://schemas.microsoft.com/office/drawing/2014/main" id="{96D623A2-2137-72B5-2E54-DAA653E4578F}"/>
                      </a:ext>
                    </a:extLst>
                  </p:cNvPr>
                  <p:cNvSpPr/>
                  <p:nvPr/>
                </p:nvSpPr>
                <p:spPr>
                  <a:xfrm>
                    <a:off x="7454645"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67" name="Freeform: Shape 6666">
                    <a:extLst>
                      <a:ext uri="{FF2B5EF4-FFF2-40B4-BE49-F238E27FC236}">
                        <a16:creationId xmlns:a16="http://schemas.microsoft.com/office/drawing/2014/main" id="{F04E1D1F-29DC-7713-FA01-5A9C813504EC}"/>
                      </a:ext>
                    </a:extLst>
                  </p:cNvPr>
                  <p:cNvSpPr/>
                  <p:nvPr/>
                </p:nvSpPr>
                <p:spPr>
                  <a:xfrm>
                    <a:off x="7416831" y="41448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63" name="Graphic 471">
                  <a:extLst>
                    <a:ext uri="{FF2B5EF4-FFF2-40B4-BE49-F238E27FC236}">
                      <a16:creationId xmlns:a16="http://schemas.microsoft.com/office/drawing/2014/main" id="{63C5C395-06CF-8044-0844-F51956EEA3EA}"/>
                    </a:ext>
                  </a:extLst>
                </p:cNvPr>
                <p:cNvGrpSpPr/>
                <p:nvPr/>
              </p:nvGrpSpPr>
              <p:grpSpPr>
                <a:xfrm>
                  <a:off x="7509604" y="4107084"/>
                  <a:ext cx="75723" cy="75723"/>
                  <a:chOff x="7509604" y="4107084"/>
                  <a:chExt cx="75723" cy="75723"/>
                </a:xfrm>
              </p:grpSpPr>
              <p:sp>
                <p:nvSpPr>
                  <p:cNvPr id="6664" name="Freeform: Shape 6663">
                    <a:extLst>
                      <a:ext uri="{FF2B5EF4-FFF2-40B4-BE49-F238E27FC236}">
                        <a16:creationId xmlns:a16="http://schemas.microsoft.com/office/drawing/2014/main" id="{0799A792-AD61-0B3F-F422-33EA68512689}"/>
                      </a:ext>
                    </a:extLst>
                  </p:cNvPr>
                  <p:cNvSpPr/>
                  <p:nvPr/>
                </p:nvSpPr>
                <p:spPr>
                  <a:xfrm>
                    <a:off x="7547514" y="410708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65" name="Freeform: Shape 6664">
                    <a:extLst>
                      <a:ext uri="{FF2B5EF4-FFF2-40B4-BE49-F238E27FC236}">
                        <a16:creationId xmlns:a16="http://schemas.microsoft.com/office/drawing/2014/main" id="{8CE14E9E-1C5F-7593-1566-D7A9D4C77D30}"/>
                      </a:ext>
                    </a:extLst>
                  </p:cNvPr>
                  <p:cNvSpPr/>
                  <p:nvPr/>
                </p:nvSpPr>
                <p:spPr>
                  <a:xfrm>
                    <a:off x="7509604" y="41448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6551" name="Freeform: Shape 6550">
                <a:extLst>
                  <a:ext uri="{FF2B5EF4-FFF2-40B4-BE49-F238E27FC236}">
                    <a16:creationId xmlns:a16="http://schemas.microsoft.com/office/drawing/2014/main" id="{5A2E0DF3-2B88-F45F-B35A-4DE544F47792}"/>
                  </a:ext>
                </a:extLst>
              </p:cNvPr>
              <p:cNvSpPr/>
              <p:nvPr/>
            </p:nvSpPr>
            <p:spPr>
              <a:xfrm>
                <a:off x="3195922" y="2709576"/>
                <a:ext cx="5776626" cy="1435322"/>
              </a:xfrm>
              <a:custGeom>
                <a:avLst/>
                <a:gdLst>
                  <a:gd name="connsiteX0" fmla="*/ 5776627 w 5776626"/>
                  <a:gd name="connsiteY0" fmla="*/ 1435322 h 1435322"/>
                  <a:gd name="connsiteX1" fmla="*/ 4221480 w 5776626"/>
                  <a:gd name="connsiteY1" fmla="*/ 1435322 h 1435322"/>
                  <a:gd name="connsiteX2" fmla="*/ 4221480 w 5776626"/>
                  <a:gd name="connsiteY2" fmla="*/ 1357122 h 1435322"/>
                  <a:gd name="connsiteX3" fmla="*/ 4019550 w 5776626"/>
                  <a:gd name="connsiteY3" fmla="*/ 1357122 h 1435322"/>
                  <a:gd name="connsiteX4" fmla="*/ 4019550 w 5776626"/>
                  <a:gd name="connsiteY4" fmla="*/ 1293876 h 1435322"/>
                  <a:gd name="connsiteX5" fmla="*/ 3683984 w 5776626"/>
                  <a:gd name="connsiteY5" fmla="*/ 1293876 h 1435322"/>
                  <a:gd name="connsiteX6" fmla="*/ 3683984 w 5776626"/>
                  <a:gd name="connsiteY6" fmla="*/ 1244441 h 1435322"/>
                  <a:gd name="connsiteX7" fmla="*/ 3093815 w 5776626"/>
                  <a:gd name="connsiteY7" fmla="*/ 1244441 h 1435322"/>
                  <a:gd name="connsiteX8" fmla="*/ 3093815 w 5776626"/>
                  <a:gd name="connsiteY8" fmla="*/ 1209961 h 1435322"/>
                  <a:gd name="connsiteX9" fmla="*/ 3027807 w 5776626"/>
                  <a:gd name="connsiteY9" fmla="*/ 1209961 h 1435322"/>
                  <a:gd name="connsiteX10" fmla="*/ 3027807 w 5776626"/>
                  <a:gd name="connsiteY10" fmla="*/ 1178719 h 1435322"/>
                  <a:gd name="connsiteX11" fmla="*/ 2952750 w 5776626"/>
                  <a:gd name="connsiteY11" fmla="*/ 1178719 h 1435322"/>
                  <a:gd name="connsiteX12" fmla="*/ 2952750 w 5776626"/>
                  <a:gd name="connsiteY12" fmla="*/ 1121188 h 1435322"/>
                  <a:gd name="connsiteX13" fmla="*/ 2874550 w 5776626"/>
                  <a:gd name="connsiteY13" fmla="*/ 1121188 h 1435322"/>
                  <a:gd name="connsiteX14" fmla="*/ 2874550 w 5776626"/>
                  <a:gd name="connsiteY14" fmla="*/ 1058799 h 1435322"/>
                  <a:gd name="connsiteX15" fmla="*/ 2809685 w 5776626"/>
                  <a:gd name="connsiteY15" fmla="*/ 1058799 h 1435322"/>
                  <a:gd name="connsiteX16" fmla="*/ 2809685 w 5776626"/>
                  <a:gd name="connsiteY16" fmla="*/ 1030034 h 1435322"/>
                  <a:gd name="connsiteX17" fmla="*/ 2702338 w 5776626"/>
                  <a:gd name="connsiteY17" fmla="*/ 1030034 h 1435322"/>
                  <a:gd name="connsiteX18" fmla="*/ 2702338 w 5776626"/>
                  <a:gd name="connsiteY18" fmla="*/ 1003364 h 1435322"/>
                  <a:gd name="connsiteX19" fmla="*/ 2511838 w 5776626"/>
                  <a:gd name="connsiteY19" fmla="*/ 1003364 h 1435322"/>
                  <a:gd name="connsiteX20" fmla="*/ 2511838 w 5776626"/>
                  <a:gd name="connsiteY20" fmla="*/ 976027 h 1435322"/>
                  <a:gd name="connsiteX21" fmla="*/ 2439638 w 5776626"/>
                  <a:gd name="connsiteY21" fmla="*/ 976027 h 1435322"/>
                  <a:gd name="connsiteX22" fmla="*/ 2439638 w 5776626"/>
                  <a:gd name="connsiteY22" fmla="*/ 946976 h 1435322"/>
                  <a:gd name="connsiteX23" fmla="*/ 2343626 w 5776626"/>
                  <a:gd name="connsiteY23" fmla="*/ 946976 h 1435322"/>
                  <a:gd name="connsiteX24" fmla="*/ 2343626 w 5776626"/>
                  <a:gd name="connsiteY24" fmla="*/ 922973 h 1435322"/>
                  <a:gd name="connsiteX25" fmla="*/ 2197703 w 5776626"/>
                  <a:gd name="connsiteY25" fmla="*/ 922973 h 1435322"/>
                  <a:gd name="connsiteX26" fmla="*/ 2197703 w 5776626"/>
                  <a:gd name="connsiteY26" fmla="*/ 878681 h 1435322"/>
                  <a:gd name="connsiteX27" fmla="*/ 2176653 w 5776626"/>
                  <a:gd name="connsiteY27" fmla="*/ 878681 h 1435322"/>
                  <a:gd name="connsiteX28" fmla="*/ 2176653 w 5776626"/>
                  <a:gd name="connsiteY28" fmla="*/ 856012 h 1435322"/>
                  <a:gd name="connsiteX29" fmla="*/ 2119027 w 5776626"/>
                  <a:gd name="connsiteY29" fmla="*/ 856012 h 1435322"/>
                  <a:gd name="connsiteX30" fmla="*/ 2119027 w 5776626"/>
                  <a:gd name="connsiteY30" fmla="*/ 833342 h 1435322"/>
                  <a:gd name="connsiteX31" fmla="*/ 2070830 w 5776626"/>
                  <a:gd name="connsiteY31" fmla="*/ 833342 h 1435322"/>
                  <a:gd name="connsiteX32" fmla="*/ 2070830 w 5776626"/>
                  <a:gd name="connsiteY32" fmla="*/ 811530 h 1435322"/>
                  <a:gd name="connsiteX33" fmla="*/ 2029111 w 5776626"/>
                  <a:gd name="connsiteY33" fmla="*/ 811530 h 1435322"/>
                  <a:gd name="connsiteX34" fmla="*/ 2029111 w 5776626"/>
                  <a:gd name="connsiteY34" fmla="*/ 790099 h 1435322"/>
                  <a:gd name="connsiteX35" fmla="*/ 2012061 w 5776626"/>
                  <a:gd name="connsiteY35" fmla="*/ 790099 h 1435322"/>
                  <a:gd name="connsiteX36" fmla="*/ 2012061 w 5776626"/>
                  <a:gd name="connsiteY36" fmla="*/ 753999 h 1435322"/>
                  <a:gd name="connsiteX37" fmla="*/ 1992630 w 5776626"/>
                  <a:gd name="connsiteY37" fmla="*/ 753999 h 1435322"/>
                  <a:gd name="connsiteX38" fmla="*/ 1992630 w 5776626"/>
                  <a:gd name="connsiteY38" fmla="*/ 743426 h 1435322"/>
                  <a:gd name="connsiteX39" fmla="*/ 1979295 w 5776626"/>
                  <a:gd name="connsiteY39" fmla="*/ 743426 h 1435322"/>
                  <a:gd name="connsiteX40" fmla="*/ 1979295 w 5776626"/>
                  <a:gd name="connsiteY40" fmla="*/ 718757 h 1435322"/>
                  <a:gd name="connsiteX41" fmla="*/ 1947196 w 5776626"/>
                  <a:gd name="connsiteY41" fmla="*/ 718757 h 1435322"/>
                  <a:gd name="connsiteX42" fmla="*/ 1947196 w 5776626"/>
                  <a:gd name="connsiteY42" fmla="*/ 700373 h 1435322"/>
                  <a:gd name="connsiteX43" fmla="*/ 1905857 w 5776626"/>
                  <a:gd name="connsiteY43" fmla="*/ 700373 h 1435322"/>
                  <a:gd name="connsiteX44" fmla="*/ 1905857 w 5776626"/>
                  <a:gd name="connsiteY44" fmla="*/ 633984 h 1435322"/>
                  <a:gd name="connsiteX45" fmla="*/ 1887474 w 5776626"/>
                  <a:gd name="connsiteY45" fmla="*/ 633984 h 1435322"/>
                  <a:gd name="connsiteX46" fmla="*/ 1887474 w 5776626"/>
                  <a:gd name="connsiteY46" fmla="*/ 594741 h 1435322"/>
                  <a:gd name="connsiteX47" fmla="*/ 1876235 w 5776626"/>
                  <a:gd name="connsiteY47" fmla="*/ 594741 h 1435322"/>
                  <a:gd name="connsiteX48" fmla="*/ 1876235 w 5776626"/>
                  <a:gd name="connsiteY48" fmla="*/ 545306 h 1435322"/>
                  <a:gd name="connsiteX49" fmla="*/ 1828038 w 5776626"/>
                  <a:gd name="connsiteY49" fmla="*/ 545306 h 1435322"/>
                  <a:gd name="connsiteX50" fmla="*/ 1828038 w 5776626"/>
                  <a:gd name="connsiteY50" fmla="*/ 527114 h 1435322"/>
                  <a:gd name="connsiteX51" fmla="*/ 1798415 w 5776626"/>
                  <a:gd name="connsiteY51" fmla="*/ 527114 h 1435322"/>
                  <a:gd name="connsiteX52" fmla="*/ 1798415 w 5776626"/>
                  <a:gd name="connsiteY52" fmla="*/ 498253 h 1435322"/>
                  <a:gd name="connsiteX53" fmla="*/ 1770507 w 5776626"/>
                  <a:gd name="connsiteY53" fmla="*/ 498253 h 1435322"/>
                  <a:gd name="connsiteX54" fmla="*/ 1770507 w 5776626"/>
                  <a:gd name="connsiteY54" fmla="*/ 468630 h 1435322"/>
                  <a:gd name="connsiteX55" fmla="*/ 1524476 w 5776626"/>
                  <a:gd name="connsiteY55" fmla="*/ 468630 h 1435322"/>
                  <a:gd name="connsiteX56" fmla="*/ 1524476 w 5776626"/>
                  <a:gd name="connsiteY56" fmla="*/ 407480 h 1435322"/>
                  <a:gd name="connsiteX57" fmla="*/ 1404842 w 5776626"/>
                  <a:gd name="connsiteY57" fmla="*/ 407480 h 1435322"/>
                  <a:gd name="connsiteX58" fmla="*/ 1404842 w 5776626"/>
                  <a:gd name="connsiteY58" fmla="*/ 369380 h 1435322"/>
                  <a:gd name="connsiteX59" fmla="*/ 1372076 w 5776626"/>
                  <a:gd name="connsiteY59" fmla="*/ 369380 h 1435322"/>
                  <a:gd name="connsiteX60" fmla="*/ 1372076 w 5776626"/>
                  <a:gd name="connsiteY60" fmla="*/ 361664 h 1435322"/>
                  <a:gd name="connsiteX61" fmla="*/ 1348931 w 5776626"/>
                  <a:gd name="connsiteY61" fmla="*/ 361664 h 1435322"/>
                  <a:gd name="connsiteX62" fmla="*/ 1348931 w 5776626"/>
                  <a:gd name="connsiteY62" fmla="*/ 331280 h 1435322"/>
                  <a:gd name="connsiteX63" fmla="*/ 1293400 w 5776626"/>
                  <a:gd name="connsiteY63" fmla="*/ 331280 h 1435322"/>
                  <a:gd name="connsiteX64" fmla="*/ 1293400 w 5776626"/>
                  <a:gd name="connsiteY64" fmla="*/ 309753 h 1435322"/>
                  <a:gd name="connsiteX65" fmla="*/ 1218438 w 5776626"/>
                  <a:gd name="connsiteY65" fmla="*/ 309753 h 1435322"/>
                  <a:gd name="connsiteX66" fmla="*/ 1218438 w 5776626"/>
                  <a:gd name="connsiteY66" fmla="*/ 271653 h 1435322"/>
                  <a:gd name="connsiteX67" fmla="*/ 1191673 w 5776626"/>
                  <a:gd name="connsiteY67" fmla="*/ 271653 h 1435322"/>
                  <a:gd name="connsiteX68" fmla="*/ 1191673 w 5776626"/>
                  <a:gd name="connsiteY68" fmla="*/ 260699 h 1435322"/>
                  <a:gd name="connsiteX69" fmla="*/ 1059942 w 5776626"/>
                  <a:gd name="connsiteY69" fmla="*/ 260699 h 1435322"/>
                  <a:gd name="connsiteX70" fmla="*/ 1059942 w 5776626"/>
                  <a:gd name="connsiteY70" fmla="*/ 238220 h 1435322"/>
                  <a:gd name="connsiteX71" fmla="*/ 990219 w 5776626"/>
                  <a:gd name="connsiteY71" fmla="*/ 238220 h 1435322"/>
                  <a:gd name="connsiteX72" fmla="*/ 990219 w 5776626"/>
                  <a:gd name="connsiteY72" fmla="*/ 223838 h 1435322"/>
                  <a:gd name="connsiteX73" fmla="*/ 953738 w 5776626"/>
                  <a:gd name="connsiteY73" fmla="*/ 223838 h 1435322"/>
                  <a:gd name="connsiteX74" fmla="*/ 953738 w 5776626"/>
                  <a:gd name="connsiteY74" fmla="*/ 191453 h 1435322"/>
                  <a:gd name="connsiteX75" fmla="*/ 904304 w 5776626"/>
                  <a:gd name="connsiteY75" fmla="*/ 191453 h 1435322"/>
                  <a:gd name="connsiteX76" fmla="*/ 904304 w 5776626"/>
                  <a:gd name="connsiteY76" fmla="*/ 176784 h 1435322"/>
                  <a:gd name="connsiteX77" fmla="*/ 857250 w 5776626"/>
                  <a:gd name="connsiteY77" fmla="*/ 176784 h 1435322"/>
                  <a:gd name="connsiteX78" fmla="*/ 857250 w 5776626"/>
                  <a:gd name="connsiteY78" fmla="*/ 134684 h 1435322"/>
                  <a:gd name="connsiteX79" fmla="*/ 811054 w 5776626"/>
                  <a:gd name="connsiteY79" fmla="*/ 134684 h 1435322"/>
                  <a:gd name="connsiteX80" fmla="*/ 811054 w 5776626"/>
                  <a:gd name="connsiteY80" fmla="*/ 119253 h 1435322"/>
                  <a:gd name="connsiteX81" fmla="*/ 724757 w 5776626"/>
                  <a:gd name="connsiteY81" fmla="*/ 119253 h 1435322"/>
                  <a:gd name="connsiteX82" fmla="*/ 724757 w 5776626"/>
                  <a:gd name="connsiteY82" fmla="*/ 101441 h 1435322"/>
                  <a:gd name="connsiteX83" fmla="*/ 688277 w 5776626"/>
                  <a:gd name="connsiteY83" fmla="*/ 101441 h 1435322"/>
                  <a:gd name="connsiteX84" fmla="*/ 688277 w 5776626"/>
                  <a:gd name="connsiteY84" fmla="*/ 84773 h 1435322"/>
                  <a:gd name="connsiteX85" fmla="*/ 645700 w 5776626"/>
                  <a:gd name="connsiteY85" fmla="*/ 84773 h 1435322"/>
                  <a:gd name="connsiteX86" fmla="*/ 645700 w 5776626"/>
                  <a:gd name="connsiteY86" fmla="*/ 73057 h 1435322"/>
                  <a:gd name="connsiteX87" fmla="*/ 576834 w 5776626"/>
                  <a:gd name="connsiteY87" fmla="*/ 73057 h 1435322"/>
                  <a:gd name="connsiteX88" fmla="*/ 576834 w 5776626"/>
                  <a:gd name="connsiteY88" fmla="*/ 50768 h 1435322"/>
                  <a:gd name="connsiteX89" fmla="*/ 435388 w 5776626"/>
                  <a:gd name="connsiteY89" fmla="*/ 50768 h 1435322"/>
                  <a:gd name="connsiteX90" fmla="*/ 435388 w 5776626"/>
                  <a:gd name="connsiteY90" fmla="*/ 34862 h 1435322"/>
                  <a:gd name="connsiteX91" fmla="*/ 306896 w 5776626"/>
                  <a:gd name="connsiteY91" fmla="*/ 34862 h 1435322"/>
                  <a:gd name="connsiteX92" fmla="*/ 306896 w 5776626"/>
                  <a:gd name="connsiteY92" fmla="*/ 17145 h 1435322"/>
                  <a:gd name="connsiteX93" fmla="*/ 130492 w 5776626"/>
                  <a:gd name="connsiteY93" fmla="*/ 17145 h 1435322"/>
                  <a:gd name="connsiteX94" fmla="*/ 130492 w 5776626"/>
                  <a:gd name="connsiteY94" fmla="*/ 0 h 1435322"/>
                  <a:gd name="connsiteX95" fmla="*/ 0 w 5776626"/>
                  <a:gd name="connsiteY95" fmla="*/ 0 h 14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776626" h="1435322">
                    <a:moveTo>
                      <a:pt x="5776627" y="1435322"/>
                    </a:moveTo>
                    <a:lnTo>
                      <a:pt x="4221480" y="1435322"/>
                    </a:lnTo>
                    <a:lnTo>
                      <a:pt x="4221480" y="1357122"/>
                    </a:lnTo>
                    <a:lnTo>
                      <a:pt x="4019550" y="1357122"/>
                    </a:lnTo>
                    <a:lnTo>
                      <a:pt x="4019550" y="1293876"/>
                    </a:lnTo>
                    <a:lnTo>
                      <a:pt x="3683984" y="1293876"/>
                    </a:lnTo>
                    <a:lnTo>
                      <a:pt x="3683984" y="1244441"/>
                    </a:lnTo>
                    <a:lnTo>
                      <a:pt x="3093815" y="1244441"/>
                    </a:lnTo>
                    <a:lnTo>
                      <a:pt x="3093815" y="1209961"/>
                    </a:lnTo>
                    <a:lnTo>
                      <a:pt x="3027807" y="1209961"/>
                    </a:lnTo>
                    <a:lnTo>
                      <a:pt x="3027807" y="1178719"/>
                    </a:lnTo>
                    <a:lnTo>
                      <a:pt x="2952750" y="1178719"/>
                    </a:lnTo>
                    <a:lnTo>
                      <a:pt x="2952750" y="1121188"/>
                    </a:lnTo>
                    <a:lnTo>
                      <a:pt x="2874550" y="1121188"/>
                    </a:lnTo>
                    <a:lnTo>
                      <a:pt x="2874550" y="1058799"/>
                    </a:lnTo>
                    <a:lnTo>
                      <a:pt x="2809685" y="1058799"/>
                    </a:lnTo>
                    <a:lnTo>
                      <a:pt x="2809685" y="1030034"/>
                    </a:lnTo>
                    <a:lnTo>
                      <a:pt x="2702338" y="1030034"/>
                    </a:lnTo>
                    <a:lnTo>
                      <a:pt x="2702338" y="1003364"/>
                    </a:lnTo>
                    <a:lnTo>
                      <a:pt x="2511838" y="1003364"/>
                    </a:lnTo>
                    <a:lnTo>
                      <a:pt x="2511838" y="976027"/>
                    </a:lnTo>
                    <a:lnTo>
                      <a:pt x="2439638" y="976027"/>
                    </a:lnTo>
                    <a:lnTo>
                      <a:pt x="2439638" y="946976"/>
                    </a:lnTo>
                    <a:lnTo>
                      <a:pt x="2343626" y="946976"/>
                    </a:lnTo>
                    <a:lnTo>
                      <a:pt x="2343626" y="922973"/>
                    </a:lnTo>
                    <a:lnTo>
                      <a:pt x="2197703" y="922973"/>
                    </a:lnTo>
                    <a:lnTo>
                      <a:pt x="2197703" y="878681"/>
                    </a:lnTo>
                    <a:lnTo>
                      <a:pt x="2176653" y="878681"/>
                    </a:lnTo>
                    <a:lnTo>
                      <a:pt x="2176653" y="856012"/>
                    </a:lnTo>
                    <a:lnTo>
                      <a:pt x="2119027" y="856012"/>
                    </a:lnTo>
                    <a:lnTo>
                      <a:pt x="2119027" y="833342"/>
                    </a:lnTo>
                    <a:lnTo>
                      <a:pt x="2070830" y="833342"/>
                    </a:lnTo>
                    <a:lnTo>
                      <a:pt x="2070830" y="811530"/>
                    </a:lnTo>
                    <a:lnTo>
                      <a:pt x="2029111" y="811530"/>
                    </a:lnTo>
                    <a:lnTo>
                      <a:pt x="2029111" y="790099"/>
                    </a:lnTo>
                    <a:lnTo>
                      <a:pt x="2012061" y="790099"/>
                    </a:lnTo>
                    <a:lnTo>
                      <a:pt x="2012061" y="753999"/>
                    </a:lnTo>
                    <a:lnTo>
                      <a:pt x="1992630" y="753999"/>
                    </a:lnTo>
                    <a:lnTo>
                      <a:pt x="1992630" y="743426"/>
                    </a:lnTo>
                    <a:lnTo>
                      <a:pt x="1979295" y="743426"/>
                    </a:lnTo>
                    <a:lnTo>
                      <a:pt x="1979295" y="718757"/>
                    </a:lnTo>
                    <a:lnTo>
                      <a:pt x="1947196" y="718757"/>
                    </a:lnTo>
                    <a:lnTo>
                      <a:pt x="1947196" y="700373"/>
                    </a:lnTo>
                    <a:lnTo>
                      <a:pt x="1905857" y="700373"/>
                    </a:lnTo>
                    <a:lnTo>
                      <a:pt x="1905857" y="633984"/>
                    </a:lnTo>
                    <a:lnTo>
                      <a:pt x="1887474" y="633984"/>
                    </a:lnTo>
                    <a:lnTo>
                      <a:pt x="1887474" y="594741"/>
                    </a:lnTo>
                    <a:lnTo>
                      <a:pt x="1876235" y="594741"/>
                    </a:lnTo>
                    <a:lnTo>
                      <a:pt x="1876235" y="545306"/>
                    </a:lnTo>
                    <a:lnTo>
                      <a:pt x="1828038" y="545306"/>
                    </a:lnTo>
                    <a:lnTo>
                      <a:pt x="1828038" y="527114"/>
                    </a:lnTo>
                    <a:lnTo>
                      <a:pt x="1798415" y="527114"/>
                    </a:lnTo>
                    <a:lnTo>
                      <a:pt x="1798415" y="498253"/>
                    </a:lnTo>
                    <a:lnTo>
                      <a:pt x="1770507" y="498253"/>
                    </a:lnTo>
                    <a:lnTo>
                      <a:pt x="1770507" y="468630"/>
                    </a:lnTo>
                    <a:lnTo>
                      <a:pt x="1524476" y="468630"/>
                    </a:lnTo>
                    <a:lnTo>
                      <a:pt x="1524476" y="407480"/>
                    </a:lnTo>
                    <a:lnTo>
                      <a:pt x="1404842" y="407480"/>
                    </a:lnTo>
                    <a:lnTo>
                      <a:pt x="1404842" y="369380"/>
                    </a:lnTo>
                    <a:lnTo>
                      <a:pt x="1372076" y="369380"/>
                    </a:lnTo>
                    <a:lnTo>
                      <a:pt x="1372076" y="361664"/>
                    </a:lnTo>
                    <a:lnTo>
                      <a:pt x="1348931" y="361664"/>
                    </a:lnTo>
                    <a:lnTo>
                      <a:pt x="1348931" y="331280"/>
                    </a:lnTo>
                    <a:lnTo>
                      <a:pt x="1293400" y="331280"/>
                    </a:lnTo>
                    <a:lnTo>
                      <a:pt x="1293400" y="309753"/>
                    </a:lnTo>
                    <a:lnTo>
                      <a:pt x="1218438" y="309753"/>
                    </a:lnTo>
                    <a:lnTo>
                      <a:pt x="1218438" y="271653"/>
                    </a:lnTo>
                    <a:lnTo>
                      <a:pt x="1191673" y="271653"/>
                    </a:lnTo>
                    <a:lnTo>
                      <a:pt x="1191673" y="260699"/>
                    </a:lnTo>
                    <a:lnTo>
                      <a:pt x="1059942" y="260699"/>
                    </a:lnTo>
                    <a:lnTo>
                      <a:pt x="1059942" y="238220"/>
                    </a:lnTo>
                    <a:lnTo>
                      <a:pt x="990219" y="238220"/>
                    </a:lnTo>
                    <a:lnTo>
                      <a:pt x="990219" y="223838"/>
                    </a:lnTo>
                    <a:lnTo>
                      <a:pt x="953738" y="223838"/>
                    </a:lnTo>
                    <a:lnTo>
                      <a:pt x="953738" y="191453"/>
                    </a:lnTo>
                    <a:lnTo>
                      <a:pt x="904304" y="191453"/>
                    </a:lnTo>
                    <a:lnTo>
                      <a:pt x="904304" y="176784"/>
                    </a:lnTo>
                    <a:lnTo>
                      <a:pt x="857250" y="176784"/>
                    </a:lnTo>
                    <a:lnTo>
                      <a:pt x="857250" y="134684"/>
                    </a:lnTo>
                    <a:lnTo>
                      <a:pt x="811054" y="134684"/>
                    </a:lnTo>
                    <a:lnTo>
                      <a:pt x="811054" y="119253"/>
                    </a:lnTo>
                    <a:lnTo>
                      <a:pt x="724757" y="119253"/>
                    </a:lnTo>
                    <a:lnTo>
                      <a:pt x="724757" y="101441"/>
                    </a:lnTo>
                    <a:lnTo>
                      <a:pt x="688277" y="101441"/>
                    </a:lnTo>
                    <a:lnTo>
                      <a:pt x="688277" y="84773"/>
                    </a:lnTo>
                    <a:lnTo>
                      <a:pt x="645700" y="84773"/>
                    </a:lnTo>
                    <a:lnTo>
                      <a:pt x="645700" y="73057"/>
                    </a:lnTo>
                    <a:lnTo>
                      <a:pt x="576834" y="73057"/>
                    </a:lnTo>
                    <a:lnTo>
                      <a:pt x="576834" y="50768"/>
                    </a:lnTo>
                    <a:lnTo>
                      <a:pt x="435388" y="50768"/>
                    </a:lnTo>
                    <a:lnTo>
                      <a:pt x="435388" y="34862"/>
                    </a:lnTo>
                    <a:lnTo>
                      <a:pt x="306896" y="34862"/>
                    </a:lnTo>
                    <a:lnTo>
                      <a:pt x="306896" y="17145"/>
                    </a:lnTo>
                    <a:lnTo>
                      <a:pt x="130492" y="17145"/>
                    </a:lnTo>
                    <a:lnTo>
                      <a:pt x="130492" y="0"/>
                    </a:lnTo>
                    <a:lnTo>
                      <a:pt x="0" y="0"/>
                    </a:lnTo>
                  </a:path>
                </a:pathLst>
              </a:custGeom>
              <a:noFill/>
              <a:ln w="12700"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6546" name="Rectangle 6545" hidden="1">
            <a:extLst>
              <a:ext uri="{FF2B5EF4-FFF2-40B4-BE49-F238E27FC236}">
                <a16:creationId xmlns:a16="http://schemas.microsoft.com/office/drawing/2014/main" id="{6803EEDC-CB9F-4CD9-8E75-428826A3F7B4}"/>
              </a:ext>
            </a:extLst>
          </p:cNvPr>
          <p:cNvSpPr/>
          <p:nvPr/>
        </p:nvSpPr>
        <p:spPr>
          <a:xfrm>
            <a:off x="1043771" y="1036320"/>
            <a:ext cx="11018181" cy="288036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5417" name="Group 5416" hidden="1">
            <a:extLst>
              <a:ext uri="{FF2B5EF4-FFF2-40B4-BE49-F238E27FC236}">
                <a16:creationId xmlns:a16="http://schemas.microsoft.com/office/drawing/2014/main" id="{D14FC5BB-37B4-15E9-833C-007CF02A7C4E}"/>
              </a:ext>
            </a:extLst>
          </p:cNvPr>
          <p:cNvGrpSpPr/>
          <p:nvPr/>
        </p:nvGrpSpPr>
        <p:grpSpPr>
          <a:xfrm>
            <a:off x="1056518" y="1440656"/>
            <a:ext cx="6585784" cy="1564196"/>
            <a:chOff x="1026319" y="1440656"/>
            <a:chExt cx="6236114" cy="1564196"/>
          </a:xfrm>
        </p:grpSpPr>
        <p:grpSp>
          <p:nvGrpSpPr>
            <p:cNvPr id="5418" name="Group 5417">
              <a:extLst>
                <a:ext uri="{FF2B5EF4-FFF2-40B4-BE49-F238E27FC236}">
                  <a16:creationId xmlns:a16="http://schemas.microsoft.com/office/drawing/2014/main" id="{B11DA030-B669-C095-6EF0-44ADC9D16AD9}"/>
                </a:ext>
              </a:extLst>
            </p:cNvPr>
            <p:cNvGrpSpPr/>
            <p:nvPr/>
          </p:nvGrpSpPr>
          <p:grpSpPr>
            <a:xfrm>
              <a:off x="1031083" y="1477042"/>
              <a:ext cx="6231350" cy="1527810"/>
              <a:chOff x="2981325" y="2665285"/>
              <a:chExt cx="6231350" cy="1527810"/>
            </a:xfrm>
          </p:grpSpPr>
          <p:grpSp>
            <p:nvGrpSpPr>
              <p:cNvPr id="5968" name="Graphic 1498">
                <a:extLst>
                  <a:ext uri="{FF2B5EF4-FFF2-40B4-BE49-F238E27FC236}">
                    <a16:creationId xmlns:a16="http://schemas.microsoft.com/office/drawing/2014/main" id="{2D8F33CD-450B-B9D6-F84E-712066294E55}"/>
                  </a:ext>
                </a:extLst>
              </p:cNvPr>
              <p:cNvGrpSpPr/>
              <p:nvPr/>
            </p:nvGrpSpPr>
            <p:grpSpPr>
              <a:xfrm>
                <a:off x="3038570" y="2665285"/>
                <a:ext cx="6174105" cy="1527810"/>
                <a:chOff x="3038570" y="2665285"/>
                <a:chExt cx="6174105" cy="1527810"/>
              </a:xfrm>
            </p:grpSpPr>
            <p:grpSp>
              <p:nvGrpSpPr>
                <p:cNvPr id="5970" name="Graphic 1498">
                  <a:extLst>
                    <a:ext uri="{FF2B5EF4-FFF2-40B4-BE49-F238E27FC236}">
                      <a16:creationId xmlns:a16="http://schemas.microsoft.com/office/drawing/2014/main" id="{31B284CD-9438-E9F3-65D0-E98AD706FFE8}"/>
                    </a:ext>
                  </a:extLst>
                </p:cNvPr>
                <p:cNvGrpSpPr/>
                <p:nvPr/>
              </p:nvGrpSpPr>
              <p:grpSpPr>
                <a:xfrm>
                  <a:off x="9136951" y="4117371"/>
                  <a:ext cx="75723" cy="75723"/>
                  <a:chOff x="9136951" y="4117371"/>
                  <a:chExt cx="75723" cy="75723"/>
                </a:xfrm>
              </p:grpSpPr>
              <p:sp>
                <p:nvSpPr>
                  <p:cNvPr id="6544" name="Freeform: Shape 6543">
                    <a:extLst>
                      <a:ext uri="{FF2B5EF4-FFF2-40B4-BE49-F238E27FC236}">
                        <a16:creationId xmlns:a16="http://schemas.microsoft.com/office/drawing/2014/main" id="{42DF4FE2-9704-5963-5C15-BEB7F9BD6704}"/>
                      </a:ext>
                    </a:extLst>
                  </p:cNvPr>
                  <p:cNvSpPr/>
                  <p:nvPr/>
                </p:nvSpPr>
                <p:spPr>
                  <a:xfrm>
                    <a:off x="9174765"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45" name="Freeform: Shape 6544">
                    <a:extLst>
                      <a:ext uri="{FF2B5EF4-FFF2-40B4-BE49-F238E27FC236}">
                        <a16:creationId xmlns:a16="http://schemas.microsoft.com/office/drawing/2014/main" id="{B61AA03F-551C-2FB3-BC1D-64890570214B}"/>
                      </a:ext>
                    </a:extLst>
                  </p:cNvPr>
                  <p:cNvSpPr/>
                  <p:nvPr/>
                </p:nvSpPr>
                <p:spPr>
                  <a:xfrm>
                    <a:off x="913695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1" name="Graphic 1498">
                  <a:extLst>
                    <a:ext uri="{FF2B5EF4-FFF2-40B4-BE49-F238E27FC236}">
                      <a16:creationId xmlns:a16="http://schemas.microsoft.com/office/drawing/2014/main" id="{0FE0B172-4EAE-B562-074D-A2A7C817CFCB}"/>
                    </a:ext>
                  </a:extLst>
                </p:cNvPr>
                <p:cNvGrpSpPr/>
                <p:nvPr/>
              </p:nvGrpSpPr>
              <p:grpSpPr>
                <a:xfrm>
                  <a:off x="9016269" y="4117371"/>
                  <a:ext cx="75723" cy="75723"/>
                  <a:chOff x="9016269" y="4117371"/>
                  <a:chExt cx="75723" cy="75723"/>
                </a:xfrm>
              </p:grpSpPr>
              <p:sp>
                <p:nvSpPr>
                  <p:cNvPr id="6542" name="Freeform: Shape 6541">
                    <a:extLst>
                      <a:ext uri="{FF2B5EF4-FFF2-40B4-BE49-F238E27FC236}">
                        <a16:creationId xmlns:a16="http://schemas.microsoft.com/office/drawing/2014/main" id="{5EC2F2D3-4AD5-72A1-BD0D-8587068FA02F}"/>
                      </a:ext>
                    </a:extLst>
                  </p:cNvPr>
                  <p:cNvSpPr/>
                  <p:nvPr/>
                </p:nvSpPr>
                <p:spPr>
                  <a:xfrm>
                    <a:off x="9054179"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43" name="Freeform: Shape 6542">
                    <a:extLst>
                      <a:ext uri="{FF2B5EF4-FFF2-40B4-BE49-F238E27FC236}">
                        <a16:creationId xmlns:a16="http://schemas.microsoft.com/office/drawing/2014/main" id="{5A4ECA78-AB9D-E701-0568-EE20F3FA2BB7}"/>
                      </a:ext>
                    </a:extLst>
                  </p:cNvPr>
                  <p:cNvSpPr/>
                  <p:nvPr/>
                </p:nvSpPr>
                <p:spPr>
                  <a:xfrm>
                    <a:off x="9016269"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2" name="Graphic 1498">
                  <a:extLst>
                    <a:ext uri="{FF2B5EF4-FFF2-40B4-BE49-F238E27FC236}">
                      <a16:creationId xmlns:a16="http://schemas.microsoft.com/office/drawing/2014/main" id="{3CCC8C73-03E1-BDFA-B371-502192F8A635}"/>
                    </a:ext>
                  </a:extLst>
                </p:cNvPr>
                <p:cNvGrpSpPr/>
                <p:nvPr/>
              </p:nvGrpSpPr>
              <p:grpSpPr>
                <a:xfrm>
                  <a:off x="8981027" y="4117371"/>
                  <a:ext cx="75723" cy="75723"/>
                  <a:chOff x="8981027" y="4117371"/>
                  <a:chExt cx="75723" cy="75723"/>
                </a:xfrm>
              </p:grpSpPr>
              <p:sp>
                <p:nvSpPr>
                  <p:cNvPr id="6540" name="Freeform: Shape 6539">
                    <a:extLst>
                      <a:ext uri="{FF2B5EF4-FFF2-40B4-BE49-F238E27FC236}">
                        <a16:creationId xmlns:a16="http://schemas.microsoft.com/office/drawing/2014/main" id="{ECDA8DE6-8E83-557C-BF6D-BADD0D4A5450}"/>
                      </a:ext>
                    </a:extLst>
                  </p:cNvPr>
                  <p:cNvSpPr/>
                  <p:nvPr/>
                </p:nvSpPr>
                <p:spPr>
                  <a:xfrm>
                    <a:off x="9018841"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41" name="Freeform: Shape 6540">
                    <a:extLst>
                      <a:ext uri="{FF2B5EF4-FFF2-40B4-BE49-F238E27FC236}">
                        <a16:creationId xmlns:a16="http://schemas.microsoft.com/office/drawing/2014/main" id="{DC228854-F83C-B58C-8B0F-259AC1D2EFBA}"/>
                      </a:ext>
                    </a:extLst>
                  </p:cNvPr>
                  <p:cNvSpPr/>
                  <p:nvPr/>
                </p:nvSpPr>
                <p:spPr>
                  <a:xfrm>
                    <a:off x="898102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3" name="Graphic 1498">
                  <a:extLst>
                    <a:ext uri="{FF2B5EF4-FFF2-40B4-BE49-F238E27FC236}">
                      <a16:creationId xmlns:a16="http://schemas.microsoft.com/office/drawing/2014/main" id="{ACE91245-C0D7-E3A0-BC89-DD7BD2FB9E9C}"/>
                    </a:ext>
                  </a:extLst>
                </p:cNvPr>
                <p:cNvGrpSpPr/>
                <p:nvPr/>
              </p:nvGrpSpPr>
              <p:grpSpPr>
                <a:xfrm>
                  <a:off x="8929020" y="4117371"/>
                  <a:ext cx="75723" cy="75723"/>
                  <a:chOff x="8929020" y="4117371"/>
                  <a:chExt cx="75723" cy="75723"/>
                </a:xfrm>
              </p:grpSpPr>
              <p:sp>
                <p:nvSpPr>
                  <p:cNvPr id="6538" name="Freeform: Shape 6537">
                    <a:extLst>
                      <a:ext uri="{FF2B5EF4-FFF2-40B4-BE49-F238E27FC236}">
                        <a16:creationId xmlns:a16="http://schemas.microsoft.com/office/drawing/2014/main" id="{F3E13173-A576-04DB-5635-B99B01F0E5EB}"/>
                      </a:ext>
                    </a:extLst>
                  </p:cNvPr>
                  <p:cNvSpPr/>
                  <p:nvPr/>
                </p:nvSpPr>
                <p:spPr>
                  <a:xfrm>
                    <a:off x="896693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39" name="Freeform: Shape 6538">
                    <a:extLst>
                      <a:ext uri="{FF2B5EF4-FFF2-40B4-BE49-F238E27FC236}">
                        <a16:creationId xmlns:a16="http://schemas.microsoft.com/office/drawing/2014/main" id="{8BFC8D6D-84C9-B5E1-DA03-3889DBB0FF41}"/>
                      </a:ext>
                    </a:extLst>
                  </p:cNvPr>
                  <p:cNvSpPr/>
                  <p:nvPr/>
                </p:nvSpPr>
                <p:spPr>
                  <a:xfrm>
                    <a:off x="8929020"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4" name="Graphic 1498">
                  <a:extLst>
                    <a:ext uri="{FF2B5EF4-FFF2-40B4-BE49-F238E27FC236}">
                      <a16:creationId xmlns:a16="http://schemas.microsoft.com/office/drawing/2014/main" id="{1C3D8B4B-F337-E3C6-0FF2-8D706DB940F7}"/>
                    </a:ext>
                  </a:extLst>
                </p:cNvPr>
                <p:cNvGrpSpPr/>
                <p:nvPr/>
              </p:nvGrpSpPr>
              <p:grpSpPr>
                <a:xfrm>
                  <a:off x="8863965" y="4117371"/>
                  <a:ext cx="75723" cy="75723"/>
                  <a:chOff x="8863965" y="4117371"/>
                  <a:chExt cx="75723" cy="75723"/>
                </a:xfrm>
              </p:grpSpPr>
              <p:sp>
                <p:nvSpPr>
                  <p:cNvPr id="6536" name="Freeform: Shape 6535">
                    <a:extLst>
                      <a:ext uri="{FF2B5EF4-FFF2-40B4-BE49-F238E27FC236}">
                        <a16:creationId xmlns:a16="http://schemas.microsoft.com/office/drawing/2014/main" id="{796063EA-6D37-8C76-8A0A-6F6751812613}"/>
                      </a:ext>
                    </a:extLst>
                  </p:cNvPr>
                  <p:cNvSpPr/>
                  <p:nvPr/>
                </p:nvSpPr>
                <p:spPr>
                  <a:xfrm>
                    <a:off x="8901874"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37" name="Freeform: Shape 6536">
                    <a:extLst>
                      <a:ext uri="{FF2B5EF4-FFF2-40B4-BE49-F238E27FC236}">
                        <a16:creationId xmlns:a16="http://schemas.microsoft.com/office/drawing/2014/main" id="{46C3F108-CBEE-261E-2426-D14C92E12285}"/>
                      </a:ext>
                    </a:extLst>
                  </p:cNvPr>
                  <p:cNvSpPr/>
                  <p:nvPr/>
                </p:nvSpPr>
                <p:spPr>
                  <a:xfrm>
                    <a:off x="8863965"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5" name="Graphic 1498">
                  <a:extLst>
                    <a:ext uri="{FF2B5EF4-FFF2-40B4-BE49-F238E27FC236}">
                      <a16:creationId xmlns:a16="http://schemas.microsoft.com/office/drawing/2014/main" id="{85A02D4B-A63E-A832-19E4-C87126BFDF13}"/>
                    </a:ext>
                  </a:extLst>
                </p:cNvPr>
                <p:cNvGrpSpPr/>
                <p:nvPr/>
              </p:nvGrpSpPr>
              <p:grpSpPr>
                <a:xfrm>
                  <a:off x="8697087" y="4117371"/>
                  <a:ext cx="75723" cy="75723"/>
                  <a:chOff x="8697087" y="4117371"/>
                  <a:chExt cx="75723" cy="75723"/>
                </a:xfrm>
              </p:grpSpPr>
              <p:sp>
                <p:nvSpPr>
                  <p:cNvPr id="6534" name="Freeform: Shape 6533">
                    <a:extLst>
                      <a:ext uri="{FF2B5EF4-FFF2-40B4-BE49-F238E27FC236}">
                        <a16:creationId xmlns:a16="http://schemas.microsoft.com/office/drawing/2014/main" id="{CCC30F9C-C7A4-62CC-1CE5-756094C078D3}"/>
                      </a:ext>
                    </a:extLst>
                  </p:cNvPr>
                  <p:cNvSpPr/>
                  <p:nvPr/>
                </p:nvSpPr>
                <p:spPr>
                  <a:xfrm>
                    <a:off x="8734996"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35" name="Freeform: Shape 6534">
                    <a:extLst>
                      <a:ext uri="{FF2B5EF4-FFF2-40B4-BE49-F238E27FC236}">
                        <a16:creationId xmlns:a16="http://schemas.microsoft.com/office/drawing/2014/main" id="{621849DA-3BF1-1A27-F0BB-87A3D46A1D57}"/>
                      </a:ext>
                    </a:extLst>
                  </p:cNvPr>
                  <p:cNvSpPr/>
                  <p:nvPr/>
                </p:nvSpPr>
                <p:spPr>
                  <a:xfrm>
                    <a:off x="8697087"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6" name="Graphic 1498">
                  <a:extLst>
                    <a:ext uri="{FF2B5EF4-FFF2-40B4-BE49-F238E27FC236}">
                      <a16:creationId xmlns:a16="http://schemas.microsoft.com/office/drawing/2014/main" id="{DFBE3DC2-8EAB-4647-D365-0B0471EC5276}"/>
                    </a:ext>
                  </a:extLst>
                </p:cNvPr>
                <p:cNvGrpSpPr/>
                <p:nvPr/>
              </p:nvGrpSpPr>
              <p:grpSpPr>
                <a:xfrm>
                  <a:off x="8602218" y="4117371"/>
                  <a:ext cx="75723" cy="75723"/>
                  <a:chOff x="8602218" y="4117371"/>
                  <a:chExt cx="75723" cy="75723"/>
                </a:xfrm>
              </p:grpSpPr>
              <p:sp>
                <p:nvSpPr>
                  <p:cNvPr id="6532" name="Freeform: Shape 6531">
                    <a:extLst>
                      <a:ext uri="{FF2B5EF4-FFF2-40B4-BE49-F238E27FC236}">
                        <a16:creationId xmlns:a16="http://schemas.microsoft.com/office/drawing/2014/main" id="{13A1063E-83FB-019F-61C0-5E8F3F26519E}"/>
                      </a:ext>
                    </a:extLst>
                  </p:cNvPr>
                  <p:cNvSpPr/>
                  <p:nvPr/>
                </p:nvSpPr>
                <p:spPr>
                  <a:xfrm>
                    <a:off x="8640127"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33" name="Freeform: Shape 6532">
                    <a:extLst>
                      <a:ext uri="{FF2B5EF4-FFF2-40B4-BE49-F238E27FC236}">
                        <a16:creationId xmlns:a16="http://schemas.microsoft.com/office/drawing/2014/main" id="{30E925E5-4284-AB18-E106-AB7B89CCE556}"/>
                      </a:ext>
                    </a:extLst>
                  </p:cNvPr>
                  <p:cNvSpPr/>
                  <p:nvPr/>
                </p:nvSpPr>
                <p:spPr>
                  <a:xfrm>
                    <a:off x="8602218"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7" name="Graphic 1498">
                  <a:extLst>
                    <a:ext uri="{FF2B5EF4-FFF2-40B4-BE49-F238E27FC236}">
                      <a16:creationId xmlns:a16="http://schemas.microsoft.com/office/drawing/2014/main" id="{0C59A8BE-0049-5FB1-22CC-8BF20C9FEFB0}"/>
                    </a:ext>
                  </a:extLst>
                </p:cNvPr>
                <p:cNvGrpSpPr/>
                <p:nvPr/>
              </p:nvGrpSpPr>
              <p:grpSpPr>
                <a:xfrm>
                  <a:off x="8574881" y="4117371"/>
                  <a:ext cx="75723" cy="75723"/>
                  <a:chOff x="8574881" y="4117371"/>
                  <a:chExt cx="75723" cy="75723"/>
                </a:xfrm>
              </p:grpSpPr>
              <p:sp>
                <p:nvSpPr>
                  <p:cNvPr id="6530" name="Freeform: Shape 6529">
                    <a:extLst>
                      <a:ext uri="{FF2B5EF4-FFF2-40B4-BE49-F238E27FC236}">
                        <a16:creationId xmlns:a16="http://schemas.microsoft.com/office/drawing/2014/main" id="{15457360-258B-03F2-2229-F98EA1A901BA}"/>
                      </a:ext>
                    </a:extLst>
                  </p:cNvPr>
                  <p:cNvSpPr/>
                  <p:nvPr/>
                </p:nvSpPr>
                <p:spPr>
                  <a:xfrm>
                    <a:off x="8612790"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31" name="Freeform: Shape 6530">
                    <a:extLst>
                      <a:ext uri="{FF2B5EF4-FFF2-40B4-BE49-F238E27FC236}">
                        <a16:creationId xmlns:a16="http://schemas.microsoft.com/office/drawing/2014/main" id="{8A1597F6-34B9-E6A5-0847-73057BE6CB30}"/>
                      </a:ext>
                    </a:extLst>
                  </p:cNvPr>
                  <p:cNvSpPr/>
                  <p:nvPr/>
                </p:nvSpPr>
                <p:spPr>
                  <a:xfrm>
                    <a:off x="8574881" y="415518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8" name="Graphic 1498">
                  <a:extLst>
                    <a:ext uri="{FF2B5EF4-FFF2-40B4-BE49-F238E27FC236}">
                      <a16:creationId xmlns:a16="http://schemas.microsoft.com/office/drawing/2014/main" id="{B1E3100A-51F4-A4BD-C512-26EF456A67A4}"/>
                    </a:ext>
                  </a:extLst>
                </p:cNvPr>
                <p:cNvGrpSpPr/>
                <p:nvPr/>
              </p:nvGrpSpPr>
              <p:grpSpPr>
                <a:xfrm>
                  <a:off x="8541734" y="4117371"/>
                  <a:ext cx="75723" cy="75723"/>
                  <a:chOff x="8541734" y="4117371"/>
                  <a:chExt cx="75723" cy="75723"/>
                </a:xfrm>
              </p:grpSpPr>
              <p:sp>
                <p:nvSpPr>
                  <p:cNvPr id="6528" name="Freeform: Shape 6527">
                    <a:extLst>
                      <a:ext uri="{FF2B5EF4-FFF2-40B4-BE49-F238E27FC236}">
                        <a16:creationId xmlns:a16="http://schemas.microsoft.com/office/drawing/2014/main" id="{9B2E636E-7910-6E5C-17CA-1E53797E0575}"/>
                      </a:ext>
                    </a:extLst>
                  </p:cNvPr>
                  <p:cNvSpPr/>
                  <p:nvPr/>
                </p:nvSpPr>
                <p:spPr>
                  <a:xfrm>
                    <a:off x="8579643" y="41173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29" name="Freeform: Shape 6528">
                    <a:extLst>
                      <a:ext uri="{FF2B5EF4-FFF2-40B4-BE49-F238E27FC236}">
                        <a16:creationId xmlns:a16="http://schemas.microsoft.com/office/drawing/2014/main" id="{38DB402D-BAEB-17E7-84CE-01781454026C}"/>
                      </a:ext>
                    </a:extLst>
                  </p:cNvPr>
                  <p:cNvSpPr/>
                  <p:nvPr/>
                </p:nvSpPr>
                <p:spPr>
                  <a:xfrm>
                    <a:off x="8541734" y="4155185"/>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79" name="Graphic 1498">
                  <a:extLst>
                    <a:ext uri="{FF2B5EF4-FFF2-40B4-BE49-F238E27FC236}">
                      <a16:creationId xmlns:a16="http://schemas.microsoft.com/office/drawing/2014/main" id="{3E9BAD2A-4F28-51A1-7D7D-A957EEDFDB43}"/>
                    </a:ext>
                  </a:extLst>
                </p:cNvPr>
                <p:cNvGrpSpPr/>
                <p:nvPr/>
              </p:nvGrpSpPr>
              <p:grpSpPr>
                <a:xfrm>
                  <a:off x="8541734" y="3920299"/>
                  <a:ext cx="75723" cy="75723"/>
                  <a:chOff x="8541734" y="3920299"/>
                  <a:chExt cx="75723" cy="75723"/>
                </a:xfrm>
              </p:grpSpPr>
              <p:sp>
                <p:nvSpPr>
                  <p:cNvPr id="6526" name="Freeform: Shape 6525">
                    <a:extLst>
                      <a:ext uri="{FF2B5EF4-FFF2-40B4-BE49-F238E27FC236}">
                        <a16:creationId xmlns:a16="http://schemas.microsoft.com/office/drawing/2014/main" id="{6A7CEA5B-4C86-1BAF-91E1-FED904F7064A}"/>
                      </a:ext>
                    </a:extLst>
                  </p:cNvPr>
                  <p:cNvSpPr/>
                  <p:nvPr/>
                </p:nvSpPr>
                <p:spPr>
                  <a:xfrm>
                    <a:off x="857964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27" name="Freeform: Shape 6526">
                    <a:extLst>
                      <a:ext uri="{FF2B5EF4-FFF2-40B4-BE49-F238E27FC236}">
                        <a16:creationId xmlns:a16="http://schemas.microsoft.com/office/drawing/2014/main" id="{0B76B40B-491B-3C02-542C-11529E89E7C4}"/>
                      </a:ext>
                    </a:extLst>
                  </p:cNvPr>
                  <p:cNvSpPr/>
                  <p:nvPr/>
                </p:nvSpPr>
                <p:spPr>
                  <a:xfrm>
                    <a:off x="8541734" y="3958208"/>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0" name="Graphic 1498">
                  <a:extLst>
                    <a:ext uri="{FF2B5EF4-FFF2-40B4-BE49-F238E27FC236}">
                      <a16:creationId xmlns:a16="http://schemas.microsoft.com/office/drawing/2014/main" id="{7DFC2A86-4B67-A1D4-F74D-052D475AB7E8}"/>
                    </a:ext>
                  </a:extLst>
                </p:cNvPr>
                <p:cNvGrpSpPr/>
                <p:nvPr/>
              </p:nvGrpSpPr>
              <p:grpSpPr>
                <a:xfrm>
                  <a:off x="7976139" y="3920299"/>
                  <a:ext cx="75723" cy="75723"/>
                  <a:chOff x="7976139" y="3920299"/>
                  <a:chExt cx="75723" cy="75723"/>
                </a:xfrm>
              </p:grpSpPr>
              <p:sp>
                <p:nvSpPr>
                  <p:cNvPr id="6524" name="Freeform: Shape 6523">
                    <a:extLst>
                      <a:ext uri="{FF2B5EF4-FFF2-40B4-BE49-F238E27FC236}">
                        <a16:creationId xmlns:a16="http://schemas.microsoft.com/office/drawing/2014/main" id="{DC5CEE26-CABA-2894-8080-D1D38E5EB041}"/>
                      </a:ext>
                    </a:extLst>
                  </p:cNvPr>
                  <p:cNvSpPr/>
                  <p:nvPr/>
                </p:nvSpPr>
                <p:spPr>
                  <a:xfrm>
                    <a:off x="80139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25" name="Freeform: Shape 6524">
                    <a:extLst>
                      <a:ext uri="{FF2B5EF4-FFF2-40B4-BE49-F238E27FC236}">
                        <a16:creationId xmlns:a16="http://schemas.microsoft.com/office/drawing/2014/main" id="{A457ED6D-B35B-731E-C575-33B32D095902}"/>
                      </a:ext>
                    </a:extLst>
                  </p:cNvPr>
                  <p:cNvSpPr/>
                  <p:nvPr/>
                </p:nvSpPr>
                <p:spPr>
                  <a:xfrm>
                    <a:off x="7976139"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1" name="Graphic 1498">
                  <a:extLst>
                    <a:ext uri="{FF2B5EF4-FFF2-40B4-BE49-F238E27FC236}">
                      <a16:creationId xmlns:a16="http://schemas.microsoft.com/office/drawing/2014/main" id="{A71C9911-B840-824C-851C-2A9142954856}"/>
                    </a:ext>
                  </a:extLst>
                </p:cNvPr>
                <p:cNvGrpSpPr/>
                <p:nvPr/>
              </p:nvGrpSpPr>
              <p:grpSpPr>
                <a:xfrm>
                  <a:off x="7750302" y="3863911"/>
                  <a:ext cx="75723" cy="75628"/>
                  <a:chOff x="7750302" y="3863911"/>
                  <a:chExt cx="75723" cy="75628"/>
                </a:xfrm>
              </p:grpSpPr>
              <p:sp>
                <p:nvSpPr>
                  <p:cNvPr id="6522" name="Freeform: Shape 6521">
                    <a:extLst>
                      <a:ext uri="{FF2B5EF4-FFF2-40B4-BE49-F238E27FC236}">
                        <a16:creationId xmlns:a16="http://schemas.microsoft.com/office/drawing/2014/main" id="{83BC469E-AA21-B290-77EF-2F77F9497B91}"/>
                      </a:ext>
                    </a:extLst>
                  </p:cNvPr>
                  <p:cNvSpPr/>
                  <p:nvPr/>
                </p:nvSpPr>
                <p:spPr>
                  <a:xfrm>
                    <a:off x="7788116"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23" name="Freeform: Shape 6522">
                    <a:extLst>
                      <a:ext uri="{FF2B5EF4-FFF2-40B4-BE49-F238E27FC236}">
                        <a16:creationId xmlns:a16="http://schemas.microsoft.com/office/drawing/2014/main" id="{9869283E-D08C-A7A0-212E-F12F04864655}"/>
                      </a:ext>
                    </a:extLst>
                  </p:cNvPr>
                  <p:cNvSpPr/>
                  <p:nvPr/>
                </p:nvSpPr>
                <p:spPr>
                  <a:xfrm>
                    <a:off x="7750302"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2" name="Graphic 1498">
                  <a:extLst>
                    <a:ext uri="{FF2B5EF4-FFF2-40B4-BE49-F238E27FC236}">
                      <a16:creationId xmlns:a16="http://schemas.microsoft.com/office/drawing/2014/main" id="{AC054D1A-D17B-0782-D0F1-F6B99FCDBACC}"/>
                    </a:ext>
                  </a:extLst>
                </p:cNvPr>
                <p:cNvGrpSpPr/>
                <p:nvPr/>
              </p:nvGrpSpPr>
              <p:grpSpPr>
                <a:xfrm>
                  <a:off x="7908988" y="3863911"/>
                  <a:ext cx="75628" cy="75628"/>
                  <a:chOff x="7908988" y="3863911"/>
                  <a:chExt cx="75628" cy="75628"/>
                </a:xfrm>
              </p:grpSpPr>
              <p:sp>
                <p:nvSpPr>
                  <p:cNvPr id="6520" name="Freeform: Shape 6519">
                    <a:extLst>
                      <a:ext uri="{FF2B5EF4-FFF2-40B4-BE49-F238E27FC236}">
                        <a16:creationId xmlns:a16="http://schemas.microsoft.com/office/drawing/2014/main" id="{4FA73579-477B-7C8E-2DAE-D46553C85C97}"/>
                      </a:ext>
                    </a:extLst>
                  </p:cNvPr>
                  <p:cNvSpPr/>
                  <p:nvPr/>
                </p:nvSpPr>
                <p:spPr>
                  <a:xfrm>
                    <a:off x="794680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21" name="Freeform: Shape 6520">
                    <a:extLst>
                      <a:ext uri="{FF2B5EF4-FFF2-40B4-BE49-F238E27FC236}">
                        <a16:creationId xmlns:a16="http://schemas.microsoft.com/office/drawing/2014/main" id="{E4281752-D213-E384-F597-4B1671805BDE}"/>
                      </a:ext>
                    </a:extLst>
                  </p:cNvPr>
                  <p:cNvSpPr/>
                  <p:nvPr/>
                </p:nvSpPr>
                <p:spPr>
                  <a:xfrm>
                    <a:off x="790898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3" name="Graphic 1498">
                  <a:extLst>
                    <a:ext uri="{FF2B5EF4-FFF2-40B4-BE49-F238E27FC236}">
                      <a16:creationId xmlns:a16="http://schemas.microsoft.com/office/drawing/2014/main" id="{8493D865-113E-2409-5691-F7238F65B15B}"/>
                    </a:ext>
                  </a:extLst>
                </p:cNvPr>
                <p:cNvGrpSpPr/>
                <p:nvPr/>
              </p:nvGrpSpPr>
              <p:grpSpPr>
                <a:xfrm>
                  <a:off x="7873650" y="3863911"/>
                  <a:ext cx="75723" cy="75628"/>
                  <a:chOff x="7873650" y="3863911"/>
                  <a:chExt cx="75723" cy="75628"/>
                </a:xfrm>
              </p:grpSpPr>
              <p:sp>
                <p:nvSpPr>
                  <p:cNvPr id="6518" name="Freeform: Shape 6517">
                    <a:extLst>
                      <a:ext uri="{FF2B5EF4-FFF2-40B4-BE49-F238E27FC236}">
                        <a16:creationId xmlns:a16="http://schemas.microsoft.com/office/drawing/2014/main" id="{0ED8FABE-ADFF-D03D-BDC4-3BEB15910DFE}"/>
                      </a:ext>
                    </a:extLst>
                  </p:cNvPr>
                  <p:cNvSpPr/>
                  <p:nvPr/>
                </p:nvSpPr>
                <p:spPr>
                  <a:xfrm>
                    <a:off x="791156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19" name="Freeform: Shape 6518">
                    <a:extLst>
                      <a:ext uri="{FF2B5EF4-FFF2-40B4-BE49-F238E27FC236}">
                        <a16:creationId xmlns:a16="http://schemas.microsoft.com/office/drawing/2014/main" id="{BC68D17B-20CA-CD4E-4FFF-976FD35B89DB}"/>
                      </a:ext>
                    </a:extLst>
                  </p:cNvPr>
                  <p:cNvSpPr/>
                  <p:nvPr/>
                </p:nvSpPr>
                <p:spPr>
                  <a:xfrm>
                    <a:off x="787365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4" name="Graphic 1498">
                  <a:extLst>
                    <a:ext uri="{FF2B5EF4-FFF2-40B4-BE49-F238E27FC236}">
                      <a16:creationId xmlns:a16="http://schemas.microsoft.com/office/drawing/2014/main" id="{C7EBCEC8-E810-04FE-4C00-9AE678B5784B}"/>
                    </a:ext>
                  </a:extLst>
                </p:cNvPr>
                <p:cNvGrpSpPr/>
                <p:nvPr/>
              </p:nvGrpSpPr>
              <p:grpSpPr>
                <a:xfrm>
                  <a:off x="7882604" y="3863911"/>
                  <a:ext cx="75723" cy="75628"/>
                  <a:chOff x="7882604" y="3863911"/>
                  <a:chExt cx="75723" cy="75628"/>
                </a:xfrm>
              </p:grpSpPr>
              <p:sp>
                <p:nvSpPr>
                  <p:cNvPr id="6516" name="Freeform: Shape 6515">
                    <a:extLst>
                      <a:ext uri="{FF2B5EF4-FFF2-40B4-BE49-F238E27FC236}">
                        <a16:creationId xmlns:a16="http://schemas.microsoft.com/office/drawing/2014/main" id="{13A4F938-B562-28CE-E7D2-29C34971F8B1}"/>
                      </a:ext>
                    </a:extLst>
                  </p:cNvPr>
                  <p:cNvSpPr/>
                  <p:nvPr/>
                </p:nvSpPr>
                <p:spPr>
                  <a:xfrm>
                    <a:off x="792051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17" name="Freeform: Shape 6516">
                    <a:extLst>
                      <a:ext uri="{FF2B5EF4-FFF2-40B4-BE49-F238E27FC236}">
                        <a16:creationId xmlns:a16="http://schemas.microsoft.com/office/drawing/2014/main" id="{74B6ACFC-F2D7-4FEA-70BC-6C35F3910719}"/>
                      </a:ext>
                    </a:extLst>
                  </p:cNvPr>
                  <p:cNvSpPr/>
                  <p:nvPr/>
                </p:nvSpPr>
                <p:spPr>
                  <a:xfrm>
                    <a:off x="7882604"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5" name="Graphic 1498">
                  <a:extLst>
                    <a:ext uri="{FF2B5EF4-FFF2-40B4-BE49-F238E27FC236}">
                      <a16:creationId xmlns:a16="http://schemas.microsoft.com/office/drawing/2014/main" id="{D56623FB-AC37-DA9B-70AC-EEAD39BB2C0A}"/>
                    </a:ext>
                  </a:extLst>
                </p:cNvPr>
                <p:cNvGrpSpPr/>
                <p:nvPr/>
              </p:nvGrpSpPr>
              <p:grpSpPr>
                <a:xfrm>
                  <a:off x="7785925" y="3863911"/>
                  <a:ext cx="75628" cy="75628"/>
                  <a:chOff x="7785925" y="3863911"/>
                  <a:chExt cx="75628" cy="75628"/>
                </a:xfrm>
              </p:grpSpPr>
              <p:sp>
                <p:nvSpPr>
                  <p:cNvPr id="6514" name="Freeform: Shape 6513">
                    <a:extLst>
                      <a:ext uri="{FF2B5EF4-FFF2-40B4-BE49-F238E27FC236}">
                        <a16:creationId xmlns:a16="http://schemas.microsoft.com/office/drawing/2014/main" id="{5110A91F-0C89-EA59-09FB-17D4C634B1AB}"/>
                      </a:ext>
                    </a:extLst>
                  </p:cNvPr>
                  <p:cNvSpPr/>
                  <p:nvPr/>
                </p:nvSpPr>
                <p:spPr>
                  <a:xfrm>
                    <a:off x="782373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15" name="Freeform: Shape 6514">
                    <a:extLst>
                      <a:ext uri="{FF2B5EF4-FFF2-40B4-BE49-F238E27FC236}">
                        <a16:creationId xmlns:a16="http://schemas.microsoft.com/office/drawing/2014/main" id="{57DCE738-DA51-D872-7626-720898608804}"/>
                      </a:ext>
                    </a:extLst>
                  </p:cNvPr>
                  <p:cNvSpPr/>
                  <p:nvPr/>
                </p:nvSpPr>
                <p:spPr>
                  <a:xfrm>
                    <a:off x="7785925" y="3901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6" name="Graphic 1498">
                  <a:extLst>
                    <a:ext uri="{FF2B5EF4-FFF2-40B4-BE49-F238E27FC236}">
                      <a16:creationId xmlns:a16="http://schemas.microsoft.com/office/drawing/2014/main" id="{5794CAAE-E4DF-074D-1A44-3D3F7008471D}"/>
                    </a:ext>
                  </a:extLst>
                </p:cNvPr>
                <p:cNvGrpSpPr/>
                <p:nvPr/>
              </p:nvGrpSpPr>
              <p:grpSpPr>
                <a:xfrm>
                  <a:off x="7794879" y="3863911"/>
                  <a:ext cx="75723" cy="75628"/>
                  <a:chOff x="7794879" y="3863911"/>
                  <a:chExt cx="75723" cy="75628"/>
                </a:xfrm>
              </p:grpSpPr>
              <p:sp>
                <p:nvSpPr>
                  <p:cNvPr id="6512" name="Freeform: Shape 6511">
                    <a:extLst>
                      <a:ext uri="{FF2B5EF4-FFF2-40B4-BE49-F238E27FC236}">
                        <a16:creationId xmlns:a16="http://schemas.microsoft.com/office/drawing/2014/main" id="{9CA1F93B-47ED-DB55-2F0D-62AAF41F74E1}"/>
                      </a:ext>
                    </a:extLst>
                  </p:cNvPr>
                  <p:cNvSpPr/>
                  <p:nvPr/>
                </p:nvSpPr>
                <p:spPr>
                  <a:xfrm>
                    <a:off x="783269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13" name="Freeform: Shape 6512">
                    <a:extLst>
                      <a:ext uri="{FF2B5EF4-FFF2-40B4-BE49-F238E27FC236}">
                        <a16:creationId xmlns:a16="http://schemas.microsoft.com/office/drawing/2014/main" id="{DF6999DB-A53B-DA4E-07E4-A1A3F214FEE6}"/>
                      </a:ext>
                    </a:extLst>
                  </p:cNvPr>
                  <p:cNvSpPr/>
                  <p:nvPr/>
                </p:nvSpPr>
                <p:spPr>
                  <a:xfrm>
                    <a:off x="7794879"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7" name="Graphic 1498">
                  <a:extLst>
                    <a:ext uri="{FF2B5EF4-FFF2-40B4-BE49-F238E27FC236}">
                      <a16:creationId xmlns:a16="http://schemas.microsoft.com/office/drawing/2014/main" id="{F46EFD8F-A211-9649-9833-DBAC5291D161}"/>
                    </a:ext>
                  </a:extLst>
                </p:cNvPr>
                <p:cNvGrpSpPr/>
                <p:nvPr/>
              </p:nvGrpSpPr>
              <p:grpSpPr>
                <a:xfrm>
                  <a:off x="7805356" y="3863911"/>
                  <a:ext cx="75628" cy="75628"/>
                  <a:chOff x="7805356" y="3863911"/>
                  <a:chExt cx="75628" cy="75628"/>
                </a:xfrm>
              </p:grpSpPr>
              <p:sp>
                <p:nvSpPr>
                  <p:cNvPr id="6510" name="Freeform: Shape 6509">
                    <a:extLst>
                      <a:ext uri="{FF2B5EF4-FFF2-40B4-BE49-F238E27FC236}">
                        <a16:creationId xmlns:a16="http://schemas.microsoft.com/office/drawing/2014/main" id="{042FD175-78D2-17CF-93C6-03B2E0811728}"/>
                      </a:ext>
                    </a:extLst>
                  </p:cNvPr>
                  <p:cNvSpPr/>
                  <p:nvPr/>
                </p:nvSpPr>
                <p:spPr>
                  <a:xfrm>
                    <a:off x="7843170"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11" name="Freeform: Shape 6510">
                    <a:extLst>
                      <a:ext uri="{FF2B5EF4-FFF2-40B4-BE49-F238E27FC236}">
                        <a16:creationId xmlns:a16="http://schemas.microsoft.com/office/drawing/2014/main" id="{F7A7A752-D26D-D8D6-4ED9-1B795F4679AE}"/>
                      </a:ext>
                    </a:extLst>
                  </p:cNvPr>
                  <p:cNvSpPr/>
                  <p:nvPr/>
                </p:nvSpPr>
                <p:spPr>
                  <a:xfrm>
                    <a:off x="7805356"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8" name="Graphic 1498">
                  <a:extLst>
                    <a:ext uri="{FF2B5EF4-FFF2-40B4-BE49-F238E27FC236}">
                      <a16:creationId xmlns:a16="http://schemas.microsoft.com/office/drawing/2014/main" id="{57E78573-7454-6452-CDA0-D7E9A65904C2}"/>
                    </a:ext>
                  </a:extLst>
                </p:cNvPr>
                <p:cNvGrpSpPr/>
                <p:nvPr/>
              </p:nvGrpSpPr>
              <p:grpSpPr>
                <a:xfrm>
                  <a:off x="7840980" y="3863911"/>
                  <a:ext cx="75723" cy="75628"/>
                  <a:chOff x="7840980" y="3863911"/>
                  <a:chExt cx="75723" cy="75628"/>
                </a:xfrm>
              </p:grpSpPr>
              <p:sp>
                <p:nvSpPr>
                  <p:cNvPr id="6508" name="Freeform: Shape 6507">
                    <a:extLst>
                      <a:ext uri="{FF2B5EF4-FFF2-40B4-BE49-F238E27FC236}">
                        <a16:creationId xmlns:a16="http://schemas.microsoft.com/office/drawing/2014/main" id="{ABDDE847-C7F6-69CD-AB36-07072FC17160}"/>
                      </a:ext>
                    </a:extLst>
                  </p:cNvPr>
                  <p:cNvSpPr/>
                  <p:nvPr/>
                </p:nvSpPr>
                <p:spPr>
                  <a:xfrm>
                    <a:off x="7878889"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09" name="Freeform: Shape 6508">
                    <a:extLst>
                      <a:ext uri="{FF2B5EF4-FFF2-40B4-BE49-F238E27FC236}">
                        <a16:creationId xmlns:a16="http://schemas.microsoft.com/office/drawing/2014/main" id="{6EBD00EC-97C3-E783-6CC7-73C12BAE16B2}"/>
                      </a:ext>
                    </a:extLst>
                  </p:cNvPr>
                  <p:cNvSpPr/>
                  <p:nvPr/>
                </p:nvSpPr>
                <p:spPr>
                  <a:xfrm>
                    <a:off x="7840980" y="39017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89" name="Graphic 1498">
                  <a:extLst>
                    <a:ext uri="{FF2B5EF4-FFF2-40B4-BE49-F238E27FC236}">
                      <a16:creationId xmlns:a16="http://schemas.microsoft.com/office/drawing/2014/main" id="{7A59B1A6-2A44-344E-3B41-0553260ED7ED}"/>
                    </a:ext>
                  </a:extLst>
                </p:cNvPr>
                <p:cNvGrpSpPr/>
                <p:nvPr/>
              </p:nvGrpSpPr>
              <p:grpSpPr>
                <a:xfrm>
                  <a:off x="7648289" y="3863911"/>
                  <a:ext cx="75628" cy="75628"/>
                  <a:chOff x="7648289" y="3863911"/>
                  <a:chExt cx="75628" cy="75628"/>
                </a:xfrm>
              </p:grpSpPr>
              <p:sp>
                <p:nvSpPr>
                  <p:cNvPr id="6506" name="Freeform: Shape 6505">
                    <a:extLst>
                      <a:ext uri="{FF2B5EF4-FFF2-40B4-BE49-F238E27FC236}">
                        <a16:creationId xmlns:a16="http://schemas.microsoft.com/office/drawing/2014/main" id="{D9E46FDB-025D-2D4F-F6CA-F925548C7BF3}"/>
                      </a:ext>
                    </a:extLst>
                  </p:cNvPr>
                  <p:cNvSpPr/>
                  <p:nvPr/>
                </p:nvSpPr>
                <p:spPr>
                  <a:xfrm>
                    <a:off x="7686103"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07" name="Freeform: Shape 6506">
                    <a:extLst>
                      <a:ext uri="{FF2B5EF4-FFF2-40B4-BE49-F238E27FC236}">
                        <a16:creationId xmlns:a16="http://schemas.microsoft.com/office/drawing/2014/main" id="{552A0D7E-80A7-15EE-C738-FD9494278F78}"/>
                      </a:ext>
                    </a:extLst>
                  </p:cNvPr>
                  <p:cNvSpPr/>
                  <p:nvPr/>
                </p:nvSpPr>
                <p:spPr>
                  <a:xfrm>
                    <a:off x="7648289"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0" name="Graphic 1498">
                  <a:extLst>
                    <a:ext uri="{FF2B5EF4-FFF2-40B4-BE49-F238E27FC236}">
                      <a16:creationId xmlns:a16="http://schemas.microsoft.com/office/drawing/2014/main" id="{F561422F-D040-E74D-8934-A8E73D350397}"/>
                    </a:ext>
                  </a:extLst>
                </p:cNvPr>
                <p:cNvGrpSpPr/>
                <p:nvPr/>
              </p:nvGrpSpPr>
              <p:grpSpPr>
                <a:xfrm>
                  <a:off x="7621238" y="3863911"/>
                  <a:ext cx="75628" cy="75628"/>
                  <a:chOff x="7621238" y="3863911"/>
                  <a:chExt cx="75628" cy="75628"/>
                </a:xfrm>
              </p:grpSpPr>
              <p:sp>
                <p:nvSpPr>
                  <p:cNvPr id="6504" name="Freeform: Shape 6503">
                    <a:extLst>
                      <a:ext uri="{FF2B5EF4-FFF2-40B4-BE49-F238E27FC236}">
                        <a16:creationId xmlns:a16="http://schemas.microsoft.com/office/drawing/2014/main" id="{F8358C6A-1527-BE43-8805-CA9650C66AFD}"/>
                      </a:ext>
                    </a:extLst>
                  </p:cNvPr>
                  <p:cNvSpPr/>
                  <p:nvPr/>
                </p:nvSpPr>
                <p:spPr>
                  <a:xfrm>
                    <a:off x="7659052" y="386391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05" name="Freeform: Shape 6504">
                    <a:extLst>
                      <a:ext uri="{FF2B5EF4-FFF2-40B4-BE49-F238E27FC236}">
                        <a16:creationId xmlns:a16="http://schemas.microsoft.com/office/drawing/2014/main" id="{7ED57DCC-55A6-AD45-9700-DA761684C581}"/>
                      </a:ext>
                    </a:extLst>
                  </p:cNvPr>
                  <p:cNvSpPr/>
                  <p:nvPr/>
                </p:nvSpPr>
                <p:spPr>
                  <a:xfrm>
                    <a:off x="7621238" y="390172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1" name="Graphic 1498">
                  <a:extLst>
                    <a:ext uri="{FF2B5EF4-FFF2-40B4-BE49-F238E27FC236}">
                      <a16:creationId xmlns:a16="http://schemas.microsoft.com/office/drawing/2014/main" id="{59446AFF-821C-D382-5834-25778CE111FA}"/>
                    </a:ext>
                  </a:extLst>
                </p:cNvPr>
                <p:cNvGrpSpPr/>
                <p:nvPr/>
              </p:nvGrpSpPr>
              <p:grpSpPr>
                <a:xfrm>
                  <a:off x="7397781" y="3779138"/>
                  <a:ext cx="75723" cy="75723"/>
                  <a:chOff x="7397781" y="3779138"/>
                  <a:chExt cx="75723" cy="75723"/>
                </a:xfrm>
              </p:grpSpPr>
              <p:sp>
                <p:nvSpPr>
                  <p:cNvPr id="6502" name="Freeform: Shape 6501">
                    <a:extLst>
                      <a:ext uri="{FF2B5EF4-FFF2-40B4-BE49-F238E27FC236}">
                        <a16:creationId xmlns:a16="http://schemas.microsoft.com/office/drawing/2014/main" id="{50DC9AC4-CE61-2B34-2B86-18195486CDB3}"/>
                      </a:ext>
                    </a:extLst>
                  </p:cNvPr>
                  <p:cNvSpPr/>
                  <p:nvPr/>
                </p:nvSpPr>
                <p:spPr>
                  <a:xfrm>
                    <a:off x="7435596"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03" name="Freeform: Shape 6502">
                    <a:extLst>
                      <a:ext uri="{FF2B5EF4-FFF2-40B4-BE49-F238E27FC236}">
                        <a16:creationId xmlns:a16="http://schemas.microsoft.com/office/drawing/2014/main" id="{ACD51193-0BCB-3096-A7EF-BC51A550A7AB}"/>
                      </a:ext>
                    </a:extLst>
                  </p:cNvPr>
                  <p:cNvSpPr/>
                  <p:nvPr/>
                </p:nvSpPr>
                <p:spPr>
                  <a:xfrm>
                    <a:off x="7397781"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2" name="Graphic 1498">
                  <a:extLst>
                    <a:ext uri="{FF2B5EF4-FFF2-40B4-BE49-F238E27FC236}">
                      <a16:creationId xmlns:a16="http://schemas.microsoft.com/office/drawing/2014/main" id="{6D39E963-54D8-A085-DE8F-F2F3D996E6C1}"/>
                    </a:ext>
                  </a:extLst>
                </p:cNvPr>
                <p:cNvGrpSpPr/>
                <p:nvPr/>
              </p:nvGrpSpPr>
              <p:grpSpPr>
                <a:xfrm>
                  <a:off x="7370540" y="3741324"/>
                  <a:ext cx="75723" cy="75628"/>
                  <a:chOff x="7370540" y="3741324"/>
                  <a:chExt cx="75723" cy="75628"/>
                </a:xfrm>
              </p:grpSpPr>
              <p:sp>
                <p:nvSpPr>
                  <p:cNvPr id="6500" name="Freeform: Shape 6499">
                    <a:extLst>
                      <a:ext uri="{FF2B5EF4-FFF2-40B4-BE49-F238E27FC236}">
                        <a16:creationId xmlns:a16="http://schemas.microsoft.com/office/drawing/2014/main" id="{E8FACCCB-DC6A-3411-3CE7-0B1CB3A058A3}"/>
                      </a:ext>
                    </a:extLst>
                  </p:cNvPr>
                  <p:cNvSpPr/>
                  <p:nvPr/>
                </p:nvSpPr>
                <p:spPr>
                  <a:xfrm>
                    <a:off x="7408449" y="37413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01" name="Freeform: Shape 6500">
                    <a:extLst>
                      <a:ext uri="{FF2B5EF4-FFF2-40B4-BE49-F238E27FC236}">
                        <a16:creationId xmlns:a16="http://schemas.microsoft.com/office/drawing/2014/main" id="{01BEBB17-C762-F1E5-F9EF-162DD3671C97}"/>
                      </a:ext>
                    </a:extLst>
                  </p:cNvPr>
                  <p:cNvSpPr/>
                  <p:nvPr/>
                </p:nvSpPr>
                <p:spPr>
                  <a:xfrm>
                    <a:off x="7370540" y="37791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3" name="Graphic 1498">
                  <a:extLst>
                    <a:ext uri="{FF2B5EF4-FFF2-40B4-BE49-F238E27FC236}">
                      <a16:creationId xmlns:a16="http://schemas.microsoft.com/office/drawing/2014/main" id="{8D8B5C0B-B427-FD79-2176-47B0C56DD1B5}"/>
                    </a:ext>
                  </a:extLst>
                </p:cNvPr>
                <p:cNvGrpSpPr/>
                <p:nvPr/>
              </p:nvGrpSpPr>
              <p:grpSpPr>
                <a:xfrm>
                  <a:off x="7370540" y="3715797"/>
                  <a:ext cx="75723" cy="75628"/>
                  <a:chOff x="7370540" y="3715797"/>
                  <a:chExt cx="75723" cy="75628"/>
                </a:xfrm>
              </p:grpSpPr>
              <p:sp>
                <p:nvSpPr>
                  <p:cNvPr id="6498" name="Freeform: Shape 6497">
                    <a:extLst>
                      <a:ext uri="{FF2B5EF4-FFF2-40B4-BE49-F238E27FC236}">
                        <a16:creationId xmlns:a16="http://schemas.microsoft.com/office/drawing/2014/main" id="{66889BF3-718F-3353-71FB-4DE68A1F85CD}"/>
                      </a:ext>
                    </a:extLst>
                  </p:cNvPr>
                  <p:cNvSpPr/>
                  <p:nvPr/>
                </p:nvSpPr>
                <p:spPr>
                  <a:xfrm>
                    <a:off x="7408449"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99" name="Freeform: Shape 6498">
                    <a:extLst>
                      <a:ext uri="{FF2B5EF4-FFF2-40B4-BE49-F238E27FC236}">
                        <a16:creationId xmlns:a16="http://schemas.microsoft.com/office/drawing/2014/main" id="{604CB1C8-891B-11A5-5FD8-6864DE0CA545}"/>
                      </a:ext>
                    </a:extLst>
                  </p:cNvPr>
                  <p:cNvSpPr/>
                  <p:nvPr/>
                </p:nvSpPr>
                <p:spPr>
                  <a:xfrm>
                    <a:off x="737054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4" name="Graphic 1498">
                  <a:extLst>
                    <a:ext uri="{FF2B5EF4-FFF2-40B4-BE49-F238E27FC236}">
                      <a16:creationId xmlns:a16="http://schemas.microsoft.com/office/drawing/2014/main" id="{67444EA2-132D-D982-5FC4-C2A1499CCF89}"/>
                    </a:ext>
                  </a:extLst>
                </p:cNvPr>
                <p:cNvGrpSpPr/>
                <p:nvPr/>
              </p:nvGrpSpPr>
              <p:grpSpPr>
                <a:xfrm>
                  <a:off x="7307770" y="3715797"/>
                  <a:ext cx="75723" cy="75628"/>
                  <a:chOff x="7307770" y="3715797"/>
                  <a:chExt cx="75723" cy="75628"/>
                </a:xfrm>
              </p:grpSpPr>
              <p:sp>
                <p:nvSpPr>
                  <p:cNvPr id="6496" name="Freeform: Shape 6495">
                    <a:extLst>
                      <a:ext uri="{FF2B5EF4-FFF2-40B4-BE49-F238E27FC236}">
                        <a16:creationId xmlns:a16="http://schemas.microsoft.com/office/drawing/2014/main" id="{097345E4-7420-581A-B59D-7D15695622A9}"/>
                      </a:ext>
                    </a:extLst>
                  </p:cNvPr>
                  <p:cNvSpPr/>
                  <p:nvPr/>
                </p:nvSpPr>
                <p:spPr>
                  <a:xfrm>
                    <a:off x="7345680"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97" name="Freeform: Shape 6496">
                    <a:extLst>
                      <a:ext uri="{FF2B5EF4-FFF2-40B4-BE49-F238E27FC236}">
                        <a16:creationId xmlns:a16="http://schemas.microsoft.com/office/drawing/2014/main" id="{3103CCD0-D3D6-5064-5259-1FB918B7C614}"/>
                      </a:ext>
                    </a:extLst>
                  </p:cNvPr>
                  <p:cNvSpPr/>
                  <p:nvPr/>
                </p:nvSpPr>
                <p:spPr>
                  <a:xfrm>
                    <a:off x="730777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5" name="Graphic 1498">
                  <a:extLst>
                    <a:ext uri="{FF2B5EF4-FFF2-40B4-BE49-F238E27FC236}">
                      <a16:creationId xmlns:a16="http://schemas.microsoft.com/office/drawing/2014/main" id="{BFECD71B-6D2E-2B63-BB38-32FA117353C0}"/>
                    </a:ext>
                  </a:extLst>
                </p:cNvPr>
                <p:cNvGrpSpPr/>
                <p:nvPr/>
              </p:nvGrpSpPr>
              <p:grpSpPr>
                <a:xfrm>
                  <a:off x="7036689" y="3653599"/>
                  <a:ext cx="75628" cy="75723"/>
                  <a:chOff x="7036689" y="3653599"/>
                  <a:chExt cx="75628" cy="75723"/>
                </a:xfrm>
              </p:grpSpPr>
              <p:sp>
                <p:nvSpPr>
                  <p:cNvPr id="6494" name="Freeform: Shape 6493">
                    <a:extLst>
                      <a:ext uri="{FF2B5EF4-FFF2-40B4-BE49-F238E27FC236}">
                        <a16:creationId xmlns:a16="http://schemas.microsoft.com/office/drawing/2014/main" id="{2A8EEECF-1824-A035-B8B2-B0F622E23FF6}"/>
                      </a:ext>
                    </a:extLst>
                  </p:cNvPr>
                  <p:cNvSpPr/>
                  <p:nvPr/>
                </p:nvSpPr>
                <p:spPr>
                  <a:xfrm>
                    <a:off x="707450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95" name="Freeform: Shape 6494">
                    <a:extLst>
                      <a:ext uri="{FF2B5EF4-FFF2-40B4-BE49-F238E27FC236}">
                        <a16:creationId xmlns:a16="http://schemas.microsoft.com/office/drawing/2014/main" id="{B62F5FD4-48FE-E4C2-70CF-398F2D01E397}"/>
                      </a:ext>
                    </a:extLst>
                  </p:cNvPr>
                  <p:cNvSpPr/>
                  <p:nvPr/>
                </p:nvSpPr>
                <p:spPr>
                  <a:xfrm>
                    <a:off x="7036689"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6" name="Graphic 1498">
                  <a:extLst>
                    <a:ext uri="{FF2B5EF4-FFF2-40B4-BE49-F238E27FC236}">
                      <a16:creationId xmlns:a16="http://schemas.microsoft.com/office/drawing/2014/main" id="{633586DA-9D1B-A3A1-AD20-9FF3F3631079}"/>
                    </a:ext>
                  </a:extLst>
                </p:cNvPr>
                <p:cNvGrpSpPr/>
                <p:nvPr/>
              </p:nvGrpSpPr>
              <p:grpSpPr>
                <a:xfrm>
                  <a:off x="7048309" y="3653599"/>
                  <a:ext cx="75723" cy="75723"/>
                  <a:chOff x="7048309" y="3653599"/>
                  <a:chExt cx="75723" cy="75723"/>
                </a:xfrm>
              </p:grpSpPr>
              <p:sp>
                <p:nvSpPr>
                  <p:cNvPr id="6492" name="Freeform: Shape 6491">
                    <a:extLst>
                      <a:ext uri="{FF2B5EF4-FFF2-40B4-BE49-F238E27FC236}">
                        <a16:creationId xmlns:a16="http://schemas.microsoft.com/office/drawing/2014/main" id="{5FC3D81B-10EF-DF43-1D12-7F733E7734F4}"/>
                      </a:ext>
                    </a:extLst>
                  </p:cNvPr>
                  <p:cNvSpPr/>
                  <p:nvPr/>
                </p:nvSpPr>
                <p:spPr>
                  <a:xfrm>
                    <a:off x="7086123"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93" name="Freeform: Shape 6492">
                    <a:extLst>
                      <a:ext uri="{FF2B5EF4-FFF2-40B4-BE49-F238E27FC236}">
                        <a16:creationId xmlns:a16="http://schemas.microsoft.com/office/drawing/2014/main" id="{2615FDC1-3E7E-B840-61BF-6BB9F3623934}"/>
                      </a:ext>
                    </a:extLst>
                  </p:cNvPr>
                  <p:cNvSpPr/>
                  <p:nvPr/>
                </p:nvSpPr>
                <p:spPr>
                  <a:xfrm>
                    <a:off x="7048309"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7" name="Graphic 1498">
                  <a:extLst>
                    <a:ext uri="{FF2B5EF4-FFF2-40B4-BE49-F238E27FC236}">
                      <a16:creationId xmlns:a16="http://schemas.microsoft.com/office/drawing/2014/main" id="{CAD39F2D-B6AB-DA02-B2FA-516F18996502}"/>
                    </a:ext>
                  </a:extLst>
                </p:cNvPr>
                <p:cNvGrpSpPr/>
                <p:nvPr/>
              </p:nvGrpSpPr>
              <p:grpSpPr>
                <a:xfrm>
                  <a:off x="6957060" y="3627024"/>
                  <a:ext cx="75723" cy="75628"/>
                  <a:chOff x="6957060" y="3627024"/>
                  <a:chExt cx="75723" cy="75628"/>
                </a:xfrm>
              </p:grpSpPr>
              <p:sp>
                <p:nvSpPr>
                  <p:cNvPr id="6490" name="Freeform: Shape 6489">
                    <a:extLst>
                      <a:ext uri="{FF2B5EF4-FFF2-40B4-BE49-F238E27FC236}">
                        <a16:creationId xmlns:a16="http://schemas.microsoft.com/office/drawing/2014/main" id="{A399765B-CD2A-2EDD-DF90-C5C764B7F9C1}"/>
                      </a:ext>
                    </a:extLst>
                  </p:cNvPr>
                  <p:cNvSpPr/>
                  <p:nvPr/>
                </p:nvSpPr>
                <p:spPr>
                  <a:xfrm>
                    <a:off x="6994874"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91" name="Freeform: Shape 6490">
                    <a:extLst>
                      <a:ext uri="{FF2B5EF4-FFF2-40B4-BE49-F238E27FC236}">
                        <a16:creationId xmlns:a16="http://schemas.microsoft.com/office/drawing/2014/main" id="{1FD3F10E-8332-23E3-9952-62BFC330ECC5}"/>
                      </a:ext>
                    </a:extLst>
                  </p:cNvPr>
                  <p:cNvSpPr/>
                  <p:nvPr/>
                </p:nvSpPr>
                <p:spPr>
                  <a:xfrm>
                    <a:off x="695706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8" name="Graphic 1498">
                  <a:extLst>
                    <a:ext uri="{FF2B5EF4-FFF2-40B4-BE49-F238E27FC236}">
                      <a16:creationId xmlns:a16="http://schemas.microsoft.com/office/drawing/2014/main" id="{A3E51A7E-5D1D-6DCE-7857-33253E2FD3D3}"/>
                    </a:ext>
                  </a:extLst>
                </p:cNvPr>
                <p:cNvGrpSpPr/>
                <p:nvPr/>
              </p:nvGrpSpPr>
              <p:grpSpPr>
                <a:xfrm>
                  <a:off x="6950106" y="3627024"/>
                  <a:ext cx="75723" cy="75628"/>
                  <a:chOff x="6950106" y="3627024"/>
                  <a:chExt cx="75723" cy="75628"/>
                </a:xfrm>
              </p:grpSpPr>
              <p:sp>
                <p:nvSpPr>
                  <p:cNvPr id="6488" name="Freeform: Shape 6487">
                    <a:extLst>
                      <a:ext uri="{FF2B5EF4-FFF2-40B4-BE49-F238E27FC236}">
                        <a16:creationId xmlns:a16="http://schemas.microsoft.com/office/drawing/2014/main" id="{D16EB174-DBF0-0D88-9AF3-819832524F6A}"/>
                      </a:ext>
                    </a:extLst>
                  </p:cNvPr>
                  <p:cNvSpPr/>
                  <p:nvPr/>
                </p:nvSpPr>
                <p:spPr>
                  <a:xfrm>
                    <a:off x="6988016"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89" name="Freeform: Shape 6488">
                    <a:extLst>
                      <a:ext uri="{FF2B5EF4-FFF2-40B4-BE49-F238E27FC236}">
                        <a16:creationId xmlns:a16="http://schemas.microsoft.com/office/drawing/2014/main" id="{57BF7B2E-F48B-20C6-3503-5A4DE625D6C7}"/>
                      </a:ext>
                    </a:extLst>
                  </p:cNvPr>
                  <p:cNvSpPr/>
                  <p:nvPr/>
                </p:nvSpPr>
                <p:spPr>
                  <a:xfrm>
                    <a:off x="6950106"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999" name="Graphic 1498">
                  <a:extLst>
                    <a:ext uri="{FF2B5EF4-FFF2-40B4-BE49-F238E27FC236}">
                      <a16:creationId xmlns:a16="http://schemas.microsoft.com/office/drawing/2014/main" id="{72F02342-5861-9ED1-1394-65344DE6748C}"/>
                    </a:ext>
                  </a:extLst>
                </p:cNvPr>
                <p:cNvGrpSpPr/>
                <p:nvPr/>
              </p:nvGrpSpPr>
              <p:grpSpPr>
                <a:xfrm>
                  <a:off x="6927723" y="3627024"/>
                  <a:ext cx="75723" cy="75628"/>
                  <a:chOff x="6927723" y="3627024"/>
                  <a:chExt cx="75723" cy="75628"/>
                </a:xfrm>
              </p:grpSpPr>
              <p:sp>
                <p:nvSpPr>
                  <p:cNvPr id="6486" name="Freeform: Shape 6485">
                    <a:extLst>
                      <a:ext uri="{FF2B5EF4-FFF2-40B4-BE49-F238E27FC236}">
                        <a16:creationId xmlns:a16="http://schemas.microsoft.com/office/drawing/2014/main" id="{C72169AA-74A5-1F15-4FD7-1FA0E5685445}"/>
                      </a:ext>
                    </a:extLst>
                  </p:cNvPr>
                  <p:cNvSpPr/>
                  <p:nvPr/>
                </p:nvSpPr>
                <p:spPr>
                  <a:xfrm>
                    <a:off x="696553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87" name="Freeform: Shape 6486">
                    <a:extLst>
                      <a:ext uri="{FF2B5EF4-FFF2-40B4-BE49-F238E27FC236}">
                        <a16:creationId xmlns:a16="http://schemas.microsoft.com/office/drawing/2014/main" id="{4BD0D67D-EB8E-51CE-BF9B-367ED5C2823B}"/>
                      </a:ext>
                    </a:extLst>
                  </p:cNvPr>
                  <p:cNvSpPr/>
                  <p:nvPr/>
                </p:nvSpPr>
                <p:spPr>
                  <a:xfrm>
                    <a:off x="692772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0" name="Graphic 1498">
                  <a:extLst>
                    <a:ext uri="{FF2B5EF4-FFF2-40B4-BE49-F238E27FC236}">
                      <a16:creationId xmlns:a16="http://schemas.microsoft.com/office/drawing/2014/main" id="{7C2E9245-C47F-24BF-3C94-0474B3C6814E}"/>
                    </a:ext>
                  </a:extLst>
                </p:cNvPr>
                <p:cNvGrpSpPr/>
                <p:nvPr/>
              </p:nvGrpSpPr>
              <p:grpSpPr>
                <a:xfrm>
                  <a:off x="6902767" y="3627024"/>
                  <a:ext cx="75628" cy="75628"/>
                  <a:chOff x="6902767" y="3627024"/>
                  <a:chExt cx="75628" cy="75628"/>
                </a:xfrm>
              </p:grpSpPr>
              <p:sp>
                <p:nvSpPr>
                  <p:cNvPr id="6484" name="Freeform: Shape 6483">
                    <a:extLst>
                      <a:ext uri="{FF2B5EF4-FFF2-40B4-BE49-F238E27FC236}">
                        <a16:creationId xmlns:a16="http://schemas.microsoft.com/office/drawing/2014/main" id="{949EB5F3-9FE0-1417-4C0F-498E634D1E47}"/>
                      </a:ext>
                    </a:extLst>
                  </p:cNvPr>
                  <p:cNvSpPr/>
                  <p:nvPr/>
                </p:nvSpPr>
                <p:spPr>
                  <a:xfrm>
                    <a:off x="6940581"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85" name="Freeform: Shape 6484">
                    <a:extLst>
                      <a:ext uri="{FF2B5EF4-FFF2-40B4-BE49-F238E27FC236}">
                        <a16:creationId xmlns:a16="http://schemas.microsoft.com/office/drawing/2014/main" id="{D304F332-DDFE-8D1B-14FB-E0C3BEFE34A9}"/>
                      </a:ext>
                    </a:extLst>
                  </p:cNvPr>
                  <p:cNvSpPr/>
                  <p:nvPr/>
                </p:nvSpPr>
                <p:spPr>
                  <a:xfrm>
                    <a:off x="6902767" y="366483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1" name="Graphic 1498">
                  <a:extLst>
                    <a:ext uri="{FF2B5EF4-FFF2-40B4-BE49-F238E27FC236}">
                      <a16:creationId xmlns:a16="http://schemas.microsoft.com/office/drawing/2014/main" id="{E6A2F12C-28B7-0EFA-83D1-C015AA2BA5AB}"/>
                    </a:ext>
                  </a:extLst>
                </p:cNvPr>
                <p:cNvGrpSpPr/>
                <p:nvPr/>
              </p:nvGrpSpPr>
              <p:grpSpPr>
                <a:xfrm>
                  <a:off x="6878383" y="3627024"/>
                  <a:ext cx="75723" cy="75628"/>
                  <a:chOff x="6878383" y="3627024"/>
                  <a:chExt cx="75723" cy="75628"/>
                </a:xfrm>
              </p:grpSpPr>
              <p:sp>
                <p:nvSpPr>
                  <p:cNvPr id="6482" name="Freeform: Shape 6481">
                    <a:extLst>
                      <a:ext uri="{FF2B5EF4-FFF2-40B4-BE49-F238E27FC236}">
                        <a16:creationId xmlns:a16="http://schemas.microsoft.com/office/drawing/2014/main" id="{DD2B7F5B-C4A1-3A8E-B66E-B368DCE52C71}"/>
                      </a:ext>
                    </a:extLst>
                  </p:cNvPr>
                  <p:cNvSpPr/>
                  <p:nvPr/>
                </p:nvSpPr>
                <p:spPr>
                  <a:xfrm>
                    <a:off x="6916293"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83" name="Freeform: Shape 6482">
                    <a:extLst>
                      <a:ext uri="{FF2B5EF4-FFF2-40B4-BE49-F238E27FC236}">
                        <a16:creationId xmlns:a16="http://schemas.microsoft.com/office/drawing/2014/main" id="{578E2705-CD5D-DD41-96E7-91AD7B8A1A06}"/>
                      </a:ext>
                    </a:extLst>
                  </p:cNvPr>
                  <p:cNvSpPr/>
                  <p:nvPr/>
                </p:nvSpPr>
                <p:spPr>
                  <a:xfrm>
                    <a:off x="6878383"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2" name="Graphic 1498">
                  <a:extLst>
                    <a:ext uri="{FF2B5EF4-FFF2-40B4-BE49-F238E27FC236}">
                      <a16:creationId xmlns:a16="http://schemas.microsoft.com/office/drawing/2014/main" id="{DA6D5EE8-05BC-091E-911F-B5EA81B3D954}"/>
                    </a:ext>
                  </a:extLst>
                </p:cNvPr>
                <p:cNvGrpSpPr/>
                <p:nvPr/>
              </p:nvGrpSpPr>
              <p:grpSpPr>
                <a:xfrm>
                  <a:off x="6864858" y="3627024"/>
                  <a:ext cx="75723" cy="75628"/>
                  <a:chOff x="6864858" y="3627024"/>
                  <a:chExt cx="75723" cy="75628"/>
                </a:xfrm>
              </p:grpSpPr>
              <p:sp>
                <p:nvSpPr>
                  <p:cNvPr id="6480" name="Freeform: Shape 6479">
                    <a:extLst>
                      <a:ext uri="{FF2B5EF4-FFF2-40B4-BE49-F238E27FC236}">
                        <a16:creationId xmlns:a16="http://schemas.microsoft.com/office/drawing/2014/main" id="{6E3B33E9-0392-FF48-30D9-E41CC0A048A7}"/>
                      </a:ext>
                    </a:extLst>
                  </p:cNvPr>
                  <p:cNvSpPr/>
                  <p:nvPr/>
                </p:nvSpPr>
                <p:spPr>
                  <a:xfrm>
                    <a:off x="6902767"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81" name="Freeform: Shape 6480">
                    <a:extLst>
                      <a:ext uri="{FF2B5EF4-FFF2-40B4-BE49-F238E27FC236}">
                        <a16:creationId xmlns:a16="http://schemas.microsoft.com/office/drawing/2014/main" id="{84BCD427-B188-64E4-69F3-F3E996A4D0EC}"/>
                      </a:ext>
                    </a:extLst>
                  </p:cNvPr>
                  <p:cNvSpPr/>
                  <p:nvPr/>
                </p:nvSpPr>
                <p:spPr>
                  <a:xfrm>
                    <a:off x="6864858"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3" name="Graphic 1498">
                  <a:extLst>
                    <a:ext uri="{FF2B5EF4-FFF2-40B4-BE49-F238E27FC236}">
                      <a16:creationId xmlns:a16="http://schemas.microsoft.com/office/drawing/2014/main" id="{21FBE830-3A30-075C-84BA-6AC95602AB62}"/>
                    </a:ext>
                  </a:extLst>
                </p:cNvPr>
                <p:cNvGrpSpPr/>
                <p:nvPr/>
              </p:nvGrpSpPr>
              <p:grpSpPr>
                <a:xfrm>
                  <a:off x="6829710" y="3627024"/>
                  <a:ext cx="75723" cy="75628"/>
                  <a:chOff x="6829710" y="3627024"/>
                  <a:chExt cx="75723" cy="75628"/>
                </a:xfrm>
              </p:grpSpPr>
              <p:sp>
                <p:nvSpPr>
                  <p:cNvPr id="6478" name="Freeform: Shape 6477">
                    <a:extLst>
                      <a:ext uri="{FF2B5EF4-FFF2-40B4-BE49-F238E27FC236}">
                        <a16:creationId xmlns:a16="http://schemas.microsoft.com/office/drawing/2014/main" id="{E5E1125D-5E59-0898-452D-E2AB7CC0C02C}"/>
                      </a:ext>
                    </a:extLst>
                  </p:cNvPr>
                  <p:cNvSpPr/>
                  <p:nvPr/>
                </p:nvSpPr>
                <p:spPr>
                  <a:xfrm>
                    <a:off x="6867620" y="362702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79" name="Freeform: Shape 6478">
                    <a:extLst>
                      <a:ext uri="{FF2B5EF4-FFF2-40B4-BE49-F238E27FC236}">
                        <a16:creationId xmlns:a16="http://schemas.microsoft.com/office/drawing/2014/main" id="{C395CB7D-6173-D071-5C1E-769035B0BC56}"/>
                      </a:ext>
                    </a:extLst>
                  </p:cNvPr>
                  <p:cNvSpPr/>
                  <p:nvPr/>
                </p:nvSpPr>
                <p:spPr>
                  <a:xfrm>
                    <a:off x="6829710" y="366483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4" name="Graphic 1498">
                  <a:extLst>
                    <a:ext uri="{FF2B5EF4-FFF2-40B4-BE49-F238E27FC236}">
                      <a16:creationId xmlns:a16="http://schemas.microsoft.com/office/drawing/2014/main" id="{7E306BCD-F717-C64A-7EDF-A01DEA49F459}"/>
                    </a:ext>
                  </a:extLst>
                </p:cNvPr>
                <p:cNvGrpSpPr/>
                <p:nvPr/>
              </p:nvGrpSpPr>
              <p:grpSpPr>
                <a:xfrm>
                  <a:off x="6642068" y="3582637"/>
                  <a:ext cx="75723" cy="75628"/>
                  <a:chOff x="6642068" y="3582637"/>
                  <a:chExt cx="75723" cy="75628"/>
                </a:xfrm>
              </p:grpSpPr>
              <p:sp>
                <p:nvSpPr>
                  <p:cNvPr id="6476" name="Freeform: Shape 6475">
                    <a:extLst>
                      <a:ext uri="{FF2B5EF4-FFF2-40B4-BE49-F238E27FC236}">
                        <a16:creationId xmlns:a16="http://schemas.microsoft.com/office/drawing/2014/main" id="{8B583857-4455-D3A3-D5AE-C0F157A7D972}"/>
                      </a:ext>
                    </a:extLst>
                  </p:cNvPr>
                  <p:cNvSpPr/>
                  <p:nvPr/>
                </p:nvSpPr>
                <p:spPr>
                  <a:xfrm>
                    <a:off x="6679882"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77" name="Freeform: Shape 6476">
                    <a:extLst>
                      <a:ext uri="{FF2B5EF4-FFF2-40B4-BE49-F238E27FC236}">
                        <a16:creationId xmlns:a16="http://schemas.microsoft.com/office/drawing/2014/main" id="{3B1CC659-86AD-7C66-8DA9-0CF29DDE3223}"/>
                      </a:ext>
                    </a:extLst>
                  </p:cNvPr>
                  <p:cNvSpPr/>
                  <p:nvPr/>
                </p:nvSpPr>
                <p:spPr>
                  <a:xfrm>
                    <a:off x="664206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5" name="Graphic 1498">
                  <a:extLst>
                    <a:ext uri="{FF2B5EF4-FFF2-40B4-BE49-F238E27FC236}">
                      <a16:creationId xmlns:a16="http://schemas.microsoft.com/office/drawing/2014/main" id="{C20D0B87-A3A4-617F-EF0C-4CE01D1D1E05}"/>
                    </a:ext>
                  </a:extLst>
                </p:cNvPr>
                <p:cNvGrpSpPr/>
                <p:nvPr/>
              </p:nvGrpSpPr>
              <p:grpSpPr>
                <a:xfrm>
                  <a:off x="6594538" y="3542347"/>
                  <a:ext cx="75723" cy="75723"/>
                  <a:chOff x="6594538" y="3542347"/>
                  <a:chExt cx="75723" cy="75723"/>
                </a:xfrm>
              </p:grpSpPr>
              <p:sp>
                <p:nvSpPr>
                  <p:cNvPr id="6474" name="Freeform: Shape 6473">
                    <a:extLst>
                      <a:ext uri="{FF2B5EF4-FFF2-40B4-BE49-F238E27FC236}">
                        <a16:creationId xmlns:a16="http://schemas.microsoft.com/office/drawing/2014/main" id="{DB39A584-7208-C2F7-9293-D2F86991C0DD}"/>
                      </a:ext>
                    </a:extLst>
                  </p:cNvPr>
                  <p:cNvSpPr/>
                  <p:nvPr/>
                </p:nvSpPr>
                <p:spPr>
                  <a:xfrm>
                    <a:off x="6632448" y="3542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75" name="Freeform: Shape 6474">
                    <a:extLst>
                      <a:ext uri="{FF2B5EF4-FFF2-40B4-BE49-F238E27FC236}">
                        <a16:creationId xmlns:a16="http://schemas.microsoft.com/office/drawing/2014/main" id="{2FF23938-3402-9990-D4B2-7472B4C5156A}"/>
                      </a:ext>
                    </a:extLst>
                  </p:cNvPr>
                  <p:cNvSpPr/>
                  <p:nvPr/>
                </p:nvSpPr>
                <p:spPr>
                  <a:xfrm>
                    <a:off x="6594538" y="3580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6" name="Graphic 1498">
                  <a:extLst>
                    <a:ext uri="{FF2B5EF4-FFF2-40B4-BE49-F238E27FC236}">
                      <a16:creationId xmlns:a16="http://schemas.microsoft.com/office/drawing/2014/main" id="{9E53FF57-EE6C-D62C-DF73-03220E478F14}"/>
                    </a:ext>
                  </a:extLst>
                </p:cNvPr>
                <p:cNvGrpSpPr/>
                <p:nvPr/>
              </p:nvGrpSpPr>
              <p:grpSpPr>
                <a:xfrm>
                  <a:off x="6538912" y="3506914"/>
                  <a:ext cx="75723" cy="75723"/>
                  <a:chOff x="6538912" y="3506914"/>
                  <a:chExt cx="75723" cy="75723"/>
                </a:xfrm>
              </p:grpSpPr>
              <p:sp>
                <p:nvSpPr>
                  <p:cNvPr id="6472" name="Freeform: Shape 6471">
                    <a:extLst>
                      <a:ext uri="{FF2B5EF4-FFF2-40B4-BE49-F238E27FC236}">
                        <a16:creationId xmlns:a16="http://schemas.microsoft.com/office/drawing/2014/main" id="{235221CC-B7FF-3A10-8281-A0F8E97AAB2C}"/>
                      </a:ext>
                    </a:extLst>
                  </p:cNvPr>
                  <p:cNvSpPr/>
                  <p:nvPr/>
                </p:nvSpPr>
                <p:spPr>
                  <a:xfrm>
                    <a:off x="6576726"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73" name="Freeform: Shape 6472">
                    <a:extLst>
                      <a:ext uri="{FF2B5EF4-FFF2-40B4-BE49-F238E27FC236}">
                        <a16:creationId xmlns:a16="http://schemas.microsoft.com/office/drawing/2014/main" id="{4A06880A-26A5-7F63-E3E1-0E8F794AA251}"/>
                      </a:ext>
                    </a:extLst>
                  </p:cNvPr>
                  <p:cNvSpPr/>
                  <p:nvPr/>
                </p:nvSpPr>
                <p:spPr>
                  <a:xfrm>
                    <a:off x="6538912" y="354472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7" name="Graphic 1498">
                  <a:extLst>
                    <a:ext uri="{FF2B5EF4-FFF2-40B4-BE49-F238E27FC236}">
                      <a16:creationId xmlns:a16="http://schemas.microsoft.com/office/drawing/2014/main" id="{CB864251-8092-94EE-181B-F603EED4314A}"/>
                    </a:ext>
                  </a:extLst>
                </p:cNvPr>
                <p:cNvGrpSpPr/>
                <p:nvPr/>
              </p:nvGrpSpPr>
              <p:grpSpPr>
                <a:xfrm>
                  <a:off x="6524910" y="3506914"/>
                  <a:ext cx="75628" cy="75723"/>
                  <a:chOff x="6524910" y="3506914"/>
                  <a:chExt cx="75628" cy="75723"/>
                </a:xfrm>
              </p:grpSpPr>
              <p:sp>
                <p:nvSpPr>
                  <p:cNvPr id="6470" name="Freeform: Shape 6469">
                    <a:extLst>
                      <a:ext uri="{FF2B5EF4-FFF2-40B4-BE49-F238E27FC236}">
                        <a16:creationId xmlns:a16="http://schemas.microsoft.com/office/drawing/2014/main" id="{EBD7CF25-85B3-5B24-4724-C50C97BFE1EB}"/>
                      </a:ext>
                    </a:extLst>
                  </p:cNvPr>
                  <p:cNvSpPr/>
                  <p:nvPr/>
                </p:nvSpPr>
                <p:spPr>
                  <a:xfrm>
                    <a:off x="6562725" y="35069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71" name="Freeform: Shape 6470">
                    <a:extLst>
                      <a:ext uri="{FF2B5EF4-FFF2-40B4-BE49-F238E27FC236}">
                        <a16:creationId xmlns:a16="http://schemas.microsoft.com/office/drawing/2014/main" id="{28FBF83E-3873-C043-BDFD-AF53A568AC5A}"/>
                      </a:ext>
                    </a:extLst>
                  </p:cNvPr>
                  <p:cNvSpPr/>
                  <p:nvPr/>
                </p:nvSpPr>
                <p:spPr>
                  <a:xfrm>
                    <a:off x="6524910" y="354472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8" name="Graphic 1498">
                  <a:extLst>
                    <a:ext uri="{FF2B5EF4-FFF2-40B4-BE49-F238E27FC236}">
                      <a16:creationId xmlns:a16="http://schemas.microsoft.com/office/drawing/2014/main" id="{136579DE-916E-3AE5-2921-433A415170FD}"/>
                    </a:ext>
                  </a:extLst>
                </p:cNvPr>
                <p:cNvGrpSpPr/>
                <p:nvPr/>
              </p:nvGrpSpPr>
              <p:grpSpPr>
                <a:xfrm>
                  <a:off x="6476428" y="3492340"/>
                  <a:ext cx="75723" cy="75723"/>
                  <a:chOff x="6476428" y="3492340"/>
                  <a:chExt cx="75723" cy="75723"/>
                </a:xfrm>
              </p:grpSpPr>
              <p:sp>
                <p:nvSpPr>
                  <p:cNvPr id="6468" name="Freeform: Shape 6467">
                    <a:extLst>
                      <a:ext uri="{FF2B5EF4-FFF2-40B4-BE49-F238E27FC236}">
                        <a16:creationId xmlns:a16="http://schemas.microsoft.com/office/drawing/2014/main" id="{C875C9B7-B3A3-5135-2F19-06A4C7272224}"/>
                      </a:ext>
                    </a:extLst>
                  </p:cNvPr>
                  <p:cNvSpPr/>
                  <p:nvPr/>
                </p:nvSpPr>
                <p:spPr>
                  <a:xfrm>
                    <a:off x="651424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69" name="Freeform: Shape 6468">
                    <a:extLst>
                      <a:ext uri="{FF2B5EF4-FFF2-40B4-BE49-F238E27FC236}">
                        <a16:creationId xmlns:a16="http://schemas.microsoft.com/office/drawing/2014/main" id="{7B27F0C8-F7E0-8FDE-E6A0-E6DC7FFF74F3}"/>
                      </a:ext>
                    </a:extLst>
                  </p:cNvPr>
                  <p:cNvSpPr/>
                  <p:nvPr/>
                </p:nvSpPr>
                <p:spPr>
                  <a:xfrm>
                    <a:off x="6476428"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09" name="Graphic 1498">
                  <a:extLst>
                    <a:ext uri="{FF2B5EF4-FFF2-40B4-BE49-F238E27FC236}">
                      <a16:creationId xmlns:a16="http://schemas.microsoft.com/office/drawing/2014/main" id="{9531E5CA-7056-2407-3124-6553E3173544}"/>
                    </a:ext>
                  </a:extLst>
                </p:cNvPr>
                <p:cNvGrpSpPr/>
                <p:nvPr/>
              </p:nvGrpSpPr>
              <p:grpSpPr>
                <a:xfrm>
                  <a:off x="6444329" y="3492340"/>
                  <a:ext cx="75628" cy="75723"/>
                  <a:chOff x="6444329" y="3492340"/>
                  <a:chExt cx="75628" cy="75723"/>
                </a:xfrm>
              </p:grpSpPr>
              <p:sp>
                <p:nvSpPr>
                  <p:cNvPr id="6466" name="Freeform: Shape 6465">
                    <a:extLst>
                      <a:ext uri="{FF2B5EF4-FFF2-40B4-BE49-F238E27FC236}">
                        <a16:creationId xmlns:a16="http://schemas.microsoft.com/office/drawing/2014/main" id="{E1E38BF2-7E3A-97EA-E7A2-59E985C32029}"/>
                      </a:ext>
                    </a:extLst>
                  </p:cNvPr>
                  <p:cNvSpPr/>
                  <p:nvPr/>
                </p:nvSpPr>
                <p:spPr>
                  <a:xfrm>
                    <a:off x="648214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67" name="Freeform: Shape 6466">
                    <a:extLst>
                      <a:ext uri="{FF2B5EF4-FFF2-40B4-BE49-F238E27FC236}">
                        <a16:creationId xmlns:a16="http://schemas.microsoft.com/office/drawing/2014/main" id="{A7E21235-4CB5-CEEB-3FD6-5B300552CBDE}"/>
                      </a:ext>
                    </a:extLst>
                  </p:cNvPr>
                  <p:cNvSpPr/>
                  <p:nvPr/>
                </p:nvSpPr>
                <p:spPr>
                  <a:xfrm>
                    <a:off x="6444329" y="35301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0" name="Graphic 1498">
                  <a:extLst>
                    <a:ext uri="{FF2B5EF4-FFF2-40B4-BE49-F238E27FC236}">
                      <a16:creationId xmlns:a16="http://schemas.microsoft.com/office/drawing/2014/main" id="{F2A680BF-848A-958D-063D-D5597E57A65B}"/>
                    </a:ext>
                  </a:extLst>
                </p:cNvPr>
                <p:cNvGrpSpPr/>
                <p:nvPr/>
              </p:nvGrpSpPr>
              <p:grpSpPr>
                <a:xfrm>
                  <a:off x="6431280" y="3492340"/>
                  <a:ext cx="75723" cy="75723"/>
                  <a:chOff x="6431280" y="3492340"/>
                  <a:chExt cx="75723" cy="75723"/>
                </a:xfrm>
              </p:grpSpPr>
              <p:sp>
                <p:nvSpPr>
                  <p:cNvPr id="6464" name="Freeform: Shape 6463">
                    <a:extLst>
                      <a:ext uri="{FF2B5EF4-FFF2-40B4-BE49-F238E27FC236}">
                        <a16:creationId xmlns:a16="http://schemas.microsoft.com/office/drawing/2014/main" id="{F5666198-B63E-7582-091A-29E971DC25B6}"/>
                      </a:ext>
                    </a:extLst>
                  </p:cNvPr>
                  <p:cNvSpPr/>
                  <p:nvPr/>
                </p:nvSpPr>
                <p:spPr>
                  <a:xfrm>
                    <a:off x="6469189"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65" name="Freeform: Shape 6464">
                    <a:extLst>
                      <a:ext uri="{FF2B5EF4-FFF2-40B4-BE49-F238E27FC236}">
                        <a16:creationId xmlns:a16="http://schemas.microsoft.com/office/drawing/2014/main" id="{4280BE24-2D97-EE89-C316-0064EE0B04E5}"/>
                      </a:ext>
                    </a:extLst>
                  </p:cNvPr>
                  <p:cNvSpPr/>
                  <p:nvPr/>
                </p:nvSpPr>
                <p:spPr>
                  <a:xfrm>
                    <a:off x="6431280"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1" name="Graphic 1498">
                  <a:extLst>
                    <a:ext uri="{FF2B5EF4-FFF2-40B4-BE49-F238E27FC236}">
                      <a16:creationId xmlns:a16="http://schemas.microsoft.com/office/drawing/2014/main" id="{F3443502-9D58-29CA-1D3C-985EC83A5A4F}"/>
                    </a:ext>
                  </a:extLst>
                </p:cNvPr>
                <p:cNvGrpSpPr/>
                <p:nvPr/>
              </p:nvGrpSpPr>
              <p:grpSpPr>
                <a:xfrm>
                  <a:off x="6418802" y="3492340"/>
                  <a:ext cx="75628" cy="75723"/>
                  <a:chOff x="6418802" y="3492340"/>
                  <a:chExt cx="75628" cy="75723"/>
                </a:xfrm>
              </p:grpSpPr>
              <p:sp>
                <p:nvSpPr>
                  <p:cNvPr id="6462" name="Freeform: Shape 6461">
                    <a:extLst>
                      <a:ext uri="{FF2B5EF4-FFF2-40B4-BE49-F238E27FC236}">
                        <a16:creationId xmlns:a16="http://schemas.microsoft.com/office/drawing/2014/main" id="{33D6B372-CAC6-EB7E-5DA6-116C2DB851C4}"/>
                      </a:ext>
                    </a:extLst>
                  </p:cNvPr>
                  <p:cNvSpPr/>
                  <p:nvPr/>
                </p:nvSpPr>
                <p:spPr>
                  <a:xfrm>
                    <a:off x="6456616"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63" name="Freeform: Shape 6462">
                    <a:extLst>
                      <a:ext uri="{FF2B5EF4-FFF2-40B4-BE49-F238E27FC236}">
                        <a16:creationId xmlns:a16="http://schemas.microsoft.com/office/drawing/2014/main" id="{E68766EC-0E7E-5381-8822-6CD91B6CC57F}"/>
                      </a:ext>
                    </a:extLst>
                  </p:cNvPr>
                  <p:cNvSpPr/>
                  <p:nvPr/>
                </p:nvSpPr>
                <p:spPr>
                  <a:xfrm>
                    <a:off x="6418802"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2" name="Graphic 1498">
                  <a:extLst>
                    <a:ext uri="{FF2B5EF4-FFF2-40B4-BE49-F238E27FC236}">
                      <a16:creationId xmlns:a16="http://schemas.microsoft.com/office/drawing/2014/main" id="{0ACC433F-F5C7-78C0-246B-1B42FDB3726F}"/>
                    </a:ext>
                  </a:extLst>
                </p:cNvPr>
                <p:cNvGrpSpPr/>
                <p:nvPr/>
              </p:nvGrpSpPr>
              <p:grpSpPr>
                <a:xfrm>
                  <a:off x="6387179" y="3492340"/>
                  <a:ext cx="75723" cy="75723"/>
                  <a:chOff x="6387179" y="3492340"/>
                  <a:chExt cx="75723" cy="75723"/>
                </a:xfrm>
              </p:grpSpPr>
              <p:sp>
                <p:nvSpPr>
                  <p:cNvPr id="6460" name="Freeform: Shape 6459">
                    <a:extLst>
                      <a:ext uri="{FF2B5EF4-FFF2-40B4-BE49-F238E27FC236}">
                        <a16:creationId xmlns:a16="http://schemas.microsoft.com/office/drawing/2014/main" id="{4C740F22-F6DF-A22C-EFD6-93C24A28025D}"/>
                      </a:ext>
                    </a:extLst>
                  </p:cNvPr>
                  <p:cNvSpPr/>
                  <p:nvPr/>
                </p:nvSpPr>
                <p:spPr>
                  <a:xfrm>
                    <a:off x="64249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61" name="Freeform: Shape 6460">
                    <a:extLst>
                      <a:ext uri="{FF2B5EF4-FFF2-40B4-BE49-F238E27FC236}">
                        <a16:creationId xmlns:a16="http://schemas.microsoft.com/office/drawing/2014/main" id="{6DA36A9A-B77A-33A4-9562-D01D56F9AA78}"/>
                      </a:ext>
                    </a:extLst>
                  </p:cNvPr>
                  <p:cNvSpPr/>
                  <p:nvPr/>
                </p:nvSpPr>
                <p:spPr>
                  <a:xfrm>
                    <a:off x="6387179"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3" name="Graphic 1498">
                  <a:extLst>
                    <a:ext uri="{FF2B5EF4-FFF2-40B4-BE49-F238E27FC236}">
                      <a16:creationId xmlns:a16="http://schemas.microsoft.com/office/drawing/2014/main" id="{1F306910-3155-AE13-897F-8A74F20D1B98}"/>
                    </a:ext>
                  </a:extLst>
                </p:cNvPr>
                <p:cNvGrpSpPr/>
                <p:nvPr/>
              </p:nvGrpSpPr>
              <p:grpSpPr>
                <a:xfrm>
                  <a:off x="6344983" y="3492340"/>
                  <a:ext cx="75723" cy="75723"/>
                  <a:chOff x="6344983" y="3492340"/>
                  <a:chExt cx="75723" cy="75723"/>
                </a:xfrm>
              </p:grpSpPr>
              <p:sp>
                <p:nvSpPr>
                  <p:cNvPr id="6458" name="Freeform: Shape 6457">
                    <a:extLst>
                      <a:ext uri="{FF2B5EF4-FFF2-40B4-BE49-F238E27FC236}">
                        <a16:creationId xmlns:a16="http://schemas.microsoft.com/office/drawing/2014/main" id="{E8B7F375-6F8D-3905-78C9-F3706E8961F7}"/>
                      </a:ext>
                    </a:extLst>
                  </p:cNvPr>
                  <p:cNvSpPr/>
                  <p:nvPr/>
                </p:nvSpPr>
                <p:spPr>
                  <a:xfrm>
                    <a:off x="6382893"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59" name="Freeform: Shape 6458">
                    <a:extLst>
                      <a:ext uri="{FF2B5EF4-FFF2-40B4-BE49-F238E27FC236}">
                        <a16:creationId xmlns:a16="http://schemas.microsoft.com/office/drawing/2014/main" id="{240C9D29-0F9B-8CD3-5A93-2FABBA8B562D}"/>
                      </a:ext>
                    </a:extLst>
                  </p:cNvPr>
                  <p:cNvSpPr/>
                  <p:nvPr/>
                </p:nvSpPr>
                <p:spPr>
                  <a:xfrm>
                    <a:off x="6344983"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4" name="Graphic 1498">
                  <a:extLst>
                    <a:ext uri="{FF2B5EF4-FFF2-40B4-BE49-F238E27FC236}">
                      <a16:creationId xmlns:a16="http://schemas.microsoft.com/office/drawing/2014/main" id="{1BF224FA-2CE3-4C59-980E-2CFF91879B24}"/>
                    </a:ext>
                  </a:extLst>
                </p:cNvPr>
                <p:cNvGrpSpPr/>
                <p:nvPr/>
              </p:nvGrpSpPr>
              <p:grpSpPr>
                <a:xfrm>
                  <a:off x="6321742" y="3492340"/>
                  <a:ext cx="75723" cy="75723"/>
                  <a:chOff x="6321742" y="3492340"/>
                  <a:chExt cx="75723" cy="75723"/>
                </a:xfrm>
              </p:grpSpPr>
              <p:sp>
                <p:nvSpPr>
                  <p:cNvPr id="6456" name="Freeform: Shape 6455">
                    <a:extLst>
                      <a:ext uri="{FF2B5EF4-FFF2-40B4-BE49-F238E27FC236}">
                        <a16:creationId xmlns:a16="http://schemas.microsoft.com/office/drawing/2014/main" id="{418574F6-BB92-463C-EF0B-EA7DF841AE11}"/>
                      </a:ext>
                    </a:extLst>
                  </p:cNvPr>
                  <p:cNvSpPr/>
                  <p:nvPr/>
                </p:nvSpPr>
                <p:spPr>
                  <a:xfrm>
                    <a:off x="6359652"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57" name="Freeform: Shape 6456">
                    <a:extLst>
                      <a:ext uri="{FF2B5EF4-FFF2-40B4-BE49-F238E27FC236}">
                        <a16:creationId xmlns:a16="http://schemas.microsoft.com/office/drawing/2014/main" id="{99F929AD-66C2-B612-C06D-C5782E0764A1}"/>
                      </a:ext>
                    </a:extLst>
                  </p:cNvPr>
                  <p:cNvSpPr/>
                  <p:nvPr/>
                </p:nvSpPr>
                <p:spPr>
                  <a:xfrm>
                    <a:off x="6321742" y="35301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5" name="Graphic 1498">
                  <a:extLst>
                    <a:ext uri="{FF2B5EF4-FFF2-40B4-BE49-F238E27FC236}">
                      <a16:creationId xmlns:a16="http://schemas.microsoft.com/office/drawing/2014/main" id="{D9450065-0868-B18C-1CE4-04E637F177A2}"/>
                    </a:ext>
                  </a:extLst>
                </p:cNvPr>
                <p:cNvGrpSpPr/>
                <p:nvPr/>
              </p:nvGrpSpPr>
              <p:grpSpPr>
                <a:xfrm>
                  <a:off x="6296787" y="3492340"/>
                  <a:ext cx="75628" cy="75723"/>
                  <a:chOff x="6296787" y="3492340"/>
                  <a:chExt cx="75628" cy="75723"/>
                </a:xfrm>
              </p:grpSpPr>
              <p:sp>
                <p:nvSpPr>
                  <p:cNvPr id="6454" name="Freeform: Shape 6453">
                    <a:extLst>
                      <a:ext uri="{FF2B5EF4-FFF2-40B4-BE49-F238E27FC236}">
                        <a16:creationId xmlns:a16="http://schemas.microsoft.com/office/drawing/2014/main" id="{2F4106D9-766D-E378-BA1C-94F107284016}"/>
                      </a:ext>
                    </a:extLst>
                  </p:cNvPr>
                  <p:cNvSpPr/>
                  <p:nvPr/>
                </p:nvSpPr>
                <p:spPr>
                  <a:xfrm>
                    <a:off x="6334601" y="34923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55" name="Freeform: Shape 6454">
                    <a:extLst>
                      <a:ext uri="{FF2B5EF4-FFF2-40B4-BE49-F238E27FC236}">
                        <a16:creationId xmlns:a16="http://schemas.microsoft.com/office/drawing/2014/main" id="{7827D5CE-F721-FB7C-338A-75533C513C8E}"/>
                      </a:ext>
                    </a:extLst>
                  </p:cNvPr>
                  <p:cNvSpPr/>
                  <p:nvPr/>
                </p:nvSpPr>
                <p:spPr>
                  <a:xfrm>
                    <a:off x="6296787" y="353015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6" name="Graphic 1498">
                  <a:extLst>
                    <a:ext uri="{FF2B5EF4-FFF2-40B4-BE49-F238E27FC236}">
                      <a16:creationId xmlns:a16="http://schemas.microsoft.com/office/drawing/2014/main" id="{7892CF42-8756-28BE-9F2B-31188A95F11C}"/>
                    </a:ext>
                  </a:extLst>
                </p:cNvPr>
                <p:cNvGrpSpPr/>
                <p:nvPr/>
              </p:nvGrpSpPr>
              <p:grpSpPr>
                <a:xfrm>
                  <a:off x="6237541" y="3476148"/>
                  <a:ext cx="75723" cy="75628"/>
                  <a:chOff x="6237541" y="3476148"/>
                  <a:chExt cx="75723" cy="75628"/>
                </a:xfrm>
              </p:grpSpPr>
              <p:sp>
                <p:nvSpPr>
                  <p:cNvPr id="6452" name="Freeform: Shape 6451">
                    <a:extLst>
                      <a:ext uri="{FF2B5EF4-FFF2-40B4-BE49-F238E27FC236}">
                        <a16:creationId xmlns:a16="http://schemas.microsoft.com/office/drawing/2014/main" id="{BCB0C217-4683-FEF8-B2BC-1F72F065042F}"/>
                      </a:ext>
                    </a:extLst>
                  </p:cNvPr>
                  <p:cNvSpPr/>
                  <p:nvPr/>
                </p:nvSpPr>
                <p:spPr>
                  <a:xfrm>
                    <a:off x="6275451" y="347614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53" name="Freeform: Shape 6452">
                    <a:extLst>
                      <a:ext uri="{FF2B5EF4-FFF2-40B4-BE49-F238E27FC236}">
                        <a16:creationId xmlns:a16="http://schemas.microsoft.com/office/drawing/2014/main" id="{2E85CF7A-DCCD-F26F-7A65-4F9395ECF5B6}"/>
                      </a:ext>
                    </a:extLst>
                  </p:cNvPr>
                  <p:cNvSpPr/>
                  <p:nvPr/>
                </p:nvSpPr>
                <p:spPr>
                  <a:xfrm>
                    <a:off x="6237541" y="351396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7" name="Graphic 1498">
                  <a:extLst>
                    <a:ext uri="{FF2B5EF4-FFF2-40B4-BE49-F238E27FC236}">
                      <a16:creationId xmlns:a16="http://schemas.microsoft.com/office/drawing/2014/main" id="{6327ABB9-BB90-6919-D8F4-FCEEC586E3F6}"/>
                    </a:ext>
                  </a:extLst>
                </p:cNvPr>
                <p:cNvGrpSpPr/>
                <p:nvPr/>
              </p:nvGrpSpPr>
              <p:grpSpPr>
                <a:xfrm>
                  <a:off x="6225444" y="3458050"/>
                  <a:ext cx="75628" cy="75723"/>
                  <a:chOff x="6225444" y="3458050"/>
                  <a:chExt cx="75628" cy="75723"/>
                </a:xfrm>
              </p:grpSpPr>
              <p:sp>
                <p:nvSpPr>
                  <p:cNvPr id="6450" name="Freeform: Shape 6449">
                    <a:extLst>
                      <a:ext uri="{FF2B5EF4-FFF2-40B4-BE49-F238E27FC236}">
                        <a16:creationId xmlns:a16="http://schemas.microsoft.com/office/drawing/2014/main" id="{5F854D83-5F01-56DD-F7DD-7E033395D6EA}"/>
                      </a:ext>
                    </a:extLst>
                  </p:cNvPr>
                  <p:cNvSpPr/>
                  <p:nvPr/>
                </p:nvSpPr>
                <p:spPr>
                  <a:xfrm>
                    <a:off x="6263259"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51" name="Freeform: Shape 6450">
                    <a:extLst>
                      <a:ext uri="{FF2B5EF4-FFF2-40B4-BE49-F238E27FC236}">
                        <a16:creationId xmlns:a16="http://schemas.microsoft.com/office/drawing/2014/main" id="{390EEBC3-CCC0-57FE-3721-4235F5205A75}"/>
                      </a:ext>
                    </a:extLst>
                  </p:cNvPr>
                  <p:cNvSpPr/>
                  <p:nvPr/>
                </p:nvSpPr>
                <p:spPr>
                  <a:xfrm>
                    <a:off x="6225444" y="34959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8" name="Graphic 1498">
                  <a:extLst>
                    <a:ext uri="{FF2B5EF4-FFF2-40B4-BE49-F238E27FC236}">
                      <a16:creationId xmlns:a16="http://schemas.microsoft.com/office/drawing/2014/main" id="{6734724E-55BB-6B19-449B-631A9D44E4EC}"/>
                    </a:ext>
                  </a:extLst>
                </p:cNvPr>
                <p:cNvGrpSpPr/>
                <p:nvPr/>
              </p:nvGrpSpPr>
              <p:grpSpPr>
                <a:xfrm>
                  <a:off x="6073521" y="3458050"/>
                  <a:ext cx="75723" cy="75723"/>
                  <a:chOff x="6073521" y="3458050"/>
                  <a:chExt cx="75723" cy="75723"/>
                </a:xfrm>
              </p:grpSpPr>
              <p:sp>
                <p:nvSpPr>
                  <p:cNvPr id="6448" name="Freeform: Shape 6447">
                    <a:extLst>
                      <a:ext uri="{FF2B5EF4-FFF2-40B4-BE49-F238E27FC236}">
                        <a16:creationId xmlns:a16="http://schemas.microsoft.com/office/drawing/2014/main" id="{03D7B65A-5B4E-28E3-28C3-F193EE45FD74}"/>
                      </a:ext>
                    </a:extLst>
                  </p:cNvPr>
                  <p:cNvSpPr/>
                  <p:nvPr/>
                </p:nvSpPr>
                <p:spPr>
                  <a:xfrm>
                    <a:off x="611133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49" name="Freeform: Shape 6448">
                    <a:extLst>
                      <a:ext uri="{FF2B5EF4-FFF2-40B4-BE49-F238E27FC236}">
                        <a16:creationId xmlns:a16="http://schemas.microsoft.com/office/drawing/2014/main" id="{F38F02AE-2391-16E2-8689-31759F15E2B4}"/>
                      </a:ext>
                    </a:extLst>
                  </p:cNvPr>
                  <p:cNvSpPr/>
                  <p:nvPr/>
                </p:nvSpPr>
                <p:spPr>
                  <a:xfrm>
                    <a:off x="6073521"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19" name="Graphic 1498">
                  <a:extLst>
                    <a:ext uri="{FF2B5EF4-FFF2-40B4-BE49-F238E27FC236}">
                      <a16:creationId xmlns:a16="http://schemas.microsoft.com/office/drawing/2014/main" id="{C1756871-C0FC-505C-B73C-D4597AB8217C}"/>
                    </a:ext>
                  </a:extLst>
                </p:cNvPr>
                <p:cNvGrpSpPr/>
                <p:nvPr/>
              </p:nvGrpSpPr>
              <p:grpSpPr>
                <a:xfrm>
                  <a:off x="5793009" y="3340988"/>
                  <a:ext cx="75723" cy="75628"/>
                  <a:chOff x="5793009" y="3340988"/>
                  <a:chExt cx="75723" cy="75628"/>
                </a:xfrm>
              </p:grpSpPr>
              <p:sp>
                <p:nvSpPr>
                  <p:cNvPr id="6446" name="Freeform: Shape 6445">
                    <a:extLst>
                      <a:ext uri="{FF2B5EF4-FFF2-40B4-BE49-F238E27FC236}">
                        <a16:creationId xmlns:a16="http://schemas.microsoft.com/office/drawing/2014/main" id="{7FAA2EDD-631D-2570-553E-C90A159D37A9}"/>
                      </a:ext>
                    </a:extLst>
                  </p:cNvPr>
                  <p:cNvSpPr/>
                  <p:nvPr/>
                </p:nvSpPr>
                <p:spPr>
                  <a:xfrm>
                    <a:off x="583091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47" name="Freeform: Shape 6446">
                    <a:extLst>
                      <a:ext uri="{FF2B5EF4-FFF2-40B4-BE49-F238E27FC236}">
                        <a16:creationId xmlns:a16="http://schemas.microsoft.com/office/drawing/2014/main" id="{4A168516-DFC2-86AD-39FD-B3FDFBEA29C1}"/>
                      </a:ext>
                    </a:extLst>
                  </p:cNvPr>
                  <p:cNvSpPr/>
                  <p:nvPr/>
                </p:nvSpPr>
                <p:spPr>
                  <a:xfrm>
                    <a:off x="5793009"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0" name="Graphic 1498">
                  <a:extLst>
                    <a:ext uri="{FF2B5EF4-FFF2-40B4-BE49-F238E27FC236}">
                      <a16:creationId xmlns:a16="http://schemas.microsoft.com/office/drawing/2014/main" id="{63645346-FF44-8B2B-1172-1B0D1153A14F}"/>
                    </a:ext>
                  </a:extLst>
                </p:cNvPr>
                <p:cNvGrpSpPr/>
                <p:nvPr/>
              </p:nvGrpSpPr>
              <p:grpSpPr>
                <a:xfrm>
                  <a:off x="5755195" y="3340988"/>
                  <a:ext cx="75723" cy="75628"/>
                  <a:chOff x="5755195" y="3340988"/>
                  <a:chExt cx="75723" cy="75628"/>
                </a:xfrm>
              </p:grpSpPr>
              <p:sp>
                <p:nvSpPr>
                  <p:cNvPr id="6444" name="Freeform: Shape 6443">
                    <a:extLst>
                      <a:ext uri="{FF2B5EF4-FFF2-40B4-BE49-F238E27FC236}">
                        <a16:creationId xmlns:a16="http://schemas.microsoft.com/office/drawing/2014/main" id="{FB8CC6CD-8DE5-4433-2687-2B97A398DAA2}"/>
                      </a:ext>
                    </a:extLst>
                  </p:cNvPr>
                  <p:cNvSpPr/>
                  <p:nvPr/>
                </p:nvSpPr>
                <p:spPr>
                  <a:xfrm>
                    <a:off x="5793009"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45" name="Freeform: Shape 6444">
                    <a:extLst>
                      <a:ext uri="{FF2B5EF4-FFF2-40B4-BE49-F238E27FC236}">
                        <a16:creationId xmlns:a16="http://schemas.microsoft.com/office/drawing/2014/main" id="{C241E88F-9B53-F480-E052-93A525E63E4D}"/>
                      </a:ext>
                    </a:extLst>
                  </p:cNvPr>
                  <p:cNvSpPr/>
                  <p:nvPr/>
                </p:nvSpPr>
                <p:spPr>
                  <a:xfrm>
                    <a:off x="5755195"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1" name="Graphic 1498">
                  <a:extLst>
                    <a:ext uri="{FF2B5EF4-FFF2-40B4-BE49-F238E27FC236}">
                      <a16:creationId xmlns:a16="http://schemas.microsoft.com/office/drawing/2014/main" id="{7720C6D3-711F-C104-D59E-B92C16B1D4C1}"/>
                    </a:ext>
                  </a:extLst>
                </p:cNvPr>
                <p:cNvGrpSpPr/>
                <p:nvPr/>
              </p:nvGrpSpPr>
              <p:grpSpPr>
                <a:xfrm>
                  <a:off x="5738336" y="3340988"/>
                  <a:ext cx="75723" cy="75628"/>
                  <a:chOff x="5738336" y="3340988"/>
                  <a:chExt cx="75723" cy="75628"/>
                </a:xfrm>
              </p:grpSpPr>
              <p:sp>
                <p:nvSpPr>
                  <p:cNvPr id="6442" name="Freeform: Shape 6441">
                    <a:extLst>
                      <a:ext uri="{FF2B5EF4-FFF2-40B4-BE49-F238E27FC236}">
                        <a16:creationId xmlns:a16="http://schemas.microsoft.com/office/drawing/2014/main" id="{56301CAC-2B1A-B74C-9E0F-1AEFF3DA85B4}"/>
                      </a:ext>
                    </a:extLst>
                  </p:cNvPr>
                  <p:cNvSpPr/>
                  <p:nvPr/>
                </p:nvSpPr>
                <p:spPr>
                  <a:xfrm>
                    <a:off x="5776150" y="334098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43" name="Freeform: Shape 6442">
                    <a:extLst>
                      <a:ext uri="{FF2B5EF4-FFF2-40B4-BE49-F238E27FC236}">
                        <a16:creationId xmlns:a16="http://schemas.microsoft.com/office/drawing/2014/main" id="{7C1B4A08-9794-64CA-2A3C-B5FC985D802A}"/>
                      </a:ext>
                    </a:extLst>
                  </p:cNvPr>
                  <p:cNvSpPr/>
                  <p:nvPr/>
                </p:nvSpPr>
                <p:spPr>
                  <a:xfrm>
                    <a:off x="5738336" y="33788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2" name="Graphic 1498">
                  <a:extLst>
                    <a:ext uri="{FF2B5EF4-FFF2-40B4-BE49-F238E27FC236}">
                      <a16:creationId xmlns:a16="http://schemas.microsoft.com/office/drawing/2014/main" id="{3A23DDA4-BCDB-4EAD-C4D1-683A7C820A40}"/>
                    </a:ext>
                  </a:extLst>
                </p:cNvPr>
                <p:cNvGrpSpPr/>
                <p:nvPr/>
              </p:nvGrpSpPr>
              <p:grpSpPr>
                <a:xfrm>
                  <a:off x="5700522" y="3324319"/>
                  <a:ext cx="75628" cy="75723"/>
                  <a:chOff x="5700522" y="3324319"/>
                  <a:chExt cx="75628" cy="75723"/>
                </a:xfrm>
              </p:grpSpPr>
              <p:sp>
                <p:nvSpPr>
                  <p:cNvPr id="6440" name="Freeform: Shape 6439">
                    <a:extLst>
                      <a:ext uri="{FF2B5EF4-FFF2-40B4-BE49-F238E27FC236}">
                        <a16:creationId xmlns:a16="http://schemas.microsoft.com/office/drawing/2014/main" id="{E7387AF4-F0D0-8865-8A17-5197032EC865}"/>
                      </a:ext>
                    </a:extLst>
                  </p:cNvPr>
                  <p:cNvSpPr/>
                  <p:nvPr/>
                </p:nvSpPr>
                <p:spPr>
                  <a:xfrm>
                    <a:off x="5738336"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41" name="Freeform: Shape 6440">
                    <a:extLst>
                      <a:ext uri="{FF2B5EF4-FFF2-40B4-BE49-F238E27FC236}">
                        <a16:creationId xmlns:a16="http://schemas.microsoft.com/office/drawing/2014/main" id="{62ECEEB3-3FEA-534B-8BE9-00720368C916}"/>
                      </a:ext>
                    </a:extLst>
                  </p:cNvPr>
                  <p:cNvSpPr/>
                  <p:nvPr/>
                </p:nvSpPr>
                <p:spPr>
                  <a:xfrm>
                    <a:off x="5700522" y="336213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3" name="Graphic 1498">
                  <a:extLst>
                    <a:ext uri="{FF2B5EF4-FFF2-40B4-BE49-F238E27FC236}">
                      <a16:creationId xmlns:a16="http://schemas.microsoft.com/office/drawing/2014/main" id="{8323174A-3560-535B-4AEC-92DA50C58833}"/>
                    </a:ext>
                  </a:extLst>
                </p:cNvPr>
                <p:cNvGrpSpPr/>
                <p:nvPr/>
              </p:nvGrpSpPr>
              <p:grpSpPr>
                <a:xfrm>
                  <a:off x="5448966" y="3300412"/>
                  <a:ext cx="75628" cy="75723"/>
                  <a:chOff x="5448966" y="3300412"/>
                  <a:chExt cx="75628" cy="75723"/>
                </a:xfrm>
              </p:grpSpPr>
              <p:sp>
                <p:nvSpPr>
                  <p:cNvPr id="6438" name="Freeform: Shape 6437">
                    <a:extLst>
                      <a:ext uri="{FF2B5EF4-FFF2-40B4-BE49-F238E27FC236}">
                        <a16:creationId xmlns:a16="http://schemas.microsoft.com/office/drawing/2014/main" id="{307C0282-6F16-4B6B-CCC2-671D293BB036}"/>
                      </a:ext>
                    </a:extLst>
                  </p:cNvPr>
                  <p:cNvSpPr/>
                  <p:nvPr/>
                </p:nvSpPr>
                <p:spPr>
                  <a:xfrm>
                    <a:off x="5486781"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39" name="Freeform: Shape 6438">
                    <a:extLst>
                      <a:ext uri="{FF2B5EF4-FFF2-40B4-BE49-F238E27FC236}">
                        <a16:creationId xmlns:a16="http://schemas.microsoft.com/office/drawing/2014/main" id="{F68107C4-22B5-BBDF-3C12-26DFBE7B5D40}"/>
                      </a:ext>
                    </a:extLst>
                  </p:cNvPr>
                  <p:cNvSpPr/>
                  <p:nvPr/>
                </p:nvSpPr>
                <p:spPr>
                  <a:xfrm>
                    <a:off x="5448966" y="33382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4" name="Graphic 1498">
                  <a:extLst>
                    <a:ext uri="{FF2B5EF4-FFF2-40B4-BE49-F238E27FC236}">
                      <a16:creationId xmlns:a16="http://schemas.microsoft.com/office/drawing/2014/main" id="{79C2B2D6-D3EC-B3D1-EAC8-166EFD6C2F1C}"/>
                    </a:ext>
                  </a:extLst>
                </p:cNvPr>
                <p:cNvGrpSpPr/>
                <p:nvPr/>
              </p:nvGrpSpPr>
              <p:grpSpPr>
                <a:xfrm>
                  <a:off x="5329904" y="3262597"/>
                  <a:ext cx="75723" cy="75628"/>
                  <a:chOff x="5329904" y="3262597"/>
                  <a:chExt cx="75723" cy="75628"/>
                </a:xfrm>
              </p:grpSpPr>
              <p:sp>
                <p:nvSpPr>
                  <p:cNvPr id="6436" name="Freeform: Shape 6435">
                    <a:extLst>
                      <a:ext uri="{FF2B5EF4-FFF2-40B4-BE49-F238E27FC236}">
                        <a16:creationId xmlns:a16="http://schemas.microsoft.com/office/drawing/2014/main" id="{B074CE79-1BB0-5287-DA5C-D2AA7121D7E3}"/>
                      </a:ext>
                    </a:extLst>
                  </p:cNvPr>
                  <p:cNvSpPr/>
                  <p:nvPr/>
                </p:nvSpPr>
                <p:spPr>
                  <a:xfrm>
                    <a:off x="5367718"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37" name="Freeform: Shape 6436">
                    <a:extLst>
                      <a:ext uri="{FF2B5EF4-FFF2-40B4-BE49-F238E27FC236}">
                        <a16:creationId xmlns:a16="http://schemas.microsoft.com/office/drawing/2014/main" id="{CE1449BC-2EF8-0A5E-F072-6384DC27AFF8}"/>
                      </a:ext>
                    </a:extLst>
                  </p:cNvPr>
                  <p:cNvSpPr/>
                  <p:nvPr/>
                </p:nvSpPr>
                <p:spPr>
                  <a:xfrm>
                    <a:off x="5329904"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5" name="Graphic 1498">
                  <a:extLst>
                    <a:ext uri="{FF2B5EF4-FFF2-40B4-BE49-F238E27FC236}">
                      <a16:creationId xmlns:a16="http://schemas.microsoft.com/office/drawing/2014/main" id="{F3AC4BB6-4649-E73A-194A-634E6B47311B}"/>
                    </a:ext>
                  </a:extLst>
                </p:cNvPr>
                <p:cNvGrpSpPr/>
                <p:nvPr/>
              </p:nvGrpSpPr>
              <p:grpSpPr>
                <a:xfrm>
                  <a:off x="5276659" y="3244976"/>
                  <a:ext cx="75723" cy="75628"/>
                  <a:chOff x="5276659" y="3244976"/>
                  <a:chExt cx="75723" cy="75628"/>
                </a:xfrm>
              </p:grpSpPr>
              <p:sp>
                <p:nvSpPr>
                  <p:cNvPr id="6434" name="Freeform: Shape 6433">
                    <a:extLst>
                      <a:ext uri="{FF2B5EF4-FFF2-40B4-BE49-F238E27FC236}">
                        <a16:creationId xmlns:a16="http://schemas.microsoft.com/office/drawing/2014/main" id="{D5184845-FA19-36E2-E799-16B6F59F9094}"/>
                      </a:ext>
                    </a:extLst>
                  </p:cNvPr>
                  <p:cNvSpPr/>
                  <p:nvPr/>
                </p:nvSpPr>
                <p:spPr>
                  <a:xfrm>
                    <a:off x="5314473" y="32449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35" name="Freeform: Shape 6434">
                    <a:extLst>
                      <a:ext uri="{FF2B5EF4-FFF2-40B4-BE49-F238E27FC236}">
                        <a16:creationId xmlns:a16="http://schemas.microsoft.com/office/drawing/2014/main" id="{29DFC4BC-6E41-26BD-2AB2-D8DE8CA925F0}"/>
                      </a:ext>
                    </a:extLst>
                  </p:cNvPr>
                  <p:cNvSpPr/>
                  <p:nvPr/>
                </p:nvSpPr>
                <p:spPr>
                  <a:xfrm>
                    <a:off x="5276659" y="32827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6" name="Graphic 1498">
                  <a:extLst>
                    <a:ext uri="{FF2B5EF4-FFF2-40B4-BE49-F238E27FC236}">
                      <a16:creationId xmlns:a16="http://schemas.microsoft.com/office/drawing/2014/main" id="{FBC03508-9ED7-B83B-7950-B6BF7410A939}"/>
                    </a:ext>
                  </a:extLst>
                </p:cNvPr>
                <p:cNvGrpSpPr/>
                <p:nvPr/>
              </p:nvGrpSpPr>
              <p:grpSpPr>
                <a:xfrm>
                  <a:off x="5229510" y="3226593"/>
                  <a:ext cx="75628" cy="75723"/>
                  <a:chOff x="5229510" y="3226593"/>
                  <a:chExt cx="75628" cy="75723"/>
                </a:xfrm>
              </p:grpSpPr>
              <p:sp>
                <p:nvSpPr>
                  <p:cNvPr id="6432" name="Freeform: Shape 6431">
                    <a:extLst>
                      <a:ext uri="{FF2B5EF4-FFF2-40B4-BE49-F238E27FC236}">
                        <a16:creationId xmlns:a16="http://schemas.microsoft.com/office/drawing/2014/main" id="{1CBAAEBF-3D9B-7A37-0856-2E40CCA4D9EF}"/>
                      </a:ext>
                    </a:extLst>
                  </p:cNvPr>
                  <p:cNvSpPr/>
                  <p:nvPr/>
                </p:nvSpPr>
                <p:spPr>
                  <a:xfrm>
                    <a:off x="526732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33" name="Freeform: Shape 6432">
                    <a:extLst>
                      <a:ext uri="{FF2B5EF4-FFF2-40B4-BE49-F238E27FC236}">
                        <a16:creationId xmlns:a16="http://schemas.microsoft.com/office/drawing/2014/main" id="{8CBCDF9A-3365-C0C9-0D3A-B23A35B65FA1}"/>
                      </a:ext>
                    </a:extLst>
                  </p:cNvPr>
                  <p:cNvSpPr/>
                  <p:nvPr/>
                </p:nvSpPr>
                <p:spPr>
                  <a:xfrm>
                    <a:off x="5229510" y="32645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7" name="Graphic 1498">
                  <a:extLst>
                    <a:ext uri="{FF2B5EF4-FFF2-40B4-BE49-F238E27FC236}">
                      <a16:creationId xmlns:a16="http://schemas.microsoft.com/office/drawing/2014/main" id="{32E78739-2B2F-2E9A-BE04-BFBA07141EC5}"/>
                    </a:ext>
                  </a:extLst>
                </p:cNvPr>
                <p:cNvGrpSpPr/>
                <p:nvPr/>
              </p:nvGrpSpPr>
              <p:grpSpPr>
                <a:xfrm>
                  <a:off x="5214461" y="3226593"/>
                  <a:ext cx="75628" cy="75723"/>
                  <a:chOff x="5214461" y="3226593"/>
                  <a:chExt cx="75628" cy="75723"/>
                </a:xfrm>
              </p:grpSpPr>
              <p:sp>
                <p:nvSpPr>
                  <p:cNvPr id="6430" name="Freeform: Shape 6429">
                    <a:extLst>
                      <a:ext uri="{FF2B5EF4-FFF2-40B4-BE49-F238E27FC236}">
                        <a16:creationId xmlns:a16="http://schemas.microsoft.com/office/drawing/2014/main" id="{3267FAF7-4FF2-0665-24EF-6523522CC6BE}"/>
                      </a:ext>
                    </a:extLst>
                  </p:cNvPr>
                  <p:cNvSpPr/>
                  <p:nvPr/>
                </p:nvSpPr>
                <p:spPr>
                  <a:xfrm>
                    <a:off x="5252275" y="32265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31" name="Freeform: Shape 6430">
                    <a:extLst>
                      <a:ext uri="{FF2B5EF4-FFF2-40B4-BE49-F238E27FC236}">
                        <a16:creationId xmlns:a16="http://schemas.microsoft.com/office/drawing/2014/main" id="{4FB2F5AB-537F-2141-0B1F-C0648CB50482}"/>
                      </a:ext>
                    </a:extLst>
                  </p:cNvPr>
                  <p:cNvSpPr/>
                  <p:nvPr/>
                </p:nvSpPr>
                <p:spPr>
                  <a:xfrm>
                    <a:off x="5214461" y="32645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8" name="Graphic 1498">
                  <a:extLst>
                    <a:ext uri="{FF2B5EF4-FFF2-40B4-BE49-F238E27FC236}">
                      <a16:creationId xmlns:a16="http://schemas.microsoft.com/office/drawing/2014/main" id="{FC22C7CC-DE84-526E-83A6-9D12C2EB45E1}"/>
                    </a:ext>
                  </a:extLst>
                </p:cNvPr>
                <p:cNvGrpSpPr/>
                <p:nvPr/>
              </p:nvGrpSpPr>
              <p:grpSpPr>
                <a:xfrm>
                  <a:off x="5180171" y="3203923"/>
                  <a:ext cx="75628" cy="75723"/>
                  <a:chOff x="5180171" y="3203923"/>
                  <a:chExt cx="75628" cy="75723"/>
                </a:xfrm>
              </p:grpSpPr>
              <p:sp>
                <p:nvSpPr>
                  <p:cNvPr id="6428" name="Freeform: Shape 6427">
                    <a:extLst>
                      <a:ext uri="{FF2B5EF4-FFF2-40B4-BE49-F238E27FC236}">
                        <a16:creationId xmlns:a16="http://schemas.microsoft.com/office/drawing/2014/main" id="{5554107D-8D8B-DFB2-92B6-1FD1C235E2DD}"/>
                      </a:ext>
                    </a:extLst>
                  </p:cNvPr>
                  <p:cNvSpPr/>
                  <p:nvPr/>
                </p:nvSpPr>
                <p:spPr>
                  <a:xfrm>
                    <a:off x="521798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29" name="Freeform: Shape 6428">
                    <a:extLst>
                      <a:ext uri="{FF2B5EF4-FFF2-40B4-BE49-F238E27FC236}">
                        <a16:creationId xmlns:a16="http://schemas.microsoft.com/office/drawing/2014/main" id="{E6DA0628-2FF6-B5D8-9432-88A1B2636781}"/>
                      </a:ext>
                    </a:extLst>
                  </p:cNvPr>
                  <p:cNvSpPr/>
                  <p:nvPr/>
                </p:nvSpPr>
                <p:spPr>
                  <a:xfrm>
                    <a:off x="518017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29" name="Graphic 1498">
                  <a:extLst>
                    <a:ext uri="{FF2B5EF4-FFF2-40B4-BE49-F238E27FC236}">
                      <a16:creationId xmlns:a16="http://schemas.microsoft.com/office/drawing/2014/main" id="{733C0DD8-2CA8-08FE-51F8-E610D3D8B56E}"/>
                    </a:ext>
                  </a:extLst>
                </p:cNvPr>
                <p:cNvGrpSpPr/>
                <p:nvPr/>
              </p:nvGrpSpPr>
              <p:grpSpPr>
                <a:xfrm>
                  <a:off x="5155501" y="3203923"/>
                  <a:ext cx="75628" cy="75723"/>
                  <a:chOff x="5155501" y="3203923"/>
                  <a:chExt cx="75628" cy="75723"/>
                </a:xfrm>
              </p:grpSpPr>
              <p:sp>
                <p:nvSpPr>
                  <p:cNvPr id="6426" name="Freeform: Shape 6425">
                    <a:extLst>
                      <a:ext uri="{FF2B5EF4-FFF2-40B4-BE49-F238E27FC236}">
                        <a16:creationId xmlns:a16="http://schemas.microsoft.com/office/drawing/2014/main" id="{7C13A3FC-D4A2-AA37-EAEE-2D1F9E6CC264}"/>
                      </a:ext>
                    </a:extLst>
                  </p:cNvPr>
                  <p:cNvSpPr/>
                  <p:nvPr/>
                </p:nvSpPr>
                <p:spPr>
                  <a:xfrm>
                    <a:off x="5193315" y="32039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27" name="Freeform: Shape 6426">
                    <a:extLst>
                      <a:ext uri="{FF2B5EF4-FFF2-40B4-BE49-F238E27FC236}">
                        <a16:creationId xmlns:a16="http://schemas.microsoft.com/office/drawing/2014/main" id="{0FC35171-4F37-5FDD-EDC5-E974617F708B}"/>
                      </a:ext>
                    </a:extLst>
                  </p:cNvPr>
                  <p:cNvSpPr/>
                  <p:nvPr/>
                </p:nvSpPr>
                <p:spPr>
                  <a:xfrm>
                    <a:off x="5155501" y="324183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0" name="Graphic 1498">
                  <a:extLst>
                    <a:ext uri="{FF2B5EF4-FFF2-40B4-BE49-F238E27FC236}">
                      <a16:creationId xmlns:a16="http://schemas.microsoft.com/office/drawing/2014/main" id="{70326825-91D6-1D0C-5E25-0780463BA9B5}"/>
                    </a:ext>
                  </a:extLst>
                </p:cNvPr>
                <p:cNvGrpSpPr/>
                <p:nvPr/>
              </p:nvGrpSpPr>
              <p:grpSpPr>
                <a:xfrm>
                  <a:off x="5131593" y="3192589"/>
                  <a:ext cx="75723" cy="75723"/>
                  <a:chOff x="5131593" y="3192589"/>
                  <a:chExt cx="75723" cy="75723"/>
                </a:xfrm>
              </p:grpSpPr>
              <p:sp>
                <p:nvSpPr>
                  <p:cNvPr id="6424" name="Freeform: Shape 6423">
                    <a:extLst>
                      <a:ext uri="{FF2B5EF4-FFF2-40B4-BE49-F238E27FC236}">
                        <a16:creationId xmlns:a16="http://schemas.microsoft.com/office/drawing/2014/main" id="{6EADD064-B244-38A3-F1C1-8ADD2B3A55FB}"/>
                      </a:ext>
                    </a:extLst>
                  </p:cNvPr>
                  <p:cNvSpPr/>
                  <p:nvPr/>
                </p:nvSpPr>
                <p:spPr>
                  <a:xfrm>
                    <a:off x="5169408" y="319258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25" name="Freeform: Shape 6424">
                    <a:extLst>
                      <a:ext uri="{FF2B5EF4-FFF2-40B4-BE49-F238E27FC236}">
                        <a16:creationId xmlns:a16="http://schemas.microsoft.com/office/drawing/2014/main" id="{0F7A2155-BF3F-6123-0D60-0F5680AF435F}"/>
                      </a:ext>
                    </a:extLst>
                  </p:cNvPr>
                  <p:cNvSpPr/>
                  <p:nvPr/>
                </p:nvSpPr>
                <p:spPr>
                  <a:xfrm>
                    <a:off x="5131593" y="32304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1" name="Graphic 1498">
                  <a:extLst>
                    <a:ext uri="{FF2B5EF4-FFF2-40B4-BE49-F238E27FC236}">
                      <a16:creationId xmlns:a16="http://schemas.microsoft.com/office/drawing/2014/main" id="{E717CF79-F973-02F5-E1EF-B5383483FA39}"/>
                    </a:ext>
                  </a:extLst>
                </p:cNvPr>
                <p:cNvGrpSpPr/>
                <p:nvPr/>
              </p:nvGrpSpPr>
              <p:grpSpPr>
                <a:xfrm>
                  <a:off x="5106638" y="3173158"/>
                  <a:ext cx="75723" cy="75628"/>
                  <a:chOff x="5106638" y="3173158"/>
                  <a:chExt cx="75723" cy="75628"/>
                </a:xfrm>
              </p:grpSpPr>
              <p:sp>
                <p:nvSpPr>
                  <p:cNvPr id="6422" name="Freeform: Shape 6421">
                    <a:extLst>
                      <a:ext uri="{FF2B5EF4-FFF2-40B4-BE49-F238E27FC236}">
                        <a16:creationId xmlns:a16="http://schemas.microsoft.com/office/drawing/2014/main" id="{9C6AA161-9C9B-4369-F18D-7F9BD1B9BF37}"/>
                      </a:ext>
                    </a:extLst>
                  </p:cNvPr>
                  <p:cNvSpPr/>
                  <p:nvPr/>
                </p:nvSpPr>
                <p:spPr>
                  <a:xfrm>
                    <a:off x="5144452"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23" name="Freeform: Shape 6422">
                    <a:extLst>
                      <a:ext uri="{FF2B5EF4-FFF2-40B4-BE49-F238E27FC236}">
                        <a16:creationId xmlns:a16="http://schemas.microsoft.com/office/drawing/2014/main" id="{D342EEDF-EB39-21F3-5DD8-A3BF62A3B12D}"/>
                      </a:ext>
                    </a:extLst>
                  </p:cNvPr>
                  <p:cNvSpPr/>
                  <p:nvPr/>
                </p:nvSpPr>
                <p:spPr>
                  <a:xfrm>
                    <a:off x="5106638"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2" name="Graphic 1498">
                  <a:extLst>
                    <a:ext uri="{FF2B5EF4-FFF2-40B4-BE49-F238E27FC236}">
                      <a16:creationId xmlns:a16="http://schemas.microsoft.com/office/drawing/2014/main" id="{F1DD85D1-B8FC-FEE2-6971-43617E659D76}"/>
                    </a:ext>
                  </a:extLst>
                </p:cNvPr>
                <p:cNvGrpSpPr/>
                <p:nvPr/>
              </p:nvGrpSpPr>
              <p:grpSpPr>
                <a:xfrm>
                  <a:off x="5088159" y="3173158"/>
                  <a:ext cx="75628" cy="75628"/>
                  <a:chOff x="5088159" y="3173158"/>
                  <a:chExt cx="75628" cy="75628"/>
                </a:xfrm>
              </p:grpSpPr>
              <p:sp>
                <p:nvSpPr>
                  <p:cNvPr id="6420" name="Freeform: Shape 6419">
                    <a:extLst>
                      <a:ext uri="{FF2B5EF4-FFF2-40B4-BE49-F238E27FC236}">
                        <a16:creationId xmlns:a16="http://schemas.microsoft.com/office/drawing/2014/main" id="{E45AC952-5B89-18E9-A9DD-DA13DAB9E8AB}"/>
                      </a:ext>
                    </a:extLst>
                  </p:cNvPr>
                  <p:cNvSpPr/>
                  <p:nvPr/>
                </p:nvSpPr>
                <p:spPr>
                  <a:xfrm>
                    <a:off x="5125974"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21" name="Freeform: Shape 6420">
                    <a:extLst>
                      <a:ext uri="{FF2B5EF4-FFF2-40B4-BE49-F238E27FC236}">
                        <a16:creationId xmlns:a16="http://schemas.microsoft.com/office/drawing/2014/main" id="{63C39FD7-B9F0-1BD2-68C6-93CA75CEA6F8}"/>
                      </a:ext>
                    </a:extLst>
                  </p:cNvPr>
                  <p:cNvSpPr/>
                  <p:nvPr/>
                </p:nvSpPr>
                <p:spPr>
                  <a:xfrm>
                    <a:off x="508815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3" name="Graphic 1498">
                  <a:extLst>
                    <a:ext uri="{FF2B5EF4-FFF2-40B4-BE49-F238E27FC236}">
                      <a16:creationId xmlns:a16="http://schemas.microsoft.com/office/drawing/2014/main" id="{163C457C-6739-65C2-E383-410F14F79939}"/>
                    </a:ext>
                  </a:extLst>
                </p:cNvPr>
                <p:cNvGrpSpPr/>
                <p:nvPr/>
              </p:nvGrpSpPr>
              <p:grpSpPr>
                <a:xfrm>
                  <a:off x="5068824" y="3173158"/>
                  <a:ext cx="75628" cy="75628"/>
                  <a:chOff x="5068824" y="3173158"/>
                  <a:chExt cx="75628" cy="75628"/>
                </a:xfrm>
              </p:grpSpPr>
              <p:sp>
                <p:nvSpPr>
                  <p:cNvPr id="6418" name="Freeform: Shape 6417">
                    <a:extLst>
                      <a:ext uri="{FF2B5EF4-FFF2-40B4-BE49-F238E27FC236}">
                        <a16:creationId xmlns:a16="http://schemas.microsoft.com/office/drawing/2014/main" id="{E3A216AE-0F78-0CC0-C6D3-DE36D1EBBD28}"/>
                      </a:ext>
                    </a:extLst>
                  </p:cNvPr>
                  <p:cNvSpPr/>
                  <p:nvPr/>
                </p:nvSpPr>
                <p:spPr>
                  <a:xfrm>
                    <a:off x="5106638"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19" name="Freeform: Shape 6418">
                    <a:extLst>
                      <a:ext uri="{FF2B5EF4-FFF2-40B4-BE49-F238E27FC236}">
                        <a16:creationId xmlns:a16="http://schemas.microsoft.com/office/drawing/2014/main" id="{320058F9-3002-5E7A-3E60-2D8730019043}"/>
                      </a:ext>
                    </a:extLst>
                  </p:cNvPr>
                  <p:cNvSpPr/>
                  <p:nvPr/>
                </p:nvSpPr>
                <p:spPr>
                  <a:xfrm>
                    <a:off x="5068824"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4" name="Graphic 1498">
                  <a:extLst>
                    <a:ext uri="{FF2B5EF4-FFF2-40B4-BE49-F238E27FC236}">
                      <a16:creationId xmlns:a16="http://schemas.microsoft.com/office/drawing/2014/main" id="{ABEACA1A-539B-D1B9-8650-A0608243C04B}"/>
                    </a:ext>
                  </a:extLst>
                </p:cNvPr>
                <p:cNvGrpSpPr/>
                <p:nvPr/>
              </p:nvGrpSpPr>
              <p:grpSpPr>
                <a:xfrm>
                  <a:off x="5050250" y="3173158"/>
                  <a:ext cx="75723" cy="75628"/>
                  <a:chOff x="5050250" y="3173158"/>
                  <a:chExt cx="75723" cy="75628"/>
                </a:xfrm>
              </p:grpSpPr>
              <p:sp>
                <p:nvSpPr>
                  <p:cNvPr id="6416" name="Freeform: Shape 6415">
                    <a:extLst>
                      <a:ext uri="{FF2B5EF4-FFF2-40B4-BE49-F238E27FC236}">
                        <a16:creationId xmlns:a16="http://schemas.microsoft.com/office/drawing/2014/main" id="{E3FDAC4F-D5CE-B00D-BF9D-9607FC568B0F}"/>
                      </a:ext>
                    </a:extLst>
                  </p:cNvPr>
                  <p:cNvSpPr/>
                  <p:nvPr/>
                </p:nvSpPr>
                <p:spPr>
                  <a:xfrm>
                    <a:off x="5088159"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17" name="Freeform: Shape 6416">
                    <a:extLst>
                      <a:ext uri="{FF2B5EF4-FFF2-40B4-BE49-F238E27FC236}">
                        <a16:creationId xmlns:a16="http://schemas.microsoft.com/office/drawing/2014/main" id="{190687DF-02EE-3FB4-05A7-67FBDADD4CB4}"/>
                      </a:ext>
                    </a:extLst>
                  </p:cNvPr>
                  <p:cNvSpPr/>
                  <p:nvPr/>
                </p:nvSpPr>
                <p:spPr>
                  <a:xfrm>
                    <a:off x="5050250" y="321097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5" name="Graphic 1498">
                  <a:extLst>
                    <a:ext uri="{FF2B5EF4-FFF2-40B4-BE49-F238E27FC236}">
                      <a16:creationId xmlns:a16="http://schemas.microsoft.com/office/drawing/2014/main" id="{6E732D9B-8DBA-AD95-3FE5-AAB538E4B94A}"/>
                    </a:ext>
                  </a:extLst>
                </p:cNvPr>
                <p:cNvGrpSpPr/>
                <p:nvPr/>
              </p:nvGrpSpPr>
              <p:grpSpPr>
                <a:xfrm>
                  <a:off x="5036629" y="3173158"/>
                  <a:ext cx="75628" cy="75628"/>
                  <a:chOff x="5036629" y="3173158"/>
                  <a:chExt cx="75628" cy="75628"/>
                </a:xfrm>
              </p:grpSpPr>
              <p:sp>
                <p:nvSpPr>
                  <p:cNvPr id="6414" name="Freeform: Shape 6413">
                    <a:extLst>
                      <a:ext uri="{FF2B5EF4-FFF2-40B4-BE49-F238E27FC236}">
                        <a16:creationId xmlns:a16="http://schemas.microsoft.com/office/drawing/2014/main" id="{31EBC897-B6EB-BFF6-AC05-CF46C69DEFF8}"/>
                      </a:ext>
                    </a:extLst>
                  </p:cNvPr>
                  <p:cNvSpPr/>
                  <p:nvPr/>
                </p:nvSpPr>
                <p:spPr>
                  <a:xfrm>
                    <a:off x="5074443" y="317315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15" name="Freeform: Shape 6414">
                    <a:extLst>
                      <a:ext uri="{FF2B5EF4-FFF2-40B4-BE49-F238E27FC236}">
                        <a16:creationId xmlns:a16="http://schemas.microsoft.com/office/drawing/2014/main" id="{04D0C771-CFB0-D7CB-C974-20D12FDDBEF9}"/>
                      </a:ext>
                    </a:extLst>
                  </p:cNvPr>
                  <p:cNvSpPr/>
                  <p:nvPr/>
                </p:nvSpPr>
                <p:spPr>
                  <a:xfrm>
                    <a:off x="5036629" y="321097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6" name="Graphic 1498">
                  <a:extLst>
                    <a:ext uri="{FF2B5EF4-FFF2-40B4-BE49-F238E27FC236}">
                      <a16:creationId xmlns:a16="http://schemas.microsoft.com/office/drawing/2014/main" id="{70D9847F-A8B3-4115-C287-EFDF737E0B90}"/>
                    </a:ext>
                  </a:extLst>
                </p:cNvPr>
                <p:cNvGrpSpPr/>
                <p:nvPr/>
              </p:nvGrpSpPr>
              <p:grpSpPr>
                <a:xfrm>
                  <a:off x="5005292" y="3147535"/>
                  <a:ext cx="75723" cy="75723"/>
                  <a:chOff x="5005292" y="3147535"/>
                  <a:chExt cx="75723" cy="75723"/>
                </a:xfrm>
              </p:grpSpPr>
              <p:sp>
                <p:nvSpPr>
                  <p:cNvPr id="6412" name="Freeform: Shape 6411">
                    <a:extLst>
                      <a:ext uri="{FF2B5EF4-FFF2-40B4-BE49-F238E27FC236}">
                        <a16:creationId xmlns:a16="http://schemas.microsoft.com/office/drawing/2014/main" id="{BFBE0E6F-5710-5FC2-BC28-490E2D1DAFBD}"/>
                      </a:ext>
                    </a:extLst>
                  </p:cNvPr>
                  <p:cNvSpPr/>
                  <p:nvPr/>
                </p:nvSpPr>
                <p:spPr>
                  <a:xfrm>
                    <a:off x="5043201"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13" name="Freeform: Shape 6412">
                    <a:extLst>
                      <a:ext uri="{FF2B5EF4-FFF2-40B4-BE49-F238E27FC236}">
                        <a16:creationId xmlns:a16="http://schemas.microsoft.com/office/drawing/2014/main" id="{90D55788-B809-02B6-FDAA-6F9A4443644C}"/>
                      </a:ext>
                    </a:extLst>
                  </p:cNvPr>
                  <p:cNvSpPr/>
                  <p:nvPr/>
                </p:nvSpPr>
                <p:spPr>
                  <a:xfrm>
                    <a:off x="5005292"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7" name="Graphic 1498">
                  <a:extLst>
                    <a:ext uri="{FF2B5EF4-FFF2-40B4-BE49-F238E27FC236}">
                      <a16:creationId xmlns:a16="http://schemas.microsoft.com/office/drawing/2014/main" id="{4B3EEED9-4C82-0F0A-DED9-8A98A5052DBC}"/>
                    </a:ext>
                  </a:extLst>
                </p:cNvPr>
                <p:cNvGrpSpPr/>
                <p:nvPr/>
              </p:nvGrpSpPr>
              <p:grpSpPr>
                <a:xfrm>
                  <a:off x="4987194" y="3147535"/>
                  <a:ext cx="75628" cy="75723"/>
                  <a:chOff x="4987194" y="3147535"/>
                  <a:chExt cx="75628" cy="75723"/>
                </a:xfrm>
              </p:grpSpPr>
              <p:sp>
                <p:nvSpPr>
                  <p:cNvPr id="6410" name="Freeform: Shape 6409">
                    <a:extLst>
                      <a:ext uri="{FF2B5EF4-FFF2-40B4-BE49-F238E27FC236}">
                        <a16:creationId xmlns:a16="http://schemas.microsoft.com/office/drawing/2014/main" id="{D3381F42-7D2C-2E40-6B1F-5539C8BC7CEE}"/>
                      </a:ext>
                    </a:extLst>
                  </p:cNvPr>
                  <p:cNvSpPr/>
                  <p:nvPr/>
                </p:nvSpPr>
                <p:spPr>
                  <a:xfrm>
                    <a:off x="5025009"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11" name="Freeform: Shape 6410">
                    <a:extLst>
                      <a:ext uri="{FF2B5EF4-FFF2-40B4-BE49-F238E27FC236}">
                        <a16:creationId xmlns:a16="http://schemas.microsoft.com/office/drawing/2014/main" id="{A56AF8C7-596F-47D4-6DC7-65F569943371}"/>
                      </a:ext>
                    </a:extLst>
                  </p:cNvPr>
                  <p:cNvSpPr/>
                  <p:nvPr/>
                </p:nvSpPr>
                <p:spPr>
                  <a:xfrm>
                    <a:off x="4987194" y="31853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8" name="Graphic 1498">
                  <a:extLst>
                    <a:ext uri="{FF2B5EF4-FFF2-40B4-BE49-F238E27FC236}">
                      <a16:creationId xmlns:a16="http://schemas.microsoft.com/office/drawing/2014/main" id="{0CA7F855-4E84-4E13-C884-1845839FDF72}"/>
                    </a:ext>
                  </a:extLst>
                </p:cNvPr>
                <p:cNvGrpSpPr/>
                <p:nvPr/>
              </p:nvGrpSpPr>
              <p:grpSpPr>
                <a:xfrm>
                  <a:off x="4974621" y="3147535"/>
                  <a:ext cx="75628" cy="75723"/>
                  <a:chOff x="4974621" y="3147535"/>
                  <a:chExt cx="75628" cy="75723"/>
                </a:xfrm>
              </p:grpSpPr>
              <p:sp>
                <p:nvSpPr>
                  <p:cNvPr id="6408" name="Freeform: Shape 6407">
                    <a:extLst>
                      <a:ext uri="{FF2B5EF4-FFF2-40B4-BE49-F238E27FC236}">
                        <a16:creationId xmlns:a16="http://schemas.microsoft.com/office/drawing/2014/main" id="{7DC8D405-396D-DC75-63EC-15153B7787E2}"/>
                      </a:ext>
                    </a:extLst>
                  </p:cNvPr>
                  <p:cNvSpPr/>
                  <p:nvPr/>
                </p:nvSpPr>
                <p:spPr>
                  <a:xfrm>
                    <a:off x="5012436"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09" name="Freeform: Shape 6408">
                    <a:extLst>
                      <a:ext uri="{FF2B5EF4-FFF2-40B4-BE49-F238E27FC236}">
                        <a16:creationId xmlns:a16="http://schemas.microsoft.com/office/drawing/2014/main" id="{C166AD02-A54F-83E5-6B3A-7228CDE22230}"/>
                      </a:ext>
                    </a:extLst>
                  </p:cNvPr>
                  <p:cNvSpPr/>
                  <p:nvPr/>
                </p:nvSpPr>
                <p:spPr>
                  <a:xfrm>
                    <a:off x="4974621" y="31853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39" name="Graphic 1498">
                  <a:extLst>
                    <a:ext uri="{FF2B5EF4-FFF2-40B4-BE49-F238E27FC236}">
                      <a16:creationId xmlns:a16="http://schemas.microsoft.com/office/drawing/2014/main" id="{1939F08C-D790-EC93-E09D-10EB742DE5EB}"/>
                    </a:ext>
                  </a:extLst>
                </p:cNvPr>
                <p:cNvGrpSpPr/>
                <p:nvPr/>
              </p:nvGrpSpPr>
              <p:grpSpPr>
                <a:xfrm>
                  <a:off x="4942998" y="3147535"/>
                  <a:ext cx="75723" cy="75723"/>
                  <a:chOff x="4942998" y="3147535"/>
                  <a:chExt cx="75723" cy="75723"/>
                </a:xfrm>
              </p:grpSpPr>
              <p:sp>
                <p:nvSpPr>
                  <p:cNvPr id="6406" name="Freeform: Shape 6405">
                    <a:extLst>
                      <a:ext uri="{FF2B5EF4-FFF2-40B4-BE49-F238E27FC236}">
                        <a16:creationId xmlns:a16="http://schemas.microsoft.com/office/drawing/2014/main" id="{512FE0B4-C94C-8382-3B96-2BBBD06F9B40}"/>
                      </a:ext>
                    </a:extLst>
                  </p:cNvPr>
                  <p:cNvSpPr/>
                  <p:nvPr/>
                </p:nvSpPr>
                <p:spPr>
                  <a:xfrm>
                    <a:off x="4980908"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07" name="Freeform: Shape 6406">
                    <a:extLst>
                      <a:ext uri="{FF2B5EF4-FFF2-40B4-BE49-F238E27FC236}">
                        <a16:creationId xmlns:a16="http://schemas.microsoft.com/office/drawing/2014/main" id="{C34C7568-5C54-95C8-E3A6-329C824B2204}"/>
                      </a:ext>
                    </a:extLst>
                  </p:cNvPr>
                  <p:cNvSpPr/>
                  <p:nvPr/>
                </p:nvSpPr>
                <p:spPr>
                  <a:xfrm>
                    <a:off x="49429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0" name="Graphic 1498">
                  <a:extLst>
                    <a:ext uri="{FF2B5EF4-FFF2-40B4-BE49-F238E27FC236}">
                      <a16:creationId xmlns:a16="http://schemas.microsoft.com/office/drawing/2014/main" id="{CF651FFE-D7AE-8836-F596-594E153AC336}"/>
                    </a:ext>
                  </a:extLst>
                </p:cNvPr>
                <p:cNvGrpSpPr/>
                <p:nvPr/>
              </p:nvGrpSpPr>
              <p:grpSpPr>
                <a:xfrm>
                  <a:off x="4930425" y="3147535"/>
                  <a:ext cx="75723" cy="75723"/>
                  <a:chOff x="4930425" y="3147535"/>
                  <a:chExt cx="75723" cy="75723"/>
                </a:xfrm>
              </p:grpSpPr>
              <p:sp>
                <p:nvSpPr>
                  <p:cNvPr id="6404" name="Freeform: Shape 6403">
                    <a:extLst>
                      <a:ext uri="{FF2B5EF4-FFF2-40B4-BE49-F238E27FC236}">
                        <a16:creationId xmlns:a16="http://schemas.microsoft.com/office/drawing/2014/main" id="{0A24FE5A-79DB-B515-B4FF-BD51E95BBC5E}"/>
                      </a:ext>
                    </a:extLst>
                  </p:cNvPr>
                  <p:cNvSpPr/>
                  <p:nvPr/>
                </p:nvSpPr>
                <p:spPr>
                  <a:xfrm>
                    <a:off x="496833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05" name="Freeform: Shape 6404">
                    <a:extLst>
                      <a:ext uri="{FF2B5EF4-FFF2-40B4-BE49-F238E27FC236}">
                        <a16:creationId xmlns:a16="http://schemas.microsoft.com/office/drawing/2014/main" id="{79CFC5C0-3A29-075E-23E2-721EDE0811AA}"/>
                      </a:ext>
                    </a:extLst>
                  </p:cNvPr>
                  <p:cNvSpPr/>
                  <p:nvPr/>
                </p:nvSpPr>
                <p:spPr>
                  <a:xfrm>
                    <a:off x="4930425"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1" name="Graphic 1498">
                  <a:extLst>
                    <a:ext uri="{FF2B5EF4-FFF2-40B4-BE49-F238E27FC236}">
                      <a16:creationId xmlns:a16="http://schemas.microsoft.com/office/drawing/2014/main" id="{02A7887E-9B15-EF24-92E1-90B9AD5793A6}"/>
                    </a:ext>
                  </a:extLst>
                </p:cNvPr>
                <p:cNvGrpSpPr/>
                <p:nvPr/>
              </p:nvGrpSpPr>
              <p:grpSpPr>
                <a:xfrm>
                  <a:off x="4911471" y="3147535"/>
                  <a:ext cx="75723" cy="75723"/>
                  <a:chOff x="4911471" y="3147535"/>
                  <a:chExt cx="75723" cy="75723"/>
                </a:xfrm>
              </p:grpSpPr>
              <p:sp>
                <p:nvSpPr>
                  <p:cNvPr id="6402" name="Freeform: Shape 6401">
                    <a:extLst>
                      <a:ext uri="{FF2B5EF4-FFF2-40B4-BE49-F238E27FC236}">
                        <a16:creationId xmlns:a16="http://schemas.microsoft.com/office/drawing/2014/main" id="{770017AE-BB71-16C1-AB2C-C953CCD9B794}"/>
                      </a:ext>
                    </a:extLst>
                  </p:cNvPr>
                  <p:cNvSpPr/>
                  <p:nvPr/>
                </p:nvSpPr>
                <p:spPr>
                  <a:xfrm>
                    <a:off x="4949285"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03" name="Freeform: Shape 6402">
                    <a:extLst>
                      <a:ext uri="{FF2B5EF4-FFF2-40B4-BE49-F238E27FC236}">
                        <a16:creationId xmlns:a16="http://schemas.microsoft.com/office/drawing/2014/main" id="{4A0E4199-D26A-7ADF-A689-FE1A0B3C444F}"/>
                      </a:ext>
                    </a:extLst>
                  </p:cNvPr>
                  <p:cNvSpPr/>
                  <p:nvPr/>
                </p:nvSpPr>
                <p:spPr>
                  <a:xfrm>
                    <a:off x="4911471"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2" name="Graphic 1498">
                  <a:extLst>
                    <a:ext uri="{FF2B5EF4-FFF2-40B4-BE49-F238E27FC236}">
                      <a16:creationId xmlns:a16="http://schemas.microsoft.com/office/drawing/2014/main" id="{01C4C310-FA93-D7B9-B1A0-AB44C46A420C}"/>
                    </a:ext>
                  </a:extLst>
                </p:cNvPr>
                <p:cNvGrpSpPr/>
                <p:nvPr/>
              </p:nvGrpSpPr>
              <p:grpSpPr>
                <a:xfrm>
                  <a:off x="4898898" y="3147535"/>
                  <a:ext cx="75723" cy="75723"/>
                  <a:chOff x="4898898" y="3147535"/>
                  <a:chExt cx="75723" cy="75723"/>
                </a:xfrm>
              </p:grpSpPr>
              <p:sp>
                <p:nvSpPr>
                  <p:cNvPr id="6400" name="Freeform: Shape 6399">
                    <a:extLst>
                      <a:ext uri="{FF2B5EF4-FFF2-40B4-BE49-F238E27FC236}">
                        <a16:creationId xmlns:a16="http://schemas.microsoft.com/office/drawing/2014/main" id="{6D8DFBF9-FF3C-2EA8-8294-B103C3F6100A}"/>
                      </a:ext>
                    </a:extLst>
                  </p:cNvPr>
                  <p:cNvSpPr/>
                  <p:nvPr/>
                </p:nvSpPr>
                <p:spPr>
                  <a:xfrm>
                    <a:off x="4936712" y="314753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401" name="Freeform: Shape 6400">
                    <a:extLst>
                      <a:ext uri="{FF2B5EF4-FFF2-40B4-BE49-F238E27FC236}">
                        <a16:creationId xmlns:a16="http://schemas.microsoft.com/office/drawing/2014/main" id="{CBC25DB0-1751-2C15-2B33-2EC46A263AD5}"/>
                      </a:ext>
                    </a:extLst>
                  </p:cNvPr>
                  <p:cNvSpPr/>
                  <p:nvPr/>
                </p:nvSpPr>
                <p:spPr>
                  <a:xfrm>
                    <a:off x="4898898" y="31853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3" name="Graphic 1498">
                  <a:extLst>
                    <a:ext uri="{FF2B5EF4-FFF2-40B4-BE49-F238E27FC236}">
                      <a16:creationId xmlns:a16="http://schemas.microsoft.com/office/drawing/2014/main" id="{87E05D41-4D27-3AD3-322E-776906E1FDB5}"/>
                    </a:ext>
                  </a:extLst>
                </p:cNvPr>
                <p:cNvGrpSpPr/>
                <p:nvPr/>
              </p:nvGrpSpPr>
              <p:grpSpPr>
                <a:xfrm>
                  <a:off x="4863846" y="3141820"/>
                  <a:ext cx="75723" cy="75628"/>
                  <a:chOff x="4863846" y="3141820"/>
                  <a:chExt cx="75723" cy="75628"/>
                </a:xfrm>
              </p:grpSpPr>
              <p:sp>
                <p:nvSpPr>
                  <p:cNvPr id="6398" name="Freeform: Shape 6397">
                    <a:extLst>
                      <a:ext uri="{FF2B5EF4-FFF2-40B4-BE49-F238E27FC236}">
                        <a16:creationId xmlns:a16="http://schemas.microsoft.com/office/drawing/2014/main" id="{14019D66-2D9D-5358-41F9-18F6B781702E}"/>
                      </a:ext>
                    </a:extLst>
                  </p:cNvPr>
                  <p:cNvSpPr/>
                  <p:nvPr/>
                </p:nvSpPr>
                <p:spPr>
                  <a:xfrm>
                    <a:off x="4901660"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99" name="Freeform: Shape 6398">
                    <a:extLst>
                      <a:ext uri="{FF2B5EF4-FFF2-40B4-BE49-F238E27FC236}">
                        <a16:creationId xmlns:a16="http://schemas.microsoft.com/office/drawing/2014/main" id="{D03BBB99-954B-816B-44A0-AD6E1F5908A9}"/>
                      </a:ext>
                    </a:extLst>
                  </p:cNvPr>
                  <p:cNvSpPr/>
                  <p:nvPr/>
                </p:nvSpPr>
                <p:spPr>
                  <a:xfrm>
                    <a:off x="4863846"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4" name="Graphic 1498">
                  <a:extLst>
                    <a:ext uri="{FF2B5EF4-FFF2-40B4-BE49-F238E27FC236}">
                      <a16:creationId xmlns:a16="http://schemas.microsoft.com/office/drawing/2014/main" id="{04C6AB79-600D-51D7-8FDA-7419625C2D26}"/>
                    </a:ext>
                  </a:extLst>
                </p:cNvPr>
                <p:cNvGrpSpPr/>
                <p:nvPr/>
              </p:nvGrpSpPr>
              <p:grpSpPr>
                <a:xfrm>
                  <a:off x="4838604" y="3141820"/>
                  <a:ext cx="75723" cy="75628"/>
                  <a:chOff x="4838604" y="3141820"/>
                  <a:chExt cx="75723" cy="75628"/>
                </a:xfrm>
              </p:grpSpPr>
              <p:sp>
                <p:nvSpPr>
                  <p:cNvPr id="6396" name="Freeform: Shape 6395">
                    <a:extLst>
                      <a:ext uri="{FF2B5EF4-FFF2-40B4-BE49-F238E27FC236}">
                        <a16:creationId xmlns:a16="http://schemas.microsoft.com/office/drawing/2014/main" id="{87A98646-30EA-8040-6642-E2468534BDA8}"/>
                      </a:ext>
                    </a:extLst>
                  </p:cNvPr>
                  <p:cNvSpPr/>
                  <p:nvPr/>
                </p:nvSpPr>
                <p:spPr>
                  <a:xfrm>
                    <a:off x="4876514" y="314182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97" name="Freeform: Shape 6396">
                    <a:extLst>
                      <a:ext uri="{FF2B5EF4-FFF2-40B4-BE49-F238E27FC236}">
                        <a16:creationId xmlns:a16="http://schemas.microsoft.com/office/drawing/2014/main" id="{B84C12B3-3BFC-7ABE-98E0-0AFEA7301889}"/>
                      </a:ext>
                    </a:extLst>
                  </p:cNvPr>
                  <p:cNvSpPr/>
                  <p:nvPr/>
                </p:nvSpPr>
                <p:spPr>
                  <a:xfrm>
                    <a:off x="4838604" y="31796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5" name="Graphic 1498">
                  <a:extLst>
                    <a:ext uri="{FF2B5EF4-FFF2-40B4-BE49-F238E27FC236}">
                      <a16:creationId xmlns:a16="http://schemas.microsoft.com/office/drawing/2014/main" id="{A13358A0-EA1D-E1B2-8332-8454AA8DDF40}"/>
                    </a:ext>
                  </a:extLst>
                </p:cNvPr>
                <p:cNvGrpSpPr/>
                <p:nvPr/>
              </p:nvGrpSpPr>
              <p:grpSpPr>
                <a:xfrm>
                  <a:off x="4822507" y="3135248"/>
                  <a:ext cx="75628" cy="75723"/>
                  <a:chOff x="4822507" y="3135248"/>
                  <a:chExt cx="75628" cy="75723"/>
                </a:xfrm>
              </p:grpSpPr>
              <p:sp>
                <p:nvSpPr>
                  <p:cNvPr id="6394" name="Freeform: Shape 6393">
                    <a:extLst>
                      <a:ext uri="{FF2B5EF4-FFF2-40B4-BE49-F238E27FC236}">
                        <a16:creationId xmlns:a16="http://schemas.microsoft.com/office/drawing/2014/main" id="{B0DEF844-38AF-FCD7-1BE6-75BD474E9191}"/>
                      </a:ext>
                    </a:extLst>
                  </p:cNvPr>
                  <p:cNvSpPr/>
                  <p:nvPr/>
                </p:nvSpPr>
                <p:spPr>
                  <a:xfrm>
                    <a:off x="4860321" y="313524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95" name="Freeform: Shape 6394">
                    <a:extLst>
                      <a:ext uri="{FF2B5EF4-FFF2-40B4-BE49-F238E27FC236}">
                        <a16:creationId xmlns:a16="http://schemas.microsoft.com/office/drawing/2014/main" id="{5FAF9C6D-CA9F-667C-A545-17436393D26C}"/>
                      </a:ext>
                    </a:extLst>
                  </p:cNvPr>
                  <p:cNvSpPr/>
                  <p:nvPr/>
                </p:nvSpPr>
                <p:spPr>
                  <a:xfrm>
                    <a:off x="4822507" y="317315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6" name="Graphic 1498">
                  <a:extLst>
                    <a:ext uri="{FF2B5EF4-FFF2-40B4-BE49-F238E27FC236}">
                      <a16:creationId xmlns:a16="http://schemas.microsoft.com/office/drawing/2014/main" id="{289B845B-6C99-8F32-2CFF-B8F6072C1E29}"/>
                    </a:ext>
                  </a:extLst>
                </p:cNvPr>
                <p:cNvGrpSpPr/>
                <p:nvPr/>
              </p:nvGrpSpPr>
              <p:grpSpPr>
                <a:xfrm>
                  <a:off x="4713065" y="3101530"/>
                  <a:ext cx="75723" cy="75723"/>
                  <a:chOff x="4713065" y="3101530"/>
                  <a:chExt cx="75723" cy="75723"/>
                </a:xfrm>
              </p:grpSpPr>
              <p:sp>
                <p:nvSpPr>
                  <p:cNvPr id="6392" name="Freeform: Shape 6391">
                    <a:extLst>
                      <a:ext uri="{FF2B5EF4-FFF2-40B4-BE49-F238E27FC236}">
                        <a16:creationId xmlns:a16="http://schemas.microsoft.com/office/drawing/2014/main" id="{3D9A1C83-44C7-9FA5-EC65-D0538BF0DCCB}"/>
                      </a:ext>
                    </a:extLst>
                  </p:cNvPr>
                  <p:cNvSpPr/>
                  <p:nvPr/>
                </p:nvSpPr>
                <p:spPr>
                  <a:xfrm>
                    <a:off x="4750879"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93" name="Freeform: Shape 6392">
                    <a:extLst>
                      <a:ext uri="{FF2B5EF4-FFF2-40B4-BE49-F238E27FC236}">
                        <a16:creationId xmlns:a16="http://schemas.microsoft.com/office/drawing/2014/main" id="{9DD60769-B07D-7967-3C78-019C0CDC6B1C}"/>
                      </a:ext>
                    </a:extLst>
                  </p:cNvPr>
                  <p:cNvSpPr/>
                  <p:nvPr/>
                </p:nvSpPr>
                <p:spPr>
                  <a:xfrm>
                    <a:off x="4713065"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7" name="Graphic 1498">
                  <a:extLst>
                    <a:ext uri="{FF2B5EF4-FFF2-40B4-BE49-F238E27FC236}">
                      <a16:creationId xmlns:a16="http://schemas.microsoft.com/office/drawing/2014/main" id="{CC301438-EE4D-6035-730D-B1240953AC8A}"/>
                    </a:ext>
                  </a:extLst>
                </p:cNvPr>
                <p:cNvGrpSpPr/>
                <p:nvPr/>
              </p:nvGrpSpPr>
              <p:grpSpPr>
                <a:xfrm>
                  <a:off x="4685157" y="3090576"/>
                  <a:ext cx="75628" cy="75723"/>
                  <a:chOff x="4685157" y="3090576"/>
                  <a:chExt cx="75628" cy="75723"/>
                </a:xfrm>
              </p:grpSpPr>
              <p:sp>
                <p:nvSpPr>
                  <p:cNvPr id="6390" name="Freeform: Shape 6389">
                    <a:extLst>
                      <a:ext uri="{FF2B5EF4-FFF2-40B4-BE49-F238E27FC236}">
                        <a16:creationId xmlns:a16="http://schemas.microsoft.com/office/drawing/2014/main" id="{3AF2C845-AD38-2EC3-2BE5-1DA6CA990251}"/>
                      </a:ext>
                    </a:extLst>
                  </p:cNvPr>
                  <p:cNvSpPr/>
                  <p:nvPr/>
                </p:nvSpPr>
                <p:spPr>
                  <a:xfrm>
                    <a:off x="4722971" y="309057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91" name="Freeform: Shape 6390">
                    <a:extLst>
                      <a:ext uri="{FF2B5EF4-FFF2-40B4-BE49-F238E27FC236}">
                        <a16:creationId xmlns:a16="http://schemas.microsoft.com/office/drawing/2014/main" id="{925B4526-35A2-F59C-D56C-31102FFC8822}"/>
                      </a:ext>
                    </a:extLst>
                  </p:cNvPr>
                  <p:cNvSpPr/>
                  <p:nvPr/>
                </p:nvSpPr>
                <p:spPr>
                  <a:xfrm>
                    <a:off x="4685157" y="312839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8" name="Graphic 1498">
                  <a:extLst>
                    <a:ext uri="{FF2B5EF4-FFF2-40B4-BE49-F238E27FC236}">
                      <a16:creationId xmlns:a16="http://schemas.microsoft.com/office/drawing/2014/main" id="{ED2ABD78-A049-CD24-CA0E-B1F1B363791A}"/>
                    </a:ext>
                  </a:extLst>
                </p:cNvPr>
                <p:cNvGrpSpPr/>
                <p:nvPr/>
              </p:nvGrpSpPr>
              <p:grpSpPr>
                <a:xfrm>
                  <a:off x="4659630" y="3078384"/>
                  <a:ext cx="75628" cy="75628"/>
                  <a:chOff x="4659630" y="3078384"/>
                  <a:chExt cx="75628" cy="75628"/>
                </a:xfrm>
              </p:grpSpPr>
              <p:sp>
                <p:nvSpPr>
                  <p:cNvPr id="6388" name="Freeform: Shape 6387">
                    <a:extLst>
                      <a:ext uri="{FF2B5EF4-FFF2-40B4-BE49-F238E27FC236}">
                        <a16:creationId xmlns:a16="http://schemas.microsoft.com/office/drawing/2014/main" id="{792A7A5B-CD80-7C32-13A4-CC17AA1D3BB5}"/>
                      </a:ext>
                    </a:extLst>
                  </p:cNvPr>
                  <p:cNvSpPr/>
                  <p:nvPr/>
                </p:nvSpPr>
                <p:spPr>
                  <a:xfrm>
                    <a:off x="4697444"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89" name="Freeform: Shape 6388">
                    <a:extLst>
                      <a:ext uri="{FF2B5EF4-FFF2-40B4-BE49-F238E27FC236}">
                        <a16:creationId xmlns:a16="http://schemas.microsoft.com/office/drawing/2014/main" id="{906B1732-4D30-932F-28E7-0EDC5993DD4A}"/>
                      </a:ext>
                    </a:extLst>
                  </p:cNvPr>
                  <p:cNvSpPr/>
                  <p:nvPr/>
                </p:nvSpPr>
                <p:spPr>
                  <a:xfrm>
                    <a:off x="4659630" y="311619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49" name="Graphic 1498">
                  <a:extLst>
                    <a:ext uri="{FF2B5EF4-FFF2-40B4-BE49-F238E27FC236}">
                      <a16:creationId xmlns:a16="http://schemas.microsoft.com/office/drawing/2014/main" id="{3C8803D5-AA1D-9D1A-C45E-4BD67CA988AA}"/>
                    </a:ext>
                  </a:extLst>
                </p:cNvPr>
                <p:cNvGrpSpPr/>
                <p:nvPr/>
              </p:nvGrpSpPr>
              <p:grpSpPr>
                <a:xfrm>
                  <a:off x="4647247" y="3078384"/>
                  <a:ext cx="75723" cy="75628"/>
                  <a:chOff x="4647247" y="3078384"/>
                  <a:chExt cx="75723" cy="75628"/>
                </a:xfrm>
              </p:grpSpPr>
              <p:sp>
                <p:nvSpPr>
                  <p:cNvPr id="6386" name="Freeform: Shape 6385">
                    <a:extLst>
                      <a:ext uri="{FF2B5EF4-FFF2-40B4-BE49-F238E27FC236}">
                        <a16:creationId xmlns:a16="http://schemas.microsoft.com/office/drawing/2014/main" id="{E593A400-DA01-0D42-144B-ED6F5D364592}"/>
                      </a:ext>
                    </a:extLst>
                  </p:cNvPr>
                  <p:cNvSpPr/>
                  <p:nvPr/>
                </p:nvSpPr>
                <p:spPr>
                  <a:xfrm>
                    <a:off x="4685157" y="307838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87" name="Freeform: Shape 6386">
                    <a:extLst>
                      <a:ext uri="{FF2B5EF4-FFF2-40B4-BE49-F238E27FC236}">
                        <a16:creationId xmlns:a16="http://schemas.microsoft.com/office/drawing/2014/main" id="{AF90468B-1745-558F-8E09-B91217062464}"/>
                      </a:ext>
                    </a:extLst>
                  </p:cNvPr>
                  <p:cNvSpPr/>
                  <p:nvPr/>
                </p:nvSpPr>
                <p:spPr>
                  <a:xfrm>
                    <a:off x="4647247" y="31161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0" name="Graphic 1498">
                  <a:extLst>
                    <a:ext uri="{FF2B5EF4-FFF2-40B4-BE49-F238E27FC236}">
                      <a16:creationId xmlns:a16="http://schemas.microsoft.com/office/drawing/2014/main" id="{0339D3AF-584F-068F-3C3F-75E6DFC1EBC0}"/>
                    </a:ext>
                  </a:extLst>
                </p:cNvPr>
                <p:cNvGrpSpPr/>
                <p:nvPr/>
              </p:nvGrpSpPr>
              <p:grpSpPr>
                <a:xfrm>
                  <a:off x="4621720" y="3061715"/>
                  <a:ext cx="75723" cy="75723"/>
                  <a:chOff x="4621720" y="3061715"/>
                  <a:chExt cx="75723" cy="75723"/>
                </a:xfrm>
              </p:grpSpPr>
              <p:sp>
                <p:nvSpPr>
                  <p:cNvPr id="6384" name="Freeform: Shape 6383">
                    <a:extLst>
                      <a:ext uri="{FF2B5EF4-FFF2-40B4-BE49-F238E27FC236}">
                        <a16:creationId xmlns:a16="http://schemas.microsoft.com/office/drawing/2014/main" id="{CDA0A915-A500-4506-0937-0772199FB079}"/>
                      </a:ext>
                    </a:extLst>
                  </p:cNvPr>
                  <p:cNvSpPr/>
                  <p:nvPr/>
                </p:nvSpPr>
                <p:spPr>
                  <a:xfrm>
                    <a:off x="4659630" y="30617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85" name="Freeform: Shape 6384">
                    <a:extLst>
                      <a:ext uri="{FF2B5EF4-FFF2-40B4-BE49-F238E27FC236}">
                        <a16:creationId xmlns:a16="http://schemas.microsoft.com/office/drawing/2014/main" id="{C68EE587-8F9A-4E9C-5AD2-1BF72371B4AA}"/>
                      </a:ext>
                    </a:extLst>
                  </p:cNvPr>
                  <p:cNvSpPr/>
                  <p:nvPr/>
                </p:nvSpPr>
                <p:spPr>
                  <a:xfrm>
                    <a:off x="4621720" y="30995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1" name="Graphic 1498">
                  <a:extLst>
                    <a:ext uri="{FF2B5EF4-FFF2-40B4-BE49-F238E27FC236}">
                      <a16:creationId xmlns:a16="http://schemas.microsoft.com/office/drawing/2014/main" id="{E8CA98B0-CD3C-20C0-CEF0-48657BB01E71}"/>
                    </a:ext>
                  </a:extLst>
                </p:cNvPr>
                <p:cNvGrpSpPr/>
                <p:nvPr/>
              </p:nvGrpSpPr>
              <p:grpSpPr>
                <a:xfrm>
                  <a:off x="4580382" y="3023901"/>
                  <a:ext cx="75628" cy="75628"/>
                  <a:chOff x="4580382" y="3023901"/>
                  <a:chExt cx="75628" cy="75628"/>
                </a:xfrm>
              </p:grpSpPr>
              <p:sp>
                <p:nvSpPr>
                  <p:cNvPr id="6382" name="Freeform: Shape 6381">
                    <a:extLst>
                      <a:ext uri="{FF2B5EF4-FFF2-40B4-BE49-F238E27FC236}">
                        <a16:creationId xmlns:a16="http://schemas.microsoft.com/office/drawing/2014/main" id="{BCA305EE-ABB6-5407-43BD-44D03304B7B1}"/>
                      </a:ext>
                    </a:extLst>
                  </p:cNvPr>
                  <p:cNvSpPr/>
                  <p:nvPr/>
                </p:nvSpPr>
                <p:spPr>
                  <a:xfrm>
                    <a:off x="4618196" y="302390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83" name="Freeform: Shape 6382">
                    <a:extLst>
                      <a:ext uri="{FF2B5EF4-FFF2-40B4-BE49-F238E27FC236}">
                        <a16:creationId xmlns:a16="http://schemas.microsoft.com/office/drawing/2014/main" id="{E6B41C5A-7282-841C-C750-3F37D90068E0}"/>
                      </a:ext>
                    </a:extLst>
                  </p:cNvPr>
                  <p:cNvSpPr/>
                  <p:nvPr/>
                </p:nvSpPr>
                <p:spPr>
                  <a:xfrm>
                    <a:off x="4580382" y="306171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2" name="Graphic 1498">
                  <a:extLst>
                    <a:ext uri="{FF2B5EF4-FFF2-40B4-BE49-F238E27FC236}">
                      <a16:creationId xmlns:a16="http://schemas.microsoft.com/office/drawing/2014/main" id="{0D69B4B2-B2D5-0079-9B55-EBFC4FFE08F9}"/>
                    </a:ext>
                  </a:extLst>
                </p:cNvPr>
                <p:cNvGrpSpPr/>
                <p:nvPr/>
              </p:nvGrpSpPr>
              <p:grpSpPr>
                <a:xfrm>
                  <a:off x="4551140" y="3007994"/>
                  <a:ext cx="75723" cy="75723"/>
                  <a:chOff x="4551140" y="3007994"/>
                  <a:chExt cx="75723" cy="75723"/>
                </a:xfrm>
              </p:grpSpPr>
              <p:sp>
                <p:nvSpPr>
                  <p:cNvPr id="6380" name="Freeform: Shape 6379">
                    <a:extLst>
                      <a:ext uri="{FF2B5EF4-FFF2-40B4-BE49-F238E27FC236}">
                        <a16:creationId xmlns:a16="http://schemas.microsoft.com/office/drawing/2014/main" id="{7E802312-7563-C12E-75DD-0CE371D4D8D6}"/>
                      </a:ext>
                    </a:extLst>
                  </p:cNvPr>
                  <p:cNvSpPr/>
                  <p:nvPr/>
                </p:nvSpPr>
                <p:spPr>
                  <a:xfrm>
                    <a:off x="4589049" y="300799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81" name="Freeform: Shape 6380">
                    <a:extLst>
                      <a:ext uri="{FF2B5EF4-FFF2-40B4-BE49-F238E27FC236}">
                        <a16:creationId xmlns:a16="http://schemas.microsoft.com/office/drawing/2014/main" id="{D258D5BF-6B26-4CD5-63B8-A510E77AB8DD}"/>
                      </a:ext>
                    </a:extLst>
                  </p:cNvPr>
                  <p:cNvSpPr/>
                  <p:nvPr/>
                </p:nvSpPr>
                <p:spPr>
                  <a:xfrm>
                    <a:off x="4551140" y="30458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3" name="Graphic 1498">
                  <a:extLst>
                    <a:ext uri="{FF2B5EF4-FFF2-40B4-BE49-F238E27FC236}">
                      <a16:creationId xmlns:a16="http://schemas.microsoft.com/office/drawing/2014/main" id="{994AAED3-AD56-D8BE-E98D-ABC9DA4EA574}"/>
                    </a:ext>
                  </a:extLst>
                </p:cNvPr>
                <p:cNvGrpSpPr/>
                <p:nvPr/>
              </p:nvGrpSpPr>
              <p:grpSpPr>
                <a:xfrm>
                  <a:off x="4535328" y="2999898"/>
                  <a:ext cx="75723" cy="75723"/>
                  <a:chOff x="4535328" y="2999898"/>
                  <a:chExt cx="75723" cy="75723"/>
                </a:xfrm>
              </p:grpSpPr>
              <p:sp>
                <p:nvSpPr>
                  <p:cNvPr id="6378" name="Freeform: Shape 6377">
                    <a:extLst>
                      <a:ext uri="{FF2B5EF4-FFF2-40B4-BE49-F238E27FC236}">
                        <a16:creationId xmlns:a16="http://schemas.microsoft.com/office/drawing/2014/main" id="{A4646966-C8D3-CE50-5AF0-CB0C99E6763E}"/>
                      </a:ext>
                    </a:extLst>
                  </p:cNvPr>
                  <p:cNvSpPr/>
                  <p:nvPr/>
                </p:nvSpPr>
                <p:spPr>
                  <a:xfrm>
                    <a:off x="4573238" y="299989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79" name="Freeform: Shape 6378">
                    <a:extLst>
                      <a:ext uri="{FF2B5EF4-FFF2-40B4-BE49-F238E27FC236}">
                        <a16:creationId xmlns:a16="http://schemas.microsoft.com/office/drawing/2014/main" id="{65D1569E-6020-7675-825D-C79A62949408}"/>
                      </a:ext>
                    </a:extLst>
                  </p:cNvPr>
                  <p:cNvSpPr/>
                  <p:nvPr/>
                </p:nvSpPr>
                <p:spPr>
                  <a:xfrm>
                    <a:off x="4535328" y="30377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4" name="Graphic 1498">
                  <a:extLst>
                    <a:ext uri="{FF2B5EF4-FFF2-40B4-BE49-F238E27FC236}">
                      <a16:creationId xmlns:a16="http://schemas.microsoft.com/office/drawing/2014/main" id="{68F51150-233D-FB7E-7D51-E69D955056E0}"/>
                    </a:ext>
                  </a:extLst>
                </p:cNvPr>
                <p:cNvGrpSpPr/>
                <p:nvPr/>
              </p:nvGrpSpPr>
              <p:grpSpPr>
                <a:xfrm>
                  <a:off x="4504658" y="2977038"/>
                  <a:ext cx="75723" cy="75723"/>
                  <a:chOff x="4504658" y="2977038"/>
                  <a:chExt cx="75723" cy="75723"/>
                </a:xfrm>
              </p:grpSpPr>
              <p:sp>
                <p:nvSpPr>
                  <p:cNvPr id="6376" name="Freeform: Shape 6375">
                    <a:extLst>
                      <a:ext uri="{FF2B5EF4-FFF2-40B4-BE49-F238E27FC236}">
                        <a16:creationId xmlns:a16="http://schemas.microsoft.com/office/drawing/2014/main" id="{6B1E3ACA-D556-6E3A-ECE3-E359A1133862}"/>
                      </a:ext>
                    </a:extLst>
                  </p:cNvPr>
                  <p:cNvSpPr/>
                  <p:nvPr/>
                </p:nvSpPr>
                <p:spPr>
                  <a:xfrm>
                    <a:off x="4542472" y="29770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77" name="Freeform: Shape 6376">
                    <a:extLst>
                      <a:ext uri="{FF2B5EF4-FFF2-40B4-BE49-F238E27FC236}">
                        <a16:creationId xmlns:a16="http://schemas.microsoft.com/office/drawing/2014/main" id="{9D76E945-BC5E-1AF0-5A4E-7DB5297B72B0}"/>
                      </a:ext>
                    </a:extLst>
                  </p:cNvPr>
                  <p:cNvSpPr/>
                  <p:nvPr/>
                </p:nvSpPr>
                <p:spPr>
                  <a:xfrm>
                    <a:off x="4504658" y="30148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5" name="Graphic 1498">
                  <a:extLst>
                    <a:ext uri="{FF2B5EF4-FFF2-40B4-BE49-F238E27FC236}">
                      <a16:creationId xmlns:a16="http://schemas.microsoft.com/office/drawing/2014/main" id="{AEC8741D-04CE-8D2A-4F64-8096A51EC9DE}"/>
                    </a:ext>
                  </a:extLst>
                </p:cNvPr>
                <p:cNvGrpSpPr/>
                <p:nvPr/>
              </p:nvGrpSpPr>
              <p:grpSpPr>
                <a:xfrm>
                  <a:off x="4469034" y="2970180"/>
                  <a:ext cx="75723" cy="75628"/>
                  <a:chOff x="4469034" y="2970180"/>
                  <a:chExt cx="75723" cy="75628"/>
                </a:xfrm>
              </p:grpSpPr>
              <p:sp>
                <p:nvSpPr>
                  <p:cNvPr id="6374" name="Freeform: Shape 6373">
                    <a:extLst>
                      <a:ext uri="{FF2B5EF4-FFF2-40B4-BE49-F238E27FC236}">
                        <a16:creationId xmlns:a16="http://schemas.microsoft.com/office/drawing/2014/main" id="{05270707-2814-74B2-F614-89518D8EED85}"/>
                      </a:ext>
                    </a:extLst>
                  </p:cNvPr>
                  <p:cNvSpPr/>
                  <p:nvPr/>
                </p:nvSpPr>
                <p:spPr>
                  <a:xfrm>
                    <a:off x="450694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75" name="Freeform: Shape 6374">
                    <a:extLst>
                      <a:ext uri="{FF2B5EF4-FFF2-40B4-BE49-F238E27FC236}">
                        <a16:creationId xmlns:a16="http://schemas.microsoft.com/office/drawing/2014/main" id="{16702058-70C1-2F66-71F8-2B169C904F4A}"/>
                      </a:ext>
                    </a:extLst>
                  </p:cNvPr>
                  <p:cNvSpPr/>
                  <p:nvPr/>
                </p:nvSpPr>
                <p:spPr>
                  <a:xfrm>
                    <a:off x="4469034"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6" name="Graphic 1498">
                  <a:extLst>
                    <a:ext uri="{FF2B5EF4-FFF2-40B4-BE49-F238E27FC236}">
                      <a16:creationId xmlns:a16="http://schemas.microsoft.com/office/drawing/2014/main" id="{A99F2230-3313-FB38-B276-AFE0A438884F}"/>
                    </a:ext>
                  </a:extLst>
                </p:cNvPr>
                <p:cNvGrpSpPr/>
                <p:nvPr/>
              </p:nvGrpSpPr>
              <p:grpSpPr>
                <a:xfrm>
                  <a:off x="4452937" y="2970180"/>
                  <a:ext cx="75723" cy="75628"/>
                  <a:chOff x="4452937" y="2970180"/>
                  <a:chExt cx="75723" cy="75628"/>
                </a:xfrm>
              </p:grpSpPr>
              <p:sp>
                <p:nvSpPr>
                  <p:cNvPr id="6372" name="Freeform: Shape 6371">
                    <a:extLst>
                      <a:ext uri="{FF2B5EF4-FFF2-40B4-BE49-F238E27FC236}">
                        <a16:creationId xmlns:a16="http://schemas.microsoft.com/office/drawing/2014/main" id="{DFE92D85-6B82-A09D-892F-77108EA48D41}"/>
                      </a:ext>
                    </a:extLst>
                  </p:cNvPr>
                  <p:cNvSpPr/>
                  <p:nvPr/>
                </p:nvSpPr>
                <p:spPr>
                  <a:xfrm>
                    <a:off x="4490751"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73" name="Freeform: Shape 6372">
                    <a:extLst>
                      <a:ext uri="{FF2B5EF4-FFF2-40B4-BE49-F238E27FC236}">
                        <a16:creationId xmlns:a16="http://schemas.microsoft.com/office/drawing/2014/main" id="{37FE343B-7923-044E-3940-93E15FF82BE0}"/>
                      </a:ext>
                    </a:extLst>
                  </p:cNvPr>
                  <p:cNvSpPr/>
                  <p:nvPr/>
                </p:nvSpPr>
                <p:spPr>
                  <a:xfrm>
                    <a:off x="4452937"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7" name="Graphic 1498">
                  <a:extLst>
                    <a:ext uri="{FF2B5EF4-FFF2-40B4-BE49-F238E27FC236}">
                      <a16:creationId xmlns:a16="http://schemas.microsoft.com/office/drawing/2014/main" id="{D77B3A93-018E-C8BA-7120-57DF863B9E84}"/>
                    </a:ext>
                  </a:extLst>
                </p:cNvPr>
                <p:cNvGrpSpPr/>
                <p:nvPr/>
              </p:nvGrpSpPr>
              <p:grpSpPr>
                <a:xfrm>
                  <a:off x="4425410" y="2970180"/>
                  <a:ext cx="75628" cy="75628"/>
                  <a:chOff x="4425410" y="2970180"/>
                  <a:chExt cx="75628" cy="75628"/>
                </a:xfrm>
              </p:grpSpPr>
              <p:sp>
                <p:nvSpPr>
                  <p:cNvPr id="6370" name="Freeform: Shape 6369">
                    <a:extLst>
                      <a:ext uri="{FF2B5EF4-FFF2-40B4-BE49-F238E27FC236}">
                        <a16:creationId xmlns:a16="http://schemas.microsoft.com/office/drawing/2014/main" id="{708BB2BB-5B7C-9322-8611-E58D9A23FEBA}"/>
                      </a:ext>
                    </a:extLst>
                  </p:cNvPr>
                  <p:cNvSpPr/>
                  <p:nvPr/>
                </p:nvSpPr>
                <p:spPr>
                  <a:xfrm>
                    <a:off x="4463224"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71" name="Freeform: Shape 6370">
                    <a:extLst>
                      <a:ext uri="{FF2B5EF4-FFF2-40B4-BE49-F238E27FC236}">
                        <a16:creationId xmlns:a16="http://schemas.microsoft.com/office/drawing/2014/main" id="{E1B874EF-BEE6-67E4-3894-B853E6E2EAAC}"/>
                      </a:ext>
                    </a:extLst>
                  </p:cNvPr>
                  <p:cNvSpPr/>
                  <p:nvPr/>
                </p:nvSpPr>
                <p:spPr>
                  <a:xfrm>
                    <a:off x="4425410" y="30079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8" name="Graphic 1498">
                  <a:extLst>
                    <a:ext uri="{FF2B5EF4-FFF2-40B4-BE49-F238E27FC236}">
                      <a16:creationId xmlns:a16="http://schemas.microsoft.com/office/drawing/2014/main" id="{F77E77F1-C8D6-21CD-C1FB-F79A0F424156}"/>
                    </a:ext>
                  </a:extLst>
                </p:cNvPr>
                <p:cNvGrpSpPr/>
                <p:nvPr/>
              </p:nvGrpSpPr>
              <p:grpSpPr>
                <a:xfrm>
                  <a:off x="4383976" y="2970180"/>
                  <a:ext cx="75723" cy="75628"/>
                  <a:chOff x="4383976" y="2970180"/>
                  <a:chExt cx="75723" cy="75628"/>
                </a:xfrm>
              </p:grpSpPr>
              <p:sp>
                <p:nvSpPr>
                  <p:cNvPr id="6368" name="Freeform: Shape 6367">
                    <a:extLst>
                      <a:ext uri="{FF2B5EF4-FFF2-40B4-BE49-F238E27FC236}">
                        <a16:creationId xmlns:a16="http://schemas.microsoft.com/office/drawing/2014/main" id="{8ED224B1-76A4-9FE5-2AAA-8FC8FFB540F6}"/>
                      </a:ext>
                    </a:extLst>
                  </p:cNvPr>
                  <p:cNvSpPr/>
                  <p:nvPr/>
                </p:nvSpPr>
                <p:spPr>
                  <a:xfrm>
                    <a:off x="4421790" y="297018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69" name="Freeform: Shape 6368">
                    <a:extLst>
                      <a:ext uri="{FF2B5EF4-FFF2-40B4-BE49-F238E27FC236}">
                        <a16:creationId xmlns:a16="http://schemas.microsoft.com/office/drawing/2014/main" id="{917E506F-1E30-DD3D-3A88-456F2D12C99F}"/>
                      </a:ext>
                    </a:extLst>
                  </p:cNvPr>
                  <p:cNvSpPr/>
                  <p:nvPr/>
                </p:nvSpPr>
                <p:spPr>
                  <a:xfrm>
                    <a:off x="4383976" y="30079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59" name="Graphic 1498">
                  <a:extLst>
                    <a:ext uri="{FF2B5EF4-FFF2-40B4-BE49-F238E27FC236}">
                      <a16:creationId xmlns:a16="http://schemas.microsoft.com/office/drawing/2014/main" id="{B79A6647-66DD-E17B-EE9F-C49C944B6D1F}"/>
                    </a:ext>
                  </a:extLst>
                </p:cNvPr>
                <p:cNvGrpSpPr/>
                <p:nvPr/>
              </p:nvGrpSpPr>
              <p:grpSpPr>
                <a:xfrm>
                  <a:off x="4353115" y="2926936"/>
                  <a:ext cx="75628" cy="75723"/>
                  <a:chOff x="4353115" y="2926936"/>
                  <a:chExt cx="75628" cy="75723"/>
                </a:xfrm>
              </p:grpSpPr>
              <p:sp>
                <p:nvSpPr>
                  <p:cNvPr id="6366" name="Freeform: Shape 6365">
                    <a:extLst>
                      <a:ext uri="{FF2B5EF4-FFF2-40B4-BE49-F238E27FC236}">
                        <a16:creationId xmlns:a16="http://schemas.microsoft.com/office/drawing/2014/main" id="{203A09DE-D30C-C401-C942-022E6248FABC}"/>
                      </a:ext>
                    </a:extLst>
                  </p:cNvPr>
                  <p:cNvSpPr/>
                  <p:nvPr/>
                </p:nvSpPr>
                <p:spPr>
                  <a:xfrm>
                    <a:off x="4390929"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67" name="Freeform: Shape 6366">
                    <a:extLst>
                      <a:ext uri="{FF2B5EF4-FFF2-40B4-BE49-F238E27FC236}">
                        <a16:creationId xmlns:a16="http://schemas.microsoft.com/office/drawing/2014/main" id="{7FC9ACE5-E84C-338D-7608-61CB491C07CF}"/>
                      </a:ext>
                    </a:extLst>
                  </p:cNvPr>
                  <p:cNvSpPr/>
                  <p:nvPr/>
                </p:nvSpPr>
                <p:spPr>
                  <a:xfrm>
                    <a:off x="4353115" y="29648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0" name="Graphic 1498">
                  <a:extLst>
                    <a:ext uri="{FF2B5EF4-FFF2-40B4-BE49-F238E27FC236}">
                      <a16:creationId xmlns:a16="http://schemas.microsoft.com/office/drawing/2014/main" id="{DFE4F8D9-14C3-9B6B-5BC6-E9A7B07C0C44}"/>
                    </a:ext>
                  </a:extLst>
                </p:cNvPr>
                <p:cNvGrpSpPr/>
                <p:nvPr/>
              </p:nvGrpSpPr>
              <p:grpSpPr>
                <a:xfrm>
                  <a:off x="4335399" y="2926936"/>
                  <a:ext cx="75723" cy="75723"/>
                  <a:chOff x="4335399" y="2926936"/>
                  <a:chExt cx="75723" cy="75723"/>
                </a:xfrm>
              </p:grpSpPr>
              <p:sp>
                <p:nvSpPr>
                  <p:cNvPr id="6364" name="Freeform: Shape 6363">
                    <a:extLst>
                      <a:ext uri="{FF2B5EF4-FFF2-40B4-BE49-F238E27FC236}">
                        <a16:creationId xmlns:a16="http://schemas.microsoft.com/office/drawing/2014/main" id="{9AB911D8-1759-7F3C-8495-124E8C13674A}"/>
                      </a:ext>
                    </a:extLst>
                  </p:cNvPr>
                  <p:cNvSpPr/>
                  <p:nvPr/>
                </p:nvSpPr>
                <p:spPr>
                  <a:xfrm>
                    <a:off x="4373213"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65" name="Freeform: Shape 6364">
                    <a:extLst>
                      <a:ext uri="{FF2B5EF4-FFF2-40B4-BE49-F238E27FC236}">
                        <a16:creationId xmlns:a16="http://schemas.microsoft.com/office/drawing/2014/main" id="{DD6F2823-67E0-F063-4E74-7DC3318C9C99}"/>
                      </a:ext>
                    </a:extLst>
                  </p:cNvPr>
                  <p:cNvSpPr/>
                  <p:nvPr/>
                </p:nvSpPr>
                <p:spPr>
                  <a:xfrm>
                    <a:off x="4335399"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1" name="Graphic 1498">
                  <a:extLst>
                    <a:ext uri="{FF2B5EF4-FFF2-40B4-BE49-F238E27FC236}">
                      <a16:creationId xmlns:a16="http://schemas.microsoft.com/office/drawing/2014/main" id="{106755BA-E754-69F6-217E-902FA01698BE}"/>
                    </a:ext>
                  </a:extLst>
                </p:cNvPr>
                <p:cNvGrpSpPr/>
                <p:nvPr/>
              </p:nvGrpSpPr>
              <p:grpSpPr>
                <a:xfrm>
                  <a:off x="4307395" y="2926936"/>
                  <a:ext cx="75723" cy="75723"/>
                  <a:chOff x="4307395" y="2926936"/>
                  <a:chExt cx="75723" cy="75723"/>
                </a:xfrm>
              </p:grpSpPr>
              <p:sp>
                <p:nvSpPr>
                  <p:cNvPr id="6362" name="Freeform: Shape 6361">
                    <a:extLst>
                      <a:ext uri="{FF2B5EF4-FFF2-40B4-BE49-F238E27FC236}">
                        <a16:creationId xmlns:a16="http://schemas.microsoft.com/office/drawing/2014/main" id="{566F0719-172A-BF88-CAF3-A8B103CAB037}"/>
                      </a:ext>
                    </a:extLst>
                  </p:cNvPr>
                  <p:cNvSpPr/>
                  <p:nvPr/>
                </p:nvSpPr>
                <p:spPr>
                  <a:xfrm>
                    <a:off x="4345305" y="292693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63" name="Freeform: Shape 6362">
                    <a:extLst>
                      <a:ext uri="{FF2B5EF4-FFF2-40B4-BE49-F238E27FC236}">
                        <a16:creationId xmlns:a16="http://schemas.microsoft.com/office/drawing/2014/main" id="{3FCBA33E-F6C8-909D-DE0A-4C4DDDD32EF2}"/>
                      </a:ext>
                    </a:extLst>
                  </p:cNvPr>
                  <p:cNvSpPr/>
                  <p:nvPr/>
                </p:nvSpPr>
                <p:spPr>
                  <a:xfrm>
                    <a:off x="4307395" y="29648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2" name="Graphic 1498">
                  <a:extLst>
                    <a:ext uri="{FF2B5EF4-FFF2-40B4-BE49-F238E27FC236}">
                      <a16:creationId xmlns:a16="http://schemas.microsoft.com/office/drawing/2014/main" id="{4442667D-F03F-76FF-88E2-425F648CC8F2}"/>
                    </a:ext>
                  </a:extLst>
                </p:cNvPr>
                <p:cNvGrpSpPr/>
                <p:nvPr/>
              </p:nvGrpSpPr>
              <p:grpSpPr>
                <a:xfrm>
                  <a:off x="4259675" y="2912077"/>
                  <a:ext cx="75723" cy="75628"/>
                  <a:chOff x="4259675" y="2912077"/>
                  <a:chExt cx="75723" cy="75628"/>
                </a:xfrm>
              </p:grpSpPr>
              <p:sp>
                <p:nvSpPr>
                  <p:cNvPr id="6360" name="Freeform: Shape 6359">
                    <a:extLst>
                      <a:ext uri="{FF2B5EF4-FFF2-40B4-BE49-F238E27FC236}">
                        <a16:creationId xmlns:a16="http://schemas.microsoft.com/office/drawing/2014/main" id="{A85CDA72-1B4C-A7FA-6DD5-965DD25F82D4}"/>
                      </a:ext>
                    </a:extLst>
                  </p:cNvPr>
                  <p:cNvSpPr/>
                  <p:nvPr/>
                </p:nvSpPr>
                <p:spPr>
                  <a:xfrm>
                    <a:off x="4297584"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61" name="Freeform: Shape 6360">
                    <a:extLst>
                      <a:ext uri="{FF2B5EF4-FFF2-40B4-BE49-F238E27FC236}">
                        <a16:creationId xmlns:a16="http://schemas.microsoft.com/office/drawing/2014/main" id="{2B1F5D9C-D414-2E6E-92E2-0E82D87EA3EA}"/>
                      </a:ext>
                    </a:extLst>
                  </p:cNvPr>
                  <p:cNvSpPr/>
                  <p:nvPr/>
                </p:nvSpPr>
                <p:spPr>
                  <a:xfrm>
                    <a:off x="4259675"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3" name="Graphic 1498">
                  <a:extLst>
                    <a:ext uri="{FF2B5EF4-FFF2-40B4-BE49-F238E27FC236}">
                      <a16:creationId xmlns:a16="http://schemas.microsoft.com/office/drawing/2014/main" id="{C42E2932-A07E-50B2-1FDB-82BB1D95F1FD}"/>
                    </a:ext>
                  </a:extLst>
                </p:cNvPr>
                <p:cNvGrpSpPr/>
                <p:nvPr/>
              </p:nvGrpSpPr>
              <p:grpSpPr>
                <a:xfrm>
                  <a:off x="4238053" y="2912077"/>
                  <a:ext cx="75723" cy="75628"/>
                  <a:chOff x="4238053" y="2912077"/>
                  <a:chExt cx="75723" cy="75628"/>
                </a:xfrm>
              </p:grpSpPr>
              <p:sp>
                <p:nvSpPr>
                  <p:cNvPr id="6358" name="Freeform: Shape 6357">
                    <a:extLst>
                      <a:ext uri="{FF2B5EF4-FFF2-40B4-BE49-F238E27FC236}">
                        <a16:creationId xmlns:a16="http://schemas.microsoft.com/office/drawing/2014/main" id="{8C589246-A644-28E4-55C3-55AF05F8ABCB}"/>
                      </a:ext>
                    </a:extLst>
                  </p:cNvPr>
                  <p:cNvSpPr/>
                  <p:nvPr/>
                </p:nvSpPr>
                <p:spPr>
                  <a:xfrm>
                    <a:off x="4275867"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59" name="Freeform: Shape 6358">
                    <a:extLst>
                      <a:ext uri="{FF2B5EF4-FFF2-40B4-BE49-F238E27FC236}">
                        <a16:creationId xmlns:a16="http://schemas.microsoft.com/office/drawing/2014/main" id="{7A535450-DA48-0CD0-05C0-5544B6E3FB2A}"/>
                      </a:ext>
                    </a:extLst>
                  </p:cNvPr>
                  <p:cNvSpPr/>
                  <p:nvPr/>
                </p:nvSpPr>
                <p:spPr>
                  <a:xfrm>
                    <a:off x="4238053"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4" name="Graphic 1498">
                  <a:extLst>
                    <a:ext uri="{FF2B5EF4-FFF2-40B4-BE49-F238E27FC236}">
                      <a16:creationId xmlns:a16="http://schemas.microsoft.com/office/drawing/2014/main" id="{A4066900-C514-B006-4F82-1B20E50974D1}"/>
                    </a:ext>
                  </a:extLst>
                </p:cNvPr>
                <p:cNvGrpSpPr/>
                <p:nvPr/>
              </p:nvGrpSpPr>
              <p:grpSpPr>
                <a:xfrm>
                  <a:off x="4209478" y="2912077"/>
                  <a:ext cx="75723" cy="75628"/>
                  <a:chOff x="4209478" y="2912077"/>
                  <a:chExt cx="75723" cy="75628"/>
                </a:xfrm>
              </p:grpSpPr>
              <p:sp>
                <p:nvSpPr>
                  <p:cNvPr id="6356" name="Freeform: Shape 6355">
                    <a:extLst>
                      <a:ext uri="{FF2B5EF4-FFF2-40B4-BE49-F238E27FC236}">
                        <a16:creationId xmlns:a16="http://schemas.microsoft.com/office/drawing/2014/main" id="{F6167DDD-C475-EB8F-C9AC-48B7537D278D}"/>
                      </a:ext>
                    </a:extLst>
                  </p:cNvPr>
                  <p:cNvSpPr/>
                  <p:nvPr/>
                </p:nvSpPr>
                <p:spPr>
                  <a:xfrm>
                    <a:off x="4247292" y="291207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57" name="Freeform: Shape 6356">
                    <a:extLst>
                      <a:ext uri="{FF2B5EF4-FFF2-40B4-BE49-F238E27FC236}">
                        <a16:creationId xmlns:a16="http://schemas.microsoft.com/office/drawing/2014/main" id="{6A79D67C-9DEC-BC61-A786-EB1E918582F8}"/>
                      </a:ext>
                    </a:extLst>
                  </p:cNvPr>
                  <p:cNvSpPr/>
                  <p:nvPr/>
                </p:nvSpPr>
                <p:spPr>
                  <a:xfrm>
                    <a:off x="4209478" y="29498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5" name="Graphic 1498">
                  <a:extLst>
                    <a:ext uri="{FF2B5EF4-FFF2-40B4-BE49-F238E27FC236}">
                      <a16:creationId xmlns:a16="http://schemas.microsoft.com/office/drawing/2014/main" id="{63DDC612-B95B-8E4B-DBEE-2FCC4C69D54F}"/>
                    </a:ext>
                  </a:extLst>
                </p:cNvPr>
                <p:cNvGrpSpPr/>
                <p:nvPr/>
              </p:nvGrpSpPr>
              <p:grpSpPr>
                <a:xfrm>
                  <a:off x="4171664" y="2896933"/>
                  <a:ext cx="75628" cy="75723"/>
                  <a:chOff x="4171664" y="2896933"/>
                  <a:chExt cx="75628" cy="75723"/>
                </a:xfrm>
              </p:grpSpPr>
              <p:sp>
                <p:nvSpPr>
                  <p:cNvPr id="6354" name="Freeform: Shape 6353">
                    <a:extLst>
                      <a:ext uri="{FF2B5EF4-FFF2-40B4-BE49-F238E27FC236}">
                        <a16:creationId xmlns:a16="http://schemas.microsoft.com/office/drawing/2014/main" id="{42825CFB-ED2F-DEF7-FBA2-497579D569A9}"/>
                      </a:ext>
                    </a:extLst>
                  </p:cNvPr>
                  <p:cNvSpPr/>
                  <p:nvPr/>
                </p:nvSpPr>
                <p:spPr>
                  <a:xfrm>
                    <a:off x="4209478"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55" name="Freeform: Shape 6354">
                    <a:extLst>
                      <a:ext uri="{FF2B5EF4-FFF2-40B4-BE49-F238E27FC236}">
                        <a16:creationId xmlns:a16="http://schemas.microsoft.com/office/drawing/2014/main" id="{316AA2F9-413B-1C23-2464-A2823F16F6A7}"/>
                      </a:ext>
                    </a:extLst>
                  </p:cNvPr>
                  <p:cNvSpPr/>
                  <p:nvPr/>
                </p:nvSpPr>
                <p:spPr>
                  <a:xfrm>
                    <a:off x="4171664" y="293484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6" name="Graphic 1498">
                  <a:extLst>
                    <a:ext uri="{FF2B5EF4-FFF2-40B4-BE49-F238E27FC236}">
                      <a16:creationId xmlns:a16="http://schemas.microsoft.com/office/drawing/2014/main" id="{091F191D-84F1-1ED7-9A07-7E436FF025C3}"/>
                    </a:ext>
                  </a:extLst>
                </p:cNvPr>
                <p:cNvGrpSpPr/>
                <p:nvPr/>
              </p:nvGrpSpPr>
              <p:grpSpPr>
                <a:xfrm>
                  <a:off x="4147661" y="2896933"/>
                  <a:ext cx="75723" cy="75723"/>
                  <a:chOff x="4147661" y="2896933"/>
                  <a:chExt cx="75723" cy="75723"/>
                </a:xfrm>
              </p:grpSpPr>
              <p:sp>
                <p:nvSpPr>
                  <p:cNvPr id="6352" name="Freeform: Shape 6351">
                    <a:extLst>
                      <a:ext uri="{FF2B5EF4-FFF2-40B4-BE49-F238E27FC236}">
                        <a16:creationId xmlns:a16="http://schemas.microsoft.com/office/drawing/2014/main" id="{3D01FC4C-728D-D197-ED2E-BF77355DC9CF}"/>
                      </a:ext>
                    </a:extLst>
                  </p:cNvPr>
                  <p:cNvSpPr/>
                  <p:nvPr/>
                </p:nvSpPr>
                <p:spPr>
                  <a:xfrm>
                    <a:off x="4185475"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53" name="Freeform: Shape 6352">
                    <a:extLst>
                      <a:ext uri="{FF2B5EF4-FFF2-40B4-BE49-F238E27FC236}">
                        <a16:creationId xmlns:a16="http://schemas.microsoft.com/office/drawing/2014/main" id="{5CE758AA-B40F-9AB7-1751-68E58E07EFB4}"/>
                      </a:ext>
                    </a:extLst>
                  </p:cNvPr>
                  <p:cNvSpPr/>
                  <p:nvPr/>
                </p:nvSpPr>
                <p:spPr>
                  <a:xfrm>
                    <a:off x="4147661"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7" name="Graphic 1498">
                  <a:extLst>
                    <a:ext uri="{FF2B5EF4-FFF2-40B4-BE49-F238E27FC236}">
                      <a16:creationId xmlns:a16="http://schemas.microsoft.com/office/drawing/2014/main" id="{56DCB94F-9CA0-26CA-FD48-1E7F8D0F0B4B}"/>
                    </a:ext>
                  </a:extLst>
                </p:cNvPr>
                <p:cNvGrpSpPr/>
                <p:nvPr/>
              </p:nvGrpSpPr>
              <p:grpSpPr>
                <a:xfrm>
                  <a:off x="4133754" y="2896933"/>
                  <a:ext cx="75723" cy="75723"/>
                  <a:chOff x="4133754" y="2896933"/>
                  <a:chExt cx="75723" cy="75723"/>
                </a:xfrm>
              </p:grpSpPr>
              <p:sp>
                <p:nvSpPr>
                  <p:cNvPr id="6350" name="Freeform: Shape 6349">
                    <a:extLst>
                      <a:ext uri="{FF2B5EF4-FFF2-40B4-BE49-F238E27FC236}">
                        <a16:creationId xmlns:a16="http://schemas.microsoft.com/office/drawing/2014/main" id="{3D071B4C-BA9C-C1F4-5A2A-8129C7ECCBB4}"/>
                      </a:ext>
                    </a:extLst>
                  </p:cNvPr>
                  <p:cNvSpPr/>
                  <p:nvPr/>
                </p:nvSpPr>
                <p:spPr>
                  <a:xfrm>
                    <a:off x="417166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51" name="Freeform: Shape 6350">
                    <a:extLst>
                      <a:ext uri="{FF2B5EF4-FFF2-40B4-BE49-F238E27FC236}">
                        <a16:creationId xmlns:a16="http://schemas.microsoft.com/office/drawing/2014/main" id="{88095D49-BDD3-8636-7B0A-001DAEA5A36F}"/>
                      </a:ext>
                    </a:extLst>
                  </p:cNvPr>
                  <p:cNvSpPr/>
                  <p:nvPr/>
                </p:nvSpPr>
                <p:spPr>
                  <a:xfrm>
                    <a:off x="413375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8" name="Graphic 1498">
                  <a:extLst>
                    <a:ext uri="{FF2B5EF4-FFF2-40B4-BE49-F238E27FC236}">
                      <a16:creationId xmlns:a16="http://schemas.microsoft.com/office/drawing/2014/main" id="{CC1BE224-013B-375C-5A92-E037246A7DDB}"/>
                    </a:ext>
                  </a:extLst>
                </p:cNvPr>
                <p:cNvGrpSpPr/>
                <p:nvPr/>
              </p:nvGrpSpPr>
              <p:grpSpPr>
                <a:xfrm>
                  <a:off x="4118514" y="2896933"/>
                  <a:ext cx="75723" cy="75723"/>
                  <a:chOff x="4118514" y="2896933"/>
                  <a:chExt cx="75723" cy="75723"/>
                </a:xfrm>
              </p:grpSpPr>
              <p:sp>
                <p:nvSpPr>
                  <p:cNvPr id="6348" name="Freeform: Shape 6347">
                    <a:extLst>
                      <a:ext uri="{FF2B5EF4-FFF2-40B4-BE49-F238E27FC236}">
                        <a16:creationId xmlns:a16="http://schemas.microsoft.com/office/drawing/2014/main" id="{2BC8D885-1BC5-4AC4-56AE-E833CEC84CA0}"/>
                      </a:ext>
                    </a:extLst>
                  </p:cNvPr>
                  <p:cNvSpPr/>
                  <p:nvPr/>
                </p:nvSpPr>
                <p:spPr>
                  <a:xfrm>
                    <a:off x="4156424"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49" name="Freeform: Shape 6348">
                    <a:extLst>
                      <a:ext uri="{FF2B5EF4-FFF2-40B4-BE49-F238E27FC236}">
                        <a16:creationId xmlns:a16="http://schemas.microsoft.com/office/drawing/2014/main" id="{CF210FFA-4CDA-D235-8566-4FFD94E6EDEE}"/>
                      </a:ext>
                    </a:extLst>
                  </p:cNvPr>
                  <p:cNvSpPr/>
                  <p:nvPr/>
                </p:nvSpPr>
                <p:spPr>
                  <a:xfrm>
                    <a:off x="4118514" y="29348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69" name="Graphic 1498">
                  <a:extLst>
                    <a:ext uri="{FF2B5EF4-FFF2-40B4-BE49-F238E27FC236}">
                      <a16:creationId xmlns:a16="http://schemas.microsoft.com/office/drawing/2014/main" id="{7F1629F1-8979-F4F4-3049-100D803C66F3}"/>
                    </a:ext>
                  </a:extLst>
                </p:cNvPr>
                <p:cNvGrpSpPr/>
                <p:nvPr/>
              </p:nvGrpSpPr>
              <p:grpSpPr>
                <a:xfrm>
                  <a:off x="4104322" y="2896933"/>
                  <a:ext cx="75628" cy="75723"/>
                  <a:chOff x="4104322" y="2896933"/>
                  <a:chExt cx="75628" cy="75723"/>
                </a:xfrm>
              </p:grpSpPr>
              <p:sp>
                <p:nvSpPr>
                  <p:cNvPr id="6346" name="Freeform: Shape 6345">
                    <a:extLst>
                      <a:ext uri="{FF2B5EF4-FFF2-40B4-BE49-F238E27FC236}">
                        <a16:creationId xmlns:a16="http://schemas.microsoft.com/office/drawing/2014/main" id="{285C1045-6D7D-14A3-2DDD-84243AA1C49D}"/>
                      </a:ext>
                    </a:extLst>
                  </p:cNvPr>
                  <p:cNvSpPr/>
                  <p:nvPr/>
                </p:nvSpPr>
                <p:spPr>
                  <a:xfrm>
                    <a:off x="4142136" y="28969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47" name="Freeform: Shape 6346">
                    <a:extLst>
                      <a:ext uri="{FF2B5EF4-FFF2-40B4-BE49-F238E27FC236}">
                        <a16:creationId xmlns:a16="http://schemas.microsoft.com/office/drawing/2014/main" id="{0DFA64AA-16AA-9080-DA81-0E032113DA52}"/>
                      </a:ext>
                    </a:extLst>
                  </p:cNvPr>
                  <p:cNvSpPr/>
                  <p:nvPr/>
                </p:nvSpPr>
                <p:spPr>
                  <a:xfrm>
                    <a:off x="4104322" y="29348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0" name="Graphic 1498">
                  <a:extLst>
                    <a:ext uri="{FF2B5EF4-FFF2-40B4-BE49-F238E27FC236}">
                      <a16:creationId xmlns:a16="http://schemas.microsoft.com/office/drawing/2014/main" id="{13B2E4D1-C581-FD20-ABBB-3B925D87C84E}"/>
                    </a:ext>
                  </a:extLst>
                </p:cNvPr>
                <p:cNvGrpSpPr/>
                <p:nvPr/>
              </p:nvGrpSpPr>
              <p:grpSpPr>
                <a:xfrm>
                  <a:off x="4050792" y="2889122"/>
                  <a:ext cx="75723" cy="75723"/>
                  <a:chOff x="4050792" y="2889122"/>
                  <a:chExt cx="75723" cy="75723"/>
                </a:xfrm>
              </p:grpSpPr>
              <p:sp>
                <p:nvSpPr>
                  <p:cNvPr id="6344" name="Freeform: Shape 6343">
                    <a:extLst>
                      <a:ext uri="{FF2B5EF4-FFF2-40B4-BE49-F238E27FC236}">
                        <a16:creationId xmlns:a16="http://schemas.microsoft.com/office/drawing/2014/main" id="{2BD5BA33-8CCD-7D7C-B488-57AFB0E1A823}"/>
                      </a:ext>
                    </a:extLst>
                  </p:cNvPr>
                  <p:cNvSpPr/>
                  <p:nvPr/>
                </p:nvSpPr>
                <p:spPr>
                  <a:xfrm>
                    <a:off x="4088606" y="288912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45" name="Freeform: Shape 6344">
                    <a:extLst>
                      <a:ext uri="{FF2B5EF4-FFF2-40B4-BE49-F238E27FC236}">
                        <a16:creationId xmlns:a16="http://schemas.microsoft.com/office/drawing/2014/main" id="{22C8E8F2-7A5E-AAE2-17EF-A12B38C2C084}"/>
                      </a:ext>
                    </a:extLst>
                  </p:cNvPr>
                  <p:cNvSpPr/>
                  <p:nvPr/>
                </p:nvSpPr>
                <p:spPr>
                  <a:xfrm>
                    <a:off x="4050792" y="292693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1" name="Graphic 1498">
                  <a:extLst>
                    <a:ext uri="{FF2B5EF4-FFF2-40B4-BE49-F238E27FC236}">
                      <a16:creationId xmlns:a16="http://schemas.microsoft.com/office/drawing/2014/main" id="{FA2BA5F4-86F7-6115-D471-346F6F8BD7C3}"/>
                    </a:ext>
                  </a:extLst>
                </p:cNvPr>
                <p:cNvGrpSpPr/>
                <p:nvPr/>
              </p:nvGrpSpPr>
              <p:grpSpPr>
                <a:xfrm>
                  <a:off x="4012977" y="2879121"/>
                  <a:ext cx="75628" cy="75723"/>
                  <a:chOff x="4012977" y="2879121"/>
                  <a:chExt cx="75628" cy="75723"/>
                </a:xfrm>
              </p:grpSpPr>
              <p:sp>
                <p:nvSpPr>
                  <p:cNvPr id="6342" name="Freeform: Shape 6341">
                    <a:extLst>
                      <a:ext uri="{FF2B5EF4-FFF2-40B4-BE49-F238E27FC236}">
                        <a16:creationId xmlns:a16="http://schemas.microsoft.com/office/drawing/2014/main" id="{DC7CC275-483B-D7C0-D47E-CF6790CDE9E6}"/>
                      </a:ext>
                    </a:extLst>
                  </p:cNvPr>
                  <p:cNvSpPr/>
                  <p:nvPr/>
                </p:nvSpPr>
                <p:spPr>
                  <a:xfrm>
                    <a:off x="4050792" y="287912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43" name="Freeform: Shape 6342">
                    <a:extLst>
                      <a:ext uri="{FF2B5EF4-FFF2-40B4-BE49-F238E27FC236}">
                        <a16:creationId xmlns:a16="http://schemas.microsoft.com/office/drawing/2014/main" id="{AFB1B749-A4FD-5A0D-008C-5A9742BA6D2B}"/>
                      </a:ext>
                    </a:extLst>
                  </p:cNvPr>
                  <p:cNvSpPr/>
                  <p:nvPr/>
                </p:nvSpPr>
                <p:spPr>
                  <a:xfrm>
                    <a:off x="4012977" y="291693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2" name="Graphic 1498">
                  <a:extLst>
                    <a:ext uri="{FF2B5EF4-FFF2-40B4-BE49-F238E27FC236}">
                      <a16:creationId xmlns:a16="http://schemas.microsoft.com/office/drawing/2014/main" id="{F641EEE2-4743-DA6A-AB00-700FBD6F3ED4}"/>
                    </a:ext>
                  </a:extLst>
                </p:cNvPr>
                <p:cNvGrpSpPr/>
                <p:nvPr/>
              </p:nvGrpSpPr>
              <p:grpSpPr>
                <a:xfrm>
                  <a:off x="3779234" y="2788729"/>
                  <a:ext cx="75723" cy="75723"/>
                  <a:chOff x="3779234" y="2788729"/>
                  <a:chExt cx="75723" cy="75723"/>
                </a:xfrm>
              </p:grpSpPr>
              <p:sp>
                <p:nvSpPr>
                  <p:cNvPr id="6340" name="Freeform: Shape 6339">
                    <a:extLst>
                      <a:ext uri="{FF2B5EF4-FFF2-40B4-BE49-F238E27FC236}">
                        <a16:creationId xmlns:a16="http://schemas.microsoft.com/office/drawing/2014/main" id="{CB99E3B4-3B89-FBA3-B817-6A1A63C3F539}"/>
                      </a:ext>
                    </a:extLst>
                  </p:cNvPr>
                  <p:cNvSpPr/>
                  <p:nvPr/>
                </p:nvSpPr>
                <p:spPr>
                  <a:xfrm>
                    <a:off x="3817048" y="278872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41" name="Freeform: Shape 6340">
                    <a:extLst>
                      <a:ext uri="{FF2B5EF4-FFF2-40B4-BE49-F238E27FC236}">
                        <a16:creationId xmlns:a16="http://schemas.microsoft.com/office/drawing/2014/main" id="{C04BFCB5-5CA8-6542-6ADA-D2AE6AFA93FA}"/>
                      </a:ext>
                    </a:extLst>
                  </p:cNvPr>
                  <p:cNvSpPr/>
                  <p:nvPr/>
                </p:nvSpPr>
                <p:spPr>
                  <a:xfrm>
                    <a:off x="3779234" y="282654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3" name="Graphic 1498">
                  <a:extLst>
                    <a:ext uri="{FF2B5EF4-FFF2-40B4-BE49-F238E27FC236}">
                      <a16:creationId xmlns:a16="http://schemas.microsoft.com/office/drawing/2014/main" id="{4573DE6A-B066-9C34-8D88-C22A9CE8AE1F}"/>
                    </a:ext>
                  </a:extLst>
                </p:cNvPr>
                <p:cNvGrpSpPr/>
                <p:nvPr/>
              </p:nvGrpSpPr>
              <p:grpSpPr>
                <a:xfrm>
                  <a:off x="3464242" y="2727864"/>
                  <a:ext cx="75723" cy="75628"/>
                  <a:chOff x="3464242" y="2727864"/>
                  <a:chExt cx="75723" cy="75628"/>
                </a:xfrm>
              </p:grpSpPr>
              <p:sp>
                <p:nvSpPr>
                  <p:cNvPr id="6338" name="Freeform: Shape 6337">
                    <a:extLst>
                      <a:ext uri="{FF2B5EF4-FFF2-40B4-BE49-F238E27FC236}">
                        <a16:creationId xmlns:a16="http://schemas.microsoft.com/office/drawing/2014/main" id="{F2021608-514A-17F8-B92B-14160CEEE098}"/>
                      </a:ext>
                    </a:extLst>
                  </p:cNvPr>
                  <p:cNvSpPr/>
                  <p:nvPr/>
                </p:nvSpPr>
                <p:spPr>
                  <a:xfrm>
                    <a:off x="3502152" y="27278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39" name="Freeform: Shape 6338">
                    <a:extLst>
                      <a:ext uri="{FF2B5EF4-FFF2-40B4-BE49-F238E27FC236}">
                        <a16:creationId xmlns:a16="http://schemas.microsoft.com/office/drawing/2014/main" id="{D8DDECD7-00BD-66D3-AA18-CCC7C6FDF249}"/>
                      </a:ext>
                    </a:extLst>
                  </p:cNvPr>
                  <p:cNvSpPr/>
                  <p:nvPr/>
                </p:nvSpPr>
                <p:spPr>
                  <a:xfrm>
                    <a:off x="3464242" y="27656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4" name="Graphic 1498">
                  <a:extLst>
                    <a:ext uri="{FF2B5EF4-FFF2-40B4-BE49-F238E27FC236}">
                      <a16:creationId xmlns:a16="http://schemas.microsoft.com/office/drawing/2014/main" id="{8344AF81-88C9-CEC3-6CE4-A1B7BD20E1B6}"/>
                    </a:ext>
                  </a:extLst>
                </p:cNvPr>
                <p:cNvGrpSpPr/>
                <p:nvPr/>
              </p:nvGrpSpPr>
              <p:grpSpPr>
                <a:xfrm>
                  <a:off x="3190589" y="2710433"/>
                  <a:ext cx="75628" cy="75628"/>
                  <a:chOff x="3190589" y="2710433"/>
                  <a:chExt cx="75628" cy="75628"/>
                </a:xfrm>
              </p:grpSpPr>
              <p:sp>
                <p:nvSpPr>
                  <p:cNvPr id="6336" name="Freeform: Shape 6335">
                    <a:extLst>
                      <a:ext uri="{FF2B5EF4-FFF2-40B4-BE49-F238E27FC236}">
                        <a16:creationId xmlns:a16="http://schemas.microsoft.com/office/drawing/2014/main" id="{8D6672A4-4101-3A4A-D4D7-A7B93153D4EB}"/>
                      </a:ext>
                    </a:extLst>
                  </p:cNvPr>
                  <p:cNvSpPr/>
                  <p:nvPr/>
                </p:nvSpPr>
                <p:spPr>
                  <a:xfrm>
                    <a:off x="3228403"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37" name="Freeform: Shape 6336">
                    <a:extLst>
                      <a:ext uri="{FF2B5EF4-FFF2-40B4-BE49-F238E27FC236}">
                        <a16:creationId xmlns:a16="http://schemas.microsoft.com/office/drawing/2014/main" id="{0441E145-BCAA-F52A-382F-20B42940F5CD}"/>
                      </a:ext>
                    </a:extLst>
                  </p:cNvPr>
                  <p:cNvSpPr/>
                  <p:nvPr/>
                </p:nvSpPr>
                <p:spPr>
                  <a:xfrm>
                    <a:off x="3190589" y="274824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5" name="Graphic 1498">
                  <a:extLst>
                    <a:ext uri="{FF2B5EF4-FFF2-40B4-BE49-F238E27FC236}">
                      <a16:creationId xmlns:a16="http://schemas.microsoft.com/office/drawing/2014/main" id="{B8FC972A-C006-418F-BCBF-2BE453BD00D3}"/>
                    </a:ext>
                  </a:extLst>
                </p:cNvPr>
                <p:cNvGrpSpPr/>
                <p:nvPr/>
              </p:nvGrpSpPr>
              <p:grpSpPr>
                <a:xfrm>
                  <a:off x="3132201" y="2697479"/>
                  <a:ext cx="75628" cy="75628"/>
                  <a:chOff x="3132201" y="2697479"/>
                  <a:chExt cx="75628" cy="75628"/>
                </a:xfrm>
              </p:grpSpPr>
              <p:sp>
                <p:nvSpPr>
                  <p:cNvPr id="6334" name="Freeform: Shape 6333">
                    <a:extLst>
                      <a:ext uri="{FF2B5EF4-FFF2-40B4-BE49-F238E27FC236}">
                        <a16:creationId xmlns:a16="http://schemas.microsoft.com/office/drawing/2014/main" id="{A396E0CE-9028-558B-C5D2-C1946C06DFFC}"/>
                      </a:ext>
                    </a:extLst>
                  </p:cNvPr>
                  <p:cNvSpPr/>
                  <p:nvPr/>
                </p:nvSpPr>
                <p:spPr>
                  <a:xfrm>
                    <a:off x="3170015"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35" name="Freeform: Shape 6334">
                    <a:extLst>
                      <a:ext uri="{FF2B5EF4-FFF2-40B4-BE49-F238E27FC236}">
                        <a16:creationId xmlns:a16="http://schemas.microsoft.com/office/drawing/2014/main" id="{7F152D51-2C87-AF86-5E34-9E7941B54120}"/>
                      </a:ext>
                    </a:extLst>
                  </p:cNvPr>
                  <p:cNvSpPr/>
                  <p:nvPr/>
                </p:nvSpPr>
                <p:spPr>
                  <a:xfrm>
                    <a:off x="3132201" y="27352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6" name="Graphic 1498">
                  <a:extLst>
                    <a:ext uri="{FF2B5EF4-FFF2-40B4-BE49-F238E27FC236}">
                      <a16:creationId xmlns:a16="http://schemas.microsoft.com/office/drawing/2014/main" id="{B40306C3-4BF4-919E-FC1C-036042D9C752}"/>
                    </a:ext>
                  </a:extLst>
                </p:cNvPr>
                <p:cNvGrpSpPr/>
                <p:nvPr/>
              </p:nvGrpSpPr>
              <p:grpSpPr>
                <a:xfrm>
                  <a:off x="3094291" y="2697479"/>
                  <a:ext cx="75723" cy="75628"/>
                  <a:chOff x="3094291" y="2697479"/>
                  <a:chExt cx="75723" cy="75628"/>
                </a:xfrm>
              </p:grpSpPr>
              <p:sp>
                <p:nvSpPr>
                  <p:cNvPr id="6332" name="Freeform: Shape 6331">
                    <a:extLst>
                      <a:ext uri="{FF2B5EF4-FFF2-40B4-BE49-F238E27FC236}">
                        <a16:creationId xmlns:a16="http://schemas.microsoft.com/office/drawing/2014/main" id="{C1A544B0-864F-89D5-2A73-1397FDDF4F25}"/>
                      </a:ext>
                    </a:extLst>
                  </p:cNvPr>
                  <p:cNvSpPr/>
                  <p:nvPr/>
                </p:nvSpPr>
                <p:spPr>
                  <a:xfrm>
                    <a:off x="3132201"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33" name="Freeform: Shape 6332">
                    <a:extLst>
                      <a:ext uri="{FF2B5EF4-FFF2-40B4-BE49-F238E27FC236}">
                        <a16:creationId xmlns:a16="http://schemas.microsoft.com/office/drawing/2014/main" id="{756E4E25-E280-1C98-917F-16A8C656DF5C}"/>
                      </a:ext>
                    </a:extLst>
                  </p:cNvPr>
                  <p:cNvSpPr/>
                  <p:nvPr/>
                </p:nvSpPr>
                <p:spPr>
                  <a:xfrm>
                    <a:off x="3094291"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7" name="Graphic 1498">
                  <a:extLst>
                    <a:ext uri="{FF2B5EF4-FFF2-40B4-BE49-F238E27FC236}">
                      <a16:creationId xmlns:a16="http://schemas.microsoft.com/office/drawing/2014/main" id="{106F9563-77A0-BCB5-A4BC-D89C4CA041D6}"/>
                    </a:ext>
                  </a:extLst>
                </p:cNvPr>
                <p:cNvGrpSpPr/>
                <p:nvPr/>
              </p:nvGrpSpPr>
              <p:grpSpPr>
                <a:xfrm>
                  <a:off x="3081528" y="2697479"/>
                  <a:ext cx="75723" cy="75628"/>
                  <a:chOff x="3081528" y="2697479"/>
                  <a:chExt cx="75723" cy="75628"/>
                </a:xfrm>
              </p:grpSpPr>
              <p:sp>
                <p:nvSpPr>
                  <p:cNvPr id="6330" name="Freeform: Shape 6329">
                    <a:extLst>
                      <a:ext uri="{FF2B5EF4-FFF2-40B4-BE49-F238E27FC236}">
                        <a16:creationId xmlns:a16="http://schemas.microsoft.com/office/drawing/2014/main" id="{CA2380A3-1814-E73E-C13E-7CDFF7EE8DC2}"/>
                      </a:ext>
                    </a:extLst>
                  </p:cNvPr>
                  <p:cNvSpPr/>
                  <p:nvPr/>
                </p:nvSpPr>
                <p:spPr>
                  <a:xfrm>
                    <a:off x="3119342" y="2697479"/>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31" name="Freeform: Shape 6330">
                    <a:extLst>
                      <a:ext uri="{FF2B5EF4-FFF2-40B4-BE49-F238E27FC236}">
                        <a16:creationId xmlns:a16="http://schemas.microsoft.com/office/drawing/2014/main" id="{EC38985A-1821-F27A-6A48-BA4EB686C40E}"/>
                      </a:ext>
                    </a:extLst>
                  </p:cNvPr>
                  <p:cNvSpPr/>
                  <p:nvPr/>
                </p:nvSpPr>
                <p:spPr>
                  <a:xfrm>
                    <a:off x="3081528" y="27352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8" name="Graphic 1498">
                  <a:extLst>
                    <a:ext uri="{FF2B5EF4-FFF2-40B4-BE49-F238E27FC236}">
                      <a16:creationId xmlns:a16="http://schemas.microsoft.com/office/drawing/2014/main" id="{EAA3AF4D-6032-DBE9-E5B5-57E4109251A8}"/>
                    </a:ext>
                  </a:extLst>
                </p:cNvPr>
                <p:cNvGrpSpPr/>
                <p:nvPr/>
              </p:nvGrpSpPr>
              <p:grpSpPr>
                <a:xfrm>
                  <a:off x="3052762" y="2681763"/>
                  <a:ext cx="75628" cy="75628"/>
                  <a:chOff x="3052762" y="2681763"/>
                  <a:chExt cx="75628" cy="75628"/>
                </a:xfrm>
              </p:grpSpPr>
              <p:sp>
                <p:nvSpPr>
                  <p:cNvPr id="6328" name="Freeform: Shape 6327">
                    <a:extLst>
                      <a:ext uri="{FF2B5EF4-FFF2-40B4-BE49-F238E27FC236}">
                        <a16:creationId xmlns:a16="http://schemas.microsoft.com/office/drawing/2014/main" id="{4FE618F1-31AC-3FA9-43E0-5AE172B0CB7C}"/>
                      </a:ext>
                    </a:extLst>
                  </p:cNvPr>
                  <p:cNvSpPr/>
                  <p:nvPr/>
                </p:nvSpPr>
                <p:spPr>
                  <a:xfrm>
                    <a:off x="3090576" y="268176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29" name="Freeform: Shape 6328">
                    <a:extLst>
                      <a:ext uri="{FF2B5EF4-FFF2-40B4-BE49-F238E27FC236}">
                        <a16:creationId xmlns:a16="http://schemas.microsoft.com/office/drawing/2014/main" id="{152F7882-4EF3-95CD-8F4E-4C312C1FE13E}"/>
                      </a:ext>
                    </a:extLst>
                  </p:cNvPr>
                  <p:cNvSpPr/>
                  <p:nvPr/>
                </p:nvSpPr>
                <p:spPr>
                  <a:xfrm>
                    <a:off x="3052762" y="271957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79" name="Graphic 1498">
                  <a:extLst>
                    <a:ext uri="{FF2B5EF4-FFF2-40B4-BE49-F238E27FC236}">
                      <a16:creationId xmlns:a16="http://schemas.microsoft.com/office/drawing/2014/main" id="{5A9966B2-4BFC-3059-2B9A-152E5EC74F57}"/>
                    </a:ext>
                  </a:extLst>
                </p:cNvPr>
                <p:cNvGrpSpPr/>
                <p:nvPr/>
              </p:nvGrpSpPr>
              <p:grpSpPr>
                <a:xfrm>
                  <a:off x="3038570" y="2665285"/>
                  <a:ext cx="75628" cy="75723"/>
                  <a:chOff x="3038570" y="2665285"/>
                  <a:chExt cx="75628" cy="75723"/>
                </a:xfrm>
              </p:grpSpPr>
              <p:sp>
                <p:nvSpPr>
                  <p:cNvPr id="6326" name="Freeform: Shape 6325">
                    <a:extLst>
                      <a:ext uri="{FF2B5EF4-FFF2-40B4-BE49-F238E27FC236}">
                        <a16:creationId xmlns:a16="http://schemas.microsoft.com/office/drawing/2014/main" id="{8F463708-376F-FCB1-2579-BE1FA43295F4}"/>
                      </a:ext>
                    </a:extLst>
                  </p:cNvPr>
                  <p:cNvSpPr/>
                  <p:nvPr/>
                </p:nvSpPr>
                <p:spPr>
                  <a:xfrm>
                    <a:off x="3076384" y="266528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27" name="Freeform: Shape 6326">
                    <a:extLst>
                      <a:ext uri="{FF2B5EF4-FFF2-40B4-BE49-F238E27FC236}">
                        <a16:creationId xmlns:a16="http://schemas.microsoft.com/office/drawing/2014/main" id="{0E068E36-D79C-17DD-5CA9-6D610497BEA6}"/>
                      </a:ext>
                    </a:extLst>
                  </p:cNvPr>
                  <p:cNvSpPr/>
                  <p:nvPr/>
                </p:nvSpPr>
                <p:spPr>
                  <a:xfrm>
                    <a:off x="3038570" y="270309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0" name="Graphic 1498">
                  <a:extLst>
                    <a:ext uri="{FF2B5EF4-FFF2-40B4-BE49-F238E27FC236}">
                      <a16:creationId xmlns:a16="http://schemas.microsoft.com/office/drawing/2014/main" id="{456C1B66-A2AE-5963-6030-7403C084A2FC}"/>
                    </a:ext>
                  </a:extLst>
                </p:cNvPr>
                <p:cNvGrpSpPr/>
                <p:nvPr/>
              </p:nvGrpSpPr>
              <p:grpSpPr>
                <a:xfrm>
                  <a:off x="3163347" y="2710433"/>
                  <a:ext cx="75723" cy="75628"/>
                  <a:chOff x="3163347" y="2710433"/>
                  <a:chExt cx="75723" cy="75628"/>
                </a:xfrm>
              </p:grpSpPr>
              <p:sp>
                <p:nvSpPr>
                  <p:cNvPr id="6324" name="Freeform: Shape 6323">
                    <a:extLst>
                      <a:ext uri="{FF2B5EF4-FFF2-40B4-BE49-F238E27FC236}">
                        <a16:creationId xmlns:a16="http://schemas.microsoft.com/office/drawing/2014/main" id="{BC708A5C-49F0-575B-9C82-654463065F44}"/>
                      </a:ext>
                    </a:extLst>
                  </p:cNvPr>
                  <p:cNvSpPr/>
                  <p:nvPr/>
                </p:nvSpPr>
                <p:spPr>
                  <a:xfrm>
                    <a:off x="3201257" y="27104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25" name="Freeform: Shape 6324">
                    <a:extLst>
                      <a:ext uri="{FF2B5EF4-FFF2-40B4-BE49-F238E27FC236}">
                        <a16:creationId xmlns:a16="http://schemas.microsoft.com/office/drawing/2014/main" id="{97C656D6-58AB-8BD5-CFF6-B19DD7E933BE}"/>
                      </a:ext>
                    </a:extLst>
                  </p:cNvPr>
                  <p:cNvSpPr/>
                  <p:nvPr/>
                </p:nvSpPr>
                <p:spPr>
                  <a:xfrm>
                    <a:off x="3163347" y="27482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1" name="Graphic 1498">
                  <a:extLst>
                    <a:ext uri="{FF2B5EF4-FFF2-40B4-BE49-F238E27FC236}">
                      <a16:creationId xmlns:a16="http://schemas.microsoft.com/office/drawing/2014/main" id="{74F0E8DB-7E28-FC5C-25D7-043BB95A9FCC}"/>
                    </a:ext>
                  </a:extLst>
                </p:cNvPr>
                <p:cNvGrpSpPr/>
                <p:nvPr/>
              </p:nvGrpSpPr>
              <p:grpSpPr>
                <a:xfrm>
                  <a:off x="4746783" y="3101530"/>
                  <a:ext cx="75723" cy="75723"/>
                  <a:chOff x="4746783" y="3101530"/>
                  <a:chExt cx="75723" cy="75723"/>
                </a:xfrm>
              </p:grpSpPr>
              <p:sp>
                <p:nvSpPr>
                  <p:cNvPr id="6322" name="Freeform: Shape 6321">
                    <a:extLst>
                      <a:ext uri="{FF2B5EF4-FFF2-40B4-BE49-F238E27FC236}">
                        <a16:creationId xmlns:a16="http://schemas.microsoft.com/office/drawing/2014/main" id="{3A32F748-A38E-13A1-0CCD-B73E95EEC9DB}"/>
                      </a:ext>
                    </a:extLst>
                  </p:cNvPr>
                  <p:cNvSpPr/>
                  <p:nvPr/>
                </p:nvSpPr>
                <p:spPr>
                  <a:xfrm>
                    <a:off x="4784598"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23" name="Freeform: Shape 6322">
                    <a:extLst>
                      <a:ext uri="{FF2B5EF4-FFF2-40B4-BE49-F238E27FC236}">
                        <a16:creationId xmlns:a16="http://schemas.microsoft.com/office/drawing/2014/main" id="{621EC5BA-99D7-D30C-171B-6B91DF412942}"/>
                      </a:ext>
                    </a:extLst>
                  </p:cNvPr>
                  <p:cNvSpPr/>
                  <p:nvPr/>
                </p:nvSpPr>
                <p:spPr>
                  <a:xfrm>
                    <a:off x="4746783"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2" name="Graphic 1498">
                  <a:extLst>
                    <a:ext uri="{FF2B5EF4-FFF2-40B4-BE49-F238E27FC236}">
                      <a16:creationId xmlns:a16="http://schemas.microsoft.com/office/drawing/2014/main" id="{F454CF65-D895-77B2-7BC3-34D81F587EB4}"/>
                    </a:ext>
                  </a:extLst>
                </p:cNvPr>
                <p:cNvGrpSpPr/>
                <p:nvPr/>
              </p:nvGrpSpPr>
              <p:grpSpPr>
                <a:xfrm>
                  <a:off x="4768977" y="3101530"/>
                  <a:ext cx="75723" cy="75723"/>
                  <a:chOff x="4768977" y="3101530"/>
                  <a:chExt cx="75723" cy="75723"/>
                </a:xfrm>
              </p:grpSpPr>
              <p:sp>
                <p:nvSpPr>
                  <p:cNvPr id="6320" name="Freeform: Shape 6319">
                    <a:extLst>
                      <a:ext uri="{FF2B5EF4-FFF2-40B4-BE49-F238E27FC236}">
                        <a16:creationId xmlns:a16="http://schemas.microsoft.com/office/drawing/2014/main" id="{4F93F02F-E072-4A77-8F02-336CB9E2A99F}"/>
                      </a:ext>
                    </a:extLst>
                  </p:cNvPr>
                  <p:cNvSpPr/>
                  <p:nvPr/>
                </p:nvSpPr>
                <p:spPr>
                  <a:xfrm>
                    <a:off x="4806886"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21" name="Freeform: Shape 6320">
                    <a:extLst>
                      <a:ext uri="{FF2B5EF4-FFF2-40B4-BE49-F238E27FC236}">
                        <a16:creationId xmlns:a16="http://schemas.microsoft.com/office/drawing/2014/main" id="{FCB78E5D-E3E0-52FE-F709-6EAD5C012E3D}"/>
                      </a:ext>
                    </a:extLst>
                  </p:cNvPr>
                  <p:cNvSpPr/>
                  <p:nvPr/>
                </p:nvSpPr>
                <p:spPr>
                  <a:xfrm>
                    <a:off x="4768977" y="313943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3" name="Graphic 1498">
                  <a:extLst>
                    <a:ext uri="{FF2B5EF4-FFF2-40B4-BE49-F238E27FC236}">
                      <a16:creationId xmlns:a16="http://schemas.microsoft.com/office/drawing/2014/main" id="{48BA1114-1000-DC70-2838-FA26DB93AAE3}"/>
                    </a:ext>
                  </a:extLst>
                </p:cNvPr>
                <p:cNvGrpSpPr/>
                <p:nvPr/>
              </p:nvGrpSpPr>
              <p:grpSpPr>
                <a:xfrm>
                  <a:off x="4788789" y="3101530"/>
                  <a:ext cx="75628" cy="75723"/>
                  <a:chOff x="4788789" y="3101530"/>
                  <a:chExt cx="75628" cy="75723"/>
                </a:xfrm>
              </p:grpSpPr>
              <p:sp>
                <p:nvSpPr>
                  <p:cNvPr id="6318" name="Freeform: Shape 6317">
                    <a:extLst>
                      <a:ext uri="{FF2B5EF4-FFF2-40B4-BE49-F238E27FC236}">
                        <a16:creationId xmlns:a16="http://schemas.microsoft.com/office/drawing/2014/main" id="{ED86EF44-1A5D-D94B-FAA3-51D215D333D5}"/>
                      </a:ext>
                    </a:extLst>
                  </p:cNvPr>
                  <p:cNvSpPr/>
                  <p:nvPr/>
                </p:nvSpPr>
                <p:spPr>
                  <a:xfrm>
                    <a:off x="4826603" y="310153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19" name="Freeform: Shape 6318">
                    <a:extLst>
                      <a:ext uri="{FF2B5EF4-FFF2-40B4-BE49-F238E27FC236}">
                        <a16:creationId xmlns:a16="http://schemas.microsoft.com/office/drawing/2014/main" id="{0ADA5A70-3502-22E2-A3AC-3116DF77F742}"/>
                      </a:ext>
                    </a:extLst>
                  </p:cNvPr>
                  <p:cNvSpPr/>
                  <p:nvPr/>
                </p:nvSpPr>
                <p:spPr>
                  <a:xfrm>
                    <a:off x="4788789" y="313943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4" name="Graphic 1498">
                  <a:extLst>
                    <a:ext uri="{FF2B5EF4-FFF2-40B4-BE49-F238E27FC236}">
                      <a16:creationId xmlns:a16="http://schemas.microsoft.com/office/drawing/2014/main" id="{93520C87-190C-90E6-C5A0-8A2241958E8F}"/>
                    </a:ext>
                  </a:extLst>
                </p:cNvPr>
                <p:cNvGrpSpPr/>
                <p:nvPr/>
              </p:nvGrpSpPr>
              <p:grpSpPr>
                <a:xfrm>
                  <a:off x="4810982" y="3124580"/>
                  <a:ext cx="75723" cy="75723"/>
                  <a:chOff x="4810982" y="3124580"/>
                  <a:chExt cx="75723" cy="75723"/>
                </a:xfrm>
              </p:grpSpPr>
              <p:sp>
                <p:nvSpPr>
                  <p:cNvPr id="6316" name="Freeform: Shape 6315">
                    <a:extLst>
                      <a:ext uri="{FF2B5EF4-FFF2-40B4-BE49-F238E27FC236}">
                        <a16:creationId xmlns:a16="http://schemas.microsoft.com/office/drawing/2014/main" id="{3124932A-4DA4-CB5B-5FBA-1AEEAD008D40}"/>
                      </a:ext>
                    </a:extLst>
                  </p:cNvPr>
                  <p:cNvSpPr/>
                  <p:nvPr/>
                </p:nvSpPr>
                <p:spPr>
                  <a:xfrm>
                    <a:off x="4848796" y="31245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17" name="Freeform: Shape 6316">
                    <a:extLst>
                      <a:ext uri="{FF2B5EF4-FFF2-40B4-BE49-F238E27FC236}">
                        <a16:creationId xmlns:a16="http://schemas.microsoft.com/office/drawing/2014/main" id="{09BB5201-62C5-C045-43CC-4C578F209AE4}"/>
                      </a:ext>
                    </a:extLst>
                  </p:cNvPr>
                  <p:cNvSpPr/>
                  <p:nvPr/>
                </p:nvSpPr>
                <p:spPr>
                  <a:xfrm>
                    <a:off x="4810982" y="31624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5" name="Graphic 1498">
                  <a:extLst>
                    <a:ext uri="{FF2B5EF4-FFF2-40B4-BE49-F238E27FC236}">
                      <a16:creationId xmlns:a16="http://schemas.microsoft.com/office/drawing/2014/main" id="{F958C089-5D04-26A8-B8C6-147BE60172D6}"/>
                    </a:ext>
                  </a:extLst>
                </p:cNvPr>
                <p:cNvGrpSpPr/>
                <p:nvPr/>
              </p:nvGrpSpPr>
              <p:grpSpPr>
                <a:xfrm>
                  <a:off x="5354383" y="3262597"/>
                  <a:ext cx="75723" cy="75628"/>
                  <a:chOff x="5354383" y="3262597"/>
                  <a:chExt cx="75723" cy="75628"/>
                </a:xfrm>
              </p:grpSpPr>
              <p:sp>
                <p:nvSpPr>
                  <p:cNvPr id="6314" name="Freeform: Shape 6313">
                    <a:extLst>
                      <a:ext uri="{FF2B5EF4-FFF2-40B4-BE49-F238E27FC236}">
                        <a16:creationId xmlns:a16="http://schemas.microsoft.com/office/drawing/2014/main" id="{5C87E8DA-92CB-42D6-A4E5-8130F8917150}"/>
                      </a:ext>
                    </a:extLst>
                  </p:cNvPr>
                  <p:cNvSpPr/>
                  <p:nvPr/>
                </p:nvSpPr>
                <p:spPr>
                  <a:xfrm>
                    <a:off x="539219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15" name="Freeform: Shape 6314">
                    <a:extLst>
                      <a:ext uri="{FF2B5EF4-FFF2-40B4-BE49-F238E27FC236}">
                        <a16:creationId xmlns:a16="http://schemas.microsoft.com/office/drawing/2014/main" id="{CC661C09-4C19-3B5B-A67C-EBE5F062E473}"/>
                      </a:ext>
                    </a:extLst>
                  </p:cNvPr>
                  <p:cNvSpPr/>
                  <p:nvPr/>
                </p:nvSpPr>
                <p:spPr>
                  <a:xfrm>
                    <a:off x="5354383"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6" name="Graphic 1498">
                  <a:extLst>
                    <a:ext uri="{FF2B5EF4-FFF2-40B4-BE49-F238E27FC236}">
                      <a16:creationId xmlns:a16="http://schemas.microsoft.com/office/drawing/2014/main" id="{82E294CC-CDAA-456B-3A7D-F57B67D0F03C}"/>
                    </a:ext>
                  </a:extLst>
                </p:cNvPr>
                <p:cNvGrpSpPr/>
                <p:nvPr/>
              </p:nvGrpSpPr>
              <p:grpSpPr>
                <a:xfrm>
                  <a:off x="5378862" y="3262597"/>
                  <a:ext cx="75723" cy="75628"/>
                  <a:chOff x="5378862" y="3262597"/>
                  <a:chExt cx="75723" cy="75628"/>
                </a:xfrm>
              </p:grpSpPr>
              <p:sp>
                <p:nvSpPr>
                  <p:cNvPr id="6312" name="Freeform: Shape 6311">
                    <a:extLst>
                      <a:ext uri="{FF2B5EF4-FFF2-40B4-BE49-F238E27FC236}">
                        <a16:creationId xmlns:a16="http://schemas.microsoft.com/office/drawing/2014/main" id="{59264017-6340-C1B5-065A-7909AA87C50F}"/>
                      </a:ext>
                    </a:extLst>
                  </p:cNvPr>
                  <p:cNvSpPr/>
                  <p:nvPr/>
                </p:nvSpPr>
                <p:spPr>
                  <a:xfrm>
                    <a:off x="5416677"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13" name="Freeform: Shape 6312">
                    <a:extLst>
                      <a:ext uri="{FF2B5EF4-FFF2-40B4-BE49-F238E27FC236}">
                        <a16:creationId xmlns:a16="http://schemas.microsoft.com/office/drawing/2014/main" id="{E185B8A1-30B8-CF17-0858-C5E74EFE0D0A}"/>
                      </a:ext>
                    </a:extLst>
                  </p:cNvPr>
                  <p:cNvSpPr/>
                  <p:nvPr/>
                </p:nvSpPr>
                <p:spPr>
                  <a:xfrm>
                    <a:off x="537886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7" name="Graphic 1498">
                  <a:extLst>
                    <a:ext uri="{FF2B5EF4-FFF2-40B4-BE49-F238E27FC236}">
                      <a16:creationId xmlns:a16="http://schemas.microsoft.com/office/drawing/2014/main" id="{19E15091-32DD-549D-66BD-36F14A5F89BB}"/>
                    </a:ext>
                  </a:extLst>
                </p:cNvPr>
                <p:cNvGrpSpPr/>
                <p:nvPr/>
              </p:nvGrpSpPr>
              <p:grpSpPr>
                <a:xfrm>
                  <a:off x="5427821" y="3262597"/>
                  <a:ext cx="75723" cy="75628"/>
                  <a:chOff x="5427821" y="3262597"/>
                  <a:chExt cx="75723" cy="75628"/>
                </a:xfrm>
              </p:grpSpPr>
              <p:sp>
                <p:nvSpPr>
                  <p:cNvPr id="6310" name="Freeform: Shape 6309">
                    <a:extLst>
                      <a:ext uri="{FF2B5EF4-FFF2-40B4-BE49-F238E27FC236}">
                        <a16:creationId xmlns:a16="http://schemas.microsoft.com/office/drawing/2014/main" id="{5D51EDC9-E9E3-8285-E1EE-C4606EDBEECF}"/>
                      </a:ext>
                    </a:extLst>
                  </p:cNvPr>
                  <p:cNvSpPr/>
                  <p:nvPr/>
                </p:nvSpPr>
                <p:spPr>
                  <a:xfrm>
                    <a:off x="5465730"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11" name="Freeform: Shape 6310">
                    <a:extLst>
                      <a:ext uri="{FF2B5EF4-FFF2-40B4-BE49-F238E27FC236}">
                        <a16:creationId xmlns:a16="http://schemas.microsoft.com/office/drawing/2014/main" id="{441A0703-1C34-36F5-C50B-56EA0E484CCC}"/>
                      </a:ext>
                    </a:extLst>
                  </p:cNvPr>
                  <p:cNvSpPr/>
                  <p:nvPr/>
                </p:nvSpPr>
                <p:spPr>
                  <a:xfrm>
                    <a:off x="5427821"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8" name="Graphic 1498">
                  <a:extLst>
                    <a:ext uri="{FF2B5EF4-FFF2-40B4-BE49-F238E27FC236}">
                      <a16:creationId xmlns:a16="http://schemas.microsoft.com/office/drawing/2014/main" id="{DBDC02C5-57B8-6124-C714-422293F87482}"/>
                    </a:ext>
                  </a:extLst>
                </p:cNvPr>
                <p:cNvGrpSpPr/>
                <p:nvPr/>
              </p:nvGrpSpPr>
              <p:grpSpPr>
                <a:xfrm>
                  <a:off x="5403342" y="3262597"/>
                  <a:ext cx="75723" cy="75628"/>
                  <a:chOff x="5403342" y="3262597"/>
                  <a:chExt cx="75723" cy="75628"/>
                </a:xfrm>
              </p:grpSpPr>
              <p:sp>
                <p:nvSpPr>
                  <p:cNvPr id="6308" name="Freeform: Shape 6307">
                    <a:extLst>
                      <a:ext uri="{FF2B5EF4-FFF2-40B4-BE49-F238E27FC236}">
                        <a16:creationId xmlns:a16="http://schemas.microsoft.com/office/drawing/2014/main" id="{31BE1910-C4C1-65B4-D40B-DA7CF852D65E}"/>
                      </a:ext>
                    </a:extLst>
                  </p:cNvPr>
                  <p:cNvSpPr/>
                  <p:nvPr/>
                </p:nvSpPr>
                <p:spPr>
                  <a:xfrm>
                    <a:off x="5441251" y="32625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09" name="Freeform: Shape 6308">
                    <a:extLst>
                      <a:ext uri="{FF2B5EF4-FFF2-40B4-BE49-F238E27FC236}">
                        <a16:creationId xmlns:a16="http://schemas.microsoft.com/office/drawing/2014/main" id="{E26064DC-21B0-D89D-AC7C-39BBAE467DF3}"/>
                      </a:ext>
                    </a:extLst>
                  </p:cNvPr>
                  <p:cNvSpPr/>
                  <p:nvPr/>
                </p:nvSpPr>
                <p:spPr>
                  <a:xfrm>
                    <a:off x="5403342" y="33004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89" name="Graphic 1498">
                  <a:extLst>
                    <a:ext uri="{FF2B5EF4-FFF2-40B4-BE49-F238E27FC236}">
                      <a16:creationId xmlns:a16="http://schemas.microsoft.com/office/drawing/2014/main" id="{C6D349C7-D241-C50E-4463-D25D1BEB9F40}"/>
                    </a:ext>
                  </a:extLst>
                </p:cNvPr>
                <p:cNvGrpSpPr/>
                <p:nvPr/>
              </p:nvGrpSpPr>
              <p:grpSpPr>
                <a:xfrm>
                  <a:off x="5482494" y="3300412"/>
                  <a:ext cx="75628" cy="75723"/>
                  <a:chOff x="5482494" y="3300412"/>
                  <a:chExt cx="75628" cy="75723"/>
                </a:xfrm>
              </p:grpSpPr>
              <p:sp>
                <p:nvSpPr>
                  <p:cNvPr id="6306" name="Freeform: Shape 6305">
                    <a:extLst>
                      <a:ext uri="{FF2B5EF4-FFF2-40B4-BE49-F238E27FC236}">
                        <a16:creationId xmlns:a16="http://schemas.microsoft.com/office/drawing/2014/main" id="{E37D2BFC-85CA-4F1C-DFF9-EBED32A70EFA}"/>
                      </a:ext>
                    </a:extLst>
                  </p:cNvPr>
                  <p:cNvSpPr/>
                  <p:nvPr/>
                </p:nvSpPr>
                <p:spPr>
                  <a:xfrm>
                    <a:off x="5520309"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07" name="Freeform: Shape 6306">
                    <a:extLst>
                      <a:ext uri="{FF2B5EF4-FFF2-40B4-BE49-F238E27FC236}">
                        <a16:creationId xmlns:a16="http://schemas.microsoft.com/office/drawing/2014/main" id="{E81A3874-1CB9-C9C2-61B0-B4FF5CEAC72A}"/>
                      </a:ext>
                    </a:extLst>
                  </p:cNvPr>
                  <p:cNvSpPr/>
                  <p:nvPr/>
                </p:nvSpPr>
                <p:spPr>
                  <a:xfrm>
                    <a:off x="5482494" y="33382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0" name="Graphic 1498">
                  <a:extLst>
                    <a:ext uri="{FF2B5EF4-FFF2-40B4-BE49-F238E27FC236}">
                      <a16:creationId xmlns:a16="http://schemas.microsoft.com/office/drawing/2014/main" id="{47390D4C-4A20-F9AC-D141-573A49CA7F7D}"/>
                    </a:ext>
                  </a:extLst>
                </p:cNvPr>
                <p:cNvGrpSpPr/>
                <p:nvPr/>
              </p:nvGrpSpPr>
              <p:grpSpPr>
                <a:xfrm>
                  <a:off x="5520309" y="3300412"/>
                  <a:ext cx="75723" cy="75723"/>
                  <a:chOff x="5520309" y="3300412"/>
                  <a:chExt cx="75723" cy="75723"/>
                </a:xfrm>
              </p:grpSpPr>
              <p:sp>
                <p:nvSpPr>
                  <p:cNvPr id="6304" name="Freeform: Shape 6303">
                    <a:extLst>
                      <a:ext uri="{FF2B5EF4-FFF2-40B4-BE49-F238E27FC236}">
                        <a16:creationId xmlns:a16="http://schemas.microsoft.com/office/drawing/2014/main" id="{D0D251BC-FC8F-D1B1-4C42-B5CAF6651653}"/>
                      </a:ext>
                    </a:extLst>
                  </p:cNvPr>
                  <p:cNvSpPr/>
                  <p:nvPr/>
                </p:nvSpPr>
                <p:spPr>
                  <a:xfrm>
                    <a:off x="5558123" y="33004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05" name="Freeform: Shape 6304">
                    <a:extLst>
                      <a:ext uri="{FF2B5EF4-FFF2-40B4-BE49-F238E27FC236}">
                        <a16:creationId xmlns:a16="http://schemas.microsoft.com/office/drawing/2014/main" id="{D417DDE3-1E63-584B-F101-7A05ACA097DF}"/>
                      </a:ext>
                    </a:extLst>
                  </p:cNvPr>
                  <p:cNvSpPr/>
                  <p:nvPr/>
                </p:nvSpPr>
                <p:spPr>
                  <a:xfrm>
                    <a:off x="5520309" y="33382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1" name="Graphic 1498">
                  <a:extLst>
                    <a:ext uri="{FF2B5EF4-FFF2-40B4-BE49-F238E27FC236}">
                      <a16:creationId xmlns:a16="http://schemas.microsoft.com/office/drawing/2014/main" id="{F9CFEC83-FA7D-D76C-9E49-14E61CAB0E9D}"/>
                    </a:ext>
                  </a:extLst>
                </p:cNvPr>
                <p:cNvGrpSpPr/>
                <p:nvPr/>
              </p:nvGrpSpPr>
              <p:grpSpPr>
                <a:xfrm>
                  <a:off x="5533834" y="3311651"/>
                  <a:ext cx="75723" cy="75723"/>
                  <a:chOff x="5533834" y="3311651"/>
                  <a:chExt cx="75723" cy="75723"/>
                </a:xfrm>
              </p:grpSpPr>
              <p:sp>
                <p:nvSpPr>
                  <p:cNvPr id="6302" name="Freeform: Shape 6301">
                    <a:extLst>
                      <a:ext uri="{FF2B5EF4-FFF2-40B4-BE49-F238E27FC236}">
                        <a16:creationId xmlns:a16="http://schemas.microsoft.com/office/drawing/2014/main" id="{4C46D761-F979-4159-3B4C-9CDE1BA3A07E}"/>
                      </a:ext>
                    </a:extLst>
                  </p:cNvPr>
                  <p:cNvSpPr/>
                  <p:nvPr/>
                </p:nvSpPr>
                <p:spPr>
                  <a:xfrm>
                    <a:off x="5571648"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03" name="Freeform: Shape 6302">
                    <a:extLst>
                      <a:ext uri="{FF2B5EF4-FFF2-40B4-BE49-F238E27FC236}">
                        <a16:creationId xmlns:a16="http://schemas.microsoft.com/office/drawing/2014/main" id="{1AFDF07E-86C0-12FB-CC70-F7B783CDBDC3}"/>
                      </a:ext>
                    </a:extLst>
                  </p:cNvPr>
                  <p:cNvSpPr/>
                  <p:nvPr/>
                </p:nvSpPr>
                <p:spPr>
                  <a:xfrm>
                    <a:off x="5533834"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2" name="Graphic 1498">
                  <a:extLst>
                    <a:ext uri="{FF2B5EF4-FFF2-40B4-BE49-F238E27FC236}">
                      <a16:creationId xmlns:a16="http://schemas.microsoft.com/office/drawing/2014/main" id="{F4F405F0-7AE8-5D05-50E3-A429D323D351}"/>
                    </a:ext>
                  </a:extLst>
                </p:cNvPr>
                <p:cNvGrpSpPr/>
                <p:nvPr/>
              </p:nvGrpSpPr>
              <p:grpSpPr>
                <a:xfrm>
                  <a:off x="5550217" y="3311651"/>
                  <a:ext cx="75723" cy="75723"/>
                  <a:chOff x="5550217" y="3311651"/>
                  <a:chExt cx="75723" cy="75723"/>
                </a:xfrm>
              </p:grpSpPr>
              <p:sp>
                <p:nvSpPr>
                  <p:cNvPr id="6300" name="Freeform: Shape 6299">
                    <a:extLst>
                      <a:ext uri="{FF2B5EF4-FFF2-40B4-BE49-F238E27FC236}">
                        <a16:creationId xmlns:a16="http://schemas.microsoft.com/office/drawing/2014/main" id="{6A2CCF11-BBE9-5CF8-AC8C-F8E7BE1439D6}"/>
                      </a:ext>
                    </a:extLst>
                  </p:cNvPr>
                  <p:cNvSpPr/>
                  <p:nvPr/>
                </p:nvSpPr>
                <p:spPr>
                  <a:xfrm>
                    <a:off x="5588127"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01" name="Freeform: Shape 6300">
                    <a:extLst>
                      <a:ext uri="{FF2B5EF4-FFF2-40B4-BE49-F238E27FC236}">
                        <a16:creationId xmlns:a16="http://schemas.microsoft.com/office/drawing/2014/main" id="{5FA434B9-815F-6917-0319-E16ABAC0453B}"/>
                      </a:ext>
                    </a:extLst>
                  </p:cNvPr>
                  <p:cNvSpPr/>
                  <p:nvPr/>
                </p:nvSpPr>
                <p:spPr>
                  <a:xfrm>
                    <a:off x="5550217"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3" name="Graphic 1498">
                  <a:extLst>
                    <a:ext uri="{FF2B5EF4-FFF2-40B4-BE49-F238E27FC236}">
                      <a16:creationId xmlns:a16="http://schemas.microsoft.com/office/drawing/2014/main" id="{9F19F6EC-62DA-4D7B-EB8A-2AB67C4161E2}"/>
                    </a:ext>
                  </a:extLst>
                </p:cNvPr>
                <p:cNvGrpSpPr/>
                <p:nvPr/>
              </p:nvGrpSpPr>
              <p:grpSpPr>
                <a:xfrm>
                  <a:off x="5608701" y="3311651"/>
                  <a:ext cx="75628" cy="75723"/>
                  <a:chOff x="5608701" y="3311651"/>
                  <a:chExt cx="75628" cy="75723"/>
                </a:xfrm>
              </p:grpSpPr>
              <p:sp>
                <p:nvSpPr>
                  <p:cNvPr id="6298" name="Freeform: Shape 6297">
                    <a:extLst>
                      <a:ext uri="{FF2B5EF4-FFF2-40B4-BE49-F238E27FC236}">
                        <a16:creationId xmlns:a16="http://schemas.microsoft.com/office/drawing/2014/main" id="{6396D48F-BAA9-EB6E-15C2-55BE907E613D}"/>
                      </a:ext>
                    </a:extLst>
                  </p:cNvPr>
                  <p:cNvSpPr/>
                  <p:nvPr/>
                </p:nvSpPr>
                <p:spPr>
                  <a:xfrm>
                    <a:off x="5646515"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99" name="Freeform: Shape 6298">
                    <a:extLst>
                      <a:ext uri="{FF2B5EF4-FFF2-40B4-BE49-F238E27FC236}">
                        <a16:creationId xmlns:a16="http://schemas.microsoft.com/office/drawing/2014/main" id="{E393BB84-7B76-8114-F652-182D45E24472}"/>
                      </a:ext>
                    </a:extLst>
                  </p:cNvPr>
                  <p:cNvSpPr/>
                  <p:nvPr/>
                </p:nvSpPr>
                <p:spPr>
                  <a:xfrm>
                    <a:off x="5608701" y="33495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4" name="Graphic 1498">
                  <a:extLst>
                    <a:ext uri="{FF2B5EF4-FFF2-40B4-BE49-F238E27FC236}">
                      <a16:creationId xmlns:a16="http://schemas.microsoft.com/office/drawing/2014/main" id="{D2D9CE31-69EF-ED67-A0E7-5A514E5E9403}"/>
                    </a:ext>
                  </a:extLst>
                </p:cNvPr>
                <p:cNvGrpSpPr/>
                <p:nvPr/>
              </p:nvGrpSpPr>
              <p:grpSpPr>
                <a:xfrm>
                  <a:off x="5629275" y="3311651"/>
                  <a:ext cx="75723" cy="75723"/>
                  <a:chOff x="5629275" y="3311651"/>
                  <a:chExt cx="75723" cy="75723"/>
                </a:xfrm>
              </p:grpSpPr>
              <p:sp>
                <p:nvSpPr>
                  <p:cNvPr id="6296" name="Freeform: Shape 6295">
                    <a:extLst>
                      <a:ext uri="{FF2B5EF4-FFF2-40B4-BE49-F238E27FC236}">
                        <a16:creationId xmlns:a16="http://schemas.microsoft.com/office/drawing/2014/main" id="{F23C683F-59F5-4021-9DFF-973EAA84EFE8}"/>
                      </a:ext>
                    </a:extLst>
                  </p:cNvPr>
                  <p:cNvSpPr/>
                  <p:nvPr/>
                </p:nvSpPr>
                <p:spPr>
                  <a:xfrm>
                    <a:off x="5667184"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97" name="Freeform: Shape 6296">
                    <a:extLst>
                      <a:ext uri="{FF2B5EF4-FFF2-40B4-BE49-F238E27FC236}">
                        <a16:creationId xmlns:a16="http://schemas.microsoft.com/office/drawing/2014/main" id="{D23F861E-A203-3531-0CBB-83FC6A7A4371}"/>
                      </a:ext>
                    </a:extLst>
                  </p:cNvPr>
                  <p:cNvSpPr/>
                  <p:nvPr/>
                </p:nvSpPr>
                <p:spPr>
                  <a:xfrm>
                    <a:off x="562927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5" name="Graphic 1498">
                  <a:extLst>
                    <a:ext uri="{FF2B5EF4-FFF2-40B4-BE49-F238E27FC236}">
                      <a16:creationId xmlns:a16="http://schemas.microsoft.com/office/drawing/2014/main" id="{04A54901-8684-51BC-C470-7B912D291B9C}"/>
                    </a:ext>
                  </a:extLst>
                </p:cNvPr>
                <p:cNvGrpSpPr/>
                <p:nvPr/>
              </p:nvGrpSpPr>
              <p:grpSpPr>
                <a:xfrm>
                  <a:off x="5652135" y="3311651"/>
                  <a:ext cx="75723" cy="75723"/>
                  <a:chOff x="5652135" y="3311651"/>
                  <a:chExt cx="75723" cy="75723"/>
                </a:xfrm>
              </p:grpSpPr>
              <p:sp>
                <p:nvSpPr>
                  <p:cNvPr id="6294" name="Freeform: Shape 6293">
                    <a:extLst>
                      <a:ext uri="{FF2B5EF4-FFF2-40B4-BE49-F238E27FC236}">
                        <a16:creationId xmlns:a16="http://schemas.microsoft.com/office/drawing/2014/main" id="{824D3B5A-2061-5C57-A17E-BBF343274659}"/>
                      </a:ext>
                    </a:extLst>
                  </p:cNvPr>
                  <p:cNvSpPr/>
                  <p:nvPr/>
                </p:nvSpPr>
                <p:spPr>
                  <a:xfrm>
                    <a:off x="5689949"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95" name="Freeform: Shape 6294">
                    <a:extLst>
                      <a:ext uri="{FF2B5EF4-FFF2-40B4-BE49-F238E27FC236}">
                        <a16:creationId xmlns:a16="http://schemas.microsoft.com/office/drawing/2014/main" id="{B4B62F02-56BA-CB3B-F130-FA813A3DB157}"/>
                      </a:ext>
                    </a:extLst>
                  </p:cNvPr>
                  <p:cNvSpPr/>
                  <p:nvPr/>
                </p:nvSpPr>
                <p:spPr>
                  <a:xfrm>
                    <a:off x="5652135"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6" name="Graphic 1498">
                  <a:extLst>
                    <a:ext uri="{FF2B5EF4-FFF2-40B4-BE49-F238E27FC236}">
                      <a16:creationId xmlns:a16="http://schemas.microsoft.com/office/drawing/2014/main" id="{633253DD-E4A6-E702-93D9-B4CD11B407BE}"/>
                    </a:ext>
                  </a:extLst>
                </p:cNvPr>
                <p:cNvGrpSpPr/>
                <p:nvPr/>
              </p:nvGrpSpPr>
              <p:grpSpPr>
                <a:xfrm>
                  <a:off x="5662612" y="3311651"/>
                  <a:ext cx="75723" cy="75723"/>
                  <a:chOff x="5662612" y="3311651"/>
                  <a:chExt cx="75723" cy="75723"/>
                </a:xfrm>
              </p:grpSpPr>
              <p:sp>
                <p:nvSpPr>
                  <p:cNvPr id="6292" name="Freeform: Shape 6291">
                    <a:extLst>
                      <a:ext uri="{FF2B5EF4-FFF2-40B4-BE49-F238E27FC236}">
                        <a16:creationId xmlns:a16="http://schemas.microsoft.com/office/drawing/2014/main" id="{D9B73263-0269-6A41-EFC8-C27E5EF390C6}"/>
                      </a:ext>
                    </a:extLst>
                  </p:cNvPr>
                  <p:cNvSpPr/>
                  <p:nvPr/>
                </p:nvSpPr>
                <p:spPr>
                  <a:xfrm>
                    <a:off x="5700522" y="33116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93" name="Freeform: Shape 6292">
                    <a:extLst>
                      <a:ext uri="{FF2B5EF4-FFF2-40B4-BE49-F238E27FC236}">
                        <a16:creationId xmlns:a16="http://schemas.microsoft.com/office/drawing/2014/main" id="{4AA0AD35-0318-C026-BD7C-F732359171C5}"/>
                      </a:ext>
                    </a:extLst>
                  </p:cNvPr>
                  <p:cNvSpPr/>
                  <p:nvPr/>
                </p:nvSpPr>
                <p:spPr>
                  <a:xfrm>
                    <a:off x="5662612" y="33495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7" name="Graphic 1498">
                  <a:extLst>
                    <a:ext uri="{FF2B5EF4-FFF2-40B4-BE49-F238E27FC236}">
                      <a16:creationId xmlns:a16="http://schemas.microsoft.com/office/drawing/2014/main" id="{2D7BAB38-9F26-281A-A234-AF0B96DFBA70}"/>
                    </a:ext>
                  </a:extLst>
                </p:cNvPr>
                <p:cNvGrpSpPr/>
                <p:nvPr/>
              </p:nvGrpSpPr>
              <p:grpSpPr>
                <a:xfrm>
                  <a:off x="5687663" y="3324319"/>
                  <a:ext cx="75723" cy="75723"/>
                  <a:chOff x="5687663" y="3324319"/>
                  <a:chExt cx="75723" cy="75723"/>
                </a:xfrm>
              </p:grpSpPr>
              <p:sp>
                <p:nvSpPr>
                  <p:cNvPr id="6290" name="Freeform: Shape 6289">
                    <a:extLst>
                      <a:ext uri="{FF2B5EF4-FFF2-40B4-BE49-F238E27FC236}">
                        <a16:creationId xmlns:a16="http://schemas.microsoft.com/office/drawing/2014/main" id="{DA873E16-6B67-DEC4-7CD1-05DA0909FCF5}"/>
                      </a:ext>
                    </a:extLst>
                  </p:cNvPr>
                  <p:cNvSpPr/>
                  <p:nvPr/>
                </p:nvSpPr>
                <p:spPr>
                  <a:xfrm>
                    <a:off x="5725477" y="33243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91" name="Freeform: Shape 6290">
                    <a:extLst>
                      <a:ext uri="{FF2B5EF4-FFF2-40B4-BE49-F238E27FC236}">
                        <a16:creationId xmlns:a16="http://schemas.microsoft.com/office/drawing/2014/main" id="{CCDC4993-37DC-7B3A-DDA4-4D3D8F402C24}"/>
                      </a:ext>
                    </a:extLst>
                  </p:cNvPr>
                  <p:cNvSpPr/>
                  <p:nvPr/>
                </p:nvSpPr>
                <p:spPr>
                  <a:xfrm>
                    <a:off x="5687663" y="336213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8" name="Graphic 1498">
                  <a:extLst>
                    <a:ext uri="{FF2B5EF4-FFF2-40B4-BE49-F238E27FC236}">
                      <a16:creationId xmlns:a16="http://schemas.microsoft.com/office/drawing/2014/main" id="{7E77A7DE-4719-6752-6396-651135DBDCB2}"/>
                    </a:ext>
                  </a:extLst>
                </p:cNvPr>
                <p:cNvGrpSpPr/>
                <p:nvPr/>
              </p:nvGrpSpPr>
              <p:grpSpPr>
                <a:xfrm>
                  <a:off x="5837205" y="3352323"/>
                  <a:ext cx="75723" cy="75628"/>
                  <a:chOff x="5837205" y="3352323"/>
                  <a:chExt cx="75723" cy="75628"/>
                </a:xfrm>
              </p:grpSpPr>
              <p:sp>
                <p:nvSpPr>
                  <p:cNvPr id="6288" name="Freeform: Shape 6287">
                    <a:extLst>
                      <a:ext uri="{FF2B5EF4-FFF2-40B4-BE49-F238E27FC236}">
                        <a16:creationId xmlns:a16="http://schemas.microsoft.com/office/drawing/2014/main" id="{6C3E27C8-CCF1-5961-4705-4061F63960FF}"/>
                      </a:ext>
                    </a:extLst>
                  </p:cNvPr>
                  <p:cNvSpPr/>
                  <p:nvPr/>
                </p:nvSpPr>
                <p:spPr>
                  <a:xfrm>
                    <a:off x="5875115"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89" name="Freeform: Shape 6288">
                    <a:extLst>
                      <a:ext uri="{FF2B5EF4-FFF2-40B4-BE49-F238E27FC236}">
                        <a16:creationId xmlns:a16="http://schemas.microsoft.com/office/drawing/2014/main" id="{44E36EDB-8A29-91F1-64FE-839BEAAA5B47}"/>
                      </a:ext>
                    </a:extLst>
                  </p:cNvPr>
                  <p:cNvSpPr/>
                  <p:nvPr/>
                </p:nvSpPr>
                <p:spPr>
                  <a:xfrm>
                    <a:off x="583720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099" name="Graphic 1498">
                  <a:extLst>
                    <a:ext uri="{FF2B5EF4-FFF2-40B4-BE49-F238E27FC236}">
                      <a16:creationId xmlns:a16="http://schemas.microsoft.com/office/drawing/2014/main" id="{477BE3F2-D973-A8E7-C7CA-B5780ECE0665}"/>
                    </a:ext>
                  </a:extLst>
                </p:cNvPr>
                <p:cNvGrpSpPr/>
                <p:nvPr/>
              </p:nvGrpSpPr>
              <p:grpSpPr>
                <a:xfrm>
                  <a:off x="5852445" y="3352323"/>
                  <a:ext cx="75723" cy="75628"/>
                  <a:chOff x="5852445" y="3352323"/>
                  <a:chExt cx="75723" cy="75628"/>
                </a:xfrm>
              </p:grpSpPr>
              <p:sp>
                <p:nvSpPr>
                  <p:cNvPr id="6286" name="Freeform: Shape 6285">
                    <a:extLst>
                      <a:ext uri="{FF2B5EF4-FFF2-40B4-BE49-F238E27FC236}">
                        <a16:creationId xmlns:a16="http://schemas.microsoft.com/office/drawing/2014/main" id="{5BD1BF7B-796B-D167-DCD4-8A1DC01111D8}"/>
                      </a:ext>
                    </a:extLst>
                  </p:cNvPr>
                  <p:cNvSpPr/>
                  <p:nvPr/>
                </p:nvSpPr>
                <p:spPr>
                  <a:xfrm>
                    <a:off x="5890260"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87" name="Freeform: Shape 6286">
                    <a:extLst>
                      <a:ext uri="{FF2B5EF4-FFF2-40B4-BE49-F238E27FC236}">
                        <a16:creationId xmlns:a16="http://schemas.microsoft.com/office/drawing/2014/main" id="{11D0891D-C7BD-D5C3-DB6E-8B4BBC28A3D8}"/>
                      </a:ext>
                    </a:extLst>
                  </p:cNvPr>
                  <p:cNvSpPr/>
                  <p:nvPr/>
                </p:nvSpPr>
                <p:spPr>
                  <a:xfrm>
                    <a:off x="5852445"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0" name="Graphic 1498">
                  <a:extLst>
                    <a:ext uri="{FF2B5EF4-FFF2-40B4-BE49-F238E27FC236}">
                      <a16:creationId xmlns:a16="http://schemas.microsoft.com/office/drawing/2014/main" id="{0F5658A4-3240-FDFE-02ED-40132B0AEA2E}"/>
                    </a:ext>
                  </a:extLst>
                </p:cNvPr>
                <p:cNvGrpSpPr/>
                <p:nvPr/>
              </p:nvGrpSpPr>
              <p:grpSpPr>
                <a:xfrm>
                  <a:off x="5870829" y="3352323"/>
                  <a:ext cx="75723" cy="75628"/>
                  <a:chOff x="5870829" y="3352323"/>
                  <a:chExt cx="75723" cy="75628"/>
                </a:xfrm>
              </p:grpSpPr>
              <p:sp>
                <p:nvSpPr>
                  <p:cNvPr id="6284" name="Freeform: Shape 6283">
                    <a:extLst>
                      <a:ext uri="{FF2B5EF4-FFF2-40B4-BE49-F238E27FC236}">
                        <a16:creationId xmlns:a16="http://schemas.microsoft.com/office/drawing/2014/main" id="{69E5173B-6978-4246-275B-DFC0CBEF31D8}"/>
                      </a:ext>
                    </a:extLst>
                  </p:cNvPr>
                  <p:cNvSpPr/>
                  <p:nvPr/>
                </p:nvSpPr>
                <p:spPr>
                  <a:xfrm>
                    <a:off x="5908738" y="335232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85" name="Freeform: Shape 6284">
                    <a:extLst>
                      <a:ext uri="{FF2B5EF4-FFF2-40B4-BE49-F238E27FC236}">
                        <a16:creationId xmlns:a16="http://schemas.microsoft.com/office/drawing/2014/main" id="{4F482FA5-253E-FA0B-BF37-6577FBBDCBB1}"/>
                      </a:ext>
                    </a:extLst>
                  </p:cNvPr>
                  <p:cNvSpPr/>
                  <p:nvPr/>
                </p:nvSpPr>
                <p:spPr>
                  <a:xfrm>
                    <a:off x="5870829" y="33901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1" name="Graphic 1498">
                  <a:extLst>
                    <a:ext uri="{FF2B5EF4-FFF2-40B4-BE49-F238E27FC236}">
                      <a16:creationId xmlns:a16="http://schemas.microsoft.com/office/drawing/2014/main" id="{EEF5E7E9-34CD-2C99-3592-E2EB7A07FFEA}"/>
                    </a:ext>
                  </a:extLst>
                </p:cNvPr>
                <p:cNvGrpSpPr/>
                <p:nvPr/>
              </p:nvGrpSpPr>
              <p:grpSpPr>
                <a:xfrm>
                  <a:off x="5897022" y="3367468"/>
                  <a:ext cx="75723" cy="75723"/>
                  <a:chOff x="5897022" y="3367468"/>
                  <a:chExt cx="75723" cy="75723"/>
                </a:xfrm>
              </p:grpSpPr>
              <p:sp>
                <p:nvSpPr>
                  <p:cNvPr id="6282" name="Freeform: Shape 6281">
                    <a:extLst>
                      <a:ext uri="{FF2B5EF4-FFF2-40B4-BE49-F238E27FC236}">
                        <a16:creationId xmlns:a16="http://schemas.microsoft.com/office/drawing/2014/main" id="{DC8FD72D-BA3E-D434-AA5C-6372FCC24985}"/>
                      </a:ext>
                    </a:extLst>
                  </p:cNvPr>
                  <p:cNvSpPr/>
                  <p:nvPr/>
                </p:nvSpPr>
                <p:spPr>
                  <a:xfrm>
                    <a:off x="5934932"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83" name="Freeform: Shape 6282">
                    <a:extLst>
                      <a:ext uri="{FF2B5EF4-FFF2-40B4-BE49-F238E27FC236}">
                        <a16:creationId xmlns:a16="http://schemas.microsoft.com/office/drawing/2014/main" id="{7A4993A9-2C9D-70C7-1791-8B22605A2A83}"/>
                      </a:ext>
                    </a:extLst>
                  </p:cNvPr>
                  <p:cNvSpPr/>
                  <p:nvPr/>
                </p:nvSpPr>
                <p:spPr>
                  <a:xfrm>
                    <a:off x="5897022"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2" name="Graphic 1498">
                  <a:extLst>
                    <a:ext uri="{FF2B5EF4-FFF2-40B4-BE49-F238E27FC236}">
                      <a16:creationId xmlns:a16="http://schemas.microsoft.com/office/drawing/2014/main" id="{D510C398-C1A1-281D-9A07-0E46BFF069FA}"/>
                    </a:ext>
                  </a:extLst>
                </p:cNvPr>
                <p:cNvGrpSpPr/>
                <p:nvPr/>
              </p:nvGrpSpPr>
              <p:grpSpPr>
                <a:xfrm>
                  <a:off x="5910929" y="3367468"/>
                  <a:ext cx="75723" cy="75723"/>
                  <a:chOff x="5910929" y="3367468"/>
                  <a:chExt cx="75723" cy="75723"/>
                </a:xfrm>
              </p:grpSpPr>
              <p:sp>
                <p:nvSpPr>
                  <p:cNvPr id="6280" name="Freeform: Shape 6279">
                    <a:extLst>
                      <a:ext uri="{FF2B5EF4-FFF2-40B4-BE49-F238E27FC236}">
                        <a16:creationId xmlns:a16="http://schemas.microsoft.com/office/drawing/2014/main" id="{F992536D-86BA-1540-E750-438F8F89090B}"/>
                      </a:ext>
                    </a:extLst>
                  </p:cNvPr>
                  <p:cNvSpPr/>
                  <p:nvPr/>
                </p:nvSpPr>
                <p:spPr>
                  <a:xfrm>
                    <a:off x="5948838" y="336746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81" name="Freeform: Shape 6280">
                    <a:extLst>
                      <a:ext uri="{FF2B5EF4-FFF2-40B4-BE49-F238E27FC236}">
                        <a16:creationId xmlns:a16="http://schemas.microsoft.com/office/drawing/2014/main" id="{AE29E7AF-5E6A-2FFD-D994-A3E4CE4985C6}"/>
                      </a:ext>
                    </a:extLst>
                  </p:cNvPr>
                  <p:cNvSpPr/>
                  <p:nvPr/>
                </p:nvSpPr>
                <p:spPr>
                  <a:xfrm>
                    <a:off x="5910929" y="340537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3" name="Graphic 1498">
                  <a:extLst>
                    <a:ext uri="{FF2B5EF4-FFF2-40B4-BE49-F238E27FC236}">
                      <a16:creationId xmlns:a16="http://schemas.microsoft.com/office/drawing/2014/main" id="{6382B2F8-B6F0-A666-04BC-92F9EB019A35}"/>
                    </a:ext>
                  </a:extLst>
                </p:cNvPr>
                <p:cNvGrpSpPr/>
                <p:nvPr/>
              </p:nvGrpSpPr>
              <p:grpSpPr>
                <a:xfrm>
                  <a:off x="5936932" y="3385756"/>
                  <a:ext cx="75723" cy="75628"/>
                  <a:chOff x="5936932" y="3385756"/>
                  <a:chExt cx="75723" cy="75628"/>
                </a:xfrm>
              </p:grpSpPr>
              <p:sp>
                <p:nvSpPr>
                  <p:cNvPr id="6278" name="Freeform: Shape 6277">
                    <a:extLst>
                      <a:ext uri="{FF2B5EF4-FFF2-40B4-BE49-F238E27FC236}">
                        <a16:creationId xmlns:a16="http://schemas.microsoft.com/office/drawing/2014/main" id="{AB8CD477-175D-F288-9B7B-F2768C3FE09C}"/>
                      </a:ext>
                    </a:extLst>
                  </p:cNvPr>
                  <p:cNvSpPr/>
                  <p:nvPr/>
                </p:nvSpPr>
                <p:spPr>
                  <a:xfrm>
                    <a:off x="5974746" y="338575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79" name="Freeform: Shape 6278">
                    <a:extLst>
                      <a:ext uri="{FF2B5EF4-FFF2-40B4-BE49-F238E27FC236}">
                        <a16:creationId xmlns:a16="http://schemas.microsoft.com/office/drawing/2014/main" id="{F3ACE690-6029-C6C0-D67F-83A7264B9F04}"/>
                      </a:ext>
                    </a:extLst>
                  </p:cNvPr>
                  <p:cNvSpPr/>
                  <p:nvPr/>
                </p:nvSpPr>
                <p:spPr>
                  <a:xfrm>
                    <a:off x="5936932" y="34235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4" name="Graphic 1498">
                  <a:extLst>
                    <a:ext uri="{FF2B5EF4-FFF2-40B4-BE49-F238E27FC236}">
                      <a16:creationId xmlns:a16="http://schemas.microsoft.com/office/drawing/2014/main" id="{340CC16D-FDBC-8236-14E4-BF03C8951C96}"/>
                    </a:ext>
                  </a:extLst>
                </p:cNvPr>
                <p:cNvGrpSpPr/>
                <p:nvPr/>
              </p:nvGrpSpPr>
              <p:grpSpPr>
                <a:xfrm>
                  <a:off x="5962269" y="3397471"/>
                  <a:ext cx="75628" cy="75723"/>
                  <a:chOff x="5962269" y="3397471"/>
                  <a:chExt cx="75628" cy="75723"/>
                </a:xfrm>
              </p:grpSpPr>
              <p:sp>
                <p:nvSpPr>
                  <p:cNvPr id="6276" name="Freeform: Shape 6275">
                    <a:extLst>
                      <a:ext uri="{FF2B5EF4-FFF2-40B4-BE49-F238E27FC236}">
                        <a16:creationId xmlns:a16="http://schemas.microsoft.com/office/drawing/2014/main" id="{4AEBDEE5-CF61-8E22-2976-B4ED0A2DB855}"/>
                      </a:ext>
                    </a:extLst>
                  </p:cNvPr>
                  <p:cNvSpPr/>
                  <p:nvPr/>
                </p:nvSpPr>
                <p:spPr>
                  <a:xfrm>
                    <a:off x="6000083"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77" name="Freeform: Shape 6276">
                    <a:extLst>
                      <a:ext uri="{FF2B5EF4-FFF2-40B4-BE49-F238E27FC236}">
                        <a16:creationId xmlns:a16="http://schemas.microsoft.com/office/drawing/2014/main" id="{093A1803-64CA-EC2F-00A6-5A99AB3CB547}"/>
                      </a:ext>
                    </a:extLst>
                  </p:cNvPr>
                  <p:cNvSpPr/>
                  <p:nvPr/>
                </p:nvSpPr>
                <p:spPr>
                  <a:xfrm>
                    <a:off x="5962269"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5" name="Graphic 1498">
                  <a:extLst>
                    <a:ext uri="{FF2B5EF4-FFF2-40B4-BE49-F238E27FC236}">
                      <a16:creationId xmlns:a16="http://schemas.microsoft.com/office/drawing/2014/main" id="{70F12A46-65AC-0B29-5C14-0271A8367F91}"/>
                    </a:ext>
                  </a:extLst>
                </p:cNvPr>
                <p:cNvGrpSpPr/>
                <p:nvPr/>
              </p:nvGrpSpPr>
              <p:grpSpPr>
                <a:xfrm>
                  <a:off x="5990463" y="3397471"/>
                  <a:ext cx="75628" cy="75723"/>
                  <a:chOff x="5990463" y="3397471"/>
                  <a:chExt cx="75628" cy="75723"/>
                </a:xfrm>
              </p:grpSpPr>
              <p:sp>
                <p:nvSpPr>
                  <p:cNvPr id="6274" name="Freeform: Shape 6273">
                    <a:extLst>
                      <a:ext uri="{FF2B5EF4-FFF2-40B4-BE49-F238E27FC236}">
                        <a16:creationId xmlns:a16="http://schemas.microsoft.com/office/drawing/2014/main" id="{002F7305-5E3C-820C-80CC-62D85B6D1483}"/>
                      </a:ext>
                    </a:extLst>
                  </p:cNvPr>
                  <p:cNvSpPr/>
                  <p:nvPr/>
                </p:nvSpPr>
                <p:spPr>
                  <a:xfrm>
                    <a:off x="6028277" y="33974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75" name="Freeform: Shape 6274">
                    <a:extLst>
                      <a:ext uri="{FF2B5EF4-FFF2-40B4-BE49-F238E27FC236}">
                        <a16:creationId xmlns:a16="http://schemas.microsoft.com/office/drawing/2014/main" id="{CAAD765F-7385-668E-440D-167BCC3CA65B}"/>
                      </a:ext>
                    </a:extLst>
                  </p:cNvPr>
                  <p:cNvSpPr/>
                  <p:nvPr/>
                </p:nvSpPr>
                <p:spPr>
                  <a:xfrm>
                    <a:off x="5990463" y="34352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6" name="Graphic 1498">
                  <a:extLst>
                    <a:ext uri="{FF2B5EF4-FFF2-40B4-BE49-F238E27FC236}">
                      <a16:creationId xmlns:a16="http://schemas.microsoft.com/office/drawing/2014/main" id="{089E5E28-FC03-7E88-48B2-68DEB88FF8BA}"/>
                    </a:ext>
                  </a:extLst>
                </p:cNvPr>
                <p:cNvGrpSpPr/>
                <p:nvPr/>
              </p:nvGrpSpPr>
              <p:grpSpPr>
                <a:xfrm>
                  <a:off x="6017990" y="3413283"/>
                  <a:ext cx="75723" cy="75723"/>
                  <a:chOff x="6017990" y="3413283"/>
                  <a:chExt cx="75723" cy="75723"/>
                </a:xfrm>
              </p:grpSpPr>
              <p:sp>
                <p:nvSpPr>
                  <p:cNvPr id="6272" name="Freeform: Shape 6271">
                    <a:extLst>
                      <a:ext uri="{FF2B5EF4-FFF2-40B4-BE49-F238E27FC236}">
                        <a16:creationId xmlns:a16="http://schemas.microsoft.com/office/drawing/2014/main" id="{A90BD868-4B37-9E33-3FE9-1EBF5610DC7A}"/>
                      </a:ext>
                    </a:extLst>
                  </p:cNvPr>
                  <p:cNvSpPr/>
                  <p:nvPr/>
                </p:nvSpPr>
                <p:spPr>
                  <a:xfrm>
                    <a:off x="6055804" y="34132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73" name="Freeform: Shape 6272">
                    <a:extLst>
                      <a:ext uri="{FF2B5EF4-FFF2-40B4-BE49-F238E27FC236}">
                        <a16:creationId xmlns:a16="http://schemas.microsoft.com/office/drawing/2014/main" id="{7DFD87F4-9447-DA5C-2D4E-0F40AD168E32}"/>
                      </a:ext>
                    </a:extLst>
                  </p:cNvPr>
                  <p:cNvSpPr/>
                  <p:nvPr/>
                </p:nvSpPr>
                <p:spPr>
                  <a:xfrm>
                    <a:off x="6017990" y="345109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7" name="Graphic 1498">
                  <a:extLst>
                    <a:ext uri="{FF2B5EF4-FFF2-40B4-BE49-F238E27FC236}">
                      <a16:creationId xmlns:a16="http://schemas.microsoft.com/office/drawing/2014/main" id="{716C3CCD-C9F5-45FC-01ED-3A5C00E8C27A}"/>
                    </a:ext>
                  </a:extLst>
                </p:cNvPr>
                <p:cNvGrpSpPr/>
                <p:nvPr/>
              </p:nvGrpSpPr>
              <p:grpSpPr>
                <a:xfrm>
                  <a:off x="6035611" y="3431190"/>
                  <a:ext cx="75723" cy="75723"/>
                  <a:chOff x="6035611" y="3431190"/>
                  <a:chExt cx="75723" cy="75723"/>
                </a:xfrm>
              </p:grpSpPr>
              <p:sp>
                <p:nvSpPr>
                  <p:cNvPr id="6270" name="Freeform: Shape 6269">
                    <a:extLst>
                      <a:ext uri="{FF2B5EF4-FFF2-40B4-BE49-F238E27FC236}">
                        <a16:creationId xmlns:a16="http://schemas.microsoft.com/office/drawing/2014/main" id="{5D2B2A75-9D75-EB79-4258-574F27282D07}"/>
                      </a:ext>
                    </a:extLst>
                  </p:cNvPr>
                  <p:cNvSpPr/>
                  <p:nvPr/>
                </p:nvSpPr>
                <p:spPr>
                  <a:xfrm>
                    <a:off x="6073521" y="343119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71" name="Freeform: Shape 6270">
                    <a:extLst>
                      <a:ext uri="{FF2B5EF4-FFF2-40B4-BE49-F238E27FC236}">
                        <a16:creationId xmlns:a16="http://schemas.microsoft.com/office/drawing/2014/main" id="{98298FB7-17E4-2B5F-2B0A-39BE713EC9B0}"/>
                      </a:ext>
                    </a:extLst>
                  </p:cNvPr>
                  <p:cNvSpPr/>
                  <p:nvPr/>
                </p:nvSpPr>
                <p:spPr>
                  <a:xfrm>
                    <a:off x="6035611" y="34690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8" name="Graphic 1498">
                  <a:extLst>
                    <a:ext uri="{FF2B5EF4-FFF2-40B4-BE49-F238E27FC236}">
                      <a16:creationId xmlns:a16="http://schemas.microsoft.com/office/drawing/2014/main" id="{670AD0D2-5704-D0AF-0C85-B4D113A893F1}"/>
                    </a:ext>
                  </a:extLst>
                </p:cNvPr>
                <p:cNvGrpSpPr/>
                <p:nvPr/>
              </p:nvGrpSpPr>
              <p:grpSpPr>
                <a:xfrm>
                  <a:off x="6054566" y="3443191"/>
                  <a:ext cx="75723" cy="75723"/>
                  <a:chOff x="6054566" y="3443191"/>
                  <a:chExt cx="75723" cy="75723"/>
                </a:xfrm>
              </p:grpSpPr>
              <p:sp>
                <p:nvSpPr>
                  <p:cNvPr id="6268" name="Freeform: Shape 6267">
                    <a:extLst>
                      <a:ext uri="{FF2B5EF4-FFF2-40B4-BE49-F238E27FC236}">
                        <a16:creationId xmlns:a16="http://schemas.microsoft.com/office/drawing/2014/main" id="{9962495B-7881-B9DB-897A-EF8FB7393F38}"/>
                      </a:ext>
                    </a:extLst>
                  </p:cNvPr>
                  <p:cNvSpPr/>
                  <p:nvPr/>
                </p:nvSpPr>
                <p:spPr>
                  <a:xfrm>
                    <a:off x="6092475" y="344319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69" name="Freeform: Shape 6268">
                    <a:extLst>
                      <a:ext uri="{FF2B5EF4-FFF2-40B4-BE49-F238E27FC236}">
                        <a16:creationId xmlns:a16="http://schemas.microsoft.com/office/drawing/2014/main" id="{7272CB07-533A-C668-63DC-64A76C70E790}"/>
                      </a:ext>
                    </a:extLst>
                  </p:cNvPr>
                  <p:cNvSpPr/>
                  <p:nvPr/>
                </p:nvSpPr>
                <p:spPr>
                  <a:xfrm>
                    <a:off x="6054566" y="348100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09" name="Graphic 1498">
                  <a:extLst>
                    <a:ext uri="{FF2B5EF4-FFF2-40B4-BE49-F238E27FC236}">
                      <a16:creationId xmlns:a16="http://schemas.microsoft.com/office/drawing/2014/main" id="{151446CE-A2DA-CDC3-A8F3-58514B5F6280}"/>
                    </a:ext>
                  </a:extLst>
                </p:cNvPr>
                <p:cNvGrpSpPr/>
                <p:nvPr/>
              </p:nvGrpSpPr>
              <p:grpSpPr>
                <a:xfrm>
                  <a:off x="6108001" y="3458050"/>
                  <a:ext cx="75628" cy="75723"/>
                  <a:chOff x="6108001" y="3458050"/>
                  <a:chExt cx="75628" cy="75723"/>
                </a:xfrm>
              </p:grpSpPr>
              <p:sp>
                <p:nvSpPr>
                  <p:cNvPr id="6266" name="Freeform: Shape 6265">
                    <a:extLst>
                      <a:ext uri="{FF2B5EF4-FFF2-40B4-BE49-F238E27FC236}">
                        <a16:creationId xmlns:a16="http://schemas.microsoft.com/office/drawing/2014/main" id="{FAE4CBBF-97FF-2E12-D5D3-EC5694CA6740}"/>
                      </a:ext>
                    </a:extLst>
                  </p:cNvPr>
                  <p:cNvSpPr/>
                  <p:nvPr/>
                </p:nvSpPr>
                <p:spPr>
                  <a:xfrm>
                    <a:off x="6145815"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67" name="Freeform: Shape 6266">
                    <a:extLst>
                      <a:ext uri="{FF2B5EF4-FFF2-40B4-BE49-F238E27FC236}">
                        <a16:creationId xmlns:a16="http://schemas.microsoft.com/office/drawing/2014/main" id="{B84D0E09-5449-452D-8E73-D2A13B2F9824}"/>
                      </a:ext>
                    </a:extLst>
                  </p:cNvPr>
                  <p:cNvSpPr/>
                  <p:nvPr/>
                </p:nvSpPr>
                <p:spPr>
                  <a:xfrm>
                    <a:off x="6108001" y="349596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0" name="Graphic 1498">
                  <a:extLst>
                    <a:ext uri="{FF2B5EF4-FFF2-40B4-BE49-F238E27FC236}">
                      <a16:creationId xmlns:a16="http://schemas.microsoft.com/office/drawing/2014/main" id="{90F9671F-4FEB-EFB6-44FD-2A0201F61FF4}"/>
                    </a:ext>
                  </a:extLst>
                </p:cNvPr>
                <p:cNvGrpSpPr/>
                <p:nvPr/>
              </p:nvGrpSpPr>
              <p:grpSpPr>
                <a:xfrm>
                  <a:off x="6130290" y="3458050"/>
                  <a:ext cx="75723" cy="75723"/>
                  <a:chOff x="6130290" y="3458050"/>
                  <a:chExt cx="75723" cy="75723"/>
                </a:xfrm>
              </p:grpSpPr>
              <p:sp>
                <p:nvSpPr>
                  <p:cNvPr id="6264" name="Freeform: Shape 6263">
                    <a:extLst>
                      <a:ext uri="{FF2B5EF4-FFF2-40B4-BE49-F238E27FC236}">
                        <a16:creationId xmlns:a16="http://schemas.microsoft.com/office/drawing/2014/main" id="{60F3832E-092B-316A-2834-A9E4A1F1A467}"/>
                      </a:ext>
                    </a:extLst>
                  </p:cNvPr>
                  <p:cNvSpPr/>
                  <p:nvPr/>
                </p:nvSpPr>
                <p:spPr>
                  <a:xfrm>
                    <a:off x="616810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65" name="Freeform: Shape 6264">
                    <a:extLst>
                      <a:ext uri="{FF2B5EF4-FFF2-40B4-BE49-F238E27FC236}">
                        <a16:creationId xmlns:a16="http://schemas.microsoft.com/office/drawing/2014/main" id="{CAB3AEEE-BF25-BC4A-9807-6B9E60B06B97}"/>
                      </a:ext>
                    </a:extLst>
                  </p:cNvPr>
                  <p:cNvSpPr/>
                  <p:nvPr/>
                </p:nvSpPr>
                <p:spPr>
                  <a:xfrm>
                    <a:off x="6130290"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1" name="Graphic 1498">
                  <a:extLst>
                    <a:ext uri="{FF2B5EF4-FFF2-40B4-BE49-F238E27FC236}">
                      <a16:creationId xmlns:a16="http://schemas.microsoft.com/office/drawing/2014/main" id="{212AED59-5FBA-804C-491F-9C92FD89E608}"/>
                    </a:ext>
                  </a:extLst>
                </p:cNvPr>
                <p:cNvGrpSpPr/>
                <p:nvPr/>
              </p:nvGrpSpPr>
              <p:grpSpPr>
                <a:xfrm>
                  <a:off x="6141624" y="3458050"/>
                  <a:ext cx="75723" cy="75723"/>
                  <a:chOff x="6141624" y="3458050"/>
                  <a:chExt cx="75723" cy="75723"/>
                </a:xfrm>
              </p:grpSpPr>
              <p:sp>
                <p:nvSpPr>
                  <p:cNvPr id="6262" name="Freeform: Shape 6261">
                    <a:extLst>
                      <a:ext uri="{FF2B5EF4-FFF2-40B4-BE49-F238E27FC236}">
                        <a16:creationId xmlns:a16="http://schemas.microsoft.com/office/drawing/2014/main" id="{04F59BB7-4730-D090-F874-6F8AB473D46A}"/>
                      </a:ext>
                    </a:extLst>
                  </p:cNvPr>
                  <p:cNvSpPr/>
                  <p:nvPr/>
                </p:nvSpPr>
                <p:spPr>
                  <a:xfrm>
                    <a:off x="6179534"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63" name="Freeform: Shape 6262">
                    <a:extLst>
                      <a:ext uri="{FF2B5EF4-FFF2-40B4-BE49-F238E27FC236}">
                        <a16:creationId xmlns:a16="http://schemas.microsoft.com/office/drawing/2014/main" id="{9BBE1443-AAFC-F695-CC3C-DB4BA661F372}"/>
                      </a:ext>
                    </a:extLst>
                  </p:cNvPr>
                  <p:cNvSpPr/>
                  <p:nvPr/>
                </p:nvSpPr>
                <p:spPr>
                  <a:xfrm>
                    <a:off x="6141624"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2" name="Graphic 1498">
                  <a:extLst>
                    <a:ext uri="{FF2B5EF4-FFF2-40B4-BE49-F238E27FC236}">
                      <a16:creationId xmlns:a16="http://schemas.microsoft.com/office/drawing/2014/main" id="{F97BC01A-9AA9-A66D-9758-8CC948776036}"/>
                    </a:ext>
                  </a:extLst>
                </p:cNvPr>
                <p:cNvGrpSpPr/>
                <p:nvPr/>
              </p:nvGrpSpPr>
              <p:grpSpPr>
                <a:xfrm>
                  <a:off x="6152578" y="3458050"/>
                  <a:ext cx="75723" cy="75723"/>
                  <a:chOff x="6152578" y="3458050"/>
                  <a:chExt cx="75723" cy="75723"/>
                </a:xfrm>
              </p:grpSpPr>
              <p:sp>
                <p:nvSpPr>
                  <p:cNvPr id="6260" name="Freeform: Shape 6259">
                    <a:extLst>
                      <a:ext uri="{FF2B5EF4-FFF2-40B4-BE49-F238E27FC236}">
                        <a16:creationId xmlns:a16="http://schemas.microsoft.com/office/drawing/2014/main" id="{65436DC5-11AF-8BA8-CD26-1E1EED1C393B}"/>
                      </a:ext>
                    </a:extLst>
                  </p:cNvPr>
                  <p:cNvSpPr/>
                  <p:nvPr/>
                </p:nvSpPr>
                <p:spPr>
                  <a:xfrm>
                    <a:off x="6190392"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61" name="Freeform: Shape 6260">
                    <a:extLst>
                      <a:ext uri="{FF2B5EF4-FFF2-40B4-BE49-F238E27FC236}">
                        <a16:creationId xmlns:a16="http://schemas.microsoft.com/office/drawing/2014/main" id="{249610F2-233C-C30F-9A73-A53C83D5F266}"/>
                      </a:ext>
                    </a:extLst>
                  </p:cNvPr>
                  <p:cNvSpPr/>
                  <p:nvPr/>
                </p:nvSpPr>
                <p:spPr>
                  <a:xfrm>
                    <a:off x="615257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3" name="Graphic 1498">
                  <a:extLst>
                    <a:ext uri="{FF2B5EF4-FFF2-40B4-BE49-F238E27FC236}">
                      <a16:creationId xmlns:a16="http://schemas.microsoft.com/office/drawing/2014/main" id="{15E01206-43F9-5E41-AE7D-8464254FB4B7}"/>
                    </a:ext>
                  </a:extLst>
                </p:cNvPr>
                <p:cNvGrpSpPr/>
                <p:nvPr/>
              </p:nvGrpSpPr>
              <p:grpSpPr>
                <a:xfrm>
                  <a:off x="6177248" y="3458050"/>
                  <a:ext cx="75723" cy="75723"/>
                  <a:chOff x="6177248" y="3458050"/>
                  <a:chExt cx="75723" cy="75723"/>
                </a:xfrm>
              </p:grpSpPr>
              <p:sp>
                <p:nvSpPr>
                  <p:cNvPr id="6258" name="Freeform: Shape 6257">
                    <a:extLst>
                      <a:ext uri="{FF2B5EF4-FFF2-40B4-BE49-F238E27FC236}">
                        <a16:creationId xmlns:a16="http://schemas.microsoft.com/office/drawing/2014/main" id="{0717DCF6-E351-37D3-8902-8EE5AD54B8B2}"/>
                      </a:ext>
                    </a:extLst>
                  </p:cNvPr>
                  <p:cNvSpPr/>
                  <p:nvPr/>
                </p:nvSpPr>
                <p:spPr>
                  <a:xfrm>
                    <a:off x="6215157" y="34580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59" name="Freeform: Shape 6258">
                    <a:extLst>
                      <a:ext uri="{FF2B5EF4-FFF2-40B4-BE49-F238E27FC236}">
                        <a16:creationId xmlns:a16="http://schemas.microsoft.com/office/drawing/2014/main" id="{87A36C0F-45A9-3D31-63A9-B8EAF79FE82C}"/>
                      </a:ext>
                    </a:extLst>
                  </p:cNvPr>
                  <p:cNvSpPr/>
                  <p:nvPr/>
                </p:nvSpPr>
                <p:spPr>
                  <a:xfrm>
                    <a:off x="6177248" y="34959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4" name="Graphic 1498">
                  <a:extLst>
                    <a:ext uri="{FF2B5EF4-FFF2-40B4-BE49-F238E27FC236}">
                      <a16:creationId xmlns:a16="http://schemas.microsoft.com/office/drawing/2014/main" id="{845992A4-E847-D05B-27A8-CEFAF6A05C74}"/>
                    </a:ext>
                  </a:extLst>
                </p:cNvPr>
                <p:cNvGrpSpPr/>
                <p:nvPr/>
              </p:nvGrpSpPr>
              <p:grpSpPr>
                <a:xfrm>
                  <a:off x="6662166" y="3582637"/>
                  <a:ext cx="75628" cy="75628"/>
                  <a:chOff x="6662166" y="3582637"/>
                  <a:chExt cx="75628" cy="75628"/>
                </a:xfrm>
              </p:grpSpPr>
              <p:sp>
                <p:nvSpPr>
                  <p:cNvPr id="6256" name="Freeform: Shape 6255">
                    <a:extLst>
                      <a:ext uri="{FF2B5EF4-FFF2-40B4-BE49-F238E27FC236}">
                        <a16:creationId xmlns:a16="http://schemas.microsoft.com/office/drawing/2014/main" id="{B0E68D84-2EFB-600D-99D3-CDEC0994BCC9}"/>
                      </a:ext>
                    </a:extLst>
                  </p:cNvPr>
                  <p:cNvSpPr/>
                  <p:nvPr/>
                </p:nvSpPr>
                <p:spPr>
                  <a:xfrm>
                    <a:off x="6699980"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57" name="Freeform: Shape 6256">
                    <a:extLst>
                      <a:ext uri="{FF2B5EF4-FFF2-40B4-BE49-F238E27FC236}">
                        <a16:creationId xmlns:a16="http://schemas.microsoft.com/office/drawing/2014/main" id="{07C0854C-3B56-3AF4-2458-B3C4FF87F45C}"/>
                      </a:ext>
                    </a:extLst>
                  </p:cNvPr>
                  <p:cNvSpPr/>
                  <p:nvPr/>
                </p:nvSpPr>
                <p:spPr>
                  <a:xfrm>
                    <a:off x="6662166"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5" name="Graphic 1498">
                  <a:extLst>
                    <a:ext uri="{FF2B5EF4-FFF2-40B4-BE49-F238E27FC236}">
                      <a16:creationId xmlns:a16="http://schemas.microsoft.com/office/drawing/2014/main" id="{C5E8D702-DD9F-D2E6-4EB9-C324849F670D}"/>
                    </a:ext>
                  </a:extLst>
                </p:cNvPr>
                <p:cNvGrpSpPr/>
                <p:nvPr/>
              </p:nvGrpSpPr>
              <p:grpSpPr>
                <a:xfrm>
                  <a:off x="6668928" y="3582637"/>
                  <a:ext cx="75723" cy="75628"/>
                  <a:chOff x="6668928" y="3582637"/>
                  <a:chExt cx="75723" cy="75628"/>
                </a:xfrm>
              </p:grpSpPr>
              <p:sp>
                <p:nvSpPr>
                  <p:cNvPr id="6254" name="Freeform: Shape 6253">
                    <a:extLst>
                      <a:ext uri="{FF2B5EF4-FFF2-40B4-BE49-F238E27FC236}">
                        <a16:creationId xmlns:a16="http://schemas.microsoft.com/office/drawing/2014/main" id="{68DDF07E-C2CE-2AF9-D3AB-4F87933D716A}"/>
                      </a:ext>
                    </a:extLst>
                  </p:cNvPr>
                  <p:cNvSpPr/>
                  <p:nvPr/>
                </p:nvSpPr>
                <p:spPr>
                  <a:xfrm>
                    <a:off x="6706838"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55" name="Freeform: Shape 6254">
                    <a:extLst>
                      <a:ext uri="{FF2B5EF4-FFF2-40B4-BE49-F238E27FC236}">
                        <a16:creationId xmlns:a16="http://schemas.microsoft.com/office/drawing/2014/main" id="{10FD5FAC-FE82-541A-3482-71B198765930}"/>
                      </a:ext>
                    </a:extLst>
                  </p:cNvPr>
                  <p:cNvSpPr/>
                  <p:nvPr/>
                </p:nvSpPr>
                <p:spPr>
                  <a:xfrm>
                    <a:off x="6668928"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6" name="Graphic 1498">
                  <a:extLst>
                    <a:ext uri="{FF2B5EF4-FFF2-40B4-BE49-F238E27FC236}">
                      <a16:creationId xmlns:a16="http://schemas.microsoft.com/office/drawing/2014/main" id="{9432C99B-2152-209E-5857-67717E5A4A54}"/>
                    </a:ext>
                  </a:extLst>
                </p:cNvPr>
                <p:cNvGrpSpPr/>
                <p:nvPr/>
              </p:nvGrpSpPr>
              <p:grpSpPr>
                <a:xfrm>
                  <a:off x="6696741" y="3582637"/>
                  <a:ext cx="75723" cy="75628"/>
                  <a:chOff x="6696741" y="3582637"/>
                  <a:chExt cx="75723" cy="75628"/>
                </a:xfrm>
              </p:grpSpPr>
              <p:sp>
                <p:nvSpPr>
                  <p:cNvPr id="6252" name="Freeform: Shape 6251">
                    <a:extLst>
                      <a:ext uri="{FF2B5EF4-FFF2-40B4-BE49-F238E27FC236}">
                        <a16:creationId xmlns:a16="http://schemas.microsoft.com/office/drawing/2014/main" id="{65635CFD-06F2-94D0-5FED-F5E26389224D}"/>
                      </a:ext>
                    </a:extLst>
                  </p:cNvPr>
                  <p:cNvSpPr/>
                  <p:nvPr/>
                </p:nvSpPr>
                <p:spPr>
                  <a:xfrm>
                    <a:off x="6734651"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53" name="Freeform: Shape 6252">
                    <a:extLst>
                      <a:ext uri="{FF2B5EF4-FFF2-40B4-BE49-F238E27FC236}">
                        <a16:creationId xmlns:a16="http://schemas.microsoft.com/office/drawing/2014/main" id="{623D6DE3-7400-E4D8-C678-B986EBC84C5C}"/>
                      </a:ext>
                    </a:extLst>
                  </p:cNvPr>
                  <p:cNvSpPr/>
                  <p:nvPr/>
                </p:nvSpPr>
                <p:spPr>
                  <a:xfrm>
                    <a:off x="6696741"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7" name="Graphic 1498">
                  <a:extLst>
                    <a:ext uri="{FF2B5EF4-FFF2-40B4-BE49-F238E27FC236}">
                      <a16:creationId xmlns:a16="http://schemas.microsoft.com/office/drawing/2014/main" id="{A2E4BAC3-2BE1-B6BA-62FF-E91386368CD8}"/>
                    </a:ext>
                  </a:extLst>
                </p:cNvPr>
                <p:cNvGrpSpPr/>
                <p:nvPr/>
              </p:nvGrpSpPr>
              <p:grpSpPr>
                <a:xfrm>
                  <a:off x="6718363" y="3582637"/>
                  <a:ext cx="75723" cy="75628"/>
                  <a:chOff x="6718363" y="3582637"/>
                  <a:chExt cx="75723" cy="75628"/>
                </a:xfrm>
              </p:grpSpPr>
              <p:sp>
                <p:nvSpPr>
                  <p:cNvPr id="6250" name="Freeform: Shape 6249">
                    <a:extLst>
                      <a:ext uri="{FF2B5EF4-FFF2-40B4-BE49-F238E27FC236}">
                        <a16:creationId xmlns:a16="http://schemas.microsoft.com/office/drawing/2014/main" id="{6F8BB860-E17B-CA1C-79DB-7BF51972978A}"/>
                      </a:ext>
                    </a:extLst>
                  </p:cNvPr>
                  <p:cNvSpPr/>
                  <p:nvPr/>
                </p:nvSpPr>
                <p:spPr>
                  <a:xfrm>
                    <a:off x="6756177"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51" name="Freeform: Shape 6250">
                    <a:extLst>
                      <a:ext uri="{FF2B5EF4-FFF2-40B4-BE49-F238E27FC236}">
                        <a16:creationId xmlns:a16="http://schemas.microsoft.com/office/drawing/2014/main" id="{3D397905-168E-2A46-51E6-D39A8190AD52}"/>
                      </a:ext>
                    </a:extLst>
                  </p:cNvPr>
                  <p:cNvSpPr/>
                  <p:nvPr/>
                </p:nvSpPr>
                <p:spPr>
                  <a:xfrm>
                    <a:off x="6718363"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8" name="Graphic 1498">
                  <a:extLst>
                    <a:ext uri="{FF2B5EF4-FFF2-40B4-BE49-F238E27FC236}">
                      <a16:creationId xmlns:a16="http://schemas.microsoft.com/office/drawing/2014/main" id="{32671C5B-76DA-8C2F-1A7A-24B8E939A428}"/>
                    </a:ext>
                  </a:extLst>
                </p:cNvPr>
                <p:cNvGrpSpPr/>
                <p:nvPr/>
              </p:nvGrpSpPr>
              <p:grpSpPr>
                <a:xfrm>
                  <a:off x="6741795" y="3582637"/>
                  <a:ext cx="75628" cy="75628"/>
                  <a:chOff x="6741795" y="3582637"/>
                  <a:chExt cx="75628" cy="75628"/>
                </a:xfrm>
              </p:grpSpPr>
              <p:sp>
                <p:nvSpPr>
                  <p:cNvPr id="6248" name="Freeform: Shape 6247">
                    <a:extLst>
                      <a:ext uri="{FF2B5EF4-FFF2-40B4-BE49-F238E27FC236}">
                        <a16:creationId xmlns:a16="http://schemas.microsoft.com/office/drawing/2014/main" id="{3D75169F-3E40-0031-CFF0-87810922CCEE}"/>
                      </a:ext>
                    </a:extLst>
                  </p:cNvPr>
                  <p:cNvSpPr/>
                  <p:nvPr/>
                </p:nvSpPr>
                <p:spPr>
                  <a:xfrm>
                    <a:off x="677960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49" name="Freeform: Shape 6248">
                    <a:extLst>
                      <a:ext uri="{FF2B5EF4-FFF2-40B4-BE49-F238E27FC236}">
                        <a16:creationId xmlns:a16="http://schemas.microsoft.com/office/drawing/2014/main" id="{2B50EEB8-A5CB-A904-CBD9-E8DF664D7ED3}"/>
                      </a:ext>
                    </a:extLst>
                  </p:cNvPr>
                  <p:cNvSpPr/>
                  <p:nvPr/>
                </p:nvSpPr>
                <p:spPr>
                  <a:xfrm>
                    <a:off x="6741795" y="36204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19" name="Graphic 1498">
                  <a:extLst>
                    <a:ext uri="{FF2B5EF4-FFF2-40B4-BE49-F238E27FC236}">
                      <a16:creationId xmlns:a16="http://schemas.microsoft.com/office/drawing/2014/main" id="{58D955A2-4249-128E-AD02-3CDC88B2E684}"/>
                    </a:ext>
                  </a:extLst>
                </p:cNvPr>
                <p:cNvGrpSpPr/>
                <p:nvPr/>
              </p:nvGrpSpPr>
              <p:grpSpPr>
                <a:xfrm>
                  <a:off x="6772465" y="3582637"/>
                  <a:ext cx="75723" cy="75628"/>
                  <a:chOff x="6772465" y="3582637"/>
                  <a:chExt cx="75723" cy="75628"/>
                </a:xfrm>
              </p:grpSpPr>
              <p:sp>
                <p:nvSpPr>
                  <p:cNvPr id="6246" name="Freeform: Shape 6245">
                    <a:extLst>
                      <a:ext uri="{FF2B5EF4-FFF2-40B4-BE49-F238E27FC236}">
                        <a16:creationId xmlns:a16="http://schemas.microsoft.com/office/drawing/2014/main" id="{B38ED416-68D3-3ED6-7757-4A53EBBAEBEC}"/>
                      </a:ext>
                    </a:extLst>
                  </p:cNvPr>
                  <p:cNvSpPr/>
                  <p:nvPr/>
                </p:nvSpPr>
                <p:spPr>
                  <a:xfrm>
                    <a:off x="681027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47" name="Freeform: Shape 6246">
                    <a:extLst>
                      <a:ext uri="{FF2B5EF4-FFF2-40B4-BE49-F238E27FC236}">
                        <a16:creationId xmlns:a16="http://schemas.microsoft.com/office/drawing/2014/main" id="{09E06CDB-5964-4DB4-9782-48E20B4C4C9A}"/>
                      </a:ext>
                    </a:extLst>
                  </p:cNvPr>
                  <p:cNvSpPr/>
                  <p:nvPr/>
                </p:nvSpPr>
                <p:spPr>
                  <a:xfrm>
                    <a:off x="6772465" y="36204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0" name="Graphic 1498">
                  <a:extLst>
                    <a:ext uri="{FF2B5EF4-FFF2-40B4-BE49-F238E27FC236}">
                      <a16:creationId xmlns:a16="http://schemas.microsoft.com/office/drawing/2014/main" id="{FF168D26-DDC6-1B20-A640-87603194FA6B}"/>
                    </a:ext>
                  </a:extLst>
                </p:cNvPr>
                <p:cNvGrpSpPr/>
                <p:nvPr/>
              </p:nvGrpSpPr>
              <p:grpSpPr>
                <a:xfrm>
                  <a:off x="6802755" y="3582637"/>
                  <a:ext cx="75628" cy="75628"/>
                  <a:chOff x="6802755" y="3582637"/>
                  <a:chExt cx="75628" cy="75628"/>
                </a:xfrm>
              </p:grpSpPr>
              <p:sp>
                <p:nvSpPr>
                  <p:cNvPr id="6244" name="Freeform: Shape 6243">
                    <a:extLst>
                      <a:ext uri="{FF2B5EF4-FFF2-40B4-BE49-F238E27FC236}">
                        <a16:creationId xmlns:a16="http://schemas.microsoft.com/office/drawing/2014/main" id="{6DE56C00-27E4-E35D-A33F-512CA0976779}"/>
                      </a:ext>
                    </a:extLst>
                  </p:cNvPr>
                  <p:cNvSpPr/>
                  <p:nvPr/>
                </p:nvSpPr>
                <p:spPr>
                  <a:xfrm>
                    <a:off x="6840569" y="358263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45" name="Freeform: Shape 6244">
                    <a:extLst>
                      <a:ext uri="{FF2B5EF4-FFF2-40B4-BE49-F238E27FC236}">
                        <a16:creationId xmlns:a16="http://schemas.microsoft.com/office/drawing/2014/main" id="{046B449E-A4C9-22CD-BB52-C1F17ECB1ADD}"/>
                      </a:ext>
                    </a:extLst>
                  </p:cNvPr>
                  <p:cNvSpPr/>
                  <p:nvPr/>
                </p:nvSpPr>
                <p:spPr>
                  <a:xfrm>
                    <a:off x="6802755" y="36204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1" name="Graphic 1498">
                  <a:extLst>
                    <a:ext uri="{FF2B5EF4-FFF2-40B4-BE49-F238E27FC236}">
                      <a16:creationId xmlns:a16="http://schemas.microsoft.com/office/drawing/2014/main" id="{1DBFAE19-4F76-6A64-2118-17F44A45C3FB}"/>
                    </a:ext>
                  </a:extLst>
                </p:cNvPr>
                <p:cNvGrpSpPr/>
                <p:nvPr/>
              </p:nvGrpSpPr>
              <p:grpSpPr>
                <a:xfrm>
                  <a:off x="7077456" y="3653599"/>
                  <a:ext cx="75628" cy="75723"/>
                  <a:chOff x="7077456" y="3653599"/>
                  <a:chExt cx="75628" cy="75723"/>
                </a:xfrm>
              </p:grpSpPr>
              <p:sp>
                <p:nvSpPr>
                  <p:cNvPr id="6242" name="Freeform: Shape 6241">
                    <a:extLst>
                      <a:ext uri="{FF2B5EF4-FFF2-40B4-BE49-F238E27FC236}">
                        <a16:creationId xmlns:a16="http://schemas.microsoft.com/office/drawing/2014/main" id="{3D36CF4B-5846-368E-5686-3F5997AC5644}"/>
                      </a:ext>
                    </a:extLst>
                  </p:cNvPr>
                  <p:cNvSpPr/>
                  <p:nvPr/>
                </p:nvSpPr>
                <p:spPr>
                  <a:xfrm>
                    <a:off x="71152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43" name="Freeform: Shape 6242">
                    <a:extLst>
                      <a:ext uri="{FF2B5EF4-FFF2-40B4-BE49-F238E27FC236}">
                        <a16:creationId xmlns:a16="http://schemas.microsoft.com/office/drawing/2014/main" id="{4137852D-851E-9796-683F-8F7D5AC7952D}"/>
                      </a:ext>
                    </a:extLst>
                  </p:cNvPr>
                  <p:cNvSpPr/>
                  <p:nvPr/>
                </p:nvSpPr>
                <p:spPr>
                  <a:xfrm>
                    <a:off x="7077456" y="369141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2" name="Graphic 1498">
                  <a:extLst>
                    <a:ext uri="{FF2B5EF4-FFF2-40B4-BE49-F238E27FC236}">
                      <a16:creationId xmlns:a16="http://schemas.microsoft.com/office/drawing/2014/main" id="{B7651F65-58F6-E082-7C1E-53B3137A831B}"/>
                    </a:ext>
                  </a:extLst>
                </p:cNvPr>
                <p:cNvGrpSpPr/>
                <p:nvPr/>
              </p:nvGrpSpPr>
              <p:grpSpPr>
                <a:xfrm>
                  <a:off x="7096220" y="3653599"/>
                  <a:ext cx="75723" cy="75723"/>
                  <a:chOff x="7096220" y="3653599"/>
                  <a:chExt cx="75723" cy="75723"/>
                </a:xfrm>
              </p:grpSpPr>
              <p:sp>
                <p:nvSpPr>
                  <p:cNvPr id="6240" name="Freeform: Shape 6239">
                    <a:extLst>
                      <a:ext uri="{FF2B5EF4-FFF2-40B4-BE49-F238E27FC236}">
                        <a16:creationId xmlns:a16="http://schemas.microsoft.com/office/drawing/2014/main" id="{CE51DA2B-5631-EA63-ACC7-7B2604D43E87}"/>
                      </a:ext>
                    </a:extLst>
                  </p:cNvPr>
                  <p:cNvSpPr/>
                  <p:nvPr/>
                </p:nvSpPr>
                <p:spPr>
                  <a:xfrm>
                    <a:off x="713403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41" name="Freeform: Shape 6240">
                    <a:extLst>
                      <a:ext uri="{FF2B5EF4-FFF2-40B4-BE49-F238E27FC236}">
                        <a16:creationId xmlns:a16="http://schemas.microsoft.com/office/drawing/2014/main" id="{A89D8583-60EA-4391-8A2C-982A14129BC7}"/>
                      </a:ext>
                    </a:extLst>
                  </p:cNvPr>
                  <p:cNvSpPr/>
                  <p:nvPr/>
                </p:nvSpPr>
                <p:spPr>
                  <a:xfrm>
                    <a:off x="7096220"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3" name="Graphic 1498">
                  <a:extLst>
                    <a:ext uri="{FF2B5EF4-FFF2-40B4-BE49-F238E27FC236}">
                      <a16:creationId xmlns:a16="http://schemas.microsoft.com/office/drawing/2014/main" id="{D20915B4-B546-7417-EEB9-13512B3E489B}"/>
                    </a:ext>
                  </a:extLst>
                </p:cNvPr>
                <p:cNvGrpSpPr/>
                <p:nvPr/>
              </p:nvGrpSpPr>
              <p:grpSpPr>
                <a:xfrm>
                  <a:off x="7108412" y="3653599"/>
                  <a:ext cx="75723" cy="75723"/>
                  <a:chOff x="7108412" y="3653599"/>
                  <a:chExt cx="75723" cy="75723"/>
                </a:xfrm>
              </p:grpSpPr>
              <p:sp>
                <p:nvSpPr>
                  <p:cNvPr id="6238" name="Freeform: Shape 6237">
                    <a:extLst>
                      <a:ext uri="{FF2B5EF4-FFF2-40B4-BE49-F238E27FC236}">
                        <a16:creationId xmlns:a16="http://schemas.microsoft.com/office/drawing/2014/main" id="{5339F7F4-94F7-DE82-323D-8797E6F171BF}"/>
                      </a:ext>
                    </a:extLst>
                  </p:cNvPr>
                  <p:cNvSpPr/>
                  <p:nvPr/>
                </p:nvSpPr>
                <p:spPr>
                  <a:xfrm>
                    <a:off x="7146321"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39" name="Freeform: Shape 6238">
                    <a:extLst>
                      <a:ext uri="{FF2B5EF4-FFF2-40B4-BE49-F238E27FC236}">
                        <a16:creationId xmlns:a16="http://schemas.microsoft.com/office/drawing/2014/main" id="{7B3A74B6-19AD-3051-B45F-9C3988954354}"/>
                      </a:ext>
                    </a:extLst>
                  </p:cNvPr>
                  <p:cNvSpPr/>
                  <p:nvPr/>
                </p:nvSpPr>
                <p:spPr>
                  <a:xfrm>
                    <a:off x="7108412"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4" name="Graphic 1498">
                  <a:extLst>
                    <a:ext uri="{FF2B5EF4-FFF2-40B4-BE49-F238E27FC236}">
                      <a16:creationId xmlns:a16="http://schemas.microsoft.com/office/drawing/2014/main" id="{54E083A9-6505-55CA-B526-B64FC81709E9}"/>
                    </a:ext>
                  </a:extLst>
                </p:cNvPr>
                <p:cNvGrpSpPr/>
                <p:nvPr/>
              </p:nvGrpSpPr>
              <p:grpSpPr>
                <a:xfrm>
                  <a:off x="7157561" y="3653599"/>
                  <a:ext cx="75723" cy="75723"/>
                  <a:chOff x="7157561" y="3653599"/>
                  <a:chExt cx="75723" cy="75723"/>
                </a:xfrm>
              </p:grpSpPr>
              <p:sp>
                <p:nvSpPr>
                  <p:cNvPr id="6236" name="Freeform: Shape 6235">
                    <a:extLst>
                      <a:ext uri="{FF2B5EF4-FFF2-40B4-BE49-F238E27FC236}">
                        <a16:creationId xmlns:a16="http://schemas.microsoft.com/office/drawing/2014/main" id="{904E5045-5171-5140-7E58-6761EFA9BE6B}"/>
                      </a:ext>
                    </a:extLst>
                  </p:cNvPr>
                  <p:cNvSpPr/>
                  <p:nvPr/>
                </p:nvSpPr>
                <p:spPr>
                  <a:xfrm>
                    <a:off x="7195470"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37" name="Freeform: Shape 6236">
                    <a:extLst>
                      <a:ext uri="{FF2B5EF4-FFF2-40B4-BE49-F238E27FC236}">
                        <a16:creationId xmlns:a16="http://schemas.microsoft.com/office/drawing/2014/main" id="{929635C3-FFEB-0055-4A41-80F2905BF2BF}"/>
                      </a:ext>
                    </a:extLst>
                  </p:cNvPr>
                  <p:cNvSpPr/>
                  <p:nvPr/>
                </p:nvSpPr>
                <p:spPr>
                  <a:xfrm>
                    <a:off x="7157561"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5" name="Graphic 1498">
                  <a:extLst>
                    <a:ext uri="{FF2B5EF4-FFF2-40B4-BE49-F238E27FC236}">
                      <a16:creationId xmlns:a16="http://schemas.microsoft.com/office/drawing/2014/main" id="{95A95865-CB72-175D-A7CD-DF7B5A2B6EE1}"/>
                    </a:ext>
                  </a:extLst>
                </p:cNvPr>
                <p:cNvGrpSpPr/>
                <p:nvPr/>
              </p:nvGrpSpPr>
              <p:grpSpPr>
                <a:xfrm>
                  <a:off x="7169753" y="3653599"/>
                  <a:ext cx="75723" cy="75723"/>
                  <a:chOff x="7169753" y="3653599"/>
                  <a:chExt cx="75723" cy="75723"/>
                </a:xfrm>
              </p:grpSpPr>
              <p:sp>
                <p:nvSpPr>
                  <p:cNvPr id="6234" name="Freeform: Shape 6233">
                    <a:extLst>
                      <a:ext uri="{FF2B5EF4-FFF2-40B4-BE49-F238E27FC236}">
                        <a16:creationId xmlns:a16="http://schemas.microsoft.com/office/drawing/2014/main" id="{A511A955-DE41-77C1-A8A1-8C9827AD07C3}"/>
                      </a:ext>
                    </a:extLst>
                  </p:cNvPr>
                  <p:cNvSpPr/>
                  <p:nvPr/>
                </p:nvSpPr>
                <p:spPr>
                  <a:xfrm>
                    <a:off x="7207662"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35" name="Freeform: Shape 6234">
                    <a:extLst>
                      <a:ext uri="{FF2B5EF4-FFF2-40B4-BE49-F238E27FC236}">
                        <a16:creationId xmlns:a16="http://schemas.microsoft.com/office/drawing/2014/main" id="{1F382D95-8D01-540E-24EE-5326286F78FD}"/>
                      </a:ext>
                    </a:extLst>
                  </p:cNvPr>
                  <p:cNvSpPr/>
                  <p:nvPr/>
                </p:nvSpPr>
                <p:spPr>
                  <a:xfrm>
                    <a:off x="7169753"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6" name="Graphic 1498">
                  <a:extLst>
                    <a:ext uri="{FF2B5EF4-FFF2-40B4-BE49-F238E27FC236}">
                      <a16:creationId xmlns:a16="http://schemas.microsoft.com/office/drawing/2014/main" id="{DDE55EC4-F30F-778F-5ABF-0EFFFCC4BB05}"/>
                    </a:ext>
                  </a:extLst>
                </p:cNvPr>
                <p:cNvGrpSpPr/>
                <p:nvPr/>
              </p:nvGrpSpPr>
              <p:grpSpPr>
                <a:xfrm>
                  <a:off x="7219854" y="3653599"/>
                  <a:ext cx="75723" cy="75723"/>
                  <a:chOff x="7219854" y="3653599"/>
                  <a:chExt cx="75723" cy="75723"/>
                </a:xfrm>
              </p:grpSpPr>
              <p:sp>
                <p:nvSpPr>
                  <p:cNvPr id="6232" name="Freeform: Shape 6231">
                    <a:extLst>
                      <a:ext uri="{FF2B5EF4-FFF2-40B4-BE49-F238E27FC236}">
                        <a16:creationId xmlns:a16="http://schemas.microsoft.com/office/drawing/2014/main" id="{1A53B82C-793C-6D4C-58EE-00BD9D66B4D5}"/>
                      </a:ext>
                    </a:extLst>
                  </p:cNvPr>
                  <p:cNvSpPr/>
                  <p:nvPr/>
                </p:nvSpPr>
                <p:spPr>
                  <a:xfrm>
                    <a:off x="7257764"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33" name="Freeform: Shape 6232">
                    <a:extLst>
                      <a:ext uri="{FF2B5EF4-FFF2-40B4-BE49-F238E27FC236}">
                        <a16:creationId xmlns:a16="http://schemas.microsoft.com/office/drawing/2014/main" id="{6BFB0CAA-33E5-D41A-68A4-EE2CC729D48D}"/>
                      </a:ext>
                    </a:extLst>
                  </p:cNvPr>
                  <p:cNvSpPr/>
                  <p:nvPr/>
                </p:nvSpPr>
                <p:spPr>
                  <a:xfrm>
                    <a:off x="7219854"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7" name="Graphic 1498">
                  <a:extLst>
                    <a:ext uri="{FF2B5EF4-FFF2-40B4-BE49-F238E27FC236}">
                      <a16:creationId xmlns:a16="http://schemas.microsoft.com/office/drawing/2014/main" id="{A8087E9B-3D9F-7D90-D05F-7CE162F9A6DB}"/>
                    </a:ext>
                  </a:extLst>
                </p:cNvPr>
                <p:cNvGrpSpPr/>
                <p:nvPr/>
              </p:nvGrpSpPr>
              <p:grpSpPr>
                <a:xfrm>
                  <a:off x="7249096" y="3653599"/>
                  <a:ext cx="75723" cy="75723"/>
                  <a:chOff x="7249096" y="3653599"/>
                  <a:chExt cx="75723" cy="75723"/>
                </a:xfrm>
              </p:grpSpPr>
              <p:sp>
                <p:nvSpPr>
                  <p:cNvPr id="6230" name="Freeform: Shape 6229">
                    <a:extLst>
                      <a:ext uri="{FF2B5EF4-FFF2-40B4-BE49-F238E27FC236}">
                        <a16:creationId xmlns:a16="http://schemas.microsoft.com/office/drawing/2014/main" id="{4577C7F6-F6CE-EFB8-87A6-5CE497A7DE8F}"/>
                      </a:ext>
                    </a:extLst>
                  </p:cNvPr>
                  <p:cNvSpPr/>
                  <p:nvPr/>
                </p:nvSpPr>
                <p:spPr>
                  <a:xfrm>
                    <a:off x="7287006" y="36535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31" name="Freeform: Shape 6230">
                    <a:extLst>
                      <a:ext uri="{FF2B5EF4-FFF2-40B4-BE49-F238E27FC236}">
                        <a16:creationId xmlns:a16="http://schemas.microsoft.com/office/drawing/2014/main" id="{4410566F-FF36-D753-EA58-C7CE59981FA2}"/>
                      </a:ext>
                    </a:extLst>
                  </p:cNvPr>
                  <p:cNvSpPr/>
                  <p:nvPr/>
                </p:nvSpPr>
                <p:spPr>
                  <a:xfrm>
                    <a:off x="7249096" y="36914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8" name="Graphic 1498">
                  <a:extLst>
                    <a:ext uri="{FF2B5EF4-FFF2-40B4-BE49-F238E27FC236}">
                      <a16:creationId xmlns:a16="http://schemas.microsoft.com/office/drawing/2014/main" id="{CDB3751E-5D8B-D3E5-5AFE-C170CEA6C4C7}"/>
                    </a:ext>
                  </a:extLst>
                </p:cNvPr>
                <p:cNvGrpSpPr/>
                <p:nvPr/>
              </p:nvGrpSpPr>
              <p:grpSpPr>
                <a:xfrm>
                  <a:off x="7287006" y="3680459"/>
                  <a:ext cx="75628" cy="75723"/>
                  <a:chOff x="7287006" y="3680459"/>
                  <a:chExt cx="75628" cy="75723"/>
                </a:xfrm>
              </p:grpSpPr>
              <p:sp>
                <p:nvSpPr>
                  <p:cNvPr id="6228" name="Freeform: Shape 6227">
                    <a:extLst>
                      <a:ext uri="{FF2B5EF4-FFF2-40B4-BE49-F238E27FC236}">
                        <a16:creationId xmlns:a16="http://schemas.microsoft.com/office/drawing/2014/main" id="{2CBB25DC-C94F-1EDC-E664-F977188E3592}"/>
                      </a:ext>
                    </a:extLst>
                  </p:cNvPr>
                  <p:cNvSpPr/>
                  <p:nvPr/>
                </p:nvSpPr>
                <p:spPr>
                  <a:xfrm>
                    <a:off x="7324820" y="368045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29" name="Freeform: Shape 6228">
                    <a:extLst>
                      <a:ext uri="{FF2B5EF4-FFF2-40B4-BE49-F238E27FC236}">
                        <a16:creationId xmlns:a16="http://schemas.microsoft.com/office/drawing/2014/main" id="{152EFB6B-3667-C360-2407-1C5B74D3C5A6}"/>
                      </a:ext>
                    </a:extLst>
                  </p:cNvPr>
                  <p:cNvSpPr/>
                  <p:nvPr/>
                </p:nvSpPr>
                <p:spPr>
                  <a:xfrm>
                    <a:off x="7287006" y="37183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29" name="Graphic 1498">
                  <a:extLst>
                    <a:ext uri="{FF2B5EF4-FFF2-40B4-BE49-F238E27FC236}">
                      <a16:creationId xmlns:a16="http://schemas.microsoft.com/office/drawing/2014/main" id="{7F0E763A-61BE-35DD-1F50-91215612E635}"/>
                    </a:ext>
                  </a:extLst>
                </p:cNvPr>
                <p:cNvGrpSpPr/>
                <p:nvPr/>
              </p:nvGrpSpPr>
              <p:grpSpPr>
                <a:xfrm>
                  <a:off x="7324820" y="3715797"/>
                  <a:ext cx="75723" cy="75628"/>
                  <a:chOff x="7324820" y="3715797"/>
                  <a:chExt cx="75723" cy="75628"/>
                </a:xfrm>
              </p:grpSpPr>
              <p:sp>
                <p:nvSpPr>
                  <p:cNvPr id="6226" name="Freeform: Shape 6225">
                    <a:extLst>
                      <a:ext uri="{FF2B5EF4-FFF2-40B4-BE49-F238E27FC236}">
                        <a16:creationId xmlns:a16="http://schemas.microsoft.com/office/drawing/2014/main" id="{BCABD204-BE5D-EF9C-AE69-9D84AC959044}"/>
                      </a:ext>
                    </a:extLst>
                  </p:cNvPr>
                  <p:cNvSpPr/>
                  <p:nvPr/>
                </p:nvSpPr>
                <p:spPr>
                  <a:xfrm>
                    <a:off x="736263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27" name="Freeform: Shape 6226">
                    <a:extLst>
                      <a:ext uri="{FF2B5EF4-FFF2-40B4-BE49-F238E27FC236}">
                        <a16:creationId xmlns:a16="http://schemas.microsoft.com/office/drawing/2014/main" id="{1DB2D427-A340-CFFF-FE6A-61D9A5593068}"/>
                      </a:ext>
                    </a:extLst>
                  </p:cNvPr>
                  <p:cNvSpPr/>
                  <p:nvPr/>
                </p:nvSpPr>
                <p:spPr>
                  <a:xfrm>
                    <a:off x="7324820" y="37536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0" name="Graphic 1498">
                  <a:extLst>
                    <a:ext uri="{FF2B5EF4-FFF2-40B4-BE49-F238E27FC236}">
                      <a16:creationId xmlns:a16="http://schemas.microsoft.com/office/drawing/2014/main" id="{1A6B5876-4573-12AB-7C04-982B025BFEF6}"/>
                    </a:ext>
                  </a:extLst>
                </p:cNvPr>
                <p:cNvGrpSpPr/>
                <p:nvPr/>
              </p:nvGrpSpPr>
              <p:grpSpPr>
                <a:xfrm>
                  <a:off x="7337012" y="3715797"/>
                  <a:ext cx="75628" cy="75628"/>
                  <a:chOff x="7337012" y="3715797"/>
                  <a:chExt cx="75628" cy="75628"/>
                </a:xfrm>
              </p:grpSpPr>
              <p:sp>
                <p:nvSpPr>
                  <p:cNvPr id="6224" name="Freeform: Shape 6223">
                    <a:extLst>
                      <a:ext uri="{FF2B5EF4-FFF2-40B4-BE49-F238E27FC236}">
                        <a16:creationId xmlns:a16="http://schemas.microsoft.com/office/drawing/2014/main" id="{9B485989-CA95-D04D-F5BF-2D879138D446}"/>
                      </a:ext>
                    </a:extLst>
                  </p:cNvPr>
                  <p:cNvSpPr/>
                  <p:nvPr/>
                </p:nvSpPr>
                <p:spPr>
                  <a:xfrm>
                    <a:off x="7374826"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25" name="Freeform: Shape 6224">
                    <a:extLst>
                      <a:ext uri="{FF2B5EF4-FFF2-40B4-BE49-F238E27FC236}">
                        <a16:creationId xmlns:a16="http://schemas.microsoft.com/office/drawing/2014/main" id="{71AF1457-6804-5233-DCE5-428574042408}"/>
                      </a:ext>
                    </a:extLst>
                  </p:cNvPr>
                  <p:cNvSpPr/>
                  <p:nvPr/>
                </p:nvSpPr>
                <p:spPr>
                  <a:xfrm>
                    <a:off x="7337012"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1" name="Graphic 1498">
                  <a:extLst>
                    <a:ext uri="{FF2B5EF4-FFF2-40B4-BE49-F238E27FC236}">
                      <a16:creationId xmlns:a16="http://schemas.microsoft.com/office/drawing/2014/main" id="{5429BCCD-AB3E-D3E7-B282-686400ED0E2E}"/>
                    </a:ext>
                  </a:extLst>
                </p:cNvPr>
                <p:cNvGrpSpPr/>
                <p:nvPr/>
              </p:nvGrpSpPr>
              <p:grpSpPr>
                <a:xfrm>
                  <a:off x="7359967" y="3715797"/>
                  <a:ext cx="75628" cy="75628"/>
                  <a:chOff x="7359967" y="3715797"/>
                  <a:chExt cx="75628" cy="75628"/>
                </a:xfrm>
              </p:grpSpPr>
              <p:sp>
                <p:nvSpPr>
                  <p:cNvPr id="6222" name="Freeform: Shape 6221">
                    <a:extLst>
                      <a:ext uri="{FF2B5EF4-FFF2-40B4-BE49-F238E27FC236}">
                        <a16:creationId xmlns:a16="http://schemas.microsoft.com/office/drawing/2014/main" id="{9F15F083-341F-82B5-729B-FEADE39F29BD}"/>
                      </a:ext>
                    </a:extLst>
                  </p:cNvPr>
                  <p:cNvSpPr/>
                  <p:nvPr/>
                </p:nvSpPr>
                <p:spPr>
                  <a:xfrm>
                    <a:off x="7397781"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23" name="Freeform: Shape 6222">
                    <a:extLst>
                      <a:ext uri="{FF2B5EF4-FFF2-40B4-BE49-F238E27FC236}">
                        <a16:creationId xmlns:a16="http://schemas.microsoft.com/office/drawing/2014/main" id="{A906E7BF-5B05-2D23-F07F-69C6E32636E1}"/>
                      </a:ext>
                    </a:extLst>
                  </p:cNvPr>
                  <p:cNvSpPr/>
                  <p:nvPr/>
                </p:nvSpPr>
                <p:spPr>
                  <a:xfrm>
                    <a:off x="7359967"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2" name="Graphic 1498">
                  <a:extLst>
                    <a:ext uri="{FF2B5EF4-FFF2-40B4-BE49-F238E27FC236}">
                      <a16:creationId xmlns:a16="http://schemas.microsoft.com/office/drawing/2014/main" id="{E22C0675-3682-BA9A-7DCA-FC8577011A50}"/>
                    </a:ext>
                  </a:extLst>
                </p:cNvPr>
                <p:cNvGrpSpPr/>
                <p:nvPr/>
              </p:nvGrpSpPr>
              <p:grpSpPr>
                <a:xfrm>
                  <a:off x="7349490" y="3715797"/>
                  <a:ext cx="75628" cy="75628"/>
                  <a:chOff x="7349490" y="3715797"/>
                  <a:chExt cx="75628" cy="75628"/>
                </a:xfrm>
              </p:grpSpPr>
              <p:sp>
                <p:nvSpPr>
                  <p:cNvPr id="6220" name="Freeform: Shape 6219">
                    <a:extLst>
                      <a:ext uri="{FF2B5EF4-FFF2-40B4-BE49-F238E27FC236}">
                        <a16:creationId xmlns:a16="http://schemas.microsoft.com/office/drawing/2014/main" id="{D57D1EEC-93ED-F80F-E46B-FD75F8930663}"/>
                      </a:ext>
                    </a:extLst>
                  </p:cNvPr>
                  <p:cNvSpPr/>
                  <p:nvPr/>
                </p:nvSpPr>
                <p:spPr>
                  <a:xfrm>
                    <a:off x="7387304" y="371579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21" name="Freeform: Shape 6220">
                    <a:extLst>
                      <a:ext uri="{FF2B5EF4-FFF2-40B4-BE49-F238E27FC236}">
                        <a16:creationId xmlns:a16="http://schemas.microsoft.com/office/drawing/2014/main" id="{797E5882-F5A6-1DF8-6B8F-985BFE0FF881}"/>
                      </a:ext>
                    </a:extLst>
                  </p:cNvPr>
                  <p:cNvSpPr/>
                  <p:nvPr/>
                </p:nvSpPr>
                <p:spPr>
                  <a:xfrm>
                    <a:off x="7349490" y="375361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3" name="Graphic 1498">
                  <a:extLst>
                    <a:ext uri="{FF2B5EF4-FFF2-40B4-BE49-F238E27FC236}">
                      <a16:creationId xmlns:a16="http://schemas.microsoft.com/office/drawing/2014/main" id="{9A831D24-20E0-5928-B7E2-952825C956E6}"/>
                    </a:ext>
                  </a:extLst>
                </p:cNvPr>
                <p:cNvGrpSpPr/>
                <p:nvPr/>
              </p:nvGrpSpPr>
              <p:grpSpPr>
                <a:xfrm>
                  <a:off x="7425118" y="3779138"/>
                  <a:ext cx="75723" cy="75723"/>
                  <a:chOff x="7425118" y="3779138"/>
                  <a:chExt cx="75723" cy="75723"/>
                </a:xfrm>
              </p:grpSpPr>
              <p:sp>
                <p:nvSpPr>
                  <p:cNvPr id="6218" name="Freeform: Shape 6217">
                    <a:extLst>
                      <a:ext uri="{FF2B5EF4-FFF2-40B4-BE49-F238E27FC236}">
                        <a16:creationId xmlns:a16="http://schemas.microsoft.com/office/drawing/2014/main" id="{D3C3673A-3E54-C3F0-F6AF-F57602B218E6}"/>
                      </a:ext>
                    </a:extLst>
                  </p:cNvPr>
                  <p:cNvSpPr/>
                  <p:nvPr/>
                </p:nvSpPr>
                <p:spPr>
                  <a:xfrm>
                    <a:off x="7463028"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19" name="Freeform: Shape 6218">
                    <a:extLst>
                      <a:ext uri="{FF2B5EF4-FFF2-40B4-BE49-F238E27FC236}">
                        <a16:creationId xmlns:a16="http://schemas.microsoft.com/office/drawing/2014/main" id="{BBEA5E02-30B1-63D2-3701-6D5221054E41}"/>
                      </a:ext>
                    </a:extLst>
                  </p:cNvPr>
                  <p:cNvSpPr/>
                  <p:nvPr/>
                </p:nvSpPr>
                <p:spPr>
                  <a:xfrm>
                    <a:off x="7425118"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4" name="Graphic 1498">
                  <a:extLst>
                    <a:ext uri="{FF2B5EF4-FFF2-40B4-BE49-F238E27FC236}">
                      <a16:creationId xmlns:a16="http://schemas.microsoft.com/office/drawing/2014/main" id="{F1F832E6-0A6E-1378-586A-C75994A48C9F}"/>
                    </a:ext>
                  </a:extLst>
                </p:cNvPr>
                <p:cNvGrpSpPr/>
                <p:nvPr/>
              </p:nvGrpSpPr>
              <p:grpSpPr>
                <a:xfrm>
                  <a:off x="7457503" y="3779138"/>
                  <a:ext cx="75723" cy="75723"/>
                  <a:chOff x="7457503" y="3779138"/>
                  <a:chExt cx="75723" cy="75723"/>
                </a:xfrm>
              </p:grpSpPr>
              <p:sp>
                <p:nvSpPr>
                  <p:cNvPr id="6216" name="Freeform: Shape 6215">
                    <a:extLst>
                      <a:ext uri="{FF2B5EF4-FFF2-40B4-BE49-F238E27FC236}">
                        <a16:creationId xmlns:a16="http://schemas.microsoft.com/office/drawing/2014/main" id="{33D707E5-C5A0-C96D-03B3-FDFC3DB6F03D}"/>
                      </a:ext>
                    </a:extLst>
                  </p:cNvPr>
                  <p:cNvSpPr/>
                  <p:nvPr/>
                </p:nvSpPr>
                <p:spPr>
                  <a:xfrm>
                    <a:off x="749531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17" name="Freeform: Shape 6216">
                    <a:extLst>
                      <a:ext uri="{FF2B5EF4-FFF2-40B4-BE49-F238E27FC236}">
                        <a16:creationId xmlns:a16="http://schemas.microsoft.com/office/drawing/2014/main" id="{4DB3F96F-2864-6F2C-DA4A-DD392FA44A18}"/>
                      </a:ext>
                    </a:extLst>
                  </p:cNvPr>
                  <p:cNvSpPr/>
                  <p:nvPr/>
                </p:nvSpPr>
                <p:spPr>
                  <a:xfrm>
                    <a:off x="745750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5" name="Graphic 1498">
                  <a:extLst>
                    <a:ext uri="{FF2B5EF4-FFF2-40B4-BE49-F238E27FC236}">
                      <a16:creationId xmlns:a16="http://schemas.microsoft.com/office/drawing/2014/main" id="{F0033935-4E46-3F6F-EB59-AC262855AA83}"/>
                    </a:ext>
                  </a:extLst>
                </p:cNvPr>
                <p:cNvGrpSpPr/>
                <p:nvPr/>
              </p:nvGrpSpPr>
              <p:grpSpPr>
                <a:xfrm>
                  <a:off x="7487126" y="3779138"/>
                  <a:ext cx="75723" cy="75723"/>
                  <a:chOff x="7487126" y="3779138"/>
                  <a:chExt cx="75723" cy="75723"/>
                </a:xfrm>
              </p:grpSpPr>
              <p:sp>
                <p:nvSpPr>
                  <p:cNvPr id="6214" name="Freeform: Shape 6213">
                    <a:extLst>
                      <a:ext uri="{FF2B5EF4-FFF2-40B4-BE49-F238E27FC236}">
                        <a16:creationId xmlns:a16="http://schemas.microsoft.com/office/drawing/2014/main" id="{40E3E246-75B3-992A-6BD0-FDB778FD0B82}"/>
                      </a:ext>
                    </a:extLst>
                  </p:cNvPr>
                  <p:cNvSpPr/>
                  <p:nvPr/>
                </p:nvSpPr>
                <p:spPr>
                  <a:xfrm>
                    <a:off x="7525035"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15" name="Freeform: Shape 6214">
                    <a:extLst>
                      <a:ext uri="{FF2B5EF4-FFF2-40B4-BE49-F238E27FC236}">
                        <a16:creationId xmlns:a16="http://schemas.microsoft.com/office/drawing/2014/main" id="{F777A9E4-8A90-CD17-34C6-28E3631DF1B6}"/>
                      </a:ext>
                    </a:extLst>
                  </p:cNvPr>
                  <p:cNvSpPr/>
                  <p:nvPr/>
                </p:nvSpPr>
                <p:spPr>
                  <a:xfrm>
                    <a:off x="7487126"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6" name="Graphic 1498">
                  <a:extLst>
                    <a:ext uri="{FF2B5EF4-FFF2-40B4-BE49-F238E27FC236}">
                      <a16:creationId xmlns:a16="http://schemas.microsoft.com/office/drawing/2014/main" id="{7DD80FFB-9633-7D90-FD25-66D7CCD5F23F}"/>
                    </a:ext>
                  </a:extLst>
                </p:cNvPr>
                <p:cNvGrpSpPr/>
                <p:nvPr/>
              </p:nvGrpSpPr>
              <p:grpSpPr>
                <a:xfrm>
                  <a:off x="7495317" y="3779138"/>
                  <a:ext cx="75723" cy="75723"/>
                  <a:chOff x="7495317" y="3779138"/>
                  <a:chExt cx="75723" cy="75723"/>
                </a:xfrm>
              </p:grpSpPr>
              <p:sp>
                <p:nvSpPr>
                  <p:cNvPr id="6212" name="Freeform: Shape 6211">
                    <a:extLst>
                      <a:ext uri="{FF2B5EF4-FFF2-40B4-BE49-F238E27FC236}">
                        <a16:creationId xmlns:a16="http://schemas.microsoft.com/office/drawing/2014/main" id="{91B40FCD-D456-DEF2-0E1D-9899B5B46CD6}"/>
                      </a:ext>
                    </a:extLst>
                  </p:cNvPr>
                  <p:cNvSpPr/>
                  <p:nvPr/>
                </p:nvSpPr>
                <p:spPr>
                  <a:xfrm>
                    <a:off x="7533227"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13" name="Freeform: Shape 6212">
                    <a:extLst>
                      <a:ext uri="{FF2B5EF4-FFF2-40B4-BE49-F238E27FC236}">
                        <a16:creationId xmlns:a16="http://schemas.microsoft.com/office/drawing/2014/main" id="{663F03D1-DBAE-3E61-0781-4E91F9825918}"/>
                      </a:ext>
                    </a:extLst>
                  </p:cNvPr>
                  <p:cNvSpPr/>
                  <p:nvPr/>
                </p:nvSpPr>
                <p:spPr>
                  <a:xfrm>
                    <a:off x="7495317"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7" name="Graphic 1498">
                  <a:extLst>
                    <a:ext uri="{FF2B5EF4-FFF2-40B4-BE49-F238E27FC236}">
                      <a16:creationId xmlns:a16="http://schemas.microsoft.com/office/drawing/2014/main" id="{77E105F9-7844-1EAE-C102-31C451F7DBEE}"/>
                    </a:ext>
                  </a:extLst>
                </p:cNvPr>
                <p:cNvGrpSpPr/>
                <p:nvPr/>
              </p:nvGrpSpPr>
              <p:grpSpPr>
                <a:xfrm>
                  <a:off x="7525035" y="3779138"/>
                  <a:ext cx="75628" cy="75723"/>
                  <a:chOff x="7525035" y="3779138"/>
                  <a:chExt cx="75628" cy="75723"/>
                </a:xfrm>
              </p:grpSpPr>
              <p:sp>
                <p:nvSpPr>
                  <p:cNvPr id="6210" name="Freeform: Shape 6209">
                    <a:extLst>
                      <a:ext uri="{FF2B5EF4-FFF2-40B4-BE49-F238E27FC236}">
                        <a16:creationId xmlns:a16="http://schemas.microsoft.com/office/drawing/2014/main" id="{DF3AC64B-4E18-BB78-E338-EBD1EC123703}"/>
                      </a:ext>
                    </a:extLst>
                  </p:cNvPr>
                  <p:cNvSpPr/>
                  <p:nvPr/>
                </p:nvSpPr>
                <p:spPr>
                  <a:xfrm>
                    <a:off x="7562850"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11" name="Freeform: Shape 6210">
                    <a:extLst>
                      <a:ext uri="{FF2B5EF4-FFF2-40B4-BE49-F238E27FC236}">
                        <a16:creationId xmlns:a16="http://schemas.microsoft.com/office/drawing/2014/main" id="{092799AA-ECA1-89E3-3CEE-B0DB0AA39C61}"/>
                      </a:ext>
                    </a:extLst>
                  </p:cNvPr>
                  <p:cNvSpPr/>
                  <p:nvPr/>
                </p:nvSpPr>
                <p:spPr>
                  <a:xfrm>
                    <a:off x="7525035" y="381695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8" name="Graphic 1498">
                  <a:extLst>
                    <a:ext uri="{FF2B5EF4-FFF2-40B4-BE49-F238E27FC236}">
                      <a16:creationId xmlns:a16="http://schemas.microsoft.com/office/drawing/2014/main" id="{0C170E09-77CB-A805-FB08-56A4753E07BD}"/>
                    </a:ext>
                  </a:extLst>
                </p:cNvPr>
                <p:cNvGrpSpPr/>
                <p:nvPr/>
              </p:nvGrpSpPr>
              <p:grpSpPr>
                <a:xfrm>
                  <a:off x="7555230" y="3779138"/>
                  <a:ext cx="75723" cy="75723"/>
                  <a:chOff x="7555230" y="3779138"/>
                  <a:chExt cx="75723" cy="75723"/>
                </a:xfrm>
              </p:grpSpPr>
              <p:sp>
                <p:nvSpPr>
                  <p:cNvPr id="6208" name="Freeform: Shape 6207">
                    <a:extLst>
                      <a:ext uri="{FF2B5EF4-FFF2-40B4-BE49-F238E27FC236}">
                        <a16:creationId xmlns:a16="http://schemas.microsoft.com/office/drawing/2014/main" id="{DE749FC2-F8B7-D148-DFD1-FA3F98B7760E}"/>
                      </a:ext>
                    </a:extLst>
                  </p:cNvPr>
                  <p:cNvSpPr/>
                  <p:nvPr/>
                </p:nvSpPr>
                <p:spPr>
                  <a:xfrm>
                    <a:off x="759313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09" name="Freeform: Shape 6208">
                    <a:extLst>
                      <a:ext uri="{FF2B5EF4-FFF2-40B4-BE49-F238E27FC236}">
                        <a16:creationId xmlns:a16="http://schemas.microsoft.com/office/drawing/2014/main" id="{DAEF4C3A-8D6A-C613-B533-7465130E30EA}"/>
                      </a:ext>
                    </a:extLst>
                  </p:cNvPr>
                  <p:cNvSpPr/>
                  <p:nvPr/>
                </p:nvSpPr>
                <p:spPr>
                  <a:xfrm>
                    <a:off x="7555230"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39" name="Graphic 1498">
                  <a:extLst>
                    <a:ext uri="{FF2B5EF4-FFF2-40B4-BE49-F238E27FC236}">
                      <a16:creationId xmlns:a16="http://schemas.microsoft.com/office/drawing/2014/main" id="{599C8F14-BA2F-A9ED-AC9A-2C6DA77596D5}"/>
                    </a:ext>
                  </a:extLst>
                </p:cNvPr>
                <p:cNvGrpSpPr/>
                <p:nvPr/>
              </p:nvGrpSpPr>
              <p:grpSpPr>
                <a:xfrm>
                  <a:off x="7567993" y="3779138"/>
                  <a:ext cx="75723" cy="75723"/>
                  <a:chOff x="7567993" y="3779138"/>
                  <a:chExt cx="75723" cy="75723"/>
                </a:xfrm>
              </p:grpSpPr>
              <p:sp>
                <p:nvSpPr>
                  <p:cNvPr id="6206" name="Freeform: Shape 6205">
                    <a:extLst>
                      <a:ext uri="{FF2B5EF4-FFF2-40B4-BE49-F238E27FC236}">
                        <a16:creationId xmlns:a16="http://schemas.microsoft.com/office/drawing/2014/main" id="{C9AA86A1-F7F6-798D-F4D2-0ACB5B626899}"/>
                      </a:ext>
                    </a:extLst>
                  </p:cNvPr>
                  <p:cNvSpPr/>
                  <p:nvPr/>
                </p:nvSpPr>
                <p:spPr>
                  <a:xfrm>
                    <a:off x="7605903"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07" name="Freeform: Shape 6206">
                    <a:extLst>
                      <a:ext uri="{FF2B5EF4-FFF2-40B4-BE49-F238E27FC236}">
                        <a16:creationId xmlns:a16="http://schemas.microsoft.com/office/drawing/2014/main" id="{92D12259-D141-9A1D-DC05-0EF2D6517F75}"/>
                      </a:ext>
                    </a:extLst>
                  </p:cNvPr>
                  <p:cNvSpPr/>
                  <p:nvPr/>
                </p:nvSpPr>
                <p:spPr>
                  <a:xfrm>
                    <a:off x="7567993"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0" name="Graphic 1498">
                  <a:extLst>
                    <a:ext uri="{FF2B5EF4-FFF2-40B4-BE49-F238E27FC236}">
                      <a16:creationId xmlns:a16="http://schemas.microsoft.com/office/drawing/2014/main" id="{1BAA7492-4345-4DAB-5409-61C40BE206D4}"/>
                    </a:ext>
                  </a:extLst>
                </p:cNvPr>
                <p:cNvGrpSpPr/>
                <p:nvPr/>
              </p:nvGrpSpPr>
              <p:grpSpPr>
                <a:xfrm>
                  <a:off x="7581995" y="3779138"/>
                  <a:ext cx="75723" cy="75723"/>
                  <a:chOff x="7581995" y="3779138"/>
                  <a:chExt cx="75723" cy="75723"/>
                </a:xfrm>
              </p:grpSpPr>
              <p:sp>
                <p:nvSpPr>
                  <p:cNvPr id="6204" name="Freeform: Shape 6203">
                    <a:extLst>
                      <a:ext uri="{FF2B5EF4-FFF2-40B4-BE49-F238E27FC236}">
                        <a16:creationId xmlns:a16="http://schemas.microsoft.com/office/drawing/2014/main" id="{C37A90E6-0D32-AFDF-F5AE-43396BED3AC2}"/>
                      </a:ext>
                    </a:extLst>
                  </p:cNvPr>
                  <p:cNvSpPr/>
                  <p:nvPr/>
                </p:nvSpPr>
                <p:spPr>
                  <a:xfrm>
                    <a:off x="7619809" y="37791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05" name="Freeform: Shape 6204">
                    <a:extLst>
                      <a:ext uri="{FF2B5EF4-FFF2-40B4-BE49-F238E27FC236}">
                        <a16:creationId xmlns:a16="http://schemas.microsoft.com/office/drawing/2014/main" id="{B194B36F-7442-8A03-4878-4D249DCCF22B}"/>
                      </a:ext>
                    </a:extLst>
                  </p:cNvPr>
                  <p:cNvSpPr/>
                  <p:nvPr/>
                </p:nvSpPr>
                <p:spPr>
                  <a:xfrm>
                    <a:off x="7581995" y="38169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1" name="Graphic 1498">
                  <a:extLst>
                    <a:ext uri="{FF2B5EF4-FFF2-40B4-BE49-F238E27FC236}">
                      <a16:creationId xmlns:a16="http://schemas.microsoft.com/office/drawing/2014/main" id="{92E1F131-2622-F522-2C9C-34D8C8BA766E}"/>
                    </a:ext>
                  </a:extLst>
                </p:cNvPr>
                <p:cNvGrpSpPr/>
                <p:nvPr/>
              </p:nvGrpSpPr>
              <p:grpSpPr>
                <a:xfrm>
                  <a:off x="8005572" y="3920299"/>
                  <a:ext cx="75723" cy="75723"/>
                  <a:chOff x="8005572" y="3920299"/>
                  <a:chExt cx="75723" cy="75723"/>
                </a:xfrm>
              </p:grpSpPr>
              <p:sp>
                <p:nvSpPr>
                  <p:cNvPr id="6202" name="Freeform: Shape 6201">
                    <a:extLst>
                      <a:ext uri="{FF2B5EF4-FFF2-40B4-BE49-F238E27FC236}">
                        <a16:creationId xmlns:a16="http://schemas.microsoft.com/office/drawing/2014/main" id="{D69DB582-EE50-3EA3-C841-4D24B9986579}"/>
                      </a:ext>
                    </a:extLst>
                  </p:cNvPr>
                  <p:cNvSpPr/>
                  <p:nvPr/>
                </p:nvSpPr>
                <p:spPr>
                  <a:xfrm>
                    <a:off x="8043481"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03" name="Freeform: Shape 6202">
                    <a:extLst>
                      <a:ext uri="{FF2B5EF4-FFF2-40B4-BE49-F238E27FC236}">
                        <a16:creationId xmlns:a16="http://schemas.microsoft.com/office/drawing/2014/main" id="{56D8E347-1DAA-F3D7-5F7B-BA02CB39835F}"/>
                      </a:ext>
                    </a:extLst>
                  </p:cNvPr>
                  <p:cNvSpPr/>
                  <p:nvPr/>
                </p:nvSpPr>
                <p:spPr>
                  <a:xfrm>
                    <a:off x="80055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2" name="Graphic 1498">
                  <a:extLst>
                    <a:ext uri="{FF2B5EF4-FFF2-40B4-BE49-F238E27FC236}">
                      <a16:creationId xmlns:a16="http://schemas.microsoft.com/office/drawing/2014/main" id="{68AE82E3-0487-B0C1-D92B-1955B3722470}"/>
                    </a:ext>
                  </a:extLst>
                </p:cNvPr>
                <p:cNvGrpSpPr/>
                <p:nvPr/>
              </p:nvGrpSpPr>
              <p:grpSpPr>
                <a:xfrm>
                  <a:off x="8021955" y="3920299"/>
                  <a:ext cx="75628" cy="75723"/>
                  <a:chOff x="8021955" y="3920299"/>
                  <a:chExt cx="75628" cy="75723"/>
                </a:xfrm>
              </p:grpSpPr>
              <p:sp>
                <p:nvSpPr>
                  <p:cNvPr id="6200" name="Freeform: Shape 6199">
                    <a:extLst>
                      <a:ext uri="{FF2B5EF4-FFF2-40B4-BE49-F238E27FC236}">
                        <a16:creationId xmlns:a16="http://schemas.microsoft.com/office/drawing/2014/main" id="{57F02295-25FE-26EA-5CE2-888AABCABC14}"/>
                      </a:ext>
                    </a:extLst>
                  </p:cNvPr>
                  <p:cNvSpPr/>
                  <p:nvPr/>
                </p:nvSpPr>
                <p:spPr>
                  <a:xfrm>
                    <a:off x="805976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01" name="Freeform: Shape 6200">
                    <a:extLst>
                      <a:ext uri="{FF2B5EF4-FFF2-40B4-BE49-F238E27FC236}">
                        <a16:creationId xmlns:a16="http://schemas.microsoft.com/office/drawing/2014/main" id="{43F07720-C3BE-8D51-8A1E-0558E18958F5}"/>
                      </a:ext>
                    </a:extLst>
                  </p:cNvPr>
                  <p:cNvSpPr/>
                  <p:nvPr/>
                </p:nvSpPr>
                <p:spPr>
                  <a:xfrm>
                    <a:off x="802195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3" name="Graphic 1498">
                  <a:extLst>
                    <a:ext uri="{FF2B5EF4-FFF2-40B4-BE49-F238E27FC236}">
                      <a16:creationId xmlns:a16="http://schemas.microsoft.com/office/drawing/2014/main" id="{ED7EF639-6224-E30C-CD80-D575489C1E78}"/>
                    </a:ext>
                  </a:extLst>
                </p:cNvPr>
                <p:cNvGrpSpPr/>
                <p:nvPr/>
              </p:nvGrpSpPr>
              <p:grpSpPr>
                <a:xfrm>
                  <a:off x="8032623" y="3920299"/>
                  <a:ext cx="75723" cy="75723"/>
                  <a:chOff x="8032623" y="3920299"/>
                  <a:chExt cx="75723" cy="75723"/>
                </a:xfrm>
              </p:grpSpPr>
              <p:sp>
                <p:nvSpPr>
                  <p:cNvPr id="6198" name="Freeform: Shape 6197">
                    <a:extLst>
                      <a:ext uri="{FF2B5EF4-FFF2-40B4-BE49-F238E27FC236}">
                        <a16:creationId xmlns:a16="http://schemas.microsoft.com/office/drawing/2014/main" id="{4F37FBEC-76E3-595D-580D-38B62A076B9E}"/>
                      </a:ext>
                    </a:extLst>
                  </p:cNvPr>
                  <p:cNvSpPr/>
                  <p:nvPr/>
                </p:nvSpPr>
                <p:spPr>
                  <a:xfrm>
                    <a:off x="8070532"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99" name="Freeform: Shape 6198">
                    <a:extLst>
                      <a:ext uri="{FF2B5EF4-FFF2-40B4-BE49-F238E27FC236}">
                        <a16:creationId xmlns:a16="http://schemas.microsoft.com/office/drawing/2014/main" id="{14E42EC4-3807-0DA6-2E09-9F4518B785D0}"/>
                      </a:ext>
                    </a:extLst>
                  </p:cNvPr>
                  <p:cNvSpPr/>
                  <p:nvPr/>
                </p:nvSpPr>
                <p:spPr>
                  <a:xfrm>
                    <a:off x="803262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4" name="Graphic 1498">
                  <a:extLst>
                    <a:ext uri="{FF2B5EF4-FFF2-40B4-BE49-F238E27FC236}">
                      <a16:creationId xmlns:a16="http://schemas.microsoft.com/office/drawing/2014/main" id="{EC5138FC-1A37-705D-683B-FAEA7796A072}"/>
                    </a:ext>
                  </a:extLst>
                </p:cNvPr>
                <p:cNvGrpSpPr/>
                <p:nvPr/>
              </p:nvGrpSpPr>
              <p:grpSpPr>
                <a:xfrm>
                  <a:off x="8054721" y="3920299"/>
                  <a:ext cx="75723" cy="75723"/>
                  <a:chOff x="8054721" y="3920299"/>
                  <a:chExt cx="75723" cy="75723"/>
                </a:xfrm>
              </p:grpSpPr>
              <p:sp>
                <p:nvSpPr>
                  <p:cNvPr id="6196" name="Freeform: Shape 6195">
                    <a:extLst>
                      <a:ext uri="{FF2B5EF4-FFF2-40B4-BE49-F238E27FC236}">
                        <a16:creationId xmlns:a16="http://schemas.microsoft.com/office/drawing/2014/main" id="{E88D62C3-D96F-8AE7-D991-A58564CA6397}"/>
                      </a:ext>
                    </a:extLst>
                  </p:cNvPr>
                  <p:cNvSpPr/>
                  <p:nvPr/>
                </p:nvSpPr>
                <p:spPr>
                  <a:xfrm>
                    <a:off x="809263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97" name="Freeform: Shape 6196">
                    <a:extLst>
                      <a:ext uri="{FF2B5EF4-FFF2-40B4-BE49-F238E27FC236}">
                        <a16:creationId xmlns:a16="http://schemas.microsoft.com/office/drawing/2014/main" id="{4A868939-E6F5-D2F7-48EE-41700085ED88}"/>
                      </a:ext>
                    </a:extLst>
                  </p:cNvPr>
                  <p:cNvSpPr/>
                  <p:nvPr/>
                </p:nvSpPr>
                <p:spPr>
                  <a:xfrm>
                    <a:off x="805472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5" name="Graphic 1498">
                  <a:extLst>
                    <a:ext uri="{FF2B5EF4-FFF2-40B4-BE49-F238E27FC236}">
                      <a16:creationId xmlns:a16="http://schemas.microsoft.com/office/drawing/2014/main" id="{99A0533F-7CDF-21DA-974C-77EA8BAAB2A3}"/>
                    </a:ext>
                  </a:extLst>
                </p:cNvPr>
                <p:cNvGrpSpPr/>
                <p:nvPr/>
              </p:nvGrpSpPr>
              <p:grpSpPr>
                <a:xfrm>
                  <a:off x="8079486" y="3920299"/>
                  <a:ext cx="75723" cy="75723"/>
                  <a:chOff x="8079486" y="3920299"/>
                  <a:chExt cx="75723" cy="75723"/>
                </a:xfrm>
              </p:grpSpPr>
              <p:sp>
                <p:nvSpPr>
                  <p:cNvPr id="6194" name="Freeform: Shape 6193">
                    <a:extLst>
                      <a:ext uri="{FF2B5EF4-FFF2-40B4-BE49-F238E27FC236}">
                        <a16:creationId xmlns:a16="http://schemas.microsoft.com/office/drawing/2014/main" id="{DBB35809-73CF-44C5-9835-BE7DBFF881E3}"/>
                      </a:ext>
                    </a:extLst>
                  </p:cNvPr>
                  <p:cNvSpPr/>
                  <p:nvPr/>
                </p:nvSpPr>
                <p:spPr>
                  <a:xfrm>
                    <a:off x="81173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95" name="Freeform: Shape 6194">
                    <a:extLst>
                      <a:ext uri="{FF2B5EF4-FFF2-40B4-BE49-F238E27FC236}">
                        <a16:creationId xmlns:a16="http://schemas.microsoft.com/office/drawing/2014/main" id="{06FA8420-633A-F697-03B6-2311FD6B7ACE}"/>
                      </a:ext>
                    </a:extLst>
                  </p:cNvPr>
                  <p:cNvSpPr/>
                  <p:nvPr/>
                </p:nvSpPr>
                <p:spPr>
                  <a:xfrm>
                    <a:off x="8079486"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6" name="Graphic 1498">
                  <a:extLst>
                    <a:ext uri="{FF2B5EF4-FFF2-40B4-BE49-F238E27FC236}">
                      <a16:creationId xmlns:a16="http://schemas.microsoft.com/office/drawing/2014/main" id="{F8A83488-28C1-24CF-D58B-243F6EBB4A0D}"/>
                    </a:ext>
                  </a:extLst>
                </p:cNvPr>
                <p:cNvGrpSpPr/>
                <p:nvPr/>
              </p:nvGrpSpPr>
              <p:grpSpPr>
                <a:xfrm>
                  <a:off x="8088820" y="3920299"/>
                  <a:ext cx="75628" cy="75723"/>
                  <a:chOff x="8088820" y="3920299"/>
                  <a:chExt cx="75628" cy="75723"/>
                </a:xfrm>
              </p:grpSpPr>
              <p:sp>
                <p:nvSpPr>
                  <p:cNvPr id="6192" name="Freeform: Shape 6191">
                    <a:extLst>
                      <a:ext uri="{FF2B5EF4-FFF2-40B4-BE49-F238E27FC236}">
                        <a16:creationId xmlns:a16="http://schemas.microsoft.com/office/drawing/2014/main" id="{A40E7DDD-8220-67AB-D4F6-58C4CB2FAF4A}"/>
                      </a:ext>
                    </a:extLst>
                  </p:cNvPr>
                  <p:cNvSpPr/>
                  <p:nvPr/>
                </p:nvSpPr>
                <p:spPr>
                  <a:xfrm>
                    <a:off x="812663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93" name="Freeform: Shape 6192">
                    <a:extLst>
                      <a:ext uri="{FF2B5EF4-FFF2-40B4-BE49-F238E27FC236}">
                        <a16:creationId xmlns:a16="http://schemas.microsoft.com/office/drawing/2014/main" id="{C37BBF57-B957-3011-601A-EB34B3B166B3}"/>
                      </a:ext>
                    </a:extLst>
                  </p:cNvPr>
                  <p:cNvSpPr/>
                  <p:nvPr/>
                </p:nvSpPr>
                <p:spPr>
                  <a:xfrm>
                    <a:off x="808882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7" name="Graphic 1498">
                  <a:extLst>
                    <a:ext uri="{FF2B5EF4-FFF2-40B4-BE49-F238E27FC236}">
                      <a16:creationId xmlns:a16="http://schemas.microsoft.com/office/drawing/2014/main" id="{A78FE87D-8583-1F45-30B0-FB0D274EC09A}"/>
                    </a:ext>
                  </a:extLst>
                </p:cNvPr>
                <p:cNvGrpSpPr/>
                <p:nvPr/>
              </p:nvGrpSpPr>
              <p:grpSpPr>
                <a:xfrm>
                  <a:off x="8097583" y="3920299"/>
                  <a:ext cx="75723" cy="75723"/>
                  <a:chOff x="8097583" y="3920299"/>
                  <a:chExt cx="75723" cy="75723"/>
                </a:xfrm>
              </p:grpSpPr>
              <p:sp>
                <p:nvSpPr>
                  <p:cNvPr id="6190" name="Freeform: Shape 6189">
                    <a:extLst>
                      <a:ext uri="{FF2B5EF4-FFF2-40B4-BE49-F238E27FC236}">
                        <a16:creationId xmlns:a16="http://schemas.microsoft.com/office/drawing/2014/main" id="{5AD590C7-702F-AD4A-F39A-2C5BBAA75324}"/>
                      </a:ext>
                    </a:extLst>
                  </p:cNvPr>
                  <p:cNvSpPr/>
                  <p:nvPr/>
                </p:nvSpPr>
                <p:spPr>
                  <a:xfrm>
                    <a:off x="813549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91" name="Freeform: Shape 6190">
                    <a:extLst>
                      <a:ext uri="{FF2B5EF4-FFF2-40B4-BE49-F238E27FC236}">
                        <a16:creationId xmlns:a16="http://schemas.microsoft.com/office/drawing/2014/main" id="{505B9E74-5ED0-0446-6EFC-18B6F725B152}"/>
                      </a:ext>
                    </a:extLst>
                  </p:cNvPr>
                  <p:cNvSpPr/>
                  <p:nvPr/>
                </p:nvSpPr>
                <p:spPr>
                  <a:xfrm>
                    <a:off x="8097583"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8" name="Graphic 1498">
                  <a:extLst>
                    <a:ext uri="{FF2B5EF4-FFF2-40B4-BE49-F238E27FC236}">
                      <a16:creationId xmlns:a16="http://schemas.microsoft.com/office/drawing/2014/main" id="{3DB4EF1C-42F6-1009-70BC-CF798C814193}"/>
                    </a:ext>
                  </a:extLst>
                </p:cNvPr>
                <p:cNvGrpSpPr/>
                <p:nvPr/>
              </p:nvGrpSpPr>
              <p:grpSpPr>
                <a:xfrm>
                  <a:off x="8113490" y="3920299"/>
                  <a:ext cx="75723" cy="75723"/>
                  <a:chOff x="8113490" y="3920299"/>
                  <a:chExt cx="75723" cy="75723"/>
                </a:xfrm>
              </p:grpSpPr>
              <p:sp>
                <p:nvSpPr>
                  <p:cNvPr id="6188" name="Freeform: Shape 6187">
                    <a:extLst>
                      <a:ext uri="{FF2B5EF4-FFF2-40B4-BE49-F238E27FC236}">
                        <a16:creationId xmlns:a16="http://schemas.microsoft.com/office/drawing/2014/main" id="{E5E9F6F0-D4DC-D644-A456-3FA441519297}"/>
                      </a:ext>
                    </a:extLst>
                  </p:cNvPr>
                  <p:cNvSpPr/>
                  <p:nvPr/>
                </p:nvSpPr>
                <p:spPr>
                  <a:xfrm>
                    <a:off x="815139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89" name="Freeform: Shape 6188">
                    <a:extLst>
                      <a:ext uri="{FF2B5EF4-FFF2-40B4-BE49-F238E27FC236}">
                        <a16:creationId xmlns:a16="http://schemas.microsoft.com/office/drawing/2014/main" id="{0CDD40DB-7DD1-B78B-6AD1-B83CCE50B4CE}"/>
                      </a:ext>
                    </a:extLst>
                  </p:cNvPr>
                  <p:cNvSpPr/>
                  <p:nvPr/>
                </p:nvSpPr>
                <p:spPr>
                  <a:xfrm>
                    <a:off x="811349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49" name="Graphic 1498">
                  <a:extLst>
                    <a:ext uri="{FF2B5EF4-FFF2-40B4-BE49-F238E27FC236}">
                      <a16:creationId xmlns:a16="http://schemas.microsoft.com/office/drawing/2014/main" id="{B7D758C8-464C-17BE-C976-ACBFF0BB3DD5}"/>
                    </a:ext>
                  </a:extLst>
                </p:cNvPr>
                <p:cNvGrpSpPr/>
                <p:nvPr/>
              </p:nvGrpSpPr>
              <p:grpSpPr>
                <a:xfrm>
                  <a:off x="8155209" y="3920299"/>
                  <a:ext cx="75628" cy="75723"/>
                  <a:chOff x="8155209" y="3920299"/>
                  <a:chExt cx="75628" cy="75723"/>
                </a:xfrm>
              </p:grpSpPr>
              <p:sp>
                <p:nvSpPr>
                  <p:cNvPr id="6186" name="Freeform: Shape 6185">
                    <a:extLst>
                      <a:ext uri="{FF2B5EF4-FFF2-40B4-BE49-F238E27FC236}">
                        <a16:creationId xmlns:a16="http://schemas.microsoft.com/office/drawing/2014/main" id="{47C7D19D-5A01-0574-BD52-17D9EC9F17F3}"/>
                      </a:ext>
                    </a:extLst>
                  </p:cNvPr>
                  <p:cNvSpPr/>
                  <p:nvPr/>
                </p:nvSpPr>
                <p:spPr>
                  <a:xfrm>
                    <a:off x="819302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87" name="Freeform: Shape 6186">
                    <a:extLst>
                      <a:ext uri="{FF2B5EF4-FFF2-40B4-BE49-F238E27FC236}">
                        <a16:creationId xmlns:a16="http://schemas.microsoft.com/office/drawing/2014/main" id="{B70B99BD-BC97-00A5-C720-E03607B149F2}"/>
                      </a:ext>
                    </a:extLst>
                  </p:cNvPr>
                  <p:cNvSpPr/>
                  <p:nvPr/>
                </p:nvSpPr>
                <p:spPr>
                  <a:xfrm>
                    <a:off x="8155209"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0" name="Graphic 1498">
                  <a:extLst>
                    <a:ext uri="{FF2B5EF4-FFF2-40B4-BE49-F238E27FC236}">
                      <a16:creationId xmlns:a16="http://schemas.microsoft.com/office/drawing/2014/main" id="{A344BA9E-79E3-04D1-856F-D7E886CD0DF9}"/>
                    </a:ext>
                  </a:extLst>
                </p:cNvPr>
                <p:cNvGrpSpPr/>
                <p:nvPr/>
              </p:nvGrpSpPr>
              <p:grpSpPr>
                <a:xfrm>
                  <a:off x="8212931" y="3920299"/>
                  <a:ext cx="75723" cy="75723"/>
                  <a:chOff x="8212931" y="3920299"/>
                  <a:chExt cx="75723" cy="75723"/>
                </a:xfrm>
              </p:grpSpPr>
              <p:sp>
                <p:nvSpPr>
                  <p:cNvPr id="6184" name="Freeform: Shape 6183">
                    <a:extLst>
                      <a:ext uri="{FF2B5EF4-FFF2-40B4-BE49-F238E27FC236}">
                        <a16:creationId xmlns:a16="http://schemas.microsoft.com/office/drawing/2014/main" id="{B3E53429-34BF-1E5C-FC54-6816C306BEA4}"/>
                      </a:ext>
                    </a:extLst>
                  </p:cNvPr>
                  <p:cNvSpPr/>
                  <p:nvPr/>
                </p:nvSpPr>
                <p:spPr>
                  <a:xfrm>
                    <a:off x="8250745"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85" name="Freeform: Shape 6184">
                    <a:extLst>
                      <a:ext uri="{FF2B5EF4-FFF2-40B4-BE49-F238E27FC236}">
                        <a16:creationId xmlns:a16="http://schemas.microsoft.com/office/drawing/2014/main" id="{07F3C29C-314F-F23A-5103-70A5F58DCB1C}"/>
                      </a:ext>
                    </a:extLst>
                  </p:cNvPr>
                  <p:cNvSpPr/>
                  <p:nvPr/>
                </p:nvSpPr>
                <p:spPr>
                  <a:xfrm>
                    <a:off x="8212931"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1" name="Graphic 1498">
                  <a:extLst>
                    <a:ext uri="{FF2B5EF4-FFF2-40B4-BE49-F238E27FC236}">
                      <a16:creationId xmlns:a16="http://schemas.microsoft.com/office/drawing/2014/main" id="{D4739E87-8C23-A70D-2609-C978F5AB1B52}"/>
                    </a:ext>
                  </a:extLst>
                </p:cNvPr>
                <p:cNvGrpSpPr/>
                <p:nvPr/>
              </p:nvGrpSpPr>
              <p:grpSpPr>
                <a:xfrm>
                  <a:off x="8321040" y="3920299"/>
                  <a:ext cx="75628" cy="75723"/>
                  <a:chOff x="8321040" y="3920299"/>
                  <a:chExt cx="75628" cy="75723"/>
                </a:xfrm>
              </p:grpSpPr>
              <p:sp>
                <p:nvSpPr>
                  <p:cNvPr id="6182" name="Freeform: Shape 6181">
                    <a:extLst>
                      <a:ext uri="{FF2B5EF4-FFF2-40B4-BE49-F238E27FC236}">
                        <a16:creationId xmlns:a16="http://schemas.microsoft.com/office/drawing/2014/main" id="{D19B0BA9-3583-47EC-DF74-B86686AE3653}"/>
                      </a:ext>
                    </a:extLst>
                  </p:cNvPr>
                  <p:cNvSpPr/>
                  <p:nvPr/>
                </p:nvSpPr>
                <p:spPr>
                  <a:xfrm>
                    <a:off x="835885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83" name="Freeform: Shape 6182">
                    <a:extLst>
                      <a:ext uri="{FF2B5EF4-FFF2-40B4-BE49-F238E27FC236}">
                        <a16:creationId xmlns:a16="http://schemas.microsoft.com/office/drawing/2014/main" id="{C69BAE83-0104-0FE6-1135-0956385E9492}"/>
                      </a:ext>
                    </a:extLst>
                  </p:cNvPr>
                  <p:cNvSpPr/>
                  <p:nvPr/>
                </p:nvSpPr>
                <p:spPr>
                  <a:xfrm>
                    <a:off x="8321040"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2" name="Graphic 1498">
                  <a:extLst>
                    <a:ext uri="{FF2B5EF4-FFF2-40B4-BE49-F238E27FC236}">
                      <a16:creationId xmlns:a16="http://schemas.microsoft.com/office/drawing/2014/main" id="{3172A7F2-6872-6566-C561-7EBF3B1B0A5D}"/>
                    </a:ext>
                  </a:extLst>
                </p:cNvPr>
                <p:cNvGrpSpPr/>
                <p:nvPr/>
              </p:nvGrpSpPr>
              <p:grpSpPr>
                <a:xfrm>
                  <a:off x="8331612" y="3920299"/>
                  <a:ext cx="75628" cy="75723"/>
                  <a:chOff x="8331612" y="3920299"/>
                  <a:chExt cx="75628" cy="75723"/>
                </a:xfrm>
              </p:grpSpPr>
              <p:sp>
                <p:nvSpPr>
                  <p:cNvPr id="6180" name="Freeform: Shape 6179">
                    <a:extLst>
                      <a:ext uri="{FF2B5EF4-FFF2-40B4-BE49-F238E27FC236}">
                        <a16:creationId xmlns:a16="http://schemas.microsoft.com/office/drawing/2014/main" id="{5DB95561-AD9A-8B8D-D1B6-BEC9CD26D795}"/>
                      </a:ext>
                    </a:extLst>
                  </p:cNvPr>
                  <p:cNvSpPr/>
                  <p:nvPr/>
                </p:nvSpPr>
                <p:spPr>
                  <a:xfrm>
                    <a:off x="836942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81" name="Freeform: Shape 6180">
                    <a:extLst>
                      <a:ext uri="{FF2B5EF4-FFF2-40B4-BE49-F238E27FC236}">
                        <a16:creationId xmlns:a16="http://schemas.microsoft.com/office/drawing/2014/main" id="{1E128079-D2D1-F8C8-8618-8CD463F4D830}"/>
                      </a:ext>
                    </a:extLst>
                  </p:cNvPr>
                  <p:cNvSpPr/>
                  <p:nvPr/>
                </p:nvSpPr>
                <p:spPr>
                  <a:xfrm>
                    <a:off x="8331612"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3" name="Graphic 1498">
                  <a:extLst>
                    <a:ext uri="{FF2B5EF4-FFF2-40B4-BE49-F238E27FC236}">
                      <a16:creationId xmlns:a16="http://schemas.microsoft.com/office/drawing/2014/main" id="{7F111A57-E158-F3E4-A930-5E1D5A62A219}"/>
                    </a:ext>
                  </a:extLst>
                </p:cNvPr>
                <p:cNvGrpSpPr/>
                <p:nvPr/>
              </p:nvGrpSpPr>
              <p:grpSpPr>
                <a:xfrm>
                  <a:off x="8348472" y="3920299"/>
                  <a:ext cx="75723" cy="75723"/>
                  <a:chOff x="8348472" y="3920299"/>
                  <a:chExt cx="75723" cy="75723"/>
                </a:xfrm>
              </p:grpSpPr>
              <p:sp>
                <p:nvSpPr>
                  <p:cNvPr id="6178" name="Freeform: Shape 6177">
                    <a:extLst>
                      <a:ext uri="{FF2B5EF4-FFF2-40B4-BE49-F238E27FC236}">
                        <a16:creationId xmlns:a16="http://schemas.microsoft.com/office/drawing/2014/main" id="{1DB88201-721C-0745-644B-0F7693D36EB2}"/>
                      </a:ext>
                    </a:extLst>
                  </p:cNvPr>
                  <p:cNvSpPr/>
                  <p:nvPr/>
                </p:nvSpPr>
                <p:spPr>
                  <a:xfrm>
                    <a:off x="8386286"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79" name="Freeform: Shape 6178">
                    <a:extLst>
                      <a:ext uri="{FF2B5EF4-FFF2-40B4-BE49-F238E27FC236}">
                        <a16:creationId xmlns:a16="http://schemas.microsoft.com/office/drawing/2014/main" id="{5F79F48A-8C10-C4D4-DEA2-FCE83BEE975C}"/>
                      </a:ext>
                    </a:extLst>
                  </p:cNvPr>
                  <p:cNvSpPr/>
                  <p:nvPr/>
                </p:nvSpPr>
                <p:spPr>
                  <a:xfrm>
                    <a:off x="8348472"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4" name="Graphic 1498">
                  <a:extLst>
                    <a:ext uri="{FF2B5EF4-FFF2-40B4-BE49-F238E27FC236}">
                      <a16:creationId xmlns:a16="http://schemas.microsoft.com/office/drawing/2014/main" id="{5FDF9BA9-4BDF-C016-EF0D-27671F3CE604}"/>
                    </a:ext>
                  </a:extLst>
                </p:cNvPr>
                <p:cNvGrpSpPr/>
                <p:nvPr/>
              </p:nvGrpSpPr>
              <p:grpSpPr>
                <a:xfrm>
                  <a:off x="8382285" y="3920299"/>
                  <a:ext cx="75628" cy="75723"/>
                  <a:chOff x="8382285" y="3920299"/>
                  <a:chExt cx="75628" cy="75723"/>
                </a:xfrm>
              </p:grpSpPr>
              <p:sp>
                <p:nvSpPr>
                  <p:cNvPr id="6176" name="Freeform: Shape 6175">
                    <a:extLst>
                      <a:ext uri="{FF2B5EF4-FFF2-40B4-BE49-F238E27FC236}">
                        <a16:creationId xmlns:a16="http://schemas.microsoft.com/office/drawing/2014/main" id="{39FAE6FC-67B9-15B2-DF9A-D97BC4C6AF30}"/>
                      </a:ext>
                    </a:extLst>
                  </p:cNvPr>
                  <p:cNvSpPr/>
                  <p:nvPr/>
                </p:nvSpPr>
                <p:spPr>
                  <a:xfrm>
                    <a:off x="8420100"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77" name="Freeform: Shape 6176">
                    <a:extLst>
                      <a:ext uri="{FF2B5EF4-FFF2-40B4-BE49-F238E27FC236}">
                        <a16:creationId xmlns:a16="http://schemas.microsoft.com/office/drawing/2014/main" id="{C3D1D5C5-7236-81D8-FEBF-DD1F77A8E4F4}"/>
                      </a:ext>
                    </a:extLst>
                  </p:cNvPr>
                  <p:cNvSpPr/>
                  <p:nvPr/>
                </p:nvSpPr>
                <p:spPr>
                  <a:xfrm>
                    <a:off x="8382285" y="395820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5" name="Graphic 1498">
                  <a:extLst>
                    <a:ext uri="{FF2B5EF4-FFF2-40B4-BE49-F238E27FC236}">
                      <a16:creationId xmlns:a16="http://schemas.microsoft.com/office/drawing/2014/main" id="{0657ABD7-1C7E-BBC7-619B-658106822123}"/>
                    </a:ext>
                  </a:extLst>
                </p:cNvPr>
                <p:cNvGrpSpPr/>
                <p:nvPr/>
              </p:nvGrpSpPr>
              <p:grpSpPr>
                <a:xfrm>
                  <a:off x="8391715" y="3920299"/>
                  <a:ext cx="75628" cy="75723"/>
                  <a:chOff x="8391715" y="3920299"/>
                  <a:chExt cx="75628" cy="75723"/>
                </a:xfrm>
              </p:grpSpPr>
              <p:sp>
                <p:nvSpPr>
                  <p:cNvPr id="6174" name="Freeform: Shape 6173">
                    <a:extLst>
                      <a:ext uri="{FF2B5EF4-FFF2-40B4-BE49-F238E27FC236}">
                        <a16:creationId xmlns:a16="http://schemas.microsoft.com/office/drawing/2014/main" id="{113BBAD1-7E74-D348-7FB4-EA4BA8BF5C72}"/>
                      </a:ext>
                    </a:extLst>
                  </p:cNvPr>
                  <p:cNvSpPr/>
                  <p:nvPr/>
                </p:nvSpPr>
                <p:spPr>
                  <a:xfrm>
                    <a:off x="842952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75" name="Freeform: Shape 6174">
                    <a:extLst>
                      <a:ext uri="{FF2B5EF4-FFF2-40B4-BE49-F238E27FC236}">
                        <a16:creationId xmlns:a16="http://schemas.microsoft.com/office/drawing/2014/main" id="{56265A18-A35D-5121-2177-C6137086D3AE}"/>
                      </a:ext>
                    </a:extLst>
                  </p:cNvPr>
                  <p:cNvSpPr/>
                  <p:nvPr/>
                </p:nvSpPr>
                <p:spPr>
                  <a:xfrm>
                    <a:off x="839171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6" name="Graphic 1498">
                  <a:extLst>
                    <a:ext uri="{FF2B5EF4-FFF2-40B4-BE49-F238E27FC236}">
                      <a16:creationId xmlns:a16="http://schemas.microsoft.com/office/drawing/2014/main" id="{B667E803-F9DA-2CF1-F5BE-8CCAE76255DF}"/>
                    </a:ext>
                  </a:extLst>
                </p:cNvPr>
                <p:cNvGrpSpPr/>
                <p:nvPr/>
              </p:nvGrpSpPr>
              <p:grpSpPr>
                <a:xfrm>
                  <a:off x="8422005" y="3920299"/>
                  <a:ext cx="75628" cy="75723"/>
                  <a:chOff x="8422005" y="3920299"/>
                  <a:chExt cx="75628" cy="75723"/>
                </a:xfrm>
              </p:grpSpPr>
              <p:sp>
                <p:nvSpPr>
                  <p:cNvPr id="6172" name="Freeform: Shape 6171">
                    <a:extLst>
                      <a:ext uri="{FF2B5EF4-FFF2-40B4-BE49-F238E27FC236}">
                        <a16:creationId xmlns:a16="http://schemas.microsoft.com/office/drawing/2014/main" id="{0955ED61-0232-1D69-EF4E-31ACFB24A9B1}"/>
                      </a:ext>
                    </a:extLst>
                  </p:cNvPr>
                  <p:cNvSpPr/>
                  <p:nvPr/>
                </p:nvSpPr>
                <p:spPr>
                  <a:xfrm>
                    <a:off x="845981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73" name="Freeform: Shape 6172">
                    <a:extLst>
                      <a:ext uri="{FF2B5EF4-FFF2-40B4-BE49-F238E27FC236}">
                        <a16:creationId xmlns:a16="http://schemas.microsoft.com/office/drawing/2014/main" id="{BD29F7C9-187C-DD39-55D6-CEDF4F0846FE}"/>
                      </a:ext>
                    </a:extLst>
                  </p:cNvPr>
                  <p:cNvSpPr/>
                  <p:nvPr/>
                </p:nvSpPr>
                <p:spPr>
                  <a:xfrm>
                    <a:off x="8422005" y="395820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7" name="Graphic 1498">
                  <a:extLst>
                    <a:ext uri="{FF2B5EF4-FFF2-40B4-BE49-F238E27FC236}">
                      <a16:creationId xmlns:a16="http://schemas.microsoft.com/office/drawing/2014/main" id="{94538656-335D-C75A-98E0-EEB555AEBC02}"/>
                    </a:ext>
                  </a:extLst>
                </p:cNvPr>
                <p:cNvGrpSpPr/>
                <p:nvPr/>
              </p:nvGrpSpPr>
              <p:grpSpPr>
                <a:xfrm>
                  <a:off x="8519350" y="3920299"/>
                  <a:ext cx="75723" cy="75723"/>
                  <a:chOff x="8519350" y="3920299"/>
                  <a:chExt cx="75723" cy="75723"/>
                </a:xfrm>
              </p:grpSpPr>
              <p:sp>
                <p:nvSpPr>
                  <p:cNvPr id="6170" name="Freeform: Shape 6169">
                    <a:extLst>
                      <a:ext uri="{FF2B5EF4-FFF2-40B4-BE49-F238E27FC236}">
                        <a16:creationId xmlns:a16="http://schemas.microsoft.com/office/drawing/2014/main" id="{4EAA559C-1D8D-49C4-61E0-32794EDC310F}"/>
                      </a:ext>
                    </a:extLst>
                  </p:cNvPr>
                  <p:cNvSpPr/>
                  <p:nvPr/>
                </p:nvSpPr>
                <p:spPr>
                  <a:xfrm>
                    <a:off x="8557164"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71" name="Freeform: Shape 6170">
                    <a:extLst>
                      <a:ext uri="{FF2B5EF4-FFF2-40B4-BE49-F238E27FC236}">
                        <a16:creationId xmlns:a16="http://schemas.microsoft.com/office/drawing/2014/main" id="{3CB394C2-4756-4978-B748-EAAFC4C62277}"/>
                      </a:ext>
                    </a:extLst>
                  </p:cNvPr>
                  <p:cNvSpPr/>
                  <p:nvPr/>
                </p:nvSpPr>
                <p:spPr>
                  <a:xfrm>
                    <a:off x="851935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8" name="Graphic 1498">
                  <a:extLst>
                    <a:ext uri="{FF2B5EF4-FFF2-40B4-BE49-F238E27FC236}">
                      <a16:creationId xmlns:a16="http://schemas.microsoft.com/office/drawing/2014/main" id="{63D95449-A057-ACBD-9D5B-7F4EB0E00D77}"/>
                    </a:ext>
                  </a:extLst>
                </p:cNvPr>
                <p:cNvGrpSpPr/>
                <p:nvPr/>
              </p:nvGrpSpPr>
              <p:grpSpPr>
                <a:xfrm>
                  <a:off x="8509730" y="3920299"/>
                  <a:ext cx="75723" cy="75723"/>
                  <a:chOff x="8509730" y="3920299"/>
                  <a:chExt cx="75723" cy="75723"/>
                </a:xfrm>
              </p:grpSpPr>
              <p:sp>
                <p:nvSpPr>
                  <p:cNvPr id="6168" name="Freeform: Shape 6167">
                    <a:extLst>
                      <a:ext uri="{FF2B5EF4-FFF2-40B4-BE49-F238E27FC236}">
                        <a16:creationId xmlns:a16="http://schemas.microsoft.com/office/drawing/2014/main" id="{50531214-86A1-D1E6-FD39-CA71FEDAB58B}"/>
                      </a:ext>
                    </a:extLst>
                  </p:cNvPr>
                  <p:cNvSpPr/>
                  <p:nvPr/>
                </p:nvSpPr>
                <p:spPr>
                  <a:xfrm>
                    <a:off x="8547639"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69" name="Freeform: Shape 6168">
                    <a:extLst>
                      <a:ext uri="{FF2B5EF4-FFF2-40B4-BE49-F238E27FC236}">
                        <a16:creationId xmlns:a16="http://schemas.microsoft.com/office/drawing/2014/main" id="{354A2823-6DA2-5E9C-2795-D58CD336335F}"/>
                      </a:ext>
                    </a:extLst>
                  </p:cNvPr>
                  <p:cNvSpPr/>
                  <p:nvPr/>
                </p:nvSpPr>
                <p:spPr>
                  <a:xfrm>
                    <a:off x="8509730"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59" name="Graphic 1498">
                  <a:extLst>
                    <a:ext uri="{FF2B5EF4-FFF2-40B4-BE49-F238E27FC236}">
                      <a16:creationId xmlns:a16="http://schemas.microsoft.com/office/drawing/2014/main" id="{630C9189-969A-6D50-8E29-A4FB494B5BFA}"/>
                    </a:ext>
                  </a:extLst>
                </p:cNvPr>
                <p:cNvGrpSpPr/>
                <p:nvPr/>
              </p:nvGrpSpPr>
              <p:grpSpPr>
                <a:xfrm>
                  <a:off x="8467534" y="3920299"/>
                  <a:ext cx="75723" cy="75723"/>
                  <a:chOff x="8467534" y="3920299"/>
                  <a:chExt cx="75723" cy="75723"/>
                </a:xfrm>
              </p:grpSpPr>
              <p:sp>
                <p:nvSpPr>
                  <p:cNvPr id="6166" name="Freeform: Shape 6165">
                    <a:extLst>
                      <a:ext uri="{FF2B5EF4-FFF2-40B4-BE49-F238E27FC236}">
                        <a16:creationId xmlns:a16="http://schemas.microsoft.com/office/drawing/2014/main" id="{1661EE69-5794-3865-5330-DD976BFF97C1}"/>
                      </a:ext>
                    </a:extLst>
                  </p:cNvPr>
                  <p:cNvSpPr/>
                  <p:nvPr/>
                </p:nvSpPr>
                <p:spPr>
                  <a:xfrm>
                    <a:off x="8505348"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67" name="Freeform: Shape 6166">
                    <a:extLst>
                      <a:ext uri="{FF2B5EF4-FFF2-40B4-BE49-F238E27FC236}">
                        <a16:creationId xmlns:a16="http://schemas.microsoft.com/office/drawing/2014/main" id="{68F95252-6978-5F1C-74D3-FEB5CF0DEA73}"/>
                      </a:ext>
                    </a:extLst>
                  </p:cNvPr>
                  <p:cNvSpPr/>
                  <p:nvPr/>
                </p:nvSpPr>
                <p:spPr>
                  <a:xfrm>
                    <a:off x="846753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60" name="Graphic 1498">
                  <a:extLst>
                    <a:ext uri="{FF2B5EF4-FFF2-40B4-BE49-F238E27FC236}">
                      <a16:creationId xmlns:a16="http://schemas.microsoft.com/office/drawing/2014/main" id="{1967E7C6-397A-B403-FDA7-CF1D4873DD4E}"/>
                    </a:ext>
                  </a:extLst>
                </p:cNvPr>
                <p:cNvGrpSpPr/>
                <p:nvPr/>
              </p:nvGrpSpPr>
              <p:grpSpPr>
                <a:xfrm>
                  <a:off x="8478297" y="3920299"/>
                  <a:ext cx="75723" cy="75723"/>
                  <a:chOff x="8478297" y="3920299"/>
                  <a:chExt cx="75723" cy="75723"/>
                </a:xfrm>
              </p:grpSpPr>
              <p:sp>
                <p:nvSpPr>
                  <p:cNvPr id="6164" name="Freeform: Shape 6163">
                    <a:extLst>
                      <a:ext uri="{FF2B5EF4-FFF2-40B4-BE49-F238E27FC236}">
                        <a16:creationId xmlns:a16="http://schemas.microsoft.com/office/drawing/2014/main" id="{3EC9FFCF-15A1-1E4A-73F8-2C30C68CC319}"/>
                      </a:ext>
                    </a:extLst>
                  </p:cNvPr>
                  <p:cNvSpPr/>
                  <p:nvPr/>
                </p:nvSpPr>
                <p:spPr>
                  <a:xfrm>
                    <a:off x="8516207"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65" name="Freeform: Shape 6164">
                    <a:extLst>
                      <a:ext uri="{FF2B5EF4-FFF2-40B4-BE49-F238E27FC236}">
                        <a16:creationId xmlns:a16="http://schemas.microsoft.com/office/drawing/2014/main" id="{DDDDBE4C-E1A2-6DFE-0C0E-C705C014B288}"/>
                      </a:ext>
                    </a:extLst>
                  </p:cNvPr>
                  <p:cNvSpPr/>
                  <p:nvPr/>
                </p:nvSpPr>
                <p:spPr>
                  <a:xfrm>
                    <a:off x="8478297"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161" name="Graphic 1498">
                  <a:extLst>
                    <a:ext uri="{FF2B5EF4-FFF2-40B4-BE49-F238E27FC236}">
                      <a16:creationId xmlns:a16="http://schemas.microsoft.com/office/drawing/2014/main" id="{DB94116A-3DBC-A19C-3208-9F8F57058199}"/>
                    </a:ext>
                  </a:extLst>
                </p:cNvPr>
                <p:cNvGrpSpPr/>
                <p:nvPr/>
              </p:nvGrpSpPr>
              <p:grpSpPr>
                <a:xfrm>
                  <a:off x="8457914" y="3920299"/>
                  <a:ext cx="75723" cy="75723"/>
                  <a:chOff x="8457914" y="3920299"/>
                  <a:chExt cx="75723" cy="75723"/>
                </a:xfrm>
              </p:grpSpPr>
              <p:sp>
                <p:nvSpPr>
                  <p:cNvPr id="6162" name="Freeform: Shape 6161">
                    <a:extLst>
                      <a:ext uri="{FF2B5EF4-FFF2-40B4-BE49-F238E27FC236}">
                        <a16:creationId xmlns:a16="http://schemas.microsoft.com/office/drawing/2014/main" id="{F48BB8DF-08E9-DBD8-FC21-51CFBD464345}"/>
                      </a:ext>
                    </a:extLst>
                  </p:cNvPr>
                  <p:cNvSpPr/>
                  <p:nvPr/>
                </p:nvSpPr>
                <p:spPr>
                  <a:xfrm>
                    <a:off x="8495823" y="392029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63" name="Freeform: Shape 6162">
                    <a:extLst>
                      <a:ext uri="{FF2B5EF4-FFF2-40B4-BE49-F238E27FC236}">
                        <a16:creationId xmlns:a16="http://schemas.microsoft.com/office/drawing/2014/main" id="{F265B949-42D3-740A-CCE8-F95AE6D607B2}"/>
                      </a:ext>
                    </a:extLst>
                  </p:cNvPr>
                  <p:cNvSpPr/>
                  <p:nvPr/>
                </p:nvSpPr>
                <p:spPr>
                  <a:xfrm>
                    <a:off x="8457914" y="39582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5969" name="Freeform: Shape 5968">
                <a:extLst>
                  <a:ext uri="{FF2B5EF4-FFF2-40B4-BE49-F238E27FC236}">
                    <a16:creationId xmlns:a16="http://schemas.microsoft.com/office/drawing/2014/main" id="{B8A9A3C6-344E-0E96-F2C2-7631739C6133}"/>
                  </a:ext>
                </a:extLst>
              </p:cNvPr>
              <p:cNvSpPr/>
              <p:nvPr/>
            </p:nvSpPr>
            <p:spPr>
              <a:xfrm>
                <a:off x="2981325" y="2666999"/>
                <a:ext cx="6194393" cy="1488186"/>
              </a:xfrm>
              <a:custGeom>
                <a:avLst/>
                <a:gdLst>
                  <a:gd name="connsiteX0" fmla="*/ 6194394 w 6194393"/>
                  <a:gd name="connsiteY0" fmla="*/ 1488186 h 1488186"/>
                  <a:gd name="connsiteX1" fmla="*/ 5598319 w 6194393"/>
                  <a:gd name="connsiteY1" fmla="*/ 1488186 h 1488186"/>
                  <a:gd name="connsiteX2" fmla="*/ 5598319 w 6194393"/>
                  <a:gd name="connsiteY2" fmla="*/ 1291209 h 1488186"/>
                  <a:gd name="connsiteX3" fmla="*/ 4979003 w 6194393"/>
                  <a:gd name="connsiteY3" fmla="*/ 1291209 h 1488186"/>
                  <a:gd name="connsiteX4" fmla="*/ 4979003 w 6194393"/>
                  <a:gd name="connsiteY4" fmla="*/ 1234726 h 1488186"/>
                  <a:gd name="connsiteX5" fmla="*/ 4677728 w 6194393"/>
                  <a:gd name="connsiteY5" fmla="*/ 1234726 h 1488186"/>
                  <a:gd name="connsiteX6" fmla="*/ 4677728 w 6194393"/>
                  <a:gd name="connsiteY6" fmla="*/ 1195769 h 1488186"/>
                  <a:gd name="connsiteX7" fmla="*/ 4672584 w 6194393"/>
                  <a:gd name="connsiteY7" fmla="*/ 1195769 h 1488186"/>
                  <a:gd name="connsiteX8" fmla="*/ 4672584 w 6194393"/>
                  <a:gd name="connsiteY8" fmla="*/ 1189673 h 1488186"/>
                  <a:gd name="connsiteX9" fmla="*/ 4660773 w 6194393"/>
                  <a:gd name="connsiteY9" fmla="*/ 1189673 h 1488186"/>
                  <a:gd name="connsiteX10" fmla="*/ 4660773 w 6194393"/>
                  <a:gd name="connsiteY10" fmla="*/ 1150239 h 1488186"/>
                  <a:gd name="connsiteX11" fmla="*/ 4448842 w 6194393"/>
                  <a:gd name="connsiteY11" fmla="*/ 1150239 h 1488186"/>
                  <a:gd name="connsiteX12" fmla="*/ 4448842 w 6194393"/>
                  <a:gd name="connsiteY12" fmla="*/ 1116425 h 1488186"/>
                  <a:gd name="connsiteX13" fmla="*/ 4427125 w 6194393"/>
                  <a:gd name="connsiteY13" fmla="*/ 1116425 h 1488186"/>
                  <a:gd name="connsiteX14" fmla="*/ 4427125 w 6194393"/>
                  <a:gd name="connsiteY14" fmla="*/ 1086612 h 1488186"/>
                  <a:gd name="connsiteX15" fmla="*/ 4359498 w 6194393"/>
                  <a:gd name="connsiteY15" fmla="*/ 1086612 h 1488186"/>
                  <a:gd name="connsiteX16" fmla="*/ 4359498 w 6194393"/>
                  <a:gd name="connsiteY16" fmla="*/ 1051370 h 1488186"/>
                  <a:gd name="connsiteX17" fmla="*/ 4342829 w 6194393"/>
                  <a:gd name="connsiteY17" fmla="*/ 1051370 h 1488186"/>
                  <a:gd name="connsiteX18" fmla="*/ 4342829 w 6194393"/>
                  <a:gd name="connsiteY18" fmla="*/ 1024414 h 1488186"/>
                  <a:gd name="connsiteX19" fmla="*/ 4091654 w 6194393"/>
                  <a:gd name="connsiteY19" fmla="*/ 1024414 h 1488186"/>
                  <a:gd name="connsiteX20" fmla="*/ 4091654 w 6194393"/>
                  <a:gd name="connsiteY20" fmla="*/ 997934 h 1488186"/>
                  <a:gd name="connsiteX21" fmla="*/ 3886295 w 6194393"/>
                  <a:gd name="connsiteY21" fmla="*/ 997934 h 1488186"/>
                  <a:gd name="connsiteX22" fmla="*/ 3886295 w 6194393"/>
                  <a:gd name="connsiteY22" fmla="*/ 953453 h 1488186"/>
                  <a:gd name="connsiteX23" fmla="*/ 3689509 w 6194393"/>
                  <a:gd name="connsiteY23" fmla="*/ 953453 h 1488186"/>
                  <a:gd name="connsiteX24" fmla="*/ 3689509 w 6194393"/>
                  <a:gd name="connsiteY24" fmla="*/ 935546 h 1488186"/>
                  <a:gd name="connsiteX25" fmla="*/ 3683413 w 6194393"/>
                  <a:gd name="connsiteY25" fmla="*/ 935546 h 1488186"/>
                  <a:gd name="connsiteX26" fmla="*/ 3683413 w 6194393"/>
                  <a:gd name="connsiteY26" fmla="*/ 913162 h 1488186"/>
                  <a:gd name="connsiteX27" fmla="*/ 3603784 w 6194393"/>
                  <a:gd name="connsiteY27" fmla="*/ 913162 h 1488186"/>
                  <a:gd name="connsiteX28" fmla="*/ 3603784 w 6194393"/>
                  <a:gd name="connsiteY28" fmla="*/ 877729 h 1488186"/>
                  <a:gd name="connsiteX29" fmla="*/ 3550253 w 6194393"/>
                  <a:gd name="connsiteY29" fmla="*/ 877729 h 1488186"/>
                  <a:gd name="connsiteX30" fmla="*/ 3550253 w 6194393"/>
                  <a:gd name="connsiteY30" fmla="*/ 862965 h 1488186"/>
                  <a:gd name="connsiteX31" fmla="*/ 3309557 w 6194393"/>
                  <a:gd name="connsiteY31" fmla="*/ 862965 h 1488186"/>
                  <a:gd name="connsiteX32" fmla="*/ 3309557 w 6194393"/>
                  <a:gd name="connsiteY32" fmla="*/ 846963 h 1488186"/>
                  <a:gd name="connsiteX33" fmla="*/ 3287363 w 6194393"/>
                  <a:gd name="connsiteY33" fmla="*/ 846963 h 1488186"/>
                  <a:gd name="connsiteX34" fmla="*/ 3287363 w 6194393"/>
                  <a:gd name="connsiteY34" fmla="*/ 828961 h 1488186"/>
                  <a:gd name="connsiteX35" fmla="*/ 3125629 w 6194393"/>
                  <a:gd name="connsiteY35" fmla="*/ 828961 h 1488186"/>
                  <a:gd name="connsiteX36" fmla="*/ 3125629 w 6194393"/>
                  <a:gd name="connsiteY36" fmla="*/ 812483 h 1488186"/>
                  <a:gd name="connsiteX37" fmla="*/ 3090958 w 6194393"/>
                  <a:gd name="connsiteY37" fmla="*/ 812483 h 1488186"/>
                  <a:gd name="connsiteX38" fmla="*/ 3090958 w 6194393"/>
                  <a:gd name="connsiteY38" fmla="*/ 795433 h 1488186"/>
                  <a:gd name="connsiteX39" fmla="*/ 3074575 w 6194393"/>
                  <a:gd name="connsiteY39" fmla="*/ 795433 h 1488186"/>
                  <a:gd name="connsiteX40" fmla="*/ 3074575 w 6194393"/>
                  <a:gd name="connsiteY40" fmla="*/ 783908 h 1488186"/>
                  <a:gd name="connsiteX41" fmla="*/ 3056573 w 6194393"/>
                  <a:gd name="connsiteY41" fmla="*/ 783908 h 1488186"/>
                  <a:gd name="connsiteX42" fmla="*/ 3056573 w 6194393"/>
                  <a:gd name="connsiteY42" fmla="*/ 768096 h 1488186"/>
                  <a:gd name="connsiteX43" fmla="*/ 3012567 w 6194393"/>
                  <a:gd name="connsiteY43" fmla="*/ 768096 h 1488186"/>
                  <a:gd name="connsiteX44" fmla="*/ 3012567 w 6194393"/>
                  <a:gd name="connsiteY44" fmla="*/ 756190 h 1488186"/>
                  <a:gd name="connsiteX45" fmla="*/ 2976372 w 6194393"/>
                  <a:gd name="connsiteY45" fmla="*/ 756190 h 1488186"/>
                  <a:gd name="connsiteX46" fmla="*/ 2976372 w 6194393"/>
                  <a:gd name="connsiteY46" fmla="*/ 738378 h 1488186"/>
                  <a:gd name="connsiteX47" fmla="*/ 2945321 w 6194393"/>
                  <a:gd name="connsiteY47" fmla="*/ 738378 h 1488186"/>
                  <a:gd name="connsiteX48" fmla="*/ 2945321 w 6194393"/>
                  <a:gd name="connsiteY48" fmla="*/ 723043 h 1488186"/>
                  <a:gd name="connsiteX49" fmla="*/ 2870549 w 6194393"/>
                  <a:gd name="connsiteY49" fmla="*/ 723043 h 1488186"/>
                  <a:gd name="connsiteX50" fmla="*/ 2870549 w 6194393"/>
                  <a:gd name="connsiteY50" fmla="*/ 711803 h 1488186"/>
                  <a:gd name="connsiteX51" fmla="*/ 2768441 w 6194393"/>
                  <a:gd name="connsiteY51" fmla="*/ 711803 h 1488186"/>
                  <a:gd name="connsiteX52" fmla="*/ 2768441 w 6194393"/>
                  <a:gd name="connsiteY52" fmla="*/ 695135 h 1488186"/>
                  <a:gd name="connsiteX53" fmla="*/ 2742629 w 6194393"/>
                  <a:gd name="connsiteY53" fmla="*/ 695135 h 1488186"/>
                  <a:gd name="connsiteX54" fmla="*/ 2742629 w 6194393"/>
                  <a:gd name="connsiteY54" fmla="*/ 682943 h 1488186"/>
                  <a:gd name="connsiteX55" fmla="*/ 2576798 w 6194393"/>
                  <a:gd name="connsiteY55" fmla="*/ 682943 h 1488186"/>
                  <a:gd name="connsiteX56" fmla="*/ 2576798 w 6194393"/>
                  <a:gd name="connsiteY56" fmla="*/ 671703 h 1488186"/>
                  <a:gd name="connsiteX57" fmla="*/ 2499932 w 6194393"/>
                  <a:gd name="connsiteY57" fmla="*/ 671703 h 1488186"/>
                  <a:gd name="connsiteX58" fmla="*/ 2499932 w 6194393"/>
                  <a:gd name="connsiteY58" fmla="*/ 633127 h 1488186"/>
                  <a:gd name="connsiteX59" fmla="*/ 2361724 w 6194393"/>
                  <a:gd name="connsiteY59" fmla="*/ 633127 h 1488186"/>
                  <a:gd name="connsiteX60" fmla="*/ 2361724 w 6194393"/>
                  <a:gd name="connsiteY60" fmla="*/ 615791 h 1488186"/>
                  <a:gd name="connsiteX61" fmla="*/ 2300573 w 6194393"/>
                  <a:gd name="connsiteY61" fmla="*/ 615791 h 1488186"/>
                  <a:gd name="connsiteX62" fmla="*/ 2300573 w 6194393"/>
                  <a:gd name="connsiteY62" fmla="*/ 598456 h 1488186"/>
                  <a:gd name="connsiteX63" fmla="*/ 2247043 w 6194393"/>
                  <a:gd name="connsiteY63" fmla="*/ 598456 h 1488186"/>
                  <a:gd name="connsiteX64" fmla="*/ 2247043 w 6194393"/>
                  <a:gd name="connsiteY64" fmla="*/ 574834 h 1488186"/>
                  <a:gd name="connsiteX65" fmla="*/ 2198846 w 6194393"/>
                  <a:gd name="connsiteY65" fmla="*/ 574834 h 1488186"/>
                  <a:gd name="connsiteX66" fmla="*/ 2198846 w 6194393"/>
                  <a:gd name="connsiteY66" fmla="*/ 563499 h 1488186"/>
                  <a:gd name="connsiteX67" fmla="*/ 2173796 w 6194393"/>
                  <a:gd name="connsiteY67" fmla="*/ 563499 h 1488186"/>
                  <a:gd name="connsiteX68" fmla="*/ 2173796 w 6194393"/>
                  <a:gd name="connsiteY68" fmla="*/ 543973 h 1488186"/>
                  <a:gd name="connsiteX69" fmla="*/ 2101787 w 6194393"/>
                  <a:gd name="connsiteY69" fmla="*/ 543973 h 1488186"/>
                  <a:gd name="connsiteX70" fmla="*/ 2101787 w 6194393"/>
                  <a:gd name="connsiteY70" fmla="*/ 530638 h 1488186"/>
                  <a:gd name="connsiteX71" fmla="*/ 2072259 w 6194393"/>
                  <a:gd name="connsiteY71" fmla="*/ 530638 h 1488186"/>
                  <a:gd name="connsiteX72" fmla="*/ 2072259 w 6194393"/>
                  <a:gd name="connsiteY72" fmla="*/ 518827 h 1488186"/>
                  <a:gd name="connsiteX73" fmla="*/ 1921478 w 6194393"/>
                  <a:gd name="connsiteY73" fmla="*/ 518827 h 1488186"/>
                  <a:gd name="connsiteX74" fmla="*/ 1921478 w 6194393"/>
                  <a:gd name="connsiteY74" fmla="*/ 510254 h 1488186"/>
                  <a:gd name="connsiteX75" fmla="*/ 1866805 w 6194393"/>
                  <a:gd name="connsiteY75" fmla="*/ 510254 h 1488186"/>
                  <a:gd name="connsiteX76" fmla="*/ 1866805 w 6194393"/>
                  <a:gd name="connsiteY76" fmla="*/ 483870 h 1488186"/>
                  <a:gd name="connsiteX77" fmla="*/ 1809083 w 6194393"/>
                  <a:gd name="connsiteY77" fmla="*/ 483870 h 1488186"/>
                  <a:gd name="connsiteX78" fmla="*/ 1809083 w 6194393"/>
                  <a:gd name="connsiteY78" fmla="*/ 472440 h 1488186"/>
                  <a:gd name="connsiteX79" fmla="*/ 1761649 w 6194393"/>
                  <a:gd name="connsiteY79" fmla="*/ 472440 h 1488186"/>
                  <a:gd name="connsiteX80" fmla="*/ 1761649 w 6194393"/>
                  <a:gd name="connsiteY80" fmla="*/ 460724 h 1488186"/>
                  <a:gd name="connsiteX81" fmla="*/ 1727264 w 6194393"/>
                  <a:gd name="connsiteY81" fmla="*/ 460724 h 1488186"/>
                  <a:gd name="connsiteX82" fmla="*/ 1727264 w 6194393"/>
                  <a:gd name="connsiteY82" fmla="*/ 445199 h 1488186"/>
                  <a:gd name="connsiteX83" fmla="*/ 1702689 w 6194393"/>
                  <a:gd name="connsiteY83" fmla="*/ 445199 h 1488186"/>
                  <a:gd name="connsiteX84" fmla="*/ 1702689 w 6194393"/>
                  <a:gd name="connsiteY84" fmla="*/ 431864 h 1488186"/>
                  <a:gd name="connsiteX85" fmla="*/ 1673733 w 6194393"/>
                  <a:gd name="connsiteY85" fmla="*/ 431864 h 1488186"/>
                  <a:gd name="connsiteX86" fmla="*/ 1673733 w 6194393"/>
                  <a:gd name="connsiteY86" fmla="*/ 402050 h 1488186"/>
                  <a:gd name="connsiteX87" fmla="*/ 1646111 w 6194393"/>
                  <a:gd name="connsiteY87" fmla="*/ 402050 h 1488186"/>
                  <a:gd name="connsiteX88" fmla="*/ 1646111 w 6194393"/>
                  <a:gd name="connsiteY88" fmla="*/ 389573 h 1488186"/>
                  <a:gd name="connsiteX89" fmla="*/ 1615726 w 6194393"/>
                  <a:gd name="connsiteY89" fmla="*/ 389573 h 1488186"/>
                  <a:gd name="connsiteX90" fmla="*/ 1615726 w 6194393"/>
                  <a:gd name="connsiteY90" fmla="*/ 377476 h 1488186"/>
                  <a:gd name="connsiteX91" fmla="*/ 1591723 w 6194393"/>
                  <a:gd name="connsiteY91" fmla="*/ 377476 h 1488186"/>
                  <a:gd name="connsiteX92" fmla="*/ 1591723 w 6194393"/>
                  <a:gd name="connsiteY92" fmla="*/ 365855 h 1488186"/>
                  <a:gd name="connsiteX93" fmla="*/ 1578293 w 6194393"/>
                  <a:gd name="connsiteY93" fmla="*/ 365855 h 1488186"/>
                  <a:gd name="connsiteX94" fmla="*/ 1578293 w 6194393"/>
                  <a:gd name="connsiteY94" fmla="*/ 350139 h 1488186"/>
                  <a:gd name="connsiteX95" fmla="*/ 1531239 w 6194393"/>
                  <a:gd name="connsiteY95" fmla="*/ 350139 h 1488186"/>
                  <a:gd name="connsiteX96" fmla="*/ 1531239 w 6194393"/>
                  <a:gd name="connsiteY96" fmla="*/ 340043 h 1488186"/>
                  <a:gd name="connsiteX97" fmla="*/ 1432370 w 6194393"/>
                  <a:gd name="connsiteY97" fmla="*/ 340043 h 1488186"/>
                  <a:gd name="connsiteX98" fmla="*/ 1432370 w 6194393"/>
                  <a:gd name="connsiteY98" fmla="*/ 330327 h 1488186"/>
                  <a:gd name="connsiteX99" fmla="*/ 1415415 w 6194393"/>
                  <a:gd name="connsiteY99" fmla="*/ 330327 h 1488186"/>
                  <a:gd name="connsiteX100" fmla="*/ 1415415 w 6194393"/>
                  <a:gd name="connsiteY100" fmla="*/ 312420 h 1488186"/>
                  <a:gd name="connsiteX101" fmla="*/ 1401985 w 6194393"/>
                  <a:gd name="connsiteY101" fmla="*/ 312420 h 1488186"/>
                  <a:gd name="connsiteX102" fmla="*/ 1401985 w 6194393"/>
                  <a:gd name="connsiteY102" fmla="*/ 297847 h 1488186"/>
                  <a:gd name="connsiteX103" fmla="*/ 1338167 w 6194393"/>
                  <a:gd name="connsiteY103" fmla="*/ 297847 h 1488186"/>
                  <a:gd name="connsiteX104" fmla="*/ 1338167 w 6194393"/>
                  <a:gd name="connsiteY104" fmla="*/ 280511 h 1488186"/>
                  <a:gd name="connsiteX105" fmla="*/ 1309307 w 6194393"/>
                  <a:gd name="connsiteY105" fmla="*/ 280511 h 1488186"/>
                  <a:gd name="connsiteX106" fmla="*/ 1309307 w 6194393"/>
                  <a:gd name="connsiteY106" fmla="*/ 282893 h 1488186"/>
                  <a:gd name="connsiteX107" fmla="*/ 1246918 w 6194393"/>
                  <a:gd name="connsiteY107" fmla="*/ 282893 h 1488186"/>
                  <a:gd name="connsiteX108" fmla="*/ 1246918 w 6194393"/>
                  <a:gd name="connsiteY108" fmla="*/ 267843 h 1488186"/>
                  <a:gd name="connsiteX109" fmla="*/ 1100138 w 6194393"/>
                  <a:gd name="connsiteY109" fmla="*/ 267843 h 1488186"/>
                  <a:gd name="connsiteX110" fmla="*/ 1100138 w 6194393"/>
                  <a:gd name="connsiteY110" fmla="*/ 250698 h 1488186"/>
                  <a:gd name="connsiteX111" fmla="*/ 1065181 w 6194393"/>
                  <a:gd name="connsiteY111" fmla="*/ 250698 h 1488186"/>
                  <a:gd name="connsiteX112" fmla="*/ 1065181 w 6194393"/>
                  <a:gd name="connsiteY112" fmla="*/ 237649 h 1488186"/>
                  <a:gd name="connsiteX113" fmla="*/ 1052703 w 6194393"/>
                  <a:gd name="connsiteY113" fmla="*/ 237649 h 1488186"/>
                  <a:gd name="connsiteX114" fmla="*/ 1052703 w 6194393"/>
                  <a:gd name="connsiteY114" fmla="*/ 218504 h 1488186"/>
                  <a:gd name="connsiteX115" fmla="*/ 1044797 w 6194393"/>
                  <a:gd name="connsiteY115" fmla="*/ 218504 h 1488186"/>
                  <a:gd name="connsiteX116" fmla="*/ 1044797 w 6194393"/>
                  <a:gd name="connsiteY116" fmla="*/ 208693 h 1488186"/>
                  <a:gd name="connsiteX117" fmla="*/ 1026605 w 6194393"/>
                  <a:gd name="connsiteY117" fmla="*/ 208693 h 1488186"/>
                  <a:gd name="connsiteX118" fmla="*/ 1026605 w 6194393"/>
                  <a:gd name="connsiteY118" fmla="*/ 203264 h 1488186"/>
                  <a:gd name="connsiteX119" fmla="*/ 991934 w 6194393"/>
                  <a:gd name="connsiteY119" fmla="*/ 203264 h 1488186"/>
                  <a:gd name="connsiteX120" fmla="*/ 991934 w 6194393"/>
                  <a:gd name="connsiteY120" fmla="*/ 192596 h 1488186"/>
                  <a:gd name="connsiteX121" fmla="*/ 940880 w 6194393"/>
                  <a:gd name="connsiteY121" fmla="*/ 192596 h 1488186"/>
                  <a:gd name="connsiteX122" fmla="*/ 940880 w 6194393"/>
                  <a:gd name="connsiteY122" fmla="*/ 187738 h 1488186"/>
                  <a:gd name="connsiteX123" fmla="*/ 896493 w 6194393"/>
                  <a:gd name="connsiteY123" fmla="*/ 187738 h 1488186"/>
                  <a:gd name="connsiteX124" fmla="*/ 896493 w 6194393"/>
                  <a:gd name="connsiteY124" fmla="*/ 175260 h 1488186"/>
                  <a:gd name="connsiteX125" fmla="*/ 851154 w 6194393"/>
                  <a:gd name="connsiteY125" fmla="*/ 175260 h 1488186"/>
                  <a:gd name="connsiteX126" fmla="*/ 851154 w 6194393"/>
                  <a:gd name="connsiteY126" fmla="*/ 159449 h 1488186"/>
                  <a:gd name="connsiteX127" fmla="*/ 819531 w 6194393"/>
                  <a:gd name="connsiteY127" fmla="*/ 159449 h 1488186"/>
                  <a:gd name="connsiteX128" fmla="*/ 819531 w 6194393"/>
                  <a:gd name="connsiteY128" fmla="*/ 148209 h 1488186"/>
                  <a:gd name="connsiteX129" fmla="*/ 773049 w 6194393"/>
                  <a:gd name="connsiteY129" fmla="*/ 148209 h 1488186"/>
                  <a:gd name="connsiteX130" fmla="*/ 773049 w 6194393"/>
                  <a:gd name="connsiteY130" fmla="*/ 140970 h 1488186"/>
                  <a:gd name="connsiteX131" fmla="*/ 739616 w 6194393"/>
                  <a:gd name="connsiteY131" fmla="*/ 140970 h 1488186"/>
                  <a:gd name="connsiteX132" fmla="*/ 739616 w 6194393"/>
                  <a:gd name="connsiteY132" fmla="*/ 130588 h 1488186"/>
                  <a:gd name="connsiteX133" fmla="*/ 694944 w 6194393"/>
                  <a:gd name="connsiteY133" fmla="*/ 130588 h 1488186"/>
                  <a:gd name="connsiteX134" fmla="*/ 694944 w 6194393"/>
                  <a:gd name="connsiteY134" fmla="*/ 124873 h 1488186"/>
                  <a:gd name="connsiteX135" fmla="*/ 689134 w 6194393"/>
                  <a:gd name="connsiteY135" fmla="*/ 124873 h 1488186"/>
                  <a:gd name="connsiteX136" fmla="*/ 689134 w 6194393"/>
                  <a:gd name="connsiteY136" fmla="*/ 113633 h 1488186"/>
                  <a:gd name="connsiteX137" fmla="*/ 653606 w 6194393"/>
                  <a:gd name="connsiteY137" fmla="*/ 113633 h 1488186"/>
                  <a:gd name="connsiteX138" fmla="*/ 653606 w 6194393"/>
                  <a:gd name="connsiteY138" fmla="*/ 108395 h 1488186"/>
                  <a:gd name="connsiteX139" fmla="*/ 555117 w 6194393"/>
                  <a:gd name="connsiteY139" fmla="*/ 108395 h 1488186"/>
                  <a:gd name="connsiteX140" fmla="*/ 555117 w 6194393"/>
                  <a:gd name="connsiteY140" fmla="*/ 98679 h 1488186"/>
                  <a:gd name="connsiteX141" fmla="*/ 444437 w 6194393"/>
                  <a:gd name="connsiteY141" fmla="*/ 98679 h 1488186"/>
                  <a:gd name="connsiteX142" fmla="*/ 444437 w 6194393"/>
                  <a:gd name="connsiteY142" fmla="*/ 92583 h 1488186"/>
                  <a:gd name="connsiteX143" fmla="*/ 416433 w 6194393"/>
                  <a:gd name="connsiteY143" fmla="*/ 92583 h 1488186"/>
                  <a:gd name="connsiteX144" fmla="*/ 416433 w 6194393"/>
                  <a:gd name="connsiteY144" fmla="*/ 85630 h 1488186"/>
                  <a:gd name="connsiteX145" fmla="*/ 359950 w 6194393"/>
                  <a:gd name="connsiteY145" fmla="*/ 85630 h 1488186"/>
                  <a:gd name="connsiteX146" fmla="*/ 359950 w 6194393"/>
                  <a:gd name="connsiteY146" fmla="*/ 81248 h 1488186"/>
                  <a:gd name="connsiteX147" fmla="*/ 220694 w 6194393"/>
                  <a:gd name="connsiteY147" fmla="*/ 81248 h 1488186"/>
                  <a:gd name="connsiteX148" fmla="*/ 220694 w 6194393"/>
                  <a:gd name="connsiteY148" fmla="*/ 68294 h 1488186"/>
                  <a:gd name="connsiteX149" fmla="*/ 123730 w 6194393"/>
                  <a:gd name="connsiteY149" fmla="*/ 68294 h 1488186"/>
                  <a:gd name="connsiteX150" fmla="*/ 123730 w 6194393"/>
                  <a:gd name="connsiteY150" fmla="*/ 61913 h 1488186"/>
                  <a:gd name="connsiteX151" fmla="*/ 113062 w 6194393"/>
                  <a:gd name="connsiteY151" fmla="*/ 61913 h 1488186"/>
                  <a:gd name="connsiteX152" fmla="*/ 113062 w 6194393"/>
                  <a:gd name="connsiteY152" fmla="*/ 51911 h 1488186"/>
                  <a:gd name="connsiteX153" fmla="*/ 102775 w 6194393"/>
                  <a:gd name="connsiteY153" fmla="*/ 51911 h 1488186"/>
                  <a:gd name="connsiteX154" fmla="*/ 102775 w 6194393"/>
                  <a:gd name="connsiteY154" fmla="*/ 46101 h 1488186"/>
                  <a:gd name="connsiteX155" fmla="*/ 96393 w 6194393"/>
                  <a:gd name="connsiteY155" fmla="*/ 46101 h 1488186"/>
                  <a:gd name="connsiteX156" fmla="*/ 96393 w 6194393"/>
                  <a:gd name="connsiteY156" fmla="*/ 36100 h 1488186"/>
                  <a:gd name="connsiteX157" fmla="*/ 62579 w 6194393"/>
                  <a:gd name="connsiteY157" fmla="*/ 36100 h 1488186"/>
                  <a:gd name="connsiteX158" fmla="*/ 62579 w 6194393"/>
                  <a:gd name="connsiteY158" fmla="*/ 25718 h 1488186"/>
                  <a:gd name="connsiteX159" fmla="*/ 52864 w 6194393"/>
                  <a:gd name="connsiteY159" fmla="*/ 25718 h 1488186"/>
                  <a:gd name="connsiteX160" fmla="*/ 52864 w 6194393"/>
                  <a:gd name="connsiteY160" fmla="*/ 0 h 1488186"/>
                  <a:gd name="connsiteX161" fmla="*/ 0 w 6194393"/>
                  <a:gd name="connsiteY161" fmla="*/ 0 h 148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194393" h="1488186">
                    <a:moveTo>
                      <a:pt x="6194394" y="1488186"/>
                    </a:moveTo>
                    <a:lnTo>
                      <a:pt x="5598319" y="1488186"/>
                    </a:lnTo>
                    <a:lnTo>
                      <a:pt x="5598319" y="1291209"/>
                    </a:lnTo>
                    <a:lnTo>
                      <a:pt x="4979003" y="1291209"/>
                    </a:lnTo>
                    <a:lnTo>
                      <a:pt x="4979003" y="1234726"/>
                    </a:lnTo>
                    <a:lnTo>
                      <a:pt x="4677728" y="1234726"/>
                    </a:lnTo>
                    <a:lnTo>
                      <a:pt x="4677728" y="1195769"/>
                    </a:lnTo>
                    <a:lnTo>
                      <a:pt x="4672584" y="1195769"/>
                    </a:lnTo>
                    <a:lnTo>
                      <a:pt x="4672584" y="1189673"/>
                    </a:lnTo>
                    <a:lnTo>
                      <a:pt x="4660773" y="1189673"/>
                    </a:lnTo>
                    <a:lnTo>
                      <a:pt x="4660773" y="1150239"/>
                    </a:lnTo>
                    <a:lnTo>
                      <a:pt x="4448842" y="1150239"/>
                    </a:lnTo>
                    <a:lnTo>
                      <a:pt x="4448842" y="1116425"/>
                    </a:lnTo>
                    <a:lnTo>
                      <a:pt x="4427125" y="1116425"/>
                    </a:lnTo>
                    <a:lnTo>
                      <a:pt x="4427125" y="1086612"/>
                    </a:lnTo>
                    <a:lnTo>
                      <a:pt x="4359498" y="1086612"/>
                    </a:lnTo>
                    <a:lnTo>
                      <a:pt x="4359498" y="1051370"/>
                    </a:lnTo>
                    <a:lnTo>
                      <a:pt x="4342829" y="1051370"/>
                    </a:lnTo>
                    <a:lnTo>
                      <a:pt x="4342829" y="1024414"/>
                    </a:lnTo>
                    <a:lnTo>
                      <a:pt x="4091654" y="1024414"/>
                    </a:lnTo>
                    <a:lnTo>
                      <a:pt x="4091654" y="997934"/>
                    </a:lnTo>
                    <a:lnTo>
                      <a:pt x="3886295" y="997934"/>
                    </a:lnTo>
                    <a:lnTo>
                      <a:pt x="3886295" y="953453"/>
                    </a:lnTo>
                    <a:lnTo>
                      <a:pt x="3689509" y="953453"/>
                    </a:lnTo>
                    <a:lnTo>
                      <a:pt x="3689509" y="935546"/>
                    </a:lnTo>
                    <a:lnTo>
                      <a:pt x="3683413" y="935546"/>
                    </a:lnTo>
                    <a:lnTo>
                      <a:pt x="3683413" y="913162"/>
                    </a:lnTo>
                    <a:lnTo>
                      <a:pt x="3603784" y="913162"/>
                    </a:lnTo>
                    <a:lnTo>
                      <a:pt x="3603784" y="877729"/>
                    </a:lnTo>
                    <a:lnTo>
                      <a:pt x="3550253" y="877729"/>
                    </a:lnTo>
                    <a:lnTo>
                      <a:pt x="3550253" y="862965"/>
                    </a:lnTo>
                    <a:lnTo>
                      <a:pt x="3309557" y="862965"/>
                    </a:lnTo>
                    <a:lnTo>
                      <a:pt x="3309557" y="846963"/>
                    </a:lnTo>
                    <a:lnTo>
                      <a:pt x="3287363" y="846963"/>
                    </a:lnTo>
                    <a:lnTo>
                      <a:pt x="3287363" y="828961"/>
                    </a:lnTo>
                    <a:lnTo>
                      <a:pt x="3125629" y="828961"/>
                    </a:lnTo>
                    <a:lnTo>
                      <a:pt x="3125629" y="812483"/>
                    </a:lnTo>
                    <a:lnTo>
                      <a:pt x="3090958" y="812483"/>
                    </a:lnTo>
                    <a:lnTo>
                      <a:pt x="3090958" y="795433"/>
                    </a:lnTo>
                    <a:lnTo>
                      <a:pt x="3074575" y="795433"/>
                    </a:lnTo>
                    <a:lnTo>
                      <a:pt x="3074575" y="783908"/>
                    </a:lnTo>
                    <a:lnTo>
                      <a:pt x="3056573" y="783908"/>
                    </a:lnTo>
                    <a:lnTo>
                      <a:pt x="3056573" y="768096"/>
                    </a:lnTo>
                    <a:lnTo>
                      <a:pt x="3012567" y="768096"/>
                    </a:lnTo>
                    <a:lnTo>
                      <a:pt x="3012567" y="756190"/>
                    </a:lnTo>
                    <a:lnTo>
                      <a:pt x="2976372" y="756190"/>
                    </a:lnTo>
                    <a:lnTo>
                      <a:pt x="2976372" y="738378"/>
                    </a:lnTo>
                    <a:lnTo>
                      <a:pt x="2945321" y="738378"/>
                    </a:lnTo>
                    <a:lnTo>
                      <a:pt x="2945321" y="723043"/>
                    </a:lnTo>
                    <a:lnTo>
                      <a:pt x="2870549" y="723043"/>
                    </a:lnTo>
                    <a:lnTo>
                      <a:pt x="2870549" y="711803"/>
                    </a:lnTo>
                    <a:lnTo>
                      <a:pt x="2768441" y="711803"/>
                    </a:lnTo>
                    <a:lnTo>
                      <a:pt x="2768441" y="695135"/>
                    </a:lnTo>
                    <a:lnTo>
                      <a:pt x="2742629" y="695135"/>
                    </a:lnTo>
                    <a:lnTo>
                      <a:pt x="2742629" y="682943"/>
                    </a:lnTo>
                    <a:lnTo>
                      <a:pt x="2576798" y="682943"/>
                    </a:lnTo>
                    <a:lnTo>
                      <a:pt x="2576798" y="671703"/>
                    </a:lnTo>
                    <a:lnTo>
                      <a:pt x="2499932" y="671703"/>
                    </a:lnTo>
                    <a:lnTo>
                      <a:pt x="2499932" y="633127"/>
                    </a:lnTo>
                    <a:lnTo>
                      <a:pt x="2361724" y="633127"/>
                    </a:lnTo>
                    <a:lnTo>
                      <a:pt x="2361724" y="615791"/>
                    </a:lnTo>
                    <a:lnTo>
                      <a:pt x="2300573" y="615791"/>
                    </a:lnTo>
                    <a:lnTo>
                      <a:pt x="2300573" y="598456"/>
                    </a:lnTo>
                    <a:lnTo>
                      <a:pt x="2247043" y="598456"/>
                    </a:lnTo>
                    <a:lnTo>
                      <a:pt x="2247043" y="574834"/>
                    </a:lnTo>
                    <a:lnTo>
                      <a:pt x="2198846" y="574834"/>
                    </a:lnTo>
                    <a:lnTo>
                      <a:pt x="2198846" y="563499"/>
                    </a:lnTo>
                    <a:lnTo>
                      <a:pt x="2173796" y="563499"/>
                    </a:lnTo>
                    <a:lnTo>
                      <a:pt x="2173796" y="543973"/>
                    </a:lnTo>
                    <a:lnTo>
                      <a:pt x="2101787" y="543973"/>
                    </a:lnTo>
                    <a:lnTo>
                      <a:pt x="2101787" y="530638"/>
                    </a:lnTo>
                    <a:lnTo>
                      <a:pt x="2072259" y="530638"/>
                    </a:lnTo>
                    <a:lnTo>
                      <a:pt x="2072259" y="518827"/>
                    </a:lnTo>
                    <a:lnTo>
                      <a:pt x="1921478" y="518827"/>
                    </a:lnTo>
                    <a:lnTo>
                      <a:pt x="1921478" y="510254"/>
                    </a:lnTo>
                    <a:lnTo>
                      <a:pt x="1866805" y="510254"/>
                    </a:lnTo>
                    <a:lnTo>
                      <a:pt x="1866805" y="483870"/>
                    </a:lnTo>
                    <a:lnTo>
                      <a:pt x="1809083" y="483870"/>
                    </a:lnTo>
                    <a:lnTo>
                      <a:pt x="1809083" y="472440"/>
                    </a:lnTo>
                    <a:lnTo>
                      <a:pt x="1761649" y="472440"/>
                    </a:lnTo>
                    <a:lnTo>
                      <a:pt x="1761649" y="460724"/>
                    </a:lnTo>
                    <a:lnTo>
                      <a:pt x="1727264" y="460724"/>
                    </a:lnTo>
                    <a:lnTo>
                      <a:pt x="1727264" y="445199"/>
                    </a:lnTo>
                    <a:lnTo>
                      <a:pt x="1702689" y="445199"/>
                    </a:lnTo>
                    <a:lnTo>
                      <a:pt x="1702689" y="431864"/>
                    </a:lnTo>
                    <a:lnTo>
                      <a:pt x="1673733" y="431864"/>
                    </a:lnTo>
                    <a:lnTo>
                      <a:pt x="1673733" y="402050"/>
                    </a:lnTo>
                    <a:lnTo>
                      <a:pt x="1646111" y="402050"/>
                    </a:lnTo>
                    <a:lnTo>
                      <a:pt x="1646111" y="389573"/>
                    </a:lnTo>
                    <a:lnTo>
                      <a:pt x="1615726" y="389573"/>
                    </a:lnTo>
                    <a:lnTo>
                      <a:pt x="1615726" y="377476"/>
                    </a:lnTo>
                    <a:lnTo>
                      <a:pt x="1591723" y="377476"/>
                    </a:lnTo>
                    <a:lnTo>
                      <a:pt x="1591723" y="365855"/>
                    </a:lnTo>
                    <a:lnTo>
                      <a:pt x="1578293" y="365855"/>
                    </a:lnTo>
                    <a:lnTo>
                      <a:pt x="1578293" y="350139"/>
                    </a:lnTo>
                    <a:lnTo>
                      <a:pt x="1531239" y="350139"/>
                    </a:lnTo>
                    <a:lnTo>
                      <a:pt x="1531239" y="340043"/>
                    </a:lnTo>
                    <a:lnTo>
                      <a:pt x="1432370" y="340043"/>
                    </a:lnTo>
                    <a:lnTo>
                      <a:pt x="1432370" y="330327"/>
                    </a:lnTo>
                    <a:lnTo>
                      <a:pt x="1415415" y="330327"/>
                    </a:lnTo>
                    <a:lnTo>
                      <a:pt x="1415415" y="312420"/>
                    </a:lnTo>
                    <a:lnTo>
                      <a:pt x="1401985" y="312420"/>
                    </a:lnTo>
                    <a:lnTo>
                      <a:pt x="1401985" y="297847"/>
                    </a:lnTo>
                    <a:lnTo>
                      <a:pt x="1338167" y="297847"/>
                    </a:lnTo>
                    <a:lnTo>
                      <a:pt x="1338167" y="280511"/>
                    </a:lnTo>
                    <a:lnTo>
                      <a:pt x="1309307" y="280511"/>
                    </a:lnTo>
                    <a:lnTo>
                      <a:pt x="1309307" y="282893"/>
                    </a:lnTo>
                    <a:lnTo>
                      <a:pt x="1246918" y="282893"/>
                    </a:lnTo>
                    <a:lnTo>
                      <a:pt x="1246918" y="267843"/>
                    </a:lnTo>
                    <a:lnTo>
                      <a:pt x="1100138" y="267843"/>
                    </a:lnTo>
                    <a:lnTo>
                      <a:pt x="1100138" y="250698"/>
                    </a:lnTo>
                    <a:lnTo>
                      <a:pt x="1065181" y="250698"/>
                    </a:lnTo>
                    <a:lnTo>
                      <a:pt x="1065181" y="237649"/>
                    </a:lnTo>
                    <a:lnTo>
                      <a:pt x="1052703" y="237649"/>
                    </a:lnTo>
                    <a:lnTo>
                      <a:pt x="1052703" y="218504"/>
                    </a:lnTo>
                    <a:lnTo>
                      <a:pt x="1044797" y="218504"/>
                    </a:lnTo>
                    <a:lnTo>
                      <a:pt x="1044797" y="208693"/>
                    </a:lnTo>
                    <a:lnTo>
                      <a:pt x="1026605" y="208693"/>
                    </a:lnTo>
                    <a:lnTo>
                      <a:pt x="1026605" y="203264"/>
                    </a:lnTo>
                    <a:lnTo>
                      <a:pt x="991934" y="203264"/>
                    </a:lnTo>
                    <a:lnTo>
                      <a:pt x="991934" y="192596"/>
                    </a:lnTo>
                    <a:lnTo>
                      <a:pt x="940880" y="192596"/>
                    </a:lnTo>
                    <a:lnTo>
                      <a:pt x="940880" y="187738"/>
                    </a:lnTo>
                    <a:lnTo>
                      <a:pt x="896493" y="187738"/>
                    </a:lnTo>
                    <a:lnTo>
                      <a:pt x="896493" y="175260"/>
                    </a:lnTo>
                    <a:lnTo>
                      <a:pt x="851154" y="175260"/>
                    </a:lnTo>
                    <a:lnTo>
                      <a:pt x="851154" y="159449"/>
                    </a:lnTo>
                    <a:lnTo>
                      <a:pt x="819531" y="159449"/>
                    </a:lnTo>
                    <a:lnTo>
                      <a:pt x="819531" y="148209"/>
                    </a:lnTo>
                    <a:lnTo>
                      <a:pt x="773049" y="148209"/>
                    </a:lnTo>
                    <a:lnTo>
                      <a:pt x="773049" y="140970"/>
                    </a:lnTo>
                    <a:lnTo>
                      <a:pt x="739616" y="140970"/>
                    </a:lnTo>
                    <a:lnTo>
                      <a:pt x="739616" y="130588"/>
                    </a:lnTo>
                    <a:lnTo>
                      <a:pt x="694944" y="130588"/>
                    </a:lnTo>
                    <a:lnTo>
                      <a:pt x="694944" y="124873"/>
                    </a:lnTo>
                    <a:lnTo>
                      <a:pt x="689134" y="124873"/>
                    </a:lnTo>
                    <a:lnTo>
                      <a:pt x="689134" y="113633"/>
                    </a:lnTo>
                    <a:lnTo>
                      <a:pt x="653606" y="113633"/>
                    </a:lnTo>
                    <a:lnTo>
                      <a:pt x="653606" y="108395"/>
                    </a:lnTo>
                    <a:lnTo>
                      <a:pt x="555117" y="108395"/>
                    </a:lnTo>
                    <a:lnTo>
                      <a:pt x="555117" y="98679"/>
                    </a:lnTo>
                    <a:lnTo>
                      <a:pt x="444437" y="98679"/>
                    </a:lnTo>
                    <a:lnTo>
                      <a:pt x="444437" y="92583"/>
                    </a:lnTo>
                    <a:lnTo>
                      <a:pt x="416433" y="92583"/>
                    </a:lnTo>
                    <a:lnTo>
                      <a:pt x="416433" y="85630"/>
                    </a:lnTo>
                    <a:lnTo>
                      <a:pt x="359950" y="85630"/>
                    </a:lnTo>
                    <a:lnTo>
                      <a:pt x="359950" y="81248"/>
                    </a:lnTo>
                    <a:lnTo>
                      <a:pt x="220694" y="81248"/>
                    </a:lnTo>
                    <a:lnTo>
                      <a:pt x="220694" y="68294"/>
                    </a:lnTo>
                    <a:lnTo>
                      <a:pt x="123730" y="68294"/>
                    </a:lnTo>
                    <a:lnTo>
                      <a:pt x="123730" y="61913"/>
                    </a:lnTo>
                    <a:lnTo>
                      <a:pt x="113062" y="61913"/>
                    </a:lnTo>
                    <a:lnTo>
                      <a:pt x="113062" y="51911"/>
                    </a:lnTo>
                    <a:lnTo>
                      <a:pt x="102775" y="51911"/>
                    </a:lnTo>
                    <a:lnTo>
                      <a:pt x="102775" y="46101"/>
                    </a:lnTo>
                    <a:lnTo>
                      <a:pt x="96393" y="46101"/>
                    </a:lnTo>
                    <a:lnTo>
                      <a:pt x="96393" y="36100"/>
                    </a:lnTo>
                    <a:lnTo>
                      <a:pt x="62579" y="36100"/>
                    </a:lnTo>
                    <a:lnTo>
                      <a:pt x="62579" y="25718"/>
                    </a:lnTo>
                    <a:lnTo>
                      <a:pt x="52864" y="25718"/>
                    </a:lnTo>
                    <a:lnTo>
                      <a:pt x="52864" y="0"/>
                    </a:lnTo>
                    <a:lnTo>
                      <a:pt x="0" y="0"/>
                    </a:lnTo>
                  </a:path>
                </a:pathLst>
              </a:custGeom>
              <a:noFill/>
              <a:ln w="12700" cap="flat">
                <a:solidFill>
                  <a:srgbClr val="1E325F"/>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19" name="Group 5418">
              <a:extLst>
                <a:ext uri="{FF2B5EF4-FFF2-40B4-BE49-F238E27FC236}">
                  <a16:creationId xmlns:a16="http://schemas.microsoft.com/office/drawing/2014/main" id="{949FD07B-BCBC-1934-1531-D128945E319C}"/>
                </a:ext>
              </a:extLst>
            </p:cNvPr>
            <p:cNvGrpSpPr/>
            <p:nvPr/>
          </p:nvGrpSpPr>
          <p:grpSpPr>
            <a:xfrm>
              <a:off x="1026319" y="1440656"/>
              <a:ext cx="6177533" cy="1552384"/>
              <a:chOff x="3005137" y="2652712"/>
              <a:chExt cx="6177533" cy="1552384"/>
            </a:xfrm>
          </p:grpSpPr>
          <p:grpSp>
            <p:nvGrpSpPr>
              <p:cNvPr id="5420" name="Graphic 2080">
                <a:extLst>
                  <a:ext uri="{FF2B5EF4-FFF2-40B4-BE49-F238E27FC236}">
                    <a16:creationId xmlns:a16="http://schemas.microsoft.com/office/drawing/2014/main" id="{46C2D6B5-1A93-F9AD-FB7E-755C81FA700E}"/>
                  </a:ext>
                </a:extLst>
              </p:cNvPr>
              <p:cNvGrpSpPr/>
              <p:nvPr/>
            </p:nvGrpSpPr>
            <p:grpSpPr>
              <a:xfrm>
                <a:off x="3005137" y="2652712"/>
                <a:ext cx="6177533" cy="1552384"/>
                <a:chOff x="3005137" y="2652712"/>
                <a:chExt cx="6177533" cy="1552384"/>
              </a:xfrm>
            </p:grpSpPr>
            <p:grpSp>
              <p:nvGrpSpPr>
                <p:cNvPr id="5422" name="Graphic 2080">
                  <a:extLst>
                    <a:ext uri="{FF2B5EF4-FFF2-40B4-BE49-F238E27FC236}">
                      <a16:creationId xmlns:a16="http://schemas.microsoft.com/office/drawing/2014/main" id="{FD0E8612-4D67-AF8B-7D26-71B8D5F6F9D7}"/>
                    </a:ext>
                  </a:extLst>
                </p:cNvPr>
                <p:cNvGrpSpPr/>
                <p:nvPr/>
              </p:nvGrpSpPr>
              <p:grpSpPr>
                <a:xfrm>
                  <a:off x="9098470" y="4129372"/>
                  <a:ext cx="75723" cy="75723"/>
                  <a:chOff x="9098470" y="4129372"/>
                  <a:chExt cx="75723" cy="75723"/>
                </a:xfrm>
              </p:grpSpPr>
              <p:sp>
                <p:nvSpPr>
                  <p:cNvPr id="5966" name="Freeform: Shape 5965">
                    <a:extLst>
                      <a:ext uri="{FF2B5EF4-FFF2-40B4-BE49-F238E27FC236}">
                        <a16:creationId xmlns:a16="http://schemas.microsoft.com/office/drawing/2014/main" id="{F9F1B405-5B99-490B-4991-E9EC4DC6DE4A}"/>
                      </a:ext>
                    </a:extLst>
                  </p:cNvPr>
                  <p:cNvSpPr/>
                  <p:nvPr/>
                </p:nvSpPr>
                <p:spPr>
                  <a:xfrm>
                    <a:off x="91363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67" name="Freeform: Shape 5966">
                    <a:extLst>
                      <a:ext uri="{FF2B5EF4-FFF2-40B4-BE49-F238E27FC236}">
                        <a16:creationId xmlns:a16="http://schemas.microsoft.com/office/drawing/2014/main" id="{7FED5074-1DE2-95C8-5767-E3E5A96AF7BC}"/>
                      </a:ext>
                    </a:extLst>
                  </p:cNvPr>
                  <p:cNvSpPr/>
                  <p:nvPr/>
                </p:nvSpPr>
                <p:spPr>
                  <a:xfrm>
                    <a:off x="90984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3" name="Graphic 2080">
                  <a:extLst>
                    <a:ext uri="{FF2B5EF4-FFF2-40B4-BE49-F238E27FC236}">
                      <a16:creationId xmlns:a16="http://schemas.microsoft.com/office/drawing/2014/main" id="{63419C95-1E3F-E28F-C8B6-B90C8064FAEF}"/>
                    </a:ext>
                  </a:extLst>
                </p:cNvPr>
                <p:cNvGrpSpPr/>
                <p:nvPr/>
              </p:nvGrpSpPr>
              <p:grpSpPr>
                <a:xfrm>
                  <a:off x="9107042" y="4129372"/>
                  <a:ext cx="75628" cy="75723"/>
                  <a:chOff x="9107042" y="4129372"/>
                  <a:chExt cx="75628" cy="75723"/>
                </a:xfrm>
              </p:grpSpPr>
              <p:sp>
                <p:nvSpPr>
                  <p:cNvPr id="5964" name="Freeform: Shape 5963">
                    <a:extLst>
                      <a:ext uri="{FF2B5EF4-FFF2-40B4-BE49-F238E27FC236}">
                        <a16:creationId xmlns:a16="http://schemas.microsoft.com/office/drawing/2014/main" id="{9931250E-CC79-5421-91C0-A2622C65164C}"/>
                      </a:ext>
                    </a:extLst>
                  </p:cNvPr>
                  <p:cNvSpPr/>
                  <p:nvPr/>
                </p:nvSpPr>
                <p:spPr>
                  <a:xfrm>
                    <a:off x="914485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65" name="Freeform: Shape 5964">
                    <a:extLst>
                      <a:ext uri="{FF2B5EF4-FFF2-40B4-BE49-F238E27FC236}">
                        <a16:creationId xmlns:a16="http://schemas.microsoft.com/office/drawing/2014/main" id="{08689E31-A0D5-DE4F-7DCB-3F7ACA641F17}"/>
                      </a:ext>
                    </a:extLst>
                  </p:cNvPr>
                  <p:cNvSpPr/>
                  <p:nvPr/>
                </p:nvSpPr>
                <p:spPr>
                  <a:xfrm>
                    <a:off x="910704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4" name="Graphic 2080">
                  <a:extLst>
                    <a:ext uri="{FF2B5EF4-FFF2-40B4-BE49-F238E27FC236}">
                      <a16:creationId xmlns:a16="http://schemas.microsoft.com/office/drawing/2014/main" id="{72C11D4A-8EE8-C766-D6F8-6363AA507249}"/>
                    </a:ext>
                  </a:extLst>
                </p:cNvPr>
                <p:cNvGrpSpPr/>
                <p:nvPr/>
              </p:nvGrpSpPr>
              <p:grpSpPr>
                <a:xfrm>
                  <a:off x="9061989" y="4129372"/>
                  <a:ext cx="75723" cy="75723"/>
                  <a:chOff x="9061989" y="4129372"/>
                  <a:chExt cx="75723" cy="75723"/>
                </a:xfrm>
              </p:grpSpPr>
              <p:sp>
                <p:nvSpPr>
                  <p:cNvPr id="5962" name="Freeform: Shape 5961">
                    <a:extLst>
                      <a:ext uri="{FF2B5EF4-FFF2-40B4-BE49-F238E27FC236}">
                        <a16:creationId xmlns:a16="http://schemas.microsoft.com/office/drawing/2014/main" id="{BFDBAF5E-A364-598C-5601-D5EF52029283}"/>
                      </a:ext>
                    </a:extLst>
                  </p:cNvPr>
                  <p:cNvSpPr/>
                  <p:nvPr/>
                </p:nvSpPr>
                <p:spPr>
                  <a:xfrm>
                    <a:off x="909989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63" name="Freeform: Shape 5962">
                    <a:extLst>
                      <a:ext uri="{FF2B5EF4-FFF2-40B4-BE49-F238E27FC236}">
                        <a16:creationId xmlns:a16="http://schemas.microsoft.com/office/drawing/2014/main" id="{3211C538-2349-A3B6-B1D7-DA7C304EB0B3}"/>
                      </a:ext>
                    </a:extLst>
                  </p:cNvPr>
                  <p:cNvSpPr/>
                  <p:nvPr/>
                </p:nvSpPr>
                <p:spPr>
                  <a:xfrm>
                    <a:off x="906198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5" name="Graphic 2080">
                  <a:extLst>
                    <a:ext uri="{FF2B5EF4-FFF2-40B4-BE49-F238E27FC236}">
                      <a16:creationId xmlns:a16="http://schemas.microsoft.com/office/drawing/2014/main" id="{E1E75020-7E5F-0853-CE3B-1E41BB0886C8}"/>
                    </a:ext>
                  </a:extLst>
                </p:cNvPr>
                <p:cNvGrpSpPr/>
                <p:nvPr/>
              </p:nvGrpSpPr>
              <p:grpSpPr>
                <a:xfrm>
                  <a:off x="8818816" y="4129372"/>
                  <a:ext cx="75723" cy="75723"/>
                  <a:chOff x="8818816" y="4129372"/>
                  <a:chExt cx="75723" cy="75723"/>
                </a:xfrm>
              </p:grpSpPr>
              <p:sp>
                <p:nvSpPr>
                  <p:cNvPr id="5960" name="Freeform: Shape 5959">
                    <a:extLst>
                      <a:ext uri="{FF2B5EF4-FFF2-40B4-BE49-F238E27FC236}">
                        <a16:creationId xmlns:a16="http://schemas.microsoft.com/office/drawing/2014/main" id="{F6A36374-22DC-BE66-2D48-1E8F451A4788}"/>
                      </a:ext>
                    </a:extLst>
                  </p:cNvPr>
                  <p:cNvSpPr/>
                  <p:nvPr/>
                </p:nvSpPr>
                <p:spPr>
                  <a:xfrm>
                    <a:off x="885672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61" name="Freeform: Shape 5960">
                    <a:extLst>
                      <a:ext uri="{FF2B5EF4-FFF2-40B4-BE49-F238E27FC236}">
                        <a16:creationId xmlns:a16="http://schemas.microsoft.com/office/drawing/2014/main" id="{95EA3F53-1245-441B-15C1-6084BF16278B}"/>
                      </a:ext>
                    </a:extLst>
                  </p:cNvPr>
                  <p:cNvSpPr/>
                  <p:nvPr/>
                </p:nvSpPr>
                <p:spPr>
                  <a:xfrm>
                    <a:off x="881881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6" name="Graphic 2080">
                  <a:extLst>
                    <a:ext uri="{FF2B5EF4-FFF2-40B4-BE49-F238E27FC236}">
                      <a16:creationId xmlns:a16="http://schemas.microsoft.com/office/drawing/2014/main" id="{BE122557-C384-3145-0870-1A5FAC2B11E1}"/>
                    </a:ext>
                  </a:extLst>
                </p:cNvPr>
                <p:cNvGrpSpPr/>
                <p:nvPr/>
              </p:nvGrpSpPr>
              <p:grpSpPr>
                <a:xfrm>
                  <a:off x="8781001" y="4129372"/>
                  <a:ext cx="75723" cy="75723"/>
                  <a:chOff x="8781001" y="4129372"/>
                  <a:chExt cx="75723" cy="75723"/>
                </a:xfrm>
              </p:grpSpPr>
              <p:sp>
                <p:nvSpPr>
                  <p:cNvPr id="5958" name="Freeform: Shape 5957">
                    <a:extLst>
                      <a:ext uri="{FF2B5EF4-FFF2-40B4-BE49-F238E27FC236}">
                        <a16:creationId xmlns:a16="http://schemas.microsoft.com/office/drawing/2014/main" id="{A555FFA1-D0A6-EC49-E3FD-D8E310EA9F77}"/>
                      </a:ext>
                    </a:extLst>
                  </p:cNvPr>
                  <p:cNvSpPr/>
                  <p:nvPr/>
                </p:nvSpPr>
                <p:spPr>
                  <a:xfrm>
                    <a:off x="881881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59" name="Freeform: Shape 5958">
                    <a:extLst>
                      <a:ext uri="{FF2B5EF4-FFF2-40B4-BE49-F238E27FC236}">
                        <a16:creationId xmlns:a16="http://schemas.microsoft.com/office/drawing/2014/main" id="{F33DC93A-19B1-30A3-B712-A8B57B1C4B7B}"/>
                      </a:ext>
                    </a:extLst>
                  </p:cNvPr>
                  <p:cNvSpPr/>
                  <p:nvPr/>
                </p:nvSpPr>
                <p:spPr>
                  <a:xfrm>
                    <a:off x="8781001"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7" name="Graphic 2080">
                  <a:extLst>
                    <a:ext uri="{FF2B5EF4-FFF2-40B4-BE49-F238E27FC236}">
                      <a16:creationId xmlns:a16="http://schemas.microsoft.com/office/drawing/2014/main" id="{D2A93595-F6B6-3D95-201D-D6F85368ABFD}"/>
                    </a:ext>
                  </a:extLst>
                </p:cNvPr>
                <p:cNvGrpSpPr/>
                <p:nvPr/>
              </p:nvGrpSpPr>
              <p:grpSpPr>
                <a:xfrm>
                  <a:off x="8755570" y="4129372"/>
                  <a:ext cx="75723" cy="75723"/>
                  <a:chOff x="8755570" y="4129372"/>
                  <a:chExt cx="75723" cy="75723"/>
                </a:xfrm>
              </p:grpSpPr>
              <p:sp>
                <p:nvSpPr>
                  <p:cNvPr id="5956" name="Freeform: Shape 5955">
                    <a:extLst>
                      <a:ext uri="{FF2B5EF4-FFF2-40B4-BE49-F238E27FC236}">
                        <a16:creationId xmlns:a16="http://schemas.microsoft.com/office/drawing/2014/main" id="{8FF9F4CC-9493-5DD4-3B2B-18CE3BEF9738}"/>
                      </a:ext>
                    </a:extLst>
                  </p:cNvPr>
                  <p:cNvSpPr/>
                  <p:nvPr/>
                </p:nvSpPr>
                <p:spPr>
                  <a:xfrm>
                    <a:off x="879347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57" name="Freeform: Shape 5956">
                    <a:extLst>
                      <a:ext uri="{FF2B5EF4-FFF2-40B4-BE49-F238E27FC236}">
                        <a16:creationId xmlns:a16="http://schemas.microsoft.com/office/drawing/2014/main" id="{BB39EC21-B737-3040-076C-83FC6AFE8298}"/>
                      </a:ext>
                    </a:extLst>
                  </p:cNvPr>
                  <p:cNvSpPr/>
                  <p:nvPr/>
                </p:nvSpPr>
                <p:spPr>
                  <a:xfrm>
                    <a:off x="875557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8" name="Graphic 2080">
                  <a:extLst>
                    <a:ext uri="{FF2B5EF4-FFF2-40B4-BE49-F238E27FC236}">
                      <a16:creationId xmlns:a16="http://schemas.microsoft.com/office/drawing/2014/main" id="{E291B70D-8F32-C531-975A-D24696B02C46}"/>
                    </a:ext>
                  </a:extLst>
                </p:cNvPr>
                <p:cNvGrpSpPr/>
                <p:nvPr/>
              </p:nvGrpSpPr>
              <p:grpSpPr>
                <a:xfrm>
                  <a:off x="8631268" y="4129372"/>
                  <a:ext cx="75723" cy="75723"/>
                  <a:chOff x="8631268" y="4129372"/>
                  <a:chExt cx="75723" cy="75723"/>
                </a:xfrm>
              </p:grpSpPr>
              <p:sp>
                <p:nvSpPr>
                  <p:cNvPr id="5954" name="Freeform: Shape 5953">
                    <a:extLst>
                      <a:ext uri="{FF2B5EF4-FFF2-40B4-BE49-F238E27FC236}">
                        <a16:creationId xmlns:a16="http://schemas.microsoft.com/office/drawing/2014/main" id="{4E165460-F7D6-A36C-4D64-A97DE4C26603}"/>
                      </a:ext>
                    </a:extLst>
                  </p:cNvPr>
                  <p:cNvSpPr/>
                  <p:nvPr/>
                </p:nvSpPr>
                <p:spPr>
                  <a:xfrm>
                    <a:off x="866908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55" name="Freeform: Shape 5954">
                    <a:extLst>
                      <a:ext uri="{FF2B5EF4-FFF2-40B4-BE49-F238E27FC236}">
                        <a16:creationId xmlns:a16="http://schemas.microsoft.com/office/drawing/2014/main" id="{63C51A31-4768-0B6B-6F26-11F9F77F3DF6}"/>
                      </a:ext>
                    </a:extLst>
                  </p:cNvPr>
                  <p:cNvSpPr/>
                  <p:nvPr/>
                </p:nvSpPr>
                <p:spPr>
                  <a:xfrm>
                    <a:off x="863126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29" name="Graphic 2080">
                  <a:extLst>
                    <a:ext uri="{FF2B5EF4-FFF2-40B4-BE49-F238E27FC236}">
                      <a16:creationId xmlns:a16="http://schemas.microsoft.com/office/drawing/2014/main" id="{644EB320-42B3-5A54-40FD-C9EB9CF0101C}"/>
                    </a:ext>
                  </a:extLst>
                </p:cNvPr>
                <p:cNvGrpSpPr/>
                <p:nvPr/>
              </p:nvGrpSpPr>
              <p:grpSpPr>
                <a:xfrm>
                  <a:off x="8606313" y="4129372"/>
                  <a:ext cx="75723" cy="75723"/>
                  <a:chOff x="8606313" y="4129372"/>
                  <a:chExt cx="75723" cy="75723"/>
                </a:xfrm>
              </p:grpSpPr>
              <p:sp>
                <p:nvSpPr>
                  <p:cNvPr id="5952" name="Freeform: Shape 5951">
                    <a:extLst>
                      <a:ext uri="{FF2B5EF4-FFF2-40B4-BE49-F238E27FC236}">
                        <a16:creationId xmlns:a16="http://schemas.microsoft.com/office/drawing/2014/main" id="{D4594857-1768-2F08-4FBC-53C333A64D83}"/>
                      </a:ext>
                    </a:extLst>
                  </p:cNvPr>
                  <p:cNvSpPr/>
                  <p:nvPr/>
                </p:nvSpPr>
                <p:spPr>
                  <a:xfrm>
                    <a:off x="8644222"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53" name="Freeform: Shape 5952">
                    <a:extLst>
                      <a:ext uri="{FF2B5EF4-FFF2-40B4-BE49-F238E27FC236}">
                        <a16:creationId xmlns:a16="http://schemas.microsoft.com/office/drawing/2014/main" id="{EABA7055-0E02-A8AC-91AC-4DFE75B7AEEC}"/>
                      </a:ext>
                    </a:extLst>
                  </p:cNvPr>
                  <p:cNvSpPr/>
                  <p:nvPr/>
                </p:nvSpPr>
                <p:spPr>
                  <a:xfrm>
                    <a:off x="860631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0" name="Graphic 2080">
                  <a:extLst>
                    <a:ext uri="{FF2B5EF4-FFF2-40B4-BE49-F238E27FC236}">
                      <a16:creationId xmlns:a16="http://schemas.microsoft.com/office/drawing/2014/main" id="{3D8E6811-9D9A-97C1-FF62-D9B6A1BDE91C}"/>
                    </a:ext>
                  </a:extLst>
                </p:cNvPr>
                <p:cNvGrpSpPr/>
                <p:nvPr/>
              </p:nvGrpSpPr>
              <p:grpSpPr>
                <a:xfrm>
                  <a:off x="8576595" y="4129372"/>
                  <a:ext cx="75628" cy="75723"/>
                  <a:chOff x="8576595" y="4129372"/>
                  <a:chExt cx="75628" cy="75723"/>
                </a:xfrm>
              </p:grpSpPr>
              <p:sp>
                <p:nvSpPr>
                  <p:cNvPr id="5950" name="Freeform: Shape 5949">
                    <a:extLst>
                      <a:ext uri="{FF2B5EF4-FFF2-40B4-BE49-F238E27FC236}">
                        <a16:creationId xmlns:a16="http://schemas.microsoft.com/office/drawing/2014/main" id="{1CACA0E6-E403-BB3B-9E77-BC48000A14A0}"/>
                      </a:ext>
                    </a:extLst>
                  </p:cNvPr>
                  <p:cNvSpPr/>
                  <p:nvPr/>
                </p:nvSpPr>
                <p:spPr>
                  <a:xfrm>
                    <a:off x="8614409"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51" name="Freeform: Shape 5950">
                    <a:extLst>
                      <a:ext uri="{FF2B5EF4-FFF2-40B4-BE49-F238E27FC236}">
                        <a16:creationId xmlns:a16="http://schemas.microsoft.com/office/drawing/2014/main" id="{290DD7B3-A1E3-06EA-4734-456CB3C17143}"/>
                      </a:ext>
                    </a:extLst>
                  </p:cNvPr>
                  <p:cNvSpPr/>
                  <p:nvPr/>
                </p:nvSpPr>
                <p:spPr>
                  <a:xfrm>
                    <a:off x="8576595"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1" name="Graphic 2080">
                  <a:extLst>
                    <a:ext uri="{FF2B5EF4-FFF2-40B4-BE49-F238E27FC236}">
                      <a16:creationId xmlns:a16="http://schemas.microsoft.com/office/drawing/2014/main" id="{74C7F501-643B-5C39-8F8F-6F53C3AA1236}"/>
                    </a:ext>
                  </a:extLst>
                </p:cNvPr>
                <p:cNvGrpSpPr/>
                <p:nvPr/>
              </p:nvGrpSpPr>
              <p:grpSpPr>
                <a:xfrm>
                  <a:off x="8508110" y="4129372"/>
                  <a:ext cx="75723" cy="75723"/>
                  <a:chOff x="8508110" y="4129372"/>
                  <a:chExt cx="75723" cy="75723"/>
                </a:xfrm>
              </p:grpSpPr>
              <p:sp>
                <p:nvSpPr>
                  <p:cNvPr id="5948" name="Freeform: Shape 5947">
                    <a:extLst>
                      <a:ext uri="{FF2B5EF4-FFF2-40B4-BE49-F238E27FC236}">
                        <a16:creationId xmlns:a16="http://schemas.microsoft.com/office/drawing/2014/main" id="{31256A2E-46A2-7BE4-8F10-3A6EE37BAE6D}"/>
                      </a:ext>
                    </a:extLst>
                  </p:cNvPr>
                  <p:cNvSpPr/>
                  <p:nvPr/>
                </p:nvSpPr>
                <p:spPr>
                  <a:xfrm>
                    <a:off x="8546020"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49" name="Freeform: Shape 5948">
                    <a:extLst>
                      <a:ext uri="{FF2B5EF4-FFF2-40B4-BE49-F238E27FC236}">
                        <a16:creationId xmlns:a16="http://schemas.microsoft.com/office/drawing/2014/main" id="{AA10B20E-5736-B04E-932E-1EBD31AE743D}"/>
                      </a:ext>
                    </a:extLst>
                  </p:cNvPr>
                  <p:cNvSpPr/>
                  <p:nvPr/>
                </p:nvSpPr>
                <p:spPr>
                  <a:xfrm>
                    <a:off x="8508110"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2" name="Graphic 2080">
                  <a:extLst>
                    <a:ext uri="{FF2B5EF4-FFF2-40B4-BE49-F238E27FC236}">
                      <a16:creationId xmlns:a16="http://schemas.microsoft.com/office/drawing/2014/main" id="{4E65501D-8EED-EE39-954E-7B64B44963B6}"/>
                    </a:ext>
                  </a:extLst>
                </p:cNvPr>
                <p:cNvGrpSpPr/>
                <p:nvPr/>
              </p:nvGrpSpPr>
              <p:grpSpPr>
                <a:xfrm>
                  <a:off x="8182545" y="4129372"/>
                  <a:ext cx="75723" cy="75723"/>
                  <a:chOff x="8182545" y="4129372"/>
                  <a:chExt cx="75723" cy="75723"/>
                </a:xfrm>
              </p:grpSpPr>
              <p:sp>
                <p:nvSpPr>
                  <p:cNvPr id="5946" name="Freeform: Shape 5945">
                    <a:extLst>
                      <a:ext uri="{FF2B5EF4-FFF2-40B4-BE49-F238E27FC236}">
                        <a16:creationId xmlns:a16="http://schemas.microsoft.com/office/drawing/2014/main" id="{77336C2A-55A9-E9B3-4FE5-626D2A719BB3}"/>
                      </a:ext>
                    </a:extLst>
                  </p:cNvPr>
                  <p:cNvSpPr/>
                  <p:nvPr/>
                </p:nvSpPr>
                <p:spPr>
                  <a:xfrm>
                    <a:off x="822045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47" name="Freeform: Shape 5946">
                    <a:extLst>
                      <a:ext uri="{FF2B5EF4-FFF2-40B4-BE49-F238E27FC236}">
                        <a16:creationId xmlns:a16="http://schemas.microsoft.com/office/drawing/2014/main" id="{AFF3A94B-D67C-2F7D-76A8-D88B71A6DF97}"/>
                      </a:ext>
                    </a:extLst>
                  </p:cNvPr>
                  <p:cNvSpPr/>
                  <p:nvPr/>
                </p:nvSpPr>
                <p:spPr>
                  <a:xfrm>
                    <a:off x="818254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3" name="Graphic 2080">
                  <a:extLst>
                    <a:ext uri="{FF2B5EF4-FFF2-40B4-BE49-F238E27FC236}">
                      <a16:creationId xmlns:a16="http://schemas.microsoft.com/office/drawing/2014/main" id="{6F0CB2F3-B8E1-E64F-11D0-7925A422A018}"/>
                    </a:ext>
                  </a:extLst>
                </p:cNvPr>
                <p:cNvGrpSpPr/>
                <p:nvPr/>
              </p:nvGrpSpPr>
              <p:grpSpPr>
                <a:xfrm>
                  <a:off x="8068912" y="4129372"/>
                  <a:ext cx="75628" cy="75723"/>
                  <a:chOff x="8068912" y="4129372"/>
                  <a:chExt cx="75628" cy="75723"/>
                </a:xfrm>
              </p:grpSpPr>
              <p:sp>
                <p:nvSpPr>
                  <p:cNvPr id="5944" name="Freeform: Shape 5943">
                    <a:extLst>
                      <a:ext uri="{FF2B5EF4-FFF2-40B4-BE49-F238E27FC236}">
                        <a16:creationId xmlns:a16="http://schemas.microsoft.com/office/drawing/2014/main" id="{D6780FCF-4534-8FC5-BE5F-EB631E8071B2}"/>
                      </a:ext>
                    </a:extLst>
                  </p:cNvPr>
                  <p:cNvSpPr/>
                  <p:nvPr/>
                </p:nvSpPr>
                <p:spPr>
                  <a:xfrm>
                    <a:off x="810672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45" name="Freeform: Shape 5944">
                    <a:extLst>
                      <a:ext uri="{FF2B5EF4-FFF2-40B4-BE49-F238E27FC236}">
                        <a16:creationId xmlns:a16="http://schemas.microsoft.com/office/drawing/2014/main" id="{CB2C9689-D986-F07F-B143-86333FCCCA68}"/>
                      </a:ext>
                    </a:extLst>
                  </p:cNvPr>
                  <p:cNvSpPr/>
                  <p:nvPr/>
                </p:nvSpPr>
                <p:spPr>
                  <a:xfrm>
                    <a:off x="8068912"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4" name="Graphic 2080">
                  <a:extLst>
                    <a:ext uri="{FF2B5EF4-FFF2-40B4-BE49-F238E27FC236}">
                      <a16:creationId xmlns:a16="http://schemas.microsoft.com/office/drawing/2014/main" id="{2B86B810-1990-9D4F-D579-9123604A4EB8}"/>
                    </a:ext>
                  </a:extLst>
                </p:cNvPr>
                <p:cNvGrpSpPr/>
                <p:nvPr/>
              </p:nvGrpSpPr>
              <p:grpSpPr>
                <a:xfrm>
                  <a:off x="7880984" y="4129372"/>
                  <a:ext cx="75723" cy="75723"/>
                  <a:chOff x="7880984" y="4129372"/>
                  <a:chExt cx="75723" cy="75723"/>
                </a:xfrm>
              </p:grpSpPr>
              <p:sp>
                <p:nvSpPr>
                  <p:cNvPr id="5942" name="Freeform: Shape 5941">
                    <a:extLst>
                      <a:ext uri="{FF2B5EF4-FFF2-40B4-BE49-F238E27FC236}">
                        <a16:creationId xmlns:a16="http://schemas.microsoft.com/office/drawing/2014/main" id="{2C112189-55C7-6EB2-461D-4AE874E53A45}"/>
                      </a:ext>
                    </a:extLst>
                  </p:cNvPr>
                  <p:cNvSpPr/>
                  <p:nvPr/>
                </p:nvSpPr>
                <p:spPr>
                  <a:xfrm>
                    <a:off x="7918894"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43" name="Freeform: Shape 5942">
                    <a:extLst>
                      <a:ext uri="{FF2B5EF4-FFF2-40B4-BE49-F238E27FC236}">
                        <a16:creationId xmlns:a16="http://schemas.microsoft.com/office/drawing/2014/main" id="{A196E3B7-40E4-CF77-61FF-D749A9706045}"/>
                      </a:ext>
                    </a:extLst>
                  </p:cNvPr>
                  <p:cNvSpPr/>
                  <p:nvPr/>
                </p:nvSpPr>
                <p:spPr>
                  <a:xfrm>
                    <a:off x="7880984"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5" name="Graphic 2080">
                  <a:extLst>
                    <a:ext uri="{FF2B5EF4-FFF2-40B4-BE49-F238E27FC236}">
                      <a16:creationId xmlns:a16="http://schemas.microsoft.com/office/drawing/2014/main" id="{8AC66EC0-6D7E-4DF4-2DD9-A03155879F89}"/>
                    </a:ext>
                  </a:extLst>
                </p:cNvPr>
                <p:cNvGrpSpPr/>
                <p:nvPr/>
              </p:nvGrpSpPr>
              <p:grpSpPr>
                <a:xfrm>
                  <a:off x="7911464" y="4129372"/>
                  <a:ext cx="75628" cy="75723"/>
                  <a:chOff x="7911464" y="4129372"/>
                  <a:chExt cx="75628" cy="75723"/>
                </a:xfrm>
              </p:grpSpPr>
              <p:sp>
                <p:nvSpPr>
                  <p:cNvPr id="5940" name="Freeform: Shape 5939">
                    <a:extLst>
                      <a:ext uri="{FF2B5EF4-FFF2-40B4-BE49-F238E27FC236}">
                        <a16:creationId xmlns:a16="http://schemas.microsoft.com/office/drawing/2014/main" id="{9D8CA07B-5153-B8D8-32BC-7F27A94AF342}"/>
                      </a:ext>
                    </a:extLst>
                  </p:cNvPr>
                  <p:cNvSpPr/>
                  <p:nvPr/>
                </p:nvSpPr>
                <p:spPr>
                  <a:xfrm>
                    <a:off x="79492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41" name="Freeform: Shape 5940">
                    <a:extLst>
                      <a:ext uri="{FF2B5EF4-FFF2-40B4-BE49-F238E27FC236}">
                        <a16:creationId xmlns:a16="http://schemas.microsoft.com/office/drawing/2014/main" id="{50910E0B-B35B-D7C5-C9BB-44BBD07B6DA5}"/>
                      </a:ext>
                    </a:extLst>
                  </p:cNvPr>
                  <p:cNvSpPr/>
                  <p:nvPr/>
                </p:nvSpPr>
                <p:spPr>
                  <a:xfrm>
                    <a:off x="7911464"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6" name="Graphic 2080">
                  <a:extLst>
                    <a:ext uri="{FF2B5EF4-FFF2-40B4-BE49-F238E27FC236}">
                      <a16:creationId xmlns:a16="http://schemas.microsoft.com/office/drawing/2014/main" id="{81AFF914-0AE8-6250-9A93-696FBB47D8CE}"/>
                    </a:ext>
                  </a:extLst>
                </p:cNvPr>
                <p:cNvGrpSpPr/>
                <p:nvPr/>
              </p:nvGrpSpPr>
              <p:grpSpPr>
                <a:xfrm>
                  <a:off x="7920894" y="4129372"/>
                  <a:ext cx="75628" cy="75723"/>
                  <a:chOff x="7920894" y="4129372"/>
                  <a:chExt cx="75628" cy="75723"/>
                </a:xfrm>
              </p:grpSpPr>
              <p:sp>
                <p:nvSpPr>
                  <p:cNvPr id="5938" name="Freeform: Shape 5937">
                    <a:extLst>
                      <a:ext uri="{FF2B5EF4-FFF2-40B4-BE49-F238E27FC236}">
                        <a16:creationId xmlns:a16="http://schemas.microsoft.com/office/drawing/2014/main" id="{9632437B-5192-B513-AD6A-E12CCE70D600}"/>
                      </a:ext>
                    </a:extLst>
                  </p:cNvPr>
                  <p:cNvSpPr/>
                  <p:nvPr/>
                </p:nvSpPr>
                <p:spPr>
                  <a:xfrm>
                    <a:off x="795870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39" name="Freeform: Shape 5938">
                    <a:extLst>
                      <a:ext uri="{FF2B5EF4-FFF2-40B4-BE49-F238E27FC236}">
                        <a16:creationId xmlns:a16="http://schemas.microsoft.com/office/drawing/2014/main" id="{A7ADAA42-0206-4ADF-DD3F-0F5C7F181951}"/>
                      </a:ext>
                    </a:extLst>
                  </p:cNvPr>
                  <p:cNvSpPr/>
                  <p:nvPr/>
                </p:nvSpPr>
                <p:spPr>
                  <a:xfrm>
                    <a:off x="7920894" y="416728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7" name="Graphic 2080">
                  <a:extLst>
                    <a:ext uri="{FF2B5EF4-FFF2-40B4-BE49-F238E27FC236}">
                      <a16:creationId xmlns:a16="http://schemas.microsoft.com/office/drawing/2014/main" id="{43056053-7CC0-C82A-43ED-FB53ED93E288}"/>
                    </a:ext>
                  </a:extLst>
                </p:cNvPr>
                <p:cNvGrpSpPr/>
                <p:nvPr/>
              </p:nvGrpSpPr>
              <p:grpSpPr>
                <a:xfrm>
                  <a:off x="7808975" y="4077080"/>
                  <a:ext cx="75723" cy="75723"/>
                  <a:chOff x="7808975" y="4077080"/>
                  <a:chExt cx="75723" cy="75723"/>
                </a:xfrm>
              </p:grpSpPr>
              <p:sp>
                <p:nvSpPr>
                  <p:cNvPr id="5936" name="Freeform: Shape 5935">
                    <a:extLst>
                      <a:ext uri="{FF2B5EF4-FFF2-40B4-BE49-F238E27FC236}">
                        <a16:creationId xmlns:a16="http://schemas.microsoft.com/office/drawing/2014/main" id="{604FCA11-22A1-DD94-BCBA-3042A380B043}"/>
                      </a:ext>
                    </a:extLst>
                  </p:cNvPr>
                  <p:cNvSpPr/>
                  <p:nvPr/>
                </p:nvSpPr>
                <p:spPr>
                  <a:xfrm>
                    <a:off x="7846789"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37" name="Freeform: Shape 5936">
                    <a:extLst>
                      <a:ext uri="{FF2B5EF4-FFF2-40B4-BE49-F238E27FC236}">
                        <a16:creationId xmlns:a16="http://schemas.microsoft.com/office/drawing/2014/main" id="{8C43D462-73F7-99AA-3963-C36F8B9B857E}"/>
                      </a:ext>
                    </a:extLst>
                  </p:cNvPr>
                  <p:cNvSpPr/>
                  <p:nvPr/>
                </p:nvSpPr>
                <p:spPr>
                  <a:xfrm>
                    <a:off x="7808975"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8" name="Graphic 2080">
                  <a:extLst>
                    <a:ext uri="{FF2B5EF4-FFF2-40B4-BE49-F238E27FC236}">
                      <a16:creationId xmlns:a16="http://schemas.microsoft.com/office/drawing/2014/main" id="{E177341F-C808-0E93-630F-B7D1683026D1}"/>
                    </a:ext>
                  </a:extLst>
                </p:cNvPr>
                <p:cNvGrpSpPr/>
                <p:nvPr/>
              </p:nvGrpSpPr>
              <p:grpSpPr>
                <a:xfrm>
                  <a:off x="7619618" y="4077080"/>
                  <a:ext cx="75628" cy="75723"/>
                  <a:chOff x="7619618" y="4077080"/>
                  <a:chExt cx="75628" cy="75723"/>
                </a:xfrm>
              </p:grpSpPr>
              <p:sp>
                <p:nvSpPr>
                  <p:cNvPr id="5934" name="Freeform: Shape 5933">
                    <a:extLst>
                      <a:ext uri="{FF2B5EF4-FFF2-40B4-BE49-F238E27FC236}">
                        <a16:creationId xmlns:a16="http://schemas.microsoft.com/office/drawing/2014/main" id="{96D0CE54-F091-9D47-DDAB-889D3A6DEBB6}"/>
                      </a:ext>
                    </a:extLst>
                  </p:cNvPr>
                  <p:cNvSpPr/>
                  <p:nvPr/>
                </p:nvSpPr>
                <p:spPr>
                  <a:xfrm>
                    <a:off x="765743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35" name="Freeform: Shape 5934">
                    <a:extLst>
                      <a:ext uri="{FF2B5EF4-FFF2-40B4-BE49-F238E27FC236}">
                        <a16:creationId xmlns:a16="http://schemas.microsoft.com/office/drawing/2014/main" id="{3DA75986-BF32-F501-959D-DA4FD1E3ED93}"/>
                      </a:ext>
                    </a:extLst>
                  </p:cNvPr>
                  <p:cNvSpPr/>
                  <p:nvPr/>
                </p:nvSpPr>
                <p:spPr>
                  <a:xfrm>
                    <a:off x="7619618"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39" name="Graphic 2080">
                  <a:extLst>
                    <a:ext uri="{FF2B5EF4-FFF2-40B4-BE49-F238E27FC236}">
                      <a16:creationId xmlns:a16="http://schemas.microsoft.com/office/drawing/2014/main" id="{89D1DF83-A0F7-0881-F965-CCA3D88AC6D3}"/>
                    </a:ext>
                  </a:extLst>
                </p:cNvPr>
                <p:cNvGrpSpPr/>
                <p:nvPr/>
              </p:nvGrpSpPr>
              <p:grpSpPr>
                <a:xfrm>
                  <a:off x="7411021" y="4039266"/>
                  <a:ext cx="75723" cy="75628"/>
                  <a:chOff x="7411021" y="4039266"/>
                  <a:chExt cx="75723" cy="75628"/>
                </a:xfrm>
              </p:grpSpPr>
              <p:sp>
                <p:nvSpPr>
                  <p:cNvPr id="5932" name="Freeform: Shape 5931">
                    <a:extLst>
                      <a:ext uri="{FF2B5EF4-FFF2-40B4-BE49-F238E27FC236}">
                        <a16:creationId xmlns:a16="http://schemas.microsoft.com/office/drawing/2014/main" id="{6C4021BF-F5A5-08D0-8E51-4768985ED9B9}"/>
                      </a:ext>
                    </a:extLst>
                  </p:cNvPr>
                  <p:cNvSpPr/>
                  <p:nvPr/>
                </p:nvSpPr>
                <p:spPr>
                  <a:xfrm>
                    <a:off x="744893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33" name="Freeform: Shape 5932">
                    <a:extLst>
                      <a:ext uri="{FF2B5EF4-FFF2-40B4-BE49-F238E27FC236}">
                        <a16:creationId xmlns:a16="http://schemas.microsoft.com/office/drawing/2014/main" id="{A588E879-FC48-5683-BBF0-D550D4876513}"/>
                      </a:ext>
                    </a:extLst>
                  </p:cNvPr>
                  <p:cNvSpPr/>
                  <p:nvPr/>
                </p:nvSpPr>
                <p:spPr>
                  <a:xfrm>
                    <a:off x="7411021"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0" name="Graphic 2080">
                  <a:extLst>
                    <a:ext uri="{FF2B5EF4-FFF2-40B4-BE49-F238E27FC236}">
                      <a16:creationId xmlns:a16="http://schemas.microsoft.com/office/drawing/2014/main" id="{A67BAF7C-5321-DFB4-F765-9CF4035FBFA2}"/>
                    </a:ext>
                  </a:extLst>
                </p:cNvPr>
                <p:cNvGrpSpPr/>
                <p:nvPr/>
              </p:nvGrpSpPr>
              <p:grpSpPr>
                <a:xfrm>
                  <a:off x="7353585" y="4004595"/>
                  <a:ext cx="75723" cy="75628"/>
                  <a:chOff x="7353585" y="4004595"/>
                  <a:chExt cx="75723" cy="75628"/>
                </a:xfrm>
              </p:grpSpPr>
              <p:sp>
                <p:nvSpPr>
                  <p:cNvPr id="5930" name="Freeform: Shape 5929">
                    <a:extLst>
                      <a:ext uri="{FF2B5EF4-FFF2-40B4-BE49-F238E27FC236}">
                        <a16:creationId xmlns:a16="http://schemas.microsoft.com/office/drawing/2014/main" id="{4E08D297-1216-D79B-835C-021E03453275}"/>
                      </a:ext>
                    </a:extLst>
                  </p:cNvPr>
                  <p:cNvSpPr/>
                  <p:nvPr/>
                </p:nvSpPr>
                <p:spPr>
                  <a:xfrm>
                    <a:off x="7391399"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31" name="Freeform: Shape 5930">
                    <a:extLst>
                      <a:ext uri="{FF2B5EF4-FFF2-40B4-BE49-F238E27FC236}">
                        <a16:creationId xmlns:a16="http://schemas.microsoft.com/office/drawing/2014/main" id="{309748F8-DF57-2401-35EE-7A43059092F2}"/>
                      </a:ext>
                    </a:extLst>
                  </p:cNvPr>
                  <p:cNvSpPr/>
                  <p:nvPr/>
                </p:nvSpPr>
                <p:spPr>
                  <a:xfrm>
                    <a:off x="7353585"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1" name="Graphic 2080">
                  <a:extLst>
                    <a:ext uri="{FF2B5EF4-FFF2-40B4-BE49-F238E27FC236}">
                      <a16:creationId xmlns:a16="http://schemas.microsoft.com/office/drawing/2014/main" id="{09D4BA9F-B671-08D4-71A4-C780A95C8936}"/>
                    </a:ext>
                  </a:extLst>
                </p:cNvPr>
                <p:cNvGrpSpPr/>
                <p:nvPr/>
              </p:nvGrpSpPr>
              <p:grpSpPr>
                <a:xfrm>
                  <a:off x="7331106" y="4004595"/>
                  <a:ext cx="75723" cy="75628"/>
                  <a:chOff x="7331106" y="4004595"/>
                  <a:chExt cx="75723" cy="75628"/>
                </a:xfrm>
              </p:grpSpPr>
              <p:sp>
                <p:nvSpPr>
                  <p:cNvPr id="5928" name="Freeform: Shape 5927">
                    <a:extLst>
                      <a:ext uri="{FF2B5EF4-FFF2-40B4-BE49-F238E27FC236}">
                        <a16:creationId xmlns:a16="http://schemas.microsoft.com/office/drawing/2014/main" id="{4A110840-AD55-F831-D0EE-36721D77E622}"/>
                      </a:ext>
                    </a:extLst>
                  </p:cNvPr>
                  <p:cNvSpPr/>
                  <p:nvPr/>
                </p:nvSpPr>
                <p:spPr>
                  <a:xfrm>
                    <a:off x="7368920" y="400459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29" name="Freeform: Shape 5928">
                    <a:extLst>
                      <a:ext uri="{FF2B5EF4-FFF2-40B4-BE49-F238E27FC236}">
                        <a16:creationId xmlns:a16="http://schemas.microsoft.com/office/drawing/2014/main" id="{D927F211-AA98-0E2D-8C86-C68263A694DE}"/>
                      </a:ext>
                    </a:extLst>
                  </p:cNvPr>
                  <p:cNvSpPr/>
                  <p:nvPr/>
                </p:nvSpPr>
                <p:spPr>
                  <a:xfrm>
                    <a:off x="7331106" y="40424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2" name="Graphic 2080">
                  <a:extLst>
                    <a:ext uri="{FF2B5EF4-FFF2-40B4-BE49-F238E27FC236}">
                      <a16:creationId xmlns:a16="http://schemas.microsoft.com/office/drawing/2014/main" id="{0F8942E7-8869-E788-3C3F-9ABD4A104260}"/>
                    </a:ext>
                  </a:extLst>
                </p:cNvPr>
                <p:cNvGrpSpPr/>
                <p:nvPr/>
              </p:nvGrpSpPr>
              <p:grpSpPr>
                <a:xfrm>
                  <a:off x="7223473" y="3971638"/>
                  <a:ext cx="75723" cy="75723"/>
                  <a:chOff x="7223473" y="3971638"/>
                  <a:chExt cx="75723" cy="75723"/>
                </a:xfrm>
              </p:grpSpPr>
              <p:sp>
                <p:nvSpPr>
                  <p:cNvPr id="5926" name="Freeform: Shape 5925">
                    <a:extLst>
                      <a:ext uri="{FF2B5EF4-FFF2-40B4-BE49-F238E27FC236}">
                        <a16:creationId xmlns:a16="http://schemas.microsoft.com/office/drawing/2014/main" id="{050CE986-5D54-FE61-D142-648D485E93DB}"/>
                      </a:ext>
                    </a:extLst>
                  </p:cNvPr>
                  <p:cNvSpPr/>
                  <p:nvPr/>
                </p:nvSpPr>
                <p:spPr>
                  <a:xfrm>
                    <a:off x="7261383"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27" name="Freeform: Shape 5926">
                    <a:extLst>
                      <a:ext uri="{FF2B5EF4-FFF2-40B4-BE49-F238E27FC236}">
                        <a16:creationId xmlns:a16="http://schemas.microsoft.com/office/drawing/2014/main" id="{B15E7E63-045B-6831-5CA6-53D831520F3B}"/>
                      </a:ext>
                    </a:extLst>
                  </p:cNvPr>
                  <p:cNvSpPr/>
                  <p:nvPr/>
                </p:nvSpPr>
                <p:spPr>
                  <a:xfrm>
                    <a:off x="7223473"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3" name="Graphic 2080">
                  <a:extLst>
                    <a:ext uri="{FF2B5EF4-FFF2-40B4-BE49-F238E27FC236}">
                      <a16:creationId xmlns:a16="http://schemas.microsoft.com/office/drawing/2014/main" id="{BC08E11C-767B-49C0-1F30-4EC9FB84A65B}"/>
                    </a:ext>
                  </a:extLst>
                </p:cNvPr>
                <p:cNvGrpSpPr/>
                <p:nvPr/>
              </p:nvGrpSpPr>
              <p:grpSpPr>
                <a:xfrm>
                  <a:off x="7189374" y="3948207"/>
                  <a:ext cx="75628" cy="75723"/>
                  <a:chOff x="7189374" y="3948207"/>
                  <a:chExt cx="75628" cy="75723"/>
                </a:xfrm>
              </p:grpSpPr>
              <p:sp>
                <p:nvSpPr>
                  <p:cNvPr id="5924" name="Freeform: Shape 5923">
                    <a:extLst>
                      <a:ext uri="{FF2B5EF4-FFF2-40B4-BE49-F238E27FC236}">
                        <a16:creationId xmlns:a16="http://schemas.microsoft.com/office/drawing/2014/main" id="{76C9B5D7-ACC1-4ED0-B82C-42D94D5AC282}"/>
                      </a:ext>
                    </a:extLst>
                  </p:cNvPr>
                  <p:cNvSpPr/>
                  <p:nvPr/>
                </p:nvSpPr>
                <p:spPr>
                  <a:xfrm>
                    <a:off x="7227188"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25" name="Freeform: Shape 5924">
                    <a:extLst>
                      <a:ext uri="{FF2B5EF4-FFF2-40B4-BE49-F238E27FC236}">
                        <a16:creationId xmlns:a16="http://schemas.microsoft.com/office/drawing/2014/main" id="{5151DA18-A35B-6797-9C06-9D455CC52BDB}"/>
                      </a:ext>
                    </a:extLst>
                  </p:cNvPr>
                  <p:cNvSpPr/>
                  <p:nvPr/>
                </p:nvSpPr>
                <p:spPr>
                  <a:xfrm>
                    <a:off x="7189374"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4" name="Graphic 2080">
                  <a:extLst>
                    <a:ext uri="{FF2B5EF4-FFF2-40B4-BE49-F238E27FC236}">
                      <a16:creationId xmlns:a16="http://schemas.microsoft.com/office/drawing/2014/main" id="{404999D3-3020-BF15-C198-31DD326997C5}"/>
                    </a:ext>
                  </a:extLst>
                </p:cNvPr>
                <p:cNvGrpSpPr/>
                <p:nvPr/>
              </p:nvGrpSpPr>
              <p:grpSpPr>
                <a:xfrm>
                  <a:off x="7014685" y="3948207"/>
                  <a:ext cx="75628" cy="75723"/>
                  <a:chOff x="7014685" y="3948207"/>
                  <a:chExt cx="75628" cy="75723"/>
                </a:xfrm>
              </p:grpSpPr>
              <p:sp>
                <p:nvSpPr>
                  <p:cNvPr id="5922" name="Freeform: Shape 5921">
                    <a:extLst>
                      <a:ext uri="{FF2B5EF4-FFF2-40B4-BE49-F238E27FC236}">
                        <a16:creationId xmlns:a16="http://schemas.microsoft.com/office/drawing/2014/main" id="{07DEB349-3FB1-5E22-30B8-84711D758E33}"/>
                      </a:ext>
                    </a:extLst>
                  </p:cNvPr>
                  <p:cNvSpPr/>
                  <p:nvPr/>
                </p:nvSpPr>
                <p:spPr>
                  <a:xfrm>
                    <a:off x="7052500"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23" name="Freeform: Shape 5922">
                    <a:extLst>
                      <a:ext uri="{FF2B5EF4-FFF2-40B4-BE49-F238E27FC236}">
                        <a16:creationId xmlns:a16="http://schemas.microsoft.com/office/drawing/2014/main" id="{77FD4D52-10F7-01D0-54F8-D8D7591F162A}"/>
                      </a:ext>
                    </a:extLst>
                  </p:cNvPr>
                  <p:cNvSpPr/>
                  <p:nvPr/>
                </p:nvSpPr>
                <p:spPr>
                  <a:xfrm>
                    <a:off x="7014685" y="398602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5" name="Graphic 2080">
                  <a:extLst>
                    <a:ext uri="{FF2B5EF4-FFF2-40B4-BE49-F238E27FC236}">
                      <a16:creationId xmlns:a16="http://schemas.microsoft.com/office/drawing/2014/main" id="{1EDE5609-7F19-9A60-9C05-12C0D4EA2CB8}"/>
                    </a:ext>
                  </a:extLst>
                </p:cNvPr>
                <p:cNvGrpSpPr/>
                <p:nvPr/>
              </p:nvGrpSpPr>
              <p:grpSpPr>
                <a:xfrm>
                  <a:off x="6986396" y="3923442"/>
                  <a:ext cx="75628" cy="75723"/>
                  <a:chOff x="6986396" y="3923442"/>
                  <a:chExt cx="75628" cy="75723"/>
                </a:xfrm>
              </p:grpSpPr>
              <p:sp>
                <p:nvSpPr>
                  <p:cNvPr id="5920" name="Freeform: Shape 5919">
                    <a:extLst>
                      <a:ext uri="{FF2B5EF4-FFF2-40B4-BE49-F238E27FC236}">
                        <a16:creationId xmlns:a16="http://schemas.microsoft.com/office/drawing/2014/main" id="{332BF775-6C44-3E19-F4FB-65B18D590874}"/>
                      </a:ext>
                    </a:extLst>
                  </p:cNvPr>
                  <p:cNvSpPr/>
                  <p:nvPr/>
                </p:nvSpPr>
                <p:spPr>
                  <a:xfrm>
                    <a:off x="7024210"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21" name="Freeform: Shape 5920">
                    <a:extLst>
                      <a:ext uri="{FF2B5EF4-FFF2-40B4-BE49-F238E27FC236}">
                        <a16:creationId xmlns:a16="http://schemas.microsoft.com/office/drawing/2014/main" id="{4456BBDD-AEE4-056D-4199-6F7BA64BF32F}"/>
                      </a:ext>
                    </a:extLst>
                  </p:cNvPr>
                  <p:cNvSpPr/>
                  <p:nvPr/>
                </p:nvSpPr>
                <p:spPr>
                  <a:xfrm>
                    <a:off x="6986396" y="396135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6" name="Graphic 2080">
                  <a:extLst>
                    <a:ext uri="{FF2B5EF4-FFF2-40B4-BE49-F238E27FC236}">
                      <a16:creationId xmlns:a16="http://schemas.microsoft.com/office/drawing/2014/main" id="{55F71295-AFDC-CF8E-9B29-55CA82690D85}"/>
                    </a:ext>
                  </a:extLst>
                </p:cNvPr>
                <p:cNvGrpSpPr/>
                <p:nvPr/>
              </p:nvGrpSpPr>
              <p:grpSpPr>
                <a:xfrm>
                  <a:off x="6926103" y="3923442"/>
                  <a:ext cx="75723" cy="75723"/>
                  <a:chOff x="6926103" y="3923442"/>
                  <a:chExt cx="75723" cy="75723"/>
                </a:xfrm>
              </p:grpSpPr>
              <p:sp>
                <p:nvSpPr>
                  <p:cNvPr id="5918" name="Freeform: Shape 5917">
                    <a:extLst>
                      <a:ext uri="{FF2B5EF4-FFF2-40B4-BE49-F238E27FC236}">
                        <a16:creationId xmlns:a16="http://schemas.microsoft.com/office/drawing/2014/main" id="{DEBF752B-F4DD-E8DA-D88A-E143C5D4BE40}"/>
                      </a:ext>
                    </a:extLst>
                  </p:cNvPr>
                  <p:cNvSpPr/>
                  <p:nvPr/>
                </p:nvSpPr>
                <p:spPr>
                  <a:xfrm>
                    <a:off x="6963917"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19" name="Freeform: Shape 5918">
                    <a:extLst>
                      <a:ext uri="{FF2B5EF4-FFF2-40B4-BE49-F238E27FC236}">
                        <a16:creationId xmlns:a16="http://schemas.microsoft.com/office/drawing/2014/main" id="{A105D2C0-86DF-61B1-2680-D1662570F473}"/>
                      </a:ext>
                    </a:extLst>
                  </p:cNvPr>
                  <p:cNvSpPr/>
                  <p:nvPr/>
                </p:nvSpPr>
                <p:spPr>
                  <a:xfrm>
                    <a:off x="6926103"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7" name="Graphic 2080">
                  <a:extLst>
                    <a:ext uri="{FF2B5EF4-FFF2-40B4-BE49-F238E27FC236}">
                      <a16:creationId xmlns:a16="http://schemas.microsoft.com/office/drawing/2014/main" id="{F4BC19A5-CAE2-CF3E-B410-66BE5C31ACFC}"/>
                    </a:ext>
                  </a:extLst>
                </p:cNvPr>
                <p:cNvGrpSpPr/>
                <p:nvPr/>
              </p:nvGrpSpPr>
              <p:grpSpPr>
                <a:xfrm>
                  <a:off x="6903814" y="3923442"/>
                  <a:ext cx="75723" cy="75723"/>
                  <a:chOff x="6903814" y="3923442"/>
                  <a:chExt cx="75723" cy="75723"/>
                </a:xfrm>
              </p:grpSpPr>
              <p:sp>
                <p:nvSpPr>
                  <p:cNvPr id="5916" name="Freeform: Shape 5915">
                    <a:extLst>
                      <a:ext uri="{FF2B5EF4-FFF2-40B4-BE49-F238E27FC236}">
                        <a16:creationId xmlns:a16="http://schemas.microsoft.com/office/drawing/2014/main" id="{D97FE8F7-95F4-8FE6-7414-8215DF463276}"/>
                      </a:ext>
                    </a:extLst>
                  </p:cNvPr>
                  <p:cNvSpPr/>
                  <p:nvPr/>
                </p:nvSpPr>
                <p:spPr>
                  <a:xfrm>
                    <a:off x="6941629" y="39234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17" name="Freeform: Shape 5916">
                    <a:extLst>
                      <a:ext uri="{FF2B5EF4-FFF2-40B4-BE49-F238E27FC236}">
                        <a16:creationId xmlns:a16="http://schemas.microsoft.com/office/drawing/2014/main" id="{55CF4682-0ADD-42FD-3462-F143F1824FB3}"/>
                      </a:ext>
                    </a:extLst>
                  </p:cNvPr>
                  <p:cNvSpPr/>
                  <p:nvPr/>
                </p:nvSpPr>
                <p:spPr>
                  <a:xfrm>
                    <a:off x="6903814" y="39613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8" name="Graphic 2080">
                  <a:extLst>
                    <a:ext uri="{FF2B5EF4-FFF2-40B4-BE49-F238E27FC236}">
                      <a16:creationId xmlns:a16="http://schemas.microsoft.com/office/drawing/2014/main" id="{175B8C3D-91D0-5FFA-5A39-3BC4F806FEC2}"/>
                    </a:ext>
                  </a:extLst>
                </p:cNvPr>
                <p:cNvGrpSpPr/>
                <p:nvPr/>
              </p:nvGrpSpPr>
              <p:grpSpPr>
                <a:xfrm>
                  <a:off x="6716172" y="3874293"/>
                  <a:ext cx="75628" cy="75723"/>
                  <a:chOff x="6716172" y="3874293"/>
                  <a:chExt cx="75628" cy="75723"/>
                </a:xfrm>
              </p:grpSpPr>
              <p:sp>
                <p:nvSpPr>
                  <p:cNvPr id="5914" name="Freeform: Shape 5913">
                    <a:extLst>
                      <a:ext uri="{FF2B5EF4-FFF2-40B4-BE49-F238E27FC236}">
                        <a16:creationId xmlns:a16="http://schemas.microsoft.com/office/drawing/2014/main" id="{082E6320-EF33-1177-B2BB-BDDE25C028D3}"/>
                      </a:ext>
                    </a:extLst>
                  </p:cNvPr>
                  <p:cNvSpPr/>
                  <p:nvPr/>
                </p:nvSpPr>
                <p:spPr>
                  <a:xfrm>
                    <a:off x="675398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15" name="Freeform: Shape 5914">
                    <a:extLst>
                      <a:ext uri="{FF2B5EF4-FFF2-40B4-BE49-F238E27FC236}">
                        <a16:creationId xmlns:a16="http://schemas.microsoft.com/office/drawing/2014/main" id="{43EB49E4-9CAD-FC5E-8160-36683B589CCF}"/>
                      </a:ext>
                    </a:extLst>
                  </p:cNvPr>
                  <p:cNvSpPr/>
                  <p:nvPr/>
                </p:nvSpPr>
                <p:spPr>
                  <a:xfrm>
                    <a:off x="6716172" y="391220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49" name="Graphic 2080">
                  <a:extLst>
                    <a:ext uri="{FF2B5EF4-FFF2-40B4-BE49-F238E27FC236}">
                      <a16:creationId xmlns:a16="http://schemas.microsoft.com/office/drawing/2014/main" id="{F13480BE-D4C7-8D8A-BE11-1763C94D355E}"/>
                    </a:ext>
                  </a:extLst>
                </p:cNvPr>
                <p:cNvGrpSpPr/>
                <p:nvPr/>
              </p:nvGrpSpPr>
              <p:grpSpPr>
                <a:xfrm>
                  <a:off x="6667309" y="3856576"/>
                  <a:ext cx="75723" cy="75628"/>
                  <a:chOff x="6667309" y="3856576"/>
                  <a:chExt cx="75723" cy="75628"/>
                </a:xfrm>
              </p:grpSpPr>
              <p:sp>
                <p:nvSpPr>
                  <p:cNvPr id="5912" name="Freeform: Shape 5911">
                    <a:extLst>
                      <a:ext uri="{FF2B5EF4-FFF2-40B4-BE49-F238E27FC236}">
                        <a16:creationId xmlns:a16="http://schemas.microsoft.com/office/drawing/2014/main" id="{A4823C81-0545-DAD6-243F-5C9AFA089B67}"/>
                      </a:ext>
                    </a:extLst>
                  </p:cNvPr>
                  <p:cNvSpPr/>
                  <p:nvPr/>
                </p:nvSpPr>
                <p:spPr>
                  <a:xfrm>
                    <a:off x="6705218" y="385657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13" name="Freeform: Shape 5912">
                    <a:extLst>
                      <a:ext uri="{FF2B5EF4-FFF2-40B4-BE49-F238E27FC236}">
                        <a16:creationId xmlns:a16="http://schemas.microsoft.com/office/drawing/2014/main" id="{EB718393-6249-70B1-2147-7E47280F3AD1}"/>
                      </a:ext>
                    </a:extLst>
                  </p:cNvPr>
                  <p:cNvSpPr/>
                  <p:nvPr/>
                </p:nvSpPr>
                <p:spPr>
                  <a:xfrm>
                    <a:off x="6667309" y="389439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0" name="Graphic 2080">
                  <a:extLst>
                    <a:ext uri="{FF2B5EF4-FFF2-40B4-BE49-F238E27FC236}">
                      <a16:creationId xmlns:a16="http://schemas.microsoft.com/office/drawing/2014/main" id="{9EFC2176-5468-4614-62B0-A8E41CB219A0}"/>
                    </a:ext>
                  </a:extLst>
                </p:cNvPr>
                <p:cNvGrpSpPr/>
                <p:nvPr/>
              </p:nvGrpSpPr>
              <p:grpSpPr>
                <a:xfrm>
                  <a:off x="6652640" y="3838860"/>
                  <a:ext cx="75628" cy="75723"/>
                  <a:chOff x="6652640" y="3838860"/>
                  <a:chExt cx="75628" cy="75723"/>
                </a:xfrm>
              </p:grpSpPr>
              <p:sp>
                <p:nvSpPr>
                  <p:cNvPr id="5910" name="Freeform: Shape 5909">
                    <a:extLst>
                      <a:ext uri="{FF2B5EF4-FFF2-40B4-BE49-F238E27FC236}">
                        <a16:creationId xmlns:a16="http://schemas.microsoft.com/office/drawing/2014/main" id="{82CE57F1-40BE-F419-9D14-869B0C49BF36}"/>
                      </a:ext>
                    </a:extLst>
                  </p:cNvPr>
                  <p:cNvSpPr/>
                  <p:nvPr/>
                </p:nvSpPr>
                <p:spPr>
                  <a:xfrm>
                    <a:off x="6690454" y="383886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11" name="Freeform: Shape 5910">
                    <a:extLst>
                      <a:ext uri="{FF2B5EF4-FFF2-40B4-BE49-F238E27FC236}">
                        <a16:creationId xmlns:a16="http://schemas.microsoft.com/office/drawing/2014/main" id="{FDF8CF26-9968-51A4-64A5-56BC2426454E}"/>
                      </a:ext>
                    </a:extLst>
                  </p:cNvPr>
                  <p:cNvSpPr/>
                  <p:nvPr/>
                </p:nvSpPr>
                <p:spPr>
                  <a:xfrm>
                    <a:off x="6652640" y="387676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1" name="Graphic 2080">
                  <a:extLst>
                    <a:ext uri="{FF2B5EF4-FFF2-40B4-BE49-F238E27FC236}">
                      <a16:creationId xmlns:a16="http://schemas.microsoft.com/office/drawing/2014/main" id="{008EB4D9-91E5-7C14-47D4-F89CFF811992}"/>
                    </a:ext>
                  </a:extLst>
                </p:cNvPr>
                <p:cNvGrpSpPr/>
                <p:nvPr/>
              </p:nvGrpSpPr>
              <p:grpSpPr>
                <a:xfrm>
                  <a:off x="6588346" y="3784853"/>
                  <a:ext cx="75723" cy="75723"/>
                  <a:chOff x="6588346" y="3784853"/>
                  <a:chExt cx="75723" cy="75723"/>
                </a:xfrm>
              </p:grpSpPr>
              <p:sp>
                <p:nvSpPr>
                  <p:cNvPr id="5908" name="Freeform: Shape 5907">
                    <a:extLst>
                      <a:ext uri="{FF2B5EF4-FFF2-40B4-BE49-F238E27FC236}">
                        <a16:creationId xmlns:a16="http://schemas.microsoft.com/office/drawing/2014/main" id="{648F4C8B-FFA6-3738-A5E6-C0F9B8B7617E}"/>
                      </a:ext>
                    </a:extLst>
                  </p:cNvPr>
                  <p:cNvSpPr/>
                  <p:nvPr/>
                </p:nvSpPr>
                <p:spPr>
                  <a:xfrm>
                    <a:off x="662616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09" name="Freeform: Shape 5908">
                    <a:extLst>
                      <a:ext uri="{FF2B5EF4-FFF2-40B4-BE49-F238E27FC236}">
                        <a16:creationId xmlns:a16="http://schemas.microsoft.com/office/drawing/2014/main" id="{2976C9B6-51E7-8DCF-FA00-83BE782ABF14}"/>
                      </a:ext>
                    </a:extLst>
                  </p:cNvPr>
                  <p:cNvSpPr/>
                  <p:nvPr/>
                </p:nvSpPr>
                <p:spPr>
                  <a:xfrm>
                    <a:off x="658834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2" name="Graphic 2080">
                  <a:extLst>
                    <a:ext uri="{FF2B5EF4-FFF2-40B4-BE49-F238E27FC236}">
                      <a16:creationId xmlns:a16="http://schemas.microsoft.com/office/drawing/2014/main" id="{460960A2-36D5-E031-C704-B951EF9875AD}"/>
                    </a:ext>
                  </a:extLst>
                </p:cNvPr>
                <p:cNvGrpSpPr/>
                <p:nvPr/>
              </p:nvGrpSpPr>
              <p:grpSpPr>
                <a:xfrm>
                  <a:off x="6485381" y="3784853"/>
                  <a:ext cx="75723" cy="75723"/>
                  <a:chOff x="6485381" y="3784853"/>
                  <a:chExt cx="75723" cy="75723"/>
                </a:xfrm>
              </p:grpSpPr>
              <p:sp>
                <p:nvSpPr>
                  <p:cNvPr id="5906" name="Freeform: Shape 5905">
                    <a:extLst>
                      <a:ext uri="{FF2B5EF4-FFF2-40B4-BE49-F238E27FC236}">
                        <a16:creationId xmlns:a16="http://schemas.microsoft.com/office/drawing/2014/main" id="{8CA301F0-044B-4684-7104-93217AC601EF}"/>
                      </a:ext>
                    </a:extLst>
                  </p:cNvPr>
                  <p:cNvSpPr/>
                  <p:nvPr/>
                </p:nvSpPr>
                <p:spPr>
                  <a:xfrm>
                    <a:off x="652329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07" name="Freeform: Shape 5906">
                    <a:extLst>
                      <a:ext uri="{FF2B5EF4-FFF2-40B4-BE49-F238E27FC236}">
                        <a16:creationId xmlns:a16="http://schemas.microsoft.com/office/drawing/2014/main" id="{164BF950-BE54-D914-935F-8FFFB0BE44CB}"/>
                      </a:ext>
                    </a:extLst>
                  </p:cNvPr>
                  <p:cNvSpPr/>
                  <p:nvPr/>
                </p:nvSpPr>
                <p:spPr>
                  <a:xfrm>
                    <a:off x="6485381"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3" name="Graphic 2080">
                  <a:extLst>
                    <a:ext uri="{FF2B5EF4-FFF2-40B4-BE49-F238E27FC236}">
                      <a16:creationId xmlns:a16="http://schemas.microsoft.com/office/drawing/2014/main" id="{C017F34B-73CB-3129-46EB-737DECB8A79C}"/>
                    </a:ext>
                  </a:extLst>
                </p:cNvPr>
                <p:cNvGrpSpPr/>
                <p:nvPr/>
              </p:nvGrpSpPr>
              <p:grpSpPr>
                <a:xfrm>
                  <a:off x="6426612" y="3784853"/>
                  <a:ext cx="75723" cy="75723"/>
                  <a:chOff x="6426612" y="3784853"/>
                  <a:chExt cx="75723" cy="75723"/>
                </a:xfrm>
              </p:grpSpPr>
              <p:sp>
                <p:nvSpPr>
                  <p:cNvPr id="5904" name="Freeform: Shape 5903">
                    <a:extLst>
                      <a:ext uri="{FF2B5EF4-FFF2-40B4-BE49-F238E27FC236}">
                        <a16:creationId xmlns:a16="http://schemas.microsoft.com/office/drawing/2014/main" id="{A25E1025-15F3-5282-3D5B-0636B6C5F8A7}"/>
                      </a:ext>
                    </a:extLst>
                  </p:cNvPr>
                  <p:cNvSpPr/>
                  <p:nvPr/>
                </p:nvSpPr>
                <p:spPr>
                  <a:xfrm>
                    <a:off x="646452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05" name="Freeform: Shape 5904">
                    <a:extLst>
                      <a:ext uri="{FF2B5EF4-FFF2-40B4-BE49-F238E27FC236}">
                        <a16:creationId xmlns:a16="http://schemas.microsoft.com/office/drawing/2014/main" id="{428B7451-AC2F-182D-687A-E1FBA6D435E7}"/>
                      </a:ext>
                    </a:extLst>
                  </p:cNvPr>
                  <p:cNvSpPr/>
                  <p:nvPr/>
                </p:nvSpPr>
                <p:spPr>
                  <a:xfrm>
                    <a:off x="642661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4" name="Graphic 2080">
                  <a:extLst>
                    <a:ext uri="{FF2B5EF4-FFF2-40B4-BE49-F238E27FC236}">
                      <a16:creationId xmlns:a16="http://schemas.microsoft.com/office/drawing/2014/main" id="{A371A362-5411-B48C-15DC-59BC7808FD8F}"/>
                    </a:ext>
                  </a:extLst>
                </p:cNvPr>
                <p:cNvGrpSpPr/>
                <p:nvPr/>
              </p:nvGrpSpPr>
              <p:grpSpPr>
                <a:xfrm>
                  <a:off x="6343363" y="3768280"/>
                  <a:ext cx="75723" cy="75628"/>
                  <a:chOff x="6343363" y="3768280"/>
                  <a:chExt cx="75723" cy="75628"/>
                </a:xfrm>
              </p:grpSpPr>
              <p:sp>
                <p:nvSpPr>
                  <p:cNvPr id="5902" name="Freeform: Shape 5901">
                    <a:extLst>
                      <a:ext uri="{FF2B5EF4-FFF2-40B4-BE49-F238E27FC236}">
                        <a16:creationId xmlns:a16="http://schemas.microsoft.com/office/drawing/2014/main" id="{F341220E-9C75-421D-6962-6940AEB826F2}"/>
                      </a:ext>
                    </a:extLst>
                  </p:cNvPr>
                  <p:cNvSpPr/>
                  <p:nvPr/>
                </p:nvSpPr>
                <p:spPr>
                  <a:xfrm>
                    <a:off x="63812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03" name="Freeform: Shape 5902">
                    <a:extLst>
                      <a:ext uri="{FF2B5EF4-FFF2-40B4-BE49-F238E27FC236}">
                        <a16:creationId xmlns:a16="http://schemas.microsoft.com/office/drawing/2014/main" id="{C191DDE9-81FC-178A-4914-7BD5899D1BA3}"/>
                      </a:ext>
                    </a:extLst>
                  </p:cNvPr>
                  <p:cNvSpPr/>
                  <p:nvPr/>
                </p:nvSpPr>
                <p:spPr>
                  <a:xfrm>
                    <a:off x="6343363"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5" name="Graphic 2080">
                  <a:extLst>
                    <a:ext uri="{FF2B5EF4-FFF2-40B4-BE49-F238E27FC236}">
                      <a16:creationId xmlns:a16="http://schemas.microsoft.com/office/drawing/2014/main" id="{835BCB9A-995E-AC17-27CD-A38A68F6D10F}"/>
                    </a:ext>
                  </a:extLst>
                </p:cNvPr>
                <p:cNvGrpSpPr/>
                <p:nvPr/>
              </p:nvGrpSpPr>
              <p:grpSpPr>
                <a:xfrm>
                  <a:off x="6271164" y="3751897"/>
                  <a:ext cx="75723" cy="75628"/>
                  <a:chOff x="6271164" y="3751897"/>
                  <a:chExt cx="75723" cy="75628"/>
                </a:xfrm>
              </p:grpSpPr>
              <p:sp>
                <p:nvSpPr>
                  <p:cNvPr id="5900" name="Freeform: Shape 5899">
                    <a:extLst>
                      <a:ext uri="{FF2B5EF4-FFF2-40B4-BE49-F238E27FC236}">
                        <a16:creationId xmlns:a16="http://schemas.microsoft.com/office/drawing/2014/main" id="{C8E2336E-70E1-6E63-411C-C3F6A42FBC2B}"/>
                      </a:ext>
                    </a:extLst>
                  </p:cNvPr>
                  <p:cNvSpPr/>
                  <p:nvPr/>
                </p:nvSpPr>
                <p:spPr>
                  <a:xfrm>
                    <a:off x="6309073"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01" name="Freeform: Shape 5900">
                    <a:extLst>
                      <a:ext uri="{FF2B5EF4-FFF2-40B4-BE49-F238E27FC236}">
                        <a16:creationId xmlns:a16="http://schemas.microsoft.com/office/drawing/2014/main" id="{88D2A3C8-8C59-04F7-756A-C76336365F23}"/>
                      </a:ext>
                    </a:extLst>
                  </p:cNvPr>
                  <p:cNvSpPr/>
                  <p:nvPr/>
                </p:nvSpPr>
                <p:spPr>
                  <a:xfrm>
                    <a:off x="6271164"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6" name="Graphic 2080">
                  <a:extLst>
                    <a:ext uri="{FF2B5EF4-FFF2-40B4-BE49-F238E27FC236}">
                      <a16:creationId xmlns:a16="http://schemas.microsoft.com/office/drawing/2014/main" id="{7A8BBAF0-6612-140C-90FA-176F9927E83D}"/>
                    </a:ext>
                  </a:extLst>
                </p:cNvPr>
                <p:cNvGrpSpPr/>
                <p:nvPr/>
              </p:nvGrpSpPr>
              <p:grpSpPr>
                <a:xfrm>
                  <a:off x="6253543" y="3751897"/>
                  <a:ext cx="75723" cy="75628"/>
                  <a:chOff x="6253543" y="3751897"/>
                  <a:chExt cx="75723" cy="75628"/>
                </a:xfrm>
              </p:grpSpPr>
              <p:sp>
                <p:nvSpPr>
                  <p:cNvPr id="5898" name="Freeform: Shape 5897">
                    <a:extLst>
                      <a:ext uri="{FF2B5EF4-FFF2-40B4-BE49-F238E27FC236}">
                        <a16:creationId xmlns:a16="http://schemas.microsoft.com/office/drawing/2014/main" id="{383F8DBD-0367-BCBA-070F-1D00CBC4B017}"/>
                      </a:ext>
                    </a:extLst>
                  </p:cNvPr>
                  <p:cNvSpPr/>
                  <p:nvPr/>
                </p:nvSpPr>
                <p:spPr>
                  <a:xfrm>
                    <a:off x="6291452" y="375189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99" name="Freeform: Shape 5898">
                    <a:extLst>
                      <a:ext uri="{FF2B5EF4-FFF2-40B4-BE49-F238E27FC236}">
                        <a16:creationId xmlns:a16="http://schemas.microsoft.com/office/drawing/2014/main" id="{032F0DDA-FE23-66D3-2EB0-0E577D31AB3A}"/>
                      </a:ext>
                    </a:extLst>
                  </p:cNvPr>
                  <p:cNvSpPr/>
                  <p:nvPr/>
                </p:nvSpPr>
                <p:spPr>
                  <a:xfrm>
                    <a:off x="6253543" y="378971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7" name="Graphic 2080">
                  <a:extLst>
                    <a:ext uri="{FF2B5EF4-FFF2-40B4-BE49-F238E27FC236}">
                      <a16:creationId xmlns:a16="http://schemas.microsoft.com/office/drawing/2014/main" id="{DF4E3A3C-A274-5BE2-D35C-37D07280BE3F}"/>
                    </a:ext>
                  </a:extLst>
                </p:cNvPr>
                <p:cNvGrpSpPr/>
                <p:nvPr/>
              </p:nvGrpSpPr>
              <p:grpSpPr>
                <a:xfrm>
                  <a:off x="6190582" y="3734180"/>
                  <a:ext cx="75628" cy="75723"/>
                  <a:chOff x="6190582" y="3734180"/>
                  <a:chExt cx="75628" cy="75723"/>
                </a:xfrm>
              </p:grpSpPr>
              <p:sp>
                <p:nvSpPr>
                  <p:cNvPr id="5896" name="Freeform: Shape 5895">
                    <a:extLst>
                      <a:ext uri="{FF2B5EF4-FFF2-40B4-BE49-F238E27FC236}">
                        <a16:creationId xmlns:a16="http://schemas.microsoft.com/office/drawing/2014/main" id="{73942D4D-520B-8138-7A5C-4E8387371C42}"/>
                      </a:ext>
                    </a:extLst>
                  </p:cNvPr>
                  <p:cNvSpPr/>
                  <p:nvPr/>
                </p:nvSpPr>
                <p:spPr>
                  <a:xfrm>
                    <a:off x="6228397"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97" name="Freeform: Shape 5896">
                    <a:extLst>
                      <a:ext uri="{FF2B5EF4-FFF2-40B4-BE49-F238E27FC236}">
                        <a16:creationId xmlns:a16="http://schemas.microsoft.com/office/drawing/2014/main" id="{68048834-F676-5B40-F9C4-E8F32BA9192D}"/>
                      </a:ext>
                    </a:extLst>
                  </p:cNvPr>
                  <p:cNvSpPr/>
                  <p:nvPr/>
                </p:nvSpPr>
                <p:spPr>
                  <a:xfrm>
                    <a:off x="6190582" y="377209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8" name="Graphic 2080">
                  <a:extLst>
                    <a:ext uri="{FF2B5EF4-FFF2-40B4-BE49-F238E27FC236}">
                      <a16:creationId xmlns:a16="http://schemas.microsoft.com/office/drawing/2014/main" id="{29FD686B-2B75-015C-F013-9BF01B9DA1EC}"/>
                    </a:ext>
                  </a:extLst>
                </p:cNvPr>
                <p:cNvGrpSpPr/>
                <p:nvPr/>
              </p:nvGrpSpPr>
              <p:grpSpPr>
                <a:xfrm>
                  <a:off x="6182010" y="3734180"/>
                  <a:ext cx="75723" cy="75723"/>
                  <a:chOff x="6182010" y="3734180"/>
                  <a:chExt cx="75723" cy="75723"/>
                </a:xfrm>
              </p:grpSpPr>
              <p:sp>
                <p:nvSpPr>
                  <p:cNvPr id="5894" name="Freeform: Shape 5893">
                    <a:extLst>
                      <a:ext uri="{FF2B5EF4-FFF2-40B4-BE49-F238E27FC236}">
                        <a16:creationId xmlns:a16="http://schemas.microsoft.com/office/drawing/2014/main" id="{61E8B613-CF47-5BE6-31F9-19243E002872}"/>
                      </a:ext>
                    </a:extLst>
                  </p:cNvPr>
                  <p:cNvSpPr/>
                  <p:nvPr/>
                </p:nvSpPr>
                <p:spPr>
                  <a:xfrm>
                    <a:off x="6219919" y="37341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95" name="Freeform: Shape 5894">
                    <a:extLst>
                      <a:ext uri="{FF2B5EF4-FFF2-40B4-BE49-F238E27FC236}">
                        <a16:creationId xmlns:a16="http://schemas.microsoft.com/office/drawing/2014/main" id="{CE907BB5-985A-040F-DE1A-1B16864C70C0}"/>
                      </a:ext>
                    </a:extLst>
                  </p:cNvPr>
                  <p:cNvSpPr/>
                  <p:nvPr/>
                </p:nvSpPr>
                <p:spPr>
                  <a:xfrm>
                    <a:off x="6182010" y="37720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59" name="Graphic 2080">
                  <a:extLst>
                    <a:ext uri="{FF2B5EF4-FFF2-40B4-BE49-F238E27FC236}">
                      <a16:creationId xmlns:a16="http://schemas.microsoft.com/office/drawing/2014/main" id="{EF0DA9E1-778D-9835-C3D7-CC834B2CE60C}"/>
                    </a:ext>
                  </a:extLst>
                </p:cNvPr>
                <p:cNvGrpSpPr/>
                <p:nvPr/>
              </p:nvGrpSpPr>
              <p:grpSpPr>
                <a:xfrm>
                  <a:off x="6147529" y="3717511"/>
                  <a:ext cx="75723" cy="75723"/>
                  <a:chOff x="6147529" y="3717511"/>
                  <a:chExt cx="75723" cy="75723"/>
                </a:xfrm>
              </p:grpSpPr>
              <p:sp>
                <p:nvSpPr>
                  <p:cNvPr id="5892" name="Freeform: Shape 5891">
                    <a:extLst>
                      <a:ext uri="{FF2B5EF4-FFF2-40B4-BE49-F238E27FC236}">
                        <a16:creationId xmlns:a16="http://schemas.microsoft.com/office/drawing/2014/main" id="{60A61C91-3D00-FE47-49BA-3DD8D6F62623}"/>
                      </a:ext>
                    </a:extLst>
                  </p:cNvPr>
                  <p:cNvSpPr/>
                  <p:nvPr/>
                </p:nvSpPr>
                <p:spPr>
                  <a:xfrm>
                    <a:off x="618543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93" name="Freeform: Shape 5892">
                    <a:extLst>
                      <a:ext uri="{FF2B5EF4-FFF2-40B4-BE49-F238E27FC236}">
                        <a16:creationId xmlns:a16="http://schemas.microsoft.com/office/drawing/2014/main" id="{DE50CD85-04C0-2ED9-8F2F-7459ED42417E}"/>
                      </a:ext>
                    </a:extLst>
                  </p:cNvPr>
                  <p:cNvSpPr/>
                  <p:nvPr/>
                </p:nvSpPr>
                <p:spPr>
                  <a:xfrm>
                    <a:off x="6147529"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0" name="Graphic 2080">
                  <a:extLst>
                    <a:ext uri="{FF2B5EF4-FFF2-40B4-BE49-F238E27FC236}">
                      <a16:creationId xmlns:a16="http://schemas.microsoft.com/office/drawing/2014/main" id="{7DEF4E13-D132-3A85-49E5-D713AC557ADC}"/>
                    </a:ext>
                  </a:extLst>
                </p:cNvPr>
                <p:cNvGrpSpPr/>
                <p:nvPr/>
              </p:nvGrpSpPr>
              <p:grpSpPr>
                <a:xfrm>
                  <a:off x="6099238" y="3692556"/>
                  <a:ext cx="75723" cy="75723"/>
                  <a:chOff x="6099238" y="3692556"/>
                  <a:chExt cx="75723" cy="75723"/>
                </a:xfrm>
              </p:grpSpPr>
              <p:sp>
                <p:nvSpPr>
                  <p:cNvPr id="5890" name="Freeform: Shape 5889">
                    <a:extLst>
                      <a:ext uri="{FF2B5EF4-FFF2-40B4-BE49-F238E27FC236}">
                        <a16:creationId xmlns:a16="http://schemas.microsoft.com/office/drawing/2014/main" id="{90524B31-5FD1-7F88-DF00-B988D7D43373}"/>
                      </a:ext>
                    </a:extLst>
                  </p:cNvPr>
                  <p:cNvSpPr/>
                  <p:nvPr/>
                </p:nvSpPr>
                <p:spPr>
                  <a:xfrm>
                    <a:off x="6137052" y="369255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91" name="Freeform: Shape 5890">
                    <a:extLst>
                      <a:ext uri="{FF2B5EF4-FFF2-40B4-BE49-F238E27FC236}">
                        <a16:creationId xmlns:a16="http://schemas.microsoft.com/office/drawing/2014/main" id="{093BA88E-1229-5F6E-AE63-14B45355D97F}"/>
                      </a:ext>
                    </a:extLst>
                  </p:cNvPr>
                  <p:cNvSpPr/>
                  <p:nvPr/>
                </p:nvSpPr>
                <p:spPr>
                  <a:xfrm>
                    <a:off x="6099238" y="373037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1" name="Graphic 2080">
                  <a:extLst>
                    <a:ext uri="{FF2B5EF4-FFF2-40B4-BE49-F238E27FC236}">
                      <a16:creationId xmlns:a16="http://schemas.microsoft.com/office/drawing/2014/main" id="{B104B8DB-F864-14DC-3914-35520077B8CD}"/>
                    </a:ext>
                  </a:extLst>
                </p:cNvPr>
                <p:cNvGrpSpPr/>
                <p:nvPr/>
              </p:nvGrpSpPr>
              <p:grpSpPr>
                <a:xfrm>
                  <a:off x="6094951" y="3676173"/>
                  <a:ext cx="75723" cy="75723"/>
                  <a:chOff x="6094951" y="3676173"/>
                  <a:chExt cx="75723" cy="75723"/>
                </a:xfrm>
              </p:grpSpPr>
              <p:sp>
                <p:nvSpPr>
                  <p:cNvPr id="5888" name="Freeform: Shape 5887">
                    <a:extLst>
                      <a:ext uri="{FF2B5EF4-FFF2-40B4-BE49-F238E27FC236}">
                        <a16:creationId xmlns:a16="http://schemas.microsoft.com/office/drawing/2014/main" id="{29F4DC5E-B306-C50F-FC57-226F5A635871}"/>
                      </a:ext>
                    </a:extLst>
                  </p:cNvPr>
                  <p:cNvSpPr/>
                  <p:nvPr/>
                </p:nvSpPr>
                <p:spPr>
                  <a:xfrm>
                    <a:off x="6132861"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89" name="Freeform: Shape 5888">
                    <a:extLst>
                      <a:ext uri="{FF2B5EF4-FFF2-40B4-BE49-F238E27FC236}">
                        <a16:creationId xmlns:a16="http://schemas.microsoft.com/office/drawing/2014/main" id="{3AB94DCA-6FE0-A1FF-F22D-22328DE65622}"/>
                      </a:ext>
                    </a:extLst>
                  </p:cNvPr>
                  <p:cNvSpPr/>
                  <p:nvPr/>
                </p:nvSpPr>
                <p:spPr>
                  <a:xfrm>
                    <a:off x="6094951"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2" name="Graphic 2080">
                  <a:extLst>
                    <a:ext uri="{FF2B5EF4-FFF2-40B4-BE49-F238E27FC236}">
                      <a16:creationId xmlns:a16="http://schemas.microsoft.com/office/drawing/2014/main" id="{4CA25C4A-0D1C-5CE9-22C6-B8D1E28F73A0}"/>
                    </a:ext>
                  </a:extLst>
                </p:cNvPr>
                <p:cNvGrpSpPr/>
                <p:nvPr/>
              </p:nvGrpSpPr>
              <p:grpSpPr>
                <a:xfrm>
                  <a:off x="6036277" y="3676173"/>
                  <a:ext cx="75723" cy="75723"/>
                  <a:chOff x="6036277" y="3676173"/>
                  <a:chExt cx="75723" cy="75723"/>
                </a:xfrm>
              </p:grpSpPr>
              <p:sp>
                <p:nvSpPr>
                  <p:cNvPr id="5886" name="Freeform: Shape 5885">
                    <a:extLst>
                      <a:ext uri="{FF2B5EF4-FFF2-40B4-BE49-F238E27FC236}">
                        <a16:creationId xmlns:a16="http://schemas.microsoft.com/office/drawing/2014/main" id="{F72D9A59-6CB2-32F3-3957-D53ECEBB02CF}"/>
                      </a:ext>
                    </a:extLst>
                  </p:cNvPr>
                  <p:cNvSpPr/>
                  <p:nvPr/>
                </p:nvSpPr>
                <p:spPr>
                  <a:xfrm>
                    <a:off x="6074187"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87" name="Freeform: Shape 5886">
                    <a:extLst>
                      <a:ext uri="{FF2B5EF4-FFF2-40B4-BE49-F238E27FC236}">
                        <a16:creationId xmlns:a16="http://schemas.microsoft.com/office/drawing/2014/main" id="{8F5C84C0-816C-C171-C7A7-24E184954EAC}"/>
                      </a:ext>
                    </a:extLst>
                  </p:cNvPr>
                  <p:cNvSpPr/>
                  <p:nvPr/>
                </p:nvSpPr>
                <p:spPr>
                  <a:xfrm>
                    <a:off x="6036277"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3" name="Graphic 2080">
                  <a:extLst>
                    <a:ext uri="{FF2B5EF4-FFF2-40B4-BE49-F238E27FC236}">
                      <a16:creationId xmlns:a16="http://schemas.microsoft.com/office/drawing/2014/main" id="{5C5D9604-931B-AF18-E90A-5DDA26CB0537}"/>
                    </a:ext>
                  </a:extLst>
                </p:cNvPr>
                <p:cNvGrpSpPr/>
                <p:nvPr/>
              </p:nvGrpSpPr>
              <p:grpSpPr>
                <a:xfrm>
                  <a:off x="6023514" y="3676173"/>
                  <a:ext cx="75723" cy="75723"/>
                  <a:chOff x="6023514" y="3676173"/>
                  <a:chExt cx="75723" cy="75723"/>
                </a:xfrm>
              </p:grpSpPr>
              <p:sp>
                <p:nvSpPr>
                  <p:cNvPr id="5884" name="Freeform: Shape 5883">
                    <a:extLst>
                      <a:ext uri="{FF2B5EF4-FFF2-40B4-BE49-F238E27FC236}">
                        <a16:creationId xmlns:a16="http://schemas.microsoft.com/office/drawing/2014/main" id="{B62C34E2-E4E7-E5AB-70B2-CB1C9B2F8997}"/>
                      </a:ext>
                    </a:extLst>
                  </p:cNvPr>
                  <p:cNvSpPr/>
                  <p:nvPr/>
                </p:nvSpPr>
                <p:spPr>
                  <a:xfrm>
                    <a:off x="6061423" y="3676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85" name="Freeform: Shape 5884">
                    <a:extLst>
                      <a:ext uri="{FF2B5EF4-FFF2-40B4-BE49-F238E27FC236}">
                        <a16:creationId xmlns:a16="http://schemas.microsoft.com/office/drawing/2014/main" id="{1B2A49E0-3A28-34DB-858B-4E0EF0CD472D}"/>
                      </a:ext>
                    </a:extLst>
                  </p:cNvPr>
                  <p:cNvSpPr/>
                  <p:nvPr/>
                </p:nvSpPr>
                <p:spPr>
                  <a:xfrm>
                    <a:off x="6023514" y="37139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4" name="Graphic 2080">
                  <a:extLst>
                    <a:ext uri="{FF2B5EF4-FFF2-40B4-BE49-F238E27FC236}">
                      <a16:creationId xmlns:a16="http://schemas.microsoft.com/office/drawing/2014/main" id="{4D994DCD-3458-15E1-0693-2CC02AB57AA9}"/>
                    </a:ext>
                  </a:extLst>
                </p:cNvPr>
                <p:cNvGrpSpPr/>
                <p:nvPr/>
              </p:nvGrpSpPr>
              <p:grpSpPr>
                <a:xfrm>
                  <a:off x="5964364" y="3666743"/>
                  <a:ext cx="75723" cy="75723"/>
                  <a:chOff x="5964364" y="3666743"/>
                  <a:chExt cx="75723" cy="75723"/>
                </a:xfrm>
              </p:grpSpPr>
              <p:sp>
                <p:nvSpPr>
                  <p:cNvPr id="5882" name="Freeform: Shape 5881">
                    <a:extLst>
                      <a:ext uri="{FF2B5EF4-FFF2-40B4-BE49-F238E27FC236}">
                        <a16:creationId xmlns:a16="http://schemas.microsoft.com/office/drawing/2014/main" id="{D5477FC5-93BF-036A-8101-D3B9AFD02FD8}"/>
                      </a:ext>
                    </a:extLst>
                  </p:cNvPr>
                  <p:cNvSpPr/>
                  <p:nvPr/>
                </p:nvSpPr>
                <p:spPr>
                  <a:xfrm>
                    <a:off x="6002178"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83" name="Freeform: Shape 5882">
                    <a:extLst>
                      <a:ext uri="{FF2B5EF4-FFF2-40B4-BE49-F238E27FC236}">
                        <a16:creationId xmlns:a16="http://schemas.microsoft.com/office/drawing/2014/main" id="{E56BB4B3-A465-CB5D-6F36-CE1BC9CB01CA}"/>
                      </a:ext>
                    </a:extLst>
                  </p:cNvPr>
                  <p:cNvSpPr/>
                  <p:nvPr/>
                </p:nvSpPr>
                <p:spPr>
                  <a:xfrm>
                    <a:off x="5964364"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5" name="Graphic 2080">
                  <a:extLst>
                    <a:ext uri="{FF2B5EF4-FFF2-40B4-BE49-F238E27FC236}">
                      <a16:creationId xmlns:a16="http://schemas.microsoft.com/office/drawing/2014/main" id="{24054779-10F6-5519-6C8E-073D44151B4C}"/>
                    </a:ext>
                  </a:extLst>
                </p:cNvPr>
                <p:cNvGrpSpPr/>
                <p:nvPr/>
              </p:nvGrpSpPr>
              <p:grpSpPr>
                <a:xfrm>
                  <a:off x="5944933" y="3666743"/>
                  <a:ext cx="75723" cy="75723"/>
                  <a:chOff x="5944933" y="3666743"/>
                  <a:chExt cx="75723" cy="75723"/>
                </a:xfrm>
              </p:grpSpPr>
              <p:sp>
                <p:nvSpPr>
                  <p:cNvPr id="5880" name="Freeform: Shape 5879">
                    <a:extLst>
                      <a:ext uri="{FF2B5EF4-FFF2-40B4-BE49-F238E27FC236}">
                        <a16:creationId xmlns:a16="http://schemas.microsoft.com/office/drawing/2014/main" id="{F602E844-05CE-4E03-D7BA-6E5B312BD6B5}"/>
                      </a:ext>
                    </a:extLst>
                  </p:cNvPr>
                  <p:cNvSpPr/>
                  <p:nvPr/>
                </p:nvSpPr>
                <p:spPr>
                  <a:xfrm>
                    <a:off x="5982747" y="366674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81" name="Freeform: Shape 5880">
                    <a:extLst>
                      <a:ext uri="{FF2B5EF4-FFF2-40B4-BE49-F238E27FC236}">
                        <a16:creationId xmlns:a16="http://schemas.microsoft.com/office/drawing/2014/main" id="{29A1E7AA-B0F8-7F0E-8EAF-ECEF9511B827}"/>
                      </a:ext>
                    </a:extLst>
                  </p:cNvPr>
                  <p:cNvSpPr/>
                  <p:nvPr/>
                </p:nvSpPr>
                <p:spPr>
                  <a:xfrm>
                    <a:off x="5944933" y="370455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6" name="Graphic 2080">
                  <a:extLst>
                    <a:ext uri="{FF2B5EF4-FFF2-40B4-BE49-F238E27FC236}">
                      <a16:creationId xmlns:a16="http://schemas.microsoft.com/office/drawing/2014/main" id="{7B4B69C5-18E2-7FFA-BB99-0644DBB9B88F}"/>
                    </a:ext>
                  </a:extLst>
                </p:cNvPr>
                <p:cNvGrpSpPr/>
                <p:nvPr/>
              </p:nvGrpSpPr>
              <p:grpSpPr>
                <a:xfrm>
                  <a:off x="5909309" y="3631596"/>
                  <a:ext cx="75723" cy="75723"/>
                  <a:chOff x="5909309" y="3631596"/>
                  <a:chExt cx="75723" cy="75723"/>
                </a:xfrm>
              </p:grpSpPr>
              <p:sp>
                <p:nvSpPr>
                  <p:cNvPr id="5878" name="Freeform: Shape 5877">
                    <a:extLst>
                      <a:ext uri="{FF2B5EF4-FFF2-40B4-BE49-F238E27FC236}">
                        <a16:creationId xmlns:a16="http://schemas.microsoft.com/office/drawing/2014/main" id="{A6C08EB8-2B66-B492-176D-0AE6E3002A91}"/>
                      </a:ext>
                    </a:extLst>
                  </p:cNvPr>
                  <p:cNvSpPr/>
                  <p:nvPr/>
                </p:nvSpPr>
                <p:spPr>
                  <a:xfrm>
                    <a:off x="5947219"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79" name="Freeform: Shape 5878">
                    <a:extLst>
                      <a:ext uri="{FF2B5EF4-FFF2-40B4-BE49-F238E27FC236}">
                        <a16:creationId xmlns:a16="http://schemas.microsoft.com/office/drawing/2014/main" id="{CF103741-30E5-3727-09B8-DF2776D41CB4}"/>
                      </a:ext>
                    </a:extLst>
                  </p:cNvPr>
                  <p:cNvSpPr/>
                  <p:nvPr/>
                </p:nvSpPr>
                <p:spPr>
                  <a:xfrm>
                    <a:off x="5909309" y="36695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7" name="Graphic 2080">
                  <a:extLst>
                    <a:ext uri="{FF2B5EF4-FFF2-40B4-BE49-F238E27FC236}">
                      <a16:creationId xmlns:a16="http://schemas.microsoft.com/office/drawing/2014/main" id="{612F5E07-D80B-8978-E751-3419591644EF}"/>
                    </a:ext>
                  </a:extLst>
                </p:cNvPr>
                <p:cNvGrpSpPr/>
                <p:nvPr/>
              </p:nvGrpSpPr>
              <p:grpSpPr>
                <a:xfrm>
                  <a:off x="5876257" y="3631596"/>
                  <a:ext cx="75628" cy="75723"/>
                  <a:chOff x="5876257" y="3631596"/>
                  <a:chExt cx="75628" cy="75723"/>
                </a:xfrm>
              </p:grpSpPr>
              <p:sp>
                <p:nvSpPr>
                  <p:cNvPr id="5876" name="Freeform: Shape 5875">
                    <a:extLst>
                      <a:ext uri="{FF2B5EF4-FFF2-40B4-BE49-F238E27FC236}">
                        <a16:creationId xmlns:a16="http://schemas.microsoft.com/office/drawing/2014/main" id="{88BFCE8C-6EA5-ADC8-33D6-1EEF84E1F14E}"/>
                      </a:ext>
                    </a:extLst>
                  </p:cNvPr>
                  <p:cNvSpPr/>
                  <p:nvPr/>
                </p:nvSpPr>
                <p:spPr>
                  <a:xfrm>
                    <a:off x="5914072" y="363159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77" name="Freeform: Shape 5876">
                    <a:extLst>
                      <a:ext uri="{FF2B5EF4-FFF2-40B4-BE49-F238E27FC236}">
                        <a16:creationId xmlns:a16="http://schemas.microsoft.com/office/drawing/2014/main" id="{710C1DE6-CAD3-B42A-613A-1ED57F3C8710}"/>
                      </a:ext>
                    </a:extLst>
                  </p:cNvPr>
                  <p:cNvSpPr/>
                  <p:nvPr/>
                </p:nvSpPr>
                <p:spPr>
                  <a:xfrm>
                    <a:off x="5876257" y="366950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8" name="Graphic 2080">
                  <a:extLst>
                    <a:ext uri="{FF2B5EF4-FFF2-40B4-BE49-F238E27FC236}">
                      <a16:creationId xmlns:a16="http://schemas.microsoft.com/office/drawing/2014/main" id="{24478301-FB34-69B7-150E-14571B019A05}"/>
                    </a:ext>
                  </a:extLst>
                </p:cNvPr>
                <p:cNvGrpSpPr/>
                <p:nvPr/>
              </p:nvGrpSpPr>
              <p:grpSpPr>
                <a:xfrm>
                  <a:off x="5857588" y="3594639"/>
                  <a:ext cx="75628" cy="75723"/>
                  <a:chOff x="5857588" y="3594639"/>
                  <a:chExt cx="75628" cy="75723"/>
                </a:xfrm>
              </p:grpSpPr>
              <p:sp>
                <p:nvSpPr>
                  <p:cNvPr id="5874" name="Freeform: Shape 5873">
                    <a:extLst>
                      <a:ext uri="{FF2B5EF4-FFF2-40B4-BE49-F238E27FC236}">
                        <a16:creationId xmlns:a16="http://schemas.microsoft.com/office/drawing/2014/main" id="{9FC6781E-3690-6F67-0F20-07D99C730C1D}"/>
                      </a:ext>
                    </a:extLst>
                  </p:cNvPr>
                  <p:cNvSpPr/>
                  <p:nvPr/>
                </p:nvSpPr>
                <p:spPr>
                  <a:xfrm>
                    <a:off x="5895403"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75" name="Freeform: Shape 5874">
                    <a:extLst>
                      <a:ext uri="{FF2B5EF4-FFF2-40B4-BE49-F238E27FC236}">
                        <a16:creationId xmlns:a16="http://schemas.microsoft.com/office/drawing/2014/main" id="{1AE21A78-F16E-23D6-D8EF-9EC16BD3414A}"/>
                      </a:ext>
                    </a:extLst>
                  </p:cNvPr>
                  <p:cNvSpPr/>
                  <p:nvPr/>
                </p:nvSpPr>
                <p:spPr>
                  <a:xfrm>
                    <a:off x="5857588" y="3632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69" name="Graphic 2080">
                  <a:extLst>
                    <a:ext uri="{FF2B5EF4-FFF2-40B4-BE49-F238E27FC236}">
                      <a16:creationId xmlns:a16="http://schemas.microsoft.com/office/drawing/2014/main" id="{DE4E0A15-674A-5A23-9436-7F0280B7A45E}"/>
                    </a:ext>
                  </a:extLst>
                </p:cNvPr>
                <p:cNvGrpSpPr/>
                <p:nvPr/>
              </p:nvGrpSpPr>
              <p:grpSpPr>
                <a:xfrm>
                  <a:off x="5845682" y="3594639"/>
                  <a:ext cx="75723" cy="75723"/>
                  <a:chOff x="5845682" y="3594639"/>
                  <a:chExt cx="75723" cy="75723"/>
                </a:xfrm>
              </p:grpSpPr>
              <p:sp>
                <p:nvSpPr>
                  <p:cNvPr id="5872" name="Freeform: Shape 5871">
                    <a:extLst>
                      <a:ext uri="{FF2B5EF4-FFF2-40B4-BE49-F238E27FC236}">
                        <a16:creationId xmlns:a16="http://schemas.microsoft.com/office/drawing/2014/main" id="{6C4706E3-A9BC-5234-9C88-70A5EE2E7F42}"/>
                      </a:ext>
                    </a:extLst>
                  </p:cNvPr>
                  <p:cNvSpPr/>
                  <p:nvPr/>
                </p:nvSpPr>
                <p:spPr>
                  <a:xfrm>
                    <a:off x="5883592"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73" name="Freeform: Shape 5872">
                    <a:extLst>
                      <a:ext uri="{FF2B5EF4-FFF2-40B4-BE49-F238E27FC236}">
                        <a16:creationId xmlns:a16="http://schemas.microsoft.com/office/drawing/2014/main" id="{4BD6E224-49FC-200B-93B9-FEA20C17D83A}"/>
                      </a:ext>
                    </a:extLst>
                  </p:cNvPr>
                  <p:cNvSpPr/>
                  <p:nvPr/>
                </p:nvSpPr>
                <p:spPr>
                  <a:xfrm>
                    <a:off x="5845682" y="3632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0" name="Graphic 2080">
                  <a:extLst>
                    <a:ext uri="{FF2B5EF4-FFF2-40B4-BE49-F238E27FC236}">
                      <a16:creationId xmlns:a16="http://schemas.microsoft.com/office/drawing/2014/main" id="{E847341F-5439-E65D-4801-057E92A92E00}"/>
                    </a:ext>
                  </a:extLst>
                </p:cNvPr>
                <p:cNvGrpSpPr/>
                <p:nvPr/>
              </p:nvGrpSpPr>
              <p:grpSpPr>
                <a:xfrm>
                  <a:off x="5795295" y="3594639"/>
                  <a:ext cx="75628" cy="75723"/>
                  <a:chOff x="5795295" y="3594639"/>
                  <a:chExt cx="75628" cy="75723"/>
                </a:xfrm>
              </p:grpSpPr>
              <p:sp>
                <p:nvSpPr>
                  <p:cNvPr id="5870" name="Freeform: Shape 5869">
                    <a:extLst>
                      <a:ext uri="{FF2B5EF4-FFF2-40B4-BE49-F238E27FC236}">
                        <a16:creationId xmlns:a16="http://schemas.microsoft.com/office/drawing/2014/main" id="{55A0D318-2319-2EE7-473A-C628A1032913}"/>
                      </a:ext>
                    </a:extLst>
                  </p:cNvPr>
                  <p:cNvSpPr/>
                  <p:nvPr/>
                </p:nvSpPr>
                <p:spPr>
                  <a:xfrm>
                    <a:off x="5833109" y="35946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71" name="Freeform: Shape 5870">
                    <a:extLst>
                      <a:ext uri="{FF2B5EF4-FFF2-40B4-BE49-F238E27FC236}">
                        <a16:creationId xmlns:a16="http://schemas.microsoft.com/office/drawing/2014/main" id="{22BDC109-07E9-0D33-FD3B-7C61AC02FAF2}"/>
                      </a:ext>
                    </a:extLst>
                  </p:cNvPr>
                  <p:cNvSpPr/>
                  <p:nvPr/>
                </p:nvSpPr>
                <p:spPr>
                  <a:xfrm>
                    <a:off x="5795295" y="3632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1" name="Graphic 2080">
                  <a:extLst>
                    <a:ext uri="{FF2B5EF4-FFF2-40B4-BE49-F238E27FC236}">
                      <a16:creationId xmlns:a16="http://schemas.microsoft.com/office/drawing/2014/main" id="{0BE24A8C-4B1B-890D-51EF-473B3722E4C0}"/>
                    </a:ext>
                  </a:extLst>
                </p:cNvPr>
                <p:cNvGrpSpPr/>
                <p:nvPr/>
              </p:nvGrpSpPr>
              <p:grpSpPr>
                <a:xfrm>
                  <a:off x="5781865" y="3579304"/>
                  <a:ext cx="75723" cy="75628"/>
                  <a:chOff x="5781865" y="3579304"/>
                  <a:chExt cx="75723" cy="75628"/>
                </a:xfrm>
              </p:grpSpPr>
              <p:sp>
                <p:nvSpPr>
                  <p:cNvPr id="5868" name="Freeform: Shape 5867">
                    <a:extLst>
                      <a:ext uri="{FF2B5EF4-FFF2-40B4-BE49-F238E27FC236}">
                        <a16:creationId xmlns:a16="http://schemas.microsoft.com/office/drawing/2014/main" id="{58BF8148-66D5-A52B-D149-3D5DE40470E6}"/>
                      </a:ext>
                    </a:extLst>
                  </p:cNvPr>
                  <p:cNvSpPr/>
                  <p:nvPr/>
                </p:nvSpPr>
                <p:spPr>
                  <a:xfrm>
                    <a:off x="5819679" y="357930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69" name="Freeform: Shape 5868">
                    <a:extLst>
                      <a:ext uri="{FF2B5EF4-FFF2-40B4-BE49-F238E27FC236}">
                        <a16:creationId xmlns:a16="http://schemas.microsoft.com/office/drawing/2014/main" id="{1C6CDD0D-2925-AE2F-A4EC-6CE8DF48F512}"/>
                      </a:ext>
                    </a:extLst>
                  </p:cNvPr>
                  <p:cNvSpPr/>
                  <p:nvPr/>
                </p:nvSpPr>
                <p:spPr>
                  <a:xfrm>
                    <a:off x="5781865" y="361711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2" name="Graphic 2080">
                  <a:extLst>
                    <a:ext uri="{FF2B5EF4-FFF2-40B4-BE49-F238E27FC236}">
                      <a16:creationId xmlns:a16="http://schemas.microsoft.com/office/drawing/2014/main" id="{5E3E2D82-258C-D465-51AA-1CBDDFE472D1}"/>
                    </a:ext>
                  </a:extLst>
                </p:cNvPr>
                <p:cNvGrpSpPr/>
                <p:nvPr/>
              </p:nvGrpSpPr>
              <p:grpSpPr>
                <a:xfrm>
                  <a:off x="5764053" y="3571207"/>
                  <a:ext cx="75723" cy="75628"/>
                  <a:chOff x="5764053" y="3571207"/>
                  <a:chExt cx="75723" cy="75628"/>
                </a:xfrm>
              </p:grpSpPr>
              <p:sp>
                <p:nvSpPr>
                  <p:cNvPr id="5866" name="Freeform: Shape 5865">
                    <a:extLst>
                      <a:ext uri="{FF2B5EF4-FFF2-40B4-BE49-F238E27FC236}">
                        <a16:creationId xmlns:a16="http://schemas.microsoft.com/office/drawing/2014/main" id="{318F7ECF-8638-8D10-38DA-39DC9595EAD1}"/>
                      </a:ext>
                    </a:extLst>
                  </p:cNvPr>
                  <p:cNvSpPr/>
                  <p:nvPr/>
                </p:nvSpPr>
                <p:spPr>
                  <a:xfrm>
                    <a:off x="5801867" y="357120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67" name="Freeform: Shape 5866">
                    <a:extLst>
                      <a:ext uri="{FF2B5EF4-FFF2-40B4-BE49-F238E27FC236}">
                        <a16:creationId xmlns:a16="http://schemas.microsoft.com/office/drawing/2014/main" id="{EDF97D65-B3D7-4F69-91C4-D7FCA2C5FDD7}"/>
                      </a:ext>
                    </a:extLst>
                  </p:cNvPr>
                  <p:cNvSpPr/>
                  <p:nvPr/>
                </p:nvSpPr>
                <p:spPr>
                  <a:xfrm>
                    <a:off x="5764053" y="36090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3" name="Graphic 2080">
                  <a:extLst>
                    <a:ext uri="{FF2B5EF4-FFF2-40B4-BE49-F238E27FC236}">
                      <a16:creationId xmlns:a16="http://schemas.microsoft.com/office/drawing/2014/main" id="{DF70B8B9-AD8B-F806-44D2-2BFCE87E2B1F}"/>
                    </a:ext>
                  </a:extLst>
                </p:cNvPr>
                <p:cNvGrpSpPr/>
                <p:nvPr/>
              </p:nvGrpSpPr>
              <p:grpSpPr>
                <a:xfrm>
                  <a:off x="5731573" y="3555967"/>
                  <a:ext cx="75723" cy="75628"/>
                  <a:chOff x="5731573" y="3555967"/>
                  <a:chExt cx="75723" cy="75628"/>
                </a:xfrm>
              </p:grpSpPr>
              <p:sp>
                <p:nvSpPr>
                  <p:cNvPr id="5864" name="Freeform: Shape 5863">
                    <a:extLst>
                      <a:ext uri="{FF2B5EF4-FFF2-40B4-BE49-F238E27FC236}">
                        <a16:creationId xmlns:a16="http://schemas.microsoft.com/office/drawing/2014/main" id="{38024C2A-F36C-59D1-917E-DA6A76DF7778}"/>
                      </a:ext>
                    </a:extLst>
                  </p:cNvPr>
                  <p:cNvSpPr/>
                  <p:nvPr/>
                </p:nvSpPr>
                <p:spPr>
                  <a:xfrm>
                    <a:off x="5769482" y="3555967"/>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65" name="Freeform: Shape 5864">
                    <a:extLst>
                      <a:ext uri="{FF2B5EF4-FFF2-40B4-BE49-F238E27FC236}">
                        <a16:creationId xmlns:a16="http://schemas.microsoft.com/office/drawing/2014/main" id="{E97D6A19-3601-3FF7-676D-D24628E540A2}"/>
                      </a:ext>
                    </a:extLst>
                  </p:cNvPr>
                  <p:cNvSpPr/>
                  <p:nvPr/>
                </p:nvSpPr>
                <p:spPr>
                  <a:xfrm>
                    <a:off x="5731573" y="35937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4" name="Graphic 2080">
                  <a:extLst>
                    <a:ext uri="{FF2B5EF4-FFF2-40B4-BE49-F238E27FC236}">
                      <a16:creationId xmlns:a16="http://schemas.microsoft.com/office/drawing/2014/main" id="{3D149600-94B3-1CE4-CD7B-DF50D0D6E28C}"/>
                    </a:ext>
                  </a:extLst>
                </p:cNvPr>
                <p:cNvGrpSpPr/>
                <p:nvPr/>
              </p:nvGrpSpPr>
              <p:grpSpPr>
                <a:xfrm>
                  <a:off x="5706141" y="3544633"/>
                  <a:ext cx="75723" cy="75628"/>
                  <a:chOff x="5706141" y="3544633"/>
                  <a:chExt cx="75723" cy="75628"/>
                </a:xfrm>
              </p:grpSpPr>
              <p:sp>
                <p:nvSpPr>
                  <p:cNvPr id="5862" name="Freeform: Shape 5861">
                    <a:extLst>
                      <a:ext uri="{FF2B5EF4-FFF2-40B4-BE49-F238E27FC236}">
                        <a16:creationId xmlns:a16="http://schemas.microsoft.com/office/drawing/2014/main" id="{9CB8F4ED-6AC4-DA3E-A209-D1EB42C9969B}"/>
                      </a:ext>
                    </a:extLst>
                  </p:cNvPr>
                  <p:cNvSpPr/>
                  <p:nvPr/>
                </p:nvSpPr>
                <p:spPr>
                  <a:xfrm>
                    <a:off x="5744050" y="354463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63" name="Freeform: Shape 5862">
                    <a:extLst>
                      <a:ext uri="{FF2B5EF4-FFF2-40B4-BE49-F238E27FC236}">
                        <a16:creationId xmlns:a16="http://schemas.microsoft.com/office/drawing/2014/main" id="{1C97C52C-5DF1-47C8-2AF7-5AE9ED48CFC7}"/>
                      </a:ext>
                    </a:extLst>
                  </p:cNvPr>
                  <p:cNvSpPr/>
                  <p:nvPr/>
                </p:nvSpPr>
                <p:spPr>
                  <a:xfrm>
                    <a:off x="5706141" y="35824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5" name="Graphic 2080">
                  <a:extLst>
                    <a:ext uri="{FF2B5EF4-FFF2-40B4-BE49-F238E27FC236}">
                      <a16:creationId xmlns:a16="http://schemas.microsoft.com/office/drawing/2014/main" id="{F768A7D1-21B2-AADC-6851-336FD5D149ED}"/>
                    </a:ext>
                  </a:extLst>
                </p:cNvPr>
                <p:cNvGrpSpPr/>
                <p:nvPr/>
              </p:nvGrpSpPr>
              <p:grpSpPr>
                <a:xfrm>
                  <a:off x="5678899" y="3535298"/>
                  <a:ext cx="75723" cy="75628"/>
                  <a:chOff x="5678899" y="3535298"/>
                  <a:chExt cx="75723" cy="75628"/>
                </a:xfrm>
              </p:grpSpPr>
              <p:sp>
                <p:nvSpPr>
                  <p:cNvPr id="5860" name="Freeform: Shape 5859">
                    <a:extLst>
                      <a:ext uri="{FF2B5EF4-FFF2-40B4-BE49-F238E27FC236}">
                        <a16:creationId xmlns:a16="http://schemas.microsoft.com/office/drawing/2014/main" id="{7D8AA50B-10C1-41EC-6636-A619E005D02A}"/>
                      </a:ext>
                    </a:extLst>
                  </p:cNvPr>
                  <p:cNvSpPr/>
                  <p:nvPr/>
                </p:nvSpPr>
                <p:spPr>
                  <a:xfrm>
                    <a:off x="5716809" y="353529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61" name="Freeform: Shape 5860">
                    <a:extLst>
                      <a:ext uri="{FF2B5EF4-FFF2-40B4-BE49-F238E27FC236}">
                        <a16:creationId xmlns:a16="http://schemas.microsoft.com/office/drawing/2014/main" id="{E0C4A5EC-DA71-3148-571E-8874C5625E0B}"/>
                      </a:ext>
                    </a:extLst>
                  </p:cNvPr>
                  <p:cNvSpPr/>
                  <p:nvPr/>
                </p:nvSpPr>
                <p:spPr>
                  <a:xfrm>
                    <a:off x="5678899" y="35731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6" name="Graphic 2080">
                  <a:extLst>
                    <a:ext uri="{FF2B5EF4-FFF2-40B4-BE49-F238E27FC236}">
                      <a16:creationId xmlns:a16="http://schemas.microsoft.com/office/drawing/2014/main" id="{0813C9AC-931B-707B-BBDA-244F9CE6C3EE}"/>
                    </a:ext>
                  </a:extLst>
                </p:cNvPr>
                <p:cNvGrpSpPr/>
                <p:nvPr/>
              </p:nvGrpSpPr>
              <p:grpSpPr>
                <a:xfrm>
                  <a:off x="5644895" y="3506723"/>
                  <a:ext cx="75723" cy="75723"/>
                  <a:chOff x="5644895" y="3506723"/>
                  <a:chExt cx="75723" cy="75723"/>
                </a:xfrm>
              </p:grpSpPr>
              <p:sp>
                <p:nvSpPr>
                  <p:cNvPr id="5858" name="Freeform: Shape 5857">
                    <a:extLst>
                      <a:ext uri="{FF2B5EF4-FFF2-40B4-BE49-F238E27FC236}">
                        <a16:creationId xmlns:a16="http://schemas.microsoft.com/office/drawing/2014/main" id="{F5EAF525-4898-0980-C71F-4053837BCAA9}"/>
                      </a:ext>
                    </a:extLst>
                  </p:cNvPr>
                  <p:cNvSpPr/>
                  <p:nvPr/>
                </p:nvSpPr>
                <p:spPr>
                  <a:xfrm>
                    <a:off x="5682709" y="35067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59" name="Freeform: Shape 5858">
                    <a:extLst>
                      <a:ext uri="{FF2B5EF4-FFF2-40B4-BE49-F238E27FC236}">
                        <a16:creationId xmlns:a16="http://schemas.microsoft.com/office/drawing/2014/main" id="{EA5E8503-DC0A-C8D2-8A50-8F9B34845025}"/>
                      </a:ext>
                    </a:extLst>
                  </p:cNvPr>
                  <p:cNvSpPr/>
                  <p:nvPr/>
                </p:nvSpPr>
                <p:spPr>
                  <a:xfrm>
                    <a:off x="5644895" y="35446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7" name="Graphic 2080">
                  <a:extLst>
                    <a:ext uri="{FF2B5EF4-FFF2-40B4-BE49-F238E27FC236}">
                      <a16:creationId xmlns:a16="http://schemas.microsoft.com/office/drawing/2014/main" id="{56C39515-3057-23D6-8066-8A4A25E113A2}"/>
                    </a:ext>
                  </a:extLst>
                </p:cNvPr>
                <p:cNvGrpSpPr/>
                <p:nvPr/>
              </p:nvGrpSpPr>
              <p:grpSpPr>
                <a:xfrm>
                  <a:off x="5614034" y="3492531"/>
                  <a:ext cx="75723" cy="75723"/>
                  <a:chOff x="5614034" y="3492531"/>
                  <a:chExt cx="75723" cy="75723"/>
                </a:xfrm>
              </p:grpSpPr>
              <p:sp>
                <p:nvSpPr>
                  <p:cNvPr id="5856" name="Freeform: Shape 5855">
                    <a:extLst>
                      <a:ext uri="{FF2B5EF4-FFF2-40B4-BE49-F238E27FC236}">
                        <a16:creationId xmlns:a16="http://schemas.microsoft.com/office/drawing/2014/main" id="{9995AA60-91CB-95A6-8047-CACE0DFCC1BF}"/>
                      </a:ext>
                    </a:extLst>
                  </p:cNvPr>
                  <p:cNvSpPr/>
                  <p:nvPr/>
                </p:nvSpPr>
                <p:spPr>
                  <a:xfrm>
                    <a:off x="565194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57" name="Freeform: Shape 5856">
                    <a:extLst>
                      <a:ext uri="{FF2B5EF4-FFF2-40B4-BE49-F238E27FC236}">
                        <a16:creationId xmlns:a16="http://schemas.microsoft.com/office/drawing/2014/main" id="{58AA6686-5FB5-27CC-0435-8433B7B3A08B}"/>
                      </a:ext>
                    </a:extLst>
                  </p:cNvPr>
                  <p:cNvSpPr/>
                  <p:nvPr/>
                </p:nvSpPr>
                <p:spPr>
                  <a:xfrm>
                    <a:off x="561403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8" name="Graphic 2080">
                  <a:extLst>
                    <a:ext uri="{FF2B5EF4-FFF2-40B4-BE49-F238E27FC236}">
                      <a16:creationId xmlns:a16="http://schemas.microsoft.com/office/drawing/2014/main" id="{77322D58-E3CA-C9CF-F70A-0D3A68E8DF90}"/>
                    </a:ext>
                  </a:extLst>
                </p:cNvPr>
                <p:cNvGrpSpPr/>
                <p:nvPr/>
              </p:nvGrpSpPr>
              <p:grpSpPr>
                <a:xfrm>
                  <a:off x="5576220" y="3492531"/>
                  <a:ext cx="75723" cy="75723"/>
                  <a:chOff x="5576220" y="3492531"/>
                  <a:chExt cx="75723" cy="75723"/>
                </a:xfrm>
              </p:grpSpPr>
              <p:sp>
                <p:nvSpPr>
                  <p:cNvPr id="5854" name="Freeform: Shape 5853">
                    <a:extLst>
                      <a:ext uri="{FF2B5EF4-FFF2-40B4-BE49-F238E27FC236}">
                        <a16:creationId xmlns:a16="http://schemas.microsoft.com/office/drawing/2014/main" id="{8FDB13F8-46F5-E65D-3E40-B9BFB9BC015F}"/>
                      </a:ext>
                    </a:extLst>
                  </p:cNvPr>
                  <p:cNvSpPr/>
                  <p:nvPr/>
                </p:nvSpPr>
                <p:spPr>
                  <a:xfrm>
                    <a:off x="5614034"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55" name="Freeform: Shape 5854">
                    <a:extLst>
                      <a:ext uri="{FF2B5EF4-FFF2-40B4-BE49-F238E27FC236}">
                        <a16:creationId xmlns:a16="http://schemas.microsoft.com/office/drawing/2014/main" id="{6849F9F6-8C32-61CD-222D-8770E8AEB6FF}"/>
                      </a:ext>
                    </a:extLst>
                  </p:cNvPr>
                  <p:cNvSpPr/>
                  <p:nvPr/>
                </p:nvSpPr>
                <p:spPr>
                  <a:xfrm>
                    <a:off x="5576220"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79" name="Graphic 2080">
                  <a:extLst>
                    <a:ext uri="{FF2B5EF4-FFF2-40B4-BE49-F238E27FC236}">
                      <a16:creationId xmlns:a16="http://schemas.microsoft.com/office/drawing/2014/main" id="{B8212DF0-4FB6-54DE-2D32-50A82F527D29}"/>
                    </a:ext>
                  </a:extLst>
                </p:cNvPr>
                <p:cNvGrpSpPr/>
                <p:nvPr/>
              </p:nvGrpSpPr>
              <p:grpSpPr>
                <a:xfrm>
                  <a:off x="5556503" y="3492531"/>
                  <a:ext cx="75723" cy="75723"/>
                  <a:chOff x="5556503" y="3492531"/>
                  <a:chExt cx="75723" cy="75723"/>
                </a:xfrm>
              </p:grpSpPr>
              <p:sp>
                <p:nvSpPr>
                  <p:cNvPr id="5852" name="Freeform: Shape 5851">
                    <a:extLst>
                      <a:ext uri="{FF2B5EF4-FFF2-40B4-BE49-F238E27FC236}">
                        <a16:creationId xmlns:a16="http://schemas.microsoft.com/office/drawing/2014/main" id="{50AB6E10-4E2B-0A07-7954-C48BA28DC0D7}"/>
                      </a:ext>
                    </a:extLst>
                  </p:cNvPr>
                  <p:cNvSpPr/>
                  <p:nvPr/>
                </p:nvSpPr>
                <p:spPr>
                  <a:xfrm>
                    <a:off x="5594413"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53" name="Freeform: Shape 5852">
                    <a:extLst>
                      <a:ext uri="{FF2B5EF4-FFF2-40B4-BE49-F238E27FC236}">
                        <a16:creationId xmlns:a16="http://schemas.microsoft.com/office/drawing/2014/main" id="{CAE77BEF-C82D-C2F9-0C0E-1FB6FFB7B074}"/>
                      </a:ext>
                    </a:extLst>
                  </p:cNvPr>
                  <p:cNvSpPr/>
                  <p:nvPr/>
                </p:nvSpPr>
                <p:spPr>
                  <a:xfrm>
                    <a:off x="5556503"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0" name="Graphic 2080">
                  <a:extLst>
                    <a:ext uri="{FF2B5EF4-FFF2-40B4-BE49-F238E27FC236}">
                      <a16:creationId xmlns:a16="http://schemas.microsoft.com/office/drawing/2014/main" id="{CA34FA7D-0EC2-F1AF-E9CE-46E85482EFBE}"/>
                    </a:ext>
                  </a:extLst>
                </p:cNvPr>
                <p:cNvGrpSpPr/>
                <p:nvPr/>
              </p:nvGrpSpPr>
              <p:grpSpPr>
                <a:xfrm>
                  <a:off x="5542311" y="3492531"/>
                  <a:ext cx="75723" cy="75723"/>
                  <a:chOff x="5542311" y="3492531"/>
                  <a:chExt cx="75723" cy="75723"/>
                </a:xfrm>
              </p:grpSpPr>
              <p:sp>
                <p:nvSpPr>
                  <p:cNvPr id="5850" name="Freeform: Shape 5849">
                    <a:extLst>
                      <a:ext uri="{FF2B5EF4-FFF2-40B4-BE49-F238E27FC236}">
                        <a16:creationId xmlns:a16="http://schemas.microsoft.com/office/drawing/2014/main" id="{D2C096AC-454D-046A-70A7-2CCCFF2F62B9}"/>
                      </a:ext>
                    </a:extLst>
                  </p:cNvPr>
                  <p:cNvSpPr/>
                  <p:nvPr/>
                </p:nvSpPr>
                <p:spPr>
                  <a:xfrm>
                    <a:off x="5580220"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51" name="Freeform: Shape 5850">
                    <a:extLst>
                      <a:ext uri="{FF2B5EF4-FFF2-40B4-BE49-F238E27FC236}">
                        <a16:creationId xmlns:a16="http://schemas.microsoft.com/office/drawing/2014/main" id="{8F56A319-BFF2-69E6-44F6-4CEDD1E1D294}"/>
                      </a:ext>
                    </a:extLst>
                  </p:cNvPr>
                  <p:cNvSpPr/>
                  <p:nvPr/>
                </p:nvSpPr>
                <p:spPr>
                  <a:xfrm>
                    <a:off x="5542311"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1" name="Graphic 2080">
                  <a:extLst>
                    <a:ext uri="{FF2B5EF4-FFF2-40B4-BE49-F238E27FC236}">
                      <a16:creationId xmlns:a16="http://schemas.microsoft.com/office/drawing/2014/main" id="{84E6794A-EAD2-BF11-146C-83B32585785B}"/>
                    </a:ext>
                  </a:extLst>
                </p:cNvPr>
                <p:cNvGrpSpPr/>
                <p:nvPr/>
              </p:nvGrpSpPr>
              <p:grpSpPr>
                <a:xfrm>
                  <a:off x="5532214" y="3492531"/>
                  <a:ext cx="75723" cy="75723"/>
                  <a:chOff x="5532214" y="3492531"/>
                  <a:chExt cx="75723" cy="75723"/>
                </a:xfrm>
              </p:grpSpPr>
              <p:sp>
                <p:nvSpPr>
                  <p:cNvPr id="5848" name="Freeform: Shape 5847">
                    <a:extLst>
                      <a:ext uri="{FF2B5EF4-FFF2-40B4-BE49-F238E27FC236}">
                        <a16:creationId xmlns:a16="http://schemas.microsoft.com/office/drawing/2014/main" id="{0C8E5E30-9AC8-E128-8D3B-C8E941DEE4A7}"/>
                      </a:ext>
                    </a:extLst>
                  </p:cNvPr>
                  <p:cNvSpPr/>
                  <p:nvPr/>
                </p:nvSpPr>
                <p:spPr>
                  <a:xfrm>
                    <a:off x="5570029" y="349253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49" name="Freeform: Shape 5848">
                    <a:extLst>
                      <a:ext uri="{FF2B5EF4-FFF2-40B4-BE49-F238E27FC236}">
                        <a16:creationId xmlns:a16="http://schemas.microsoft.com/office/drawing/2014/main" id="{5CFF69C3-66F2-C18B-A046-110A040FB841}"/>
                      </a:ext>
                    </a:extLst>
                  </p:cNvPr>
                  <p:cNvSpPr/>
                  <p:nvPr/>
                </p:nvSpPr>
                <p:spPr>
                  <a:xfrm>
                    <a:off x="5532214" y="35304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2" name="Graphic 2080">
                  <a:extLst>
                    <a:ext uri="{FF2B5EF4-FFF2-40B4-BE49-F238E27FC236}">
                      <a16:creationId xmlns:a16="http://schemas.microsoft.com/office/drawing/2014/main" id="{ED673E0B-D099-4236-D45D-70D052AE590C}"/>
                    </a:ext>
                  </a:extLst>
                </p:cNvPr>
                <p:cNvGrpSpPr/>
                <p:nvPr/>
              </p:nvGrpSpPr>
              <p:grpSpPr>
                <a:xfrm>
                  <a:off x="5483161" y="3475100"/>
                  <a:ext cx="75723" cy="75723"/>
                  <a:chOff x="5483161" y="3475100"/>
                  <a:chExt cx="75723" cy="75723"/>
                </a:xfrm>
              </p:grpSpPr>
              <p:sp>
                <p:nvSpPr>
                  <p:cNvPr id="5846" name="Freeform: Shape 5845">
                    <a:extLst>
                      <a:ext uri="{FF2B5EF4-FFF2-40B4-BE49-F238E27FC236}">
                        <a16:creationId xmlns:a16="http://schemas.microsoft.com/office/drawing/2014/main" id="{DB4179D9-CA05-A1C1-61ED-938B8B47660C}"/>
                      </a:ext>
                    </a:extLst>
                  </p:cNvPr>
                  <p:cNvSpPr/>
                  <p:nvPr/>
                </p:nvSpPr>
                <p:spPr>
                  <a:xfrm>
                    <a:off x="5520975"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47" name="Freeform: Shape 5846">
                    <a:extLst>
                      <a:ext uri="{FF2B5EF4-FFF2-40B4-BE49-F238E27FC236}">
                        <a16:creationId xmlns:a16="http://schemas.microsoft.com/office/drawing/2014/main" id="{6AD95BFC-9FBA-C835-B2B4-064273A8B99C}"/>
                      </a:ext>
                    </a:extLst>
                  </p:cNvPr>
                  <p:cNvSpPr/>
                  <p:nvPr/>
                </p:nvSpPr>
                <p:spPr>
                  <a:xfrm>
                    <a:off x="5483161"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3" name="Graphic 2080">
                  <a:extLst>
                    <a:ext uri="{FF2B5EF4-FFF2-40B4-BE49-F238E27FC236}">
                      <a16:creationId xmlns:a16="http://schemas.microsoft.com/office/drawing/2014/main" id="{B4B6AD4A-EC13-6867-BAE8-4027051DAE5A}"/>
                    </a:ext>
                  </a:extLst>
                </p:cNvPr>
                <p:cNvGrpSpPr/>
                <p:nvPr/>
              </p:nvGrpSpPr>
              <p:grpSpPr>
                <a:xfrm>
                  <a:off x="5513926" y="3475100"/>
                  <a:ext cx="75723" cy="75723"/>
                  <a:chOff x="5513926" y="3475100"/>
                  <a:chExt cx="75723" cy="75723"/>
                </a:xfrm>
              </p:grpSpPr>
              <p:sp>
                <p:nvSpPr>
                  <p:cNvPr id="5844" name="Freeform: Shape 5843">
                    <a:extLst>
                      <a:ext uri="{FF2B5EF4-FFF2-40B4-BE49-F238E27FC236}">
                        <a16:creationId xmlns:a16="http://schemas.microsoft.com/office/drawing/2014/main" id="{3407FAA6-8C26-ADD3-91D8-C417DE1E36B1}"/>
                      </a:ext>
                    </a:extLst>
                  </p:cNvPr>
                  <p:cNvSpPr/>
                  <p:nvPr/>
                </p:nvSpPr>
                <p:spPr>
                  <a:xfrm>
                    <a:off x="5551836"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45" name="Freeform: Shape 5844">
                    <a:extLst>
                      <a:ext uri="{FF2B5EF4-FFF2-40B4-BE49-F238E27FC236}">
                        <a16:creationId xmlns:a16="http://schemas.microsoft.com/office/drawing/2014/main" id="{B227ACFC-8D1D-1554-19EA-BD5158C6E437}"/>
                      </a:ext>
                    </a:extLst>
                  </p:cNvPr>
                  <p:cNvSpPr/>
                  <p:nvPr/>
                </p:nvSpPr>
                <p:spPr>
                  <a:xfrm>
                    <a:off x="5513926" y="351301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4" name="Graphic 2080">
                  <a:extLst>
                    <a:ext uri="{FF2B5EF4-FFF2-40B4-BE49-F238E27FC236}">
                      <a16:creationId xmlns:a16="http://schemas.microsoft.com/office/drawing/2014/main" id="{9AF74F22-EAE4-1A16-2B93-691D328C993B}"/>
                    </a:ext>
                  </a:extLst>
                </p:cNvPr>
                <p:cNvGrpSpPr/>
                <p:nvPr/>
              </p:nvGrpSpPr>
              <p:grpSpPr>
                <a:xfrm>
                  <a:off x="5494400" y="3475100"/>
                  <a:ext cx="75628" cy="75723"/>
                  <a:chOff x="5494400" y="3475100"/>
                  <a:chExt cx="75628" cy="75723"/>
                </a:xfrm>
              </p:grpSpPr>
              <p:sp>
                <p:nvSpPr>
                  <p:cNvPr id="5842" name="Freeform: Shape 5841">
                    <a:extLst>
                      <a:ext uri="{FF2B5EF4-FFF2-40B4-BE49-F238E27FC236}">
                        <a16:creationId xmlns:a16="http://schemas.microsoft.com/office/drawing/2014/main" id="{DC3734E5-42CD-2473-C741-D67F182104EF}"/>
                      </a:ext>
                    </a:extLst>
                  </p:cNvPr>
                  <p:cNvSpPr/>
                  <p:nvPr/>
                </p:nvSpPr>
                <p:spPr>
                  <a:xfrm>
                    <a:off x="5532214" y="347510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43" name="Freeform: Shape 5842">
                    <a:extLst>
                      <a:ext uri="{FF2B5EF4-FFF2-40B4-BE49-F238E27FC236}">
                        <a16:creationId xmlns:a16="http://schemas.microsoft.com/office/drawing/2014/main" id="{3221E80B-163A-D90B-202B-ADC1FAE6A847}"/>
                      </a:ext>
                    </a:extLst>
                  </p:cNvPr>
                  <p:cNvSpPr/>
                  <p:nvPr/>
                </p:nvSpPr>
                <p:spPr>
                  <a:xfrm>
                    <a:off x="5494400" y="351301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5" name="Graphic 2080">
                  <a:extLst>
                    <a:ext uri="{FF2B5EF4-FFF2-40B4-BE49-F238E27FC236}">
                      <a16:creationId xmlns:a16="http://schemas.microsoft.com/office/drawing/2014/main" id="{C5CC8458-A48F-DF36-903C-3F8846482E0E}"/>
                    </a:ext>
                  </a:extLst>
                </p:cNvPr>
                <p:cNvGrpSpPr/>
                <p:nvPr/>
              </p:nvGrpSpPr>
              <p:grpSpPr>
                <a:xfrm>
                  <a:off x="5407437" y="3445573"/>
                  <a:ext cx="75723" cy="75628"/>
                  <a:chOff x="5407437" y="3445573"/>
                  <a:chExt cx="75723" cy="75628"/>
                </a:xfrm>
              </p:grpSpPr>
              <p:sp>
                <p:nvSpPr>
                  <p:cNvPr id="5840" name="Freeform: Shape 5839">
                    <a:extLst>
                      <a:ext uri="{FF2B5EF4-FFF2-40B4-BE49-F238E27FC236}">
                        <a16:creationId xmlns:a16="http://schemas.microsoft.com/office/drawing/2014/main" id="{F24D4BFD-F89F-0ABE-ADB5-2BA61FB6DC58}"/>
                      </a:ext>
                    </a:extLst>
                  </p:cNvPr>
                  <p:cNvSpPr/>
                  <p:nvPr/>
                </p:nvSpPr>
                <p:spPr>
                  <a:xfrm>
                    <a:off x="5445346" y="3445573"/>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41" name="Freeform: Shape 5840">
                    <a:extLst>
                      <a:ext uri="{FF2B5EF4-FFF2-40B4-BE49-F238E27FC236}">
                        <a16:creationId xmlns:a16="http://schemas.microsoft.com/office/drawing/2014/main" id="{C7DEF201-46BF-69F6-7F45-6983F4B40123}"/>
                      </a:ext>
                    </a:extLst>
                  </p:cNvPr>
                  <p:cNvSpPr/>
                  <p:nvPr/>
                </p:nvSpPr>
                <p:spPr>
                  <a:xfrm>
                    <a:off x="5407437" y="3483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6" name="Graphic 2080">
                  <a:extLst>
                    <a:ext uri="{FF2B5EF4-FFF2-40B4-BE49-F238E27FC236}">
                      <a16:creationId xmlns:a16="http://schemas.microsoft.com/office/drawing/2014/main" id="{A279365A-E03B-2D5C-43B4-30A917237B36}"/>
                    </a:ext>
                  </a:extLst>
                </p:cNvPr>
                <p:cNvGrpSpPr/>
                <p:nvPr/>
              </p:nvGrpSpPr>
              <p:grpSpPr>
                <a:xfrm>
                  <a:off x="5347334" y="3416902"/>
                  <a:ext cx="75723" cy="75628"/>
                  <a:chOff x="5347334" y="3416902"/>
                  <a:chExt cx="75723" cy="75628"/>
                </a:xfrm>
              </p:grpSpPr>
              <p:sp>
                <p:nvSpPr>
                  <p:cNvPr id="5838" name="Freeform: Shape 5837">
                    <a:extLst>
                      <a:ext uri="{FF2B5EF4-FFF2-40B4-BE49-F238E27FC236}">
                        <a16:creationId xmlns:a16="http://schemas.microsoft.com/office/drawing/2014/main" id="{F8916EA9-D924-C1A8-8B85-606B6683F440}"/>
                      </a:ext>
                    </a:extLst>
                  </p:cNvPr>
                  <p:cNvSpPr/>
                  <p:nvPr/>
                </p:nvSpPr>
                <p:spPr>
                  <a:xfrm>
                    <a:off x="5385244" y="341690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39" name="Freeform: Shape 5838">
                    <a:extLst>
                      <a:ext uri="{FF2B5EF4-FFF2-40B4-BE49-F238E27FC236}">
                        <a16:creationId xmlns:a16="http://schemas.microsoft.com/office/drawing/2014/main" id="{74793065-1B42-EA7C-2D30-83B0FF7958F9}"/>
                      </a:ext>
                    </a:extLst>
                  </p:cNvPr>
                  <p:cNvSpPr/>
                  <p:nvPr/>
                </p:nvSpPr>
                <p:spPr>
                  <a:xfrm>
                    <a:off x="5347334" y="34547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7" name="Graphic 2080">
                  <a:extLst>
                    <a:ext uri="{FF2B5EF4-FFF2-40B4-BE49-F238E27FC236}">
                      <a16:creationId xmlns:a16="http://schemas.microsoft.com/office/drawing/2014/main" id="{8E822EF7-BC25-0279-F7A5-3052DF0C5D4C}"/>
                    </a:ext>
                  </a:extLst>
                </p:cNvPr>
                <p:cNvGrpSpPr/>
                <p:nvPr/>
              </p:nvGrpSpPr>
              <p:grpSpPr>
                <a:xfrm>
                  <a:off x="5316568" y="3405472"/>
                  <a:ext cx="75723" cy="75723"/>
                  <a:chOff x="5316568" y="3405472"/>
                  <a:chExt cx="75723" cy="75723"/>
                </a:xfrm>
              </p:grpSpPr>
              <p:sp>
                <p:nvSpPr>
                  <p:cNvPr id="5836" name="Freeform: Shape 5835">
                    <a:extLst>
                      <a:ext uri="{FF2B5EF4-FFF2-40B4-BE49-F238E27FC236}">
                        <a16:creationId xmlns:a16="http://schemas.microsoft.com/office/drawing/2014/main" id="{DAA0B4C8-922B-B62C-5FBA-45C075221194}"/>
                      </a:ext>
                    </a:extLst>
                  </p:cNvPr>
                  <p:cNvSpPr/>
                  <p:nvPr/>
                </p:nvSpPr>
                <p:spPr>
                  <a:xfrm>
                    <a:off x="5354383" y="34054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37" name="Freeform: Shape 5836">
                    <a:extLst>
                      <a:ext uri="{FF2B5EF4-FFF2-40B4-BE49-F238E27FC236}">
                        <a16:creationId xmlns:a16="http://schemas.microsoft.com/office/drawing/2014/main" id="{05D95594-3524-F315-DAA3-3A20F3EBF371}"/>
                      </a:ext>
                    </a:extLst>
                  </p:cNvPr>
                  <p:cNvSpPr/>
                  <p:nvPr/>
                </p:nvSpPr>
                <p:spPr>
                  <a:xfrm>
                    <a:off x="5316568" y="34433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8" name="Graphic 2080">
                  <a:extLst>
                    <a:ext uri="{FF2B5EF4-FFF2-40B4-BE49-F238E27FC236}">
                      <a16:creationId xmlns:a16="http://schemas.microsoft.com/office/drawing/2014/main" id="{7C70CC01-AFB3-CD17-46AF-6B96073F11FB}"/>
                    </a:ext>
                  </a:extLst>
                </p:cNvPr>
                <p:cNvGrpSpPr/>
                <p:nvPr/>
              </p:nvGrpSpPr>
              <p:grpSpPr>
                <a:xfrm>
                  <a:off x="5223319" y="3396995"/>
                  <a:ext cx="75723" cy="75723"/>
                  <a:chOff x="5223319" y="3396995"/>
                  <a:chExt cx="75723" cy="75723"/>
                </a:xfrm>
              </p:grpSpPr>
              <p:sp>
                <p:nvSpPr>
                  <p:cNvPr id="5834" name="Freeform: Shape 5833">
                    <a:extLst>
                      <a:ext uri="{FF2B5EF4-FFF2-40B4-BE49-F238E27FC236}">
                        <a16:creationId xmlns:a16="http://schemas.microsoft.com/office/drawing/2014/main" id="{71D9F490-34ED-DD3D-FC54-F25E2FB56AF3}"/>
                      </a:ext>
                    </a:extLst>
                  </p:cNvPr>
                  <p:cNvSpPr/>
                  <p:nvPr/>
                </p:nvSpPr>
                <p:spPr>
                  <a:xfrm>
                    <a:off x="526122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35" name="Freeform: Shape 5834">
                    <a:extLst>
                      <a:ext uri="{FF2B5EF4-FFF2-40B4-BE49-F238E27FC236}">
                        <a16:creationId xmlns:a16="http://schemas.microsoft.com/office/drawing/2014/main" id="{36166234-699D-EEB6-DDD5-ADD6E8CBB985}"/>
                      </a:ext>
                    </a:extLst>
                  </p:cNvPr>
                  <p:cNvSpPr/>
                  <p:nvPr/>
                </p:nvSpPr>
                <p:spPr>
                  <a:xfrm>
                    <a:off x="5223319"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89" name="Graphic 2080">
                  <a:extLst>
                    <a:ext uri="{FF2B5EF4-FFF2-40B4-BE49-F238E27FC236}">
                      <a16:creationId xmlns:a16="http://schemas.microsoft.com/office/drawing/2014/main" id="{EAA98E12-0455-82BE-C7E9-64DE8308EF64}"/>
                    </a:ext>
                  </a:extLst>
                </p:cNvPr>
                <p:cNvGrpSpPr/>
                <p:nvPr/>
              </p:nvGrpSpPr>
              <p:grpSpPr>
                <a:xfrm>
                  <a:off x="5194553" y="3384041"/>
                  <a:ext cx="75723" cy="75723"/>
                  <a:chOff x="5194553" y="3384041"/>
                  <a:chExt cx="75723" cy="75723"/>
                </a:xfrm>
              </p:grpSpPr>
              <p:sp>
                <p:nvSpPr>
                  <p:cNvPr id="5832" name="Freeform: Shape 5831">
                    <a:extLst>
                      <a:ext uri="{FF2B5EF4-FFF2-40B4-BE49-F238E27FC236}">
                        <a16:creationId xmlns:a16="http://schemas.microsoft.com/office/drawing/2014/main" id="{72DFAD55-102C-B200-7836-ADAB291AB2D2}"/>
                      </a:ext>
                    </a:extLst>
                  </p:cNvPr>
                  <p:cNvSpPr/>
                  <p:nvPr/>
                </p:nvSpPr>
                <p:spPr>
                  <a:xfrm>
                    <a:off x="5232463"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33" name="Freeform: Shape 5832">
                    <a:extLst>
                      <a:ext uri="{FF2B5EF4-FFF2-40B4-BE49-F238E27FC236}">
                        <a16:creationId xmlns:a16="http://schemas.microsoft.com/office/drawing/2014/main" id="{EFB2B54C-7E37-35AD-048E-0FC78FBBD30C}"/>
                      </a:ext>
                    </a:extLst>
                  </p:cNvPr>
                  <p:cNvSpPr/>
                  <p:nvPr/>
                </p:nvSpPr>
                <p:spPr>
                  <a:xfrm>
                    <a:off x="5194553" y="3421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0" name="Graphic 2080">
                  <a:extLst>
                    <a:ext uri="{FF2B5EF4-FFF2-40B4-BE49-F238E27FC236}">
                      <a16:creationId xmlns:a16="http://schemas.microsoft.com/office/drawing/2014/main" id="{3127188C-1EE1-A3F2-202D-82AF2BF7E324}"/>
                    </a:ext>
                  </a:extLst>
                </p:cNvPr>
                <p:cNvGrpSpPr/>
                <p:nvPr/>
              </p:nvGrpSpPr>
              <p:grpSpPr>
                <a:xfrm>
                  <a:off x="5167788" y="3359181"/>
                  <a:ext cx="75723" cy="75628"/>
                  <a:chOff x="5167788" y="3359181"/>
                  <a:chExt cx="75723" cy="75628"/>
                </a:xfrm>
              </p:grpSpPr>
              <p:sp>
                <p:nvSpPr>
                  <p:cNvPr id="5830" name="Freeform: Shape 5829">
                    <a:extLst>
                      <a:ext uri="{FF2B5EF4-FFF2-40B4-BE49-F238E27FC236}">
                        <a16:creationId xmlns:a16="http://schemas.microsoft.com/office/drawing/2014/main" id="{842AFA5F-21E9-145F-AF93-DD4EA78B1CB3}"/>
                      </a:ext>
                    </a:extLst>
                  </p:cNvPr>
                  <p:cNvSpPr/>
                  <p:nvPr/>
                </p:nvSpPr>
                <p:spPr>
                  <a:xfrm>
                    <a:off x="5205697" y="3359181"/>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31" name="Freeform: Shape 5830">
                    <a:extLst>
                      <a:ext uri="{FF2B5EF4-FFF2-40B4-BE49-F238E27FC236}">
                        <a16:creationId xmlns:a16="http://schemas.microsoft.com/office/drawing/2014/main" id="{234789AA-380F-EC4F-B498-CC731F245F1E}"/>
                      </a:ext>
                    </a:extLst>
                  </p:cNvPr>
                  <p:cNvSpPr/>
                  <p:nvPr/>
                </p:nvSpPr>
                <p:spPr>
                  <a:xfrm>
                    <a:off x="5167788" y="339699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1" name="Graphic 2080">
                  <a:extLst>
                    <a:ext uri="{FF2B5EF4-FFF2-40B4-BE49-F238E27FC236}">
                      <a16:creationId xmlns:a16="http://schemas.microsoft.com/office/drawing/2014/main" id="{C2F18278-A74F-59ED-DC69-86ACD3CFFE6F}"/>
                    </a:ext>
                  </a:extLst>
                </p:cNvPr>
                <p:cNvGrpSpPr/>
                <p:nvPr/>
              </p:nvGrpSpPr>
              <p:grpSpPr>
                <a:xfrm>
                  <a:off x="5140642" y="3346227"/>
                  <a:ext cx="75723" cy="75628"/>
                  <a:chOff x="5140642" y="3346227"/>
                  <a:chExt cx="75723" cy="75628"/>
                </a:xfrm>
              </p:grpSpPr>
              <p:sp>
                <p:nvSpPr>
                  <p:cNvPr id="5828" name="Freeform: Shape 5827">
                    <a:extLst>
                      <a:ext uri="{FF2B5EF4-FFF2-40B4-BE49-F238E27FC236}">
                        <a16:creationId xmlns:a16="http://schemas.microsoft.com/office/drawing/2014/main" id="{206FF484-C135-3F0B-3F16-1D2726DCE90C}"/>
                      </a:ext>
                    </a:extLst>
                  </p:cNvPr>
                  <p:cNvSpPr/>
                  <p:nvPr/>
                </p:nvSpPr>
                <p:spPr>
                  <a:xfrm>
                    <a:off x="5178551"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29" name="Freeform: Shape 5828">
                    <a:extLst>
                      <a:ext uri="{FF2B5EF4-FFF2-40B4-BE49-F238E27FC236}">
                        <a16:creationId xmlns:a16="http://schemas.microsoft.com/office/drawing/2014/main" id="{FE08D162-571C-F0F7-4D86-9D10E2E85081}"/>
                      </a:ext>
                    </a:extLst>
                  </p:cNvPr>
                  <p:cNvSpPr/>
                  <p:nvPr/>
                </p:nvSpPr>
                <p:spPr>
                  <a:xfrm>
                    <a:off x="5140642"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2" name="Graphic 2080">
                  <a:extLst>
                    <a:ext uri="{FF2B5EF4-FFF2-40B4-BE49-F238E27FC236}">
                      <a16:creationId xmlns:a16="http://schemas.microsoft.com/office/drawing/2014/main" id="{B567A000-72E5-7F5A-F2E8-C62869FC5B5D}"/>
                    </a:ext>
                  </a:extLst>
                </p:cNvPr>
                <p:cNvGrpSpPr/>
                <p:nvPr/>
              </p:nvGrpSpPr>
              <p:grpSpPr>
                <a:xfrm>
                  <a:off x="5129974" y="3346227"/>
                  <a:ext cx="75723" cy="75628"/>
                  <a:chOff x="5129974" y="3346227"/>
                  <a:chExt cx="75723" cy="75628"/>
                </a:xfrm>
              </p:grpSpPr>
              <p:sp>
                <p:nvSpPr>
                  <p:cNvPr id="5826" name="Freeform: Shape 5825">
                    <a:extLst>
                      <a:ext uri="{FF2B5EF4-FFF2-40B4-BE49-F238E27FC236}">
                        <a16:creationId xmlns:a16="http://schemas.microsoft.com/office/drawing/2014/main" id="{2B7E2EA4-7B83-D74F-3989-3895DAC687AA}"/>
                      </a:ext>
                    </a:extLst>
                  </p:cNvPr>
                  <p:cNvSpPr/>
                  <p:nvPr/>
                </p:nvSpPr>
                <p:spPr>
                  <a:xfrm>
                    <a:off x="5167788" y="3346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27" name="Freeform: Shape 5826">
                    <a:extLst>
                      <a:ext uri="{FF2B5EF4-FFF2-40B4-BE49-F238E27FC236}">
                        <a16:creationId xmlns:a16="http://schemas.microsoft.com/office/drawing/2014/main" id="{229C7441-4B0F-4127-ECC4-526EEB009A83}"/>
                      </a:ext>
                    </a:extLst>
                  </p:cNvPr>
                  <p:cNvSpPr/>
                  <p:nvPr/>
                </p:nvSpPr>
                <p:spPr>
                  <a:xfrm>
                    <a:off x="5129974" y="3384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3" name="Graphic 2080">
                  <a:extLst>
                    <a:ext uri="{FF2B5EF4-FFF2-40B4-BE49-F238E27FC236}">
                      <a16:creationId xmlns:a16="http://schemas.microsoft.com/office/drawing/2014/main" id="{51E82BB9-28F1-DC84-89F0-713E0E1A4CA0}"/>
                    </a:ext>
                  </a:extLst>
                </p:cNvPr>
                <p:cNvGrpSpPr/>
                <p:nvPr/>
              </p:nvGrpSpPr>
              <p:grpSpPr>
                <a:xfrm>
                  <a:off x="5110638" y="3335273"/>
                  <a:ext cx="75723" cy="75628"/>
                  <a:chOff x="5110638" y="3335273"/>
                  <a:chExt cx="75723" cy="75628"/>
                </a:xfrm>
              </p:grpSpPr>
              <p:sp>
                <p:nvSpPr>
                  <p:cNvPr id="5824" name="Freeform: Shape 5823">
                    <a:extLst>
                      <a:ext uri="{FF2B5EF4-FFF2-40B4-BE49-F238E27FC236}">
                        <a16:creationId xmlns:a16="http://schemas.microsoft.com/office/drawing/2014/main" id="{AB45462A-8027-E978-1167-4F4970CD5896}"/>
                      </a:ext>
                    </a:extLst>
                  </p:cNvPr>
                  <p:cNvSpPr/>
                  <p:nvPr/>
                </p:nvSpPr>
                <p:spPr>
                  <a:xfrm>
                    <a:off x="5148547" y="3335273"/>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25" name="Freeform: Shape 5824">
                    <a:extLst>
                      <a:ext uri="{FF2B5EF4-FFF2-40B4-BE49-F238E27FC236}">
                        <a16:creationId xmlns:a16="http://schemas.microsoft.com/office/drawing/2014/main" id="{5EEFB3D1-098A-35E4-7A97-F7FB4E405FE4}"/>
                      </a:ext>
                    </a:extLst>
                  </p:cNvPr>
                  <p:cNvSpPr/>
                  <p:nvPr/>
                </p:nvSpPr>
                <p:spPr>
                  <a:xfrm>
                    <a:off x="5110638" y="33730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4" name="Graphic 2080">
                  <a:extLst>
                    <a:ext uri="{FF2B5EF4-FFF2-40B4-BE49-F238E27FC236}">
                      <a16:creationId xmlns:a16="http://schemas.microsoft.com/office/drawing/2014/main" id="{9835DDAD-41C9-7806-33D4-20A2203FCA41}"/>
                    </a:ext>
                  </a:extLst>
                </p:cNvPr>
                <p:cNvGrpSpPr/>
                <p:nvPr/>
              </p:nvGrpSpPr>
              <p:grpSpPr>
                <a:xfrm>
                  <a:off x="5081491" y="3299554"/>
                  <a:ext cx="75723" cy="75723"/>
                  <a:chOff x="5081491" y="3299554"/>
                  <a:chExt cx="75723" cy="75723"/>
                </a:xfrm>
              </p:grpSpPr>
              <p:sp>
                <p:nvSpPr>
                  <p:cNvPr id="5822" name="Freeform: Shape 5821">
                    <a:extLst>
                      <a:ext uri="{FF2B5EF4-FFF2-40B4-BE49-F238E27FC236}">
                        <a16:creationId xmlns:a16="http://schemas.microsoft.com/office/drawing/2014/main" id="{99EC60B8-E0BE-CE21-7096-A7005FEF81F3}"/>
                      </a:ext>
                    </a:extLst>
                  </p:cNvPr>
                  <p:cNvSpPr/>
                  <p:nvPr/>
                </p:nvSpPr>
                <p:spPr>
                  <a:xfrm>
                    <a:off x="5119306"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23" name="Freeform: Shape 5822">
                    <a:extLst>
                      <a:ext uri="{FF2B5EF4-FFF2-40B4-BE49-F238E27FC236}">
                        <a16:creationId xmlns:a16="http://schemas.microsoft.com/office/drawing/2014/main" id="{BEFA0C8B-C6FF-1837-1F93-026E616D0016}"/>
                      </a:ext>
                    </a:extLst>
                  </p:cNvPr>
                  <p:cNvSpPr/>
                  <p:nvPr/>
                </p:nvSpPr>
                <p:spPr>
                  <a:xfrm>
                    <a:off x="5081491"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5" name="Graphic 2080">
                  <a:extLst>
                    <a:ext uri="{FF2B5EF4-FFF2-40B4-BE49-F238E27FC236}">
                      <a16:creationId xmlns:a16="http://schemas.microsoft.com/office/drawing/2014/main" id="{247626B2-40A2-60EE-F3B6-A1F39B479E52}"/>
                    </a:ext>
                  </a:extLst>
                </p:cNvPr>
                <p:cNvGrpSpPr/>
                <p:nvPr/>
              </p:nvGrpSpPr>
              <p:grpSpPr>
                <a:xfrm>
                  <a:off x="5048630" y="3299554"/>
                  <a:ext cx="75723" cy="75723"/>
                  <a:chOff x="5048630" y="3299554"/>
                  <a:chExt cx="75723" cy="75723"/>
                </a:xfrm>
              </p:grpSpPr>
              <p:sp>
                <p:nvSpPr>
                  <p:cNvPr id="5820" name="Freeform: Shape 5819">
                    <a:extLst>
                      <a:ext uri="{FF2B5EF4-FFF2-40B4-BE49-F238E27FC236}">
                        <a16:creationId xmlns:a16="http://schemas.microsoft.com/office/drawing/2014/main" id="{79B72BF6-D7CC-0BFE-A1DE-32B9AC7B07BF}"/>
                      </a:ext>
                    </a:extLst>
                  </p:cNvPr>
                  <p:cNvSpPr/>
                  <p:nvPr/>
                </p:nvSpPr>
                <p:spPr>
                  <a:xfrm>
                    <a:off x="5086540"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21" name="Freeform: Shape 5820">
                    <a:extLst>
                      <a:ext uri="{FF2B5EF4-FFF2-40B4-BE49-F238E27FC236}">
                        <a16:creationId xmlns:a16="http://schemas.microsoft.com/office/drawing/2014/main" id="{6DD663E1-4968-201C-28A1-BEB66FABB3A3}"/>
                      </a:ext>
                    </a:extLst>
                  </p:cNvPr>
                  <p:cNvSpPr/>
                  <p:nvPr/>
                </p:nvSpPr>
                <p:spPr>
                  <a:xfrm>
                    <a:off x="5048630"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6" name="Graphic 2080">
                  <a:extLst>
                    <a:ext uri="{FF2B5EF4-FFF2-40B4-BE49-F238E27FC236}">
                      <a16:creationId xmlns:a16="http://schemas.microsoft.com/office/drawing/2014/main" id="{2AB01646-5A23-0457-955D-9040BCC92361}"/>
                    </a:ext>
                  </a:extLst>
                </p:cNvPr>
                <p:cNvGrpSpPr/>
                <p:nvPr/>
              </p:nvGrpSpPr>
              <p:grpSpPr>
                <a:xfrm>
                  <a:off x="4989099" y="3270503"/>
                  <a:ext cx="75628" cy="75723"/>
                  <a:chOff x="4989099" y="3270503"/>
                  <a:chExt cx="75628" cy="75723"/>
                </a:xfrm>
              </p:grpSpPr>
              <p:sp>
                <p:nvSpPr>
                  <p:cNvPr id="5818" name="Freeform: Shape 5817">
                    <a:extLst>
                      <a:ext uri="{FF2B5EF4-FFF2-40B4-BE49-F238E27FC236}">
                        <a16:creationId xmlns:a16="http://schemas.microsoft.com/office/drawing/2014/main" id="{1B6B490D-8B04-1E8A-BC70-286F1C18B496}"/>
                      </a:ext>
                    </a:extLst>
                  </p:cNvPr>
                  <p:cNvSpPr/>
                  <p:nvPr/>
                </p:nvSpPr>
                <p:spPr>
                  <a:xfrm>
                    <a:off x="5026913" y="32705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19" name="Freeform: Shape 5818">
                    <a:extLst>
                      <a:ext uri="{FF2B5EF4-FFF2-40B4-BE49-F238E27FC236}">
                        <a16:creationId xmlns:a16="http://schemas.microsoft.com/office/drawing/2014/main" id="{15F1ED4E-898D-EC82-521D-7253FF21DEB2}"/>
                      </a:ext>
                    </a:extLst>
                  </p:cNvPr>
                  <p:cNvSpPr/>
                  <p:nvPr/>
                </p:nvSpPr>
                <p:spPr>
                  <a:xfrm>
                    <a:off x="4989099" y="330831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7" name="Graphic 2080">
                  <a:extLst>
                    <a:ext uri="{FF2B5EF4-FFF2-40B4-BE49-F238E27FC236}">
                      <a16:creationId xmlns:a16="http://schemas.microsoft.com/office/drawing/2014/main" id="{57786142-D18E-B3FA-4424-01ECD40A3162}"/>
                    </a:ext>
                  </a:extLst>
                </p:cNvPr>
                <p:cNvGrpSpPr/>
                <p:nvPr/>
              </p:nvGrpSpPr>
              <p:grpSpPr>
                <a:xfrm>
                  <a:off x="4953571" y="3248215"/>
                  <a:ext cx="75723" cy="75723"/>
                  <a:chOff x="4953571" y="3248215"/>
                  <a:chExt cx="75723" cy="75723"/>
                </a:xfrm>
              </p:grpSpPr>
              <p:sp>
                <p:nvSpPr>
                  <p:cNvPr id="5816" name="Freeform: Shape 5815">
                    <a:extLst>
                      <a:ext uri="{FF2B5EF4-FFF2-40B4-BE49-F238E27FC236}">
                        <a16:creationId xmlns:a16="http://schemas.microsoft.com/office/drawing/2014/main" id="{B5D34A58-AEB2-9984-7437-D3D68132953C}"/>
                      </a:ext>
                    </a:extLst>
                  </p:cNvPr>
                  <p:cNvSpPr/>
                  <p:nvPr/>
                </p:nvSpPr>
                <p:spPr>
                  <a:xfrm>
                    <a:off x="4991480" y="3248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17" name="Freeform: Shape 5816">
                    <a:extLst>
                      <a:ext uri="{FF2B5EF4-FFF2-40B4-BE49-F238E27FC236}">
                        <a16:creationId xmlns:a16="http://schemas.microsoft.com/office/drawing/2014/main" id="{D65C6CAF-4543-C939-4509-3D5C6A8144F3}"/>
                      </a:ext>
                    </a:extLst>
                  </p:cNvPr>
                  <p:cNvSpPr/>
                  <p:nvPr/>
                </p:nvSpPr>
                <p:spPr>
                  <a:xfrm>
                    <a:off x="4953571" y="32860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8" name="Graphic 2080">
                  <a:extLst>
                    <a:ext uri="{FF2B5EF4-FFF2-40B4-BE49-F238E27FC236}">
                      <a16:creationId xmlns:a16="http://schemas.microsoft.com/office/drawing/2014/main" id="{6C865BE1-37A3-6B38-4E79-8F33C9570E51}"/>
                    </a:ext>
                  </a:extLst>
                </p:cNvPr>
                <p:cNvGrpSpPr/>
                <p:nvPr/>
              </p:nvGrpSpPr>
              <p:grpSpPr>
                <a:xfrm>
                  <a:off x="4925948" y="3223926"/>
                  <a:ext cx="75723" cy="75628"/>
                  <a:chOff x="4925948" y="3223926"/>
                  <a:chExt cx="75723" cy="75628"/>
                </a:xfrm>
              </p:grpSpPr>
              <p:sp>
                <p:nvSpPr>
                  <p:cNvPr id="5814" name="Freeform: Shape 5813">
                    <a:extLst>
                      <a:ext uri="{FF2B5EF4-FFF2-40B4-BE49-F238E27FC236}">
                        <a16:creationId xmlns:a16="http://schemas.microsoft.com/office/drawing/2014/main" id="{95AC7327-4919-A50C-0E44-902A577784EC}"/>
                      </a:ext>
                    </a:extLst>
                  </p:cNvPr>
                  <p:cNvSpPr/>
                  <p:nvPr/>
                </p:nvSpPr>
                <p:spPr>
                  <a:xfrm>
                    <a:off x="4963762" y="3223926"/>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15" name="Freeform: Shape 5814">
                    <a:extLst>
                      <a:ext uri="{FF2B5EF4-FFF2-40B4-BE49-F238E27FC236}">
                        <a16:creationId xmlns:a16="http://schemas.microsoft.com/office/drawing/2014/main" id="{F03A1A2D-93E3-0205-8AAB-F0B83335F856}"/>
                      </a:ext>
                    </a:extLst>
                  </p:cNvPr>
                  <p:cNvSpPr/>
                  <p:nvPr/>
                </p:nvSpPr>
                <p:spPr>
                  <a:xfrm>
                    <a:off x="4925948" y="326174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499" name="Graphic 2080">
                  <a:extLst>
                    <a:ext uri="{FF2B5EF4-FFF2-40B4-BE49-F238E27FC236}">
                      <a16:creationId xmlns:a16="http://schemas.microsoft.com/office/drawing/2014/main" id="{80A90B72-7B97-079C-C26A-E9448A735F81}"/>
                    </a:ext>
                  </a:extLst>
                </p:cNvPr>
                <p:cNvGrpSpPr/>
                <p:nvPr/>
              </p:nvGrpSpPr>
              <p:grpSpPr>
                <a:xfrm>
                  <a:off x="4904041" y="3212305"/>
                  <a:ext cx="75723" cy="75723"/>
                  <a:chOff x="4904041" y="3212305"/>
                  <a:chExt cx="75723" cy="75723"/>
                </a:xfrm>
              </p:grpSpPr>
              <p:sp>
                <p:nvSpPr>
                  <p:cNvPr id="5812" name="Freeform: Shape 5811">
                    <a:extLst>
                      <a:ext uri="{FF2B5EF4-FFF2-40B4-BE49-F238E27FC236}">
                        <a16:creationId xmlns:a16="http://schemas.microsoft.com/office/drawing/2014/main" id="{4FB2CB9A-BDAB-760C-BD2F-41054C95069F}"/>
                      </a:ext>
                    </a:extLst>
                  </p:cNvPr>
                  <p:cNvSpPr/>
                  <p:nvPr/>
                </p:nvSpPr>
                <p:spPr>
                  <a:xfrm>
                    <a:off x="4941950" y="321230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13" name="Freeform: Shape 5812">
                    <a:extLst>
                      <a:ext uri="{FF2B5EF4-FFF2-40B4-BE49-F238E27FC236}">
                        <a16:creationId xmlns:a16="http://schemas.microsoft.com/office/drawing/2014/main" id="{45431243-E7E8-A187-2E45-612CDFCE0859}"/>
                      </a:ext>
                    </a:extLst>
                  </p:cNvPr>
                  <p:cNvSpPr/>
                  <p:nvPr/>
                </p:nvSpPr>
                <p:spPr>
                  <a:xfrm>
                    <a:off x="4904041" y="325021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0" name="Graphic 2080">
                  <a:extLst>
                    <a:ext uri="{FF2B5EF4-FFF2-40B4-BE49-F238E27FC236}">
                      <a16:creationId xmlns:a16="http://schemas.microsoft.com/office/drawing/2014/main" id="{68F121DC-E58E-EA90-234B-50FD707CFA43}"/>
                    </a:ext>
                  </a:extLst>
                </p:cNvPr>
                <p:cNvGrpSpPr/>
                <p:nvPr/>
              </p:nvGrpSpPr>
              <p:grpSpPr>
                <a:xfrm>
                  <a:off x="4882990" y="3192493"/>
                  <a:ext cx="75723" cy="75723"/>
                  <a:chOff x="4882990" y="3192493"/>
                  <a:chExt cx="75723" cy="75723"/>
                </a:xfrm>
              </p:grpSpPr>
              <p:sp>
                <p:nvSpPr>
                  <p:cNvPr id="5810" name="Freeform: Shape 5809">
                    <a:extLst>
                      <a:ext uri="{FF2B5EF4-FFF2-40B4-BE49-F238E27FC236}">
                        <a16:creationId xmlns:a16="http://schemas.microsoft.com/office/drawing/2014/main" id="{80165C5C-FDEF-7DA4-5A46-E755B1F0A99D}"/>
                      </a:ext>
                    </a:extLst>
                  </p:cNvPr>
                  <p:cNvSpPr/>
                  <p:nvPr/>
                </p:nvSpPr>
                <p:spPr>
                  <a:xfrm>
                    <a:off x="4920805" y="31924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11" name="Freeform: Shape 5810">
                    <a:extLst>
                      <a:ext uri="{FF2B5EF4-FFF2-40B4-BE49-F238E27FC236}">
                        <a16:creationId xmlns:a16="http://schemas.microsoft.com/office/drawing/2014/main" id="{DA8E6334-EC27-DFA0-2B85-5BECEB94DBF3}"/>
                      </a:ext>
                    </a:extLst>
                  </p:cNvPr>
                  <p:cNvSpPr/>
                  <p:nvPr/>
                </p:nvSpPr>
                <p:spPr>
                  <a:xfrm>
                    <a:off x="4882990" y="323030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1" name="Graphic 2080">
                  <a:extLst>
                    <a:ext uri="{FF2B5EF4-FFF2-40B4-BE49-F238E27FC236}">
                      <a16:creationId xmlns:a16="http://schemas.microsoft.com/office/drawing/2014/main" id="{EC0CF8CC-9879-7E81-D5EA-D3B659655F7E}"/>
                    </a:ext>
                  </a:extLst>
                </p:cNvPr>
                <p:cNvGrpSpPr/>
                <p:nvPr/>
              </p:nvGrpSpPr>
              <p:grpSpPr>
                <a:xfrm>
                  <a:off x="4866226" y="3165347"/>
                  <a:ext cx="75723" cy="75723"/>
                  <a:chOff x="4866226" y="3165347"/>
                  <a:chExt cx="75723" cy="75723"/>
                </a:xfrm>
              </p:grpSpPr>
              <p:sp>
                <p:nvSpPr>
                  <p:cNvPr id="5808" name="Freeform: Shape 5807">
                    <a:extLst>
                      <a:ext uri="{FF2B5EF4-FFF2-40B4-BE49-F238E27FC236}">
                        <a16:creationId xmlns:a16="http://schemas.microsoft.com/office/drawing/2014/main" id="{E289415B-5BC1-B3E9-4EAA-80389223B8C2}"/>
                      </a:ext>
                    </a:extLst>
                  </p:cNvPr>
                  <p:cNvSpPr/>
                  <p:nvPr/>
                </p:nvSpPr>
                <p:spPr>
                  <a:xfrm>
                    <a:off x="4904041" y="31653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09" name="Freeform: Shape 5808">
                    <a:extLst>
                      <a:ext uri="{FF2B5EF4-FFF2-40B4-BE49-F238E27FC236}">
                        <a16:creationId xmlns:a16="http://schemas.microsoft.com/office/drawing/2014/main" id="{C502BC6C-D316-9938-8E99-C80F11BE053D}"/>
                      </a:ext>
                    </a:extLst>
                  </p:cNvPr>
                  <p:cNvSpPr/>
                  <p:nvPr/>
                </p:nvSpPr>
                <p:spPr>
                  <a:xfrm>
                    <a:off x="4866226" y="32031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2" name="Graphic 2080">
                  <a:extLst>
                    <a:ext uri="{FF2B5EF4-FFF2-40B4-BE49-F238E27FC236}">
                      <a16:creationId xmlns:a16="http://schemas.microsoft.com/office/drawing/2014/main" id="{B6A93B7B-C084-E8E7-C93D-8A414E1048F5}"/>
                    </a:ext>
                  </a:extLst>
                </p:cNvPr>
                <p:cNvGrpSpPr/>
                <p:nvPr/>
              </p:nvGrpSpPr>
              <p:grpSpPr>
                <a:xfrm>
                  <a:off x="4850224" y="3148202"/>
                  <a:ext cx="75723" cy="75723"/>
                  <a:chOff x="4850224" y="3148202"/>
                  <a:chExt cx="75723" cy="75723"/>
                </a:xfrm>
              </p:grpSpPr>
              <p:sp>
                <p:nvSpPr>
                  <p:cNvPr id="5806" name="Freeform: Shape 5805">
                    <a:extLst>
                      <a:ext uri="{FF2B5EF4-FFF2-40B4-BE49-F238E27FC236}">
                        <a16:creationId xmlns:a16="http://schemas.microsoft.com/office/drawing/2014/main" id="{7C691B6F-15C6-A419-2DC4-490D0AAA725A}"/>
                      </a:ext>
                    </a:extLst>
                  </p:cNvPr>
                  <p:cNvSpPr/>
                  <p:nvPr/>
                </p:nvSpPr>
                <p:spPr>
                  <a:xfrm>
                    <a:off x="4888134" y="314820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07" name="Freeform: Shape 5806">
                    <a:extLst>
                      <a:ext uri="{FF2B5EF4-FFF2-40B4-BE49-F238E27FC236}">
                        <a16:creationId xmlns:a16="http://schemas.microsoft.com/office/drawing/2014/main" id="{5C44C8F4-DD03-E7B3-5077-A3984DCE5A18}"/>
                      </a:ext>
                    </a:extLst>
                  </p:cNvPr>
                  <p:cNvSpPr/>
                  <p:nvPr/>
                </p:nvSpPr>
                <p:spPr>
                  <a:xfrm>
                    <a:off x="4850224" y="31860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3" name="Graphic 2080">
                  <a:extLst>
                    <a:ext uri="{FF2B5EF4-FFF2-40B4-BE49-F238E27FC236}">
                      <a16:creationId xmlns:a16="http://schemas.microsoft.com/office/drawing/2014/main" id="{6801CD0B-8DDE-2243-1034-16AC40640D87}"/>
                    </a:ext>
                  </a:extLst>
                </p:cNvPr>
                <p:cNvGrpSpPr/>
                <p:nvPr/>
              </p:nvGrpSpPr>
              <p:grpSpPr>
                <a:xfrm>
                  <a:off x="4832698" y="3129152"/>
                  <a:ext cx="75723" cy="75723"/>
                  <a:chOff x="4832698" y="3129152"/>
                  <a:chExt cx="75723" cy="75723"/>
                </a:xfrm>
              </p:grpSpPr>
              <p:sp>
                <p:nvSpPr>
                  <p:cNvPr id="5804" name="Freeform: Shape 5803">
                    <a:extLst>
                      <a:ext uri="{FF2B5EF4-FFF2-40B4-BE49-F238E27FC236}">
                        <a16:creationId xmlns:a16="http://schemas.microsoft.com/office/drawing/2014/main" id="{3740C2B9-55B3-08EA-2112-306C401EF493}"/>
                      </a:ext>
                    </a:extLst>
                  </p:cNvPr>
                  <p:cNvSpPr/>
                  <p:nvPr/>
                </p:nvSpPr>
                <p:spPr>
                  <a:xfrm>
                    <a:off x="4870608" y="31291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05" name="Freeform: Shape 5804">
                    <a:extLst>
                      <a:ext uri="{FF2B5EF4-FFF2-40B4-BE49-F238E27FC236}">
                        <a16:creationId xmlns:a16="http://schemas.microsoft.com/office/drawing/2014/main" id="{8B9646EE-83F5-3B63-3743-42C04B251ECC}"/>
                      </a:ext>
                    </a:extLst>
                  </p:cNvPr>
                  <p:cNvSpPr/>
                  <p:nvPr/>
                </p:nvSpPr>
                <p:spPr>
                  <a:xfrm>
                    <a:off x="4832698" y="31669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4" name="Graphic 2080">
                  <a:extLst>
                    <a:ext uri="{FF2B5EF4-FFF2-40B4-BE49-F238E27FC236}">
                      <a16:creationId xmlns:a16="http://schemas.microsoft.com/office/drawing/2014/main" id="{4F87D943-B6AF-0035-9234-A1CE500BA937}"/>
                    </a:ext>
                  </a:extLst>
                </p:cNvPr>
                <p:cNvGrpSpPr/>
                <p:nvPr/>
              </p:nvGrpSpPr>
              <p:grpSpPr>
                <a:xfrm>
                  <a:off x="4801075" y="3114103"/>
                  <a:ext cx="75723" cy="75723"/>
                  <a:chOff x="4801075" y="3114103"/>
                  <a:chExt cx="75723" cy="75723"/>
                </a:xfrm>
              </p:grpSpPr>
              <p:sp>
                <p:nvSpPr>
                  <p:cNvPr id="5802" name="Freeform: Shape 5801">
                    <a:extLst>
                      <a:ext uri="{FF2B5EF4-FFF2-40B4-BE49-F238E27FC236}">
                        <a16:creationId xmlns:a16="http://schemas.microsoft.com/office/drawing/2014/main" id="{0CA64D3A-B820-7AF4-1292-A8C55A5DFE01}"/>
                      </a:ext>
                    </a:extLst>
                  </p:cNvPr>
                  <p:cNvSpPr/>
                  <p:nvPr/>
                </p:nvSpPr>
                <p:spPr>
                  <a:xfrm>
                    <a:off x="4838985" y="311410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03" name="Freeform: Shape 5802">
                    <a:extLst>
                      <a:ext uri="{FF2B5EF4-FFF2-40B4-BE49-F238E27FC236}">
                        <a16:creationId xmlns:a16="http://schemas.microsoft.com/office/drawing/2014/main" id="{DF50AA3B-1C40-AF3E-AF9C-4AE3285783F1}"/>
                      </a:ext>
                    </a:extLst>
                  </p:cNvPr>
                  <p:cNvSpPr/>
                  <p:nvPr/>
                </p:nvSpPr>
                <p:spPr>
                  <a:xfrm>
                    <a:off x="4801075" y="315201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5" name="Graphic 2080">
                  <a:extLst>
                    <a:ext uri="{FF2B5EF4-FFF2-40B4-BE49-F238E27FC236}">
                      <a16:creationId xmlns:a16="http://schemas.microsoft.com/office/drawing/2014/main" id="{8B5406AA-5199-87B0-2C8D-174B88BE5643}"/>
                    </a:ext>
                  </a:extLst>
                </p:cNvPr>
                <p:cNvGrpSpPr/>
                <p:nvPr/>
              </p:nvGrpSpPr>
              <p:grpSpPr>
                <a:xfrm>
                  <a:off x="4771548" y="3101911"/>
                  <a:ext cx="75628" cy="75723"/>
                  <a:chOff x="4771548" y="3101911"/>
                  <a:chExt cx="75628" cy="75723"/>
                </a:xfrm>
              </p:grpSpPr>
              <p:sp>
                <p:nvSpPr>
                  <p:cNvPr id="5800" name="Freeform: Shape 5799">
                    <a:extLst>
                      <a:ext uri="{FF2B5EF4-FFF2-40B4-BE49-F238E27FC236}">
                        <a16:creationId xmlns:a16="http://schemas.microsoft.com/office/drawing/2014/main" id="{3CD39749-061B-2BAC-B68D-5AE6C4F6F8DA}"/>
                      </a:ext>
                    </a:extLst>
                  </p:cNvPr>
                  <p:cNvSpPr/>
                  <p:nvPr/>
                </p:nvSpPr>
                <p:spPr>
                  <a:xfrm>
                    <a:off x="4809362" y="31019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01" name="Freeform: Shape 5800">
                    <a:extLst>
                      <a:ext uri="{FF2B5EF4-FFF2-40B4-BE49-F238E27FC236}">
                        <a16:creationId xmlns:a16="http://schemas.microsoft.com/office/drawing/2014/main" id="{341341F5-E25D-AEC7-BA36-746E5807B92E}"/>
                      </a:ext>
                    </a:extLst>
                  </p:cNvPr>
                  <p:cNvSpPr/>
                  <p:nvPr/>
                </p:nvSpPr>
                <p:spPr>
                  <a:xfrm>
                    <a:off x="4771548" y="3139725"/>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6" name="Graphic 2080">
                  <a:extLst>
                    <a:ext uri="{FF2B5EF4-FFF2-40B4-BE49-F238E27FC236}">
                      <a16:creationId xmlns:a16="http://schemas.microsoft.com/office/drawing/2014/main" id="{A87A1260-6216-7944-EDEE-4776F7CAB134}"/>
                    </a:ext>
                  </a:extLst>
                </p:cNvPr>
                <p:cNvGrpSpPr/>
                <p:nvPr/>
              </p:nvGrpSpPr>
              <p:grpSpPr>
                <a:xfrm>
                  <a:off x="4745164" y="3085242"/>
                  <a:ext cx="75723" cy="75723"/>
                  <a:chOff x="4745164" y="3085242"/>
                  <a:chExt cx="75723" cy="75723"/>
                </a:xfrm>
              </p:grpSpPr>
              <p:sp>
                <p:nvSpPr>
                  <p:cNvPr id="5798" name="Freeform: Shape 5797">
                    <a:extLst>
                      <a:ext uri="{FF2B5EF4-FFF2-40B4-BE49-F238E27FC236}">
                        <a16:creationId xmlns:a16="http://schemas.microsoft.com/office/drawing/2014/main" id="{D1086F26-DCD3-BD4A-F903-23278DF47E3B}"/>
                      </a:ext>
                    </a:extLst>
                  </p:cNvPr>
                  <p:cNvSpPr/>
                  <p:nvPr/>
                </p:nvSpPr>
                <p:spPr>
                  <a:xfrm>
                    <a:off x="4782978" y="30852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99" name="Freeform: Shape 5798">
                    <a:extLst>
                      <a:ext uri="{FF2B5EF4-FFF2-40B4-BE49-F238E27FC236}">
                        <a16:creationId xmlns:a16="http://schemas.microsoft.com/office/drawing/2014/main" id="{AC95B3E4-9469-7C85-3E20-6A1DBAA685D5}"/>
                      </a:ext>
                    </a:extLst>
                  </p:cNvPr>
                  <p:cNvSpPr/>
                  <p:nvPr/>
                </p:nvSpPr>
                <p:spPr>
                  <a:xfrm>
                    <a:off x="4745164" y="312315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7" name="Graphic 2080">
                  <a:extLst>
                    <a:ext uri="{FF2B5EF4-FFF2-40B4-BE49-F238E27FC236}">
                      <a16:creationId xmlns:a16="http://schemas.microsoft.com/office/drawing/2014/main" id="{83FE0B17-563D-A82C-F446-46AC29E86FA5}"/>
                    </a:ext>
                  </a:extLst>
                </p:cNvPr>
                <p:cNvGrpSpPr/>
                <p:nvPr/>
              </p:nvGrpSpPr>
              <p:grpSpPr>
                <a:xfrm>
                  <a:off x="4727352" y="3076288"/>
                  <a:ext cx="75723" cy="75723"/>
                  <a:chOff x="4727352" y="3076288"/>
                  <a:chExt cx="75723" cy="75723"/>
                </a:xfrm>
              </p:grpSpPr>
              <p:sp>
                <p:nvSpPr>
                  <p:cNvPr id="5796" name="Freeform: Shape 5795">
                    <a:extLst>
                      <a:ext uri="{FF2B5EF4-FFF2-40B4-BE49-F238E27FC236}">
                        <a16:creationId xmlns:a16="http://schemas.microsoft.com/office/drawing/2014/main" id="{A653A0B5-0829-7716-AAFB-8DF4C69A0583}"/>
                      </a:ext>
                    </a:extLst>
                  </p:cNvPr>
                  <p:cNvSpPr/>
                  <p:nvPr/>
                </p:nvSpPr>
                <p:spPr>
                  <a:xfrm>
                    <a:off x="4765166" y="307628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97" name="Freeform: Shape 5796">
                    <a:extLst>
                      <a:ext uri="{FF2B5EF4-FFF2-40B4-BE49-F238E27FC236}">
                        <a16:creationId xmlns:a16="http://schemas.microsoft.com/office/drawing/2014/main" id="{90636C03-D16D-0515-175E-11789043F4C3}"/>
                      </a:ext>
                    </a:extLst>
                  </p:cNvPr>
                  <p:cNvSpPr/>
                  <p:nvPr/>
                </p:nvSpPr>
                <p:spPr>
                  <a:xfrm>
                    <a:off x="4727352" y="31141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8" name="Graphic 2080">
                  <a:extLst>
                    <a:ext uri="{FF2B5EF4-FFF2-40B4-BE49-F238E27FC236}">
                      <a16:creationId xmlns:a16="http://schemas.microsoft.com/office/drawing/2014/main" id="{588D4F52-A674-107F-6C84-05D7B3DECDB5}"/>
                    </a:ext>
                  </a:extLst>
                </p:cNvPr>
                <p:cNvGrpSpPr/>
                <p:nvPr/>
              </p:nvGrpSpPr>
              <p:grpSpPr>
                <a:xfrm>
                  <a:off x="4692109" y="3069430"/>
                  <a:ext cx="75628" cy="75628"/>
                  <a:chOff x="4692109" y="3069430"/>
                  <a:chExt cx="75628" cy="75628"/>
                </a:xfrm>
              </p:grpSpPr>
              <p:sp>
                <p:nvSpPr>
                  <p:cNvPr id="5794" name="Freeform: Shape 5793">
                    <a:extLst>
                      <a:ext uri="{FF2B5EF4-FFF2-40B4-BE49-F238E27FC236}">
                        <a16:creationId xmlns:a16="http://schemas.microsoft.com/office/drawing/2014/main" id="{51B97D3F-C6D4-A14E-C022-60DEB69A49A9}"/>
                      </a:ext>
                    </a:extLst>
                  </p:cNvPr>
                  <p:cNvSpPr/>
                  <p:nvPr/>
                </p:nvSpPr>
                <p:spPr>
                  <a:xfrm>
                    <a:off x="4729924" y="306943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95" name="Freeform: Shape 5794">
                    <a:extLst>
                      <a:ext uri="{FF2B5EF4-FFF2-40B4-BE49-F238E27FC236}">
                        <a16:creationId xmlns:a16="http://schemas.microsoft.com/office/drawing/2014/main" id="{90ADB330-B88B-C1AD-1E63-BAE41B08F00C}"/>
                      </a:ext>
                    </a:extLst>
                  </p:cNvPr>
                  <p:cNvSpPr/>
                  <p:nvPr/>
                </p:nvSpPr>
                <p:spPr>
                  <a:xfrm>
                    <a:off x="4692109" y="310724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09" name="Graphic 2080">
                  <a:extLst>
                    <a:ext uri="{FF2B5EF4-FFF2-40B4-BE49-F238E27FC236}">
                      <a16:creationId xmlns:a16="http://schemas.microsoft.com/office/drawing/2014/main" id="{CC75BF0C-24E9-BAF2-7D8B-6CCF8AD55700}"/>
                    </a:ext>
                  </a:extLst>
                </p:cNvPr>
                <p:cNvGrpSpPr/>
                <p:nvPr/>
              </p:nvGrpSpPr>
              <p:grpSpPr>
                <a:xfrm>
                  <a:off x="4656391" y="3055810"/>
                  <a:ext cx="75723" cy="75723"/>
                  <a:chOff x="4656391" y="3055810"/>
                  <a:chExt cx="75723" cy="75723"/>
                </a:xfrm>
              </p:grpSpPr>
              <p:sp>
                <p:nvSpPr>
                  <p:cNvPr id="5792" name="Freeform: Shape 5791">
                    <a:extLst>
                      <a:ext uri="{FF2B5EF4-FFF2-40B4-BE49-F238E27FC236}">
                        <a16:creationId xmlns:a16="http://schemas.microsoft.com/office/drawing/2014/main" id="{7032AC70-7929-EFCF-C5E4-2D5E5512B343}"/>
                      </a:ext>
                    </a:extLst>
                  </p:cNvPr>
                  <p:cNvSpPr/>
                  <p:nvPr/>
                </p:nvSpPr>
                <p:spPr>
                  <a:xfrm>
                    <a:off x="4694300" y="30558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93" name="Freeform: Shape 5792">
                    <a:extLst>
                      <a:ext uri="{FF2B5EF4-FFF2-40B4-BE49-F238E27FC236}">
                        <a16:creationId xmlns:a16="http://schemas.microsoft.com/office/drawing/2014/main" id="{A0EE6E0E-0737-0144-E107-BF81D007813F}"/>
                      </a:ext>
                    </a:extLst>
                  </p:cNvPr>
                  <p:cNvSpPr/>
                  <p:nvPr/>
                </p:nvSpPr>
                <p:spPr>
                  <a:xfrm>
                    <a:off x="4656391" y="309362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0" name="Graphic 2080">
                  <a:extLst>
                    <a:ext uri="{FF2B5EF4-FFF2-40B4-BE49-F238E27FC236}">
                      <a16:creationId xmlns:a16="http://schemas.microsoft.com/office/drawing/2014/main" id="{B1E2D94C-4C39-5C8B-39E5-B21F65D7D065}"/>
                    </a:ext>
                  </a:extLst>
                </p:cNvPr>
                <p:cNvGrpSpPr/>
                <p:nvPr/>
              </p:nvGrpSpPr>
              <p:grpSpPr>
                <a:xfrm>
                  <a:off x="4627625" y="3045618"/>
                  <a:ext cx="75723" cy="75723"/>
                  <a:chOff x="4627625" y="3045618"/>
                  <a:chExt cx="75723" cy="75723"/>
                </a:xfrm>
              </p:grpSpPr>
              <p:sp>
                <p:nvSpPr>
                  <p:cNvPr id="5790" name="Freeform: Shape 5789">
                    <a:extLst>
                      <a:ext uri="{FF2B5EF4-FFF2-40B4-BE49-F238E27FC236}">
                        <a16:creationId xmlns:a16="http://schemas.microsoft.com/office/drawing/2014/main" id="{E4D70136-3ADE-7808-8826-36BD553A9293}"/>
                      </a:ext>
                    </a:extLst>
                  </p:cNvPr>
                  <p:cNvSpPr/>
                  <p:nvPr/>
                </p:nvSpPr>
                <p:spPr>
                  <a:xfrm>
                    <a:off x="4665439" y="30456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91" name="Freeform: Shape 5790">
                    <a:extLst>
                      <a:ext uri="{FF2B5EF4-FFF2-40B4-BE49-F238E27FC236}">
                        <a16:creationId xmlns:a16="http://schemas.microsoft.com/office/drawing/2014/main" id="{76C5A6C0-5D84-C19A-6668-DCE64B637936}"/>
                      </a:ext>
                    </a:extLst>
                  </p:cNvPr>
                  <p:cNvSpPr/>
                  <p:nvPr/>
                </p:nvSpPr>
                <p:spPr>
                  <a:xfrm>
                    <a:off x="4627625" y="308352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1" name="Graphic 2080">
                  <a:extLst>
                    <a:ext uri="{FF2B5EF4-FFF2-40B4-BE49-F238E27FC236}">
                      <a16:creationId xmlns:a16="http://schemas.microsoft.com/office/drawing/2014/main" id="{D793AB9B-DB5F-4F5C-81AD-B56359AC01D1}"/>
                    </a:ext>
                  </a:extLst>
                </p:cNvPr>
                <p:cNvGrpSpPr/>
                <p:nvPr/>
              </p:nvGrpSpPr>
              <p:grpSpPr>
                <a:xfrm>
                  <a:off x="4594764" y="3026187"/>
                  <a:ext cx="75723" cy="75723"/>
                  <a:chOff x="4594764" y="3026187"/>
                  <a:chExt cx="75723" cy="75723"/>
                </a:xfrm>
              </p:grpSpPr>
              <p:sp>
                <p:nvSpPr>
                  <p:cNvPr id="5788" name="Freeform: Shape 5787">
                    <a:extLst>
                      <a:ext uri="{FF2B5EF4-FFF2-40B4-BE49-F238E27FC236}">
                        <a16:creationId xmlns:a16="http://schemas.microsoft.com/office/drawing/2014/main" id="{791DFF07-414C-DF76-FA50-DA5EB827BD61}"/>
                      </a:ext>
                    </a:extLst>
                  </p:cNvPr>
                  <p:cNvSpPr/>
                  <p:nvPr/>
                </p:nvSpPr>
                <p:spPr>
                  <a:xfrm>
                    <a:off x="4632673"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89" name="Freeform: Shape 5788">
                    <a:extLst>
                      <a:ext uri="{FF2B5EF4-FFF2-40B4-BE49-F238E27FC236}">
                        <a16:creationId xmlns:a16="http://schemas.microsoft.com/office/drawing/2014/main" id="{5863A74F-92F5-6E0F-4A17-00E319DE0F89}"/>
                      </a:ext>
                    </a:extLst>
                  </p:cNvPr>
                  <p:cNvSpPr/>
                  <p:nvPr/>
                </p:nvSpPr>
                <p:spPr>
                  <a:xfrm>
                    <a:off x="4594764"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2" name="Graphic 2080">
                  <a:extLst>
                    <a:ext uri="{FF2B5EF4-FFF2-40B4-BE49-F238E27FC236}">
                      <a16:creationId xmlns:a16="http://schemas.microsoft.com/office/drawing/2014/main" id="{DAB09F1B-3EBD-8F7C-93D3-CEACB532006C}"/>
                    </a:ext>
                  </a:extLst>
                </p:cNvPr>
                <p:cNvGrpSpPr/>
                <p:nvPr/>
              </p:nvGrpSpPr>
              <p:grpSpPr>
                <a:xfrm>
                  <a:off x="4540852" y="3026187"/>
                  <a:ext cx="75723" cy="75723"/>
                  <a:chOff x="4540852" y="3026187"/>
                  <a:chExt cx="75723" cy="75723"/>
                </a:xfrm>
              </p:grpSpPr>
              <p:sp>
                <p:nvSpPr>
                  <p:cNvPr id="5786" name="Freeform: Shape 5785">
                    <a:extLst>
                      <a:ext uri="{FF2B5EF4-FFF2-40B4-BE49-F238E27FC236}">
                        <a16:creationId xmlns:a16="http://schemas.microsoft.com/office/drawing/2014/main" id="{4A4776A5-BB65-18B2-2166-9600AE2BB5EA}"/>
                      </a:ext>
                    </a:extLst>
                  </p:cNvPr>
                  <p:cNvSpPr/>
                  <p:nvPr/>
                </p:nvSpPr>
                <p:spPr>
                  <a:xfrm>
                    <a:off x="4578762" y="302618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87" name="Freeform: Shape 5786">
                    <a:extLst>
                      <a:ext uri="{FF2B5EF4-FFF2-40B4-BE49-F238E27FC236}">
                        <a16:creationId xmlns:a16="http://schemas.microsoft.com/office/drawing/2014/main" id="{484FC5C7-073F-02B6-EC53-CE3D16B8C320}"/>
                      </a:ext>
                    </a:extLst>
                  </p:cNvPr>
                  <p:cNvSpPr/>
                  <p:nvPr/>
                </p:nvSpPr>
                <p:spPr>
                  <a:xfrm>
                    <a:off x="4540852" y="306409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3" name="Graphic 2080">
                  <a:extLst>
                    <a:ext uri="{FF2B5EF4-FFF2-40B4-BE49-F238E27FC236}">
                      <a16:creationId xmlns:a16="http://schemas.microsoft.com/office/drawing/2014/main" id="{D47D1884-D013-E6AC-064D-81AE6D4C4F02}"/>
                    </a:ext>
                  </a:extLst>
                </p:cNvPr>
                <p:cNvGrpSpPr/>
                <p:nvPr/>
              </p:nvGrpSpPr>
              <p:grpSpPr>
                <a:xfrm>
                  <a:off x="4511706" y="2996183"/>
                  <a:ext cx="75723" cy="75723"/>
                  <a:chOff x="4511706" y="2996183"/>
                  <a:chExt cx="75723" cy="75723"/>
                </a:xfrm>
              </p:grpSpPr>
              <p:sp>
                <p:nvSpPr>
                  <p:cNvPr id="5784" name="Freeform: Shape 5783">
                    <a:extLst>
                      <a:ext uri="{FF2B5EF4-FFF2-40B4-BE49-F238E27FC236}">
                        <a16:creationId xmlns:a16="http://schemas.microsoft.com/office/drawing/2014/main" id="{5461FE4B-1EC6-4CD7-FB33-8ED65FF009DC}"/>
                      </a:ext>
                    </a:extLst>
                  </p:cNvPr>
                  <p:cNvSpPr/>
                  <p:nvPr/>
                </p:nvSpPr>
                <p:spPr>
                  <a:xfrm>
                    <a:off x="4549520"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85" name="Freeform: Shape 5784">
                    <a:extLst>
                      <a:ext uri="{FF2B5EF4-FFF2-40B4-BE49-F238E27FC236}">
                        <a16:creationId xmlns:a16="http://schemas.microsoft.com/office/drawing/2014/main" id="{AE97591C-4B62-8EFE-972E-8A8DF46927B7}"/>
                      </a:ext>
                    </a:extLst>
                  </p:cNvPr>
                  <p:cNvSpPr/>
                  <p:nvPr/>
                </p:nvSpPr>
                <p:spPr>
                  <a:xfrm>
                    <a:off x="4511706"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4" name="Graphic 2080">
                  <a:extLst>
                    <a:ext uri="{FF2B5EF4-FFF2-40B4-BE49-F238E27FC236}">
                      <a16:creationId xmlns:a16="http://schemas.microsoft.com/office/drawing/2014/main" id="{B9BC302B-12B6-15AB-483B-29FA50A20F11}"/>
                    </a:ext>
                  </a:extLst>
                </p:cNvPr>
                <p:cNvGrpSpPr/>
                <p:nvPr/>
              </p:nvGrpSpPr>
              <p:grpSpPr>
                <a:xfrm>
                  <a:off x="4415218" y="2996183"/>
                  <a:ext cx="75723" cy="75723"/>
                  <a:chOff x="4415218" y="2996183"/>
                  <a:chExt cx="75723" cy="75723"/>
                </a:xfrm>
              </p:grpSpPr>
              <p:sp>
                <p:nvSpPr>
                  <p:cNvPr id="5782" name="Freeform: Shape 5781">
                    <a:extLst>
                      <a:ext uri="{FF2B5EF4-FFF2-40B4-BE49-F238E27FC236}">
                        <a16:creationId xmlns:a16="http://schemas.microsoft.com/office/drawing/2014/main" id="{80599D90-C29C-232D-5E17-18F9D7372832}"/>
                      </a:ext>
                    </a:extLst>
                  </p:cNvPr>
                  <p:cNvSpPr/>
                  <p:nvPr/>
                </p:nvSpPr>
                <p:spPr>
                  <a:xfrm>
                    <a:off x="4453127"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83" name="Freeform: Shape 5782">
                    <a:extLst>
                      <a:ext uri="{FF2B5EF4-FFF2-40B4-BE49-F238E27FC236}">
                        <a16:creationId xmlns:a16="http://schemas.microsoft.com/office/drawing/2014/main" id="{596898F7-91E8-EF28-1DE7-B1EA24A57748}"/>
                      </a:ext>
                    </a:extLst>
                  </p:cNvPr>
                  <p:cNvSpPr/>
                  <p:nvPr/>
                </p:nvSpPr>
                <p:spPr>
                  <a:xfrm>
                    <a:off x="4415218"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5" name="Graphic 2080">
                  <a:extLst>
                    <a:ext uri="{FF2B5EF4-FFF2-40B4-BE49-F238E27FC236}">
                      <a16:creationId xmlns:a16="http://schemas.microsoft.com/office/drawing/2014/main" id="{5F2106D8-D321-5ED2-8E07-0D839259C15F}"/>
                    </a:ext>
                  </a:extLst>
                </p:cNvPr>
                <p:cNvGrpSpPr/>
                <p:nvPr/>
              </p:nvGrpSpPr>
              <p:grpSpPr>
                <a:xfrm>
                  <a:off x="4423790" y="2996183"/>
                  <a:ext cx="75628" cy="75723"/>
                  <a:chOff x="4423790" y="2996183"/>
                  <a:chExt cx="75628" cy="75723"/>
                </a:xfrm>
              </p:grpSpPr>
              <p:sp>
                <p:nvSpPr>
                  <p:cNvPr id="5780" name="Freeform: Shape 5779">
                    <a:extLst>
                      <a:ext uri="{FF2B5EF4-FFF2-40B4-BE49-F238E27FC236}">
                        <a16:creationId xmlns:a16="http://schemas.microsoft.com/office/drawing/2014/main" id="{81D3F5A0-F628-6F3C-60BF-702D401D90CE}"/>
                      </a:ext>
                    </a:extLst>
                  </p:cNvPr>
                  <p:cNvSpPr/>
                  <p:nvPr/>
                </p:nvSpPr>
                <p:spPr>
                  <a:xfrm>
                    <a:off x="4461604"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81" name="Freeform: Shape 5780">
                    <a:extLst>
                      <a:ext uri="{FF2B5EF4-FFF2-40B4-BE49-F238E27FC236}">
                        <a16:creationId xmlns:a16="http://schemas.microsoft.com/office/drawing/2014/main" id="{E7B6FF35-0A72-1CEF-04FA-A7786F9CB1A2}"/>
                      </a:ext>
                    </a:extLst>
                  </p:cNvPr>
                  <p:cNvSpPr/>
                  <p:nvPr/>
                </p:nvSpPr>
                <p:spPr>
                  <a:xfrm>
                    <a:off x="4423790"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6" name="Graphic 2080">
                  <a:extLst>
                    <a:ext uri="{FF2B5EF4-FFF2-40B4-BE49-F238E27FC236}">
                      <a16:creationId xmlns:a16="http://schemas.microsoft.com/office/drawing/2014/main" id="{64C74EED-B59C-8A6D-260E-4999FFDE45BC}"/>
                    </a:ext>
                  </a:extLst>
                </p:cNvPr>
                <p:cNvGrpSpPr/>
                <p:nvPr/>
              </p:nvGrpSpPr>
              <p:grpSpPr>
                <a:xfrm>
                  <a:off x="4495894" y="2996183"/>
                  <a:ext cx="75723" cy="75723"/>
                  <a:chOff x="4495894" y="2996183"/>
                  <a:chExt cx="75723" cy="75723"/>
                </a:xfrm>
              </p:grpSpPr>
              <p:sp>
                <p:nvSpPr>
                  <p:cNvPr id="5778" name="Freeform: Shape 5777">
                    <a:extLst>
                      <a:ext uri="{FF2B5EF4-FFF2-40B4-BE49-F238E27FC236}">
                        <a16:creationId xmlns:a16="http://schemas.microsoft.com/office/drawing/2014/main" id="{C9DF14D6-6CA2-09FA-E34C-BBC067F1F2BB}"/>
                      </a:ext>
                    </a:extLst>
                  </p:cNvPr>
                  <p:cNvSpPr/>
                  <p:nvPr/>
                </p:nvSpPr>
                <p:spPr>
                  <a:xfrm>
                    <a:off x="453370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79" name="Freeform: Shape 5778">
                    <a:extLst>
                      <a:ext uri="{FF2B5EF4-FFF2-40B4-BE49-F238E27FC236}">
                        <a16:creationId xmlns:a16="http://schemas.microsoft.com/office/drawing/2014/main" id="{66F1F411-6E43-534C-ACB4-365D3E4D9DB6}"/>
                      </a:ext>
                    </a:extLst>
                  </p:cNvPr>
                  <p:cNvSpPr/>
                  <p:nvPr/>
                </p:nvSpPr>
                <p:spPr>
                  <a:xfrm>
                    <a:off x="4495894"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7" name="Graphic 2080">
                  <a:extLst>
                    <a:ext uri="{FF2B5EF4-FFF2-40B4-BE49-F238E27FC236}">
                      <a16:creationId xmlns:a16="http://schemas.microsoft.com/office/drawing/2014/main" id="{E7B96418-C697-8504-6526-36D2E4F73018}"/>
                    </a:ext>
                  </a:extLst>
                </p:cNvPr>
                <p:cNvGrpSpPr/>
                <p:nvPr/>
              </p:nvGrpSpPr>
              <p:grpSpPr>
                <a:xfrm>
                  <a:off x="4482083" y="2996183"/>
                  <a:ext cx="75723" cy="75723"/>
                  <a:chOff x="4482083" y="2996183"/>
                  <a:chExt cx="75723" cy="75723"/>
                </a:xfrm>
              </p:grpSpPr>
              <p:sp>
                <p:nvSpPr>
                  <p:cNvPr id="5776" name="Freeform: Shape 5775">
                    <a:extLst>
                      <a:ext uri="{FF2B5EF4-FFF2-40B4-BE49-F238E27FC236}">
                        <a16:creationId xmlns:a16="http://schemas.microsoft.com/office/drawing/2014/main" id="{E843E540-5EF5-6820-7AAA-DAD9F024594C}"/>
                      </a:ext>
                    </a:extLst>
                  </p:cNvPr>
                  <p:cNvSpPr/>
                  <p:nvPr/>
                </p:nvSpPr>
                <p:spPr>
                  <a:xfrm>
                    <a:off x="4519993"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77" name="Freeform: Shape 5776">
                    <a:extLst>
                      <a:ext uri="{FF2B5EF4-FFF2-40B4-BE49-F238E27FC236}">
                        <a16:creationId xmlns:a16="http://schemas.microsoft.com/office/drawing/2014/main" id="{0D2AE484-17D4-7765-9A99-FCDDCA2222D2}"/>
                      </a:ext>
                    </a:extLst>
                  </p:cNvPr>
                  <p:cNvSpPr/>
                  <p:nvPr/>
                </p:nvSpPr>
                <p:spPr>
                  <a:xfrm>
                    <a:off x="4482083"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8" name="Graphic 2080">
                  <a:extLst>
                    <a:ext uri="{FF2B5EF4-FFF2-40B4-BE49-F238E27FC236}">
                      <a16:creationId xmlns:a16="http://schemas.microsoft.com/office/drawing/2014/main" id="{DE8D2F5C-9193-DD51-5EF7-78DA540CCA30}"/>
                    </a:ext>
                  </a:extLst>
                </p:cNvPr>
                <p:cNvGrpSpPr/>
                <p:nvPr/>
              </p:nvGrpSpPr>
              <p:grpSpPr>
                <a:xfrm>
                  <a:off x="4469129" y="2996183"/>
                  <a:ext cx="75723" cy="75723"/>
                  <a:chOff x="4469129" y="2996183"/>
                  <a:chExt cx="75723" cy="75723"/>
                </a:xfrm>
              </p:grpSpPr>
              <p:sp>
                <p:nvSpPr>
                  <p:cNvPr id="5774" name="Freeform: Shape 5773">
                    <a:extLst>
                      <a:ext uri="{FF2B5EF4-FFF2-40B4-BE49-F238E27FC236}">
                        <a16:creationId xmlns:a16="http://schemas.microsoft.com/office/drawing/2014/main" id="{D066F3FD-3F09-BB13-00EE-24D1F9D661A0}"/>
                      </a:ext>
                    </a:extLst>
                  </p:cNvPr>
                  <p:cNvSpPr/>
                  <p:nvPr/>
                </p:nvSpPr>
                <p:spPr>
                  <a:xfrm>
                    <a:off x="4507039"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75" name="Freeform: Shape 5774">
                    <a:extLst>
                      <a:ext uri="{FF2B5EF4-FFF2-40B4-BE49-F238E27FC236}">
                        <a16:creationId xmlns:a16="http://schemas.microsoft.com/office/drawing/2014/main" id="{E53E3EDE-4896-CA31-9F96-32C7A7A7B67A}"/>
                      </a:ext>
                    </a:extLst>
                  </p:cNvPr>
                  <p:cNvSpPr/>
                  <p:nvPr/>
                </p:nvSpPr>
                <p:spPr>
                  <a:xfrm>
                    <a:off x="4469129"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19" name="Graphic 2080">
                  <a:extLst>
                    <a:ext uri="{FF2B5EF4-FFF2-40B4-BE49-F238E27FC236}">
                      <a16:creationId xmlns:a16="http://schemas.microsoft.com/office/drawing/2014/main" id="{F9297108-7784-809C-A4CD-E001DAE3E1DE}"/>
                    </a:ext>
                  </a:extLst>
                </p:cNvPr>
                <p:cNvGrpSpPr/>
                <p:nvPr/>
              </p:nvGrpSpPr>
              <p:grpSpPr>
                <a:xfrm>
                  <a:off x="4451317" y="2996183"/>
                  <a:ext cx="75723" cy="75723"/>
                  <a:chOff x="4451317" y="2996183"/>
                  <a:chExt cx="75723" cy="75723"/>
                </a:xfrm>
              </p:grpSpPr>
              <p:sp>
                <p:nvSpPr>
                  <p:cNvPr id="5772" name="Freeform: Shape 5771">
                    <a:extLst>
                      <a:ext uri="{FF2B5EF4-FFF2-40B4-BE49-F238E27FC236}">
                        <a16:creationId xmlns:a16="http://schemas.microsoft.com/office/drawing/2014/main" id="{7D986FCC-8275-B46B-D686-FD919BBCF848}"/>
                      </a:ext>
                    </a:extLst>
                  </p:cNvPr>
                  <p:cNvSpPr/>
                  <p:nvPr/>
                </p:nvSpPr>
                <p:spPr>
                  <a:xfrm>
                    <a:off x="4489132"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73" name="Freeform: Shape 5772">
                    <a:extLst>
                      <a:ext uri="{FF2B5EF4-FFF2-40B4-BE49-F238E27FC236}">
                        <a16:creationId xmlns:a16="http://schemas.microsoft.com/office/drawing/2014/main" id="{4A3E6572-FAD3-64A9-AF4C-9BE56799FB72}"/>
                      </a:ext>
                    </a:extLst>
                  </p:cNvPr>
                  <p:cNvSpPr/>
                  <p:nvPr/>
                </p:nvSpPr>
                <p:spPr>
                  <a:xfrm>
                    <a:off x="4451317" y="303409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0" name="Graphic 2080">
                  <a:extLst>
                    <a:ext uri="{FF2B5EF4-FFF2-40B4-BE49-F238E27FC236}">
                      <a16:creationId xmlns:a16="http://schemas.microsoft.com/office/drawing/2014/main" id="{F9855BEB-2FCC-01B9-B392-2881ECCD32E9}"/>
                    </a:ext>
                  </a:extLst>
                </p:cNvPr>
                <p:cNvGrpSpPr/>
                <p:nvPr/>
              </p:nvGrpSpPr>
              <p:grpSpPr>
                <a:xfrm>
                  <a:off x="4441221" y="2996183"/>
                  <a:ext cx="75628" cy="75723"/>
                  <a:chOff x="4441221" y="2996183"/>
                  <a:chExt cx="75628" cy="75723"/>
                </a:xfrm>
              </p:grpSpPr>
              <p:sp>
                <p:nvSpPr>
                  <p:cNvPr id="5770" name="Freeform: Shape 5769">
                    <a:extLst>
                      <a:ext uri="{FF2B5EF4-FFF2-40B4-BE49-F238E27FC236}">
                        <a16:creationId xmlns:a16="http://schemas.microsoft.com/office/drawing/2014/main" id="{2308DD1A-0739-27C6-479B-028EEFAAAEAD}"/>
                      </a:ext>
                    </a:extLst>
                  </p:cNvPr>
                  <p:cNvSpPr/>
                  <p:nvPr/>
                </p:nvSpPr>
                <p:spPr>
                  <a:xfrm>
                    <a:off x="4479035" y="29961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71" name="Freeform: Shape 5770">
                    <a:extLst>
                      <a:ext uri="{FF2B5EF4-FFF2-40B4-BE49-F238E27FC236}">
                        <a16:creationId xmlns:a16="http://schemas.microsoft.com/office/drawing/2014/main" id="{B8E02313-9FD2-B37F-CC43-877797B45801}"/>
                      </a:ext>
                    </a:extLst>
                  </p:cNvPr>
                  <p:cNvSpPr/>
                  <p:nvPr/>
                </p:nvSpPr>
                <p:spPr>
                  <a:xfrm>
                    <a:off x="4441221" y="303409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1" name="Graphic 2080">
                  <a:extLst>
                    <a:ext uri="{FF2B5EF4-FFF2-40B4-BE49-F238E27FC236}">
                      <a16:creationId xmlns:a16="http://schemas.microsoft.com/office/drawing/2014/main" id="{5861ADFE-5026-94C4-0062-139BCEA6972E}"/>
                    </a:ext>
                  </a:extLst>
                </p:cNvPr>
                <p:cNvGrpSpPr/>
                <p:nvPr/>
              </p:nvGrpSpPr>
              <p:grpSpPr>
                <a:xfrm>
                  <a:off x="4389310" y="2975133"/>
                  <a:ext cx="75723" cy="75723"/>
                  <a:chOff x="4389310" y="2975133"/>
                  <a:chExt cx="75723" cy="75723"/>
                </a:xfrm>
              </p:grpSpPr>
              <p:sp>
                <p:nvSpPr>
                  <p:cNvPr id="5768" name="Freeform: Shape 5767">
                    <a:extLst>
                      <a:ext uri="{FF2B5EF4-FFF2-40B4-BE49-F238E27FC236}">
                        <a16:creationId xmlns:a16="http://schemas.microsoft.com/office/drawing/2014/main" id="{4F4384A6-57BE-0E51-2DFC-F18B85FA5470}"/>
                      </a:ext>
                    </a:extLst>
                  </p:cNvPr>
                  <p:cNvSpPr/>
                  <p:nvPr/>
                </p:nvSpPr>
                <p:spPr>
                  <a:xfrm>
                    <a:off x="4427124" y="29751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69" name="Freeform: Shape 5768">
                    <a:extLst>
                      <a:ext uri="{FF2B5EF4-FFF2-40B4-BE49-F238E27FC236}">
                        <a16:creationId xmlns:a16="http://schemas.microsoft.com/office/drawing/2014/main" id="{07CBABEF-0ABF-73E7-29F9-79DE19799E36}"/>
                      </a:ext>
                    </a:extLst>
                  </p:cNvPr>
                  <p:cNvSpPr/>
                  <p:nvPr/>
                </p:nvSpPr>
                <p:spPr>
                  <a:xfrm>
                    <a:off x="4389310" y="30129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2" name="Graphic 2080">
                  <a:extLst>
                    <a:ext uri="{FF2B5EF4-FFF2-40B4-BE49-F238E27FC236}">
                      <a16:creationId xmlns:a16="http://schemas.microsoft.com/office/drawing/2014/main" id="{EE83C5FB-4B67-693A-8D74-71F53995222A}"/>
                    </a:ext>
                  </a:extLst>
                </p:cNvPr>
                <p:cNvGrpSpPr/>
                <p:nvPr/>
              </p:nvGrpSpPr>
              <p:grpSpPr>
                <a:xfrm>
                  <a:off x="4365497" y="2958369"/>
                  <a:ext cx="75723" cy="75723"/>
                  <a:chOff x="4365497" y="2958369"/>
                  <a:chExt cx="75723" cy="75723"/>
                </a:xfrm>
              </p:grpSpPr>
              <p:sp>
                <p:nvSpPr>
                  <p:cNvPr id="5766" name="Freeform: Shape 5765">
                    <a:extLst>
                      <a:ext uri="{FF2B5EF4-FFF2-40B4-BE49-F238E27FC236}">
                        <a16:creationId xmlns:a16="http://schemas.microsoft.com/office/drawing/2014/main" id="{B9EFBF76-907E-9A50-A585-E0C357931AB1}"/>
                      </a:ext>
                    </a:extLst>
                  </p:cNvPr>
                  <p:cNvSpPr/>
                  <p:nvPr/>
                </p:nvSpPr>
                <p:spPr>
                  <a:xfrm>
                    <a:off x="440331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67" name="Freeform: Shape 5766">
                    <a:extLst>
                      <a:ext uri="{FF2B5EF4-FFF2-40B4-BE49-F238E27FC236}">
                        <a16:creationId xmlns:a16="http://schemas.microsoft.com/office/drawing/2014/main" id="{AAB6A194-EA56-6EEE-2630-DB71BB8589FE}"/>
                      </a:ext>
                    </a:extLst>
                  </p:cNvPr>
                  <p:cNvSpPr/>
                  <p:nvPr/>
                </p:nvSpPr>
                <p:spPr>
                  <a:xfrm>
                    <a:off x="4365497"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3" name="Graphic 2080">
                  <a:extLst>
                    <a:ext uri="{FF2B5EF4-FFF2-40B4-BE49-F238E27FC236}">
                      <a16:creationId xmlns:a16="http://schemas.microsoft.com/office/drawing/2014/main" id="{5C3AF3E9-3F40-F7AA-7D2A-420631867B5E}"/>
                    </a:ext>
                  </a:extLst>
                </p:cNvPr>
                <p:cNvGrpSpPr/>
                <p:nvPr/>
              </p:nvGrpSpPr>
              <p:grpSpPr>
                <a:xfrm>
                  <a:off x="4348066" y="2958369"/>
                  <a:ext cx="75723" cy="75723"/>
                  <a:chOff x="4348066" y="2958369"/>
                  <a:chExt cx="75723" cy="75723"/>
                </a:xfrm>
              </p:grpSpPr>
              <p:sp>
                <p:nvSpPr>
                  <p:cNvPr id="5764" name="Freeform: Shape 5763">
                    <a:extLst>
                      <a:ext uri="{FF2B5EF4-FFF2-40B4-BE49-F238E27FC236}">
                        <a16:creationId xmlns:a16="http://schemas.microsoft.com/office/drawing/2014/main" id="{64C40200-B648-1FAF-A699-CBF23D390944}"/>
                      </a:ext>
                    </a:extLst>
                  </p:cNvPr>
                  <p:cNvSpPr/>
                  <p:nvPr/>
                </p:nvSpPr>
                <p:spPr>
                  <a:xfrm>
                    <a:off x="4385881"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65" name="Freeform: Shape 5764">
                    <a:extLst>
                      <a:ext uri="{FF2B5EF4-FFF2-40B4-BE49-F238E27FC236}">
                        <a16:creationId xmlns:a16="http://schemas.microsoft.com/office/drawing/2014/main" id="{EE3C287C-3E16-74FA-CE7A-E36E5FDB38DE}"/>
                      </a:ext>
                    </a:extLst>
                  </p:cNvPr>
                  <p:cNvSpPr/>
                  <p:nvPr/>
                </p:nvSpPr>
                <p:spPr>
                  <a:xfrm>
                    <a:off x="4348066"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4" name="Graphic 2080">
                  <a:extLst>
                    <a:ext uri="{FF2B5EF4-FFF2-40B4-BE49-F238E27FC236}">
                      <a16:creationId xmlns:a16="http://schemas.microsoft.com/office/drawing/2014/main" id="{D76B6699-2B25-99FE-B82A-1779527BD2D5}"/>
                    </a:ext>
                  </a:extLst>
                </p:cNvPr>
                <p:cNvGrpSpPr/>
                <p:nvPr/>
              </p:nvGrpSpPr>
              <p:grpSpPr>
                <a:xfrm>
                  <a:off x="4333779" y="2958369"/>
                  <a:ext cx="75723" cy="75723"/>
                  <a:chOff x="4333779" y="2958369"/>
                  <a:chExt cx="75723" cy="75723"/>
                </a:xfrm>
              </p:grpSpPr>
              <p:sp>
                <p:nvSpPr>
                  <p:cNvPr id="5762" name="Freeform: Shape 5761">
                    <a:extLst>
                      <a:ext uri="{FF2B5EF4-FFF2-40B4-BE49-F238E27FC236}">
                        <a16:creationId xmlns:a16="http://schemas.microsoft.com/office/drawing/2014/main" id="{6D20343B-BEA4-3B90-0ED9-7C42C547BEDE}"/>
                      </a:ext>
                    </a:extLst>
                  </p:cNvPr>
                  <p:cNvSpPr/>
                  <p:nvPr/>
                </p:nvSpPr>
                <p:spPr>
                  <a:xfrm>
                    <a:off x="4371593" y="295836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63" name="Freeform: Shape 5762">
                    <a:extLst>
                      <a:ext uri="{FF2B5EF4-FFF2-40B4-BE49-F238E27FC236}">
                        <a16:creationId xmlns:a16="http://schemas.microsoft.com/office/drawing/2014/main" id="{AB396134-5157-B28E-7B59-2641A47CCAD4}"/>
                      </a:ext>
                    </a:extLst>
                  </p:cNvPr>
                  <p:cNvSpPr/>
                  <p:nvPr/>
                </p:nvSpPr>
                <p:spPr>
                  <a:xfrm>
                    <a:off x="4333779" y="299618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5" name="Graphic 2080">
                  <a:extLst>
                    <a:ext uri="{FF2B5EF4-FFF2-40B4-BE49-F238E27FC236}">
                      <a16:creationId xmlns:a16="http://schemas.microsoft.com/office/drawing/2014/main" id="{7B6AF5C6-8847-2AF0-1FE9-E701BFC0B8C9}"/>
                    </a:ext>
                  </a:extLst>
                </p:cNvPr>
                <p:cNvGrpSpPr/>
                <p:nvPr/>
              </p:nvGrpSpPr>
              <p:grpSpPr>
                <a:xfrm>
                  <a:off x="4323206" y="2940557"/>
                  <a:ext cx="75723" cy="75628"/>
                  <a:chOff x="4323206" y="2940557"/>
                  <a:chExt cx="75723" cy="75628"/>
                </a:xfrm>
              </p:grpSpPr>
              <p:sp>
                <p:nvSpPr>
                  <p:cNvPr id="5760" name="Freeform: Shape 5759">
                    <a:extLst>
                      <a:ext uri="{FF2B5EF4-FFF2-40B4-BE49-F238E27FC236}">
                        <a16:creationId xmlns:a16="http://schemas.microsoft.com/office/drawing/2014/main" id="{43D3368D-FE27-EB27-6AFA-989285C25C80}"/>
                      </a:ext>
                    </a:extLst>
                  </p:cNvPr>
                  <p:cNvSpPr/>
                  <p:nvPr/>
                </p:nvSpPr>
                <p:spPr>
                  <a:xfrm>
                    <a:off x="4361116"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61" name="Freeform: Shape 5760">
                    <a:extLst>
                      <a:ext uri="{FF2B5EF4-FFF2-40B4-BE49-F238E27FC236}">
                        <a16:creationId xmlns:a16="http://schemas.microsoft.com/office/drawing/2014/main" id="{9FAEFEEF-3752-D041-7D7D-159CFEB211D5}"/>
                      </a:ext>
                    </a:extLst>
                  </p:cNvPr>
                  <p:cNvSpPr/>
                  <p:nvPr/>
                </p:nvSpPr>
                <p:spPr>
                  <a:xfrm>
                    <a:off x="4323206"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6" name="Graphic 2080">
                  <a:extLst>
                    <a:ext uri="{FF2B5EF4-FFF2-40B4-BE49-F238E27FC236}">
                      <a16:creationId xmlns:a16="http://schemas.microsoft.com/office/drawing/2014/main" id="{BBF2D778-741B-401E-C67C-2CC32850E4E7}"/>
                    </a:ext>
                  </a:extLst>
                </p:cNvPr>
                <p:cNvGrpSpPr/>
                <p:nvPr/>
              </p:nvGrpSpPr>
              <p:grpSpPr>
                <a:xfrm>
                  <a:off x="4305775" y="2940557"/>
                  <a:ext cx="75723" cy="75628"/>
                  <a:chOff x="4305775" y="2940557"/>
                  <a:chExt cx="75723" cy="75628"/>
                </a:xfrm>
              </p:grpSpPr>
              <p:sp>
                <p:nvSpPr>
                  <p:cNvPr id="5758" name="Freeform: Shape 5757">
                    <a:extLst>
                      <a:ext uri="{FF2B5EF4-FFF2-40B4-BE49-F238E27FC236}">
                        <a16:creationId xmlns:a16="http://schemas.microsoft.com/office/drawing/2014/main" id="{99A7E61A-5375-48B4-3346-AA7232B51E7F}"/>
                      </a:ext>
                    </a:extLst>
                  </p:cNvPr>
                  <p:cNvSpPr/>
                  <p:nvPr/>
                </p:nvSpPr>
                <p:spPr>
                  <a:xfrm>
                    <a:off x="4343685"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59" name="Freeform: Shape 5758">
                    <a:extLst>
                      <a:ext uri="{FF2B5EF4-FFF2-40B4-BE49-F238E27FC236}">
                        <a16:creationId xmlns:a16="http://schemas.microsoft.com/office/drawing/2014/main" id="{85701CB8-CF4C-1389-BE30-B096B136D5C7}"/>
                      </a:ext>
                    </a:extLst>
                  </p:cNvPr>
                  <p:cNvSpPr/>
                  <p:nvPr/>
                </p:nvSpPr>
                <p:spPr>
                  <a:xfrm>
                    <a:off x="4305775"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7" name="Graphic 2080">
                  <a:extLst>
                    <a:ext uri="{FF2B5EF4-FFF2-40B4-BE49-F238E27FC236}">
                      <a16:creationId xmlns:a16="http://schemas.microsoft.com/office/drawing/2014/main" id="{681D895D-D4FF-0FC1-5B21-5C1E886CCD25}"/>
                    </a:ext>
                  </a:extLst>
                </p:cNvPr>
                <p:cNvGrpSpPr/>
                <p:nvPr/>
              </p:nvGrpSpPr>
              <p:grpSpPr>
                <a:xfrm>
                  <a:off x="4291488" y="2940557"/>
                  <a:ext cx="75723" cy="75628"/>
                  <a:chOff x="4291488" y="2940557"/>
                  <a:chExt cx="75723" cy="75628"/>
                </a:xfrm>
              </p:grpSpPr>
              <p:sp>
                <p:nvSpPr>
                  <p:cNvPr id="5756" name="Freeform: Shape 5755">
                    <a:extLst>
                      <a:ext uri="{FF2B5EF4-FFF2-40B4-BE49-F238E27FC236}">
                        <a16:creationId xmlns:a16="http://schemas.microsoft.com/office/drawing/2014/main" id="{943771E6-360F-A015-CA15-D604BD147EAD}"/>
                      </a:ext>
                    </a:extLst>
                  </p:cNvPr>
                  <p:cNvSpPr/>
                  <p:nvPr/>
                </p:nvSpPr>
                <p:spPr>
                  <a:xfrm>
                    <a:off x="4329397" y="294055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57" name="Freeform: Shape 5756">
                    <a:extLst>
                      <a:ext uri="{FF2B5EF4-FFF2-40B4-BE49-F238E27FC236}">
                        <a16:creationId xmlns:a16="http://schemas.microsoft.com/office/drawing/2014/main" id="{BC102CF8-7F12-A064-5CCC-AB04E79DC01F}"/>
                      </a:ext>
                    </a:extLst>
                  </p:cNvPr>
                  <p:cNvSpPr/>
                  <p:nvPr/>
                </p:nvSpPr>
                <p:spPr>
                  <a:xfrm>
                    <a:off x="4291488" y="297837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8" name="Graphic 2080">
                  <a:extLst>
                    <a:ext uri="{FF2B5EF4-FFF2-40B4-BE49-F238E27FC236}">
                      <a16:creationId xmlns:a16="http://schemas.microsoft.com/office/drawing/2014/main" id="{8A9BA7AA-03F2-7E2F-8534-CC9116062AD2}"/>
                    </a:ext>
                  </a:extLst>
                </p:cNvPr>
                <p:cNvGrpSpPr/>
                <p:nvPr/>
              </p:nvGrpSpPr>
              <p:grpSpPr>
                <a:xfrm>
                  <a:off x="4240910" y="2931223"/>
                  <a:ext cx="75723" cy="75723"/>
                  <a:chOff x="4240910" y="2931223"/>
                  <a:chExt cx="75723" cy="75723"/>
                </a:xfrm>
              </p:grpSpPr>
              <p:sp>
                <p:nvSpPr>
                  <p:cNvPr id="5754" name="Freeform: Shape 5753">
                    <a:extLst>
                      <a:ext uri="{FF2B5EF4-FFF2-40B4-BE49-F238E27FC236}">
                        <a16:creationId xmlns:a16="http://schemas.microsoft.com/office/drawing/2014/main" id="{6920FE04-1597-BCFE-8D40-EA8EC01F4EF3}"/>
                      </a:ext>
                    </a:extLst>
                  </p:cNvPr>
                  <p:cNvSpPr/>
                  <p:nvPr/>
                </p:nvSpPr>
                <p:spPr>
                  <a:xfrm>
                    <a:off x="4278820" y="293122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55" name="Freeform: Shape 5754">
                    <a:extLst>
                      <a:ext uri="{FF2B5EF4-FFF2-40B4-BE49-F238E27FC236}">
                        <a16:creationId xmlns:a16="http://schemas.microsoft.com/office/drawing/2014/main" id="{0FE1FA3F-4D97-8A47-1684-0EBC895187C8}"/>
                      </a:ext>
                    </a:extLst>
                  </p:cNvPr>
                  <p:cNvSpPr/>
                  <p:nvPr/>
                </p:nvSpPr>
                <p:spPr>
                  <a:xfrm>
                    <a:off x="4240910" y="296903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29" name="Graphic 2080">
                  <a:extLst>
                    <a:ext uri="{FF2B5EF4-FFF2-40B4-BE49-F238E27FC236}">
                      <a16:creationId xmlns:a16="http://schemas.microsoft.com/office/drawing/2014/main" id="{0EB5DDD0-A135-78A5-2CFE-64A6BB7BD0DB}"/>
                    </a:ext>
                  </a:extLst>
                </p:cNvPr>
                <p:cNvGrpSpPr/>
                <p:nvPr/>
              </p:nvGrpSpPr>
              <p:grpSpPr>
                <a:xfrm>
                  <a:off x="4180236" y="2925508"/>
                  <a:ext cx="75723" cy="75723"/>
                  <a:chOff x="4180236" y="2925508"/>
                  <a:chExt cx="75723" cy="75723"/>
                </a:xfrm>
              </p:grpSpPr>
              <p:sp>
                <p:nvSpPr>
                  <p:cNvPr id="5752" name="Freeform: Shape 5751">
                    <a:extLst>
                      <a:ext uri="{FF2B5EF4-FFF2-40B4-BE49-F238E27FC236}">
                        <a16:creationId xmlns:a16="http://schemas.microsoft.com/office/drawing/2014/main" id="{B9EC2390-7E23-164B-47E3-2D3B6888002D}"/>
                      </a:ext>
                    </a:extLst>
                  </p:cNvPr>
                  <p:cNvSpPr/>
                  <p:nvPr/>
                </p:nvSpPr>
                <p:spPr>
                  <a:xfrm>
                    <a:off x="4218145" y="292550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53" name="Freeform: Shape 5752">
                    <a:extLst>
                      <a:ext uri="{FF2B5EF4-FFF2-40B4-BE49-F238E27FC236}">
                        <a16:creationId xmlns:a16="http://schemas.microsoft.com/office/drawing/2014/main" id="{691208D6-02F3-01EE-8E7A-041677DD93A2}"/>
                      </a:ext>
                    </a:extLst>
                  </p:cNvPr>
                  <p:cNvSpPr/>
                  <p:nvPr/>
                </p:nvSpPr>
                <p:spPr>
                  <a:xfrm>
                    <a:off x="4180236" y="296341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0" name="Graphic 2080">
                  <a:extLst>
                    <a:ext uri="{FF2B5EF4-FFF2-40B4-BE49-F238E27FC236}">
                      <a16:creationId xmlns:a16="http://schemas.microsoft.com/office/drawing/2014/main" id="{82265A4B-B5EE-AD47-D88B-125FAA73A3F1}"/>
                    </a:ext>
                  </a:extLst>
                </p:cNvPr>
                <p:cNvGrpSpPr/>
                <p:nvPr/>
              </p:nvGrpSpPr>
              <p:grpSpPr>
                <a:xfrm>
                  <a:off x="3977925" y="2869215"/>
                  <a:ext cx="75628" cy="75723"/>
                  <a:chOff x="3977925" y="2869215"/>
                  <a:chExt cx="75628" cy="75723"/>
                </a:xfrm>
              </p:grpSpPr>
              <p:sp>
                <p:nvSpPr>
                  <p:cNvPr id="5750" name="Freeform: Shape 5749">
                    <a:extLst>
                      <a:ext uri="{FF2B5EF4-FFF2-40B4-BE49-F238E27FC236}">
                        <a16:creationId xmlns:a16="http://schemas.microsoft.com/office/drawing/2014/main" id="{4BF0DCFE-263C-7F49-47BB-4DB71F4DF2D4}"/>
                      </a:ext>
                    </a:extLst>
                  </p:cNvPr>
                  <p:cNvSpPr/>
                  <p:nvPr/>
                </p:nvSpPr>
                <p:spPr>
                  <a:xfrm>
                    <a:off x="4015739" y="28692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51" name="Freeform: Shape 5750">
                    <a:extLst>
                      <a:ext uri="{FF2B5EF4-FFF2-40B4-BE49-F238E27FC236}">
                        <a16:creationId xmlns:a16="http://schemas.microsoft.com/office/drawing/2014/main" id="{0243F2DE-E0E9-7554-61D7-C90E449B2CA0}"/>
                      </a:ext>
                    </a:extLst>
                  </p:cNvPr>
                  <p:cNvSpPr/>
                  <p:nvPr/>
                </p:nvSpPr>
                <p:spPr>
                  <a:xfrm>
                    <a:off x="3977925" y="290702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1" name="Graphic 2080">
                  <a:extLst>
                    <a:ext uri="{FF2B5EF4-FFF2-40B4-BE49-F238E27FC236}">
                      <a16:creationId xmlns:a16="http://schemas.microsoft.com/office/drawing/2014/main" id="{384887E6-AEB1-F410-0B70-DAED2B0E126F}"/>
                    </a:ext>
                  </a:extLst>
                </p:cNvPr>
                <p:cNvGrpSpPr/>
                <p:nvPr/>
              </p:nvGrpSpPr>
              <p:grpSpPr>
                <a:xfrm>
                  <a:off x="3650360" y="2743104"/>
                  <a:ext cx="75723" cy="75723"/>
                  <a:chOff x="3650360" y="2743104"/>
                  <a:chExt cx="75723" cy="75723"/>
                </a:xfrm>
              </p:grpSpPr>
              <p:sp>
                <p:nvSpPr>
                  <p:cNvPr id="5748" name="Freeform: Shape 5747">
                    <a:extLst>
                      <a:ext uri="{FF2B5EF4-FFF2-40B4-BE49-F238E27FC236}">
                        <a16:creationId xmlns:a16="http://schemas.microsoft.com/office/drawing/2014/main" id="{8E280DEA-F8EB-7F6B-5BF8-4531ABA1E8B8}"/>
                      </a:ext>
                    </a:extLst>
                  </p:cNvPr>
                  <p:cNvSpPr/>
                  <p:nvPr/>
                </p:nvSpPr>
                <p:spPr>
                  <a:xfrm>
                    <a:off x="3688270" y="274310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49" name="Freeform: Shape 5748">
                    <a:extLst>
                      <a:ext uri="{FF2B5EF4-FFF2-40B4-BE49-F238E27FC236}">
                        <a16:creationId xmlns:a16="http://schemas.microsoft.com/office/drawing/2014/main" id="{0025BD51-C101-85E4-B98A-DD331D4B3A35}"/>
                      </a:ext>
                    </a:extLst>
                  </p:cNvPr>
                  <p:cNvSpPr/>
                  <p:nvPr/>
                </p:nvSpPr>
                <p:spPr>
                  <a:xfrm>
                    <a:off x="3650360" y="278101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2" name="Graphic 2080">
                  <a:extLst>
                    <a:ext uri="{FF2B5EF4-FFF2-40B4-BE49-F238E27FC236}">
                      <a16:creationId xmlns:a16="http://schemas.microsoft.com/office/drawing/2014/main" id="{C5D34AB0-B62B-EA63-B419-D2624B403C88}"/>
                    </a:ext>
                  </a:extLst>
                </p:cNvPr>
                <p:cNvGrpSpPr/>
                <p:nvPr/>
              </p:nvGrpSpPr>
              <p:grpSpPr>
                <a:xfrm>
                  <a:off x="3471671" y="2710719"/>
                  <a:ext cx="75723" cy="75723"/>
                  <a:chOff x="3471671" y="2710719"/>
                  <a:chExt cx="75723" cy="75723"/>
                </a:xfrm>
              </p:grpSpPr>
              <p:sp>
                <p:nvSpPr>
                  <p:cNvPr id="5746" name="Freeform: Shape 5745">
                    <a:extLst>
                      <a:ext uri="{FF2B5EF4-FFF2-40B4-BE49-F238E27FC236}">
                        <a16:creationId xmlns:a16="http://schemas.microsoft.com/office/drawing/2014/main" id="{114F9E0A-FFA4-C6C6-A82F-91AFA917D862}"/>
                      </a:ext>
                    </a:extLst>
                  </p:cNvPr>
                  <p:cNvSpPr/>
                  <p:nvPr/>
                </p:nvSpPr>
                <p:spPr>
                  <a:xfrm>
                    <a:off x="3509485" y="27107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47" name="Freeform: Shape 5746">
                    <a:extLst>
                      <a:ext uri="{FF2B5EF4-FFF2-40B4-BE49-F238E27FC236}">
                        <a16:creationId xmlns:a16="http://schemas.microsoft.com/office/drawing/2014/main" id="{F72E6A0A-06D3-5BFE-7C56-C5E887669384}"/>
                      </a:ext>
                    </a:extLst>
                  </p:cNvPr>
                  <p:cNvSpPr/>
                  <p:nvPr/>
                </p:nvSpPr>
                <p:spPr>
                  <a:xfrm>
                    <a:off x="3471671" y="27485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3" name="Graphic 2080">
                  <a:extLst>
                    <a:ext uri="{FF2B5EF4-FFF2-40B4-BE49-F238E27FC236}">
                      <a16:creationId xmlns:a16="http://schemas.microsoft.com/office/drawing/2014/main" id="{5FE998FA-7541-C37D-6C7C-C9A43C8B721F}"/>
                    </a:ext>
                  </a:extLst>
                </p:cNvPr>
                <p:cNvGrpSpPr/>
                <p:nvPr/>
              </p:nvGrpSpPr>
              <p:grpSpPr>
                <a:xfrm>
                  <a:off x="3317652" y="2688811"/>
                  <a:ext cx="75723" cy="75723"/>
                  <a:chOff x="3317652" y="2688811"/>
                  <a:chExt cx="75723" cy="75723"/>
                </a:xfrm>
              </p:grpSpPr>
              <p:sp>
                <p:nvSpPr>
                  <p:cNvPr id="5744" name="Freeform: Shape 5743">
                    <a:extLst>
                      <a:ext uri="{FF2B5EF4-FFF2-40B4-BE49-F238E27FC236}">
                        <a16:creationId xmlns:a16="http://schemas.microsoft.com/office/drawing/2014/main" id="{EE28835C-5BA5-0835-D40E-51E80F304E8D}"/>
                      </a:ext>
                    </a:extLst>
                  </p:cNvPr>
                  <p:cNvSpPr/>
                  <p:nvPr/>
                </p:nvSpPr>
                <p:spPr>
                  <a:xfrm>
                    <a:off x="3355466" y="26888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45" name="Freeform: Shape 5744">
                    <a:extLst>
                      <a:ext uri="{FF2B5EF4-FFF2-40B4-BE49-F238E27FC236}">
                        <a16:creationId xmlns:a16="http://schemas.microsoft.com/office/drawing/2014/main" id="{D2BCF442-CA34-DC69-55C6-899FB5184A5C}"/>
                      </a:ext>
                    </a:extLst>
                  </p:cNvPr>
                  <p:cNvSpPr/>
                  <p:nvPr/>
                </p:nvSpPr>
                <p:spPr>
                  <a:xfrm>
                    <a:off x="3317652" y="27267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4" name="Graphic 2080">
                  <a:extLst>
                    <a:ext uri="{FF2B5EF4-FFF2-40B4-BE49-F238E27FC236}">
                      <a16:creationId xmlns:a16="http://schemas.microsoft.com/office/drawing/2014/main" id="{34925F2F-2283-27AE-A5FA-E6B8D3A67F0B}"/>
                    </a:ext>
                  </a:extLst>
                </p:cNvPr>
                <p:cNvGrpSpPr/>
                <p:nvPr/>
              </p:nvGrpSpPr>
              <p:grpSpPr>
                <a:xfrm>
                  <a:off x="3107721" y="2670142"/>
                  <a:ext cx="75628" cy="75723"/>
                  <a:chOff x="3107721" y="2670142"/>
                  <a:chExt cx="75628" cy="75723"/>
                </a:xfrm>
              </p:grpSpPr>
              <p:sp>
                <p:nvSpPr>
                  <p:cNvPr id="5742" name="Freeform: Shape 5741">
                    <a:extLst>
                      <a:ext uri="{FF2B5EF4-FFF2-40B4-BE49-F238E27FC236}">
                        <a16:creationId xmlns:a16="http://schemas.microsoft.com/office/drawing/2014/main" id="{9FF93881-8CD9-3814-24CE-CA9E42CB6867}"/>
                      </a:ext>
                    </a:extLst>
                  </p:cNvPr>
                  <p:cNvSpPr/>
                  <p:nvPr/>
                </p:nvSpPr>
                <p:spPr>
                  <a:xfrm>
                    <a:off x="3145535" y="26701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43" name="Freeform: Shape 5742">
                    <a:extLst>
                      <a:ext uri="{FF2B5EF4-FFF2-40B4-BE49-F238E27FC236}">
                        <a16:creationId xmlns:a16="http://schemas.microsoft.com/office/drawing/2014/main" id="{117F2240-EDBD-10E4-90C0-F3A5B775CBF2}"/>
                      </a:ext>
                    </a:extLst>
                  </p:cNvPr>
                  <p:cNvSpPr/>
                  <p:nvPr/>
                </p:nvSpPr>
                <p:spPr>
                  <a:xfrm>
                    <a:off x="3107721" y="270805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5" name="Graphic 2080">
                  <a:extLst>
                    <a:ext uri="{FF2B5EF4-FFF2-40B4-BE49-F238E27FC236}">
                      <a16:creationId xmlns:a16="http://schemas.microsoft.com/office/drawing/2014/main" id="{957A0485-8575-8177-004B-FCC409459DAA}"/>
                    </a:ext>
                  </a:extLst>
                </p:cNvPr>
                <p:cNvGrpSpPr/>
                <p:nvPr/>
              </p:nvGrpSpPr>
              <p:grpSpPr>
                <a:xfrm>
                  <a:off x="3056572" y="2652712"/>
                  <a:ext cx="75723" cy="75723"/>
                  <a:chOff x="3056572" y="2652712"/>
                  <a:chExt cx="75723" cy="75723"/>
                </a:xfrm>
              </p:grpSpPr>
              <p:sp>
                <p:nvSpPr>
                  <p:cNvPr id="5740" name="Freeform: Shape 5739">
                    <a:extLst>
                      <a:ext uri="{FF2B5EF4-FFF2-40B4-BE49-F238E27FC236}">
                        <a16:creationId xmlns:a16="http://schemas.microsoft.com/office/drawing/2014/main" id="{02E1E613-0DB3-5842-4C56-459280BC7178}"/>
                      </a:ext>
                    </a:extLst>
                  </p:cNvPr>
                  <p:cNvSpPr/>
                  <p:nvPr/>
                </p:nvSpPr>
                <p:spPr>
                  <a:xfrm>
                    <a:off x="309448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41" name="Freeform: Shape 5740">
                    <a:extLst>
                      <a:ext uri="{FF2B5EF4-FFF2-40B4-BE49-F238E27FC236}">
                        <a16:creationId xmlns:a16="http://schemas.microsoft.com/office/drawing/2014/main" id="{A37FBCDD-2D5F-BA58-D1FD-016B391D1924}"/>
                      </a:ext>
                    </a:extLst>
                  </p:cNvPr>
                  <p:cNvSpPr/>
                  <p:nvPr/>
                </p:nvSpPr>
                <p:spPr>
                  <a:xfrm>
                    <a:off x="3056572"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6" name="Graphic 2080">
                  <a:extLst>
                    <a:ext uri="{FF2B5EF4-FFF2-40B4-BE49-F238E27FC236}">
                      <a16:creationId xmlns:a16="http://schemas.microsoft.com/office/drawing/2014/main" id="{7B093960-2582-49E6-5F28-0E148D88CD83}"/>
                    </a:ext>
                  </a:extLst>
                </p:cNvPr>
                <p:cNvGrpSpPr/>
                <p:nvPr/>
              </p:nvGrpSpPr>
              <p:grpSpPr>
                <a:xfrm>
                  <a:off x="3005137" y="2652712"/>
                  <a:ext cx="75723" cy="75723"/>
                  <a:chOff x="3005137" y="2652712"/>
                  <a:chExt cx="75723" cy="75723"/>
                </a:xfrm>
              </p:grpSpPr>
              <p:sp>
                <p:nvSpPr>
                  <p:cNvPr id="5738" name="Freeform: Shape 5737">
                    <a:extLst>
                      <a:ext uri="{FF2B5EF4-FFF2-40B4-BE49-F238E27FC236}">
                        <a16:creationId xmlns:a16="http://schemas.microsoft.com/office/drawing/2014/main" id="{4D8F64EA-E861-20B9-5DAB-606F5AEB6C1C}"/>
                      </a:ext>
                    </a:extLst>
                  </p:cNvPr>
                  <p:cNvSpPr/>
                  <p:nvPr/>
                </p:nvSpPr>
                <p:spPr>
                  <a:xfrm>
                    <a:off x="3042951" y="265271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39" name="Freeform: Shape 5738">
                    <a:extLst>
                      <a:ext uri="{FF2B5EF4-FFF2-40B4-BE49-F238E27FC236}">
                        <a16:creationId xmlns:a16="http://schemas.microsoft.com/office/drawing/2014/main" id="{2B030271-1453-F14A-0125-977E46BF59B3}"/>
                      </a:ext>
                    </a:extLst>
                  </p:cNvPr>
                  <p:cNvSpPr/>
                  <p:nvPr/>
                </p:nvSpPr>
                <p:spPr>
                  <a:xfrm>
                    <a:off x="3005137" y="26905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7" name="Graphic 2080">
                  <a:extLst>
                    <a:ext uri="{FF2B5EF4-FFF2-40B4-BE49-F238E27FC236}">
                      <a16:creationId xmlns:a16="http://schemas.microsoft.com/office/drawing/2014/main" id="{915EF4B5-795B-63A0-BD3D-3CA24E126617}"/>
                    </a:ext>
                  </a:extLst>
                </p:cNvPr>
                <p:cNvGrpSpPr/>
                <p:nvPr/>
              </p:nvGrpSpPr>
              <p:grpSpPr>
                <a:xfrm>
                  <a:off x="4079080" y="2893408"/>
                  <a:ext cx="75723" cy="75628"/>
                  <a:chOff x="4079080" y="2893408"/>
                  <a:chExt cx="75723" cy="75628"/>
                </a:xfrm>
              </p:grpSpPr>
              <p:sp>
                <p:nvSpPr>
                  <p:cNvPr id="5736" name="Freeform: Shape 5735">
                    <a:extLst>
                      <a:ext uri="{FF2B5EF4-FFF2-40B4-BE49-F238E27FC236}">
                        <a16:creationId xmlns:a16="http://schemas.microsoft.com/office/drawing/2014/main" id="{667D0E83-55A5-2765-0653-74E5D1DB984A}"/>
                      </a:ext>
                    </a:extLst>
                  </p:cNvPr>
                  <p:cNvSpPr/>
                  <p:nvPr/>
                </p:nvSpPr>
                <p:spPr>
                  <a:xfrm>
                    <a:off x="41168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37" name="Freeform: Shape 5736">
                    <a:extLst>
                      <a:ext uri="{FF2B5EF4-FFF2-40B4-BE49-F238E27FC236}">
                        <a16:creationId xmlns:a16="http://schemas.microsoft.com/office/drawing/2014/main" id="{E0D3D715-5BAF-E1D9-6D80-3A051D553CC0}"/>
                      </a:ext>
                    </a:extLst>
                  </p:cNvPr>
                  <p:cNvSpPr/>
                  <p:nvPr/>
                </p:nvSpPr>
                <p:spPr>
                  <a:xfrm>
                    <a:off x="4079080"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8" name="Graphic 2080">
                  <a:extLst>
                    <a:ext uri="{FF2B5EF4-FFF2-40B4-BE49-F238E27FC236}">
                      <a16:creationId xmlns:a16="http://schemas.microsoft.com/office/drawing/2014/main" id="{A668FC38-8D15-E41C-7618-8A24C9A61039}"/>
                    </a:ext>
                  </a:extLst>
                </p:cNvPr>
                <p:cNvGrpSpPr/>
                <p:nvPr/>
              </p:nvGrpSpPr>
              <p:grpSpPr>
                <a:xfrm>
                  <a:off x="4098321" y="2893408"/>
                  <a:ext cx="75628" cy="75628"/>
                  <a:chOff x="4098321" y="2893408"/>
                  <a:chExt cx="75628" cy="75628"/>
                </a:xfrm>
              </p:grpSpPr>
              <p:sp>
                <p:nvSpPr>
                  <p:cNvPr id="5734" name="Freeform: Shape 5733">
                    <a:extLst>
                      <a:ext uri="{FF2B5EF4-FFF2-40B4-BE49-F238E27FC236}">
                        <a16:creationId xmlns:a16="http://schemas.microsoft.com/office/drawing/2014/main" id="{E33C1544-AB61-2FB8-9DEA-372726EA627D}"/>
                      </a:ext>
                    </a:extLst>
                  </p:cNvPr>
                  <p:cNvSpPr/>
                  <p:nvPr/>
                </p:nvSpPr>
                <p:spPr>
                  <a:xfrm>
                    <a:off x="413613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35" name="Freeform: Shape 5734">
                    <a:extLst>
                      <a:ext uri="{FF2B5EF4-FFF2-40B4-BE49-F238E27FC236}">
                        <a16:creationId xmlns:a16="http://schemas.microsoft.com/office/drawing/2014/main" id="{66DB9EE5-744D-5D87-18B2-629D18A687F9}"/>
                      </a:ext>
                    </a:extLst>
                  </p:cNvPr>
                  <p:cNvSpPr/>
                  <p:nvPr/>
                </p:nvSpPr>
                <p:spPr>
                  <a:xfrm>
                    <a:off x="4098321"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39" name="Graphic 2080">
                  <a:extLst>
                    <a:ext uri="{FF2B5EF4-FFF2-40B4-BE49-F238E27FC236}">
                      <a16:creationId xmlns:a16="http://schemas.microsoft.com/office/drawing/2014/main" id="{054E1E6C-02F7-51DC-D7FE-77EBFFFA0953}"/>
                    </a:ext>
                  </a:extLst>
                </p:cNvPr>
                <p:cNvGrpSpPr/>
                <p:nvPr/>
              </p:nvGrpSpPr>
              <p:grpSpPr>
                <a:xfrm>
                  <a:off x="4126896" y="2893408"/>
                  <a:ext cx="75628" cy="75628"/>
                  <a:chOff x="4126896" y="2893408"/>
                  <a:chExt cx="75628" cy="75628"/>
                </a:xfrm>
              </p:grpSpPr>
              <p:sp>
                <p:nvSpPr>
                  <p:cNvPr id="5732" name="Freeform: Shape 5731">
                    <a:extLst>
                      <a:ext uri="{FF2B5EF4-FFF2-40B4-BE49-F238E27FC236}">
                        <a16:creationId xmlns:a16="http://schemas.microsoft.com/office/drawing/2014/main" id="{3D9ADB86-AB34-E537-4C65-AF25ACA02662}"/>
                      </a:ext>
                    </a:extLst>
                  </p:cNvPr>
                  <p:cNvSpPr/>
                  <p:nvPr/>
                </p:nvSpPr>
                <p:spPr>
                  <a:xfrm>
                    <a:off x="4164710"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33" name="Freeform: Shape 5732">
                    <a:extLst>
                      <a:ext uri="{FF2B5EF4-FFF2-40B4-BE49-F238E27FC236}">
                        <a16:creationId xmlns:a16="http://schemas.microsoft.com/office/drawing/2014/main" id="{0CCBE57B-6BA4-91F3-DE4C-AAEEDF1AEC51}"/>
                      </a:ext>
                    </a:extLst>
                  </p:cNvPr>
                  <p:cNvSpPr/>
                  <p:nvPr/>
                </p:nvSpPr>
                <p:spPr>
                  <a:xfrm>
                    <a:off x="4126896" y="293122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0" name="Graphic 2080">
                  <a:extLst>
                    <a:ext uri="{FF2B5EF4-FFF2-40B4-BE49-F238E27FC236}">
                      <a16:creationId xmlns:a16="http://schemas.microsoft.com/office/drawing/2014/main" id="{C2544675-4C87-F00B-3396-733C21D55319}"/>
                    </a:ext>
                  </a:extLst>
                </p:cNvPr>
                <p:cNvGrpSpPr/>
                <p:nvPr/>
              </p:nvGrpSpPr>
              <p:grpSpPr>
                <a:xfrm>
                  <a:off x="4116895" y="2893408"/>
                  <a:ext cx="75723" cy="75628"/>
                  <a:chOff x="4116895" y="2893408"/>
                  <a:chExt cx="75723" cy="75628"/>
                </a:xfrm>
              </p:grpSpPr>
              <p:sp>
                <p:nvSpPr>
                  <p:cNvPr id="5730" name="Freeform: Shape 5729">
                    <a:extLst>
                      <a:ext uri="{FF2B5EF4-FFF2-40B4-BE49-F238E27FC236}">
                        <a16:creationId xmlns:a16="http://schemas.microsoft.com/office/drawing/2014/main" id="{DFEC1D8B-F446-AFDE-8E87-443711F1245B}"/>
                      </a:ext>
                    </a:extLst>
                  </p:cNvPr>
                  <p:cNvSpPr/>
                  <p:nvPr/>
                </p:nvSpPr>
                <p:spPr>
                  <a:xfrm>
                    <a:off x="4154804"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31" name="Freeform: Shape 5730">
                    <a:extLst>
                      <a:ext uri="{FF2B5EF4-FFF2-40B4-BE49-F238E27FC236}">
                        <a16:creationId xmlns:a16="http://schemas.microsoft.com/office/drawing/2014/main" id="{2F71829C-EF60-DF23-2B5E-2AEDDF27B441}"/>
                      </a:ext>
                    </a:extLst>
                  </p:cNvPr>
                  <p:cNvSpPr/>
                  <p:nvPr/>
                </p:nvSpPr>
                <p:spPr>
                  <a:xfrm>
                    <a:off x="411689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1" name="Graphic 2080">
                  <a:extLst>
                    <a:ext uri="{FF2B5EF4-FFF2-40B4-BE49-F238E27FC236}">
                      <a16:creationId xmlns:a16="http://schemas.microsoft.com/office/drawing/2014/main" id="{26BD3AB2-FBC0-DE7E-9FE3-27B0D98AA646}"/>
                    </a:ext>
                  </a:extLst>
                </p:cNvPr>
                <p:cNvGrpSpPr/>
                <p:nvPr/>
              </p:nvGrpSpPr>
              <p:grpSpPr>
                <a:xfrm>
                  <a:off x="4170044" y="2893408"/>
                  <a:ext cx="75628" cy="75628"/>
                  <a:chOff x="4170044" y="2893408"/>
                  <a:chExt cx="75628" cy="75628"/>
                </a:xfrm>
              </p:grpSpPr>
              <p:sp>
                <p:nvSpPr>
                  <p:cNvPr id="5728" name="Freeform: Shape 5727">
                    <a:extLst>
                      <a:ext uri="{FF2B5EF4-FFF2-40B4-BE49-F238E27FC236}">
                        <a16:creationId xmlns:a16="http://schemas.microsoft.com/office/drawing/2014/main" id="{02A12DB7-E444-77C6-EC74-E091337BC2E1}"/>
                      </a:ext>
                    </a:extLst>
                  </p:cNvPr>
                  <p:cNvSpPr/>
                  <p:nvPr/>
                </p:nvSpPr>
                <p:spPr>
                  <a:xfrm>
                    <a:off x="4207858"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29" name="Freeform: Shape 5728">
                    <a:extLst>
                      <a:ext uri="{FF2B5EF4-FFF2-40B4-BE49-F238E27FC236}">
                        <a16:creationId xmlns:a16="http://schemas.microsoft.com/office/drawing/2014/main" id="{AE77C645-7CBE-7DC4-3F79-71A0E2915978}"/>
                      </a:ext>
                    </a:extLst>
                  </p:cNvPr>
                  <p:cNvSpPr/>
                  <p:nvPr/>
                </p:nvSpPr>
                <p:spPr>
                  <a:xfrm>
                    <a:off x="4170044" y="293122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2" name="Graphic 2080">
                  <a:extLst>
                    <a:ext uri="{FF2B5EF4-FFF2-40B4-BE49-F238E27FC236}">
                      <a16:creationId xmlns:a16="http://schemas.microsoft.com/office/drawing/2014/main" id="{23E402D5-D565-5542-1108-B538CB25424C}"/>
                    </a:ext>
                  </a:extLst>
                </p:cNvPr>
                <p:cNvGrpSpPr/>
                <p:nvPr/>
              </p:nvGrpSpPr>
              <p:grpSpPr>
                <a:xfrm>
                  <a:off x="4157185" y="2893408"/>
                  <a:ext cx="75723" cy="75628"/>
                  <a:chOff x="4157185" y="2893408"/>
                  <a:chExt cx="75723" cy="75628"/>
                </a:xfrm>
              </p:grpSpPr>
              <p:sp>
                <p:nvSpPr>
                  <p:cNvPr id="5726" name="Freeform: Shape 5725">
                    <a:extLst>
                      <a:ext uri="{FF2B5EF4-FFF2-40B4-BE49-F238E27FC236}">
                        <a16:creationId xmlns:a16="http://schemas.microsoft.com/office/drawing/2014/main" id="{8E11A58B-738F-93ED-AE2E-A1DAFE409A69}"/>
                      </a:ext>
                    </a:extLst>
                  </p:cNvPr>
                  <p:cNvSpPr/>
                  <p:nvPr/>
                </p:nvSpPr>
                <p:spPr>
                  <a:xfrm>
                    <a:off x="4195095" y="2893408"/>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27" name="Freeform: Shape 5726">
                    <a:extLst>
                      <a:ext uri="{FF2B5EF4-FFF2-40B4-BE49-F238E27FC236}">
                        <a16:creationId xmlns:a16="http://schemas.microsoft.com/office/drawing/2014/main" id="{F9F6DF59-29BA-8CCD-46C9-F523B7BFE4D6}"/>
                      </a:ext>
                    </a:extLst>
                  </p:cNvPr>
                  <p:cNvSpPr/>
                  <p:nvPr/>
                </p:nvSpPr>
                <p:spPr>
                  <a:xfrm>
                    <a:off x="4157185" y="293122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3" name="Graphic 2080">
                  <a:extLst>
                    <a:ext uri="{FF2B5EF4-FFF2-40B4-BE49-F238E27FC236}">
                      <a16:creationId xmlns:a16="http://schemas.microsoft.com/office/drawing/2014/main" id="{F97E182A-F0BD-136C-30AF-59BDC0A8179D}"/>
                    </a:ext>
                  </a:extLst>
                </p:cNvPr>
                <p:cNvGrpSpPr/>
                <p:nvPr/>
              </p:nvGrpSpPr>
              <p:grpSpPr>
                <a:xfrm>
                  <a:off x="5061203" y="3299554"/>
                  <a:ext cx="75723" cy="75723"/>
                  <a:chOff x="5061203" y="3299554"/>
                  <a:chExt cx="75723" cy="75723"/>
                </a:xfrm>
              </p:grpSpPr>
              <p:sp>
                <p:nvSpPr>
                  <p:cNvPr id="5724" name="Freeform: Shape 5723">
                    <a:extLst>
                      <a:ext uri="{FF2B5EF4-FFF2-40B4-BE49-F238E27FC236}">
                        <a16:creationId xmlns:a16="http://schemas.microsoft.com/office/drawing/2014/main" id="{958F72CF-EAA9-9004-B1E8-D4C856F42034}"/>
                      </a:ext>
                    </a:extLst>
                  </p:cNvPr>
                  <p:cNvSpPr/>
                  <p:nvPr/>
                </p:nvSpPr>
                <p:spPr>
                  <a:xfrm>
                    <a:off x="5099113" y="32995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25" name="Freeform: Shape 5724">
                    <a:extLst>
                      <a:ext uri="{FF2B5EF4-FFF2-40B4-BE49-F238E27FC236}">
                        <a16:creationId xmlns:a16="http://schemas.microsoft.com/office/drawing/2014/main" id="{0771629D-64C6-78AB-1CE5-CCD349D5D840}"/>
                      </a:ext>
                    </a:extLst>
                  </p:cNvPr>
                  <p:cNvSpPr/>
                  <p:nvPr/>
                </p:nvSpPr>
                <p:spPr>
                  <a:xfrm>
                    <a:off x="5061203" y="33374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4" name="Graphic 2080">
                  <a:extLst>
                    <a:ext uri="{FF2B5EF4-FFF2-40B4-BE49-F238E27FC236}">
                      <a16:creationId xmlns:a16="http://schemas.microsoft.com/office/drawing/2014/main" id="{CC391C29-9B3A-BA0B-F3DF-690BEF9A4B5F}"/>
                    </a:ext>
                  </a:extLst>
                </p:cNvPr>
                <p:cNvGrpSpPr/>
                <p:nvPr/>
              </p:nvGrpSpPr>
              <p:grpSpPr>
                <a:xfrm>
                  <a:off x="5188933" y="3384041"/>
                  <a:ext cx="75628" cy="75723"/>
                  <a:chOff x="5188933" y="3384041"/>
                  <a:chExt cx="75628" cy="75723"/>
                </a:xfrm>
              </p:grpSpPr>
              <p:sp>
                <p:nvSpPr>
                  <p:cNvPr id="5722" name="Freeform: Shape 5721">
                    <a:extLst>
                      <a:ext uri="{FF2B5EF4-FFF2-40B4-BE49-F238E27FC236}">
                        <a16:creationId xmlns:a16="http://schemas.microsoft.com/office/drawing/2014/main" id="{D4437BEA-97C7-E091-4499-EB3E47DD521A}"/>
                      </a:ext>
                    </a:extLst>
                  </p:cNvPr>
                  <p:cNvSpPr/>
                  <p:nvPr/>
                </p:nvSpPr>
                <p:spPr>
                  <a:xfrm>
                    <a:off x="5226748" y="3384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23" name="Freeform: Shape 5722">
                    <a:extLst>
                      <a:ext uri="{FF2B5EF4-FFF2-40B4-BE49-F238E27FC236}">
                        <a16:creationId xmlns:a16="http://schemas.microsoft.com/office/drawing/2014/main" id="{5285CC09-1AEE-2EFD-9060-5ED5217FF72D}"/>
                      </a:ext>
                    </a:extLst>
                  </p:cNvPr>
                  <p:cNvSpPr/>
                  <p:nvPr/>
                </p:nvSpPr>
                <p:spPr>
                  <a:xfrm>
                    <a:off x="5188933" y="342185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5" name="Graphic 2080">
                  <a:extLst>
                    <a:ext uri="{FF2B5EF4-FFF2-40B4-BE49-F238E27FC236}">
                      <a16:creationId xmlns:a16="http://schemas.microsoft.com/office/drawing/2014/main" id="{28771DBF-8667-1FC8-BA49-B2631A8A8AE5}"/>
                    </a:ext>
                  </a:extLst>
                </p:cNvPr>
                <p:cNvGrpSpPr/>
                <p:nvPr/>
              </p:nvGrpSpPr>
              <p:grpSpPr>
                <a:xfrm>
                  <a:off x="5248084" y="3396995"/>
                  <a:ext cx="75723" cy="75723"/>
                  <a:chOff x="5248084" y="3396995"/>
                  <a:chExt cx="75723" cy="75723"/>
                </a:xfrm>
              </p:grpSpPr>
              <p:sp>
                <p:nvSpPr>
                  <p:cNvPr id="5720" name="Freeform: Shape 5719">
                    <a:extLst>
                      <a:ext uri="{FF2B5EF4-FFF2-40B4-BE49-F238E27FC236}">
                        <a16:creationId xmlns:a16="http://schemas.microsoft.com/office/drawing/2014/main" id="{0965FB14-59B6-1214-7628-0DB343695228}"/>
                      </a:ext>
                    </a:extLst>
                  </p:cNvPr>
                  <p:cNvSpPr/>
                  <p:nvPr/>
                </p:nvSpPr>
                <p:spPr>
                  <a:xfrm>
                    <a:off x="5285898"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21" name="Freeform: Shape 5720">
                    <a:extLst>
                      <a:ext uri="{FF2B5EF4-FFF2-40B4-BE49-F238E27FC236}">
                        <a16:creationId xmlns:a16="http://schemas.microsoft.com/office/drawing/2014/main" id="{519C28DF-B5FF-00BB-CE4A-3D22C812A87A}"/>
                      </a:ext>
                    </a:extLst>
                  </p:cNvPr>
                  <p:cNvSpPr/>
                  <p:nvPr/>
                </p:nvSpPr>
                <p:spPr>
                  <a:xfrm>
                    <a:off x="5248084"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6" name="Graphic 2080">
                  <a:extLst>
                    <a:ext uri="{FF2B5EF4-FFF2-40B4-BE49-F238E27FC236}">
                      <a16:creationId xmlns:a16="http://schemas.microsoft.com/office/drawing/2014/main" id="{63746FD5-B79C-1215-FCA3-34C358980D8C}"/>
                    </a:ext>
                  </a:extLst>
                </p:cNvPr>
                <p:cNvGrpSpPr/>
                <p:nvPr/>
              </p:nvGrpSpPr>
              <p:grpSpPr>
                <a:xfrm>
                  <a:off x="5273230" y="3396995"/>
                  <a:ext cx="75628" cy="75723"/>
                  <a:chOff x="5273230" y="3396995"/>
                  <a:chExt cx="75628" cy="75723"/>
                </a:xfrm>
              </p:grpSpPr>
              <p:sp>
                <p:nvSpPr>
                  <p:cNvPr id="5718" name="Freeform: Shape 5717">
                    <a:extLst>
                      <a:ext uri="{FF2B5EF4-FFF2-40B4-BE49-F238E27FC236}">
                        <a16:creationId xmlns:a16="http://schemas.microsoft.com/office/drawing/2014/main" id="{8D04DE42-8E23-D13D-E715-D2FB1D9D4D7F}"/>
                      </a:ext>
                    </a:extLst>
                  </p:cNvPr>
                  <p:cNvSpPr/>
                  <p:nvPr/>
                </p:nvSpPr>
                <p:spPr>
                  <a:xfrm>
                    <a:off x="5311044"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19" name="Freeform: Shape 5718">
                    <a:extLst>
                      <a:ext uri="{FF2B5EF4-FFF2-40B4-BE49-F238E27FC236}">
                        <a16:creationId xmlns:a16="http://schemas.microsoft.com/office/drawing/2014/main" id="{37672530-47C8-7CD9-9A80-F5FC14B586D3}"/>
                      </a:ext>
                    </a:extLst>
                  </p:cNvPr>
                  <p:cNvSpPr/>
                  <p:nvPr/>
                </p:nvSpPr>
                <p:spPr>
                  <a:xfrm>
                    <a:off x="5273230"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7" name="Graphic 2080">
                  <a:extLst>
                    <a:ext uri="{FF2B5EF4-FFF2-40B4-BE49-F238E27FC236}">
                      <a16:creationId xmlns:a16="http://schemas.microsoft.com/office/drawing/2014/main" id="{83DBB90A-94C3-CEC0-A2B2-01DF89B58756}"/>
                    </a:ext>
                  </a:extLst>
                </p:cNvPr>
                <p:cNvGrpSpPr/>
                <p:nvPr/>
              </p:nvGrpSpPr>
              <p:grpSpPr>
                <a:xfrm>
                  <a:off x="5285517" y="3396995"/>
                  <a:ext cx="75723" cy="75723"/>
                  <a:chOff x="5285517" y="3396995"/>
                  <a:chExt cx="75723" cy="75723"/>
                </a:xfrm>
              </p:grpSpPr>
              <p:sp>
                <p:nvSpPr>
                  <p:cNvPr id="5716" name="Freeform: Shape 5715">
                    <a:extLst>
                      <a:ext uri="{FF2B5EF4-FFF2-40B4-BE49-F238E27FC236}">
                        <a16:creationId xmlns:a16="http://schemas.microsoft.com/office/drawing/2014/main" id="{B4090DAB-4988-C5BE-D192-D61EEC301BE3}"/>
                      </a:ext>
                    </a:extLst>
                  </p:cNvPr>
                  <p:cNvSpPr/>
                  <p:nvPr/>
                </p:nvSpPr>
                <p:spPr>
                  <a:xfrm>
                    <a:off x="5323331"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17" name="Freeform: Shape 5716">
                    <a:extLst>
                      <a:ext uri="{FF2B5EF4-FFF2-40B4-BE49-F238E27FC236}">
                        <a16:creationId xmlns:a16="http://schemas.microsoft.com/office/drawing/2014/main" id="{E88E00CC-E8B1-2572-0C64-ECECC3DF50B0}"/>
                      </a:ext>
                    </a:extLst>
                  </p:cNvPr>
                  <p:cNvSpPr/>
                  <p:nvPr/>
                </p:nvSpPr>
                <p:spPr>
                  <a:xfrm>
                    <a:off x="5285517" y="343480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8" name="Graphic 2080">
                  <a:extLst>
                    <a:ext uri="{FF2B5EF4-FFF2-40B4-BE49-F238E27FC236}">
                      <a16:creationId xmlns:a16="http://schemas.microsoft.com/office/drawing/2014/main" id="{7D11F6D3-AB32-4F72-0D09-9AE5AF5C0AB9}"/>
                    </a:ext>
                  </a:extLst>
                </p:cNvPr>
                <p:cNvGrpSpPr/>
                <p:nvPr/>
              </p:nvGrpSpPr>
              <p:grpSpPr>
                <a:xfrm>
                  <a:off x="5298661" y="3396995"/>
                  <a:ext cx="75628" cy="75723"/>
                  <a:chOff x="5298661" y="3396995"/>
                  <a:chExt cx="75628" cy="75723"/>
                </a:xfrm>
              </p:grpSpPr>
              <p:sp>
                <p:nvSpPr>
                  <p:cNvPr id="5714" name="Freeform: Shape 5713">
                    <a:extLst>
                      <a:ext uri="{FF2B5EF4-FFF2-40B4-BE49-F238E27FC236}">
                        <a16:creationId xmlns:a16="http://schemas.microsoft.com/office/drawing/2014/main" id="{05AF7839-3696-570F-94F2-826AEED5ABB3}"/>
                      </a:ext>
                    </a:extLst>
                  </p:cNvPr>
                  <p:cNvSpPr/>
                  <p:nvPr/>
                </p:nvSpPr>
                <p:spPr>
                  <a:xfrm>
                    <a:off x="5336476" y="33969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15" name="Freeform: Shape 5714">
                    <a:extLst>
                      <a:ext uri="{FF2B5EF4-FFF2-40B4-BE49-F238E27FC236}">
                        <a16:creationId xmlns:a16="http://schemas.microsoft.com/office/drawing/2014/main" id="{3436E7D6-70A6-E5C5-F1AD-40CFFAFC41FB}"/>
                      </a:ext>
                    </a:extLst>
                  </p:cNvPr>
                  <p:cNvSpPr/>
                  <p:nvPr/>
                </p:nvSpPr>
                <p:spPr>
                  <a:xfrm>
                    <a:off x="5298661" y="343480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49" name="Graphic 2080">
                  <a:extLst>
                    <a:ext uri="{FF2B5EF4-FFF2-40B4-BE49-F238E27FC236}">
                      <a16:creationId xmlns:a16="http://schemas.microsoft.com/office/drawing/2014/main" id="{8073EC9F-4EC8-F9F9-57FC-F0FC40DEA262}"/>
                    </a:ext>
                  </a:extLst>
                </p:cNvPr>
                <p:cNvGrpSpPr/>
                <p:nvPr/>
              </p:nvGrpSpPr>
              <p:grpSpPr>
                <a:xfrm>
                  <a:off x="5428392" y="3452050"/>
                  <a:ext cx="75723" cy="75628"/>
                  <a:chOff x="5428392" y="3452050"/>
                  <a:chExt cx="75723" cy="75628"/>
                </a:xfrm>
              </p:grpSpPr>
              <p:sp>
                <p:nvSpPr>
                  <p:cNvPr id="5712" name="Freeform: Shape 5711">
                    <a:extLst>
                      <a:ext uri="{FF2B5EF4-FFF2-40B4-BE49-F238E27FC236}">
                        <a16:creationId xmlns:a16="http://schemas.microsoft.com/office/drawing/2014/main" id="{1D51D220-2AB5-FFD3-E032-D8A5F3F50E25}"/>
                      </a:ext>
                    </a:extLst>
                  </p:cNvPr>
                  <p:cNvSpPr/>
                  <p:nvPr/>
                </p:nvSpPr>
                <p:spPr>
                  <a:xfrm>
                    <a:off x="5466301"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13" name="Freeform: Shape 5712">
                    <a:extLst>
                      <a:ext uri="{FF2B5EF4-FFF2-40B4-BE49-F238E27FC236}">
                        <a16:creationId xmlns:a16="http://schemas.microsoft.com/office/drawing/2014/main" id="{40D70D1A-5B94-FD7C-3F46-030738C8D6F2}"/>
                      </a:ext>
                    </a:extLst>
                  </p:cNvPr>
                  <p:cNvSpPr/>
                  <p:nvPr/>
                </p:nvSpPr>
                <p:spPr>
                  <a:xfrm>
                    <a:off x="542839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0" name="Graphic 2080">
                  <a:extLst>
                    <a:ext uri="{FF2B5EF4-FFF2-40B4-BE49-F238E27FC236}">
                      <a16:creationId xmlns:a16="http://schemas.microsoft.com/office/drawing/2014/main" id="{D6BBD09A-7DF6-E820-B444-599A26FDD668}"/>
                    </a:ext>
                  </a:extLst>
                </p:cNvPr>
                <p:cNvGrpSpPr/>
                <p:nvPr/>
              </p:nvGrpSpPr>
              <p:grpSpPr>
                <a:xfrm>
                  <a:off x="5441822" y="3452050"/>
                  <a:ext cx="75723" cy="75628"/>
                  <a:chOff x="5441822" y="3452050"/>
                  <a:chExt cx="75723" cy="75628"/>
                </a:xfrm>
              </p:grpSpPr>
              <p:sp>
                <p:nvSpPr>
                  <p:cNvPr id="5710" name="Freeform: Shape 5709">
                    <a:extLst>
                      <a:ext uri="{FF2B5EF4-FFF2-40B4-BE49-F238E27FC236}">
                        <a16:creationId xmlns:a16="http://schemas.microsoft.com/office/drawing/2014/main" id="{B3ED9A66-DACC-7687-55F7-F2FF1E700D03}"/>
                      </a:ext>
                    </a:extLst>
                  </p:cNvPr>
                  <p:cNvSpPr/>
                  <p:nvPr/>
                </p:nvSpPr>
                <p:spPr>
                  <a:xfrm>
                    <a:off x="5479636"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11" name="Freeform: Shape 5710">
                    <a:extLst>
                      <a:ext uri="{FF2B5EF4-FFF2-40B4-BE49-F238E27FC236}">
                        <a16:creationId xmlns:a16="http://schemas.microsoft.com/office/drawing/2014/main" id="{F7A10E18-7AB3-3263-4A04-E49D6390288E}"/>
                      </a:ext>
                    </a:extLst>
                  </p:cNvPr>
                  <p:cNvSpPr/>
                  <p:nvPr/>
                </p:nvSpPr>
                <p:spPr>
                  <a:xfrm>
                    <a:off x="5441822"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1" name="Graphic 2080">
                  <a:extLst>
                    <a:ext uri="{FF2B5EF4-FFF2-40B4-BE49-F238E27FC236}">
                      <a16:creationId xmlns:a16="http://schemas.microsoft.com/office/drawing/2014/main" id="{4B680E7B-6C61-D46D-C1F2-CB89ED023A23}"/>
                    </a:ext>
                  </a:extLst>
                </p:cNvPr>
                <p:cNvGrpSpPr/>
                <p:nvPr/>
              </p:nvGrpSpPr>
              <p:grpSpPr>
                <a:xfrm>
                  <a:off x="5470588" y="3452050"/>
                  <a:ext cx="75723" cy="75628"/>
                  <a:chOff x="5470588" y="3452050"/>
                  <a:chExt cx="75723" cy="75628"/>
                </a:xfrm>
              </p:grpSpPr>
              <p:sp>
                <p:nvSpPr>
                  <p:cNvPr id="5708" name="Freeform: Shape 5707">
                    <a:extLst>
                      <a:ext uri="{FF2B5EF4-FFF2-40B4-BE49-F238E27FC236}">
                        <a16:creationId xmlns:a16="http://schemas.microsoft.com/office/drawing/2014/main" id="{AECA8385-214C-37B3-915E-81DB3275546D}"/>
                      </a:ext>
                    </a:extLst>
                  </p:cNvPr>
                  <p:cNvSpPr/>
                  <p:nvPr/>
                </p:nvSpPr>
                <p:spPr>
                  <a:xfrm>
                    <a:off x="5508402"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09" name="Freeform: Shape 5708">
                    <a:extLst>
                      <a:ext uri="{FF2B5EF4-FFF2-40B4-BE49-F238E27FC236}">
                        <a16:creationId xmlns:a16="http://schemas.microsoft.com/office/drawing/2014/main" id="{A3B43FED-29B5-9067-C233-BA6C4CFAF423}"/>
                      </a:ext>
                    </a:extLst>
                  </p:cNvPr>
                  <p:cNvSpPr/>
                  <p:nvPr/>
                </p:nvSpPr>
                <p:spPr>
                  <a:xfrm>
                    <a:off x="5470588"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2" name="Graphic 2080">
                  <a:extLst>
                    <a:ext uri="{FF2B5EF4-FFF2-40B4-BE49-F238E27FC236}">
                      <a16:creationId xmlns:a16="http://schemas.microsoft.com/office/drawing/2014/main" id="{AD308B14-AB4F-7DE2-9FB1-2D11AF557B17}"/>
                    </a:ext>
                  </a:extLst>
                </p:cNvPr>
                <p:cNvGrpSpPr/>
                <p:nvPr/>
              </p:nvGrpSpPr>
              <p:grpSpPr>
                <a:xfrm>
                  <a:off x="5451919" y="3452050"/>
                  <a:ext cx="75723" cy="75628"/>
                  <a:chOff x="5451919" y="3452050"/>
                  <a:chExt cx="75723" cy="75628"/>
                </a:xfrm>
              </p:grpSpPr>
              <p:sp>
                <p:nvSpPr>
                  <p:cNvPr id="5706" name="Freeform: Shape 5705">
                    <a:extLst>
                      <a:ext uri="{FF2B5EF4-FFF2-40B4-BE49-F238E27FC236}">
                        <a16:creationId xmlns:a16="http://schemas.microsoft.com/office/drawing/2014/main" id="{C3701403-EC97-233A-F3BB-F4FF273A9D27}"/>
                      </a:ext>
                    </a:extLst>
                  </p:cNvPr>
                  <p:cNvSpPr/>
                  <p:nvPr/>
                </p:nvSpPr>
                <p:spPr>
                  <a:xfrm>
                    <a:off x="5489828" y="3452050"/>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07" name="Freeform: Shape 5706">
                    <a:extLst>
                      <a:ext uri="{FF2B5EF4-FFF2-40B4-BE49-F238E27FC236}">
                        <a16:creationId xmlns:a16="http://schemas.microsoft.com/office/drawing/2014/main" id="{92E303CB-A2DA-8CBA-7FE5-68649D484896}"/>
                      </a:ext>
                    </a:extLst>
                  </p:cNvPr>
                  <p:cNvSpPr/>
                  <p:nvPr/>
                </p:nvSpPr>
                <p:spPr>
                  <a:xfrm>
                    <a:off x="5451919" y="34898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3" name="Graphic 2080">
                  <a:extLst>
                    <a:ext uri="{FF2B5EF4-FFF2-40B4-BE49-F238E27FC236}">
                      <a16:creationId xmlns:a16="http://schemas.microsoft.com/office/drawing/2014/main" id="{2DB2C88C-319E-E3B6-7A9C-1617C2FFC74C}"/>
                    </a:ext>
                  </a:extLst>
                </p:cNvPr>
                <p:cNvGrpSpPr/>
                <p:nvPr/>
              </p:nvGrpSpPr>
              <p:grpSpPr>
                <a:xfrm>
                  <a:off x="6121145" y="3717511"/>
                  <a:ext cx="75723" cy="75723"/>
                  <a:chOff x="6121145" y="3717511"/>
                  <a:chExt cx="75723" cy="75723"/>
                </a:xfrm>
              </p:grpSpPr>
              <p:sp>
                <p:nvSpPr>
                  <p:cNvPr id="5704" name="Freeform: Shape 5703">
                    <a:extLst>
                      <a:ext uri="{FF2B5EF4-FFF2-40B4-BE49-F238E27FC236}">
                        <a16:creationId xmlns:a16="http://schemas.microsoft.com/office/drawing/2014/main" id="{75B39BE9-3C20-7D3E-7EC4-70B8376C36E8}"/>
                      </a:ext>
                    </a:extLst>
                  </p:cNvPr>
                  <p:cNvSpPr/>
                  <p:nvPr/>
                </p:nvSpPr>
                <p:spPr>
                  <a:xfrm>
                    <a:off x="6158959" y="371751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05" name="Freeform: Shape 5704">
                    <a:extLst>
                      <a:ext uri="{FF2B5EF4-FFF2-40B4-BE49-F238E27FC236}">
                        <a16:creationId xmlns:a16="http://schemas.microsoft.com/office/drawing/2014/main" id="{31C6D0E7-F0BC-C426-3350-C622851690F5}"/>
                      </a:ext>
                    </a:extLst>
                  </p:cNvPr>
                  <p:cNvSpPr/>
                  <p:nvPr/>
                </p:nvSpPr>
                <p:spPr>
                  <a:xfrm>
                    <a:off x="6121145" y="37554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4" name="Graphic 2080">
                  <a:extLst>
                    <a:ext uri="{FF2B5EF4-FFF2-40B4-BE49-F238E27FC236}">
                      <a16:creationId xmlns:a16="http://schemas.microsoft.com/office/drawing/2014/main" id="{7F018CE3-69E3-391A-B551-90593805537B}"/>
                    </a:ext>
                  </a:extLst>
                </p:cNvPr>
                <p:cNvGrpSpPr/>
                <p:nvPr/>
              </p:nvGrpSpPr>
              <p:grpSpPr>
                <a:xfrm>
                  <a:off x="6358032" y="3768280"/>
                  <a:ext cx="75628" cy="75628"/>
                  <a:chOff x="6358032" y="3768280"/>
                  <a:chExt cx="75628" cy="75628"/>
                </a:xfrm>
              </p:grpSpPr>
              <p:sp>
                <p:nvSpPr>
                  <p:cNvPr id="5702" name="Freeform: Shape 5701">
                    <a:extLst>
                      <a:ext uri="{FF2B5EF4-FFF2-40B4-BE49-F238E27FC236}">
                        <a16:creationId xmlns:a16="http://schemas.microsoft.com/office/drawing/2014/main" id="{4BFF4904-E279-942D-4609-8A521EDA6E4C}"/>
                      </a:ext>
                    </a:extLst>
                  </p:cNvPr>
                  <p:cNvSpPr/>
                  <p:nvPr/>
                </p:nvSpPr>
                <p:spPr>
                  <a:xfrm>
                    <a:off x="6395846"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03" name="Freeform: Shape 5702">
                    <a:extLst>
                      <a:ext uri="{FF2B5EF4-FFF2-40B4-BE49-F238E27FC236}">
                        <a16:creationId xmlns:a16="http://schemas.microsoft.com/office/drawing/2014/main" id="{29DAC2C8-726B-D4CC-E740-AB84915CDC72}"/>
                      </a:ext>
                    </a:extLst>
                  </p:cNvPr>
                  <p:cNvSpPr/>
                  <p:nvPr/>
                </p:nvSpPr>
                <p:spPr>
                  <a:xfrm>
                    <a:off x="6358032" y="38060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5" name="Graphic 2080">
                  <a:extLst>
                    <a:ext uri="{FF2B5EF4-FFF2-40B4-BE49-F238E27FC236}">
                      <a16:creationId xmlns:a16="http://schemas.microsoft.com/office/drawing/2014/main" id="{5C8752BA-BCFB-9F67-51C9-9C5F65DA3AD5}"/>
                    </a:ext>
                  </a:extLst>
                </p:cNvPr>
                <p:cNvGrpSpPr/>
                <p:nvPr/>
              </p:nvGrpSpPr>
              <p:grpSpPr>
                <a:xfrm>
                  <a:off x="6385559" y="3768280"/>
                  <a:ext cx="75723" cy="75628"/>
                  <a:chOff x="6385559" y="3768280"/>
                  <a:chExt cx="75723" cy="75628"/>
                </a:xfrm>
              </p:grpSpPr>
              <p:sp>
                <p:nvSpPr>
                  <p:cNvPr id="5700" name="Freeform: Shape 5699">
                    <a:extLst>
                      <a:ext uri="{FF2B5EF4-FFF2-40B4-BE49-F238E27FC236}">
                        <a16:creationId xmlns:a16="http://schemas.microsoft.com/office/drawing/2014/main" id="{2540BC8D-D83C-55FC-0BB2-171E1F3AFBEE}"/>
                      </a:ext>
                    </a:extLst>
                  </p:cNvPr>
                  <p:cNvSpPr/>
                  <p:nvPr/>
                </p:nvSpPr>
                <p:spPr>
                  <a:xfrm>
                    <a:off x="6423373" y="3768280"/>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01" name="Freeform: Shape 5700">
                    <a:extLst>
                      <a:ext uri="{FF2B5EF4-FFF2-40B4-BE49-F238E27FC236}">
                        <a16:creationId xmlns:a16="http://schemas.microsoft.com/office/drawing/2014/main" id="{F4F83833-8569-1153-DD47-4308474B335A}"/>
                      </a:ext>
                    </a:extLst>
                  </p:cNvPr>
                  <p:cNvSpPr/>
                  <p:nvPr/>
                </p:nvSpPr>
                <p:spPr>
                  <a:xfrm>
                    <a:off x="6385559" y="38060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6" name="Graphic 2080">
                  <a:extLst>
                    <a:ext uri="{FF2B5EF4-FFF2-40B4-BE49-F238E27FC236}">
                      <a16:creationId xmlns:a16="http://schemas.microsoft.com/office/drawing/2014/main" id="{CF45ECDE-91E4-BBE6-A1D1-0A251471540A}"/>
                    </a:ext>
                  </a:extLst>
                </p:cNvPr>
                <p:cNvGrpSpPr/>
                <p:nvPr/>
              </p:nvGrpSpPr>
              <p:grpSpPr>
                <a:xfrm>
                  <a:off x="6401466" y="3784853"/>
                  <a:ext cx="75723" cy="75723"/>
                  <a:chOff x="6401466" y="3784853"/>
                  <a:chExt cx="75723" cy="75723"/>
                </a:xfrm>
              </p:grpSpPr>
              <p:sp>
                <p:nvSpPr>
                  <p:cNvPr id="5698" name="Freeform: Shape 5697">
                    <a:extLst>
                      <a:ext uri="{FF2B5EF4-FFF2-40B4-BE49-F238E27FC236}">
                        <a16:creationId xmlns:a16="http://schemas.microsoft.com/office/drawing/2014/main" id="{3C24C9B0-A845-304E-4157-107A671B8BF2}"/>
                      </a:ext>
                    </a:extLst>
                  </p:cNvPr>
                  <p:cNvSpPr/>
                  <p:nvPr/>
                </p:nvSpPr>
                <p:spPr>
                  <a:xfrm>
                    <a:off x="6439375"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99" name="Freeform: Shape 5698">
                    <a:extLst>
                      <a:ext uri="{FF2B5EF4-FFF2-40B4-BE49-F238E27FC236}">
                        <a16:creationId xmlns:a16="http://schemas.microsoft.com/office/drawing/2014/main" id="{17F94EC4-B1A1-C8F9-6B15-5566AE3DDE77}"/>
                      </a:ext>
                    </a:extLst>
                  </p:cNvPr>
                  <p:cNvSpPr/>
                  <p:nvPr/>
                </p:nvSpPr>
                <p:spPr>
                  <a:xfrm>
                    <a:off x="6401466"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7" name="Graphic 2080">
                  <a:extLst>
                    <a:ext uri="{FF2B5EF4-FFF2-40B4-BE49-F238E27FC236}">
                      <a16:creationId xmlns:a16="http://schemas.microsoft.com/office/drawing/2014/main" id="{7565475B-A00F-0549-E3AE-79F776CB84B8}"/>
                    </a:ext>
                  </a:extLst>
                </p:cNvPr>
                <p:cNvGrpSpPr/>
                <p:nvPr/>
              </p:nvGrpSpPr>
              <p:grpSpPr>
                <a:xfrm>
                  <a:off x="6537292" y="3784853"/>
                  <a:ext cx="75723" cy="75723"/>
                  <a:chOff x="6537292" y="3784853"/>
                  <a:chExt cx="75723" cy="75723"/>
                </a:xfrm>
              </p:grpSpPr>
              <p:sp>
                <p:nvSpPr>
                  <p:cNvPr id="5696" name="Freeform: Shape 5695">
                    <a:extLst>
                      <a:ext uri="{FF2B5EF4-FFF2-40B4-BE49-F238E27FC236}">
                        <a16:creationId xmlns:a16="http://schemas.microsoft.com/office/drawing/2014/main" id="{AA652ED4-BC4A-2E03-05A4-9FDEAB52767B}"/>
                      </a:ext>
                    </a:extLst>
                  </p:cNvPr>
                  <p:cNvSpPr/>
                  <p:nvPr/>
                </p:nvSpPr>
                <p:spPr>
                  <a:xfrm>
                    <a:off x="6575107"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97" name="Freeform: Shape 5696">
                    <a:extLst>
                      <a:ext uri="{FF2B5EF4-FFF2-40B4-BE49-F238E27FC236}">
                        <a16:creationId xmlns:a16="http://schemas.microsoft.com/office/drawing/2014/main" id="{BC0680EB-5E52-36C8-7442-E2D1238F46D2}"/>
                      </a:ext>
                    </a:extLst>
                  </p:cNvPr>
                  <p:cNvSpPr/>
                  <p:nvPr/>
                </p:nvSpPr>
                <p:spPr>
                  <a:xfrm>
                    <a:off x="6537292"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8" name="Graphic 2080">
                  <a:extLst>
                    <a:ext uri="{FF2B5EF4-FFF2-40B4-BE49-F238E27FC236}">
                      <a16:creationId xmlns:a16="http://schemas.microsoft.com/office/drawing/2014/main" id="{5C81D188-4609-7FAD-F26A-AE5DFDF0EC2A}"/>
                    </a:ext>
                  </a:extLst>
                </p:cNvPr>
                <p:cNvGrpSpPr/>
                <p:nvPr/>
              </p:nvGrpSpPr>
              <p:grpSpPr>
                <a:xfrm>
                  <a:off x="6527958" y="3784853"/>
                  <a:ext cx="75723" cy="75723"/>
                  <a:chOff x="6527958" y="3784853"/>
                  <a:chExt cx="75723" cy="75723"/>
                </a:xfrm>
              </p:grpSpPr>
              <p:sp>
                <p:nvSpPr>
                  <p:cNvPr id="5694" name="Freeform: Shape 5693">
                    <a:extLst>
                      <a:ext uri="{FF2B5EF4-FFF2-40B4-BE49-F238E27FC236}">
                        <a16:creationId xmlns:a16="http://schemas.microsoft.com/office/drawing/2014/main" id="{2359B455-064E-8A02-1EB4-DB1F1C5FDCF8}"/>
                      </a:ext>
                    </a:extLst>
                  </p:cNvPr>
                  <p:cNvSpPr/>
                  <p:nvPr/>
                </p:nvSpPr>
                <p:spPr>
                  <a:xfrm>
                    <a:off x="6565772"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95" name="Freeform: Shape 5694">
                    <a:extLst>
                      <a:ext uri="{FF2B5EF4-FFF2-40B4-BE49-F238E27FC236}">
                        <a16:creationId xmlns:a16="http://schemas.microsoft.com/office/drawing/2014/main" id="{5AFC5C0F-067A-F573-7F99-C268427360D2}"/>
                      </a:ext>
                    </a:extLst>
                  </p:cNvPr>
                  <p:cNvSpPr/>
                  <p:nvPr/>
                </p:nvSpPr>
                <p:spPr>
                  <a:xfrm>
                    <a:off x="6527958"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59" name="Graphic 2080">
                  <a:extLst>
                    <a:ext uri="{FF2B5EF4-FFF2-40B4-BE49-F238E27FC236}">
                      <a16:creationId xmlns:a16="http://schemas.microsoft.com/office/drawing/2014/main" id="{0BCA89F1-A70A-9536-67FD-28A587A1DD86}"/>
                    </a:ext>
                  </a:extLst>
                </p:cNvPr>
                <p:cNvGrpSpPr/>
                <p:nvPr/>
              </p:nvGrpSpPr>
              <p:grpSpPr>
                <a:xfrm>
                  <a:off x="6510527" y="3784853"/>
                  <a:ext cx="75723" cy="75723"/>
                  <a:chOff x="6510527" y="3784853"/>
                  <a:chExt cx="75723" cy="75723"/>
                </a:xfrm>
              </p:grpSpPr>
              <p:sp>
                <p:nvSpPr>
                  <p:cNvPr id="5692" name="Freeform: Shape 5691">
                    <a:extLst>
                      <a:ext uri="{FF2B5EF4-FFF2-40B4-BE49-F238E27FC236}">
                        <a16:creationId xmlns:a16="http://schemas.microsoft.com/office/drawing/2014/main" id="{7B1A879B-F9A1-E678-0E7E-5AD09A276995}"/>
                      </a:ext>
                    </a:extLst>
                  </p:cNvPr>
                  <p:cNvSpPr/>
                  <p:nvPr/>
                </p:nvSpPr>
                <p:spPr>
                  <a:xfrm>
                    <a:off x="6548341" y="378485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93" name="Freeform: Shape 5692">
                    <a:extLst>
                      <a:ext uri="{FF2B5EF4-FFF2-40B4-BE49-F238E27FC236}">
                        <a16:creationId xmlns:a16="http://schemas.microsoft.com/office/drawing/2014/main" id="{2AB5BBD4-BF87-C8F1-E716-639B12685A3F}"/>
                      </a:ext>
                    </a:extLst>
                  </p:cNvPr>
                  <p:cNvSpPr/>
                  <p:nvPr/>
                </p:nvSpPr>
                <p:spPr>
                  <a:xfrm>
                    <a:off x="6510527" y="382266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0" name="Graphic 2080">
                  <a:extLst>
                    <a:ext uri="{FF2B5EF4-FFF2-40B4-BE49-F238E27FC236}">
                      <a16:creationId xmlns:a16="http://schemas.microsoft.com/office/drawing/2014/main" id="{F36312DB-6BC6-059F-DCE8-F0E9339F39B5}"/>
                    </a:ext>
                  </a:extLst>
                </p:cNvPr>
                <p:cNvGrpSpPr/>
                <p:nvPr/>
              </p:nvGrpSpPr>
              <p:grpSpPr>
                <a:xfrm>
                  <a:off x="6726459" y="3874293"/>
                  <a:ext cx="75723" cy="75723"/>
                  <a:chOff x="6726459" y="3874293"/>
                  <a:chExt cx="75723" cy="75723"/>
                </a:xfrm>
              </p:grpSpPr>
              <p:sp>
                <p:nvSpPr>
                  <p:cNvPr id="5690" name="Freeform: Shape 5689">
                    <a:extLst>
                      <a:ext uri="{FF2B5EF4-FFF2-40B4-BE49-F238E27FC236}">
                        <a16:creationId xmlns:a16="http://schemas.microsoft.com/office/drawing/2014/main" id="{4C0767F1-CA7A-019A-CD7F-5B2A7A61FF83}"/>
                      </a:ext>
                    </a:extLst>
                  </p:cNvPr>
                  <p:cNvSpPr/>
                  <p:nvPr/>
                </p:nvSpPr>
                <p:spPr>
                  <a:xfrm>
                    <a:off x="676427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91" name="Freeform: Shape 5690">
                    <a:extLst>
                      <a:ext uri="{FF2B5EF4-FFF2-40B4-BE49-F238E27FC236}">
                        <a16:creationId xmlns:a16="http://schemas.microsoft.com/office/drawing/2014/main" id="{6D9912B4-D0AE-6C66-D7AA-BD7042C8A14B}"/>
                      </a:ext>
                    </a:extLst>
                  </p:cNvPr>
                  <p:cNvSpPr/>
                  <p:nvPr/>
                </p:nvSpPr>
                <p:spPr>
                  <a:xfrm>
                    <a:off x="672645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1" name="Graphic 2080">
                  <a:extLst>
                    <a:ext uri="{FF2B5EF4-FFF2-40B4-BE49-F238E27FC236}">
                      <a16:creationId xmlns:a16="http://schemas.microsoft.com/office/drawing/2014/main" id="{FAF6C39C-A1DB-FEC7-66F0-E9832A78E1A3}"/>
                    </a:ext>
                  </a:extLst>
                </p:cNvPr>
                <p:cNvGrpSpPr/>
                <p:nvPr/>
              </p:nvGrpSpPr>
              <p:grpSpPr>
                <a:xfrm>
                  <a:off x="6871144" y="3874293"/>
                  <a:ext cx="75723" cy="75723"/>
                  <a:chOff x="6871144" y="3874293"/>
                  <a:chExt cx="75723" cy="75723"/>
                </a:xfrm>
              </p:grpSpPr>
              <p:sp>
                <p:nvSpPr>
                  <p:cNvPr id="5688" name="Freeform: Shape 5687">
                    <a:extLst>
                      <a:ext uri="{FF2B5EF4-FFF2-40B4-BE49-F238E27FC236}">
                        <a16:creationId xmlns:a16="http://schemas.microsoft.com/office/drawing/2014/main" id="{2F7C19DF-EB77-464A-D91A-B1F6487CEACD}"/>
                      </a:ext>
                    </a:extLst>
                  </p:cNvPr>
                  <p:cNvSpPr/>
                  <p:nvPr/>
                </p:nvSpPr>
                <p:spPr>
                  <a:xfrm>
                    <a:off x="690905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89" name="Freeform: Shape 5688">
                    <a:extLst>
                      <a:ext uri="{FF2B5EF4-FFF2-40B4-BE49-F238E27FC236}">
                        <a16:creationId xmlns:a16="http://schemas.microsoft.com/office/drawing/2014/main" id="{22BE10E9-BCA6-F87D-1CBD-1F49118D83A7}"/>
                      </a:ext>
                    </a:extLst>
                  </p:cNvPr>
                  <p:cNvSpPr/>
                  <p:nvPr/>
                </p:nvSpPr>
                <p:spPr>
                  <a:xfrm>
                    <a:off x="6871144"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2" name="Graphic 2080">
                  <a:extLst>
                    <a:ext uri="{FF2B5EF4-FFF2-40B4-BE49-F238E27FC236}">
                      <a16:creationId xmlns:a16="http://schemas.microsoft.com/office/drawing/2014/main" id="{EBC3EE17-75F4-1F93-F800-25EF2B196F07}"/>
                    </a:ext>
                  </a:extLst>
                </p:cNvPr>
                <p:cNvGrpSpPr/>
                <p:nvPr/>
              </p:nvGrpSpPr>
              <p:grpSpPr>
                <a:xfrm>
                  <a:off x="6859618" y="3874293"/>
                  <a:ext cx="75723" cy="75723"/>
                  <a:chOff x="6859618" y="3874293"/>
                  <a:chExt cx="75723" cy="75723"/>
                </a:xfrm>
              </p:grpSpPr>
              <p:sp>
                <p:nvSpPr>
                  <p:cNvPr id="5686" name="Freeform: Shape 5685">
                    <a:extLst>
                      <a:ext uri="{FF2B5EF4-FFF2-40B4-BE49-F238E27FC236}">
                        <a16:creationId xmlns:a16="http://schemas.microsoft.com/office/drawing/2014/main" id="{EA9253BA-5737-A0EC-2B00-E3E737F85BD2}"/>
                      </a:ext>
                    </a:extLst>
                  </p:cNvPr>
                  <p:cNvSpPr/>
                  <p:nvPr/>
                </p:nvSpPr>
                <p:spPr>
                  <a:xfrm>
                    <a:off x="689743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87" name="Freeform: Shape 5686">
                    <a:extLst>
                      <a:ext uri="{FF2B5EF4-FFF2-40B4-BE49-F238E27FC236}">
                        <a16:creationId xmlns:a16="http://schemas.microsoft.com/office/drawing/2014/main" id="{4C9CD3BC-5DA9-099C-15D3-DC0B24914CA9}"/>
                      </a:ext>
                    </a:extLst>
                  </p:cNvPr>
                  <p:cNvSpPr/>
                  <p:nvPr/>
                </p:nvSpPr>
                <p:spPr>
                  <a:xfrm>
                    <a:off x="685961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3" name="Graphic 2080">
                  <a:extLst>
                    <a:ext uri="{FF2B5EF4-FFF2-40B4-BE49-F238E27FC236}">
                      <a16:creationId xmlns:a16="http://schemas.microsoft.com/office/drawing/2014/main" id="{ADD2D80C-DADC-E21C-0DED-829BC07FA2BD}"/>
                    </a:ext>
                  </a:extLst>
                </p:cNvPr>
                <p:cNvGrpSpPr/>
                <p:nvPr/>
              </p:nvGrpSpPr>
              <p:grpSpPr>
                <a:xfrm>
                  <a:off x="6838949" y="3874293"/>
                  <a:ext cx="75723" cy="75723"/>
                  <a:chOff x="6838949" y="3874293"/>
                  <a:chExt cx="75723" cy="75723"/>
                </a:xfrm>
              </p:grpSpPr>
              <p:sp>
                <p:nvSpPr>
                  <p:cNvPr id="5684" name="Freeform: Shape 5683">
                    <a:extLst>
                      <a:ext uri="{FF2B5EF4-FFF2-40B4-BE49-F238E27FC236}">
                        <a16:creationId xmlns:a16="http://schemas.microsoft.com/office/drawing/2014/main" id="{2A40490E-F248-9A80-9DE6-1E3125FC8820}"/>
                      </a:ext>
                    </a:extLst>
                  </p:cNvPr>
                  <p:cNvSpPr/>
                  <p:nvPr/>
                </p:nvSpPr>
                <p:spPr>
                  <a:xfrm>
                    <a:off x="687676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85" name="Freeform: Shape 5684">
                    <a:extLst>
                      <a:ext uri="{FF2B5EF4-FFF2-40B4-BE49-F238E27FC236}">
                        <a16:creationId xmlns:a16="http://schemas.microsoft.com/office/drawing/2014/main" id="{FC6C2CBA-9391-02D0-1F0A-28AA786B12E8}"/>
                      </a:ext>
                    </a:extLst>
                  </p:cNvPr>
                  <p:cNvSpPr/>
                  <p:nvPr/>
                </p:nvSpPr>
                <p:spPr>
                  <a:xfrm>
                    <a:off x="683894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4" name="Graphic 2080">
                  <a:extLst>
                    <a:ext uri="{FF2B5EF4-FFF2-40B4-BE49-F238E27FC236}">
                      <a16:creationId xmlns:a16="http://schemas.microsoft.com/office/drawing/2014/main" id="{BDA41076-FAFA-AE6E-2C5C-061190B2C803}"/>
                    </a:ext>
                  </a:extLst>
                </p:cNvPr>
                <p:cNvGrpSpPr/>
                <p:nvPr/>
              </p:nvGrpSpPr>
              <p:grpSpPr>
                <a:xfrm>
                  <a:off x="6823423" y="3874293"/>
                  <a:ext cx="75723" cy="75723"/>
                  <a:chOff x="6823423" y="3874293"/>
                  <a:chExt cx="75723" cy="75723"/>
                </a:xfrm>
              </p:grpSpPr>
              <p:sp>
                <p:nvSpPr>
                  <p:cNvPr id="5682" name="Freeform: Shape 5681">
                    <a:extLst>
                      <a:ext uri="{FF2B5EF4-FFF2-40B4-BE49-F238E27FC236}">
                        <a16:creationId xmlns:a16="http://schemas.microsoft.com/office/drawing/2014/main" id="{BAE63913-4516-BCEB-EF06-C9D87637D301}"/>
                      </a:ext>
                    </a:extLst>
                  </p:cNvPr>
                  <p:cNvSpPr/>
                  <p:nvPr/>
                </p:nvSpPr>
                <p:spPr>
                  <a:xfrm>
                    <a:off x="6861238"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83" name="Freeform: Shape 5682">
                    <a:extLst>
                      <a:ext uri="{FF2B5EF4-FFF2-40B4-BE49-F238E27FC236}">
                        <a16:creationId xmlns:a16="http://schemas.microsoft.com/office/drawing/2014/main" id="{310D7C9A-A797-CC3A-453B-0A48BE54AEC9}"/>
                      </a:ext>
                    </a:extLst>
                  </p:cNvPr>
                  <p:cNvSpPr/>
                  <p:nvPr/>
                </p:nvSpPr>
                <p:spPr>
                  <a:xfrm>
                    <a:off x="6823423"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5" name="Graphic 2080">
                  <a:extLst>
                    <a:ext uri="{FF2B5EF4-FFF2-40B4-BE49-F238E27FC236}">
                      <a16:creationId xmlns:a16="http://schemas.microsoft.com/office/drawing/2014/main" id="{2C131036-126B-DDAA-EFD8-0E8893768EE3}"/>
                    </a:ext>
                  </a:extLst>
                </p:cNvPr>
                <p:cNvGrpSpPr/>
                <p:nvPr/>
              </p:nvGrpSpPr>
              <p:grpSpPr>
                <a:xfrm>
                  <a:off x="6881526" y="3874293"/>
                  <a:ext cx="75628" cy="75723"/>
                  <a:chOff x="6881526" y="3874293"/>
                  <a:chExt cx="75628" cy="75723"/>
                </a:xfrm>
              </p:grpSpPr>
              <p:sp>
                <p:nvSpPr>
                  <p:cNvPr id="5680" name="Freeform: Shape 5679">
                    <a:extLst>
                      <a:ext uri="{FF2B5EF4-FFF2-40B4-BE49-F238E27FC236}">
                        <a16:creationId xmlns:a16="http://schemas.microsoft.com/office/drawing/2014/main" id="{15A88E42-0A53-42EF-ECB9-55FBE904DCD5}"/>
                      </a:ext>
                    </a:extLst>
                  </p:cNvPr>
                  <p:cNvSpPr/>
                  <p:nvPr/>
                </p:nvSpPr>
                <p:spPr>
                  <a:xfrm>
                    <a:off x="6919340"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81" name="Freeform: Shape 5680">
                    <a:extLst>
                      <a:ext uri="{FF2B5EF4-FFF2-40B4-BE49-F238E27FC236}">
                        <a16:creationId xmlns:a16="http://schemas.microsoft.com/office/drawing/2014/main" id="{20581F80-D259-09A4-2413-4CA279C531FB}"/>
                      </a:ext>
                    </a:extLst>
                  </p:cNvPr>
                  <p:cNvSpPr/>
                  <p:nvPr/>
                </p:nvSpPr>
                <p:spPr>
                  <a:xfrm>
                    <a:off x="6881526" y="391220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6" name="Graphic 2080">
                  <a:extLst>
                    <a:ext uri="{FF2B5EF4-FFF2-40B4-BE49-F238E27FC236}">
                      <a16:creationId xmlns:a16="http://schemas.microsoft.com/office/drawing/2014/main" id="{2DD654E1-BCA0-5681-2ECF-C2B160BD1DC2}"/>
                    </a:ext>
                  </a:extLst>
                </p:cNvPr>
                <p:cNvGrpSpPr/>
                <p:nvPr/>
              </p:nvGrpSpPr>
              <p:grpSpPr>
                <a:xfrm>
                  <a:off x="6754558" y="3874293"/>
                  <a:ext cx="75723" cy="75723"/>
                  <a:chOff x="6754558" y="3874293"/>
                  <a:chExt cx="75723" cy="75723"/>
                </a:xfrm>
              </p:grpSpPr>
              <p:sp>
                <p:nvSpPr>
                  <p:cNvPr id="5678" name="Freeform: Shape 5677">
                    <a:extLst>
                      <a:ext uri="{FF2B5EF4-FFF2-40B4-BE49-F238E27FC236}">
                        <a16:creationId xmlns:a16="http://schemas.microsoft.com/office/drawing/2014/main" id="{09D4223F-653C-F506-DE1A-A5A3BB8EE266}"/>
                      </a:ext>
                    </a:extLst>
                  </p:cNvPr>
                  <p:cNvSpPr/>
                  <p:nvPr/>
                </p:nvSpPr>
                <p:spPr>
                  <a:xfrm>
                    <a:off x="679246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79" name="Freeform: Shape 5678">
                    <a:extLst>
                      <a:ext uri="{FF2B5EF4-FFF2-40B4-BE49-F238E27FC236}">
                        <a16:creationId xmlns:a16="http://schemas.microsoft.com/office/drawing/2014/main" id="{67DEA04C-123A-717A-285A-BBBD983B11C3}"/>
                      </a:ext>
                    </a:extLst>
                  </p:cNvPr>
                  <p:cNvSpPr/>
                  <p:nvPr/>
                </p:nvSpPr>
                <p:spPr>
                  <a:xfrm>
                    <a:off x="6754558"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7" name="Graphic 2080">
                  <a:extLst>
                    <a:ext uri="{FF2B5EF4-FFF2-40B4-BE49-F238E27FC236}">
                      <a16:creationId xmlns:a16="http://schemas.microsoft.com/office/drawing/2014/main" id="{A92AC2C3-208E-9DB2-4F15-6DB35E7B499E}"/>
                    </a:ext>
                  </a:extLst>
                </p:cNvPr>
                <p:cNvGrpSpPr/>
                <p:nvPr/>
              </p:nvGrpSpPr>
              <p:grpSpPr>
                <a:xfrm>
                  <a:off x="6743032" y="3874293"/>
                  <a:ext cx="75723" cy="75723"/>
                  <a:chOff x="6743032" y="3874293"/>
                  <a:chExt cx="75723" cy="75723"/>
                </a:xfrm>
              </p:grpSpPr>
              <p:sp>
                <p:nvSpPr>
                  <p:cNvPr id="5676" name="Freeform: Shape 5675">
                    <a:extLst>
                      <a:ext uri="{FF2B5EF4-FFF2-40B4-BE49-F238E27FC236}">
                        <a16:creationId xmlns:a16="http://schemas.microsoft.com/office/drawing/2014/main" id="{A4E388D8-1155-1938-850D-5B8429F72C7B}"/>
                      </a:ext>
                    </a:extLst>
                  </p:cNvPr>
                  <p:cNvSpPr/>
                  <p:nvPr/>
                </p:nvSpPr>
                <p:spPr>
                  <a:xfrm>
                    <a:off x="6780847"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77" name="Freeform: Shape 5676">
                    <a:extLst>
                      <a:ext uri="{FF2B5EF4-FFF2-40B4-BE49-F238E27FC236}">
                        <a16:creationId xmlns:a16="http://schemas.microsoft.com/office/drawing/2014/main" id="{F5C04A4F-749D-7013-0E0F-BAA49BC2758A}"/>
                      </a:ext>
                    </a:extLst>
                  </p:cNvPr>
                  <p:cNvSpPr/>
                  <p:nvPr/>
                </p:nvSpPr>
                <p:spPr>
                  <a:xfrm>
                    <a:off x="6743032"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8" name="Graphic 2080">
                  <a:extLst>
                    <a:ext uri="{FF2B5EF4-FFF2-40B4-BE49-F238E27FC236}">
                      <a16:creationId xmlns:a16="http://schemas.microsoft.com/office/drawing/2014/main" id="{B739EDA2-6A93-3E6F-5A4C-D7124FA6A24C}"/>
                    </a:ext>
                  </a:extLst>
                </p:cNvPr>
                <p:cNvGrpSpPr/>
                <p:nvPr/>
              </p:nvGrpSpPr>
              <p:grpSpPr>
                <a:xfrm>
                  <a:off x="6764940" y="3874293"/>
                  <a:ext cx="75723" cy="75723"/>
                  <a:chOff x="6764940" y="3874293"/>
                  <a:chExt cx="75723" cy="75723"/>
                </a:xfrm>
              </p:grpSpPr>
              <p:sp>
                <p:nvSpPr>
                  <p:cNvPr id="5674" name="Freeform: Shape 5673">
                    <a:extLst>
                      <a:ext uri="{FF2B5EF4-FFF2-40B4-BE49-F238E27FC236}">
                        <a16:creationId xmlns:a16="http://schemas.microsoft.com/office/drawing/2014/main" id="{C061B974-0EAE-8ECA-80FD-BD0FC2FF56BB}"/>
                      </a:ext>
                    </a:extLst>
                  </p:cNvPr>
                  <p:cNvSpPr/>
                  <p:nvPr/>
                </p:nvSpPr>
                <p:spPr>
                  <a:xfrm>
                    <a:off x="6802754"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75" name="Freeform: Shape 5674">
                    <a:extLst>
                      <a:ext uri="{FF2B5EF4-FFF2-40B4-BE49-F238E27FC236}">
                        <a16:creationId xmlns:a16="http://schemas.microsoft.com/office/drawing/2014/main" id="{3DFCAD17-A39F-9999-6D18-CEC4292682BF}"/>
                      </a:ext>
                    </a:extLst>
                  </p:cNvPr>
                  <p:cNvSpPr/>
                  <p:nvPr/>
                </p:nvSpPr>
                <p:spPr>
                  <a:xfrm>
                    <a:off x="6764940"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69" name="Graphic 2080">
                  <a:extLst>
                    <a:ext uri="{FF2B5EF4-FFF2-40B4-BE49-F238E27FC236}">
                      <a16:creationId xmlns:a16="http://schemas.microsoft.com/office/drawing/2014/main" id="{3768F922-BB46-E639-8445-4D181F205404}"/>
                    </a:ext>
                  </a:extLst>
                </p:cNvPr>
                <p:cNvGrpSpPr/>
                <p:nvPr/>
              </p:nvGrpSpPr>
              <p:grpSpPr>
                <a:xfrm>
                  <a:off x="6780847" y="3874293"/>
                  <a:ext cx="75723" cy="75723"/>
                  <a:chOff x="6780847" y="3874293"/>
                  <a:chExt cx="75723" cy="75723"/>
                </a:xfrm>
              </p:grpSpPr>
              <p:sp>
                <p:nvSpPr>
                  <p:cNvPr id="5672" name="Freeform: Shape 5671">
                    <a:extLst>
                      <a:ext uri="{FF2B5EF4-FFF2-40B4-BE49-F238E27FC236}">
                        <a16:creationId xmlns:a16="http://schemas.microsoft.com/office/drawing/2014/main" id="{6C790167-EBE7-3F59-A580-B1122EFA3D23}"/>
                      </a:ext>
                    </a:extLst>
                  </p:cNvPr>
                  <p:cNvSpPr/>
                  <p:nvPr/>
                </p:nvSpPr>
                <p:spPr>
                  <a:xfrm>
                    <a:off x="6818756"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73" name="Freeform: Shape 5672">
                    <a:extLst>
                      <a:ext uri="{FF2B5EF4-FFF2-40B4-BE49-F238E27FC236}">
                        <a16:creationId xmlns:a16="http://schemas.microsoft.com/office/drawing/2014/main" id="{DB276651-047B-7AF3-A680-C3600AA19191}"/>
                      </a:ext>
                    </a:extLst>
                  </p:cNvPr>
                  <p:cNvSpPr/>
                  <p:nvPr/>
                </p:nvSpPr>
                <p:spPr>
                  <a:xfrm>
                    <a:off x="6780847"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0" name="Graphic 2080">
                  <a:extLst>
                    <a:ext uri="{FF2B5EF4-FFF2-40B4-BE49-F238E27FC236}">
                      <a16:creationId xmlns:a16="http://schemas.microsoft.com/office/drawing/2014/main" id="{BA2EB7FD-998A-56DC-614F-49397AADAD78}"/>
                    </a:ext>
                  </a:extLst>
                </p:cNvPr>
                <p:cNvGrpSpPr/>
                <p:nvPr/>
              </p:nvGrpSpPr>
              <p:grpSpPr>
                <a:xfrm>
                  <a:off x="6791229" y="3874293"/>
                  <a:ext cx="75723" cy="75723"/>
                  <a:chOff x="6791229" y="3874293"/>
                  <a:chExt cx="75723" cy="75723"/>
                </a:xfrm>
              </p:grpSpPr>
              <p:sp>
                <p:nvSpPr>
                  <p:cNvPr id="5670" name="Freeform: Shape 5669">
                    <a:extLst>
                      <a:ext uri="{FF2B5EF4-FFF2-40B4-BE49-F238E27FC236}">
                        <a16:creationId xmlns:a16="http://schemas.microsoft.com/office/drawing/2014/main" id="{B5B37F94-82E5-F946-D448-F16176FF4B84}"/>
                      </a:ext>
                    </a:extLst>
                  </p:cNvPr>
                  <p:cNvSpPr/>
                  <p:nvPr/>
                </p:nvSpPr>
                <p:spPr>
                  <a:xfrm>
                    <a:off x="6829043" y="3874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71" name="Freeform: Shape 5670">
                    <a:extLst>
                      <a:ext uri="{FF2B5EF4-FFF2-40B4-BE49-F238E27FC236}">
                        <a16:creationId xmlns:a16="http://schemas.microsoft.com/office/drawing/2014/main" id="{D5F984FA-E23D-17E8-8A6A-D04BA5719273}"/>
                      </a:ext>
                    </a:extLst>
                  </p:cNvPr>
                  <p:cNvSpPr/>
                  <p:nvPr/>
                </p:nvSpPr>
                <p:spPr>
                  <a:xfrm>
                    <a:off x="6791229" y="39122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1" name="Graphic 2080">
                  <a:extLst>
                    <a:ext uri="{FF2B5EF4-FFF2-40B4-BE49-F238E27FC236}">
                      <a16:creationId xmlns:a16="http://schemas.microsoft.com/office/drawing/2014/main" id="{2504E050-B138-071D-6F78-1310251E7D29}"/>
                    </a:ext>
                  </a:extLst>
                </p:cNvPr>
                <p:cNvGrpSpPr/>
                <p:nvPr/>
              </p:nvGrpSpPr>
              <p:grpSpPr>
                <a:xfrm>
                  <a:off x="7136224" y="3948207"/>
                  <a:ext cx="75723" cy="75723"/>
                  <a:chOff x="7136224" y="3948207"/>
                  <a:chExt cx="75723" cy="75723"/>
                </a:xfrm>
              </p:grpSpPr>
              <p:sp>
                <p:nvSpPr>
                  <p:cNvPr id="5668" name="Freeform: Shape 5667">
                    <a:extLst>
                      <a:ext uri="{FF2B5EF4-FFF2-40B4-BE49-F238E27FC236}">
                        <a16:creationId xmlns:a16="http://schemas.microsoft.com/office/drawing/2014/main" id="{5F49F498-44AE-99DC-97EA-04E9861A93B6}"/>
                      </a:ext>
                    </a:extLst>
                  </p:cNvPr>
                  <p:cNvSpPr/>
                  <p:nvPr/>
                </p:nvSpPr>
                <p:spPr>
                  <a:xfrm>
                    <a:off x="717413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69" name="Freeform: Shape 5668">
                    <a:extLst>
                      <a:ext uri="{FF2B5EF4-FFF2-40B4-BE49-F238E27FC236}">
                        <a16:creationId xmlns:a16="http://schemas.microsoft.com/office/drawing/2014/main" id="{F3C36485-AABC-74AA-C2A2-9D077CE92FCC}"/>
                      </a:ext>
                    </a:extLst>
                  </p:cNvPr>
                  <p:cNvSpPr/>
                  <p:nvPr/>
                </p:nvSpPr>
                <p:spPr>
                  <a:xfrm>
                    <a:off x="7136224"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2" name="Graphic 2080">
                  <a:extLst>
                    <a:ext uri="{FF2B5EF4-FFF2-40B4-BE49-F238E27FC236}">
                      <a16:creationId xmlns:a16="http://schemas.microsoft.com/office/drawing/2014/main" id="{7CD37CC5-7E18-0D2C-0B00-0C2A9D09B459}"/>
                    </a:ext>
                  </a:extLst>
                </p:cNvPr>
                <p:cNvGrpSpPr/>
                <p:nvPr/>
              </p:nvGrpSpPr>
              <p:grpSpPr>
                <a:xfrm>
                  <a:off x="7102030" y="3948207"/>
                  <a:ext cx="75628" cy="75723"/>
                  <a:chOff x="7102030" y="3948207"/>
                  <a:chExt cx="75628" cy="75723"/>
                </a:xfrm>
              </p:grpSpPr>
              <p:sp>
                <p:nvSpPr>
                  <p:cNvPr id="5666" name="Freeform: Shape 5665">
                    <a:extLst>
                      <a:ext uri="{FF2B5EF4-FFF2-40B4-BE49-F238E27FC236}">
                        <a16:creationId xmlns:a16="http://schemas.microsoft.com/office/drawing/2014/main" id="{41EDC8B2-30B4-3FBD-3EF3-1D531BCED6AE}"/>
                      </a:ext>
                    </a:extLst>
                  </p:cNvPr>
                  <p:cNvSpPr/>
                  <p:nvPr/>
                </p:nvSpPr>
                <p:spPr>
                  <a:xfrm>
                    <a:off x="713984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67" name="Freeform: Shape 5666">
                    <a:extLst>
                      <a:ext uri="{FF2B5EF4-FFF2-40B4-BE49-F238E27FC236}">
                        <a16:creationId xmlns:a16="http://schemas.microsoft.com/office/drawing/2014/main" id="{F5C1E6B9-6285-8D47-C04F-29C7070A447D}"/>
                      </a:ext>
                    </a:extLst>
                  </p:cNvPr>
                  <p:cNvSpPr/>
                  <p:nvPr/>
                </p:nvSpPr>
                <p:spPr>
                  <a:xfrm>
                    <a:off x="7102030" y="398602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3" name="Graphic 2080">
                  <a:extLst>
                    <a:ext uri="{FF2B5EF4-FFF2-40B4-BE49-F238E27FC236}">
                      <a16:creationId xmlns:a16="http://schemas.microsoft.com/office/drawing/2014/main" id="{55CEF803-5B12-B9F9-3149-EC17929DF688}"/>
                    </a:ext>
                  </a:extLst>
                </p:cNvPr>
                <p:cNvGrpSpPr/>
                <p:nvPr/>
              </p:nvGrpSpPr>
              <p:grpSpPr>
                <a:xfrm>
                  <a:off x="7068978" y="3948207"/>
                  <a:ext cx="75723" cy="75723"/>
                  <a:chOff x="7068978" y="3948207"/>
                  <a:chExt cx="75723" cy="75723"/>
                </a:xfrm>
              </p:grpSpPr>
              <p:sp>
                <p:nvSpPr>
                  <p:cNvPr id="5664" name="Freeform: Shape 5663">
                    <a:extLst>
                      <a:ext uri="{FF2B5EF4-FFF2-40B4-BE49-F238E27FC236}">
                        <a16:creationId xmlns:a16="http://schemas.microsoft.com/office/drawing/2014/main" id="{CC8887E4-DF9A-F23A-6D50-930FD9ED0100}"/>
                      </a:ext>
                    </a:extLst>
                  </p:cNvPr>
                  <p:cNvSpPr/>
                  <p:nvPr/>
                </p:nvSpPr>
                <p:spPr>
                  <a:xfrm>
                    <a:off x="7106792"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65" name="Freeform: Shape 5664">
                    <a:extLst>
                      <a:ext uri="{FF2B5EF4-FFF2-40B4-BE49-F238E27FC236}">
                        <a16:creationId xmlns:a16="http://schemas.microsoft.com/office/drawing/2014/main" id="{F4E87CE9-3A33-ECF7-32D6-D05CAAB569BB}"/>
                      </a:ext>
                    </a:extLst>
                  </p:cNvPr>
                  <p:cNvSpPr/>
                  <p:nvPr/>
                </p:nvSpPr>
                <p:spPr>
                  <a:xfrm>
                    <a:off x="7068978"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4" name="Graphic 2080">
                  <a:extLst>
                    <a:ext uri="{FF2B5EF4-FFF2-40B4-BE49-F238E27FC236}">
                      <a16:creationId xmlns:a16="http://schemas.microsoft.com/office/drawing/2014/main" id="{D5FD5CCB-9C2A-B83A-C5C1-CC63A27B7703}"/>
                    </a:ext>
                  </a:extLst>
                </p:cNvPr>
                <p:cNvGrpSpPr/>
                <p:nvPr/>
              </p:nvGrpSpPr>
              <p:grpSpPr>
                <a:xfrm>
                  <a:off x="7046689" y="3948207"/>
                  <a:ext cx="75723" cy="75723"/>
                  <a:chOff x="7046689" y="3948207"/>
                  <a:chExt cx="75723" cy="75723"/>
                </a:xfrm>
              </p:grpSpPr>
              <p:sp>
                <p:nvSpPr>
                  <p:cNvPr id="5662" name="Freeform: Shape 5661">
                    <a:extLst>
                      <a:ext uri="{FF2B5EF4-FFF2-40B4-BE49-F238E27FC236}">
                        <a16:creationId xmlns:a16="http://schemas.microsoft.com/office/drawing/2014/main" id="{2778099F-2D01-A351-6EAF-86C065D57DA6}"/>
                      </a:ext>
                    </a:extLst>
                  </p:cNvPr>
                  <p:cNvSpPr/>
                  <p:nvPr/>
                </p:nvSpPr>
                <p:spPr>
                  <a:xfrm>
                    <a:off x="7084504" y="3948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63" name="Freeform: Shape 5662">
                    <a:extLst>
                      <a:ext uri="{FF2B5EF4-FFF2-40B4-BE49-F238E27FC236}">
                        <a16:creationId xmlns:a16="http://schemas.microsoft.com/office/drawing/2014/main" id="{05F286E9-4C3B-3DCE-BDE7-0182ED06226F}"/>
                      </a:ext>
                    </a:extLst>
                  </p:cNvPr>
                  <p:cNvSpPr/>
                  <p:nvPr/>
                </p:nvSpPr>
                <p:spPr>
                  <a:xfrm>
                    <a:off x="7046689" y="398602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5" name="Graphic 2080">
                  <a:extLst>
                    <a:ext uri="{FF2B5EF4-FFF2-40B4-BE49-F238E27FC236}">
                      <a16:creationId xmlns:a16="http://schemas.microsoft.com/office/drawing/2014/main" id="{FF2D771D-E227-E3C8-F7E5-6C602987DF5B}"/>
                    </a:ext>
                  </a:extLst>
                </p:cNvPr>
                <p:cNvGrpSpPr/>
                <p:nvPr/>
              </p:nvGrpSpPr>
              <p:grpSpPr>
                <a:xfrm>
                  <a:off x="7234808" y="3971638"/>
                  <a:ext cx="75723" cy="75723"/>
                  <a:chOff x="7234808" y="3971638"/>
                  <a:chExt cx="75723" cy="75723"/>
                </a:xfrm>
              </p:grpSpPr>
              <p:sp>
                <p:nvSpPr>
                  <p:cNvPr id="5660" name="Freeform: Shape 5659">
                    <a:extLst>
                      <a:ext uri="{FF2B5EF4-FFF2-40B4-BE49-F238E27FC236}">
                        <a16:creationId xmlns:a16="http://schemas.microsoft.com/office/drawing/2014/main" id="{198BCFFA-FB13-BF6A-7BE1-C27567736AAD}"/>
                      </a:ext>
                    </a:extLst>
                  </p:cNvPr>
                  <p:cNvSpPr/>
                  <p:nvPr/>
                </p:nvSpPr>
                <p:spPr>
                  <a:xfrm>
                    <a:off x="7272718"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61" name="Freeform: Shape 5660">
                    <a:extLst>
                      <a:ext uri="{FF2B5EF4-FFF2-40B4-BE49-F238E27FC236}">
                        <a16:creationId xmlns:a16="http://schemas.microsoft.com/office/drawing/2014/main" id="{C9C42C60-7353-CF81-9866-B8D826104921}"/>
                      </a:ext>
                    </a:extLst>
                  </p:cNvPr>
                  <p:cNvSpPr/>
                  <p:nvPr/>
                </p:nvSpPr>
                <p:spPr>
                  <a:xfrm>
                    <a:off x="7234808"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6" name="Graphic 2080">
                  <a:extLst>
                    <a:ext uri="{FF2B5EF4-FFF2-40B4-BE49-F238E27FC236}">
                      <a16:creationId xmlns:a16="http://schemas.microsoft.com/office/drawing/2014/main" id="{BCD468D7-BA19-1DB6-A531-55C742FB039A}"/>
                    </a:ext>
                  </a:extLst>
                </p:cNvPr>
                <p:cNvGrpSpPr/>
                <p:nvPr/>
              </p:nvGrpSpPr>
              <p:grpSpPr>
                <a:xfrm>
                  <a:off x="7319581" y="3971638"/>
                  <a:ext cx="75628" cy="75723"/>
                  <a:chOff x="7319581" y="3971638"/>
                  <a:chExt cx="75628" cy="75723"/>
                </a:xfrm>
              </p:grpSpPr>
              <p:sp>
                <p:nvSpPr>
                  <p:cNvPr id="5658" name="Freeform: Shape 5657">
                    <a:extLst>
                      <a:ext uri="{FF2B5EF4-FFF2-40B4-BE49-F238E27FC236}">
                        <a16:creationId xmlns:a16="http://schemas.microsoft.com/office/drawing/2014/main" id="{149B0E6E-5451-0498-1FEC-3113311D4DE9}"/>
                      </a:ext>
                    </a:extLst>
                  </p:cNvPr>
                  <p:cNvSpPr/>
                  <p:nvPr/>
                </p:nvSpPr>
                <p:spPr>
                  <a:xfrm>
                    <a:off x="7357395"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59" name="Freeform: Shape 5658">
                    <a:extLst>
                      <a:ext uri="{FF2B5EF4-FFF2-40B4-BE49-F238E27FC236}">
                        <a16:creationId xmlns:a16="http://schemas.microsoft.com/office/drawing/2014/main" id="{3DB42717-5596-B137-45D0-6E7F0CD34CDD}"/>
                      </a:ext>
                    </a:extLst>
                  </p:cNvPr>
                  <p:cNvSpPr/>
                  <p:nvPr/>
                </p:nvSpPr>
                <p:spPr>
                  <a:xfrm>
                    <a:off x="7319581" y="4009548"/>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7" name="Graphic 2080">
                  <a:extLst>
                    <a:ext uri="{FF2B5EF4-FFF2-40B4-BE49-F238E27FC236}">
                      <a16:creationId xmlns:a16="http://schemas.microsoft.com/office/drawing/2014/main" id="{8B59E6C0-1DE9-0EF3-F684-1C2F0BDA9725}"/>
                    </a:ext>
                  </a:extLst>
                </p:cNvPr>
                <p:cNvGrpSpPr/>
                <p:nvPr/>
              </p:nvGrpSpPr>
              <p:grpSpPr>
                <a:xfrm>
                  <a:off x="7293292" y="3971638"/>
                  <a:ext cx="75628" cy="75723"/>
                  <a:chOff x="7293292" y="3971638"/>
                  <a:chExt cx="75628" cy="75723"/>
                </a:xfrm>
              </p:grpSpPr>
              <p:sp>
                <p:nvSpPr>
                  <p:cNvPr id="5656" name="Freeform: Shape 5655">
                    <a:extLst>
                      <a:ext uri="{FF2B5EF4-FFF2-40B4-BE49-F238E27FC236}">
                        <a16:creationId xmlns:a16="http://schemas.microsoft.com/office/drawing/2014/main" id="{9B3B612E-27C3-7A7B-96B3-D3A81056D68E}"/>
                      </a:ext>
                    </a:extLst>
                  </p:cNvPr>
                  <p:cNvSpPr/>
                  <p:nvPr/>
                </p:nvSpPr>
                <p:spPr>
                  <a:xfrm>
                    <a:off x="7331106"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57" name="Freeform: Shape 5656">
                    <a:extLst>
                      <a:ext uri="{FF2B5EF4-FFF2-40B4-BE49-F238E27FC236}">
                        <a16:creationId xmlns:a16="http://schemas.microsoft.com/office/drawing/2014/main" id="{8B7142F1-816C-AF58-A4E5-37D6D239E21A}"/>
                      </a:ext>
                    </a:extLst>
                  </p:cNvPr>
                  <p:cNvSpPr/>
                  <p:nvPr/>
                </p:nvSpPr>
                <p:spPr>
                  <a:xfrm>
                    <a:off x="7293292"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8" name="Graphic 2080">
                  <a:extLst>
                    <a:ext uri="{FF2B5EF4-FFF2-40B4-BE49-F238E27FC236}">
                      <a16:creationId xmlns:a16="http://schemas.microsoft.com/office/drawing/2014/main" id="{1852E1B6-94CE-402F-081F-EA670E5E1B5F}"/>
                    </a:ext>
                  </a:extLst>
                </p:cNvPr>
                <p:cNvGrpSpPr/>
                <p:nvPr/>
              </p:nvGrpSpPr>
              <p:grpSpPr>
                <a:xfrm>
                  <a:off x="7272718" y="3971638"/>
                  <a:ext cx="75628" cy="75723"/>
                  <a:chOff x="7272718" y="3971638"/>
                  <a:chExt cx="75628" cy="75723"/>
                </a:xfrm>
              </p:grpSpPr>
              <p:sp>
                <p:nvSpPr>
                  <p:cNvPr id="5654" name="Freeform: Shape 5653">
                    <a:extLst>
                      <a:ext uri="{FF2B5EF4-FFF2-40B4-BE49-F238E27FC236}">
                        <a16:creationId xmlns:a16="http://schemas.microsoft.com/office/drawing/2014/main" id="{D85C3BF7-AD14-BC46-525D-06A142D133D2}"/>
                      </a:ext>
                    </a:extLst>
                  </p:cNvPr>
                  <p:cNvSpPr/>
                  <p:nvPr/>
                </p:nvSpPr>
                <p:spPr>
                  <a:xfrm>
                    <a:off x="7310532"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55" name="Freeform: Shape 5654">
                    <a:extLst>
                      <a:ext uri="{FF2B5EF4-FFF2-40B4-BE49-F238E27FC236}">
                        <a16:creationId xmlns:a16="http://schemas.microsoft.com/office/drawing/2014/main" id="{3E4D590B-B839-78D7-FB3C-4E6F105DA1EA}"/>
                      </a:ext>
                    </a:extLst>
                  </p:cNvPr>
                  <p:cNvSpPr/>
                  <p:nvPr/>
                </p:nvSpPr>
                <p:spPr>
                  <a:xfrm>
                    <a:off x="7272718" y="400954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79" name="Graphic 2080">
                  <a:extLst>
                    <a:ext uri="{FF2B5EF4-FFF2-40B4-BE49-F238E27FC236}">
                      <a16:creationId xmlns:a16="http://schemas.microsoft.com/office/drawing/2014/main" id="{3B15B5C4-324C-3664-28E9-1091274ECB74}"/>
                    </a:ext>
                  </a:extLst>
                </p:cNvPr>
                <p:cNvGrpSpPr/>
                <p:nvPr/>
              </p:nvGrpSpPr>
              <p:grpSpPr>
                <a:xfrm>
                  <a:off x="7247381" y="3971638"/>
                  <a:ext cx="75723" cy="75723"/>
                  <a:chOff x="7247381" y="3971638"/>
                  <a:chExt cx="75723" cy="75723"/>
                </a:xfrm>
              </p:grpSpPr>
              <p:sp>
                <p:nvSpPr>
                  <p:cNvPr id="5652" name="Freeform: Shape 5651">
                    <a:extLst>
                      <a:ext uri="{FF2B5EF4-FFF2-40B4-BE49-F238E27FC236}">
                        <a16:creationId xmlns:a16="http://schemas.microsoft.com/office/drawing/2014/main" id="{FEEE8CE1-1F5A-0040-4F20-06F154E741CC}"/>
                      </a:ext>
                    </a:extLst>
                  </p:cNvPr>
                  <p:cNvSpPr/>
                  <p:nvPr/>
                </p:nvSpPr>
                <p:spPr>
                  <a:xfrm>
                    <a:off x="7285291" y="397163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53" name="Freeform: Shape 5652">
                    <a:extLst>
                      <a:ext uri="{FF2B5EF4-FFF2-40B4-BE49-F238E27FC236}">
                        <a16:creationId xmlns:a16="http://schemas.microsoft.com/office/drawing/2014/main" id="{9C853DB9-9EFC-8A80-7BC8-60C01D4C4561}"/>
                      </a:ext>
                    </a:extLst>
                  </p:cNvPr>
                  <p:cNvSpPr/>
                  <p:nvPr/>
                </p:nvSpPr>
                <p:spPr>
                  <a:xfrm>
                    <a:off x="7247381" y="400954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0" name="Graphic 2080">
                  <a:extLst>
                    <a:ext uri="{FF2B5EF4-FFF2-40B4-BE49-F238E27FC236}">
                      <a16:creationId xmlns:a16="http://schemas.microsoft.com/office/drawing/2014/main" id="{759EEF42-B2A4-8814-1ECF-6AE2EA1877A4}"/>
                    </a:ext>
                  </a:extLst>
                </p:cNvPr>
                <p:cNvGrpSpPr/>
                <p:nvPr/>
              </p:nvGrpSpPr>
              <p:grpSpPr>
                <a:xfrm>
                  <a:off x="7574946" y="4039266"/>
                  <a:ext cx="75628" cy="75628"/>
                  <a:chOff x="7574946" y="4039266"/>
                  <a:chExt cx="75628" cy="75628"/>
                </a:xfrm>
              </p:grpSpPr>
              <p:sp>
                <p:nvSpPr>
                  <p:cNvPr id="5650" name="Freeform: Shape 5649">
                    <a:extLst>
                      <a:ext uri="{FF2B5EF4-FFF2-40B4-BE49-F238E27FC236}">
                        <a16:creationId xmlns:a16="http://schemas.microsoft.com/office/drawing/2014/main" id="{3B4228A4-F4EC-7621-4EB7-10C6C5EE657D}"/>
                      </a:ext>
                    </a:extLst>
                  </p:cNvPr>
                  <p:cNvSpPr/>
                  <p:nvPr/>
                </p:nvSpPr>
                <p:spPr>
                  <a:xfrm>
                    <a:off x="7612760"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51" name="Freeform: Shape 5650">
                    <a:extLst>
                      <a:ext uri="{FF2B5EF4-FFF2-40B4-BE49-F238E27FC236}">
                        <a16:creationId xmlns:a16="http://schemas.microsoft.com/office/drawing/2014/main" id="{F3179CE3-B2E7-F030-B1DE-7495D3BE3BE2}"/>
                      </a:ext>
                    </a:extLst>
                  </p:cNvPr>
                  <p:cNvSpPr/>
                  <p:nvPr/>
                </p:nvSpPr>
                <p:spPr>
                  <a:xfrm>
                    <a:off x="7574946" y="407708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1" name="Graphic 2080">
                  <a:extLst>
                    <a:ext uri="{FF2B5EF4-FFF2-40B4-BE49-F238E27FC236}">
                      <a16:creationId xmlns:a16="http://schemas.microsoft.com/office/drawing/2014/main" id="{31F92F0E-5402-0601-D063-7B1B656C3C7C}"/>
                    </a:ext>
                  </a:extLst>
                </p:cNvPr>
                <p:cNvGrpSpPr/>
                <p:nvPr/>
              </p:nvGrpSpPr>
              <p:grpSpPr>
                <a:xfrm>
                  <a:off x="7542085" y="4039266"/>
                  <a:ext cx="75723" cy="75628"/>
                  <a:chOff x="7542085" y="4039266"/>
                  <a:chExt cx="75723" cy="75628"/>
                </a:xfrm>
              </p:grpSpPr>
              <p:sp>
                <p:nvSpPr>
                  <p:cNvPr id="5648" name="Freeform: Shape 5647">
                    <a:extLst>
                      <a:ext uri="{FF2B5EF4-FFF2-40B4-BE49-F238E27FC236}">
                        <a16:creationId xmlns:a16="http://schemas.microsoft.com/office/drawing/2014/main" id="{6DCC69C6-9AB9-0BDF-17AA-20D200CFC510}"/>
                      </a:ext>
                    </a:extLst>
                  </p:cNvPr>
                  <p:cNvSpPr/>
                  <p:nvPr/>
                </p:nvSpPr>
                <p:spPr>
                  <a:xfrm>
                    <a:off x="7579899"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49" name="Freeform: Shape 5648">
                    <a:extLst>
                      <a:ext uri="{FF2B5EF4-FFF2-40B4-BE49-F238E27FC236}">
                        <a16:creationId xmlns:a16="http://schemas.microsoft.com/office/drawing/2014/main" id="{4E124539-CBA4-4090-3B25-8CF64512D2FD}"/>
                      </a:ext>
                    </a:extLst>
                  </p:cNvPr>
                  <p:cNvSpPr/>
                  <p:nvPr/>
                </p:nvSpPr>
                <p:spPr>
                  <a:xfrm>
                    <a:off x="7542085"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2" name="Graphic 2080">
                  <a:extLst>
                    <a:ext uri="{FF2B5EF4-FFF2-40B4-BE49-F238E27FC236}">
                      <a16:creationId xmlns:a16="http://schemas.microsoft.com/office/drawing/2014/main" id="{3C9B1D7C-B544-CE0C-C882-FAB520D6D141}"/>
                    </a:ext>
                  </a:extLst>
                </p:cNvPr>
                <p:cNvGrpSpPr/>
                <p:nvPr/>
              </p:nvGrpSpPr>
              <p:grpSpPr>
                <a:xfrm>
                  <a:off x="7499222" y="4039266"/>
                  <a:ext cx="75723" cy="75628"/>
                  <a:chOff x="7499222" y="4039266"/>
                  <a:chExt cx="75723" cy="75628"/>
                </a:xfrm>
              </p:grpSpPr>
              <p:sp>
                <p:nvSpPr>
                  <p:cNvPr id="5646" name="Freeform: Shape 5645">
                    <a:extLst>
                      <a:ext uri="{FF2B5EF4-FFF2-40B4-BE49-F238E27FC236}">
                        <a16:creationId xmlns:a16="http://schemas.microsoft.com/office/drawing/2014/main" id="{D87A5A3A-6C13-7FC8-839B-656D3ADD788A}"/>
                      </a:ext>
                    </a:extLst>
                  </p:cNvPr>
                  <p:cNvSpPr/>
                  <p:nvPr/>
                </p:nvSpPr>
                <p:spPr>
                  <a:xfrm>
                    <a:off x="7537036" y="4039266"/>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47" name="Freeform: Shape 5646">
                    <a:extLst>
                      <a:ext uri="{FF2B5EF4-FFF2-40B4-BE49-F238E27FC236}">
                        <a16:creationId xmlns:a16="http://schemas.microsoft.com/office/drawing/2014/main" id="{5E84AD8A-464A-29DB-AA68-AB7AFF05750F}"/>
                      </a:ext>
                    </a:extLst>
                  </p:cNvPr>
                  <p:cNvSpPr/>
                  <p:nvPr/>
                </p:nvSpPr>
                <p:spPr>
                  <a:xfrm>
                    <a:off x="7499222" y="407708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3" name="Graphic 2080">
                  <a:extLst>
                    <a:ext uri="{FF2B5EF4-FFF2-40B4-BE49-F238E27FC236}">
                      <a16:creationId xmlns:a16="http://schemas.microsoft.com/office/drawing/2014/main" id="{C48635E3-B893-00AC-8A4B-E64D716B7AE8}"/>
                    </a:ext>
                  </a:extLst>
                </p:cNvPr>
                <p:cNvGrpSpPr/>
                <p:nvPr/>
              </p:nvGrpSpPr>
              <p:grpSpPr>
                <a:xfrm>
                  <a:off x="7439977" y="4039552"/>
                  <a:ext cx="75628" cy="75628"/>
                  <a:chOff x="7439977" y="4039552"/>
                  <a:chExt cx="75628" cy="75628"/>
                </a:xfrm>
              </p:grpSpPr>
              <p:sp>
                <p:nvSpPr>
                  <p:cNvPr id="5644" name="Freeform: Shape 5643">
                    <a:extLst>
                      <a:ext uri="{FF2B5EF4-FFF2-40B4-BE49-F238E27FC236}">
                        <a16:creationId xmlns:a16="http://schemas.microsoft.com/office/drawing/2014/main" id="{F1D8062C-9FDF-F910-53CF-B776D6A2B5EE}"/>
                      </a:ext>
                    </a:extLst>
                  </p:cNvPr>
                  <p:cNvSpPr/>
                  <p:nvPr/>
                </p:nvSpPr>
                <p:spPr>
                  <a:xfrm>
                    <a:off x="7477791"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45" name="Freeform: Shape 5644">
                    <a:extLst>
                      <a:ext uri="{FF2B5EF4-FFF2-40B4-BE49-F238E27FC236}">
                        <a16:creationId xmlns:a16="http://schemas.microsoft.com/office/drawing/2014/main" id="{B3E504DF-8156-967D-A944-35AE533F6373}"/>
                      </a:ext>
                    </a:extLst>
                  </p:cNvPr>
                  <p:cNvSpPr/>
                  <p:nvPr/>
                </p:nvSpPr>
                <p:spPr>
                  <a:xfrm>
                    <a:off x="7439977"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4" name="Graphic 2080">
                  <a:extLst>
                    <a:ext uri="{FF2B5EF4-FFF2-40B4-BE49-F238E27FC236}">
                      <a16:creationId xmlns:a16="http://schemas.microsoft.com/office/drawing/2014/main" id="{4703B8B8-ECC2-3D50-4602-5940B0695707}"/>
                    </a:ext>
                  </a:extLst>
                </p:cNvPr>
                <p:cNvGrpSpPr/>
                <p:nvPr/>
              </p:nvGrpSpPr>
              <p:grpSpPr>
                <a:xfrm>
                  <a:off x="7455883" y="4039552"/>
                  <a:ext cx="75723" cy="75628"/>
                  <a:chOff x="7455883" y="4039552"/>
                  <a:chExt cx="75723" cy="75628"/>
                </a:xfrm>
              </p:grpSpPr>
              <p:sp>
                <p:nvSpPr>
                  <p:cNvPr id="5642" name="Freeform: Shape 5641">
                    <a:extLst>
                      <a:ext uri="{FF2B5EF4-FFF2-40B4-BE49-F238E27FC236}">
                        <a16:creationId xmlns:a16="http://schemas.microsoft.com/office/drawing/2014/main" id="{D401E43B-33E5-9F03-01C3-127CBDD811E9}"/>
                      </a:ext>
                    </a:extLst>
                  </p:cNvPr>
                  <p:cNvSpPr/>
                  <p:nvPr/>
                </p:nvSpPr>
                <p:spPr>
                  <a:xfrm>
                    <a:off x="7493698"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43" name="Freeform: Shape 5642">
                    <a:extLst>
                      <a:ext uri="{FF2B5EF4-FFF2-40B4-BE49-F238E27FC236}">
                        <a16:creationId xmlns:a16="http://schemas.microsoft.com/office/drawing/2014/main" id="{FE2AF5F1-9D8A-932F-3B64-66C2017DB076}"/>
                      </a:ext>
                    </a:extLst>
                  </p:cNvPr>
                  <p:cNvSpPr/>
                  <p:nvPr/>
                </p:nvSpPr>
                <p:spPr>
                  <a:xfrm>
                    <a:off x="7455883" y="407736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5" name="Graphic 2080">
                  <a:extLst>
                    <a:ext uri="{FF2B5EF4-FFF2-40B4-BE49-F238E27FC236}">
                      <a16:creationId xmlns:a16="http://schemas.microsoft.com/office/drawing/2014/main" id="{7F4828C2-9504-72A8-4158-E9B52CF426FF}"/>
                    </a:ext>
                  </a:extLst>
                </p:cNvPr>
                <p:cNvGrpSpPr/>
                <p:nvPr/>
              </p:nvGrpSpPr>
              <p:grpSpPr>
                <a:xfrm>
                  <a:off x="7471885" y="4039552"/>
                  <a:ext cx="75628" cy="75628"/>
                  <a:chOff x="7471885" y="4039552"/>
                  <a:chExt cx="75628" cy="75628"/>
                </a:xfrm>
              </p:grpSpPr>
              <p:sp>
                <p:nvSpPr>
                  <p:cNvPr id="5640" name="Freeform: Shape 5639">
                    <a:extLst>
                      <a:ext uri="{FF2B5EF4-FFF2-40B4-BE49-F238E27FC236}">
                        <a16:creationId xmlns:a16="http://schemas.microsoft.com/office/drawing/2014/main" id="{52477190-56C8-6E2A-78EB-217A8119A47A}"/>
                      </a:ext>
                    </a:extLst>
                  </p:cNvPr>
                  <p:cNvSpPr/>
                  <p:nvPr/>
                </p:nvSpPr>
                <p:spPr>
                  <a:xfrm>
                    <a:off x="7509700" y="4039552"/>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41" name="Freeform: Shape 5640">
                    <a:extLst>
                      <a:ext uri="{FF2B5EF4-FFF2-40B4-BE49-F238E27FC236}">
                        <a16:creationId xmlns:a16="http://schemas.microsoft.com/office/drawing/2014/main" id="{84933A7B-2F78-417E-275A-F6A7B29918D7}"/>
                      </a:ext>
                    </a:extLst>
                  </p:cNvPr>
                  <p:cNvSpPr/>
                  <p:nvPr/>
                </p:nvSpPr>
                <p:spPr>
                  <a:xfrm>
                    <a:off x="7471885" y="407736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6" name="Graphic 2080">
                  <a:extLst>
                    <a:ext uri="{FF2B5EF4-FFF2-40B4-BE49-F238E27FC236}">
                      <a16:creationId xmlns:a16="http://schemas.microsoft.com/office/drawing/2014/main" id="{A446D53D-778A-9C1D-DE20-BEF640B51E66}"/>
                    </a:ext>
                  </a:extLst>
                </p:cNvPr>
                <p:cNvGrpSpPr/>
                <p:nvPr/>
              </p:nvGrpSpPr>
              <p:grpSpPr>
                <a:xfrm>
                  <a:off x="7701343" y="4077080"/>
                  <a:ext cx="75723" cy="75723"/>
                  <a:chOff x="7701343" y="4077080"/>
                  <a:chExt cx="75723" cy="75723"/>
                </a:xfrm>
              </p:grpSpPr>
              <p:sp>
                <p:nvSpPr>
                  <p:cNvPr id="5638" name="Freeform: Shape 5637">
                    <a:extLst>
                      <a:ext uri="{FF2B5EF4-FFF2-40B4-BE49-F238E27FC236}">
                        <a16:creationId xmlns:a16="http://schemas.microsoft.com/office/drawing/2014/main" id="{833695BF-6691-E169-87DC-8FC7C95D3C03}"/>
                      </a:ext>
                    </a:extLst>
                  </p:cNvPr>
                  <p:cNvSpPr/>
                  <p:nvPr/>
                </p:nvSpPr>
                <p:spPr>
                  <a:xfrm>
                    <a:off x="7739252"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39" name="Freeform: Shape 5638">
                    <a:extLst>
                      <a:ext uri="{FF2B5EF4-FFF2-40B4-BE49-F238E27FC236}">
                        <a16:creationId xmlns:a16="http://schemas.microsoft.com/office/drawing/2014/main" id="{F67B1C46-CED1-755E-A4F1-32ED04D24441}"/>
                      </a:ext>
                    </a:extLst>
                  </p:cNvPr>
                  <p:cNvSpPr/>
                  <p:nvPr/>
                </p:nvSpPr>
                <p:spPr>
                  <a:xfrm>
                    <a:off x="7701343"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7" name="Graphic 2080">
                  <a:extLst>
                    <a:ext uri="{FF2B5EF4-FFF2-40B4-BE49-F238E27FC236}">
                      <a16:creationId xmlns:a16="http://schemas.microsoft.com/office/drawing/2014/main" id="{3D5D20A9-06D2-273E-AEFC-4CBE035C67A0}"/>
                    </a:ext>
                  </a:extLst>
                </p:cNvPr>
                <p:cNvGrpSpPr/>
                <p:nvPr/>
              </p:nvGrpSpPr>
              <p:grpSpPr>
                <a:xfrm>
                  <a:off x="7768589" y="4077080"/>
                  <a:ext cx="75628" cy="75723"/>
                  <a:chOff x="7768589" y="4077080"/>
                  <a:chExt cx="75628" cy="75723"/>
                </a:xfrm>
              </p:grpSpPr>
              <p:sp>
                <p:nvSpPr>
                  <p:cNvPr id="5636" name="Freeform: Shape 5635">
                    <a:extLst>
                      <a:ext uri="{FF2B5EF4-FFF2-40B4-BE49-F238E27FC236}">
                        <a16:creationId xmlns:a16="http://schemas.microsoft.com/office/drawing/2014/main" id="{2324D139-D89B-41F9-FA99-DE3931A5A3F1}"/>
                      </a:ext>
                    </a:extLst>
                  </p:cNvPr>
                  <p:cNvSpPr/>
                  <p:nvPr/>
                </p:nvSpPr>
                <p:spPr>
                  <a:xfrm>
                    <a:off x="780640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37" name="Freeform: Shape 5636">
                    <a:extLst>
                      <a:ext uri="{FF2B5EF4-FFF2-40B4-BE49-F238E27FC236}">
                        <a16:creationId xmlns:a16="http://schemas.microsoft.com/office/drawing/2014/main" id="{A1C619F5-1016-170D-62BC-8DEA2DAB3B27}"/>
                      </a:ext>
                    </a:extLst>
                  </p:cNvPr>
                  <p:cNvSpPr/>
                  <p:nvPr/>
                </p:nvSpPr>
                <p:spPr>
                  <a:xfrm>
                    <a:off x="776858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8" name="Graphic 2080">
                  <a:extLst>
                    <a:ext uri="{FF2B5EF4-FFF2-40B4-BE49-F238E27FC236}">
                      <a16:creationId xmlns:a16="http://schemas.microsoft.com/office/drawing/2014/main" id="{2734655A-21D7-3A6D-A085-07AA3D56DB3B}"/>
                    </a:ext>
                  </a:extLst>
                </p:cNvPr>
                <p:cNvGrpSpPr/>
                <p:nvPr/>
              </p:nvGrpSpPr>
              <p:grpSpPr>
                <a:xfrm>
                  <a:off x="7826596" y="4077080"/>
                  <a:ext cx="75723" cy="75723"/>
                  <a:chOff x="7826596" y="4077080"/>
                  <a:chExt cx="75723" cy="75723"/>
                </a:xfrm>
              </p:grpSpPr>
              <p:sp>
                <p:nvSpPr>
                  <p:cNvPr id="5634" name="Freeform: Shape 5633">
                    <a:extLst>
                      <a:ext uri="{FF2B5EF4-FFF2-40B4-BE49-F238E27FC236}">
                        <a16:creationId xmlns:a16="http://schemas.microsoft.com/office/drawing/2014/main" id="{078507AC-009B-BE86-5022-430F682CECCD}"/>
                      </a:ext>
                    </a:extLst>
                  </p:cNvPr>
                  <p:cNvSpPr/>
                  <p:nvPr/>
                </p:nvSpPr>
                <p:spPr>
                  <a:xfrm>
                    <a:off x="7864411"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35" name="Freeform: Shape 5634">
                    <a:extLst>
                      <a:ext uri="{FF2B5EF4-FFF2-40B4-BE49-F238E27FC236}">
                        <a16:creationId xmlns:a16="http://schemas.microsoft.com/office/drawing/2014/main" id="{51DAB6B6-0D64-9B76-8680-766B9463B2BA}"/>
                      </a:ext>
                    </a:extLst>
                  </p:cNvPr>
                  <p:cNvSpPr/>
                  <p:nvPr/>
                </p:nvSpPr>
                <p:spPr>
                  <a:xfrm>
                    <a:off x="7826596" y="411489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89" name="Graphic 2080">
                  <a:extLst>
                    <a:ext uri="{FF2B5EF4-FFF2-40B4-BE49-F238E27FC236}">
                      <a16:creationId xmlns:a16="http://schemas.microsoft.com/office/drawing/2014/main" id="{8EDE6B08-F9F0-4B5F-DD35-C85962D5A532}"/>
                    </a:ext>
                  </a:extLst>
                </p:cNvPr>
                <p:cNvGrpSpPr/>
                <p:nvPr/>
              </p:nvGrpSpPr>
              <p:grpSpPr>
                <a:xfrm>
                  <a:off x="7646669" y="4077080"/>
                  <a:ext cx="75628" cy="75723"/>
                  <a:chOff x="7646669" y="4077080"/>
                  <a:chExt cx="75628" cy="75723"/>
                </a:xfrm>
              </p:grpSpPr>
              <p:sp>
                <p:nvSpPr>
                  <p:cNvPr id="5632" name="Freeform: Shape 5631">
                    <a:extLst>
                      <a:ext uri="{FF2B5EF4-FFF2-40B4-BE49-F238E27FC236}">
                        <a16:creationId xmlns:a16="http://schemas.microsoft.com/office/drawing/2014/main" id="{B035F160-C484-F1FF-1B11-6E518B81C604}"/>
                      </a:ext>
                    </a:extLst>
                  </p:cNvPr>
                  <p:cNvSpPr/>
                  <p:nvPr/>
                </p:nvSpPr>
                <p:spPr>
                  <a:xfrm>
                    <a:off x="768448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33" name="Freeform: Shape 5632">
                    <a:extLst>
                      <a:ext uri="{FF2B5EF4-FFF2-40B4-BE49-F238E27FC236}">
                        <a16:creationId xmlns:a16="http://schemas.microsoft.com/office/drawing/2014/main" id="{FEC3FA23-BC1A-B801-06AC-6495DC117ABF}"/>
                      </a:ext>
                    </a:extLst>
                  </p:cNvPr>
                  <p:cNvSpPr/>
                  <p:nvPr/>
                </p:nvSpPr>
                <p:spPr>
                  <a:xfrm>
                    <a:off x="7646669" y="411489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0" name="Graphic 2080">
                  <a:extLst>
                    <a:ext uri="{FF2B5EF4-FFF2-40B4-BE49-F238E27FC236}">
                      <a16:creationId xmlns:a16="http://schemas.microsoft.com/office/drawing/2014/main" id="{D5DCCF5B-8F3A-B001-F893-10CA7C2092C5}"/>
                    </a:ext>
                  </a:extLst>
                </p:cNvPr>
                <p:cNvGrpSpPr/>
                <p:nvPr/>
              </p:nvGrpSpPr>
              <p:grpSpPr>
                <a:xfrm>
                  <a:off x="7656099" y="4077080"/>
                  <a:ext cx="75628" cy="75723"/>
                  <a:chOff x="7656099" y="4077080"/>
                  <a:chExt cx="75628" cy="75723"/>
                </a:xfrm>
              </p:grpSpPr>
              <p:sp>
                <p:nvSpPr>
                  <p:cNvPr id="5630" name="Freeform: Shape 5629">
                    <a:extLst>
                      <a:ext uri="{FF2B5EF4-FFF2-40B4-BE49-F238E27FC236}">
                        <a16:creationId xmlns:a16="http://schemas.microsoft.com/office/drawing/2014/main" id="{6E54670D-D1B9-F416-0317-184DDFE15286}"/>
                      </a:ext>
                    </a:extLst>
                  </p:cNvPr>
                  <p:cNvSpPr/>
                  <p:nvPr/>
                </p:nvSpPr>
                <p:spPr>
                  <a:xfrm>
                    <a:off x="7693913" y="407708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31" name="Freeform: Shape 5630">
                    <a:extLst>
                      <a:ext uri="{FF2B5EF4-FFF2-40B4-BE49-F238E27FC236}">
                        <a16:creationId xmlns:a16="http://schemas.microsoft.com/office/drawing/2014/main" id="{9A9A7EC9-75C4-F25C-335A-4E615DF2A152}"/>
                      </a:ext>
                    </a:extLst>
                  </p:cNvPr>
                  <p:cNvSpPr/>
                  <p:nvPr/>
                </p:nvSpPr>
                <p:spPr>
                  <a:xfrm>
                    <a:off x="7656099" y="411489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1" name="Graphic 2080">
                  <a:extLst>
                    <a:ext uri="{FF2B5EF4-FFF2-40B4-BE49-F238E27FC236}">
                      <a16:creationId xmlns:a16="http://schemas.microsoft.com/office/drawing/2014/main" id="{632A771E-04B1-0FDF-1D1E-3C7DB681C082}"/>
                    </a:ext>
                  </a:extLst>
                </p:cNvPr>
                <p:cNvGrpSpPr/>
                <p:nvPr/>
              </p:nvGrpSpPr>
              <p:grpSpPr>
                <a:xfrm>
                  <a:off x="7976139" y="4129372"/>
                  <a:ext cx="75723" cy="75723"/>
                  <a:chOff x="7976139" y="4129372"/>
                  <a:chExt cx="75723" cy="75723"/>
                </a:xfrm>
              </p:grpSpPr>
              <p:sp>
                <p:nvSpPr>
                  <p:cNvPr id="5628" name="Freeform: Shape 5627">
                    <a:extLst>
                      <a:ext uri="{FF2B5EF4-FFF2-40B4-BE49-F238E27FC236}">
                        <a16:creationId xmlns:a16="http://schemas.microsoft.com/office/drawing/2014/main" id="{2167F054-C2E7-9160-E476-BA2A1FCE0AF9}"/>
                      </a:ext>
                    </a:extLst>
                  </p:cNvPr>
                  <p:cNvSpPr/>
                  <p:nvPr/>
                </p:nvSpPr>
                <p:spPr>
                  <a:xfrm>
                    <a:off x="801404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29" name="Freeform: Shape 5628">
                    <a:extLst>
                      <a:ext uri="{FF2B5EF4-FFF2-40B4-BE49-F238E27FC236}">
                        <a16:creationId xmlns:a16="http://schemas.microsoft.com/office/drawing/2014/main" id="{DE7C9565-7086-6521-5F5C-BF3C67522010}"/>
                      </a:ext>
                    </a:extLst>
                  </p:cNvPr>
                  <p:cNvSpPr/>
                  <p:nvPr/>
                </p:nvSpPr>
                <p:spPr>
                  <a:xfrm>
                    <a:off x="797613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2" name="Graphic 2080">
                  <a:extLst>
                    <a:ext uri="{FF2B5EF4-FFF2-40B4-BE49-F238E27FC236}">
                      <a16:creationId xmlns:a16="http://schemas.microsoft.com/office/drawing/2014/main" id="{63687974-EEE3-BB5B-1A00-D2B22E561663}"/>
                    </a:ext>
                  </a:extLst>
                </p:cNvPr>
                <p:cNvGrpSpPr/>
                <p:nvPr/>
              </p:nvGrpSpPr>
              <p:grpSpPr>
                <a:xfrm>
                  <a:off x="7985569" y="4129372"/>
                  <a:ext cx="75723" cy="75723"/>
                  <a:chOff x="7985569" y="4129372"/>
                  <a:chExt cx="75723" cy="75723"/>
                </a:xfrm>
              </p:grpSpPr>
              <p:sp>
                <p:nvSpPr>
                  <p:cNvPr id="5626" name="Freeform: Shape 5625">
                    <a:extLst>
                      <a:ext uri="{FF2B5EF4-FFF2-40B4-BE49-F238E27FC236}">
                        <a16:creationId xmlns:a16="http://schemas.microsoft.com/office/drawing/2014/main" id="{A36E7378-9BAC-D9AB-5A49-CAD690D871E3}"/>
                      </a:ext>
                    </a:extLst>
                  </p:cNvPr>
                  <p:cNvSpPr/>
                  <p:nvPr/>
                </p:nvSpPr>
                <p:spPr>
                  <a:xfrm>
                    <a:off x="802347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27" name="Freeform: Shape 5626">
                    <a:extLst>
                      <a:ext uri="{FF2B5EF4-FFF2-40B4-BE49-F238E27FC236}">
                        <a16:creationId xmlns:a16="http://schemas.microsoft.com/office/drawing/2014/main" id="{E92293B9-8A4B-7591-73A7-71A8C43807AC}"/>
                      </a:ext>
                    </a:extLst>
                  </p:cNvPr>
                  <p:cNvSpPr/>
                  <p:nvPr/>
                </p:nvSpPr>
                <p:spPr>
                  <a:xfrm>
                    <a:off x="7985569"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3" name="Graphic 2080">
                  <a:extLst>
                    <a:ext uri="{FF2B5EF4-FFF2-40B4-BE49-F238E27FC236}">
                      <a16:creationId xmlns:a16="http://schemas.microsoft.com/office/drawing/2014/main" id="{BBDABCEC-F875-D61C-F896-B5553939CFE5}"/>
                    </a:ext>
                  </a:extLst>
                </p:cNvPr>
                <p:cNvGrpSpPr/>
                <p:nvPr/>
              </p:nvGrpSpPr>
              <p:grpSpPr>
                <a:xfrm>
                  <a:off x="8032432" y="4129372"/>
                  <a:ext cx="75628" cy="75723"/>
                  <a:chOff x="8032432" y="4129372"/>
                  <a:chExt cx="75628" cy="75723"/>
                </a:xfrm>
              </p:grpSpPr>
              <p:sp>
                <p:nvSpPr>
                  <p:cNvPr id="5624" name="Freeform: Shape 5623">
                    <a:extLst>
                      <a:ext uri="{FF2B5EF4-FFF2-40B4-BE49-F238E27FC236}">
                        <a16:creationId xmlns:a16="http://schemas.microsoft.com/office/drawing/2014/main" id="{70798BC8-0963-44CC-95CA-0CC535C7C35D}"/>
                      </a:ext>
                    </a:extLst>
                  </p:cNvPr>
                  <p:cNvSpPr/>
                  <p:nvPr/>
                </p:nvSpPr>
                <p:spPr>
                  <a:xfrm>
                    <a:off x="807024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25" name="Freeform: Shape 5624">
                    <a:extLst>
                      <a:ext uri="{FF2B5EF4-FFF2-40B4-BE49-F238E27FC236}">
                        <a16:creationId xmlns:a16="http://schemas.microsoft.com/office/drawing/2014/main" id="{AD8568BD-9222-A7CF-8603-6F7A9F47ADFA}"/>
                      </a:ext>
                    </a:extLst>
                  </p:cNvPr>
                  <p:cNvSpPr/>
                  <p:nvPr/>
                </p:nvSpPr>
                <p:spPr>
                  <a:xfrm>
                    <a:off x="8032432"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4" name="Graphic 2080">
                  <a:extLst>
                    <a:ext uri="{FF2B5EF4-FFF2-40B4-BE49-F238E27FC236}">
                      <a16:creationId xmlns:a16="http://schemas.microsoft.com/office/drawing/2014/main" id="{1F9E9409-AE4A-5CB4-53A8-CAC8E3624EE4}"/>
                    </a:ext>
                  </a:extLst>
                </p:cNvPr>
                <p:cNvGrpSpPr/>
                <p:nvPr/>
              </p:nvGrpSpPr>
              <p:grpSpPr>
                <a:xfrm>
                  <a:off x="8041861" y="4129372"/>
                  <a:ext cx="75628" cy="75723"/>
                  <a:chOff x="8041861" y="4129372"/>
                  <a:chExt cx="75628" cy="75723"/>
                </a:xfrm>
              </p:grpSpPr>
              <p:sp>
                <p:nvSpPr>
                  <p:cNvPr id="5622" name="Freeform: Shape 5621">
                    <a:extLst>
                      <a:ext uri="{FF2B5EF4-FFF2-40B4-BE49-F238E27FC236}">
                        <a16:creationId xmlns:a16="http://schemas.microsoft.com/office/drawing/2014/main" id="{C31C7D3E-D996-2B2E-5F15-58E2C7A0FFD4}"/>
                      </a:ext>
                    </a:extLst>
                  </p:cNvPr>
                  <p:cNvSpPr/>
                  <p:nvPr/>
                </p:nvSpPr>
                <p:spPr>
                  <a:xfrm>
                    <a:off x="807967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23" name="Freeform: Shape 5622">
                    <a:extLst>
                      <a:ext uri="{FF2B5EF4-FFF2-40B4-BE49-F238E27FC236}">
                        <a16:creationId xmlns:a16="http://schemas.microsoft.com/office/drawing/2014/main" id="{EB8E4091-CC4A-A7FB-E67E-ECA44AAA5505}"/>
                      </a:ext>
                    </a:extLst>
                  </p:cNvPr>
                  <p:cNvSpPr/>
                  <p:nvPr/>
                </p:nvSpPr>
                <p:spPr>
                  <a:xfrm>
                    <a:off x="804186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5" name="Graphic 2080">
                  <a:extLst>
                    <a:ext uri="{FF2B5EF4-FFF2-40B4-BE49-F238E27FC236}">
                      <a16:creationId xmlns:a16="http://schemas.microsoft.com/office/drawing/2014/main" id="{72FF67D5-83B0-4ABA-893B-8739B4F93CCF}"/>
                    </a:ext>
                  </a:extLst>
                </p:cNvPr>
                <p:cNvGrpSpPr/>
                <p:nvPr/>
              </p:nvGrpSpPr>
              <p:grpSpPr>
                <a:xfrm>
                  <a:off x="7945183" y="4129372"/>
                  <a:ext cx="75723" cy="75723"/>
                  <a:chOff x="7945183" y="4129372"/>
                  <a:chExt cx="75723" cy="75723"/>
                </a:xfrm>
              </p:grpSpPr>
              <p:sp>
                <p:nvSpPr>
                  <p:cNvPr id="5620" name="Freeform: Shape 5619">
                    <a:extLst>
                      <a:ext uri="{FF2B5EF4-FFF2-40B4-BE49-F238E27FC236}">
                        <a16:creationId xmlns:a16="http://schemas.microsoft.com/office/drawing/2014/main" id="{A3399E01-223E-25C6-D96A-DE0C30A5CE27}"/>
                      </a:ext>
                    </a:extLst>
                  </p:cNvPr>
                  <p:cNvSpPr/>
                  <p:nvPr/>
                </p:nvSpPr>
                <p:spPr>
                  <a:xfrm>
                    <a:off x="7982997"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21" name="Freeform: Shape 5620">
                    <a:extLst>
                      <a:ext uri="{FF2B5EF4-FFF2-40B4-BE49-F238E27FC236}">
                        <a16:creationId xmlns:a16="http://schemas.microsoft.com/office/drawing/2014/main" id="{2C517898-ADCB-28BD-A2E9-EDFBB69762C3}"/>
                      </a:ext>
                    </a:extLst>
                  </p:cNvPr>
                  <p:cNvSpPr/>
                  <p:nvPr/>
                </p:nvSpPr>
                <p:spPr>
                  <a:xfrm>
                    <a:off x="794518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6" name="Graphic 2080">
                  <a:extLst>
                    <a:ext uri="{FF2B5EF4-FFF2-40B4-BE49-F238E27FC236}">
                      <a16:creationId xmlns:a16="http://schemas.microsoft.com/office/drawing/2014/main" id="{4B470035-1C26-550E-6AAA-B50C9AD34277}"/>
                    </a:ext>
                  </a:extLst>
                </p:cNvPr>
                <p:cNvGrpSpPr/>
                <p:nvPr/>
              </p:nvGrpSpPr>
              <p:grpSpPr>
                <a:xfrm>
                  <a:off x="8213311" y="4129372"/>
                  <a:ext cx="75628" cy="75723"/>
                  <a:chOff x="8213311" y="4129372"/>
                  <a:chExt cx="75628" cy="75723"/>
                </a:xfrm>
              </p:grpSpPr>
              <p:sp>
                <p:nvSpPr>
                  <p:cNvPr id="5618" name="Freeform: Shape 5617">
                    <a:extLst>
                      <a:ext uri="{FF2B5EF4-FFF2-40B4-BE49-F238E27FC236}">
                        <a16:creationId xmlns:a16="http://schemas.microsoft.com/office/drawing/2014/main" id="{B5A4AF9E-A296-9B0B-0CD3-414C79A737B1}"/>
                      </a:ext>
                    </a:extLst>
                  </p:cNvPr>
                  <p:cNvSpPr/>
                  <p:nvPr/>
                </p:nvSpPr>
                <p:spPr>
                  <a:xfrm>
                    <a:off x="8251126"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19" name="Freeform: Shape 5618">
                    <a:extLst>
                      <a:ext uri="{FF2B5EF4-FFF2-40B4-BE49-F238E27FC236}">
                        <a16:creationId xmlns:a16="http://schemas.microsoft.com/office/drawing/2014/main" id="{B59CD480-8051-C7E1-9B63-E861D5A1E0DB}"/>
                      </a:ext>
                    </a:extLst>
                  </p:cNvPr>
                  <p:cNvSpPr/>
                  <p:nvPr/>
                </p:nvSpPr>
                <p:spPr>
                  <a:xfrm>
                    <a:off x="8213311"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7" name="Graphic 2080">
                  <a:extLst>
                    <a:ext uri="{FF2B5EF4-FFF2-40B4-BE49-F238E27FC236}">
                      <a16:creationId xmlns:a16="http://schemas.microsoft.com/office/drawing/2014/main" id="{5F3DE9F4-770C-F4A5-E7E3-04177E3462FC}"/>
                    </a:ext>
                  </a:extLst>
                </p:cNvPr>
                <p:cNvGrpSpPr/>
                <p:nvPr/>
              </p:nvGrpSpPr>
              <p:grpSpPr>
                <a:xfrm>
                  <a:off x="8249125" y="4129372"/>
                  <a:ext cx="75723" cy="75723"/>
                  <a:chOff x="8249125" y="4129372"/>
                  <a:chExt cx="75723" cy="75723"/>
                </a:xfrm>
              </p:grpSpPr>
              <p:sp>
                <p:nvSpPr>
                  <p:cNvPr id="5616" name="Freeform: Shape 5615">
                    <a:extLst>
                      <a:ext uri="{FF2B5EF4-FFF2-40B4-BE49-F238E27FC236}">
                        <a16:creationId xmlns:a16="http://schemas.microsoft.com/office/drawing/2014/main" id="{41ECE1C9-CA50-639D-C088-48C635E240EE}"/>
                      </a:ext>
                    </a:extLst>
                  </p:cNvPr>
                  <p:cNvSpPr/>
                  <p:nvPr/>
                </p:nvSpPr>
                <p:spPr>
                  <a:xfrm>
                    <a:off x="828703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17" name="Freeform: Shape 5616">
                    <a:extLst>
                      <a:ext uri="{FF2B5EF4-FFF2-40B4-BE49-F238E27FC236}">
                        <a16:creationId xmlns:a16="http://schemas.microsoft.com/office/drawing/2014/main" id="{EA2ED536-6B3A-686D-D095-C914AA2676D4}"/>
                      </a:ext>
                    </a:extLst>
                  </p:cNvPr>
                  <p:cNvSpPr/>
                  <p:nvPr/>
                </p:nvSpPr>
                <p:spPr>
                  <a:xfrm>
                    <a:off x="8249125"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8" name="Graphic 2080">
                  <a:extLst>
                    <a:ext uri="{FF2B5EF4-FFF2-40B4-BE49-F238E27FC236}">
                      <a16:creationId xmlns:a16="http://schemas.microsoft.com/office/drawing/2014/main" id="{A2B3FBD1-FE4E-5853-B48E-A2FB1ABD35BB}"/>
                    </a:ext>
                  </a:extLst>
                </p:cNvPr>
                <p:cNvGrpSpPr/>
                <p:nvPr/>
              </p:nvGrpSpPr>
              <p:grpSpPr>
                <a:xfrm>
                  <a:off x="8278367" y="4129372"/>
                  <a:ext cx="75628" cy="75723"/>
                  <a:chOff x="8278367" y="4129372"/>
                  <a:chExt cx="75628" cy="75723"/>
                </a:xfrm>
              </p:grpSpPr>
              <p:sp>
                <p:nvSpPr>
                  <p:cNvPr id="5614" name="Freeform: Shape 5613">
                    <a:extLst>
                      <a:ext uri="{FF2B5EF4-FFF2-40B4-BE49-F238E27FC236}">
                        <a16:creationId xmlns:a16="http://schemas.microsoft.com/office/drawing/2014/main" id="{42CCA613-048B-126C-3552-92CD237B6F9B}"/>
                      </a:ext>
                    </a:extLst>
                  </p:cNvPr>
                  <p:cNvSpPr/>
                  <p:nvPr/>
                </p:nvSpPr>
                <p:spPr>
                  <a:xfrm>
                    <a:off x="831618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15" name="Freeform: Shape 5614">
                    <a:extLst>
                      <a:ext uri="{FF2B5EF4-FFF2-40B4-BE49-F238E27FC236}">
                        <a16:creationId xmlns:a16="http://schemas.microsoft.com/office/drawing/2014/main" id="{BE1D34DA-5D09-F35B-E333-04D6DF0F3B7D}"/>
                      </a:ext>
                    </a:extLst>
                  </p:cNvPr>
                  <p:cNvSpPr/>
                  <p:nvPr/>
                </p:nvSpPr>
                <p:spPr>
                  <a:xfrm>
                    <a:off x="8278367"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599" name="Graphic 2080">
                  <a:extLst>
                    <a:ext uri="{FF2B5EF4-FFF2-40B4-BE49-F238E27FC236}">
                      <a16:creationId xmlns:a16="http://schemas.microsoft.com/office/drawing/2014/main" id="{9443464E-21E1-999A-DBAE-23DBC7031C8D}"/>
                    </a:ext>
                  </a:extLst>
                </p:cNvPr>
                <p:cNvGrpSpPr/>
                <p:nvPr/>
              </p:nvGrpSpPr>
              <p:grpSpPr>
                <a:xfrm>
                  <a:off x="8339137" y="4129372"/>
                  <a:ext cx="75723" cy="75723"/>
                  <a:chOff x="8339137" y="4129372"/>
                  <a:chExt cx="75723" cy="75723"/>
                </a:xfrm>
              </p:grpSpPr>
              <p:sp>
                <p:nvSpPr>
                  <p:cNvPr id="5612" name="Freeform: Shape 5611">
                    <a:extLst>
                      <a:ext uri="{FF2B5EF4-FFF2-40B4-BE49-F238E27FC236}">
                        <a16:creationId xmlns:a16="http://schemas.microsoft.com/office/drawing/2014/main" id="{39F680EF-C8E9-62C4-2D32-5D79F08B1627}"/>
                      </a:ext>
                    </a:extLst>
                  </p:cNvPr>
                  <p:cNvSpPr/>
                  <p:nvPr/>
                </p:nvSpPr>
                <p:spPr>
                  <a:xfrm>
                    <a:off x="8376951"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13" name="Freeform: Shape 5612">
                    <a:extLst>
                      <a:ext uri="{FF2B5EF4-FFF2-40B4-BE49-F238E27FC236}">
                        <a16:creationId xmlns:a16="http://schemas.microsoft.com/office/drawing/2014/main" id="{5CC3C491-AC2F-251E-A5F8-86BAA21D6B1C}"/>
                      </a:ext>
                    </a:extLst>
                  </p:cNvPr>
                  <p:cNvSpPr/>
                  <p:nvPr/>
                </p:nvSpPr>
                <p:spPr>
                  <a:xfrm>
                    <a:off x="8339137"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00" name="Graphic 2080">
                  <a:extLst>
                    <a:ext uri="{FF2B5EF4-FFF2-40B4-BE49-F238E27FC236}">
                      <a16:creationId xmlns:a16="http://schemas.microsoft.com/office/drawing/2014/main" id="{022F3405-E00A-DCA2-DC49-62BFAFA81616}"/>
                    </a:ext>
                  </a:extLst>
                </p:cNvPr>
                <p:cNvGrpSpPr/>
                <p:nvPr/>
              </p:nvGrpSpPr>
              <p:grpSpPr>
                <a:xfrm>
                  <a:off x="8352186" y="4129372"/>
                  <a:ext cx="75723" cy="75723"/>
                  <a:chOff x="8352186" y="4129372"/>
                  <a:chExt cx="75723" cy="75723"/>
                </a:xfrm>
              </p:grpSpPr>
              <p:sp>
                <p:nvSpPr>
                  <p:cNvPr id="5610" name="Freeform: Shape 5609">
                    <a:extLst>
                      <a:ext uri="{FF2B5EF4-FFF2-40B4-BE49-F238E27FC236}">
                        <a16:creationId xmlns:a16="http://schemas.microsoft.com/office/drawing/2014/main" id="{01A9548D-661B-6CC2-4C75-E7683A2F0590}"/>
                      </a:ext>
                    </a:extLst>
                  </p:cNvPr>
                  <p:cNvSpPr/>
                  <p:nvPr/>
                </p:nvSpPr>
                <p:spPr>
                  <a:xfrm>
                    <a:off x="8390095"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11" name="Freeform: Shape 5610">
                    <a:extLst>
                      <a:ext uri="{FF2B5EF4-FFF2-40B4-BE49-F238E27FC236}">
                        <a16:creationId xmlns:a16="http://schemas.microsoft.com/office/drawing/2014/main" id="{3A6A91F0-A299-97EC-7FE7-1EA53214F312}"/>
                      </a:ext>
                    </a:extLst>
                  </p:cNvPr>
                  <p:cNvSpPr/>
                  <p:nvPr/>
                </p:nvSpPr>
                <p:spPr>
                  <a:xfrm>
                    <a:off x="8352186"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01" name="Graphic 2080">
                  <a:extLst>
                    <a:ext uri="{FF2B5EF4-FFF2-40B4-BE49-F238E27FC236}">
                      <a16:creationId xmlns:a16="http://schemas.microsoft.com/office/drawing/2014/main" id="{BD80F416-5364-3352-14F7-4325567557ED}"/>
                    </a:ext>
                  </a:extLst>
                </p:cNvPr>
                <p:cNvGrpSpPr/>
                <p:nvPr/>
              </p:nvGrpSpPr>
              <p:grpSpPr>
                <a:xfrm>
                  <a:off x="8395048" y="4129372"/>
                  <a:ext cx="75723" cy="75723"/>
                  <a:chOff x="8395048" y="4129372"/>
                  <a:chExt cx="75723" cy="75723"/>
                </a:xfrm>
              </p:grpSpPr>
              <p:sp>
                <p:nvSpPr>
                  <p:cNvPr id="5608" name="Freeform: Shape 5607">
                    <a:extLst>
                      <a:ext uri="{FF2B5EF4-FFF2-40B4-BE49-F238E27FC236}">
                        <a16:creationId xmlns:a16="http://schemas.microsoft.com/office/drawing/2014/main" id="{94FE7BCB-5A58-1D65-8CD9-67938AC3B5D7}"/>
                      </a:ext>
                    </a:extLst>
                  </p:cNvPr>
                  <p:cNvSpPr/>
                  <p:nvPr/>
                </p:nvSpPr>
                <p:spPr>
                  <a:xfrm>
                    <a:off x="8432958"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09" name="Freeform: Shape 5608">
                    <a:extLst>
                      <a:ext uri="{FF2B5EF4-FFF2-40B4-BE49-F238E27FC236}">
                        <a16:creationId xmlns:a16="http://schemas.microsoft.com/office/drawing/2014/main" id="{86DD8429-3B7F-16D4-0534-E43BD56DAC3F}"/>
                      </a:ext>
                    </a:extLst>
                  </p:cNvPr>
                  <p:cNvSpPr/>
                  <p:nvPr/>
                </p:nvSpPr>
                <p:spPr>
                  <a:xfrm>
                    <a:off x="8395048"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02" name="Graphic 2080">
                  <a:extLst>
                    <a:ext uri="{FF2B5EF4-FFF2-40B4-BE49-F238E27FC236}">
                      <a16:creationId xmlns:a16="http://schemas.microsoft.com/office/drawing/2014/main" id="{BFE7BB9D-0868-7FBD-EAB5-D3F7F5782A0C}"/>
                    </a:ext>
                  </a:extLst>
                </p:cNvPr>
                <p:cNvGrpSpPr/>
                <p:nvPr/>
              </p:nvGrpSpPr>
              <p:grpSpPr>
                <a:xfrm>
                  <a:off x="8423623" y="4129372"/>
                  <a:ext cx="75723" cy="75723"/>
                  <a:chOff x="8423623" y="4129372"/>
                  <a:chExt cx="75723" cy="75723"/>
                </a:xfrm>
              </p:grpSpPr>
              <p:sp>
                <p:nvSpPr>
                  <p:cNvPr id="5606" name="Freeform: Shape 5605">
                    <a:extLst>
                      <a:ext uri="{FF2B5EF4-FFF2-40B4-BE49-F238E27FC236}">
                        <a16:creationId xmlns:a16="http://schemas.microsoft.com/office/drawing/2014/main" id="{4BE62AEA-1BD5-C181-C883-33DDD6A4EC4C}"/>
                      </a:ext>
                    </a:extLst>
                  </p:cNvPr>
                  <p:cNvSpPr/>
                  <p:nvPr/>
                </p:nvSpPr>
                <p:spPr>
                  <a:xfrm>
                    <a:off x="846153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07" name="Freeform: Shape 5606">
                    <a:extLst>
                      <a:ext uri="{FF2B5EF4-FFF2-40B4-BE49-F238E27FC236}">
                        <a16:creationId xmlns:a16="http://schemas.microsoft.com/office/drawing/2014/main" id="{EEE29F15-603C-48AF-574D-431E8280EDD6}"/>
                      </a:ext>
                    </a:extLst>
                  </p:cNvPr>
                  <p:cNvSpPr/>
                  <p:nvPr/>
                </p:nvSpPr>
                <p:spPr>
                  <a:xfrm>
                    <a:off x="8423623" y="41672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5603" name="Graphic 2080">
                  <a:extLst>
                    <a:ext uri="{FF2B5EF4-FFF2-40B4-BE49-F238E27FC236}">
                      <a16:creationId xmlns:a16="http://schemas.microsoft.com/office/drawing/2014/main" id="{04F3E483-E53B-244C-FCDE-0F0B9738425D}"/>
                    </a:ext>
                  </a:extLst>
                </p:cNvPr>
                <p:cNvGrpSpPr/>
                <p:nvPr/>
              </p:nvGrpSpPr>
              <p:grpSpPr>
                <a:xfrm>
                  <a:off x="8454389" y="4129372"/>
                  <a:ext cx="75628" cy="75723"/>
                  <a:chOff x="8454389" y="4129372"/>
                  <a:chExt cx="75628" cy="75723"/>
                </a:xfrm>
              </p:grpSpPr>
              <p:sp>
                <p:nvSpPr>
                  <p:cNvPr id="5604" name="Freeform: Shape 5603">
                    <a:extLst>
                      <a:ext uri="{FF2B5EF4-FFF2-40B4-BE49-F238E27FC236}">
                        <a16:creationId xmlns:a16="http://schemas.microsoft.com/office/drawing/2014/main" id="{2AF60976-70EB-BEE1-B5F3-53A4C4737763}"/>
                      </a:ext>
                    </a:extLst>
                  </p:cNvPr>
                  <p:cNvSpPr/>
                  <p:nvPr/>
                </p:nvSpPr>
                <p:spPr>
                  <a:xfrm>
                    <a:off x="8492203" y="412937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05" name="Freeform: Shape 5604">
                    <a:extLst>
                      <a:ext uri="{FF2B5EF4-FFF2-40B4-BE49-F238E27FC236}">
                        <a16:creationId xmlns:a16="http://schemas.microsoft.com/office/drawing/2014/main" id="{BAFF88A2-A358-1B61-642E-FDF3FD3E79DA}"/>
                      </a:ext>
                    </a:extLst>
                  </p:cNvPr>
                  <p:cNvSpPr/>
                  <p:nvPr/>
                </p:nvSpPr>
                <p:spPr>
                  <a:xfrm>
                    <a:off x="8454389" y="416728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9525"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5421" name="Freeform: Shape 5420">
                <a:extLst>
                  <a:ext uri="{FF2B5EF4-FFF2-40B4-BE49-F238E27FC236}">
                    <a16:creationId xmlns:a16="http://schemas.microsoft.com/office/drawing/2014/main" id="{BF6021C3-D089-E704-12A1-DF7C8C979090}"/>
                  </a:ext>
                </a:extLst>
              </p:cNvPr>
              <p:cNvSpPr/>
              <p:nvPr/>
            </p:nvSpPr>
            <p:spPr>
              <a:xfrm>
                <a:off x="3016757" y="2690526"/>
                <a:ext cx="6138100" cy="1476755"/>
              </a:xfrm>
              <a:custGeom>
                <a:avLst/>
                <a:gdLst>
                  <a:gd name="connsiteX0" fmla="*/ 6138101 w 6138100"/>
                  <a:gd name="connsiteY0" fmla="*/ 1476756 h 1476755"/>
                  <a:gd name="connsiteX1" fmla="*/ 4872704 w 6138100"/>
                  <a:gd name="connsiteY1" fmla="*/ 1476756 h 1476755"/>
                  <a:gd name="connsiteX2" fmla="*/ 4872704 w 6138100"/>
                  <a:gd name="connsiteY2" fmla="*/ 1424464 h 1476755"/>
                  <a:gd name="connsiteX3" fmla="*/ 4614101 w 6138100"/>
                  <a:gd name="connsiteY3" fmla="*/ 1424464 h 1476755"/>
                  <a:gd name="connsiteX4" fmla="*/ 4614101 w 6138100"/>
                  <a:gd name="connsiteY4" fmla="*/ 1387126 h 1476755"/>
                  <a:gd name="connsiteX5" fmla="*/ 4386739 w 6138100"/>
                  <a:gd name="connsiteY5" fmla="*/ 1387126 h 1476755"/>
                  <a:gd name="connsiteX6" fmla="*/ 4386739 w 6138100"/>
                  <a:gd name="connsiteY6" fmla="*/ 1351883 h 1476755"/>
                  <a:gd name="connsiteX7" fmla="*/ 4347401 w 6138100"/>
                  <a:gd name="connsiteY7" fmla="*/ 1351883 h 1476755"/>
                  <a:gd name="connsiteX8" fmla="*/ 4347401 w 6138100"/>
                  <a:gd name="connsiteY8" fmla="*/ 1319022 h 1476755"/>
                  <a:gd name="connsiteX9" fmla="*/ 4224623 w 6138100"/>
                  <a:gd name="connsiteY9" fmla="*/ 1319022 h 1476755"/>
                  <a:gd name="connsiteX10" fmla="*/ 4224623 w 6138100"/>
                  <a:gd name="connsiteY10" fmla="*/ 1295495 h 1476755"/>
                  <a:gd name="connsiteX11" fmla="*/ 4035743 w 6138100"/>
                  <a:gd name="connsiteY11" fmla="*/ 1295495 h 1476755"/>
                  <a:gd name="connsiteX12" fmla="*/ 4035743 w 6138100"/>
                  <a:gd name="connsiteY12" fmla="*/ 1270826 h 1476755"/>
                  <a:gd name="connsiteX13" fmla="*/ 3915347 w 6138100"/>
                  <a:gd name="connsiteY13" fmla="*/ 1270826 h 1476755"/>
                  <a:gd name="connsiteX14" fmla="*/ 3915347 w 6138100"/>
                  <a:gd name="connsiteY14" fmla="*/ 1221772 h 1476755"/>
                  <a:gd name="connsiteX15" fmla="*/ 3698558 w 6138100"/>
                  <a:gd name="connsiteY15" fmla="*/ 1221772 h 1476755"/>
                  <a:gd name="connsiteX16" fmla="*/ 3698558 w 6138100"/>
                  <a:gd name="connsiteY16" fmla="*/ 1203960 h 1476755"/>
                  <a:gd name="connsiteX17" fmla="*/ 3673793 w 6138100"/>
                  <a:gd name="connsiteY17" fmla="*/ 1203960 h 1476755"/>
                  <a:gd name="connsiteX18" fmla="*/ 3673793 w 6138100"/>
                  <a:gd name="connsiteY18" fmla="*/ 1167479 h 1476755"/>
                  <a:gd name="connsiteX19" fmla="*/ 3643122 w 6138100"/>
                  <a:gd name="connsiteY19" fmla="*/ 1167479 h 1476755"/>
                  <a:gd name="connsiteX20" fmla="*/ 3643122 w 6138100"/>
                  <a:gd name="connsiteY20" fmla="*/ 1132237 h 1476755"/>
                  <a:gd name="connsiteX21" fmla="*/ 3405854 w 6138100"/>
                  <a:gd name="connsiteY21" fmla="*/ 1132237 h 1476755"/>
                  <a:gd name="connsiteX22" fmla="*/ 3405854 w 6138100"/>
                  <a:gd name="connsiteY22" fmla="*/ 1115568 h 1476755"/>
                  <a:gd name="connsiteX23" fmla="*/ 3332893 w 6138100"/>
                  <a:gd name="connsiteY23" fmla="*/ 1115568 h 1476755"/>
                  <a:gd name="connsiteX24" fmla="*/ 3332893 w 6138100"/>
                  <a:gd name="connsiteY24" fmla="*/ 1099185 h 1476755"/>
                  <a:gd name="connsiteX25" fmla="*/ 3239738 w 6138100"/>
                  <a:gd name="connsiteY25" fmla="*/ 1099185 h 1476755"/>
                  <a:gd name="connsiteX26" fmla="*/ 3239738 w 6138100"/>
                  <a:gd name="connsiteY26" fmla="*/ 1081564 h 1476755"/>
                  <a:gd name="connsiteX27" fmla="*/ 3172778 w 6138100"/>
                  <a:gd name="connsiteY27" fmla="*/ 1081564 h 1476755"/>
                  <a:gd name="connsiteX28" fmla="*/ 3172778 w 6138100"/>
                  <a:gd name="connsiteY28" fmla="*/ 1064895 h 1476755"/>
                  <a:gd name="connsiteX29" fmla="*/ 3120295 w 6138100"/>
                  <a:gd name="connsiteY29" fmla="*/ 1064895 h 1476755"/>
                  <a:gd name="connsiteX30" fmla="*/ 3120295 w 6138100"/>
                  <a:gd name="connsiteY30" fmla="*/ 1023557 h 1476755"/>
                  <a:gd name="connsiteX31" fmla="*/ 3024473 w 6138100"/>
                  <a:gd name="connsiteY31" fmla="*/ 1023557 h 1476755"/>
                  <a:gd name="connsiteX32" fmla="*/ 3024473 w 6138100"/>
                  <a:gd name="connsiteY32" fmla="*/ 1014222 h 1476755"/>
                  <a:gd name="connsiteX33" fmla="*/ 2956751 w 6138100"/>
                  <a:gd name="connsiteY33" fmla="*/ 1014222 h 1476755"/>
                  <a:gd name="connsiteX34" fmla="*/ 2956751 w 6138100"/>
                  <a:gd name="connsiteY34" fmla="*/ 978980 h 1476755"/>
                  <a:gd name="connsiteX35" fmla="*/ 2878550 w 6138100"/>
                  <a:gd name="connsiteY35" fmla="*/ 978980 h 1476755"/>
                  <a:gd name="connsiteX36" fmla="*/ 2878550 w 6138100"/>
                  <a:gd name="connsiteY36" fmla="*/ 942118 h 1476755"/>
                  <a:gd name="connsiteX37" fmla="*/ 2804351 w 6138100"/>
                  <a:gd name="connsiteY37" fmla="*/ 942118 h 1476755"/>
                  <a:gd name="connsiteX38" fmla="*/ 2804351 w 6138100"/>
                  <a:gd name="connsiteY38" fmla="*/ 926592 h 1476755"/>
                  <a:gd name="connsiteX39" fmla="*/ 2785110 w 6138100"/>
                  <a:gd name="connsiteY39" fmla="*/ 926592 h 1476755"/>
                  <a:gd name="connsiteX40" fmla="*/ 2785110 w 6138100"/>
                  <a:gd name="connsiteY40" fmla="*/ 902399 h 1476755"/>
                  <a:gd name="connsiteX41" fmla="*/ 2736723 w 6138100"/>
                  <a:gd name="connsiteY41" fmla="*/ 902399 h 1476755"/>
                  <a:gd name="connsiteX42" fmla="*/ 2736723 w 6138100"/>
                  <a:gd name="connsiteY42" fmla="*/ 881729 h 1476755"/>
                  <a:gd name="connsiteX43" fmla="*/ 2689670 w 6138100"/>
                  <a:gd name="connsiteY43" fmla="*/ 881729 h 1476755"/>
                  <a:gd name="connsiteX44" fmla="*/ 2689670 w 6138100"/>
                  <a:gd name="connsiteY44" fmla="*/ 854107 h 1476755"/>
                  <a:gd name="connsiteX45" fmla="*/ 2657285 w 6138100"/>
                  <a:gd name="connsiteY45" fmla="*/ 854107 h 1476755"/>
                  <a:gd name="connsiteX46" fmla="*/ 2657285 w 6138100"/>
                  <a:gd name="connsiteY46" fmla="*/ 839915 h 1476755"/>
                  <a:gd name="connsiteX47" fmla="*/ 2538889 w 6138100"/>
                  <a:gd name="connsiteY47" fmla="*/ 839915 h 1476755"/>
                  <a:gd name="connsiteX48" fmla="*/ 2538889 w 6138100"/>
                  <a:gd name="connsiteY48" fmla="*/ 822484 h 1476755"/>
                  <a:gd name="connsiteX49" fmla="*/ 2496312 w 6138100"/>
                  <a:gd name="connsiteY49" fmla="*/ 822484 h 1476755"/>
                  <a:gd name="connsiteX50" fmla="*/ 2496312 w 6138100"/>
                  <a:gd name="connsiteY50" fmla="*/ 799338 h 1476755"/>
                  <a:gd name="connsiteX51" fmla="*/ 2428589 w 6138100"/>
                  <a:gd name="connsiteY51" fmla="*/ 799338 h 1476755"/>
                  <a:gd name="connsiteX52" fmla="*/ 2428589 w 6138100"/>
                  <a:gd name="connsiteY52" fmla="*/ 781622 h 1476755"/>
                  <a:gd name="connsiteX53" fmla="*/ 2397443 w 6138100"/>
                  <a:gd name="connsiteY53" fmla="*/ 781622 h 1476755"/>
                  <a:gd name="connsiteX54" fmla="*/ 2397443 w 6138100"/>
                  <a:gd name="connsiteY54" fmla="*/ 764191 h 1476755"/>
                  <a:gd name="connsiteX55" fmla="*/ 2337626 w 6138100"/>
                  <a:gd name="connsiteY55" fmla="*/ 764191 h 1476755"/>
                  <a:gd name="connsiteX56" fmla="*/ 2337626 w 6138100"/>
                  <a:gd name="connsiteY56" fmla="*/ 744284 h 1476755"/>
                  <a:gd name="connsiteX57" fmla="*/ 2219897 w 6138100"/>
                  <a:gd name="connsiteY57" fmla="*/ 744284 h 1476755"/>
                  <a:gd name="connsiteX58" fmla="*/ 2219897 w 6138100"/>
                  <a:gd name="connsiteY58" fmla="*/ 731330 h 1476755"/>
                  <a:gd name="connsiteX59" fmla="*/ 2197227 w 6138100"/>
                  <a:gd name="connsiteY59" fmla="*/ 731330 h 1476755"/>
                  <a:gd name="connsiteX60" fmla="*/ 2197227 w 6138100"/>
                  <a:gd name="connsiteY60" fmla="*/ 697706 h 1476755"/>
                  <a:gd name="connsiteX61" fmla="*/ 2157508 w 6138100"/>
                  <a:gd name="connsiteY61" fmla="*/ 697706 h 1476755"/>
                  <a:gd name="connsiteX62" fmla="*/ 2157508 w 6138100"/>
                  <a:gd name="connsiteY62" fmla="*/ 684752 h 1476755"/>
                  <a:gd name="connsiteX63" fmla="*/ 2127123 w 6138100"/>
                  <a:gd name="connsiteY63" fmla="*/ 684752 h 1476755"/>
                  <a:gd name="connsiteX64" fmla="*/ 2127123 w 6138100"/>
                  <a:gd name="connsiteY64" fmla="*/ 672560 h 1476755"/>
                  <a:gd name="connsiteX65" fmla="*/ 2112931 w 6138100"/>
                  <a:gd name="connsiteY65" fmla="*/ 672560 h 1476755"/>
                  <a:gd name="connsiteX66" fmla="*/ 2112931 w 6138100"/>
                  <a:gd name="connsiteY66" fmla="*/ 646938 h 1476755"/>
                  <a:gd name="connsiteX67" fmla="*/ 2033873 w 6138100"/>
                  <a:gd name="connsiteY67" fmla="*/ 646938 h 1476755"/>
                  <a:gd name="connsiteX68" fmla="*/ 2033873 w 6138100"/>
                  <a:gd name="connsiteY68" fmla="*/ 617792 h 1476755"/>
                  <a:gd name="connsiteX69" fmla="*/ 2001012 w 6138100"/>
                  <a:gd name="connsiteY69" fmla="*/ 617792 h 1476755"/>
                  <a:gd name="connsiteX70" fmla="*/ 2001012 w 6138100"/>
                  <a:gd name="connsiteY70" fmla="*/ 597980 h 1476755"/>
                  <a:gd name="connsiteX71" fmla="*/ 1974723 w 6138100"/>
                  <a:gd name="connsiteY71" fmla="*/ 597980 h 1476755"/>
                  <a:gd name="connsiteX72" fmla="*/ 1974723 w 6138100"/>
                  <a:gd name="connsiteY72" fmla="*/ 579311 h 1476755"/>
                  <a:gd name="connsiteX73" fmla="*/ 1939481 w 6138100"/>
                  <a:gd name="connsiteY73" fmla="*/ 579311 h 1476755"/>
                  <a:gd name="connsiteX74" fmla="*/ 1939481 w 6138100"/>
                  <a:gd name="connsiteY74" fmla="*/ 561499 h 1476755"/>
                  <a:gd name="connsiteX75" fmla="*/ 1911858 w 6138100"/>
                  <a:gd name="connsiteY75" fmla="*/ 561499 h 1476755"/>
                  <a:gd name="connsiteX76" fmla="*/ 1911858 w 6138100"/>
                  <a:gd name="connsiteY76" fmla="*/ 542449 h 1476755"/>
                  <a:gd name="connsiteX77" fmla="*/ 1896047 w 6138100"/>
                  <a:gd name="connsiteY77" fmla="*/ 542449 h 1476755"/>
                  <a:gd name="connsiteX78" fmla="*/ 1896047 w 6138100"/>
                  <a:gd name="connsiteY78" fmla="*/ 520160 h 1476755"/>
                  <a:gd name="connsiteX79" fmla="*/ 1878235 w 6138100"/>
                  <a:gd name="connsiteY79" fmla="*/ 520160 h 1476755"/>
                  <a:gd name="connsiteX80" fmla="*/ 1878235 w 6138100"/>
                  <a:gd name="connsiteY80" fmla="*/ 495872 h 1476755"/>
                  <a:gd name="connsiteX81" fmla="*/ 1856327 w 6138100"/>
                  <a:gd name="connsiteY81" fmla="*/ 495872 h 1476755"/>
                  <a:gd name="connsiteX82" fmla="*/ 1856327 w 6138100"/>
                  <a:gd name="connsiteY82" fmla="*/ 474726 h 1476755"/>
                  <a:gd name="connsiteX83" fmla="*/ 1845850 w 6138100"/>
                  <a:gd name="connsiteY83" fmla="*/ 474726 h 1476755"/>
                  <a:gd name="connsiteX84" fmla="*/ 1845850 w 6138100"/>
                  <a:gd name="connsiteY84" fmla="*/ 462629 h 1476755"/>
                  <a:gd name="connsiteX85" fmla="*/ 1800797 w 6138100"/>
                  <a:gd name="connsiteY85" fmla="*/ 462629 h 1476755"/>
                  <a:gd name="connsiteX86" fmla="*/ 1800797 w 6138100"/>
                  <a:gd name="connsiteY86" fmla="*/ 435864 h 1476755"/>
                  <a:gd name="connsiteX87" fmla="*/ 1764697 w 6138100"/>
                  <a:gd name="connsiteY87" fmla="*/ 435864 h 1476755"/>
                  <a:gd name="connsiteX88" fmla="*/ 1764697 w 6138100"/>
                  <a:gd name="connsiteY88" fmla="*/ 421291 h 1476755"/>
                  <a:gd name="connsiteX89" fmla="*/ 1716500 w 6138100"/>
                  <a:gd name="connsiteY89" fmla="*/ 421291 h 1476755"/>
                  <a:gd name="connsiteX90" fmla="*/ 1716500 w 6138100"/>
                  <a:gd name="connsiteY90" fmla="*/ 411575 h 1476755"/>
                  <a:gd name="connsiteX91" fmla="*/ 1689354 w 6138100"/>
                  <a:gd name="connsiteY91" fmla="*/ 411575 h 1476755"/>
                  <a:gd name="connsiteX92" fmla="*/ 1689354 w 6138100"/>
                  <a:gd name="connsiteY92" fmla="*/ 402622 h 1476755"/>
                  <a:gd name="connsiteX93" fmla="*/ 1663446 w 6138100"/>
                  <a:gd name="connsiteY93" fmla="*/ 402622 h 1476755"/>
                  <a:gd name="connsiteX94" fmla="*/ 1663446 w 6138100"/>
                  <a:gd name="connsiteY94" fmla="*/ 390049 h 1476755"/>
                  <a:gd name="connsiteX95" fmla="*/ 1625346 w 6138100"/>
                  <a:gd name="connsiteY95" fmla="*/ 390049 h 1476755"/>
                  <a:gd name="connsiteX96" fmla="*/ 1625346 w 6138100"/>
                  <a:gd name="connsiteY96" fmla="*/ 373571 h 1476755"/>
                  <a:gd name="connsiteX97" fmla="*/ 1551527 w 6138100"/>
                  <a:gd name="connsiteY97" fmla="*/ 373571 h 1476755"/>
                  <a:gd name="connsiteX98" fmla="*/ 1551527 w 6138100"/>
                  <a:gd name="connsiteY98" fmla="*/ 343853 h 1476755"/>
                  <a:gd name="connsiteX99" fmla="*/ 1422273 w 6138100"/>
                  <a:gd name="connsiteY99" fmla="*/ 343853 h 1476755"/>
                  <a:gd name="connsiteX100" fmla="*/ 1422273 w 6138100"/>
                  <a:gd name="connsiteY100" fmla="*/ 322421 h 1476755"/>
                  <a:gd name="connsiteX101" fmla="*/ 1385316 w 6138100"/>
                  <a:gd name="connsiteY101" fmla="*/ 322421 h 1476755"/>
                  <a:gd name="connsiteX102" fmla="*/ 1385316 w 6138100"/>
                  <a:gd name="connsiteY102" fmla="*/ 304133 h 1476755"/>
                  <a:gd name="connsiteX103" fmla="*/ 1355789 w 6138100"/>
                  <a:gd name="connsiteY103" fmla="*/ 304133 h 1476755"/>
                  <a:gd name="connsiteX104" fmla="*/ 1355789 w 6138100"/>
                  <a:gd name="connsiteY104" fmla="*/ 287846 h 1476755"/>
                  <a:gd name="connsiteX105" fmla="*/ 1294162 w 6138100"/>
                  <a:gd name="connsiteY105" fmla="*/ 287846 h 1476755"/>
                  <a:gd name="connsiteX106" fmla="*/ 1294162 w 6138100"/>
                  <a:gd name="connsiteY106" fmla="*/ 278987 h 1476755"/>
                  <a:gd name="connsiteX107" fmla="*/ 1201388 w 6138100"/>
                  <a:gd name="connsiteY107" fmla="*/ 278987 h 1476755"/>
                  <a:gd name="connsiteX108" fmla="*/ 1201388 w 6138100"/>
                  <a:gd name="connsiteY108" fmla="*/ 240697 h 1476755"/>
                  <a:gd name="connsiteX109" fmla="*/ 1081373 w 6138100"/>
                  <a:gd name="connsiteY109" fmla="*/ 240697 h 1476755"/>
                  <a:gd name="connsiteX110" fmla="*/ 1081373 w 6138100"/>
                  <a:gd name="connsiteY110" fmla="*/ 216598 h 1476755"/>
                  <a:gd name="connsiteX111" fmla="*/ 995077 w 6138100"/>
                  <a:gd name="connsiteY111" fmla="*/ 216598 h 1476755"/>
                  <a:gd name="connsiteX112" fmla="*/ 995077 w 6138100"/>
                  <a:gd name="connsiteY112" fmla="*/ 200406 h 1476755"/>
                  <a:gd name="connsiteX113" fmla="*/ 933069 w 6138100"/>
                  <a:gd name="connsiteY113" fmla="*/ 200406 h 1476755"/>
                  <a:gd name="connsiteX114" fmla="*/ 933069 w 6138100"/>
                  <a:gd name="connsiteY114" fmla="*/ 176879 h 1476755"/>
                  <a:gd name="connsiteX115" fmla="*/ 914400 w 6138100"/>
                  <a:gd name="connsiteY115" fmla="*/ 176879 h 1476755"/>
                  <a:gd name="connsiteX116" fmla="*/ 914400 w 6138100"/>
                  <a:gd name="connsiteY116" fmla="*/ 155353 h 1476755"/>
                  <a:gd name="connsiteX117" fmla="*/ 896112 w 6138100"/>
                  <a:gd name="connsiteY117" fmla="*/ 155353 h 1476755"/>
                  <a:gd name="connsiteX118" fmla="*/ 896112 w 6138100"/>
                  <a:gd name="connsiteY118" fmla="*/ 145637 h 1476755"/>
                  <a:gd name="connsiteX119" fmla="*/ 846296 w 6138100"/>
                  <a:gd name="connsiteY119" fmla="*/ 145637 h 1476755"/>
                  <a:gd name="connsiteX120" fmla="*/ 846296 w 6138100"/>
                  <a:gd name="connsiteY120" fmla="*/ 114014 h 1476755"/>
                  <a:gd name="connsiteX121" fmla="*/ 807815 w 6138100"/>
                  <a:gd name="connsiteY121" fmla="*/ 114014 h 1476755"/>
                  <a:gd name="connsiteX122" fmla="*/ 807815 w 6138100"/>
                  <a:gd name="connsiteY122" fmla="*/ 106394 h 1476755"/>
                  <a:gd name="connsiteX123" fmla="*/ 721043 w 6138100"/>
                  <a:gd name="connsiteY123" fmla="*/ 106394 h 1476755"/>
                  <a:gd name="connsiteX124" fmla="*/ 721043 w 6138100"/>
                  <a:gd name="connsiteY124" fmla="*/ 90488 h 1476755"/>
                  <a:gd name="connsiteX125" fmla="*/ 662654 w 6138100"/>
                  <a:gd name="connsiteY125" fmla="*/ 90488 h 1476755"/>
                  <a:gd name="connsiteX126" fmla="*/ 662654 w 6138100"/>
                  <a:gd name="connsiteY126" fmla="*/ 72009 h 1476755"/>
                  <a:gd name="connsiteX127" fmla="*/ 563785 w 6138100"/>
                  <a:gd name="connsiteY127" fmla="*/ 72009 h 1476755"/>
                  <a:gd name="connsiteX128" fmla="*/ 563785 w 6138100"/>
                  <a:gd name="connsiteY128" fmla="*/ 66580 h 1476755"/>
                  <a:gd name="connsiteX129" fmla="*/ 517208 w 6138100"/>
                  <a:gd name="connsiteY129" fmla="*/ 66580 h 1476755"/>
                  <a:gd name="connsiteX130" fmla="*/ 517208 w 6138100"/>
                  <a:gd name="connsiteY130" fmla="*/ 58007 h 1476755"/>
                  <a:gd name="connsiteX131" fmla="*/ 477012 w 6138100"/>
                  <a:gd name="connsiteY131" fmla="*/ 58007 h 1476755"/>
                  <a:gd name="connsiteX132" fmla="*/ 477012 w 6138100"/>
                  <a:gd name="connsiteY132" fmla="*/ 38671 h 1476755"/>
                  <a:gd name="connsiteX133" fmla="*/ 417862 w 6138100"/>
                  <a:gd name="connsiteY133" fmla="*/ 38671 h 1476755"/>
                  <a:gd name="connsiteX134" fmla="*/ 417862 w 6138100"/>
                  <a:gd name="connsiteY134" fmla="*/ 36195 h 1476755"/>
                  <a:gd name="connsiteX135" fmla="*/ 316897 w 6138100"/>
                  <a:gd name="connsiteY135" fmla="*/ 36195 h 1476755"/>
                  <a:gd name="connsiteX136" fmla="*/ 316897 w 6138100"/>
                  <a:gd name="connsiteY136" fmla="*/ 17526 h 1476755"/>
                  <a:gd name="connsiteX137" fmla="*/ 108204 w 6138100"/>
                  <a:gd name="connsiteY137" fmla="*/ 17526 h 1476755"/>
                  <a:gd name="connsiteX138" fmla="*/ 108204 w 6138100"/>
                  <a:gd name="connsiteY138" fmla="*/ 0 h 1476755"/>
                  <a:gd name="connsiteX139" fmla="*/ 0 w 6138100"/>
                  <a:gd name="connsiteY139" fmla="*/ 0 h 147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138100" h="1476755">
                    <a:moveTo>
                      <a:pt x="6138101" y="1476756"/>
                    </a:moveTo>
                    <a:lnTo>
                      <a:pt x="4872704" y="1476756"/>
                    </a:lnTo>
                    <a:lnTo>
                      <a:pt x="4872704" y="1424464"/>
                    </a:lnTo>
                    <a:lnTo>
                      <a:pt x="4614101" y="1424464"/>
                    </a:lnTo>
                    <a:lnTo>
                      <a:pt x="4614101" y="1387126"/>
                    </a:lnTo>
                    <a:lnTo>
                      <a:pt x="4386739" y="1387126"/>
                    </a:lnTo>
                    <a:lnTo>
                      <a:pt x="4386739" y="1351883"/>
                    </a:lnTo>
                    <a:lnTo>
                      <a:pt x="4347401" y="1351883"/>
                    </a:lnTo>
                    <a:lnTo>
                      <a:pt x="4347401" y="1319022"/>
                    </a:lnTo>
                    <a:lnTo>
                      <a:pt x="4224623" y="1319022"/>
                    </a:lnTo>
                    <a:lnTo>
                      <a:pt x="4224623" y="1295495"/>
                    </a:lnTo>
                    <a:lnTo>
                      <a:pt x="4035743" y="1295495"/>
                    </a:lnTo>
                    <a:lnTo>
                      <a:pt x="4035743" y="1270826"/>
                    </a:lnTo>
                    <a:lnTo>
                      <a:pt x="3915347" y="1270826"/>
                    </a:lnTo>
                    <a:lnTo>
                      <a:pt x="3915347" y="1221772"/>
                    </a:lnTo>
                    <a:lnTo>
                      <a:pt x="3698558" y="1221772"/>
                    </a:lnTo>
                    <a:lnTo>
                      <a:pt x="3698558" y="1203960"/>
                    </a:lnTo>
                    <a:lnTo>
                      <a:pt x="3673793" y="1203960"/>
                    </a:lnTo>
                    <a:lnTo>
                      <a:pt x="3673793" y="1167479"/>
                    </a:lnTo>
                    <a:lnTo>
                      <a:pt x="3643122" y="1167479"/>
                    </a:lnTo>
                    <a:lnTo>
                      <a:pt x="3643122" y="1132237"/>
                    </a:lnTo>
                    <a:lnTo>
                      <a:pt x="3405854" y="1132237"/>
                    </a:lnTo>
                    <a:lnTo>
                      <a:pt x="3405854" y="1115568"/>
                    </a:lnTo>
                    <a:lnTo>
                      <a:pt x="3332893" y="1115568"/>
                    </a:lnTo>
                    <a:lnTo>
                      <a:pt x="3332893" y="1099185"/>
                    </a:lnTo>
                    <a:lnTo>
                      <a:pt x="3239738" y="1099185"/>
                    </a:lnTo>
                    <a:lnTo>
                      <a:pt x="3239738" y="1081564"/>
                    </a:lnTo>
                    <a:lnTo>
                      <a:pt x="3172778" y="1081564"/>
                    </a:lnTo>
                    <a:lnTo>
                      <a:pt x="3172778" y="1064895"/>
                    </a:lnTo>
                    <a:lnTo>
                      <a:pt x="3120295" y="1064895"/>
                    </a:lnTo>
                    <a:lnTo>
                      <a:pt x="3120295" y="1023557"/>
                    </a:lnTo>
                    <a:lnTo>
                      <a:pt x="3024473" y="1023557"/>
                    </a:lnTo>
                    <a:lnTo>
                      <a:pt x="3024473" y="1014222"/>
                    </a:lnTo>
                    <a:lnTo>
                      <a:pt x="2956751" y="1014222"/>
                    </a:lnTo>
                    <a:lnTo>
                      <a:pt x="2956751" y="978980"/>
                    </a:lnTo>
                    <a:lnTo>
                      <a:pt x="2878550" y="978980"/>
                    </a:lnTo>
                    <a:lnTo>
                      <a:pt x="2878550" y="942118"/>
                    </a:lnTo>
                    <a:lnTo>
                      <a:pt x="2804351" y="942118"/>
                    </a:lnTo>
                    <a:lnTo>
                      <a:pt x="2804351" y="926592"/>
                    </a:lnTo>
                    <a:lnTo>
                      <a:pt x="2785110" y="926592"/>
                    </a:lnTo>
                    <a:lnTo>
                      <a:pt x="2785110" y="902399"/>
                    </a:lnTo>
                    <a:lnTo>
                      <a:pt x="2736723" y="902399"/>
                    </a:lnTo>
                    <a:lnTo>
                      <a:pt x="2736723" y="881729"/>
                    </a:lnTo>
                    <a:lnTo>
                      <a:pt x="2689670" y="881729"/>
                    </a:lnTo>
                    <a:lnTo>
                      <a:pt x="2689670" y="854107"/>
                    </a:lnTo>
                    <a:lnTo>
                      <a:pt x="2657285" y="854107"/>
                    </a:lnTo>
                    <a:lnTo>
                      <a:pt x="2657285" y="839915"/>
                    </a:lnTo>
                    <a:lnTo>
                      <a:pt x="2538889" y="839915"/>
                    </a:lnTo>
                    <a:lnTo>
                      <a:pt x="2538889" y="822484"/>
                    </a:lnTo>
                    <a:lnTo>
                      <a:pt x="2496312" y="822484"/>
                    </a:lnTo>
                    <a:lnTo>
                      <a:pt x="2496312" y="799338"/>
                    </a:lnTo>
                    <a:lnTo>
                      <a:pt x="2428589" y="799338"/>
                    </a:lnTo>
                    <a:lnTo>
                      <a:pt x="2428589" y="781622"/>
                    </a:lnTo>
                    <a:lnTo>
                      <a:pt x="2397443" y="781622"/>
                    </a:lnTo>
                    <a:lnTo>
                      <a:pt x="2397443" y="764191"/>
                    </a:lnTo>
                    <a:lnTo>
                      <a:pt x="2337626" y="764191"/>
                    </a:lnTo>
                    <a:lnTo>
                      <a:pt x="2337626" y="744284"/>
                    </a:lnTo>
                    <a:lnTo>
                      <a:pt x="2219897" y="744284"/>
                    </a:lnTo>
                    <a:lnTo>
                      <a:pt x="2219897" y="731330"/>
                    </a:lnTo>
                    <a:lnTo>
                      <a:pt x="2197227" y="731330"/>
                    </a:lnTo>
                    <a:lnTo>
                      <a:pt x="2197227" y="697706"/>
                    </a:lnTo>
                    <a:lnTo>
                      <a:pt x="2157508" y="697706"/>
                    </a:lnTo>
                    <a:lnTo>
                      <a:pt x="2157508" y="684752"/>
                    </a:lnTo>
                    <a:lnTo>
                      <a:pt x="2127123" y="684752"/>
                    </a:lnTo>
                    <a:lnTo>
                      <a:pt x="2127123" y="672560"/>
                    </a:lnTo>
                    <a:lnTo>
                      <a:pt x="2112931" y="672560"/>
                    </a:lnTo>
                    <a:lnTo>
                      <a:pt x="2112931" y="646938"/>
                    </a:lnTo>
                    <a:lnTo>
                      <a:pt x="2033873" y="646938"/>
                    </a:lnTo>
                    <a:lnTo>
                      <a:pt x="2033873" y="617792"/>
                    </a:lnTo>
                    <a:lnTo>
                      <a:pt x="2001012" y="617792"/>
                    </a:lnTo>
                    <a:lnTo>
                      <a:pt x="2001012" y="597980"/>
                    </a:lnTo>
                    <a:lnTo>
                      <a:pt x="1974723" y="597980"/>
                    </a:lnTo>
                    <a:lnTo>
                      <a:pt x="1974723" y="579311"/>
                    </a:lnTo>
                    <a:lnTo>
                      <a:pt x="1939481" y="579311"/>
                    </a:lnTo>
                    <a:lnTo>
                      <a:pt x="1939481" y="561499"/>
                    </a:lnTo>
                    <a:lnTo>
                      <a:pt x="1911858" y="561499"/>
                    </a:lnTo>
                    <a:lnTo>
                      <a:pt x="1911858" y="542449"/>
                    </a:lnTo>
                    <a:lnTo>
                      <a:pt x="1896047" y="542449"/>
                    </a:lnTo>
                    <a:lnTo>
                      <a:pt x="1896047" y="520160"/>
                    </a:lnTo>
                    <a:lnTo>
                      <a:pt x="1878235" y="520160"/>
                    </a:lnTo>
                    <a:lnTo>
                      <a:pt x="1878235" y="495872"/>
                    </a:lnTo>
                    <a:lnTo>
                      <a:pt x="1856327" y="495872"/>
                    </a:lnTo>
                    <a:lnTo>
                      <a:pt x="1856327" y="474726"/>
                    </a:lnTo>
                    <a:lnTo>
                      <a:pt x="1845850" y="474726"/>
                    </a:lnTo>
                    <a:lnTo>
                      <a:pt x="1845850" y="462629"/>
                    </a:lnTo>
                    <a:lnTo>
                      <a:pt x="1800797" y="462629"/>
                    </a:lnTo>
                    <a:lnTo>
                      <a:pt x="1800797" y="435864"/>
                    </a:lnTo>
                    <a:lnTo>
                      <a:pt x="1764697" y="435864"/>
                    </a:lnTo>
                    <a:lnTo>
                      <a:pt x="1764697" y="421291"/>
                    </a:lnTo>
                    <a:lnTo>
                      <a:pt x="1716500" y="421291"/>
                    </a:lnTo>
                    <a:lnTo>
                      <a:pt x="1716500" y="411575"/>
                    </a:lnTo>
                    <a:lnTo>
                      <a:pt x="1689354" y="411575"/>
                    </a:lnTo>
                    <a:lnTo>
                      <a:pt x="1689354" y="402622"/>
                    </a:lnTo>
                    <a:lnTo>
                      <a:pt x="1663446" y="402622"/>
                    </a:lnTo>
                    <a:lnTo>
                      <a:pt x="1663446" y="390049"/>
                    </a:lnTo>
                    <a:lnTo>
                      <a:pt x="1625346" y="390049"/>
                    </a:lnTo>
                    <a:lnTo>
                      <a:pt x="1625346" y="373571"/>
                    </a:lnTo>
                    <a:lnTo>
                      <a:pt x="1551527" y="373571"/>
                    </a:lnTo>
                    <a:lnTo>
                      <a:pt x="1551527" y="343853"/>
                    </a:lnTo>
                    <a:lnTo>
                      <a:pt x="1422273" y="343853"/>
                    </a:lnTo>
                    <a:lnTo>
                      <a:pt x="1422273" y="322421"/>
                    </a:lnTo>
                    <a:lnTo>
                      <a:pt x="1385316" y="322421"/>
                    </a:lnTo>
                    <a:lnTo>
                      <a:pt x="1385316" y="304133"/>
                    </a:lnTo>
                    <a:lnTo>
                      <a:pt x="1355789" y="304133"/>
                    </a:lnTo>
                    <a:lnTo>
                      <a:pt x="1355789" y="287846"/>
                    </a:lnTo>
                    <a:lnTo>
                      <a:pt x="1294162" y="287846"/>
                    </a:lnTo>
                    <a:lnTo>
                      <a:pt x="1294162" y="278987"/>
                    </a:lnTo>
                    <a:lnTo>
                      <a:pt x="1201388" y="278987"/>
                    </a:lnTo>
                    <a:lnTo>
                      <a:pt x="1201388" y="240697"/>
                    </a:lnTo>
                    <a:lnTo>
                      <a:pt x="1081373" y="240697"/>
                    </a:lnTo>
                    <a:lnTo>
                      <a:pt x="1081373" y="216598"/>
                    </a:lnTo>
                    <a:lnTo>
                      <a:pt x="995077" y="216598"/>
                    </a:lnTo>
                    <a:lnTo>
                      <a:pt x="995077" y="200406"/>
                    </a:lnTo>
                    <a:lnTo>
                      <a:pt x="933069" y="200406"/>
                    </a:lnTo>
                    <a:lnTo>
                      <a:pt x="933069" y="176879"/>
                    </a:lnTo>
                    <a:lnTo>
                      <a:pt x="914400" y="176879"/>
                    </a:lnTo>
                    <a:lnTo>
                      <a:pt x="914400" y="155353"/>
                    </a:lnTo>
                    <a:lnTo>
                      <a:pt x="896112" y="155353"/>
                    </a:lnTo>
                    <a:lnTo>
                      <a:pt x="896112" y="145637"/>
                    </a:lnTo>
                    <a:lnTo>
                      <a:pt x="846296" y="145637"/>
                    </a:lnTo>
                    <a:lnTo>
                      <a:pt x="846296" y="114014"/>
                    </a:lnTo>
                    <a:lnTo>
                      <a:pt x="807815" y="114014"/>
                    </a:lnTo>
                    <a:lnTo>
                      <a:pt x="807815" y="106394"/>
                    </a:lnTo>
                    <a:lnTo>
                      <a:pt x="721043" y="106394"/>
                    </a:lnTo>
                    <a:lnTo>
                      <a:pt x="721043" y="90488"/>
                    </a:lnTo>
                    <a:lnTo>
                      <a:pt x="662654" y="90488"/>
                    </a:lnTo>
                    <a:lnTo>
                      <a:pt x="662654" y="72009"/>
                    </a:lnTo>
                    <a:lnTo>
                      <a:pt x="563785" y="72009"/>
                    </a:lnTo>
                    <a:lnTo>
                      <a:pt x="563785" y="66580"/>
                    </a:lnTo>
                    <a:lnTo>
                      <a:pt x="517208" y="66580"/>
                    </a:lnTo>
                    <a:lnTo>
                      <a:pt x="517208" y="58007"/>
                    </a:lnTo>
                    <a:lnTo>
                      <a:pt x="477012" y="58007"/>
                    </a:lnTo>
                    <a:lnTo>
                      <a:pt x="477012" y="38671"/>
                    </a:lnTo>
                    <a:lnTo>
                      <a:pt x="417862" y="38671"/>
                    </a:lnTo>
                    <a:lnTo>
                      <a:pt x="417862" y="36195"/>
                    </a:lnTo>
                    <a:lnTo>
                      <a:pt x="316897" y="36195"/>
                    </a:lnTo>
                    <a:lnTo>
                      <a:pt x="316897" y="17526"/>
                    </a:lnTo>
                    <a:lnTo>
                      <a:pt x="108204" y="17526"/>
                    </a:lnTo>
                    <a:lnTo>
                      <a:pt x="108204" y="0"/>
                    </a:lnTo>
                    <a:lnTo>
                      <a:pt x="0" y="0"/>
                    </a:lnTo>
                  </a:path>
                </a:pathLst>
              </a:custGeom>
              <a:noFill/>
              <a:ln w="12700" cap="flat">
                <a:solidFill>
                  <a:srgbClr val="6E1E50"/>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7280" name="Rectangle 7279" hidden="1">
            <a:extLst>
              <a:ext uri="{FF2B5EF4-FFF2-40B4-BE49-F238E27FC236}">
                <a16:creationId xmlns:a16="http://schemas.microsoft.com/office/drawing/2014/main" id="{0FBAC2F3-271E-A261-6EC7-0F94E47AFA27}"/>
              </a:ext>
            </a:extLst>
          </p:cNvPr>
          <p:cNvSpPr/>
          <p:nvPr/>
        </p:nvSpPr>
        <p:spPr>
          <a:xfrm>
            <a:off x="1032049" y="1036320"/>
            <a:ext cx="11029903" cy="4076700"/>
          </a:xfrm>
          <a:prstGeom prst="rect">
            <a:avLst/>
          </a:prstGeom>
          <a:solidFill>
            <a:srgbClr val="FFFFFF">
              <a:alpha val="40000"/>
            </a:srgbClr>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7888" name="Group 7887">
            <a:extLst>
              <a:ext uri="{FF2B5EF4-FFF2-40B4-BE49-F238E27FC236}">
                <a16:creationId xmlns:a16="http://schemas.microsoft.com/office/drawing/2014/main" id="{E9A91F24-FD55-7927-5A75-D4DD68AE1C94}"/>
              </a:ext>
            </a:extLst>
          </p:cNvPr>
          <p:cNvGrpSpPr/>
          <p:nvPr/>
        </p:nvGrpSpPr>
        <p:grpSpPr bwMode="gray">
          <a:xfrm>
            <a:off x="74550" y="1342518"/>
            <a:ext cx="7708084" cy="4013893"/>
            <a:chOff x="461700" y="1342517"/>
            <a:chExt cx="7364864" cy="4013893"/>
          </a:xfrm>
        </p:grpSpPr>
        <p:cxnSp>
          <p:nvCxnSpPr>
            <p:cNvPr id="7889" name="Straight Connector 7888">
              <a:extLst>
                <a:ext uri="{FF2B5EF4-FFF2-40B4-BE49-F238E27FC236}">
                  <a16:creationId xmlns:a16="http://schemas.microsoft.com/office/drawing/2014/main" id="{0E93EB17-088E-8B6B-ED64-B44585B0CA95}"/>
                </a:ext>
              </a:extLst>
            </p:cNvPr>
            <p:cNvCxnSpPr>
              <a:cxnSpLocks/>
            </p:cNvCxnSpPr>
            <p:nvPr/>
          </p:nvCxnSpPr>
          <p:spPr bwMode="gray">
            <a:xfrm>
              <a:off x="1071606" y="3134710"/>
              <a:ext cx="6591216" cy="0"/>
            </a:xfrm>
            <a:prstGeom prst="line">
              <a:avLst/>
            </a:prstGeom>
            <a:noFill/>
            <a:ln w="9525" cap="flat" cmpd="sng" algn="ctr">
              <a:solidFill>
                <a:srgbClr val="000000"/>
              </a:solidFill>
              <a:prstDash val="dash"/>
            </a:ln>
            <a:effectLst/>
          </p:spPr>
        </p:cxnSp>
        <p:cxnSp>
          <p:nvCxnSpPr>
            <p:cNvPr id="7890" name="Straight Connector 7889">
              <a:extLst>
                <a:ext uri="{FF2B5EF4-FFF2-40B4-BE49-F238E27FC236}">
                  <a16:creationId xmlns:a16="http://schemas.microsoft.com/office/drawing/2014/main" id="{B9DA87EF-8711-20FD-2848-E23C5536A2E3}"/>
                </a:ext>
              </a:extLst>
            </p:cNvPr>
            <p:cNvCxnSpPr>
              <a:cxnSpLocks/>
            </p:cNvCxnSpPr>
            <p:nvPr/>
          </p:nvCxnSpPr>
          <p:spPr bwMode="gray">
            <a:xfrm>
              <a:off x="1071606" y="3134710"/>
              <a:ext cx="6591216" cy="0"/>
            </a:xfrm>
            <a:prstGeom prst="line">
              <a:avLst/>
            </a:prstGeom>
            <a:noFill/>
            <a:ln w="9525" cap="flat" cmpd="sng" algn="ctr">
              <a:solidFill>
                <a:srgbClr val="000000"/>
              </a:solidFill>
              <a:prstDash val="dash"/>
            </a:ln>
            <a:effectLst/>
          </p:spPr>
        </p:cxnSp>
        <p:sp>
          <p:nvSpPr>
            <p:cNvPr id="7891" name="TextBox 7890">
              <a:extLst>
                <a:ext uri="{FF2B5EF4-FFF2-40B4-BE49-F238E27FC236}">
                  <a16:creationId xmlns:a16="http://schemas.microsoft.com/office/drawing/2014/main" id="{9D9DAA3E-84C1-0FF8-7280-128936FB66BF}"/>
                </a:ext>
              </a:extLst>
            </p:cNvPr>
            <p:cNvSpPr txBox="1"/>
            <p:nvPr/>
          </p:nvSpPr>
          <p:spPr bwMode="gray">
            <a:xfrm rot="16200000">
              <a:off x="-35831" y="2976086"/>
              <a:ext cx="1289135" cy="294073"/>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robability of OS</a:t>
              </a:r>
            </a:p>
          </p:txBody>
        </p:sp>
        <p:sp>
          <p:nvSpPr>
            <p:cNvPr id="7892" name="TextBox 7891">
              <a:extLst>
                <a:ext uri="{FF2B5EF4-FFF2-40B4-BE49-F238E27FC236}">
                  <a16:creationId xmlns:a16="http://schemas.microsoft.com/office/drawing/2014/main" id="{6A201F02-FFF2-345E-0797-055C432ADA40}"/>
                </a:ext>
              </a:extLst>
            </p:cNvPr>
            <p:cNvSpPr txBox="1"/>
            <p:nvPr/>
          </p:nvSpPr>
          <p:spPr bwMode="gray">
            <a:xfrm>
              <a:off x="689055" y="1342517"/>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7893" name="TextBox 7892">
              <a:extLst>
                <a:ext uri="{FF2B5EF4-FFF2-40B4-BE49-F238E27FC236}">
                  <a16:creationId xmlns:a16="http://schemas.microsoft.com/office/drawing/2014/main" id="{8150A431-E428-2374-A915-6126B19EE11E}"/>
                </a:ext>
              </a:extLst>
            </p:cNvPr>
            <p:cNvSpPr txBox="1"/>
            <p:nvPr/>
          </p:nvSpPr>
          <p:spPr bwMode="gray">
            <a:xfrm>
              <a:off x="678996" y="1999697"/>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8</a:t>
              </a:r>
            </a:p>
          </p:txBody>
        </p:sp>
        <p:sp>
          <p:nvSpPr>
            <p:cNvPr id="7894" name="TextBox 7893">
              <a:extLst>
                <a:ext uri="{FF2B5EF4-FFF2-40B4-BE49-F238E27FC236}">
                  <a16:creationId xmlns:a16="http://schemas.microsoft.com/office/drawing/2014/main" id="{C54EDE0F-DF5E-EBD1-8C7A-886B153295CE}"/>
                </a:ext>
              </a:extLst>
            </p:cNvPr>
            <p:cNvSpPr txBox="1"/>
            <p:nvPr/>
          </p:nvSpPr>
          <p:spPr bwMode="gray">
            <a:xfrm>
              <a:off x="678996" y="2656877"/>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6</a:t>
              </a:r>
            </a:p>
          </p:txBody>
        </p:sp>
        <p:sp>
          <p:nvSpPr>
            <p:cNvPr id="7895" name="TextBox 7894">
              <a:extLst>
                <a:ext uri="{FF2B5EF4-FFF2-40B4-BE49-F238E27FC236}">
                  <a16:creationId xmlns:a16="http://schemas.microsoft.com/office/drawing/2014/main" id="{2CF9EB32-D147-08F0-8F49-41A462CA9394}"/>
                </a:ext>
              </a:extLst>
            </p:cNvPr>
            <p:cNvSpPr txBox="1"/>
            <p:nvPr/>
          </p:nvSpPr>
          <p:spPr bwMode="gray">
            <a:xfrm>
              <a:off x="678996" y="3314057"/>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4</a:t>
              </a:r>
            </a:p>
          </p:txBody>
        </p:sp>
        <p:sp>
          <p:nvSpPr>
            <p:cNvPr id="7896" name="TextBox 7895">
              <a:extLst>
                <a:ext uri="{FF2B5EF4-FFF2-40B4-BE49-F238E27FC236}">
                  <a16:creationId xmlns:a16="http://schemas.microsoft.com/office/drawing/2014/main" id="{016B0CC9-A914-3000-A90A-D57B3086C5B5}"/>
                </a:ext>
              </a:extLst>
            </p:cNvPr>
            <p:cNvSpPr txBox="1"/>
            <p:nvPr/>
          </p:nvSpPr>
          <p:spPr bwMode="gray">
            <a:xfrm>
              <a:off x="678996" y="3971237"/>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2</a:t>
              </a:r>
            </a:p>
          </p:txBody>
        </p:sp>
        <p:sp>
          <p:nvSpPr>
            <p:cNvPr id="7897" name="TextBox 7896">
              <a:extLst>
                <a:ext uri="{FF2B5EF4-FFF2-40B4-BE49-F238E27FC236}">
                  <a16:creationId xmlns:a16="http://schemas.microsoft.com/office/drawing/2014/main" id="{FBD202FB-FC3F-DB10-773B-31DBEF10A3C8}"/>
                </a:ext>
              </a:extLst>
            </p:cNvPr>
            <p:cNvSpPr txBox="1"/>
            <p:nvPr/>
          </p:nvSpPr>
          <p:spPr bwMode="gray">
            <a:xfrm>
              <a:off x="678996" y="4628415"/>
              <a:ext cx="372491" cy="307777"/>
            </a:xfrm>
            <a:prstGeom prst="rect">
              <a:avLst/>
            </a:prstGeom>
            <a:noFill/>
          </p:spPr>
          <p:txBody>
            <a:bodyPr wrap="non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sp>
          <p:nvSpPr>
            <p:cNvPr id="7898" name="Freeform: Shape 7897">
              <a:extLst>
                <a:ext uri="{FF2B5EF4-FFF2-40B4-BE49-F238E27FC236}">
                  <a16:creationId xmlns:a16="http://schemas.microsoft.com/office/drawing/2014/main" id="{C7AEA258-1BA6-A1E6-D20E-ABC6AD661AD7}"/>
                </a:ext>
              </a:extLst>
            </p:cNvPr>
            <p:cNvSpPr/>
            <p:nvPr/>
          </p:nvSpPr>
          <p:spPr bwMode="gray">
            <a:xfrm>
              <a:off x="1071207" y="1479549"/>
              <a:ext cx="6586585" cy="3286601"/>
            </a:xfrm>
            <a:custGeom>
              <a:avLst/>
              <a:gdLst>
                <a:gd name="connsiteX0" fmla="*/ 0 w 2921000"/>
                <a:gd name="connsiteY0" fmla="*/ 0 h 3086100"/>
                <a:gd name="connsiteX1" fmla="*/ 0 w 2921000"/>
                <a:gd name="connsiteY1" fmla="*/ 3086100 h 3086100"/>
                <a:gd name="connsiteX2" fmla="*/ 2921000 w 2921000"/>
                <a:gd name="connsiteY2" fmla="*/ 3086100 h 3086100"/>
              </a:gdLst>
              <a:ahLst/>
              <a:cxnLst>
                <a:cxn ang="0">
                  <a:pos x="connsiteX0" y="connsiteY0"/>
                </a:cxn>
                <a:cxn ang="0">
                  <a:pos x="connsiteX1" y="connsiteY1"/>
                </a:cxn>
                <a:cxn ang="0">
                  <a:pos x="connsiteX2" y="connsiteY2"/>
                </a:cxn>
              </a:cxnLst>
              <a:rect l="l" t="t" r="r" b="b"/>
              <a:pathLst>
                <a:path w="2921000" h="3086100">
                  <a:moveTo>
                    <a:pt x="0" y="0"/>
                  </a:moveTo>
                  <a:lnTo>
                    <a:pt x="0" y="3086100"/>
                  </a:lnTo>
                  <a:lnTo>
                    <a:pt x="2921000" y="3086100"/>
                  </a:lnTo>
                </a:path>
              </a:pathLst>
            </a:custGeom>
            <a:noFill/>
            <a:ln w="9525" cap="sq" cmpd="sng" algn="ctr">
              <a:solidFill>
                <a:srgbClr val="000000"/>
              </a:solid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cxnSp>
          <p:nvCxnSpPr>
            <p:cNvPr id="7899" name="Straight Connector 7898">
              <a:extLst>
                <a:ext uri="{FF2B5EF4-FFF2-40B4-BE49-F238E27FC236}">
                  <a16:creationId xmlns:a16="http://schemas.microsoft.com/office/drawing/2014/main" id="{362ED266-E4DA-38E5-D6A5-BD87F4D26F3F}"/>
                </a:ext>
              </a:extLst>
            </p:cNvPr>
            <p:cNvCxnSpPr/>
            <p:nvPr/>
          </p:nvCxnSpPr>
          <p:spPr bwMode="gray">
            <a:xfrm>
              <a:off x="1001477" y="1479550"/>
              <a:ext cx="66844" cy="0"/>
            </a:xfrm>
            <a:prstGeom prst="line">
              <a:avLst/>
            </a:prstGeom>
            <a:noFill/>
            <a:ln w="9525" cap="flat" cmpd="sng" algn="ctr">
              <a:solidFill>
                <a:srgbClr val="000000"/>
              </a:solidFill>
              <a:prstDash val="solid"/>
            </a:ln>
            <a:effectLst/>
          </p:spPr>
        </p:cxnSp>
        <p:cxnSp>
          <p:nvCxnSpPr>
            <p:cNvPr id="7900" name="Straight Connector 7899">
              <a:extLst>
                <a:ext uri="{FF2B5EF4-FFF2-40B4-BE49-F238E27FC236}">
                  <a16:creationId xmlns:a16="http://schemas.microsoft.com/office/drawing/2014/main" id="{50D27402-E5EC-5428-389A-44499E255B45}"/>
                </a:ext>
              </a:extLst>
            </p:cNvPr>
            <p:cNvCxnSpPr/>
            <p:nvPr/>
          </p:nvCxnSpPr>
          <p:spPr bwMode="gray">
            <a:xfrm>
              <a:off x="1001477" y="2136870"/>
              <a:ext cx="66844" cy="0"/>
            </a:xfrm>
            <a:prstGeom prst="line">
              <a:avLst/>
            </a:prstGeom>
            <a:noFill/>
            <a:ln w="9525" cap="flat" cmpd="sng" algn="ctr">
              <a:solidFill>
                <a:srgbClr val="000000"/>
              </a:solidFill>
              <a:prstDash val="solid"/>
            </a:ln>
            <a:effectLst/>
          </p:spPr>
        </p:cxnSp>
        <p:cxnSp>
          <p:nvCxnSpPr>
            <p:cNvPr id="7901" name="Straight Connector 7900">
              <a:extLst>
                <a:ext uri="{FF2B5EF4-FFF2-40B4-BE49-F238E27FC236}">
                  <a16:creationId xmlns:a16="http://schemas.microsoft.com/office/drawing/2014/main" id="{3CC76B99-46EF-1702-65AB-7A898B1C3BAE}"/>
                </a:ext>
              </a:extLst>
            </p:cNvPr>
            <p:cNvCxnSpPr/>
            <p:nvPr/>
          </p:nvCxnSpPr>
          <p:spPr bwMode="gray">
            <a:xfrm>
              <a:off x="1001477" y="2794190"/>
              <a:ext cx="66844" cy="0"/>
            </a:xfrm>
            <a:prstGeom prst="line">
              <a:avLst/>
            </a:prstGeom>
            <a:noFill/>
            <a:ln w="9525" cap="flat" cmpd="sng" algn="ctr">
              <a:solidFill>
                <a:srgbClr val="000000"/>
              </a:solidFill>
              <a:prstDash val="solid"/>
            </a:ln>
            <a:effectLst/>
          </p:spPr>
        </p:cxnSp>
        <p:cxnSp>
          <p:nvCxnSpPr>
            <p:cNvPr id="7902" name="Straight Connector 7901">
              <a:extLst>
                <a:ext uri="{FF2B5EF4-FFF2-40B4-BE49-F238E27FC236}">
                  <a16:creationId xmlns:a16="http://schemas.microsoft.com/office/drawing/2014/main" id="{ECC77E14-767F-50DA-266C-41D3EEA628AD}"/>
                </a:ext>
              </a:extLst>
            </p:cNvPr>
            <p:cNvCxnSpPr/>
            <p:nvPr/>
          </p:nvCxnSpPr>
          <p:spPr bwMode="gray">
            <a:xfrm>
              <a:off x="1001477" y="3451510"/>
              <a:ext cx="66844" cy="0"/>
            </a:xfrm>
            <a:prstGeom prst="line">
              <a:avLst/>
            </a:prstGeom>
            <a:noFill/>
            <a:ln w="9525" cap="flat" cmpd="sng" algn="ctr">
              <a:solidFill>
                <a:srgbClr val="000000"/>
              </a:solidFill>
              <a:prstDash val="solid"/>
            </a:ln>
            <a:effectLst/>
          </p:spPr>
        </p:cxnSp>
        <p:cxnSp>
          <p:nvCxnSpPr>
            <p:cNvPr id="7903" name="Straight Connector 7902">
              <a:extLst>
                <a:ext uri="{FF2B5EF4-FFF2-40B4-BE49-F238E27FC236}">
                  <a16:creationId xmlns:a16="http://schemas.microsoft.com/office/drawing/2014/main" id="{FD2BD992-52D2-A2CD-CB8E-536FA530D75F}"/>
                </a:ext>
              </a:extLst>
            </p:cNvPr>
            <p:cNvCxnSpPr/>
            <p:nvPr/>
          </p:nvCxnSpPr>
          <p:spPr bwMode="gray">
            <a:xfrm>
              <a:off x="1001477" y="4108830"/>
              <a:ext cx="66844" cy="0"/>
            </a:xfrm>
            <a:prstGeom prst="line">
              <a:avLst/>
            </a:prstGeom>
            <a:noFill/>
            <a:ln w="9525" cap="flat" cmpd="sng" algn="ctr">
              <a:solidFill>
                <a:srgbClr val="000000"/>
              </a:solidFill>
              <a:prstDash val="solid"/>
            </a:ln>
            <a:effectLst/>
          </p:spPr>
        </p:cxnSp>
        <p:cxnSp>
          <p:nvCxnSpPr>
            <p:cNvPr id="7904" name="Straight Connector 7903">
              <a:extLst>
                <a:ext uri="{FF2B5EF4-FFF2-40B4-BE49-F238E27FC236}">
                  <a16:creationId xmlns:a16="http://schemas.microsoft.com/office/drawing/2014/main" id="{9092AA7F-0B5B-E790-7E0E-C6267C91C7EB}"/>
                </a:ext>
              </a:extLst>
            </p:cNvPr>
            <p:cNvCxnSpPr>
              <a:cxnSpLocks/>
            </p:cNvCxnSpPr>
            <p:nvPr/>
          </p:nvCxnSpPr>
          <p:spPr bwMode="gray">
            <a:xfrm>
              <a:off x="1001476" y="4766150"/>
              <a:ext cx="76037" cy="0"/>
            </a:xfrm>
            <a:prstGeom prst="line">
              <a:avLst/>
            </a:prstGeom>
            <a:noFill/>
            <a:ln w="9525" cap="flat" cmpd="sng" algn="ctr">
              <a:solidFill>
                <a:srgbClr val="000000"/>
              </a:solidFill>
              <a:prstDash val="solid"/>
            </a:ln>
            <a:effectLst/>
          </p:spPr>
        </p:cxnSp>
        <p:sp>
          <p:nvSpPr>
            <p:cNvPr id="7905" name="TextBox 7904">
              <a:extLst>
                <a:ext uri="{FF2B5EF4-FFF2-40B4-BE49-F238E27FC236}">
                  <a16:creationId xmlns:a16="http://schemas.microsoft.com/office/drawing/2014/main" id="{42332620-A582-FFD1-1D6C-759EFED0BB5E}"/>
                </a:ext>
              </a:extLst>
            </p:cNvPr>
            <p:cNvSpPr txBox="1"/>
            <p:nvPr/>
          </p:nvSpPr>
          <p:spPr bwMode="gray">
            <a:xfrm>
              <a:off x="946444" y="4802344"/>
              <a:ext cx="254557"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0</a:t>
              </a:r>
            </a:p>
          </p:txBody>
        </p:sp>
        <p:cxnSp>
          <p:nvCxnSpPr>
            <p:cNvPr id="7906" name="Straight Connector 7905">
              <a:extLst>
                <a:ext uri="{FF2B5EF4-FFF2-40B4-BE49-F238E27FC236}">
                  <a16:creationId xmlns:a16="http://schemas.microsoft.com/office/drawing/2014/main" id="{BB547478-2A25-8BE8-986A-B95248DAA018}"/>
                </a:ext>
              </a:extLst>
            </p:cNvPr>
            <p:cNvCxnSpPr>
              <a:cxnSpLocks/>
            </p:cNvCxnSpPr>
            <p:nvPr/>
          </p:nvCxnSpPr>
          <p:spPr bwMode="gray">
            <a:xfrm rot="16200000" flipH="1">
              <a:off x="1035207" y="4802531"/>
              <a:ext cx="72000" cy="0"/>
            </a:xfrm>
            <a:prstGeom prst="line">
              <a:avLst/>
            </a:prstGeom>
            <a:noFill/>
            <a:ln w="9525" cap="flat" cmpd="sng" algn="ctr">
              <a:solidFill>
                <a:srgbClr val="000000"/>
              </a:solidFill>
              <a:prstDash val="solid"/>
            </a:ln>
            <a:effectLst/>
          </p:spPr>
        </p:cxnSp>
        <p:sp>
          <p:nvSpPr>
            <p:cNvPr id="7907" name="TextBox 7906">
              <a:extLst>
                <a:ext uri="{FF2B5EF4-FFF2-40B4-BE49-F238E27FC236}">
                  <a16:creationId xmlns:a16="http://schemas.microsoft.com/office/drawing/2014/main" id="{5C1B35A2-B5F0-8057-204F-7BB38028730D}"/>
                </a:ext>
              </a:extLst>
            </p:cNvPr>
            <p:cNvSpPr txBox="1"/>
            <p:nvPr/>
          </p:nvSpPr>
          <p:spPr bwMode="gray">
            <a:xfrm>
              <a:off x="7082102"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5</a:t>
              </a:r>
            </a:p>
          </p:txBody>
        </p:sp>
        <p:cxnSp>
          <p:nvCxnSpPr>
            <p:cNvPr id="7908" name="Straight Connector 7907">
              <a:extLst>
                <a:ext uri="{FF2B5EF4-FFF2-40B4-BE49-F238E27FC236}">
                  <a16:creationId xmlns:a16="http://schemas.microsoft.com/office/drawing/2014/main" id="{02B2FAB7-058A-895B-6A17-51B362140AE3}"/>
                </a:ext>
              </a:extLst>
            </p:cNvPr>
            <p:cNvCxnSpPr>
              <a:cxnSpLocks/>
            </p:cNvCxnSpPr>
            <p:nvPr/>
          </p:nvCxnSpPr>
          <p:spPr bwMode="gray">
            <a:xfrm rot="16200000" flipH="1">
              <a:off x="7210059" y="4802531"/>
              <a:ext cx="72000" cy="0"/>
            </a:xfrm>
            <a:prstGeom prst="line">
              <a:avLst/>
            </a:prstGeom>
            <a:noFill/>
            <a:ln w="9525" cap="flat" cmpd="sng" algn="ctr">
              <a:solidFill>
                <a:srgbClr val="000000"/>
              </a:solidFill>
              <a:prstDash val="solid"/>
            </a:ln>
            <a:effectLst/>
          </p:spPr>
        </p:cxnSp>
        <p:sp>
          <p:nvSpPr>
            <p:cNvPr id="7909" name="TextBox 7908">
              <a:extLst>
                <a:ext uri="{FF2B5EF4-FFF2-40B4-BE49-F238E27FC236}">
                  <a16:creationId xmlns:a16="http://schemas.microsoft.com/office/drawing/2014/main" id="{04CCC0D6-026E-2666-B60E-B5D2F7598745}"/>
                </a:ext>
              </a:extLst>
            </p:cNvPr>
            <p:cNvSpPr txBox="1"/>
            <p:nvPr/>
          </p:nvSpPr>
          <p:spPr bwMode="gray">
            <a:xfrm>
              <a:off x="1354696" y="4802344"/>
              <a:ext cx="254557"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a:t>
              </a:r>
            </a:p>
          </p:txBody>
        </p:sp>
        <p:cxnSp>
          <p:nvCxnSpPr>
            <p:cNvPr id="7910" name="Straight Connector 7909">
              <a:extLst>
                <a:ext uri="{FF2B5EF4-FFF2-40B4-BE49-F238E27FC236}">
                  <a16:creationId xmlns:a16="http://schemas.microsoft.com/office/drawing/2014/main" id="{C5EF245B-7EFE-43B1-920C-F2084E155056}"/>
                </a:ext>
              </a:extLst>
            </p:cNvPr>
            <p:cNvCxnSpPr>
              <a:cxnSpLocks/>
            </p:cNvCxnSpPr>
            <p:nvPr/>
          </p:nvCxnSpPr>
          <p:spPr bwMode="gray">
            <a:xfrm rot="16200000" flipH="1">
              <a:off x="1446863" y="4802531"/>
              <a:ext cx="72000" cy="0"/>
            </a:xfrm>
            <a:prstGeom prst="line">
              <a:avLst/>
            </a:prstGeom>
            <a:noFill/>
            <a:ln w="9525" cap="flat" cmpd="sng" algn="ctr">
              <a:solidFill>
                <a:srgbClr val="000000"/>
              </a:solidFill>
              <a:prstDash val="solid"/>
            </a:ln>
            <a:effectLst/>
          </p:spPr>
        </p:cxnSp>
        <p:sp>
          <p:nvSpPr>
            <p:cNvPr id="7911" name="TextBox 7910">
              <a:extLst>
                <a:ext uri="{FF2B5EF4-FFF2-40B4-BE49-F238E27FC236}">
                  <a16:creationId xmlns:a16="http://schemas.microsoft.com/office/drawing/2014/main" id="{EC8FCF4F-BBBB-1B1D-4FCE-52ADDAECA8DE}"/>
                </a:ext>
              </a:extLst>
            </p:cNvPr>
            <p:cNvSpPr txBox="1"/>
            <p:nvPr/>
          </p:nvSpPr>
          <p:spPr bwMode="gray">
            <a:xfrm>
              <a:off x="1767980" y="4802344"/>
              <a:ext cx="254557"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6</a:t>
              </a:r>
            </a:p>
          </p:txBody>
        </p:sp>
        <p:cxnSp>
          <p:nvCxnSpPr>
            <p:cNvPr id="7912" name="Straight Connector 7911">
              <a:extLst>
                <a:ext uri="{FF2B5EF4-FFF2-40B4-BE49-F238E27FC236}">
                  <a16:creationId xmlns:a16="http://schemas.microsoft.com/office/drawing/2014/main" id="{24542194-DB7C-65A8-AD70-109C750436C2}"/>
                </a:ext>
              </a:extLst>
            </p:cNvPr>
            <p:cNvCxnSpPr>
              <a:cxnSpLocks/>
            </p:cNvCxnSpPr>
            <p:nvPr/>
          </p:nvCxnSpPr>
          <p:spPr bwMode="gray">
            <a:xfrm rot="16200000" flipH="1">
              <a:off x="1858520" y="4802531"/>
              <a:ext cx="72000" cy="0"/>
            </a:xfrm>
            <a:prstGeom prst="line">
              <a:avLst/>
            </a:prstGeom>
            <a:noFill/>
            <a:ln w="9525" cap="flat" cmpd="sng" algn="ctr">
              <a:solidFill>
                <a:srgbClr val="000000"/>
              </a:solidFill>
              <a:prstDash val="solid"/>
            </a:ln>
            <a:effectLst/>
          </p:spPr>
        </p:cxnSp>
        <p:sp>
          <p:nvSpPr>
            <p:cNvPr id="7913" name="TextBox 7912">
              <a:extLst>
                <a:ext uri="{FF2B5EF4-FFF2-40B4-BE49-F238E27FC236}">
                  <a16:creationId xmlns:a16="http://schemas.microsoft.com/office/drawing/2014/main" id="{7F7C8F12-EC61-C3BB-FEEE-AAF456107A60}"/>
                </a:ext>
              </a:extLst>
            </p:cNvPr>
            <p:cNvSpPr txBox="1"/>
            <p:nvPr/>
          </p:nvSpPr>
          <p:spPr bwMode="gray">
            <a:xfrm>
              <a:off x="2181264" y="4802344"/>
              <a:ext cx="254557"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9</a:t>
              </a:r>
            </a:p>
          </p:txBody>
        </p:sp>
        <p:cxnSp>
          <p:nvCxnSpPr>
            <p:cNvPr id="7914" name="Straight Connector 7913">
              <a:extLst>
                <a:ext uri="{FF2B5EF4-FFF2-40B4-BE49-F238E27FC236}">
                  <a16:creationId xmlns:a16="http://schemas.microsoft.com/office/drawing/2014/main" id="{BC8AB5A4-EB40-4E81-3408-9F49ACE23D76}"/>
                </a:ext>
              </a:extLst>
            </p:cNvPr>
            <p:cNvCxnSpPr>
              <a:cxnSpLocks/>
            </p:cNvCxnSpPr>
            <p:nvPr/>
          </p:nvCxnSpPr>
          <p:spPr bwMode="gray">
            <a:xfrm rot="16200000" flipH="1">
              <a:off x="2270177" y="4802531"/>
              <a:ext cx="72000" cy="0"/>
            </a:xfrm>
            <a:prstGeom prst="line">
              <a:avLst/>
            </a:prstGeom>
            <a:noFill/>
            <a:ln w="9525" cap="flat" cmpd="sng" algn="ctr">
              <a:solidFill>
                <a:srgbClr val="000000"/>
              </a:solidFill>
              <a:prstDash val="solid"/>
            </a:ln>
            <a:effectLst/>
          </p:spPr>
        </p:cxnSp>
        <p:sp>
          <p:nvSpPr>
            <p:cNvPr id="7915" name="TextBox 7914">
              <a:extLst>
                <a:ext uri="{FF2B5EF4-FFF2-40B4-BE49-F238E27FC236}">
                  <a16:creationId xmlns:a16="http://schemas.microsoft.com/office/drawing/2014/main" id="{53D4EECE-F4F9-F84E-3297-1299AC8C975E}"/>
                </a:ext>
              </a:extLst>
            </p:cNvPr>
            <p:cNvSpPr txBox="1"/>
            <p:nvPr/>
          </p:nvSpPr>
          <p:spPr bwMode="gray">
            <a:xfrm>
              <a:off x="2550460"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2</a:t>
              </a:r>
            </a:p>
          </p:txBody>
        </p:sp>
        <p:cxnSp>
          <p:nvCxnSpPr>
            <p:cNvPr id="7916" name="Straight Connector 7915">
              <a:extLst>
                <a:ext uri="{FF2B5EF4-FFF2-40B4-BE49-F238E27FC236}">
                  <a16:creationId xmlns:a16="http://schemas.microsoft.com/office/drawing/2014/main" id="{A0935814-0111-E260-BFEB-B40BB9C510F0}"/>
                </a:ext>
              </a:extLst>
            </p:cNvPr>
            <p:cNvCxnSpPr>
              <a:cxnSpLocks/>
            </p:cNvCxnSpPr>
            <p:nvPr/>
          </p:nvCxnSpPr>
          <p:spPr bwMode="gray">
            <a:xfrm rot="16200000" flipH="1">
              <a:off x="2681834" y="4802531"/>
              <a:ext cx="72000" cy="0"/>
            </a:xfrm>
            <a:prstGeom prst="line">
              <a:avLst/>
            </a:prstGeom>
            <a:noFill/>
            <a:ln w="9525" cap="flat" cmpd="sng" algn="ctr">
              <a:solidFill>
                <a:srgbClr val="000000"/>
              </a:solidFill>
              <a:prstDash val="solid"/>
            </a:ln>
            <a:effectLst/>
          </p:spPr>
        </p:cxnSp>
        <p:sp>
          <p:nvSpPr>
            <p:cNvPr id="7917" name="TextBox 7916">
              <a:extLst>
                <a:ext uri="{FF2B5EF4-FFF2-40B4-BE49-F238E27FC236}">
                  <a16:creationId xmlns:a16="http://schemas.microsoft.com/office/drawing/2014/main" id="{8696A587-83E0-6675-9DF9-8C14FB5AA6C0}"/>
                </a:ext>
              </a:extLst>
            </p:cNvPr>
            <p:cNvSpPr txBox="1"/>
            <p:nvPr/>
          </p:nvSpPr>
          <p:spPr bwMode="gray">
            <a:xfrm>
              <a:off x="2963740"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cxnSp>
          <p:nvCxnSpPr>
            <p:cNvPr id="7918" name="Straight Connector 7917">
              <a:extLst>
                <a:ext uri="{FF2B5EF4-FFF2-40B4-BE49-F238E27FC236}">
                  <a16:creationId xmlns:a16="http://schemas.microsoft.com/office/drawing/2014/main" id="{E26FD7E6-B935-56CA-ADD7-743E30D6A56C}"/>
                </a:ext>
              </a:extLst>
            </p:cNvPr>
            <p:cNvCxnSpPr>
              <a:cxnSpLocks/>
            </p:cNvCxnSpPr>
            <p:nvPr/>
          </p:nvCxnSpPr>
          <p:spPr bwMode="gray">
            <a:xfrm rot="16200000" flipH="1">
              <a:off x="3093491" y="4802531"/>
              <a:ext cx="72000" cy="0"/>
            </a:xfrm>
            <a:prstGeom prst="line">
              <a:avLst/>
            </a:prstGeom>
            <a:noFill/>
            <a:ln w="9525" cap="flat" cmpd="sng" algn="ctr">
              <a:solidFill>
                <a:srgbClr val="000000"/>
              </a:solidFill>
              <a:prstDash val="solid"/>
            </a:ln>
            <a:effectLst/>
          </p:spPr>
        </p:cxnSp>
        <p:sp>
          <p:nvSpPr>
            <p:cNvPr id="7919" name="TextBox 7918">
              <a:extLst>
                <a:ext uri="{FF2B5EF4-FFF2-40B4-BE49-F238E27FC236}">
                  <a16:creationId xmlns:a16="http://schemas.microsoft.com/office/drawing/2014/main" id="{89047964-9B06-252E-5B6B-F2DA1A450579}"/>
                </a:ext>
              </a:extLst>
            </p:cNvPr>
            <p:cNvSpPr txBox="1"/>
            <p:nvPr/>
          </p:nvSpPr>
          <p:spPr bwMode="gray">
            <a:xfrm>
              <a:off x="3374510"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18</a:t>
              </a:r>
            </a:p>
          </p:txBody>
        </p:sp>
        <p:cxnSp>
          <p:nvCxnSpPr>
            <p:cNvPr id="7920" name="Straight Connector 7919">
              <a:extLst>
                <a:ext uri="{FF2B5EF4-FFF2-40B4-BE49-F238E27FC236}">
                  <a16:creationId xmlns:a16="http://schemas.microsoft.com/office/drawing/2014/main" id="{12A4364D-FB84-5BD5-F154-369EEDD7C9A4}"/>
                </a:ext>
              </a:extLst>
            </p:cNvPr>
            <p:cNvCxnSpPr>
              <a:cxnSpLocks/>
            </p:cNvCxnSpPr>
            <p:nvPr/>
          </p:nvCxnSpPr>
          <p:spPr bwMode="gray">
            <a:xfrm rot="16200000" flipH="1">
              <a:off x="3505147" y="4802531"/>
              <a:ext cx="72000" cy="0"/>
            </a:xfrm>
            <a:prstGeom prst="line">
              <a:avLst/>
            </a:prstGeom>
            <a:noFill/>
            <a:ln w="9525" cap="flat" cmpd="sng" algn="ctr">
              <a:solidFill>
                <a:srgbClr val="000000"/>
              </a:solidFill>
              <a:prstDash val="solid"/>
            </a:ln>
            <a:effectLst/>
          </p:spPr>
        </p:cxnSp>
        <p:sp>
          <p:nvSpPr>
            <p:cNvPr id="7921" name="TextBox 7920">
              <a:extLst>
                <a:ext uri="{FF2B5EF4-FFF2-40B4-BE49-F238E27FC236}">
                  <a16:creationId xmlns:a16="http://schemas.microsoft.com/office/drawing/2014/main" id="{619AC35F-7135-1781-0B99-21059009EC82}"/>
                </a:ext>
              </a:extLst>
            </p:cNvPr>
            <p:cNvSpPr txBox="1"/>
            <p:nvPr/>
          </p:nvSpPr>
          <p:spPr bwMode="gray">
            <a:xfrm>
              <a:off x="3787789"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1</a:t>
              </a:r>
            </a:p>
          </p:txBody>
        </p:sp>
        <p:cxnSp>
          <p:nvCxnSpPr>
            <p:cNvPr id="7922" name="Straight Connector 7921">
              <a:extLst>
                <a:ext uri="{FF2B5EF4-FFF2-40B4-BE49-F238E27FC236}">
                  <a16:creationId xmlns:a16="http://schemas.microsoft.com/office/drawing/2014/main" id="{C0FE0AC8-7744-A943-60B1-FF282E81C61B}"/>
                </a:ext>
              </a:extLst>
            </p:cNvPr>
            <p:cNvCxnSpPr>
              <a:cxnSpLocks/>
            </p:cNvCxnSpPr>
            <p:nvPr/>
          </p:nvCxnSpPr>
          <p:spPr bwMode="gray">
            <a:xfrm rot="16200000" flipH="1">
              <a:off x="3916804" y="4802531"/>
              <a:ext cx="72000" cy="0"/>
            </a:xfrm>
            <a:prstGeom prst="line">
              <a:avLst/>
            </a:prstGeom>
            <a:noFill/>
            <a:ln w="9525" cap="flat" cmpd="sng" algn="ctr">
              <a:solidFill>
                <a:srgbClr val="000000"/>
              </a:solidFill>
              <a:prstDash val="solid"/>
            </a:ln>
            <a:effectLst/>
          </p:spPr>
        </p:cxnSp>
        <p:sp>
          <p:nvSpPr>
            <p:cNvPr id="7923" name="TextBox 7922">
              <a:extLst>
                <a:ext uri="{FF2B5EF4-FFF2-40B4-BE49-F238E27FC236}">
                  <a16:creationId xmlns:a16="http://schemas.microsoft.com/office/drawing/2014/main" id="{BDF87225-551A-1750-532A-AAE39EDDB867}"/>
                </a:ext>
              </a:extLst>
            </p:cNvPr>
            <p:cNvSpPr txBox="1"/>
            <p:nvPr/>
          </p:nvSpPr>
          <p:spPr bwMode="gray">
            <a:xfrm>
              <a:off x="4199579"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4</a:t>
              </a:r>
            </a:p>
          </p:txBody>
        </p:sp>
        <p:cxnSp>
          <p:nvCxnSpPr>
            <p:cNvPr id="7924" name="Straight Connector 7923">
              <a:extLst>
                <a:ext uri="{FF2B5EF4-FFF2-40B4-BE49-F238E27FC236}">
                  <a16:creationId xmlns:a16="http://schemas.microsoft.com/office/drawing/2014/main" id="{EA88C957-080B-AD12-2173-949A86287800}"/>
                </a:ext>
              </a:extLst>
            </p:cNvPr>
            <p:cNvCxnSpPr>
              <a:cxnSpLocks/>
            </p:cNvCxnSpPr>
            <p:nvPr/>
          </p:nvCxnSpPr>
          <p:spPr bwMode="gray">
            <a:xfrm rot="16200000" flipH="1">
              <a:off x="4328461" y="4802531"/>
              <a:ext cx="72000" cy="0"/>
            </a:xfrm>
            <a:prstGeom prst="line">
              <a:avLst/>
            </a:prstGeom>
            <a:noFill/>
            <a:ln w="9525" cap="flat" cmpd="sng" algn="ctr">
              <a:solidFill>
                <a:srgbClr val="000000"/>
              </a:solidFill>
              <a:prstDash val="solid"/>
            </a:ln>
            <a:effectLst/>
          </p:spPr>
        </p:cxnSp>
        <p:sp>
          <p:nvSpPr>
            <p:cNvPr id="7925" name="TextBox 7924">
              <a:extLst>
                <a:ext uri="{FF2B5EF4-FFF2-40B4-BE49-F238E27FC236}">
                  <a16:creationId xmlns:a16="http://schemas.microsoft.com/office/drawing/2014/main" id="{739FC4B2-7ABA-3426-61C1-FE8001073196}"/>
                </a:ext>
              </a:extLst>
            </p:cNvPr>
            <p:cNvSpPr txBox="1"/>
            <p:nvPr/>
          </p:nvSpPr>
          <p:spPr bwMode="gray">
            <a:xfrm>
              <a:off x="4611368"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27</a:t>
              </a:r>
            </a:p>
          </p:txBody>
        </p:sp>
        <p:cxnSp>
          <p:nvCxnSpPr>
            <p:cNvPr id="7926" name="Straight Connector 7925">
              <a:extLst>
                <a:ext uri="{FF2B5EF4-FFF2-40B4-BE49-F238E27FC236}">
                  <a16:creationId xmlns:a16="http://schemas.microsoft.com/office/drawing/2014/main" id="{F26E9F6B-3E0B-5949-AEC3-6CC01F4AC02B}"/>
                </a:ext>
              </a:extLst>
            </p:cNvPr>
            <p:cNvCxnSpPr>
              <a:cxnSpLocks/>
            </p:cNvCxnSpPr>
            <p:nvPr/>
          </p:nvCxnSpPr>
          <p:spPr bwMode="gray">
            <a:xfrm rot="16200000" flipH="1">
              <a:off x="4740118" y="4802531"/>
              <a:ext cx="72000" cy="0"/>
            </a:xfrm>
            <a:prstGeom prst="line">
              <a:avLst/>
            </a:prstGeom>
            <a:noFill/>
            <a:ln w="9525" cap="flat" cmpd="sng" algn="ctr">
              <a:solidFill>
                <a:srgbClr val="000000"/>
              </a:solidFill>
              <a:prstDash val="solid"/>
            </a:ln>
            <a:effectLst/>
          </p:spPr>
        </p:cxnSp>
        <p:sp>
          <p:nvSpPr>
            <p:cNvPr id="7927" name="TextBox 7926">
              <a:extLst>
                <a:ext uri="{FF2B5EF4-FFF2-40B4-BE49-F238E27FC236}">
                  <a16:creationId xmlns:a16="http://schemas.microsoft.com/office/drawing/2014/main" id="{4E4B6347-3522-EAD3-5FC0-C5A567C590EB}"/>
                </a:ext>
              </a:extLst>
            </p:cNvPr>
            <p:cNvSpPr txBox="1"/>
            <p:nvPr/>
          </p:nvSpPr>
          <p:spPr bwMode="gray">
            <a:xfrm>
              <a:off x="5023156"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0</a:t>
              </a:r>
            </a:p>
          </p:txBody>
        </p:sp>
        <p:cxnSp>
          <p:nvCxnSpPr>
            <p:cNvPr id="7928" name="Straight Connector 7927">
              <a:extLst>
                <a:ext uri="{FF2B5EF4-FFF2-40B4-BE49-F238E27FC236}">
                  <a16:creationId xmlns:a16="http://schemas.microsoft.com/office/drawing/2014/main" id="{A8E9D653-BB08-E056-C016-9E475F5DF654}"/>
                </a:ext>
              </a:extLst>
            </p:cNvPr>
            <p:cNvCxnSpPr>
              <a:cxnSpLocks/>
            </p:cNvCxnSpPr>
            <p:nvPr/>
          </p:nvCxnSpPr>
          <p:spPr bwMode="gray">
            <a:xfrm rot="16200000" flipH="1">
              <a:off x="5151775" y="4802531"/>
              <a:ext cx="72000" cy="0"/>
            </a:xfrm>
            <a:prstGeom prst="line">
              <a:avLst/>
            </a:prstGeom>
            <a:noFill/>
            <a:ln w="9525" cap="flat" cmpd="sng" algn="ctr">
              <a:solidFill>
                <a:srgbClr val="000000"/>
              </a:solidFill>
              <a:prstDash val="solid"/>
            </a:ln>
            <a:effectLst/>
          </p:spPr>
        </p:cxnSp>
        <p:sp>
          <p:nvSpPr>
            <p:cNvPr id="7929" name="TextBox 7928">
              <a:extLst>
                <a:ext uri="{FF2B5EF4-FFF2-40B4-BE49-F238E27FC236}">
                  <a16:creationId xmlns:a16="http://schemas.microsoft.com/office/drawing/2014/main" id="{ED67F10F-7DE8-2040-1409-63F929CC4D9C}"/>
                </a:ext>
              </a:extLst>
            </p:cNvPr>
            <p:cNvSpPr txBox="1"/>
            <p:nvPr/>
          </p:nvSpPr>
          <p:spPr bwMode="gray">
            <a:xfrm>
              <a:off x="5434946"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3</a:t>
              </a:r>
            </a:p>
          </p:txBody>
        </p:sp>
        <p:cxnSp>
          <p:nvCxnSpPr>
            <p:cNvPr id="7930" name="Straight Connector 7929">
              <a:extLst>
                <a:ext uri="{FF2B5EF4-FFF2-40B4-BE49-F238E27FC236}">
                  <a16:creationId xmlns:a16="http://schemas.microsoft.com/office/drawing/2014/main" id="{6D435C12-392E-1AB8-6578-BFD3F8495CE0}"/>
                </a:ext>
              </a:extLst>
            </p:cNvPr>
            <p:cNvCxnSpPr>
              <a:cxnSpLocks/>
            </p:cNvCxnSpPr>
            <p:nvPr/>
          </p:nvCxnSpPr>
          <p:spPr bwMode="gray">
            <a:xfrm rot="16200000" flipH="1">
              <a:off x="5563431" y="4802531"/>
              <a:ext cx="72000" cy="0"/>
            </a:xfrm>
            <a:prstGeom prst="line">
              <a:avLst/>
            </a:prstGeom>
            <a:noFill/>
            <a:ln w="9525" cap="flat" cmpd="sng" algn="ctr">
              <a:solidFill>
                <a:srgbClr val="000000"/>
              </a:solidFill>
              <a:prstDash val="solid"/>
            </a:ln>
            <a:effectLst/>
          </p:spPr>
        </p:cxnSp>
        <p:sp>
          <p:nvSpPr>
            <p:cNvPr id="7931" name="TextBox 7930">
              <a:extLst>
                <a:ext uri="{FF2B5EF4-FFF2-40B4-BE49-F238E27FC236}">
                  <a16:creationId xmlns:a16="http://schemas.microsoft.com/office/drawing/2014/main" id="{CDC47E3F-767D-2251-F053-4E1C188C35F9}"/>
                </a:ext>
              </a:extLst>
            </p:cNvPr>
            <p:cNvSpPr txBox="1"/>
            <p:nvPr/>
          </p:nvSpPr>
          <p:spPr bwMode="gray">
            <a:xfrm>
              <a:off x="5846733"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6</a:t>
              </a:r>
            </a:p>
          </p:txBody>
        </p:sp>
        <p:cxnSp>
          <p:nvCxnSpPr>
            <p:cNvPr id="7932" name="Straight Connector 7931">
              <a:extLst>
                <a:ext uri="{FF2B5EF4-FFF2-40B4-BE49-F238E27FC236}">
                  <a16:creationId xmlns:a16="http://schemas.microsoft.com/office/drawing/2014/main" id="{ABCFCA06-2E32-3C86-B548-C20D07CEE319}"/>
                </a:ext>
              </a:extLst>
            </p:cNvPr>
            <p:cNvCxnSpPr>
              <a:cxnSpLocks/>
            </p:cNvCxnSpPr>
            <p:nvPr/>
          </p:nvCxnSpPr>
          <p:spPr bwMode="gray">
            <a:xfrm rot="16200000" flipH="1">
              <a:off x="5975088" y="4802531"/>
              <a:ext cx="72000" cy="0"/>
            </a:xfrm>
            <a:prstGeom prst="line">
              <a:avLst/>
            </a:prstGeom>
            <a:noFill/>
            <a:ln w="9525" cap="flat" cmpd="sng" algn="ctr">
              <a:solidFill>
                <a:srgbClr val="000000"/>
              </a:solidFill>
              <a:prstDash val="solid"/>
            </a:ln>
            <a:effectLst/>
          </p:spPr>
        </p:cxnSp>
        <p:sp>
          <p:nvSpPr>
            <p:cNvPr id="7933" name="TextBox 7932">
              <a:extLst>
                <a:ext uri="{FF2B5EF4-FFF2-40B4-BE49-F238E27FC236}">
                  <a16:creationId xmlns:a16="http://schemas.microsoft.com/office/drawing/2014/main" id="{DA1E353C-0B57-50C2-44E1-72D9A3A6D506}"/>
                </a:ext>
              </a:extLst>
            </p:cNvPr>
            <p:cNvSpPr txBox="1"/>
            <p:nvPr/>
          </p:nvSpPr>
          <p:spPr bwMode="gray">
            <a:xfrm>
              <a:off x="6258522"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39</a:t>
              </a:r>
            </a:p>
          </p:txBody>
        </p:sp>
        <p:cxnSp>
          <p:nvCxnSpPr>
            <p:cNvPr id="7934" name="Straight Connector 7933">
              <a:extLst>
                <a:ext uri="{FF2B5EF4-FFF2-40B4-BE49-F238E27FC236}">
                  <a16:creationId xmlns:a16="http://schemas.microsoft.com/office/drawing/2014/main" id="{9D132368-453F-2998-F46D-ABC63F6EAE41}"/>
                </a:ext>
              </a:extLst>
            </p:cNvPr>
            <p:cNvCxnSpPr>
              <a:cxnSpLocks/>
            </p:cNvCxnSpPr>
            <p:nvPr/>
          </p:nvCxnSpPr>
          <p:spPr bwMode="gray">
            <a:xfrm rot="16200000" flipH="1">
              <a:off x="6386745" y="4802531"/>
              <a:ext cx="72000" cy="0"/>
            </a:xfrm>
            <a:prstGeom prst="line">
              <a:avLst/>
            </a:prstGeom>
            <a:noFill/>
            <a:ln w="9525" cap="flat" cmpd="sng" algn="ctr">
              <a:solidFill>
                <a:srgbClr val="000000"/>
              </a:solidFill>
              <a:prstDash val="solid"/>
            </a:ln>
            <a:effectLst/>
          </p:spPr>
        </p:cxnSp>
        <p:sp>
          <p:nvSpPr>
            <p:cNvPr id="7935" name="TextBox 7934">
              <a:extLst>
                <a:ext uri="{FF2B5EF4-FFF2-40B4-BE49-F238E27FC236}">
                  <a16:creationId xmlns:a16="http://schemas.microsoft.com/office/drawing/2014/main" id="{D48C494E-4EF6-1574-AC0F-D6E1E1E580E6}"/>
                </a:ext>
              </a:extLst>
            </p:cNvPr>
            <p:cNvSpPr txBox="1"/>
            <p:nvPr/>
          </p:nvSpPr>
          <p:spPr bwMode="gray">
            <a:xfrm>
              <a:off x="6670311"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2</a:t>
              </a:r>
            </a:p>
          </p:txBody>
        </p:sp>
        <p:cxnSp>
          <p:nvCxnSpPr>
            <p:cNvPr id="7936" name="Straight Connector 7935">
              <a:extLst>
                <a:ext uri="{FF2B5EF4-FFF2-40B4-BE49-F238E27FC236}">
                  <a16:creationId xmlns:a16="http://schemas.microsoft.com/office/drawing/2014/main" id="{FC6D3917-E449-7175-0BBF-9B7BD5AB970F}"/>
                </a:ext>
              </a:extLst>
            </p:cNvPr>
            <p:cNvCxnSpPr>
              <a:cxnSpLocks/>
            </p:cNvCxnSpPr>
            <p:nvPr/>
          </p:nvCxnSpPr>
          <p:spPr bwMode="gray">
            <a:xfrm rot="16200000" flipH="1">
              <a:off x="6798402" y="4802531"/>
              <a:ext cx="72000" cy="0"/>
            </a:xfrm>
            <a:prstGeom prst="line">
              <a:avLst/>
            </a:prstGeom>
            <a:noFill/>
            <a:ln w="9525" cap="flat" cmpd="sng" algn="ctr">
              <a:solidFill>
                <a:srgbClr val="000000"/>
              </a:solidFill>
              <a:prstDash val="solid"/>
            </a:ln>
            <a:effectLst/>
          </p:spPr>
        </p:cxnSp>
        <p:sp>
          <p:nvSpPr>
            <p:cNvPr id="7938" name="TextBox 7937">
              <a:extLst>
                <a:ext uri="{FF2B5EF4-FFF2-40B4-BE49-F238E27FC236}">
                  <a16:creationId xmlns:a16="http://schemas.microsoft.com/office/drawing/2014/main" id="{3A1DB332-AE86-12EB-AD8F-BB04135BCC8D}"/>
                </a:ext>
              </a:extLst>
            </p:cNvPr>
            <p:cNvSpPr txBox="1"/>
            <p:nvPr/>
          </p:nvSpPr>
          <p:spPr bwMode="gray">
            <a:xfrm>
              <a:off x="7493894" y="4802344"/>
              <a:ext cx="332670" cy="307777"/>
            </a:xfrm>
            <a:prstGeom prst="rect">
              <a:avLst/>
            </a:prstGeom>
            <a:noFill/>
          </p:spPr>
          <p:txBody>
            <a:bodyPr wrap="non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48</a:t>
              </a:r>
            </a:p>
          </p:txBody>
        </p:sp>
        <p:cxnSp>
          <p:nvCxnSpPr>
            <p:cNvPr id="7939" name="Straight Connector 7938">
              <a:extLst>
                <a:ext uri="{FF2B5EF4-FFF2-40B4-BE49-F238E27FC236}">
                  <a16:creationId xmlns:a16="http://schemas.microsoft.com/office/drawing/2014/main" id="{C826D994-A5E8-FD50-1FF5-09A5B382D0E2}"/>
                </a:ext>
              </a:extLst>
            </p:cNvPr>
            <p:cNvCxnSpPr>
              <a:cxnSpLocks/>
            </p:cNvCxnSpPr>
            <p:nvPr/>
          </p:nvCxnSpPr>
          <p:spPr bwMode="gray">
            <a:xfrm rot="16200000" flipH="1">
              <a:off x="7621715" y="4802531"/>
              <a:ext cx="72000" cy="0"/>
            </a:xfrm>
            <a:prstGeom prst="line">
              <a:avLst/>
            </a:prstGeom>
            <a:noFill/>
            <a:ln w="9525" cap="flat" cmpd="sng" algn="ctr">
              <a:solidFill>
                <a:srgbClr val="000000"/>
              </a:solidFill>
              <a:prstDash val="solid"/>
            </a:ln>
            <a:effectLst/>
          </p:spPr>
        </p:cxnSp>
        <p:sp>
          <p:nvSpPr>
            <p:cNvPr id="7940" name="TextBox 7939">
              <a:extLst>
                <a:ext uri="{FF2B5EF4-FFF2-40B4-BE49-F238E27FC236}">
                  <a16:creationId xmlns:a16="http://schemas.microsoft.com/office/drawing/2014/main" id="{EC4001F2-826E-C444-770C-9A2B3F0B21BB}"/>
                </a:ext>
              </a:extLst>
            </p:cNvPr>
            <p:cNvSpPr txBox="1"/>
            <p:nvPr/>
          </p:nvSpPr>
          <p:spPr bwMode="gray">
            <a:xfrm>
              <a:off x="1070969" y="5048633"/>
              <a:ext cx="6570996" cy="307777"/>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Time from </a:t>
              </a:r>
              <a:r>
                <a:rPr kumimoji="0" lang="en-US" sz="1400"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rPr>
                <a:t>randomisation</a:t>
              </a: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 (months)</a:t>
              </a:r>
            </a:p>
          </p:txBody>
        </p:sp>
      </p:grpSp>
      <p:sp>
        <p:nvSpPr>
          <p:cNvPr id="7954" name="TextBox 7953">
            <a:extLst>
              <a:ext uri="{FF2B5EF4-FFF2-40B4-BE49-F238E27FC236}">
                <a16:creationId xmlns:a16="http://schemas.microsoft.com/office/drawing/2014/main" id="{C7519F30-F933-60D2-99F0-CE876529A75A}"/>
              </a:ext>
            </a:extLst>
          </p:cNvPr>
          <p:cNvSpPr txBox="1"/>
          <p:nvPr/>
        </p:nvSpPr>
        <p:spPr>
          <a:xfrm>
            <a:off x="638737" y="5523316"/>
            <a:ext cx="6033527" cy="307777"/>
          </a:xfrm>
          <a:prstGeom prst="rect">
            <a:avLst/>
          </a:prstGeom>
          <a:solidFill>
            <a:srgbClr val="FFFFFF">
              <a:lumMod val="95000"/>
            </a:srgbClr>
          </a:solid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OS maturity in PTEN subgroups was broadly consistent with the overall population</a:t>
            </a:r>
          </a:p>
        </p:txBody>
      </p:sp>
      <p:sp>
        <p:nvSpPr>
          <p:cNvPr id="7959" name="TextBox 7958">
            <a:extLst>
              <a:ext uri="{FF2B5EF4-FFF2-40B4-BE49-F238E27FC236}">
                <a16:creationId xmlns:a16="http://schemas.microsoft.com/office/drawing/2014/main" id="{0EB13CC7-8024-A0FF-4420-94AF4B014773}"/>
              </a:ext>
            </a:extLst>
          </p:cNvPr>
          <p:cNvSpPr txBox="1"/>
          <p:nvPr/>
        </p:nvSpPr>
        <p:spPr>
          <a:xfrm>
            <a:off x="434602" y="6067006"/>
            <a:ext cx="11420863" cy="246221"/>
          </a:xfrm>
          <a:prstGeom prst="rect">
            <a:avLst/>
          </a:prstGeom>
          <a:noFill/>
        </p:spPr>
        <p:txBody>
          <a:bodyPr wrap="square" anchor="b">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ab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abiraterone;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capi</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capivasertib; CI, confidence interval; HR, hazard ratio; NC, not calculable; OS, overall survival; </a:t>
            </a:r>
            <a:r>
              <a:rPr kumimoji="0" lang="en-US" sz="1000" b="0" i="0" u="none" strike="noStrike" kern="1200" cap="none" spc="0" normalizeH="0" baseline="0" noProof="0" dirty="0" err="1">
                <a:ln>
                  <a:noFill/>
                </a:ln>
                <a:solidFill>
                  <a:srgbClr val="3F4444"/>
                </a:solidFill>
                <a:effectLst/>
                <a:uLnTx/>
                <a:uFillTx/>
                <a:latin typeface="Arial Narrow" panose="020B0606020202030204" pitchFamily="34" charset="0"/>
                <a:ea typeface="+mn-ea"/>
                <a:cs typeface="+mn-cs"/>
              </a:rPr>
              <a:t>pbo</a:t>
            </a:r>
            <a:r>
              <a:rPr kumimoji="0" lang="en-US" sz="1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 placebo</a:t>
            </a:r>
          </a:p>
        </p:txBody>
      </p:sp>
      <p:grpSp>
        <p:nvGrpSpPr>
          <p:cNvPr id="9361" name="Group 9360">
            <a:extLst>
              <a:ext uri="{FF2B5EF4-FFF2-40B4-BE49-F238E27FC236}">
                <a16:creationId xmlns:a16="http://schemas.microsoft.com/office/drawing/2014/main" id="{8ACBE297-6866-3857-8685-6163095DA59F}"/>
              </a:ext>
            </a:extLst>
          </p:cNvPr>
          <p:cNvGrpSpPr/>
          <p:nvPr/>
        </p:nvGrpSpPr>
        <p:grpSpPr bwMode="gray">
          <a:xfrm>
            <a:off x="673091" y="1438276"/>
            <a:ext cx="6439049" cy="1640014"/>
            <a:chOff x="3181350" y="2609850"/>
            <a:chExt cx="5825680" cy="1640014"/>
          </a:xfrm>
        </p:grpSpPr>
        <p:grpSp>
          <p:nvGrpSpPr>
            <p:cNvPr id="9362" name="Graphic 401">
              <a:extLst>
                <a:ext uri="{FF2B5EF4-FFF2-40B4-BE49-F238E27FC236}">
                  <a16:creationId xmlns:a16="http://schemas.microsoft.com/office/drawing/2014/main" id="{7E6A7C2A-0A54-0494-F82E-3700884D780C}"/>
                </a:ext>
              </a:extLst>
            </p:cNvPr>
            <p:cNvGrpSpPr/>
            <p:nvPr/>
          </p:nvGrpSpPr>
          <p:grpSpPr bwMode="gray">
            <a:xfrm>
              <a:off x="3181350" y="2609850"/>
              <a:ext cx="5825680" cy="1640014"/>
              <a:chOff x="3181350" y="2609850"/>
              <a:chExt cx="5825680" cy="1640014"/>
            </a:xfrm>
          </p:grpSpPr>
          <p:grpSp>
            <p:nvGrpSpPr>
              <p:cNvPr id="9364" name="Graphic 401">
                <a:extLst>
                  <a:ext uri="{FF2B5EF4-FFF2-40B4-BE49-F238E27FC236}">
                    <a16:creationId xmlns:a16="http://schemas.microsoft.com/office/drawing/2014/main" id="{7D7EB220-5DB2-CF6B-DF7A-2AB1E3199469}"/>
                  </a:ext>
                </a:extLst>
              </p:cNvPr>
              <p:cNvGrpSpPr/>
              <p:nvPr/>
            </p:nvGrpSpPr>
            <p:grpSpPr bwMode="gray">
              <a:xfrm>
                <a:off x="8931402" y="4174140"/>
                <a:ext cx="75628" cy="75723"/>
                <a:chOff x="8931402" y="4174140"/>
                <a:chExt cx="75628" cy="75723"/>
              </a:xfrm>
            </p:grpSpPr>
            <p:sp>
              <p:nvSpPr>
                <p:cNvPr id="9644" name="Freeform: Shape 9643">
                  <a:extLst>
                    <a:ext uri="{FF2B5EF4-FFF2-40B4-BE49-F238E27FC236}">
                      <a16:creationId xmlns:a16="http://schemas.microsoft.com/office/drawing/2014/main" id="{F8F1DAE6-E7E0-BEA9-CEB1-893B2CC89354}"/>
                    </a:ext>
                  </a:extLst>
                </p:cNvPr>
                <p:cNvSpPr/>
                <p:nvPr/>
              </p:nvSpPr>
              <p:spPr bwMode="gray">
                <a:xfrm>
                  <a:off x="8969216"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45" name="Freeform: Shape 9644">
                  <a:extLst>
                    <a:ext uri="{FF2B5EF4-FFF2-40B4-BE49-F238E27FC236}">
                      <a16:creationId xmlns:a16="http://schemas.microsoft.com/office/drawing/2014/main" id="{B2F2B078-95CE-6D5D-D285-AD1CF169B815}"/>
                    </a:ext>
                  </a:extLst>
                </p:cNvPr>
                <p:cNvSpPr/>
                <p:nvPr/>
              </p:nvSpPr>
              <p:spPr bwMode="gray">
                <a:xfrm>
                  <a:off x="8931402"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5" name="Graphic 401">
                <a:extLst>
                  <a:ext uri="{FF2B5EF4-FFF2-40B4-BE49-F238E27FC236}">
                    <a16:creationId xmlns:a16="http://schemas.microsoft.com/office/drawing/2014/main" id="{629C1E1F-D1C3-3B84-39EA-6FAF028F6EC5}"/>
                  </a:ext>
                </a:extLst>
              </p:cNvPr>
              <p:cNvGrpSpPr/>
              <p:nvPr/>
            </p:nvGrpSpPr>
            <p:grpSpPr bwMode="gray">
              <a:xfrm>
                <a:off x="8753856" y="4174140"/>
                <a:ext cx="75628" cy="75723"/>
                <a:chOff x="8753856" y="4174140"/>
                <a:chExt cx="75628" cy="75723"/>
              </a:xfrm>
            </p:grpSpPr>
            <p:sp>
              <p:nvSpPr>
                <p:cNvPr id="9642" name="Freeform: Shape 9641">
                  <a:extLst>
                    <a:ext uri="{FF2B5EF4-FFF2-40B4-BE49-F238E27FC236}">
                      <a16:creationId xmlns:a16="http://schemas.microsoft.com/office/drawing/2014/main" id="{3F91DC44-88B3-42AD-1477-BFDCAE36FBCF}"/>
                    </a:ext>
                  </a:extLst>
                </p:cNvPr>
                <p:cNvSpPr/>
                <p:nvPr/>
              </p:nvSpPr>
              <p:spPr bwMode="gray">
                <a:xfrm>
                  <a:off x="879167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43" name="Freeform: Shape 9642">
                  <a:extLst>
                    <a:ext uri="{FF2B5EF4-FFF2-40B4-BE49-F238E27FC236}">
                      <a16:creationId xmlns:a16="http://schemas.microsoft.com/office/drawing/2014/main" id="{2CCEEBF3-BEFE-FF96-12B9-DBC563FD0766}"/>
                    </a:ext>
                  </a:extLst>
                </p:cNvPr>
                <p:cNvSpPr/>
                <p:nvPr/>
              </p:nvSpPr>
              <p:spPr bwMode="gray">
                <a:xfrm>
                  <a:off x="8753856"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6" name="Graphic 401">
                <a:extLst>
                  <a:ext uri="{FF2B5EF4-FFF2-40B4-BE49-F238E27FC236}">
                    <a16:creationId xmlns:a16="http://schemas.microsoft.com/office/drawing/2014/main" id="{1D80C6A9-4352-4DD4-C16A-9996ADAE942D}"/>
                  </a:ext>
                </a:extLst>
              </p:cNvPr>
              <p:cNvGrpSpPr/>
              <p:nvPr/>
            </p:nvGrpSpPr>
            <p:grpSpPr bwMode="gray">
              <a:xfrm>
                <a:off x="8685085" y="4174140"/>
                <a:ext cx="75723" cy="75723"/>
                <a:chOff x="8685085" y="4174140"/>
                <a:chExt cx="75723" cy="75723"/>
              </a:xfrm>
            </p:grpSpPr>
            <p:sp>
              <p:nvSpPr>
                <p:cNvPr id="9640" name="Freeform: Shape 9639">
                  <a:extLst>
                    <a:ext uri="{FF2B5EF4-FFF2-40B4-BE49-F238E27FC236}">
                      <a16:creationId xmlns:a16="http://schemas.microsoft.com/office/drawing/2014/main" id="{438A145A-0E27-9779-59BE-E1E002581177}"/>
                    </a:ext>
                  </a:extLst>
                </p:cNvPr>
                <p:cNvSpPr/>
                <p:nvPr/>
              </p:nvSpPr>
              <p:spPr bwMode="gray">
                <a:xfrm>
                  <a:off x="8722995"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41" name="Freeform: Shape 9640">
                  <a:extLst>
                    <a:ext uri="{FF2B5EF4-FFF2-40B4-BE49-F238E27FC236}">
                      <a16:creationId xmlns:a16="http://schemas.microsoft.com/office/drawing/2014/main" id="{2B95B5FA-3D49-556E-0964-0102C1DFA9E5}"/>
                    </a:ext>
                  </a:extLst>
                </p:cNvPr>
                <p:cNvSpPr/>
                <p:nvPr/>
              </p:nvSpPr>
              <p:spPr bwMode="gray">
                <a:xfrm>
                  <a:off x="8685085"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7" name="Graphic 401">
                <a:extLst>
                  <a:ext uri="{FF2B5EF4-FFF2-40B4-BE49-F238E27FC236}">
                    <a16:creationId xmlns:a16="http://schemas.microsoft.com/office/drawing/2014/main" id="{489B68BB-0FA0-5A5E-FCDB-D8920C349605}"/>
                  </a:ext>
                </a:extLst>
              </p:cNvPr>
              <p:cNvGrpSpPr/>
              <p:nvPr/>
            </p:nvGrpSpPr>
            <p:grpSpPr bwMode="gray">
              <a:xfrm>
                <a:off x="8243125" y="4174140"/>
                <a:ext cx="75723" cy="75723"/>
                <a:chOff x="8243125" y="4174140"/>
                <a:chExt cx="75723" cy="75723"/>
              </a:xfrm>
            </p:grpSpPr>
            <p:sp>
              <p:nvSpPr>
                <p:cNvPr id="9638" name="Freeform: Shape 9637">
                  <a:extLst>
                    <a:ext uri="{FF2B5EF4-FFF2-40B4-BE49-F238E27FC236}">
                      <a16:creationId xmlns:a16="http://schemas.microsoft.com/office/drawing/2014/main" id="{9B7B1D23-F175-5BDD-3A16-23FA98D85CD9}"/>
                    </a:ext>
                  </a:extLst>
                </p:cNvPr>
                <p:cNvSpPr/>
                <p:nvPr/>
              </p:nvSpPr>
              <p:spPr bwMode="gray">
                <a:xfrm>
                  <a:off x="8280939"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39" name="Freeform: Shape 9638">
                  <a:extLst>
                    <a:ext uri="{FF2B5EF4-FFF2-40B4-BE49-F238E27FC236}">
                      <a16:creationId xmlns:a16="http://schemas.microsoft.com/office/drawing/2014/main" id="{E8CBDCDF-731B-928C-0DF3-DF44CCD399E7}"/>
                    </a:ext>
                  </a:extLst>
                </p:cNvPr>
                <p:cNvSpPr/>
                <p:nvPr/>
              </p:nvSpPr>
              <p:spPr bwMode="gray">
                <a:xfrm>
                  <a:off x="8243125"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8" name="Graphic 401">
                <a:extLst>
                  <a:ext uri="{FF2B5EF4-FFF2-40B4-BE49-F238E27FC236}">
                    <a16:creationId xmlns:a16="http://schemas.microsoft.com/office/drawing/2014/main" id="{45AC0C33-82BA-5EE7-2F3A-2B5747D5C8BA}"/>
                  </a:ext>
                </a:extLst>
              </p:cNvPr>
              <p:cNvGrpSpPr/>
              <p:nvPr/>
            </p:nvGrpSpPr>
            <p:grpSpPr bwMode="gray">
              <a:xfrm>
                <a:off x="8218836" y="4174140"/>
                <a:ext cx="75628" cy="75723"/>
                <a:chOff x="8218836" y="4174140"/>
                <a:chExt cx="75628" cy="75723"/>
              </a:xfrm>
            </p:grpSpPr>
            <p:sp>
              <p:nvSpPr>
                <p:cNvPr id="9636" name="Freeform: Shape 9635">
                  <a:extLst>
                    <a:ext uri="{FF2B5EF4-FFF2-40B4-BE49-F238E27FC236}">
                      <a16:creationId xmlns:a16="http://schemas.microsoft.com/office/drawing/2014/main" id="{892E7885-6DB2-1946-0D6C-32C0797901D4}"/>
                    </a:ext>
                  </a:extLst>
                </p:cNvPr>
                <p:cNvSpPr/>
                <p:nvPr/>
              </p:nvSpPr>
              <p:spPr bwMode="gray">
                <a:xfrm>
                  <a:off x="825665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37" name="Freeform: Shape 9636">
                  <a:extLst>
                    <a:ext uri="{FF2B5EF4-FFF2-40B4-BE49-F238E27FC236}">
                      <a16:creationId xmlns:a16="http://schemas.microsoft.com/office/drawing/2014/main" id="{F14FD120-0B36-E7C7-92B9-BA52D090FDA3}"/>
                    </a:ext>
                  </a:extLst>
                </p:cNvPr>
                <p:cNvSpPr/>
                <p:nvPr/>
              </p:nvSpPr>
              <p:spPr bwMode="gray">
                <a:xfrm>
                  <a:off x="8218836"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69" name="Graphic 401">
                <a:extLst>
                  <a:ext uri="{FF2B5EF4-FFF2-40B4-BE49-F238E27FC236}">
                    <a16:creationId xmlns:a16="http://schemas.microsoft.com/office/drawing/2014/main" id="{99A6697C-57E0-C28F-CF83-0C054C789348}"/>
                  </a:ext>
                </a:extLst>
              </p:cNvPr>
              <p:cNvGrpSpPr/>
              <p:nvPr/>
            </p:nvGrpSpPr>
            <p:grpSpPr bwMode="gray">
              <a:xfrm>
                <a:off x="8156829" y="4174140"/>
                <a:ext cx="75628" cy="75723"/>
                <a:chOff x="8156829" y="4174140"/>
                <a:chExt cx="75628" cy="75723"/>
              </a:xfrm>
            </p:grpSpPr>
            <p:sp>
              <p:nvSpPr>
                <p:cNvPr id="9634" name="Freeform: Shape 9633">
                  <a:extLst>
                    <a:ext uri="{FF2B5EF4-FFF2-40B4-BE49-F238E27FC236}">
                      <a16:creationId xmlns:a16="http://schemas.microsoft.com/office/drawing/2014/main" id="{EA38EECF-CCCB-93AB-8411-BCB916E85931}"/>
                    </a:ext>
                  </a:extLst>
                </p:cNvPr>
                <p:cNvSpPr/>
                <p:nvPr/>
              </p:nvSpPr>
              <p:spPr bwMode="gray">
                <a:xfrm>
                  <a:off x="8194643"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35" name="Freeform: Shape 9634">
                  <a:extLst>
                    <a:ext uri="{FF2B5EF4-FFF2-40B4-BE49-F238E27FC236}">
                      <a16:creationId xmlns:a16="http://schemas.microsoft.com/office/drawing/2014/main" id="{5618D989-1EB6-A5C3-8751-00B16DFB4F9D}"/>
                    </a:ext>
                  </a:extLst>
                </p:cNvPr>
                <p:cNvSpPr/>
                <p:nvPr/>
              </p:nvSpPr>
              <p:spPr bwMode="gray">
                <a:xfrm>
                  <a:off x="8156829"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0" name="Graphic 401">
                <a:extLst>
                  <a:ext uri="{FF2B5EF4-FFF2-40B4-BE49-F238E27FC236}">
                    <a16:creationId xmlns:a16="http://schemas.microsoft.com/office/drawing/2014/main" id="{4EDB3CA1-49E9-555F-27F6-6E23C051CF38}"/>
                  </a:ext>
                </a:extLst>
              </p:cNvPr>
              <p:cNvGrpSpPr/>
              <p:nvPr/>
            </p:nvGrpSpPr>
            <p:grpSpPr bwMode="gray">
              <a:xfrm>
                <a:off x="8089296" y="4174140"/>
                <a:ext cx="75723" cy="75723"/>
                <a:chOff x="8089296" y="4174140"/>
                <a:chExt cx="75723" cy="75723"/>
              </a:xfrm>
            </p:grpSpPr>
            <p:sp>
              <p:nvSpPr>
                <p:cNvPr id="9632" name="Freeform: Shape 9631">
                  <a:extLst>
                    <a:ext uri="{FF2B5EF4-FFF2-40B4-BE49-F238E27FC236}">
                      <a16:creationId xmlns:a16="http://schemas.microsoft.com/office/drawing/2014/main" id="{87E61544-53FE-210F-9069-3499357A54B1}"/>
                    </a:ext>
                  </a:extLst>
                </p:cNvPr>
                <p:cNvSpPr/>
                <p:nvPr/>
              </p:nvSpPr>
              <p:spPr bwMode="gray">
                <a:xfrm>
                  <a:off x="812711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33" name="Freeform: Shape 9632">
                  <a:extLst>
                    <a:ext uri="{FF2B5EF4-FFF2-40B4-BE49-F238E27FC236}">
                      <a16:creationId xmlns:a16="http://schemas.microsoft.com/office/drawing/2014/main" id="{8A763B4B-04DE-2753-88F8-DC7BEC6283C0}"/>
                    </a:ext>
                  </a:extLst>
                </p:cNvPr>
                <p:cNvSpPr/>
                <p:nvPr/>
              </p:nvSpPr>
              <p:spPr bwMode="gray">
                <a:xfrm>
                  <a:off x="8089296" y="4212050"/>
                  <a:ext cx="75723" cy="9525"/>
                </a:xfrm>
                <a:custGeom>
                  <a:avLst/>
                  <a:gdLst>
                    <a:gd name="connsiteX0" fmla="*/ 75723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3"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1" name="Graphic 401">
                <a:extLst>
                  <a:ext uri="{FF2B5EF4-FFF2-40B4-BE49-F238E27FC236}">
                    <a16:creationId xmlns:a16="http://schemas.microsoft.com/office/drawing/2014/main" id="{0FC63ED2-665F-EC6A-654F-8BA6950EB614}"/>
                  </a:ext>
                </a:extLst>
              </p:cNvPr>
              <p:cNvGrpSpPr/>
              <p:nvPr/>
            </p:nvGrpSpPr>
            <p:grpSpPr bwMode="gray">
              <a:xfrm>
                <a:off x="8057673" y="4174140"/>
                <a:ext cx="75723" cy="75723"/>
                <a:chOff x="8057673" y="4174140"/>
                <a:chExt cx="75723" cy="75723"/>
              </a:xfrm>
            </p:grpSpPr>
            <p:sp>
              <p:nvSpPr>
                <p:cNvPr id="9630" name="Freeform: Shape 9629">
                  <a:extLst>
                    <a:ext uri="{FF2B5EF4-FFF2-40B4-BE49-F238E27FC236}">
                      <a16:creationId xmlns:a16="http://schemas.microsoft.com/office/drawing/2014/main" id="{CACA5291-4242-89C2-63DB-4889184B4629}"/>
                    </a:ext>
                  </a:extLst>
                </p:cNvPr>
                <p:cNvSpPr/>
                <p:nvPr/>
              </p:nvSpPr>
              <p:spPr bwMode="gray">
                <a:xfrm>
                  <a:off x="8095583"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31" name="Freeform: Shape 9630">
                  <a:extLst>
                    <a:ext uri="{FF2B5EF4-FFF2-40B4-BE49-F238E27FC236}">
                      <a16:creationId xmlns:a16="http://schemas.microsoft.com/office/drawing/2014/main" id="{79484647-B8AA-7929-534B-F8253C30302F}"/>
                    </a:ext>
                  </a:extLst>
                </p:cNvPr>
                <p:cNvSpPr/>
                <p:nvPr/>
              </p:nvSpPr>
              <p:spPr bwMode="gray">
                <a:xfrm>
                  <a:off x="8057673"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2" name="Graphic 401">
                <a:extLst>
                  <a:ext uri="{FF2B5EF4-FFF2-40B4-BE49-F238E27FC236}">
                    <a16:creationId xmlns:a16="http://schemas.microsoft.com/office/drawing/2014/main" id="{46752045-3911-2B1F-1FEA-6D18C3C0350D}"/>
                  </a:ext>
                </a:extLst>
              </p:cNvPr>
              <p:cNvGrpSpPr/>
              <p:nvPr/>
            </p:nvGrpSpPr>
            <p:grpSpPr bwMode="gray">
              <a:xfrm>
                <a:off x="7824882" y="4174140"/>
                <a:ext cx="75628" cy="75723"/>
                <a:chOff x="7824882" y="4174140"/>
                <a:chExt cx="75628" cy="75723"/>
              </a:xfrm>
            </p:grpSpPr>
            <p:sp>
              <p:nvSpPr>
                <p:cNvPr id="9628" name="Freeform: Shape 9627">
                  <a:extLst>
                    <a:ext uri="{FF2B5EF4-FFF2-40B4-BE49-F238E27FC236}">
                      <a16:creationId xmlns:a16="http://schemas.microsoft.com/office/drawing/2014/main" id="{18C8DECE-8EF7-2BD2-C922-49873B9216D7}"/>
                    </a:ext>
                  </a:extLst>
                </p:cNvPr>
                <p:cNvSpPr/>
                <p:nvPr/>
              </p:nvSpPr>
              <p:spPr bwMode="gray">
                <a:xfrm>
                  <a:off x="7862697"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29" name="Freeform: Shape 9628">
                  <a:extLst>
                    <a:ext uri="{FF2B5EF4-FFF2-40B4-BE49-F238E27FC236}">
                      <a16:creationId xmlns:a16="http://schemas.microsoft.com/office/drawing/2014/main" id="{3E95C43B-FD2C-AE8D-9465-EEC1A1928820}"/>
                    </a:ext>
                  </a:extLst>
                </p:cNvPr>
                <p:cNvSpPr/>
                <p:nvPr/>
              </p:nvSpPr>
              <p:spPr bwMode="gray">
                <a:xfrm>
                  <a:off x="7824882" y="4212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3" name="Graphic 401">
                <a:extLst>
                  <a:ext uri="{FF2B5EF4-FFF2-40B4-BE49-F238E27FC236}">
                    <a16:creationId xmlns:a16="http://schemas.microsoft.com/office/drawing/2014/main" id="{B7915EFA-5C08-4620-D661-73922F3CD1E2}"/>
                  </a:ext>
                </a:extLst>
              </p:cNvPr>
              <p:cNvGrpSpPr/>
              <p:nvPr/>
            </p:nvGrpSpPr>
            <p:grpSpPr bwMode="gray">
              <a:xfrm>
                <a:off x="7730013" y="4174140"/>
                <a:ext cx="75628" cy="75723"/>
                <a:chOff x="7730013" y="4174140"/>
                <a:chExt cx="75628" cy="75723"/>
              </a:xfrm>
            </p:grpSpPr>
            <p:sp>
              <p:nvSpPr>
                <p:cNvPr id="9626" name="Freeform: Shape 9625">
                  <a:extLst>
                    <a:ext uri="{FF2B5EF4-FFF2-40B4-BE49-F238E27FC236}">
                      <a16:creationId xmlns:a16="http://schemas.microsoft.com/office/drawing/2014/main" id="{A377275B-7CF2-D464-83A8-848550F81F9B}"/>
                    </a:ext>
                  </a:extLst>
                </p:cNvPr>
                <p:cNvSpPr/>
                <p:nvPr/>
              </p:nvSpPr>
              <p:spPr bwMode="gray">
                <a:xfrm>
                  <a:off x="7767828"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27" name="Freeform: Shape 9626">
                  <a:extLst>
                    <a:ext uri="{FF2B5EF4-FFF2-40B4-BE49-F238E27FC236}">
                      <a16:creationId xmlns:a16="http://schemas.microsoft.com/office/drawing/2014/main" id="{7BECD4E4-BB25-2843-CD2E-92F99E349A40}"/>
                    </a:ext>
                  </a:extLst>
                </p:cNvPr>
                <p:cNvSpPr/>
                <p:nvPr/>
              </p:nvSpPr>
              <p:spPr bwMode="gray">
                <a:xfrm>
                  <a:off x="7730013"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4" name="Graphic 401">
                <a:extLst>
                  <a:ext uri="{FF2B5EF4-FFF2-40B4-BE49-F238E27FC236}">
                    <a16:creationId xmlns:a16="http://schemas.microsoft.com/office/drawing/2014/main" id="{E8DB705D-1B10-5A26-E91D-0EC2FEBCA38B}"/>
                  </a:ext>
                </a:extLst>
              </p:cNvPr>
              <p:cNvGrpSpPr/>
              <p:nvPr/>
            </p:nvGrpSpPr>
            <p:grpSpPr bwMode="gray">
              <a:xfrm>
                <a:off x="7645527" y="4174140"/>
                <a:ext cx="75628" cy="75723"/>
                <a:chOff x="7645527" y="4174140"/>
                <a:chExt cx="75628" cy="75723"/>
              </a:xfrm>
            </p:grpSpPr>
            <p:sp>
              <p:nvSpPr>
                <p:cNvPr id="9624" name="Freeform: Shape 9623">
                  <a:extLst>
                    <a:ext uri="{FF2B5EF4-FFF2-40B4-BE49-F238E27FC236}">
                      <a16:creationId xmlns:a16="http://schemas.microsoft.com/office/drawing/2014/main" id="{51FAE7C0-CE69-484E-274B-43AD632182A4}"/>
                    </a:ext>
                  </a:extLst>
                </p:cNvPr>
                <p:cNvSpPr/>
                <p:nvPr/>
              </p:nvSpPr>
              <p:spPr bwMode="gray">
                <a:xfrm>
                  <a:off x="768334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25" name="Freeform: Shape 9624">
                  <a:extLst>
                    <a:ext uri="{FF2B5EF4-FFF2-40B4-BE49-F238E27FC236}">
                      <a16:creationId xmlns:a16="http://schemas.microsoft.com/office/drawing/2014/main" id="{1B993B3D-64BC-2893-07C2-DBD2DF882735}"/>
                    </a:ext>
                  </a:extLst>
                </p:cNvPr>
                <p:cNvSpPr/>
                <p:nvPr/>
              </p:nvSpPr>
              <p:spPr bwMode="gray">
                <a:xfrm>
                  <a:off x="7645527"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5" name="Graphic 401">
                <a:extLst>
                  <a:ext uri="{FF2B5EF4-FFF2-40B4-BE49-F238E27FC236}">
                    <a16:creationId xmlns:a16="http://schemas.microsoft.com/office/drawing/2014/main" id="{71D40C0F-04A1-4DCC-CCEE-3C321B4F9005}"/>
                  </a:ext>
                </a:extLst>
              </p:cNvPr>
              <p:cNvGrpSpPr/>
              <p:nvPr/>
            </p:nvGrpSpPr>
            <p:grpSpPr bwMode="gray">
              <a:xfrm>
                <a:off x="7626000" y="4174140"/>
                <a:ext cx="75723" cy="75723"/>
                <a:chOff x="7626000" y="4174140"/>
                <a:chExt cx="75723" cy="75723"/>
              </a:xfrm>
            </p:grpSpPr>
            <p:sp>
              <p:nvSpPr>
                <p:cNvPr id="9622" name="Freeform: Shape 9621">
                  <a:extLst>
                    <a:ext uri="{FF2B5EF4-FFF2-40B4-BE49-F238E27FC236}">
                      <a16:creationId xmlns:a16="http://schemas.microsoft.com/office/drawing/2014/main" id="{E46D159A-97A2-A731-4CE1-60532A4029E7}"/>
                    </a:ext>
                  </a:extLst>
                </p:cNvPr>
                <p:cNvSpPr/>
                <p:nvPr/>
              </p:nvSpPr>
              <p:spPr bwMode="gray">
                <a:xfrm>
                  <a:off x="766391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23" name="Freeform: Shape 9622">
                  <a:extLst>
                    <a:ext uri="{FF2B5EF4-FFF2-40B4-BE49-F238E27FC236}">
                      <a16:creationId xmlns:a16="http://schemas.microsoft.com/office/drawing/2014/main" id="{29FC9350-E814-EC5E-D414-E8F00E78E50F}"/>
                    </a:ext>
                  </a:extLst>
                </p:cNvPr>
                <p:cNvSpPr/>
                <p:nvPr/>
              </p:nvSpPr>
              <p:spPr bwMode="gray">
                <a:xfrm>
                  <a:off x="7626000"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6" name="Graphic 401">
                <a:extLst>
                  <a:ext uri="{FF2B5EF4-FFF2-40B4-BE49-F238E27FC236}">
                    <a16:creationId xmlns:a16="http://schemas.microsoft.com/office/drawing/2014/main" id="{5589A2BD-6BE9-5A60-B469-36866B1A8960}"/>
                  </a:ext>
                </a:extLst>
              </p:cNvPr>
              <p:cNvGrpSpPr/>
              <p:nvPr/>
            </p:nvGrpSpPr>
            <p:grpSpPr bwMode="gray">
              <a:xfrm>
                <a:off x="7534846" y="4174140"/>
                <a:ext cx="75723" cy="75723"/>
                <a:chOff x="7534846" y="4174140"/>
                <a:chExt cx="75723" cy="75723"/>
              </a:xfrm>
            </p:grpSpPr>
            <p:sp>
              <p:nvSpPr>
                <p:cNvPr id="9620" name="Freeform: Shape 9619">
                  <a:extLst>
                    <a:ext uri="{FF2B5EF4-FFF2-40B4-BE49-F238E27FC236}">
                      <a16:creationId xmlns:a16="http://schemas.microsoft.com/office/drawing/2014/main" id="{424DDE02-FFE7-4B94-BB6E-7E7FFD245A51}"/>
                    </a:ext>
                  </a:extLst>
                </p:cNvPr>
                <p:cNvSpPr/>
                <p:nvPr/>
              </p:nvSpPr>
              <p:spPr bwMode="gray">
                <a:xfrm>
                  <a:off x="7572660"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21" name="Freeform: Shape 9620">
                  <a:extLst>
                    <a:ext uri="{FF2B5EF4-FFF2-40B4-BE49-F238E27FC236}">
                      <a16:creationId xmlns:a16="http://schemas.microsoft.com/office/drawing/2014/main" id="{0326ED7B-2199-58A1-195D-15792F8C878F}"/>
                    </a:ext>
                  </a:extLst>
                </p:cNvPr>
                <p:cNvSpPr/>
                <p:nvPr/>
              </p:nvSpPr>
              <p:spPr bwMode="gray">
                <a:xfrm>
                  <a:off x="7534846"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7" name="Graphic 401">
                <a:extLst>
                  <a:ext uri="{FF2B5EF4-FFF2-40B4-BE49-F238E27FC236}">
                    <a16:creationId xmlns:a16="http://schemas.microsoft.com/office/drawing/2014/main" id="{7B2687E2-438D-394F-741A-A9FA874931AB}"/>
                  </a:ext>
                </a:extLst>
              </p:cNvPr>
              <p:cNvGrpSpPr/>
              <p:nvPr/>
            </p:nvGrpSpPr>
            <p:grpSpPr bwMode="gray">
              <a:xfrm>
                <a:off x="7520844" y="4174140"/>
                <a:ext cx="75723" cy="75723"/>
                <a:chOff x="7520844" y="4174140"/>
                <a:chExt cx="75723" cy="75723"/>
              </a:xfrm>
            </p:grpSpPr>
            <p:sp>
              <p:nvSpPr>
                <p:cNvPr id="9618" name="Freeform: Shape 9617">
                  <a:extLst>
                    <a:ext uri="{FF2B5EF4-FFF2-40B4-BE49-F238E27FC236}">
                      <a16:creationId xmlns:a16="http://schemas.microsoft.com/office/drawing/2014/main" id="{C398B241-3DA7-239B-5F51-69CDDB8A3E80}"/>
                    </a:ext>
                  </a:extLst>
                </p:cNvPr>
                <p:cNvSpPr/>
                <p:nvPr/>
              </p:nvSpPr>
              <p:spPr bwMode="gray">
                <a:xfrm>
                  <a:off x="7558659"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19" name="Freeform: Shape 9618">
                  <a:extLst>
                    <a:ext uri="{FF2B5EF4-FFF2-40B4-BE49-F238E27FC236}">
                      <a16:creationId xmlns:a16="http://schemas.microsoft.com/office/drawing/2014/main" id="{97525E2C-089E-99AA-9635-710AAAD1CB8E}"/>
                    </a:ext>
                  </a:extLst>
                </p:cNvPr>
                <p:cNvSpPr/>
                <p:nvPr/>
              </p:nvSpPr>
              <p:spPr bwMode="gray">
                <a:xfrm>
                  <a:off x="7520844"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8" name="Graphic 401">
                <a:extLst>
                  <a:ext uri="{FF2B5EF4-FFF2-40B4-BE49-F238E27FC236}">
                    <a16:creationId xmlns:a16="http://schemas.microsoft.com/office/drawing/2014/main" id="{62426D8F-0DD4-7D05-1174-918F44D72D8D}"/>
                  </a:ext>
                </a:extLst>
              </p:cNvPr>
              <p:cNvGrpSpPr/>
              <p:nvPr/>
            </p:nvGrpSpPr>
            <p:grpSpPr bwMode="gray">
              <a:xfrm>
                <a:off x="7497032" y="4174140"/>
                <a:ext cx="75628" cy="75723"/>
                <a:chOff x="7497032" y="4174140"/>
                <a:chExt cx="75628" cy="75723"/>
              </a:xfrm>
            </p:grpSpPr>
            <p:sp>
              <p:nvSpPr>
                <p:cNvPr id="9616" name="Freeform: Shape 9615">
                  <a:extLst>
                    <a:ext uri="{FF2B5EF4-FFF2-40B4-BE49-F238E27FC236}">
                      <a16:creationId xmlns:a16="http://schemas.microsoft.com/office/drawing/2014/main" id="{22DAD843-C6F9-1190-8035-5C9ED0C62D15}"/>
                    </a:ext>
                  </a:extLst>
                </p:cNvPr>
                <p:cNvSpPr/>
                <p:nvPr/>
              </p:nvSpPr>
              <p:spPr bwMode="gray">
                <a:xfrm>
                  <a:off x="7534846"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17" name="Freeform: Shape 9616">
                  <a:extLst>
                    <a:ext uri="{FF2B5EF4-FFF2-40B4-BE49-F238E27FC236}">
                      <a16:creationId xmlns:a16="http://schemas.microsoft.com/office/drawing/2014/main" id="{894964C1-40C9-1B76-21DA-257A2C8D0691}"/>
                    </a:ext>
                  </a:extLst>
                </p:cNvPr>
                <p:cNvSpPr/>
                <p:nvPr/>
              </p:nvSpPr>
              <p:spPr bwMode="gray">
                <a:xfrm>
                  <a:off x="7497032" y="421205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79" name="Graphic 401">
                <a:extLst>
                  <a:ext uri="{FF2B5EF4-FFF2-40B4-BE49-F238E27FC236}">
                    <a16:creationId xmlns:a16="http://schemas.microsoft.com/office/drawing/2014/main" id="{4EEEC018-C812-F233-4297-5B4D1D1A0529}"/>
                  </a:ext>
                </a:extLst>
              </p:cNvPr>
              <p:cNvGrpSpPr/>
              <p:nvPr/>
            </p:nvGrpSpPr>
            <p:grpSpPr bwMode="gray">
              <a:xfrm>
                <a:off x="7439977" y="4174140"/>
                <a:ext cx="75723" cy="75723"/>
                <a:chOff x="7439977" y="4174140"/>
                <a:chExt cx="75723" cy="75723"/>
              </a:xfrm>
            </p:grpSpPr>
            <p:sp>
              <p:nvSpPr>
                <p:cNvPr id="9614" name="Freeform: Shape 9613">
                  <a:extLst>
                    <a:ext uri="{FF2B5EF4-FFF2-40B4-BE49-F238E27FC236}">
                      <a16:creationId xmlns:a16="http://schemas.microsoft.com/office/drawing/2014/main" id="{CAA4CBB0-757A-F00E-321C-946E4D540A96}"/>
                    </a:ext>
                  </a:extLst>
                </p:cNvPr>
                <p:cNvSpPr/>
                <p:nvPr/>
              </p:nvSpPr>
              <p:spPr bwMode="gray">
                <a:xfrm>
                  <a:off x="7477791"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15" name="Freeform: Shape 9614">
                  <a:extLst>
                    <a:ext uri="{FF2B5EF4-FFF2-40B4-BE49-F238E27FC236}">
                      <a16:creationId xmlns:a16="http://schemas.microsoft.com/office/drawing/2014/main" id="{4933D36D-D531-2352-AD71-03A62C12C9C0}"/>
                    </a:ext>
                  </a:extLst>
                </p:cNvPr>
                <p:cNvSpPr/>
                <p:nvPr/>
              </p:nvSpPr>
              <p:spPr bwMode="gray">
                <a:xfrm>
                  <a:off x="7439977" y="421205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0" name="Graphic 401">
                <a:extLst>
                  <a:ext uri="{FF2B5EF4-FFF2-40B4-BE49-F238E27FC236}">
                    <a16:creationId xmlns:a16="http://schemas.microsoft.com/office/drawing/2014/main" id="{79D81038-9B35-DD58-90A8-346E2E31421C}"/>
                  </a:ext>
                </a:extLst>
              </p:cNvPr>
              <p:cNvGrpSpPr/>
              <p:nvPr/>
            </p:nvGrpSpPr>
            <p:grpSpPr bwMode="gray">
              <a:xfrm>
                <a:off x="7402163" y="4174140"/>
                <a:ext cx="75628" cy="75723"/>
                <a:chOff x="7402163" y="4174140"/>
                <a:chExt cx="75628" cy="75723"/>
              </a:xfrm>
            </p:grpSpPr>
            <p:sp>
              <p:nvSpPr>
                <p:cNvPr id="9612" name="Freeform: Shape 9611">
                  <a:extLst>
                    <a:ext uri="{FF2B5EF4-FFF2-40B4-BE49-F238E27FC236}">
                      <a16:creationId xmlns:a16="http://schemas.microsoft.com/office/drawing/2014/main" id="{7B2331D5-4366-B66D-942B-CF0ECA71EDA9}"/>
                    </a:ext>
                  </a:extLst>
                </p:cNvPr>
                <p:cNvSpPr/>
                <p:nvPr/>
              </p:nvSpPr>
              <p:spPr bwMode="gray">
                <a:xfrm>
                  <a:off x="7439977" y="417414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13" name="Freeform: Shape 9612">
                  <a:extLst>
                    <a:ext uri="{FF2B5EF4-FFF2-40B4-BE49-F238E27FC236}">
                      <a16:creationId xmlns:a16="http://schemas.microsoft.com/office/drawing/2014/main" id="{01599031-BB14-6838-BD52-B940347A9EA1}"/>
                    </a:ext>
                  </a:extLst>
                </p:cNvPr>
                <p:cNvSpPr/>
                <p:nvPr/>
              </p:nvSpPr>
              <p:spPr bwMode="gray">
                <a:xfrm>
                  <a:off x="7402163" y="4212050"/>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1" name="Graphic 401">
                <a:extLst>
                  <a:ext uri="{FF2B5EF4-FFF2-40B4-BE49-F238E27FC236}">
                    <a16:creationId xmlns:a16="http://schemas.microsoft.com/office/drawing/2014/main" id="{FFCBA4EF-79DF-FEB8-34CE-559D5C8678C3}"/>
                  </a:ext>
                </a:extLst>
              </p:cNvPr>
              <p:cNvGrpSpPr/>
              <p:nvPr/>
            </p:nvGrpSpPr>
            <p:grpSpPr bwMode="gray">
              <a:xfrm>
                <a:off x="7364253" y="4067365"/>
                <a:ext cx="75723" cy="75723"/>
                <a:chOff x="7364253" y="4067365"/>
                <a:chExt cx="75723" cy="75723"/>
              </a:xfrm>
            </p:grpSpPr>
            <p:sp>
              <p:nvSpPr>
                <p:cNvPr id="9610" name="Freeform: Shape 9609">
                  <a:extLst>
                    <a:ext uri="{FF2B5EF4-FFF2-40B4-BE49-F238E27FC236}">
                      <a16:creationId xmlns:a16="http://schemas.microsoft.com/office/drawing/2014/main" id="{99B0DA68-50C2-BC10-1847-ACAD6DAD55E5}"/>
                    </a:ext>
                  </a:extLst>
                </p:cNvPr>
                <p:cNvSpPr/>
                <p:nvPr/>
              </p:nvSpPr>
              <p:spPr bwMode="gray">
                <a:xfrm>
                  <a:off x="7402163"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11" name="Freeform: Shape 9610">
                  <a:extLst>
                    <a:ext uri="{FF2B5EF4-FFF2-40B4-BE49-F238E27FC236}">
                      <a16:creationId xmlns:a16="http://schemas.microsoft.com/office/drawing/2014/main" id="{22F1DEF9-765B-40F6-612A-49D41E898E55}"/>
                    </a:ext>
                  </a:extLst>
                </p:cNvPr>
                <p:cNvSpPr/>
                <p:nvPr/>
              </p:nvSpPr>
              <p:spPr bwMode="gray">
                <a:xfrm>
                  <a:off x="7364253"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2" name="Graphic 401">
                <a:extLst>
                  <a:ext uri="{FF2B5EF4-FFF2-40B4-BE49-F238E27FC236}">
                    <a16:creationId xmlns:a16="http://schemas.microsoft.com/office/drawing/2014/main" id="{ED80E09C-7D25-0455-6C8D-72E926080F94}"/>
                  </a:ext>
                </a:extLst>
              </p:cNvPr>
              <p:cNvGrpSpPr/>
              <p:nvPr/>
            </p:nvGrpSpPr>
            <p:grpSpPr bwMode="gray">
              <a:xfrm>
                <a:off x="7306246" y="4067365"/>
                <a:ext cx="75723" cy="75723"/>
                <a:chOff x="7306246" y="4067365"/>
                <a:chExt cx="75723" cy="75723"/>
              </a:xfrm>
            </p:grpSpPr>
            <p:sp>
              <p:nvSpPr>
                <p:cNvPr id="9608" name="Freeform: Shape 9607">
                  <a:extLst>
                    <a:ext uri="{FF2B5EF4-FFF2-40B4-BE49-F238E27FC236}">
                      <a16:creationId xmlns:a16="http://schemas.microsoft.com/office/drawing/2014/main" id="{69C0B5F4-CF43-F7A3-4BC2-84F0B84F3540}"/>
                    </a:ext>
                  </a:extLst>
                </p:cNvPr>
                <p:cNvSpPr/>
                <p:nvPr/>
              </p:nvSpPr>
              <p:spPr bwMode="gray">
                <a:xfrm>
                  <a:off x="7344060"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09" name="Freeform: Shape 9608">
                  <a:extLst>
                    <a:ext uri="{FF2B5EF4-FFF2-40B4-BE49-F238E27FC236}">
                      <a16:creationId xmlns:a16="http://schemas.microsoft.com/office/drawing/2014/main" id="{822B4E78-D590-D36A-360A-0A9587D5C28D}"/>
                    </a:ext>
                  </a:extLst>
                </p:cNvPr>
                <p:cNvSpPr/>
                <p:nvPr/>
              </p:nvSpPr>
              <p:spPr bwMode="gray">
                <a:xfrm>
                  <a:off x="7306246"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3" name="Graphic 401">
                <a:extLst>
                  <a:ext uri="{FF2B5EF4-FFF2-40B4-BE49-F238E27FC236}">
                    <a16:creationId xmlns:a16="http://schemas.microsoft.com/office/drawing/2014/main" id="{F6217743-4198-AD08-36C6-7A2E7E44270A}"/>
                  </a:ext>
                </a:extLst>
              </p:cNvPr>
              <p:cNvGrpSpPr/>
              <p:nvPr/>
            </p:nvGrpSpPr>
            <p:grpSpPr bwMode="gray">
              <a:xfrm>
                <a:off x="7246239" y="4067365"/>
                <a:ext cx="75723" cy="75723"/>
                <a:chOff x="7246239" y="4067365"/>
                <a:chExt cx="75723" cy="75723"/>
              </a:xfrm>
            </p:grpSpPr>
            <p:sp>
              <p:nvSpPr>
                <p:cNvPr id="9606" name="Freeform: Shape 9605">
                  <a:extLst>
                    <a:ext uri="{FF2B5EF4-FFF2-40B4-BE49-F238E27FC236}">
                      <a16:creationId xmlns:a16="http://schemas.microsoft.com/office/drawing/2014/main" id="{AE4E781C-FEDC-8D32-2CD3-23FA1AD96F74}"/>
                    </a:ext>
                  </a:extLst>
                </p:cNvPr>
                <p:cNvSpPr/>
                <p:nvPr/>
              </p:nvSpPr>
              <p:spPr bwMode="gray">
                <a:xfrm>
                  <a:off x="7284053"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07" name="Freeform: Shape 9606">
                  <a:extLst>
                    <a:ext uri="{FF2B5EF4-FFF2-40B4-BE49-F238E27FC236}">
                      <a16:creationId xmlns:a16="http://schemas.microsoft.com/office/drawing/2014/main" id="{8F3C37EB-8849-64A9-A81E-19B3722CCB65}"/>
                    </a:ext>
                  </a:extLst>
                </p:cNvPr>
                <p:cNvSpPr/>
                <p:nvPr/>
              </p:nvSpPr>
              <p:spPr bwMode="gray">
                <a:xfrm>
                  <a:off x="7246239"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4" name="Graphic 401">
                <a:extLst>
                  <a:ext uri="{FF2B5EF4-FFF2-40B4-BE49-F238E27FC236}">
                    <a16:creationId xmlns:a16="http://schemas.microsoft.com/office/drawing/2014/main" id="{F0860DAB-5F3E-733C-1956-41FBE566EA46}"/>
                  </a:ext>
                </a:extLst>
              </p:cNvPr>
              <p:cNvGrpSpPr/>
              <p:nvPr/>
            </p:nvGrpSpPr>
            <p:grpSpPr bwMode="gray">
              <a:xfrm>
                <a:off x="7234047" y="4067365"/>
                <a:ext cx="75723" cy="75723"/>
                <a:chOff x="7234047" y="4067365"/>
                <a:chExt cx="75723" cy="75723"/>
              </a:xfrm>
            </p:grpSpPr>
            <p:sp>
              <p:nvSpPr>
                <p:cNvPr id="9604" name="Freeform: Shape 9603">
                  <a:extLst>
                    <a:ext uri="{FF2B5EF4-FFF2-40B4-BE49-F238E27FC236}">
                      <a16:creationId xmlns:a16="http://schemas.microsoft.com/office/drawing/2014/main" id="{4F60A540-25BC-DC7E-BAEE-2DCED7FBC809}"/>
                    </a:ext>
                  </a:extLst>
                </p:cNvPr>
                <p:cNvSpPr/>
                <p:nvPr/>
              </p:nvSpPr>
              <p:spPr bwMode="gray">
                <a:xfrm>
                  <a:off x="7271956" y="406736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05" name="Freeform: Shape 9604">
                  <a:extLst>
                    <a:ext uri="{FF2B5EF4-FFF2-40B4-BE49-F238E27FC236}">
                      <a16:creationId xmlns:a16="http://schemas.microsoft.com/office/drawing/2014/main" id="{7F744C20-1FFF-EE10-A1C1-4B1D9667954E}"/>
                    </a:ext>
                  </a:extLst>
                </p:cNvPr>
                <p:cNvSpPr/>
                <p:nvPr/>
              </p:nvSpPr>
              <p:spPr bwMode="gray">
                <a:xfrm>
                  <a:off x="7234047" y="410517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5" name="Graphic 401">
                <a:extLst>
                  <a:ext uri="{FF2B5EF4-FFF2-40B4-BE49-F238E27FC236}">
                    <a16:creationId xmlns:a16="http://schemas.microsoft.com/office/drawing/2014/main" id="{3BF1F425-F6F2-55AF-3D18-C22F2D1E4970}"/>
                  </a:ext>
                </a:extLst>
              </p:cNvPr>
              <p:cNvGrpSpPr/>
              <p:nvPr/>
            </p:nvGrpSpPr>
            <p:grpSpPr bwMode="gray">
              <a:xfrm>
                <a:off x="7168134" y="3993832"/>
                <a:ext cx="75723" cy="75628"/>
                <a:chOff x="7168134" y="3993832"/>
                <a:chExt cx="75723" cy="75628"/>
              </a:xfrm>
            </p:grpSpPr>
            <p:sp>
              <p:nvSpPr>
                <p:cNvPr id="9602" name="Freeform: Shape 9601">
                  <a:extLst>
                    <a:ext uri="{FF2B5EF4-FFF2-40B4-BE49-F238E27FC236}">
                      <a16:creationId xmlns:a16="http://schemas.microsoft.com/office/drawing/2014/main" id="{730EA138-7930-3254-A412-7EC485385FAB}"/>
                    </a:ext>
                  </a:extLst>
                </p:cNvPr>
                <p:cNvSpPr/>
                <p:nvPr/>
              </p:nvSpPr>
              <p:spPr bwMode="gray">
                <a:xfrm>
                  <a:off x="720594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03" name="Freeform: Shape 9602">
                  <a:extLst>
                    <a:ext uri="{FF2B5EF4-FFF2-40B4-BE49-F238E27FC236}">
                      <a16:creationId xmlns:a16="http://schemas.microsoft.com/office/drawing/2014/main" id="{084E3550-18A7-A9B2-A0B0-51C3C8CBAE5D}"/>
                    </a:ext>
                  </a:extLst>
                </p:cNvPr>
                <p:cNvSpPr/>
                <p:nvPr/>
              </p:nvSpPr>
              <p:spPr bwMode="gray">
                <a:xfrm>
                  <a:off x="716813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6" name="Graphic 401">
                <a:extLst>
                  <a:ext uri="{FF2B5EF4-FFF2-40B4-BE49-F238E27FC236}">
                    <a16:creationId xmlns:a16="http://schemas.microsoft.com/office/drawing/2014/main" id="{0A58301A-AD43-9A2B-AFC9-6C324848046D}"/>
                  </a:ext>
                </a:extLst>
              </p:cNvPr>
              <p:cNvGrpSpPr/>
              <p:nvPr/>
            </p:nvGrpSpPr>
            <p:grpSpPr bwMode="gray">
              <a:xfrm>
                <a:off x="7103364" y="3993832"/>
                <a:ext cx="75723" cy="75628"/>
                <a:chOff x="7103364" y="3993832"/>
                <a:chExt cx="75723" cy="75628"/>
              </a:xfrm>
            </p:grpSpPr>
            <p:sp>
              <p:nvSpPr>
                <p:cNvPr id="9600" name="Freeform: Shape 9599">
                  <a:extLst>
                    <a:ext uri="{FF2B5EF4-FFF2-40B4-BE49-F238E27FC236}">
                      <a16:creationId xmlns:a16="http://schemas.microsoft.com/office/drawing/2014/main" id="{DCDE80CE-6F93-F5EE-5CEB-77EC244CFBCB}"/>
                    </a:ext>
                  </a:extLst>
                </p:cNvPr>
                <p:cNvSpPr/>
                <p:nvPr/>
              </p:nvSpPr>
              <p:spPr bwMode="gray">
                <a:xfrm>
                  <a:off x="714117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01" name="Freeform: Shape 9600">
                  <a:extLst>
                    <a:ext uri="{FF2B5EF4-FFF2-40B4-BE49-F238E27FC236}">
                      <a16:creationId xmlns:a16="http://schemas.microsoft.com/office/drawing/2014/main" id="{2768185F-6DA1-C2F8-CC00-B9D27C92572F}"/>
                    </a:ext>
                  </a:extLst>
                </p:cNvPr>
                <p:cNvSpPr/>
                <p:nvPr/>
              </p:nvSpPr>
              <p:spPr bwMode="gray">
                <a:xfrm>
                  <a:off x="710336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7" name="Graphic 401">
                <a:extLst>
                  <a:ext uri="{FF2B5EF4-FFF2-40B4-BE49-F238E27FC236}">
                    <a16:creationId xmlns:a16="http://schemas.microsoft.com/office/drawing/2014/main" id="{20A6CA6F-3BF6-27AB-F20B-1336E4A08ED7}"/>
                  </a:ext>
                </a:extLst>
              </p:cNvPr>
              <p:cNvGrpSpPr/>
              <p:nvPr/>
            </p:nvGrpSpPr>
            <p:grpSpPr bwMode="gray">
              <a:xfrm>
                <a:off x="7056882" y="3993832"/>
                <a:ext cx="75628" cy="75628"/>
                <a:chOff x="7056882" y="3993832"/>
                <a:chExt cx="75628" cy="75628"/>
              </a:xfrm>
            </p:grpSpPr>
            <p:sp>
              <p:nvSpPr>
                <p:cNvPr id="9598" name="Freeform: Shape 9597">
                  <a:extLst>
                    <a:ext uri="{FF2B5EF4-FFF2-40B4-BE49-F238E27FC236}">
                      <a16:creationId xmlns:a16="http://schemas.microsoft.com/office/drawing/2014/main" id="{04456BBF-00D0-C8F2-F48A-B3C5C929D5F5}"/>
                    </a:ext>
                  </a:extLst>
                </p:cNvPr>
                <p:cNvSpPr/>
                <p:nvPr/>
              </p:nvSpPr>
              <p:spPr bwMode="gray">
                <a:xfrm>
                  <a:off x="7094696"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99" name="Freeform: Shape 9598">
                  <a:extLst>
                    <a:ext uri="{FF2B5EF4-FFF2-40B4-BE49-F238E27FC236}">
                      <a16:creationId xmlns:a16="http://schemas.microsoft.com/office/drawing/2014/main" id="{1FA72C18-22B5-C4D9-CC9C-AC6CAC758546}"/>
                    </a:ext>
                  </a:extLst>
                </p:cNvPr>
                <p:cNvSpPr/>
                <p:nvPr/>
              </p:nvSpPr>
              <p:spPr bwMode="gray">
                <a:xfrm>
                  <a:off x="7056882" y="40316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8" name="Graphic 401">
                <a:extLst>
                  <a:ext uri="{FF2B5EF4-FFF2-40B4-BE49-F238E27FC236}">
                    <a16:creationId xmlns:a16="http://schemas.microsoft.com/office/drawing/2014/main" id="{C98256F9-F9A8-08A4-2E38-B21C8A775C21}"/>
                  </a:ext>
                </a:extLst>
              </p:cNvPr>
              <p:cNvGrpSpPr/>
              <p:nvPr/>
            </p:nvGrpSpPr>
            <p:grpSpPr bwMode="gray">
              <a:xfrm>
                <a:off x="7041642" y="3993832"/>
                <a:ext cx="75723" cy="75628"/>
                <a:chOff x="7041642" y="3993832"/>
                <a:chExt cx="75723" cy="75628"/>
              </a:xfrm>
            </p:grpSpPr>
            <p:sp>
              <p:nvSpPr>
                <p:cNvPr id="9596" name="Freeform: Shape 9595">
                  <a:extLst>
                    <a:ext uri="{FF2B5EF4-FFF2-40B4-BE49-F238E27FC236}">
                      <a16:creationId xmlns:a16="http://schemas.microsoft.com/office/drawing/2014/main" id="{728835D9-4DEA-0587-9087-6728AECF1317}"/>
                    </a:ext>
                  </a:extLst>
                </p:cNvPr>
                <p:cNvSpPr/>
                <p:nvPr/>
              </p:nvSpPr>
              <p:spPr bwMode="gray">
                <a:xfrm>
                  <a:off x="7079551"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97" name="Freeform: Shape 9596">
                  <a:extLst>
                    <a:ext uri="{FF2B5EF4-FFF2-40B4-BE49-F238E27FC236}">
                      <a16:creationId xmlns:a16="http://schemas.microsoft.com/office/drawing/2014/main" id="{491CC0B1-FF4B-7E43-3BD1-F67B8EAEC7F4}"/>
                    </a:ext>
                  </a:extLst>
                </p:cNvPr>
                <p:cNvSpPr/>
                <p:nvPr/>
              </p:nvSpPr>
              <p:spPr bwMode="gray">
                <a:xfrm>
                  <a:off x="7041642"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89" name="Graphic 401">
                <a:extLst>
                  <a:ext uri="{FF2B5EF4-FFF2-40B4-BE49-F238E27FC236}">
                    <a16:creationId xmlns:a16="http://schemas.microsoft.com/office/drawing/2014/main" id="{0F3442AB-A3C8-D33C-42B4-E58FA30C94F7}"/>
                  </a:ext>
                </a:extLst>
              </p:cNvPr>
              <p:cNvGrpSpPr/>
              <p:nvPr/>
            </p:nvGrpSpPr>
            <p:grpSpPr bwMode="gray">
              <a:xfrm>
                <a:off x="6996684" y="3993832"/>
                <a:ext cx="75723" cy="75628"/>
                <a:chOff x="6996684" y="3993832"/>
                <a:chExt cx="75723" cy="75628"/>
              </a:xfrm>
            </p:grpSpPr>
            <p:sp>
              <p:nvSpPr>
                <p:cNvPr id="9594" name="Freeform: Shape 9593">
                  <a:extLst>
                    <a:ext uri="{FF2B5EF4-FFF2-40B4-BE49-F238E27FC236}">
                      <a16:creationId xmlns:a16="http://schemas.microsoft.com/office/drawing/2014/main" id="{32DE8DE0-A649-7A77-553B-65B66CD01403}"/>
                    </a:ext>
                  </a:extLst>
                </p:cNvPr>
                <p:cNvSpPr/>
                <p:nvPr/>
              </p:nvSpPr>
              <p:spPr bwMode="gray">
                <a:xfrm>
                  <a:off x="7034498"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95" name="Freeform: Shape 9594">
                  <a:extLst>
                    <a:ext uri="{FF2B5EF4-FFF2-40B4-BE49-F238E27FC236}">
                      <a16:creationId xmlns:a16="http://schemas.microsoft.com/office/drawing/2014/main" id="{581C04F0-A822-1CFF-9931-E78E4A2D1637}"/>
                    </a:ext>
                  </a:extLst>
                </p:cNvPr>
                <p:cNvSpPr/>
                <p:nvPr/>
              </p:nvSpPr>
              <p:spPr bwMode="gray">
                <a:xfrm>
                  <a:off x="699668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0" name="Graphic 401">
                <a:extLst>
                  <a:ext uri="{FF2B5EF4-FFF2-40B4-BE49-F238E27FC236}">
                    <a16:creationId xmlns:a16="http://schemas.microsoft.com/office/drawing/2014/main" id="{E92AF80D-2070-669F-1422-BDB1081147FA}"/>
                  </a:ext>
                </a:extLst>
              </p:cNvPr>
              <p:cNvGrpSpPr/>
              <p:nvPr/>
            </p:nvGrpSpPr>
            <p:grpSpPr bwMode="gray">
              <a:xfrm>
                <a:off x="6838854" y="3993832"/>
                <a:ext cx="75723" cy="75628"/>
                <a:chOff x="6838854" y="3993832"/>
                <a:chExt cx="75723" cy="75628"/>
              </a:xfrm>
            </p:grpSpPr>
            <p:sp>
              <p:nvSpPr>
                <p:cNvPr id="9592" name="Freeform: Shape 9591">
                  <a:extLst>
                    <a:ext uri="{FF2B5EF4-FFF2-40B4-BE49-F238E27FC236}">
                      <a16:creationId xmlns:a16="http://schemas.microsoft.com/office/drawing/2014/main" id="{39D24E28-AC41-AFB7-2B3D-F6FFAD3F0D34}"/>
                    </a:ext>
                  </a:extLst>
                </p:cNvPr>
                <p:cNvSpPr/>
                <p:nvPr/>
              </p:nvSpPr>
              <p:spPr bwMode="gray">
                <a:xfrm>
                  <a:off x="6876764"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93" name="Freeform: Shape 9592">
                  <a:extLst>
                    <a:ext uri="{FF2B5EF4-FFF2-40B4-BE49-F238E27FC236}">
                      <a16:creationId xmlns:a16="http://schemas.microsoft.com/office/drawing/2014/main" id="{88461EFC-E350-77B7-2A2A-8C5F997B5C02}"/>
                    </a:ext>
                  </a:extLst>
                </p:cNvPr>
                <p:cNvSpPr/>
                <p:nvPr/>
              </p:nvSpPr>
              <p:spPr bwMode="gray">
                <a:xfrm>
                  <a:off x="6838854"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1" name="Graphic 401">
                <a:extLst>
                  <a:ext uri="{FF2B5EF4-FFF2-40B4-BE49-F238E27FC236}">
                    <a16:creationId xmlns:a16="http://schemas.microsoft.com/office/drawing/2014/main" id="{471DD7D8-EFF0-7B5F-F58F-E23930C750C7}"/>
                  </a:ext>
                </a:extLst>
              </p:cNvPr>
              <p:cNvGrpSpPr/>
              <p:nvPr/>
            </p:nvGrpSpPr>
            <p:grpSpPr bwMode="gray">
              <a:xfrm>
                <a:off x="6709124" y="3936873"/>
                <a:ext cx="75628" cy="75723"/>
                <a:chOff x="6709124" y="3936873"/>
                <a:chExt cx="75628" cy="75723"/>
              </a:xfrm>
            </p:grpSpPr>
            <p:sp>
              <p:nvSpPr>
                <p:cNvPr id="9590" name="Freeform: Shape 9589">
                  <a:extLst>
                    <a:ext uri="{FF2B5EF4-FFF2-40B4-BE49-F238E27FC236}">
                      <a16:creationId xmlns:a16="http://schemas.microsoft.com/office/drawing/2014/main" id="{283087B6-77DB-44F1-F57C-34206B60E707}"/>
                    </a:ext>
                  </a:extLst>
                </p:cNvPr>
                <p:cNvSpPr/>
                <p:nvPr/>
              </p:nvSpPr>
              <p:spPr bwMode="gray">
                <a:xfrm>
                  <a:off x="674693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91" name="Freeform: Shape 9590">
                  <a:extLst>
                    <a:ext uri="{FF2B5EF4-FFF2-40B4-BE49-F238E27FC236}">
                      <a16:creationId xmlns:a16="http://schemas.microsoft.com/office/drawing/2014/main" id="{98090E38-D493-74EB-6B9B-9EF8E5F6554A}"/>
                    </a:ext>
                  </a:extLst>
                </p:cNvPr>
                <p:cNvSpPr/>
                <p:nvPr/>
              </p:nvSpPr>
              <p:spPr bwMode="gray">
                <a:xfrm>
                  <a:off x="6709124" y="39746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2" name="Graphic 401">
                <a:extLst>
                  <a:ext uri="{FF2B5EF4-FFF2-40B4-BE49-F238E27FC236}">
                    <a16:creationId xmlns:a16="http://schemas.microsoft.com/office/drawing/2014/main" id="{E5F54769-AD38-9E1E-72DB-7BA8CD87F80C}"/>
                  </a:ext>
                </a:extLst>
              </p:cNvPr>
              <p:cNvGrpSpPr/>
              <p:nvPr/>
            </p:nvGrpSpPr>
            <p:grpSpPr bwMode="gray">
              <a:xfrm>
                <a:off x="6705123" y="3936873"/>
                <a:ext cx="75723" cy="75723"/>
                <a:chOff x="6705123" y="3936873"/>
                <a:chExt cx="75723" cy="75723"/>
              </a:xfrm>
            </p:grpSpPr>
            <p:sp>
              <p:nvSpPr>
                <p:cNvPr id="9588" name="Freeform: Shape 9587">
                  <a:extLst>
                    <a:ext uri="{FF2B5EF4-FFF2-40B4-BE49-F238E27FC236}">
                      <a16:creationId xmlns:a16="http://schemas.microsoft.com/office/drawing/2014/main" id="{1AC1A8DA-DD01-8442-FC01-42DBF43823AE}"/>
                    </a:ext>
                  </a:extLst>
                </p:cNvPr>
                <p:cNvSpPr/>
                <p:nvPr/>
              </p:nvSpPr>
              <p:spPr bwMode="gray">
                <a:xfrm>
                  <a:off x="6743033"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89" name="Freeform: Shape 9588">
                  <a:extLst>
                    <a:ext uri="{FF2B5EF4-FFF2-40B4-BE49-F238E27FC236}">
                      <a16:creationId xmlns:a16="http://schemas.microsoft.com/office/drawing/2014/main" id="{CC1F68DD-7631-9B74-0F74-96C69FACC5AA}"/>
                    </a:ext>
                  </a:extLst>
                </p:cNvPr>
                <p:cNvSpPr/>
                <p:nvPr/>
              </p:nvSpPr>
              <p:spPr bwMode="gray">
                <a:xfrm>
                  <a:off x="6705123"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3" name="Graphic 401">
                <a:extLst>
                  <a:ext uri="{FF2B5EF4-FFF2-40B4-BE49-F238E27FC236}">
                    <a16:creationId xmlns:a16="http://schemas.microsoft.com/office/drawing/2014/main" id="{3E1F8B59-ECB2-A324-FBC1-27B11E0B7BA4}"/>
                  </a:ext>
                </a:extLst>
              </p:cNvPr>
              <p:cNvGrpSpPr/>
              <p:nvPr/>
            </p:nvGrpSpPr>
            <p:grpSpPr bwMode="gray">
              <a:xfrm>
                <a:off x="6656832" y="3936873"/>
                <a:ext cx="75628" cy="75723"/>
                <a:chOff x="6656832" y="3936873"/>
                <a:chExt cx="75628" cy="75723"/>
              </a:xfrm>
            </p:grpSpPr>
            <p:sp>
              <p:nvSpPr>
                <p:cNvPr id="9586" name="Freeform: Shape 9585">
                  <a:extLst>
                    <a:ext uri="{FF2B5EF4-FFF2-40B4-BE49-F238E27FC236}">
                      <a16:creationId xmlns:a16="http://schemas.microsoft.com/office/drawing/2014/main" id="{F2C4E400-23F9-20CC-AB3B-278A4BE82410}"/>
                    </a:ext>
                  </a:extLst>
                </p:cNvPr>
                <p:cNvSpPr/>
                <p:nvPr/>
              </p:nvSpPr>
              <p:spPr bwMode="gray">
                <a:xfrm>
                  <a:off x="6694646"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87" name="Freeform: Shape 9586">
                  <a:extLst>
                    <a:ext uri="{FF2B5EF4-FFF2-40B4-BE49-F238E27FC236}">
                      <a16:creationId xmlns:a16="http://schemas.microsoft.com/office/drawing/2014/main" id="{E4F53AF8-85EE-4852-57AA-79397DFF49E4}"/>
                    </a:ext>
                  </a:extLst>
                </p:cNvPr>
                <p:cNvSpPr/>
                <p:nvPr/>
              </p:nvSpPr>
              <p:spPr bwMode="gray">
                <a:xfrm>
                  <a:off x="6656832"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4" name="Graphic 401">
                <a:extLst>
                  <a:ext uri="{FF2B5EF4-FFF2-40B4-BE49-F238E27FC236}">
                    <a16:creationId xmlns:a16="http://schemas.microsoft.com/office/drawing/2014/main" id="{EF06390F-E179-E850-C93C-393BB39F98F8}"/>
                  </a:ext>
                </a:extLst>
              </p:cNvPr>
              <p:cNvGrpSpPr/>
              <p:nvPr/>
            </p:nvGrpSpPr>
            <p:grpSpPr bwMode="gray">
              <a:xfrm>
                <a:off x="6566820" y="3936873"/>
                <a:ext cx="75723" cy="75723"/>
                <a:chOff x="6566820" y="3936873"/>
                <a:chExt cx="75723" cy="75723"/>
              </a:xfrm>
            </p:grpSpPr>
            <p:sp>
              <p:nvSpPr>
                <p:cNvPr id="9584" name="Freeform: Shape 9583">
                  <a:extLst>
                    <a:ext uri="{FF2B5EF4-FFF2-40B4-BE49-F238E27FC236}">
                      <a16:creationId xmlns:a16="http://schemas.microsoft.com/office/drawing/2014/main" id="{FA369A55-2BE5-9EFD-F5AD-F20E013A443B}"/>
                    </a:ext>
                  </a:extLst>
                </p:cNvPr>
                <p:cNvSpPr/>
                <p:nvPr/>
              </p:nvSpPr>
              <p:spPr bwMode="gray">
                <a:xfrm>
                  <a:off x="660463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85" name="Freeform: Shape 9584">
                  <a:extLst>
                    <a:ext uri="{FF2B5EF4-FFF2-40B4-BE49-F238E27FC236}">
                      <a16:creationId xmlns:a16="http://schemas.microsoft.com/office/drawing/2014/main" id="{700EB269-1F62-B0E3-BA3E-ABA6C445ED23}"/>
                    </a:ext>
                  </a:extLst>
                </p:cNvPr>
                <p:cNvSpPr/>
                <p:nvPr/>
              </p:nvSpPr>
              <p:spPr bwMode="gray">
                <a:xfrm>
                  <a:off x="6566820"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5" name="Graphic 401">
                <a:extLst>
                  <a:ext uri="{FF2B5EF4-FFF2-40B4-BE49-F238E27FC236}">
                    <a16:creationId xmlns:a16="http://schemas.microsoft.com/office/drawing/2014/main" id="{B2544875-5E40-515A-4EAA-B44223E66FCB}"/>
                  </a:ext>
                </a:extLst>
              </p:cNvPr>
              <p:cNvGrpSpPr/>
              <p:nvPr/>
            </p:nvGrpSpPr>
            <p:grpSpPr bwMode="gray">
              <a:xfrm>
                <a:off x="6530625" y="3936873"/>
                <a:ext cx="75723" cy="75723"/>
                <a:chOff x="6530625" y="3936873"/>
                <a:chExt cx="75723" cy="75723"/>
              </a:xfrm>
            </p:grpSpPr>
            <p:sp>
              <p:nvSpPr>
                <p:cNvPr id="9582" name="Freeform: Shape 9581">
                  <a:extLst>
                    <a:ext uri="{FF2B5EF4-FFF2-40B4-BE49-F238E27FC236}">
                      <a16:creationId xmlns:a16="http://schemas.microsoft.com/office/drawing/2014/main" id="{BFDBCEEC-07BD-F4CA-E401-00546DAA3545}"/>
                    </a:ext>
                  </a:extLst>
                </p:cNvPr>
                <p:cNvSpPr/>
                <p:nvPr/>
              </p:nvSpPr>
              <p:spPr bwMode="gray">
                <a:xfrm>
                  <a:off x="656853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83" name="Freeform: Shape 9582">
                  <a:extLst>
                    <a:ext uri="{FF2B5EF4-FFF2-40B4-BE49-F238E27FC236}">
                      <a16:creationId xmlns:a16="http://schemas.microsoft.com/office/drawing/2014/main" id="{1A85FC30-0977-1DB7-AAB9-7A276357774A}"/>
                    </a:ext>
                  </a:extLst>
                </p:cNvPr>
                <p:cNvSpPr/>
                <p:nvPr/>
              </p:nvSpPr>
              <p:spPr bwMode="gray">
                <a:xfrm>
                  <a:off x="6530625"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6" name="Graphic 401">
                <a:extLst>
                  <a:ext uri="{FF2B5EF4-FFF2-40B4-BE49-F238E27FC236}">
                    <a16:creationId xmlns:a16="http://schemas.microsoft.com/office/drawing/2014/main" id="{31AECA5C-0F80-9002-A055-409167714461}"/>
                  </a:ext>
                </a:extLst>
              </p:cNvPr>
              <p:cNvGrpSpPr/>
              <p:nvPr/>
            </p:nvGrpSpPr>
            <p:grpSpPr bwMode="gray">
              <a:xfrm>
                <a:off x="6513671" y="3936873"/>
                <a:ext cx="75628" cy="75723"/>
                <a:chOff x="6513671" y="3936873"/>
                <a:chExt cx="75628" cy="75723"/>
              </a:xfrm>
            </p:grpSpPr>
            <p:sp>
              <p:nvSpPr>
                <p:cNvPr id="9580" name="Freeform: Shape 9579">
                  <a:extLst>
                    <a:ext uri="{FF2B5EF4-FFF2-40B4-BE49-F238E27FC236}">
                      <a16:creationId xmlns:a16="http://schemas.microsoft.com/office/drawing/2014/main" id="{D7D27D68-5FEE-457D-5D7C-57C6087293FE}"/>
                    </a:ext>
                  </a:extLst>
                </p:cNvPr>
                <p:cNvSpPr/>
                <p:nvPr/>
              </p:nvSpPr>
              <p:spPr bwMode="gray">
                <a:xfrm>
                  <a:off x="6551485"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81" name="Freeform: Shape 9580">
                  <a:extLst>
                    <a:ext uri="{FF2B5EF4-FFF2-40B4-BE49-F238E27FC236}">
                      <a16:creationId xmlns:a16="http://schemas.microsoft.com/office/drawing/2014/main" id="{E35D5701-0A7D-FB3D-0EDC-7ABD7C3A78FB}"/>
                    </a:ext>
                  </a:extLst>
                </p:cNvPr>
                <p:cNvSpPr/>
                <p:nvPr/>
              </p:nvSpPr>
              <p:spPr bwMode="gray">
                <a:xfrm>
                  <a:off x="6513671"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7" name="Graphic 401">
                <a:extLst>
                  <a:ext uri="{FF2B5EF4-FFF2-40B4-BE49-F238E27FC236}">
                    <a16:creationId xmlns:a16="http://schemas.microsoft.com/office/drawing/2014/main" id="{920F012A-36D2-3010-D2BD-0E945F157F02}"/>
                  </a:ext>
                </a:extLst>
              </p:cNvPr>
              <p:cNvGrpSpPr/>
              <p:nvPr/>
            </p:nvGrpSpPr>
            <p:grpSpPr bwMode="gray">
              <a:xfrm>
                <a:off x="6276498" y="3936873"/>
                <a:ext cx="75723" cy="75723"/>
                <a:chOff x="6276498" y="3936873"/>
                <a:chExt cx="75723" cy="75723"/>
              </a:xfrm>
            </p:grpSpPr>
            <p:sp>
              <p:nvSpPr>
                <p:cNvPr id="9578" name="Freeform: Shape 9577">
                  <a:extLst>
                    <a:ext uri="{FF2B5EF4-FFF2-40B4-BE49-F238E27FC236}">
                      <a16:creationId xmlns:a16="http://schemas.microsoft.com/office/drawing/2014/main" id="{5B7D33EB-709E-0D26-7EDD-78C6B6755400}"/>
                    </a:ext>
                  </a:extLst>
                </p:cNvPr>
                <p:cNvSpPr/>
                <p:nvPr/>
              </p:nvSpPr>
              <p:spPr bwMode="gray">
                <a:xfrm>
                  <a:off x="631440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79" name="Freeform: Shape 9578">
                  <a:extLst>
                    <a:ext uri="{FF2B5EF4-FFF2-40B4-BE49-F238E27FC236}">
                      <a16:creationId xmlns:a16="http://schemas.microsoft.com/office/drawing/2014/main" id="{BBFF25BA-02FF-61D5-200E-532914BAF163}"/>
                    </a:ext>
                  </a:extLst>
                </p:cNvPr>
                <p:cNvSpPr/>
                <p:nvPr/>
              </p:nvSpPr>
              <p:spPr bwMode="gray">
                <a:xfrm>
                  <a:off x="627649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8" name="Graphic 401">
                <a:extLst>
                  <a:ext uri="{FF2B5EF4-FFF2-40B4-BE49-F238E27FC236}">
                    <a16:creationId xmlns:a16="http://schemas.microsoft.com/office/drawing/2014/main" id="{48BEB8A2-8169-F4EA-AD00-1F127694E3BA}"/>
                  </a:ext>
                </a:extLst>
              </p:cNvPr>
              <p:cNvGrpSpPr/>
              <p:nvPr/>
            </p:nvGrpSpPr>
            <p:grpSpPr bwMode="gray">
              <a:xfrm>
                <a:off x="6355270" y="3936873"/>
                <a:ext cx="75628" cy="75723"/>
                <a:chOff x="6355270" y="3936873"/>
                <a:chExt cx="75628" cy="75723"/>
              </a:xfrm>
            </p:grpSpPr>
            <p:sp>
              <p:nvSpPr>
                <p:cNvPr id="9576" name="Freeform: Shape 9575">
                  <a:extLst>
                    <a:ext uri="{FF2B5EF4-FFF2-40B4-BE49-F238E27FC236}">
                      <a16:creationId xmlns:a16="http://schemas.microsoft.com/office/drawing/2014/main" id="{685567C9-EBAD-C4C7-5F5D-8E2DA9ECFA31}"/>
                    </a:ext>
                  </a:extLst>
                </p:cNvPr>
                <p:cNvSpPr/>
                <p:nvPr/>
              </p:nvSpPr>
              <p:spPr bwMode="gray">
                <a:xfrm>
                  <a:off x="6393084"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77" name="Freeform: Shape 9576">
                  <a:extLst>
                    <a:ext uri="{FF2B5EF4-FFF2-40B4-BE49-F238E27FC236}">
                      <a16:creationId xmlns:a16="http://schemas.microsoft.com/office/drawing/2014/main" id="{F802D50D-D297-757A-01C7-BA060AA71520}"/>
                    </a:ext>
                  </a:extLst>
                </p:cNvPr>
                <p:cNvSpPr/>
                <p:nvPr/>
              </p:nvSpPr>
              <p:spPr bwMode="gray">
                <a:xfrm>
                  <a:off x="6355270" y="39746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399" name="Graphic 401">
                <a:extLst>
                  <a:ext uri="{FF2B5EF4-FFF2-40B4-BE49-F238E27FC236}">
                    <a16:creationId xmlns:a16="http://schemas.microsoft.com/office/drawing/2014/main" id="{7876A7E2-9C62-6FFE-F953-13A0EB804CF4}"/>
                  </a:ext>
                </a:extLst>
              </p:cNvPr>
              <p:cNvGrpSpPr/>
              <p:nvPr/>
            </p:nvGrpSpPr>
            <p:grpSpPr bwMode="gray">
              <a:xfrm>
                <a:off x="6326028" y="3936873"/>
                <a:ext cx="75723" cy="75723"/>
                <a:chOff x="6326028" y="3936873"/>
                <a:chExt cx="75723" cy="75723"/>
              </a:xfrm>
            </p:grpSpPr>
            <p:sp>
              <p:nvSpPr>
                <p:cNvPr id="9574" name="Freeform: Shape 9573">
                  <a:extLst>
                    <a:ext uri="{FF2B5EF4-FFF2-40B4-BE49-F238E27FC236}">
                      <a16:creationId xmlns:a16="http://schemas.microsoft.com/office/drawing/2014/main" id="{044C3FAF-01BE-9D04-D26C-DDD989EFA717}"/>
                    </a:ext>
                  </a:extLst>
                </p:cNvPr>
                <p:cNvSpPr/>
                <p:nvPr/>
              </p:nvSpPr>
              <p:spPr bwMode="gray">
                <a:xfrm>
                  <a:off x="6363938"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75" name="Freeform: Shape 9574">
                  <a:extLst>
                    <a:ext uri="{FF2B5EF4-FFF2-40B4-BE49-F238E27FC236}">
                      <a16:creationId xmlns:a16="http://schemas.microsoft.com/office/drawing/2014/main" id="{1D95E03C-1894-C125-AE58-4FCD63BC3E29}"/>
                    </a:ext>
                  </a:extLst>
                </p:cNvPr>
                <p:cNvSpPr/>
                <p:nvPr/>
              </p:nvSpPr>
              <p:spPr bwMode="gray">
                <a:xfrm>
                  <a:off x="632602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0" name="Graphic 401">
                <a:extLst>
                  <a:ext uri="{FF2B5EF4-FFF2-40B4-BE49-F238E27FC236}">
                    <a16:creationId xmlns:a16="http://schemas.microsoft.com/office/drawing/2014/main" id="{05114F04-47B5-3B28-151E-5C78B9B037B8}"/>
                  </a:ext>
                </a:extLst>
              </p:cNvPr>
              <p:cNvGrpSpPr/>
              <p:nvPr/>
            </p:nvGrpSpPr>
            <p:grpSpPr bwMode="gray">
              <a:xfrm>
                <a:off x="6305359" y="3936873"/>
                <a:ext cx="75723" cy="75723"/>
                <a:chOff x="6305359" y="3936873"/>
                <a:chExt cx="75723" cy="75723"/>
              </a:xfrm>
            </p:grpSpPr>
            <p:sp>
              <p:nvSpPr>
                <p:cNvPr id="9572" name="Freeform: Shape 9571">
                  <a:extLst>
                    <a:ext uri="{FF2B5EF4-FFF2-40B4-BE49-F238E27FC236}">
                      <a16:creationId xmlns:a16="http://schemas.microsoft.com/office/drawing/2014/main" id="{02F05364-EB1E-31C2-1A06-342E22FF86FD}"/>
                    </a:ext>
                  </a:extLst>
                </p:cNvPr>
                <p:cNvSpPr/>
                <p:nvPr/>
              </p:nvSpPr>
              <p:spPr bwMode="gray">
                <a:xfrm>
                  <a:off x="6343269"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73" name="Freeform: Shape 9572">
                  <a:extLst>
                    <a:ext uri="{FF2B5EF4-FFF2-40B4-BE49-F238E27FC236}">
                      <a16:creationId xmlns:a16="http://schemas.microsoft.com/office/drawing/2014/main" id="{4476C762-5B58-0EA5-0F75-BE91316EBDE3}"/>
                    </a:ext>
                  </a:extLst>
                </p:cNvPr>
                <p:cNvSpPr/>
                <p:nvPr/>
              </p:nvSpPr>
              <p:spPr bwMode="gray">
                <a:xfrm>
                  <a:off x="6305359"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1" name="Graphic 401">
                <a:extLst>
                  <a:ext uri="{FF2B5EF4-FFF2-40B4-BE49-F238E27FC236}">
                    <a16:creationId xmlns:a16="http://schemas.microsoft.com/office/drawing/2014/main" id="{B72FDC89-494E-219D-547E-F6B8DDD864CC}"/>
                  </a:ext>
                </a:extLst>
              </p:cNvPr>
              <p:cNvGrpSpPr/>
              <p:nvPr/>
            </p:nvGrpSpPr>
            <p:grpSpPr bwMode="gray">
              <a:xfrm>
                <a:off x="6295358" y="3936873"/>
                <a:ext cx="75723" cy="75723"/>
                <a:chOff x="6295358" y="3936873"/>
                <a:chExt cx="75723" cy="75723"/>
              </a:xfrm>
            </p:grpSpPr>
            <p:sp>
              <p:nvSpPr>
                <p:cNvPr id="9570" name="Freeform: Shape 9569">
                  <a:extLst>
                    <a:ext uri="{FF2B5EF4-FFF2-40B4-BE49-F238E27FC236}">
                      <a16:creationId xmlns:a16="http://schemas.microsoft.com/office/drawing/2014/main" id="{F9193810-CC4D-3F4D-4194-12B7AFC4BF0D}"/>
                    </a:ext>
                  </a:extLst>
                </p:cNvPr>
                <p:cNvSpPr/>
                <p:nvPr/>
              </p:nvSpPr>
              <p:spPr bwMode="gray">
                <a:xfrm>
                  <a:off x="6333172"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71" name="Freeform: Shape 9570">
                  <a:extLst>
                    <a:ext uri="{FF2B5EF4-FFF2-40B4-BE49-F238E27FC236}">
                      <a16:creationId xmlns:a16="http://schemas.microsoft.com/office/drawing/2014/main" id="{BAA0BDB9-34DB-3EA2-6A8E-E138E24C0BEA}"/>
                    </a:ext>
                  </a:extLst>
                </p:cNvPr>
                <p:cNvSpPr/>
                <p:nvPr/>
              </p:nvSpPr>
              <p:spPr bwMode="gray">
                <a:xfrm>
                  <a:off x="629535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2" name="Graphic 401">
                <a:extLst>
                  <a:ext uri="{FF2B5EF4-FFF2-40B4-BE49-F238E27FC236}">
                    <a16:creationId xmlns:a16="http://schemas.microsoft.com/office/drawing/2014/main" id="{98BAA981-B332-B841-6575-2A3EA4DC2804}"/>
                  </a:ext>
                </a:extLst>
              </p:cNvPr>
              <p:cNvGrpSpPr/>
              <p:nvPr/>
            </p:nvGrpSpPr>
            <p:grpSpPr bwMode="gray">
              <a:xfrm>
                <a:off x="6285928" y="3936873"/>
                <a:ext cx="75723" cy="75723"/>
                <a:chOff x="6285928" y="3936873"/>
                <a:chExt cx="75723" cy="75723"/>
              </a:xfrm>
            </p:grpSpPr>
            <p:sp>
              <p:nvSpPr>
                <p:cNvPr id="9568" name="Freeform: Shape 9567">
                  <a:extLst>
                    <a:ext uri="{FF2B5EF4-FFF2-40B4-BE49-F238E27FC236}">
                      <a16:creationId xmlns:a16="http://schemas.microsoft.com/office/drawing/2014/main" id="{F5157BA3-4964-192C-AA49-4718A87BF9BC}"/>
                    </a:ext>
                  </a:extLst>
                </p:cNvPr>
                <p:cNvSpPr/>
                <p:nvPr/>
              </p:nvSpPr>
              <p:spPr bwMode="gray">
                <a:xfrm>
                  <a:off x="6323742" y="39368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69" name="Freeform: Shape 9568">
                  <a:extLst>
                    <a:ext uri="{FF2B5EF4-FFF2-40B4-BE49-F238E27FC236}">
                      <a16:creationId xmlns:a16="http://schemas.microsoft.com/office/drawing/2014/main" id="{6D537AED-91D8-4DF6-B635-DD85523A7444}"/>
                    </a:ext>
                  </a:extLst>
                </p:cNvPr>
                <p:cNvSpPr/>
                <p:nvPr/>
              </p:nvSpPr>
              <p:spPr bwMode="gray">
                <a:xfrm>
                  <a:off x="6285928" y="39746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3" name="Graphic 401">
                <a:extLst>
                  <a:ext uri="{FF2B5EF4-FFF2-40B4-BE49-F238E27FC236}">
                    <a16:creationId xmlns:a16="http://schemas.microsoft.com/office/drawing/2014/main" id="{CF7C38E4-2D33-4488-D74C-921E5D38E2B4}"/>
                  </a:ext>
                </a:extLst>
              </p:cNvPr>
              <p:cNvGrpSpPr/>
              <p:nvPr/>
            </p:nvGrpSpPr>
            <p:grpSpPr bwMode="gray">
              <a:xfrm>
                <a:off x="6211443" y="3902392"/>
                <a:ext cx="75723" cy="75723"/>
                <a:chOff x="6211443" y="3902392"/>
                <a:chExt cx="75723" cy="75723"/>
              </a:xfrm>
            </p:grpSpPr>
            <p:sp>
              <p:nvSpPr>
                <p:cNvPr id="9566" name="Freeform: Shape 9565">
                  <a:extLst>
                    <a:ext uri="{FF2B5EF4-FFF2-40B4-BE49-F238E27FC236}">
                      <a16:creationId xmlns:a16="http://schemas.microsoft.com/office/drawing/2014/main" id="{4FEEB650-6B2B-5D7D-00CF-2D0353FA37B3}"/>
                    </a:ext>
                  </a:extLst>
                </p:cNvPr>
                <p:cNvSpPr/>
                <p:nvPr/>
              </p:nvSpPr>
              <p:spPr bwMode="gray">
                <a:xfrm>
                  <a:off x="6249352" y="390239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67" name="Freeform: Shape 9566">
                  <a:extLst>
                    <a:ext uri="{FF2B5EF4-FFF2-40B4-BE49-F238E27FC236}">
                      <a16:creationId xmlns:a16="http://schemas.microsoft.com/office/drawing/2014/main" id="{2DBF2069-1D3F-B14C-EF45-223701F36AB1}"/>
                    </a:ext>
                  </a:extLst>
                </p:cNvPr>
                <p:cNvSpPr/>
                <p:nvPr/>
              </p:nvSpPr>
              <p:spPr bwMode="gray">
                <a:xfrm>
                  <a:off x="6211443" y="394030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4" name="Graphic 401">
                <a:extLst>
                  <a:ext uri="{FF2B5EF4-FFF2-40B4-BE49-F238E27FC236}">
                    <a16:creationId xmlns:a16="http://schemas.microsoft.com/office/drawing/2014/main" id="{4F9339E0-569D-34FF-D875-88F634FD3939}"/>
                  </a:ext>
                </a:extLst>
              </p:cNvPr>
              <p:cNvGrpSpPr/>
              <p:nvPr/>
            </p:nvGrpSpPr>
            <p:grpSpPr bwMode="gray">
              <a:xfrm>
                <a:off x="6141243" y="3864578"/>
                <a:ext cx="75723" cy="75723"/>
                <a:chOff x="6141243" y="3864578"/>
                <a:chExt cx="75723" cy="75723"/>
              </a:xfrm>
            </p:grpSpPr>
            <p:sp>
              <p:nvSpPr>
                <p:cNvPr id="9564" name="Freeform: Shape 9563">
                  <a:extLst>
                    <a:ext uri="{FF2B5EF4-FFF2-40B4-BE49-F238E27FC236}">
                      <a16:creationId xmlns:a16="http://schemas.microsoft.com/office/drawing/2014/main" id="{79CF5DBE-25FE-75A5-98D5-EDEDF7A69AED}"/>
                    </a:ext>
                  </a:extLst>
                </p:cNvPr>
                <p:cNvSpPr/>
                <p:nvPr/>
              </p:nvSpPr>
              <p:spPr bwMode="gray">
                <a:xfrm>
                  <a:off x="6179058"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65" name="Freeform: Shape 9564">
                  <a:extLst>
                    <a:ext uri="{FF2B5EF4-FFF2-40B4-BE49-F238E27FC236}">
                      <a16:creationId xmlns:a16="http://schemas.microsoft.com/office/drawing/2014/main" id="{D6A5568B-BD65-01EB-3428-3F3F6E5D47B2}"/>
                    </a:ext>
                  </a:extLst>
                </p:cNvPr>
                <p:cNvSpPr/>
                <p:nvPr/>
              </p:nvSpPr>
              <p:spPr bwMode="gray">
                <a:xfrm>
                  <a:off x="6141243"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5" name="Graphic 401">
                <a:extLst>
                  <a:ext uri="{FF2B5EF4-FFF2-40B4-BE49-F238E27FC236}">
                    <a16:creationId xmlns:a16="http://schemas.microsoft.com/office/drawing/2014/main" id="{832679E0-9234-4176-E6AE-F05317FD6EDC}"/>
                  </a:ext>
                </a:extLst>
              </p:cNvPr>
              <p:cNvGrpSpPr/>
              <p:nvPr/>
            </p:nvGrpSpPr>
            <p:grpSpPr bwMode="gray">
              <a:xfrm>
                <a:off x="6082569" y="3822954"/>
                <a:ext cx="75723" cy="75628"/>
                <a:chOff x="6082569" y="3822954"/>
                <a:chExt cx="75723" cy="75628"/>
              </a:xfrm>
            </p:grpSpPr>
            <p:sp>
              <p:nvSpPr>
                <p:cNvPr id="9562" name="Freeform: Shape 9561">
                  <a:extLst>
                    <a:ext uri="{FF2B5EF4-FFF2-40B4-BE49-F238E27FC236}">
                      <a16:creationId xmlns:a16="http://schemas.microsoft.com/office/drawing/2014/main" id="{11E6953B-3769-280D-43DD-06531B3CF349}"/>
                    </a:ext>
                  </a:extLst>
                </p:cNvPr>
                <p:cNvSpPr/>
                <p:nvPr/>
              </p:nvSpPr>
              <p:spPr bwMode="gray">
                <a:xfrm>
                  <a:off x="6120384" y="382295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63" name="Freeform: Shape 9562">
                  <a:extLst>
                    <a:ext uri="{FF2B5EF4-FFF2-40B4-BE49-F238E27FC236}">
                      <a16:creationId xmlns:a16="http://schemas.microsoft.com/office/drawing/2014/main" id="{FC136C99-993E-589E-4141-C10E0F1D69CA}"/>
                    </a:ext>
                  </a:extLst>
                </p:cNvPr>
                <p:cNvSpPr/>
                <p:nvPr/>
              </p:nvSpPr>
              <p:spPr bwMode="gray">
                <a:xfrm>
                  <a:off x="6082569" y="386076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6" name="Graphic 401">
                <a:extLst>
                  <a:ext uri="{FF2B5EF4-FFF2-40B4-BE49-F238E27FC236}">
                    <a16:creationId xmlns:a16="http://schemas.microsoft.com/office/drawing/2014/main" id="{0BDFC0F7-B4D6-3767-AC7F-FD79C00AA70A}"/>
                  </a:ext>
                </a:extLst>
              </p:cNvPr>
              <p:cNvGrpSpPr/>
              <p:nvPr/>
            </p:nvGrpSpPr>
            <p:grpSpPr bwMode="gray">
              <a:xfrm>
                <a:off x="6030087" y="3759041"/>
                <a:ext cx="75723" cy="75723"/>
                <a:chOff x="6030087" y="3759041"/>
                <a:chExt cx="75723" cy="75723"/>
              </a:xfrm>
            </p:grpSpPr>
            <p:sp>
              <p:nvSpPr>
                <p:cNvPr id="9560" name="Freeform: Shape 9559">
                  <a:extLst>
                    <a:ext uri="{FF2B5EF4-FFF2-40B4-BE49-F238E27FC236}">
                      <a16:creationId xmlns:a16="http://schemas.microsoft.com/office/drawing/2014/main" id="{A341F88E-AF5D-A415-5804-0FC9699A1834}"/>
                    </a:ext>
                  </a:extLst>
                </p:cNvPr>
                <p:cNvSpPr/>
                <p:nvPr/>
              </p:nvSpPr>
              <p:spPr bwMode="gray">
                <a:xfrm>
                  <a:off x="6067901"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61" name="Freeform: Shape 9560">
                  <a:extLst>
                    <a:ext uri="{FF2B5EF4-FFF2-40B4-BE49-F238E27FC236}">
                      <a16:creationId xmlns:a16="http://schemas.microsoft.com/office/drawing/2014/main" id="{01DB68FA-6EFF-4B2D-6BC2-E8CD0E4DDCDE}"/>
                    </a:ext>
                  </a:extLst>
                </p:cNvPr>
                <p:cNvSpPr/>
                <p:nvPr/>
              </p:nvSpPr>
              <p:spPr bwMode="gray">
                <a:xfrm>
                  <a:off x="6030087"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7" name="Graphic 401">
                <a:extLst>
                  <a:ext uri="{FF2B5EF4-FFF2-40B4-BE49-F238E27FC236}">
                    <a16:creationId xmlns:a16="http://schemas.microsoft.com/office/drawing/2014/main" id="{DD74CF77-348D-C2FA-FEC8-15C03997840E}"/>
                  </a:ext>
                </a:extLst>
              </p:cNvPr>
              <p:cNvGrpSpPr/>
              <p:nvPr/>
            </p:nvGrpSpPr>
            <p:grpSpPr bwMode="gray">
              <a:xfrm>
                <a:off x="5960935" y="3759041"/>
                <a:ext cx="75723" cy="75723"/>
                <a:chOff x="5960935" y="3759041"/>
                <a:chExt cx="75723" cy="75723"/>
              </a:xfrm>
            </p:grpSpPr>
            <p:sp>
              <p:nvSpPr>
                <p:cNvPr id="9558" name="Freeform: Shape 9557">
                  <a:extLst>
                    <a:ext uri="{FF2B5EF4-FFF2-40B4-BE49-F238E27FC236}">
                      <a16:creationId xmlns:a16="http://schemas.microsoft.com/office/drawing/2014/main" id="{21046436-1FDF-44ED-D2E8-93B87D6AD1C3}"/>
                    </a:ext>
                  </a:extLst>
                </p:cNvPr>
                <p:cNvSpPr/>
                <p:nvPr/>
              </p:nvSpPr>
              <p:spPr bwMode="gray">
                <a:xfrm>
                  <a:off x="5998845"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59" name="Freeform: Shape 9558">
                  <a:extLst>
                    <a:ext uri="{FF2B5EF4-FFF2-40B4-BE49-F238E27FC236}">
                      <a16:creationId xmlns:a16="http://schemas.microsoft.com/office/drawing/2014/main" id="{EC292836-0BBE-4DD9-F8DD-AB92D3DD2510}"/>
                    </a:ext>
                  </a:extLst>
                </p:cNvPr>
                <p:cNvSpPr/>
                <p:nvPr/>
              </p:nvSpPr>
              <p:spPr bwMode="gray">
                <a:xfrm>
                  <a:off x="5960935"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8" name="Graphic 401">
                <a:extLst>
                  <a:ext uri="{FF2B5EF4-FFF2-40B4-BE49-F238E27FC236}">
                    <a16:creationId xmlns:a16="http://schemas.microsoft.com/office/drawing/2014/main" id="{32CDDABD-9596-2236-5D54-381E8BA4662E}"/>
                  </a:ext>
                </a:extLst>
              </p:cNvPr>
              <p:cNvGrpSpPr/>
              <p:nvPr/>
            </p:nvGrpSpPr>
            <p:grpSpPr bwMode="gray">
              <a:xfrm>
                <a:off x="5938456" y="3759041"/>
                <a:ext cx="75723" cy="75723"/>
                <a:chOff x="5938456" y="3759041"/>
                <a:chExt cx="75723" cy="75723"/>
              </a:xfrm>
            </p:grpSpPr>
            <p:sp>
              <p:nvSpPr>
                <p:cNvPr id="9556" name="Freeform: Shape 9555">
                  <a:extLst>
                    <a:ext uri="{FF2B5EF4-FFF2-40B4-BE49-F238E27FC236}">
                      <a16:creationId xmlns:a16="http://schemas.microsoft.com/office/drawing/2014/main" id="{D7647E67-5C5E-EC61-E5BB-25C16B22003A}"/>
                    </a:ext>
                  </a:extLst>
                </p:cNvPr>
                <p:cNvSpPr/>
                <p:nvPr/>
              </p:nvSpPr>
              <p:spPr bwMode="gray">
                <a:xfrm>
                  <a:off x="5976366" y="375904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57" name="Freeform: Shape 9556">
                  <a:extLst>
                    <a:ext uri="{FF2B5EF4-FFF2-40B4-BE49-F238E27FC236}">
                      <a16:creationId xmlns:a16="http://schemas.microsoft.com/office/drawing/2014/main" id="{5B14D5B5-A6EB-ACEE-0AA2-DB9108E873D2}"/>
                    </a:ext>
                  </a:extLst>
                </p:cNvPr>
                <p:cNvSpPr/>
                <p:nvPr/>
              </p:nvSpPr>
              <p:spPr bwMode="gray">
                <a:xfrm>
                  <a:off x="5938456" y="379685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09" name="Graphic 401">
                <a:extLst>
                  <a:ext uri="{FF2B5EF4-FFF2-40B4-BE49-F238E27FC236}">
                    <a16:creationId xmlns:a16="http://schemas.microsoft.com/office/drawing/2014/main" id="{77F8B955-5D6F-7108-480F-53A3101EE966}"/>
                  </a:ext>
                </a:extLst>
              </p:cNvPr>
              <p:cNvGrpSpPr/>
              <p:nvPr/>
            </p:nvGrpSpPr>
            <p:grpSpPr bwMode="gray">
              <a:xfrm>
                <a:off x="5862828" y="3721227"/>
                <a:ext cx="75628" cy="75628"/>
                <a:chOff x="5862828" y="3721227"/>
                <a:chExt cx="75628" cy="75628"/>
              </a:xfrm>
            </p:grpSpPr>
            <p:sp>
              <p:nvSpPr>
                <p:cNvPr id="9554" name="Freeform: Shape 9553">
                  <a:extLst>
                    <a:ext uri="{FF2B5EF4-FFF2-40B4-BE49-F238E27FC236}">
                      <a16:creationId xmlns:a16="http://schemas.microsoft.com/office/drawing/2014/main" id="{929F06B9-67B4-84F5-8F27-3ECDA621F2DF}"/>
                    </a:ext>
                  </a:extLst>
                </p:cNvPr>
                <p:cNvSpPr/>
                <p:nvPr/>
              </p:nvSpPr>
              <p:spPr bwMode="gray">
                <a:xfrm>
                  <a:off x="5900642"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55" name="Freeform: Shape 9554">
                  <a:extLst>
                    <a:ext uri="{FF2B5EF4-FFF2-40B4-BE49-F238E27FC236}">
                      <a16:creationId xmlns:a16="http://schemas.microsoft.com/office/drawing/2014/main" id="{55D1721A-1217-5608-FC71-80E3678E753C}"/>
                    </a:ext>
                  </a:extLst>
                </p:cNvPr>
                <p:cNvSpPr/>
                <p:nvPr/>
              </p:nvSpPr>
              <p:spPr bwMode="gray">
                <a:xfrm>
                  <a:off x="5862828"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0" name="Graphic 401">
                <a:extLst>
                  <a:ext uri="{FF2B5EF4-FFF2-40B4-BE49-F238E27FC236}">
                    <a16:creationId xmlns:a16="http://schemas.microsoft.com/office/drawing/2014/main" id="{B36E4ED4-E15C-B273-A96D-F619CB71936D}"/>
                  </a:ext>
                </a:extLst>
              </p:cNvPr>
              <p:cNvGrpSpPr/>
              <p:nvPr/>
            </p:nvGrpSpPr>
            <p:grpSpPr bwMode="gray">
              <a:xfrm>
                <a:off x="5670042" y="3721227"/>
                <a:ext cx="75723" cy="75628"/>
                <a:chOff x="5670042" y="3721227"/>
                <a:chExt cx="75723" cy="75628"/>
              </a:xfrm>
            </p:grpSpPr>
            <p:sp>
              <p:nvSpPr>
                <p:cNvPr id="9552" name="Freeform: Shape 9551">
                  <a:extLst>
                    <a:ext uri="{FF2B5EF4-FFF2-40B4-BE49-F238E27FC236}">
                      <a16:creationId xmlns:a16="http://schemas.microsoft.com/office/drawing/2014/main" id="{0F58A87B-2F53-DA6A-B270-E7F81BEF2B08}"/>
                    </a:ext>
                  </a:extLst>
                </p:cNvPr>
                <p:cNvSpPr/>
                <p:nvPr/>
              </p:nvSpPr>
              <p:spPr bwMode="gray">
                <a:xfrm>
                  <a:off x="570795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53" name="Freeform: Shape 9552">
                  <a:extLst>
                    <a:ext uri="{FF2B5EF4-FFF2-40B4-BE49-F238E27FC236}">
                      <a16:creationId xmlns:a16="http://schemas.microsoft.com/office/drawing/2014/main" id="{74B426E9-AF29-9D8D-DD65-3195D125466C}"/>
                    </a:ext>
                  </a:extLst>
                </p:cNvPr>
                <p:cNvSpPr/>
                <p:nvPr/>
              </p:nvSpPr>
              <p:spPr bwMode="gray">
                <a:xfrm>
                  <a:off x="5670042"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1" name="Graphic 401">
                <a:extLst>
                  <a:ext uri="{FF2B5EF4-FFF2-40B4-BE49-F238E27FC236}">
                    <a16:creationId xmlns:a16="http://schemas.microsoft.com/office/drawing/2014/main" id="{D9185D10-05B3-E7B1-1B68-FE0785BFF04E}"/>
                  </a:ext>
                </a:extLst>
              </p:cNvPr>
              <p:cNvGrpSpPr/>
              <p:nvPr/>
            </p:nvGrpSpPr>
            <p:grpSpPr bwMode="gray">
              <a:xfrm>
                <a:off x="5748813" y="3721227"/>
                <a:ext cx="75628" cy="75628"/>
                <a:chOff x="5748813" y="3721227"/>
                <a:chExt cx="75628" cy="75628"/>
              </a:xfrm>
            </p:grpSpPr>
            <p:sp>
              <p:nvSpPr>
                <p:cNvPr id="9550" name="Freeform: Shape 9549">
                  <a:extLst>
                    <a:ext uri="{FF2B5EF4-FFF2-40B4-BE49-F238E27FC236}">
                      <a16:creationId xmlns:a16="http://schemas.microsoft.com/office/drawing/2014/main" id="{19106298-7439-31A9-EAD7-0D5D4F6689E4}"/>
                    </a:ext>
                  </a:extLst>
                </p:cNvPr>
                <p:cNvSpPr/>
                <p:nvPr/>
              </p:nvSpPr>
              <p:spPr bwMode="gray">
                <a:xfrm>
                  <a:off x="5786628"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51" name="Freeform: Shape 9550">
                  <a:extLst>
                    <a:ext uri="{FF2B5EF4-FFF2-40B4-BE49-F238E27FC236}">
                      <a16:creationId xmlns:a16="http://schemas.microsoft.com/office/drawing/2014/main" id="{9FC316F3-7418-6457-413C-87F35AF74402}"/>
                    </a:ext>
                  </a:extLst>
                </p:cNvPr>
                <p:cNvSpPr/>
                <p:nvPr/>
              </p:nvSpPr>
              <p:spPr bwMode="gray">
                <a:xfrm>
                  <a:off x="5748813"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2" name="Graphic 401">
                <a:extLst>
                  <a:ext uri="{FF2B5EF4-FFF2-40B4-BE49-F238E27FC236}">
                    <a16:creationId xmlns:a16="http://schemas.microsoft.com/office/drawing/2014/main" id="{00A80579-2B73-E5A6-D7B9-B957E71990D7}"/>
                  </a:ext>
                </a:extLst>
              </p:cNvPr>
              <p:cNvGrpSpPr/>
              <p:nvPr/>
            </p:nvGrpSpPr>
            <p:grpSpPr bwMode="gray">
              <a:xfrm>
                <a:off x="5815679" y="3721227"/>
                <a:ext cx="75723" cy="75628"/>
                <a:chOff x="5815679" y="3721227"/>
                <a:chExt cx="75723" cy="75628"/>
              </a:xfrm>
            </p:grpSpPr>
            <p:sp>
              <p:nvSpPr>
                <p:cNvPr id="9548" name="Freeform: Shape 9547">
                  <a:extLst>
                    <a:ext uri="{FF2B5EF4-FFF2-40B4-BE49-F238E27FC236}">
                      <a16:creationId xmlns:a16="http://schemas.microsoft.com/office/drawing/2014/main" id="{9DC96F95-6561-6544-E3B7-52BEF8B08518}"/>
                    </a:ext>
                  </a:extLst>
                </p:cNvPr>
                <p:cNvSpPr/>
                <p:nvPr/>
              </p:nvSpPr>
              <p:spPr bwMode="gray">
                <a:xfrm>
                  <a:off x="5853493"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49" name="Freeform: Shape 9548">
                  <a:extLst>
                    <a:ext uri="{FF2B5EF4-FFF2-40B4-BE49-F238E27FC236}">
                      <a16:creationId xmlns:a16="http://schemas.microsoft.com/office/drawing/2014/main" id="{2CD7322B-6604-38CC-50FB-EFBA41ED6B38}"/>
                    </a:ext>
                  </a:extLst>
                </p:cNvPr>
                <p:cNvSpPr/>
                <p:nvPr/>
              </p:nvSpPr>
              <p:spPr bwMode="gray">
                <a:xfrm>
                  <a:off x="5815679"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3" name="Graphic 401">
                <a:extLst>
                  <a:ext uri="{FF2B5EF4-FFF2-40B4-BE49-F238E27FC236}">
                    <a16:creationId xmlns:a16="http://schemas.microsoft.com/office/drawing/2014/main" id="{76765678-26EF-7E70-AF85-B97C046395AB}"/>
                  </a:ext>
                </a:extLst>
              </p:cNvPr>
              <p:cNvGrpSpPr/>
              <p:nvPr/>
            </p:nvGrpSpPr>
            <p:grpSpPr bwMode="gray">
              <a:xfrm>
                <a:off x="5848540" y="3721227"/>
                <a:ext cx="75628" cy="75628"/>
                <a:chOff x="5848540" y="3721227"/>
                <a:chExt cx="75628" cy="75628"/>
              </a:xfrm>
            </p:grpSpPr>
            <p:sp>
              <p:nvSpPr>
                <p:cNvPr id="9546" name="Freeform: Shape 9545">
                  <a:extLst>
                    <a:ext uri="{FF2B5EF4-FFF2-40B4-BE49-F238E27FC236}">
                      <a16:creationId xmlns:a16="http://schemas.microsoft.com/office/drawing/2014/main" id="{6AE5AF40-409E-6620-B5E7-E5CE7C2E0282}"/>
                    </a:ext>
                  </a:extLst>
                </p:cNvPr>
                <p:cNvSpPr/>
                <p:nvPr/>
              </p:nvSpPr>
              <p:spPr bwMode="gray">
                <a:xfrm>
                  <a:off x="5886354"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47" name="Freeform: Shape 9546">
                  <a:extLst>
                    <a:ext uri="{FF2B5EF4-FFF2-40B4-BE49-F238E27FC236}">
                      <a16:creationId xmlns:a16="http://schemas.microsoft.com/office/drawing/2014/main" id="{C9D4392A-E44B-4389-0688-C7CD39E7FF7B}"/>
                    </a:ext>
                  </a:extLst>
                </p:cNvPr>
                <p:cNvSpPr/>
                <p:nvPr/>
              </p:nvSpPr>
              <p:spPr bwMode="gray">
                <a:xfrm>
                  <a:off x="5848540" y="375904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4" name="Graphic 401">
                <a:extLst>
                  <a:ext uri="{FF2B5EF4-FFF2-40B4-BE49-F238E27FC236}">
                    <a16:creationId xmlns:a16="http://schemas.microsoft.com/office/drawing/2014/main" id="{C572BD93-4CE7-D966-FB53-9FD10EDEF2C8}"/>
                  </a:ext>
                </a:extLst>
              </p:cNvPr>
              <p:cNvGrpSpPr/>
              <p:nvPr/>
            </p:nvGrpSpPr>
            <p:grpSpPr bwMode="gray">
              <a:xfrm>
                <a:off x="5706237" y="3721227"/>
                <a:ext cx="75723" cy="75628"/>
                <a:chOff x="5706237" y="3721227"/>
                <a:chExt cx="75723" cy="75628"/>
              </a:xfrm>
            </p:grpSpPr>
            <p:sp>
              <p:nvSpPr>
                <p:cNvPr id="9544" name="Freeform: Shape 9543">
                  <a:extLst>
                    <a:ext uri="{FF2B5EF4-FFF2-40B4-BE49-F238E27FC236}">
                      <a16:creationId xmlns:a16="http://schemas.microsoft.com/office/drawing/2014/main" id="{9199A895-5885-96AC-9EE3-0225E2720F2A}"/>
                    </a:ext>
                  </a:extLst>
                </p:cNvPr>
                <p:cNvSpPr/>
                <p:nvPr/>
              </p:nvSpPr>
              <p:spPr bwMode="gray">
                <a:xfrm>
                  <a:off x="574405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45" name="Freeform: Shape 9544">
                  <a:extLst>
                    <a:ext uri="{FF2B5EF4-FFF2-40B4-BE49-F238E27FC236}">
                      <a16:creationId xmlns:a16="http://schemas.microsoft.com/office/drawing/2014/main" id="{B7D601C6-6067-216E-80D3-C39D7C7C760F}"/>
                    </a:ext>
                  </a:extLst>
                </p:cNvPr>
                <p:cNvSpPr/>
                <p:nvPr/>
              </p:nvSpPr>
              <p:spPr bwMode="gray">
                <a:xfrm>
                  <a:off x="5706237"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5" name="Graphic 401">
                <a:extLst>
                  <a:ext uri="{FF2B5EF4-FFF2-40B4-BE49-F238E27FC236}">
                    <a16:creationId xmlns:a16="http://schemas.microsoft.com/office/drawing/2014/main" id="{784CBB71-28CC-8C8F-06C0-1DD1020C60F4}"/>
                  </a:ext>
                </a:extLst>
              </p:cNvPr>
              <p:cNvGrpSpPr/>
              <p:nvPr/>
            </p:nvGrpSpPr>
            <p:grpSpPr bwMode="gray">
              <a:xfrm>
                <a:off x="5696807" y="3721227"/>
                <a:ext cx="75723" cy="75628"/>
                <a:chOff x="5696807" y="3721227"/>
                <a:chExt cx="75723" cy="75628"/>
              </a:xfrm>
            </p:grpSpPr>
            <p:sp>
              <p:nvSpPr>
                <p:cNvPr id="9542" name="Freeform: Shape 9541">
                  <a:extLst>
                    <a:ext uri="{FF2B5EF4-FFF2-40B4-BE49-F238E27FC236}">
                      <a16:creationId xmlns:a16="http://schemas.microsoft.com/office/drawing/2014/main" id="{EEE46498-E112-EA92-879C-ED24CA982AF1}"/>
                    </a:ext>
                  </a:extLst>
                </p:cNvPr>
                <p:cNvSpPr/>
                <p:nvPr/>
              </p:nvSpPr>
              <p:spPr bwMode="gray">
                <a:xfrm>
                  <a:off x="5734621"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43" name="Freeform: Shape 9542">
                  <a:extLst>
                    <a:ext uri="{FF2B5EF4-FFF2-40B4-BE49-F238E27FC236}">
                      <a16:creationId xmlns:a16="http://schemas.microsoft.com/office/drawing/2014/main" id="{EB354573-66BA-336C-5A49-ABD27A2824AD}"/>
                    </a:ext>
                  </a:extLst>
                </p:cNvPr>
                <p:cNvSpPr/>
                <p:nvPr/>
              </p:nvSpPr>
              <p:spPr bwMode="gray">
                <a:xfrm>
                  <a:off x="5696807"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6" name="Graphic 401">
                <a:extLst>
                  <a:ext uri="{FF2B5EF4-FFF2-40B4-BE49-F238E27FC236}">
                    <a16:creationId xmlns:a16="http://schemas.microsoft.com/office/drawing/2014/main" id="{8F9BF101-B50A-8D83-595E-3107E6782A53}"/>
                  </a:ext>
                </a:extLst>
              </p:cNvPr>
              <p:cNvGrpSpPr/>
              <p:nvPr/>
            </p:nvGrpSpPr>
            <p:grpSpPr bwMode="gray">
              <a:xfrm>
                <a:off x="5683091" y="3721227"/>
                <a:ext cx="75723" cy="75628"/>
                <a:chOff x="5683091" y="3721227"/>
                <a:chExt cx="75723" cy="75628"/>
              </a:xfrm>
            </p:grpSpPr>
            <p:sp>
              <p:nvSpPr>
                <p:cNvPr id="9540" name="Freeform: Shape 9539">
                  <a:extLst>
                    <a:ext uri="{FF2B5EF4-FFF2-40B4-BE49-F238E27FC236}">
                      <a16:creationId xmlns:a16="http://schemas.microsoft.com/office/drawing/2014/main" id="{5F3D0265-60AF-A11E-D1A6-E4698EBC3F70}"/>
                    </a:ext>
                  </a:extLst>
                </p:cNvPr>
                <p:cNvSpPr/>
                <p:nvPr/>
              </p:nvSpPr>
              <p:spPr bwMode="gray">
                <a:xfrm>
                  <a:off x="5721000" y="37212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41" name="Freeform: Shape 9540">
                  <a:extLst>
                    <a:ext uri="{FF2B5EF4-FFF2-40B4-BE49-F238E27FC236}">
                      <a16:creationId xmlns:a16="http://schemas.microsoft.com/office/drawing/2014/main" id="{94AC7F88-F089-73AF-74C6-CF29D5C422C2}"/>
                    </a:ext>
                  </a:extLst>
                </p:cNvPr>
                <p:cNvSpPr/>
                <p:nvPr/>
              </p:nvSpPr>
              <p:spPr bwMode="gray">
                <a:xfrm>
                  <a:off x="5683091" y="37590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7" name="Graphic 401">
                <a:extLst>
                  <a:ext uri="{FF2B5EF4-FFF2-40B4-BE49-F238E27FC236}">
                    <a16:creationId xmlns:a16="http://schemas.microsoft.com/office/drawing/2014/main" id="{F7C9AE7F-33D1-B1F9-1F21-D494F2E26D0D}"/>
                  </a:ext>
                </a:extLst>
              </p:cNvPr>
              <p:cNvGrpSpPr/>
              <p:nvPr/>
            </p:nvGrpSpPr>
            <p:grpSpPr bwMode="gray">
              <a:xfrm>
                <a:off x="5643276" y="3696271"/>
                <a:ext cx="75723" cy="75723"/>
                <a:chOff x="5643276" y="3696271"/>
                <a:chExt cx="75723" cy="75723"/>
              </a:xfrm>
            </p:grpSpPr>
            <p:sp>
              <p:nvSpPr>
                <p:cNvPr id="9538" name="Freeform: Shape 9537">
                  <a:extLst>
                    <a:ext uri="{FF2B5EF4-FFF2-40B4-BE49-F238E27FC236}">
                      <a16:creationId xmlns:a16="http://schemas.microsoft.com/office/drawing/2014/main" id="{66CA66BD-8DA4-3E5C-5868-4BB1CBAE4463}"/>
                    </a:ext>
                  </a:extLst>
                </p:cNvPr>
                <p:cNvSpPr/>
                <p:nvPr/>
              </p:nvSpPr>
              <p:spPr bwMode="gray">
                <a:xfrm>
                  <a:off x="5681186" y="369627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39" name="Freeform: Shape 9538">
                  <a:extLst>
                    <a:ext uri="{FF2B5EF4-FFF2-40B4-BE49-F238E27FC236}">
                      <a16:creationId xmlns:a16="http://schemas.microsoft.com/office/drawing/2014/main" id="{EB503C19-9CE3-9B22-70FA-71426D8E1BA6}"/>
                    </a:ext>
                  </a:extLst>
                </p:cNvPr>
                <p:cNvSpPr/>
                <p:nvPr/>
              </p:nvSpPr>
              <p:spPr bwMode="gray">
                <a:xfrm>
                  <a:off x="5643276" y="373418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8" name="Graphic 401">
                <a:extLst>
                  <a:ext uri="{FF2B5EF4-FFF2-40B4-BE49-F238E27FC236}">
                    <a16:creationId xmlns:a16="http://schemas.microsoft.com/office/drawing/2014/main" id="{713AEA48-D69B-938E-4DFB-AAEC0DFD44DD}"/>
                  </a:ext>
                </a:extLst>
              </p:cNvPr>
              <p:cNvGrpSpPr/>
              <p:nvPr/>
            </p:nvGrpSpPr>
            <p:grpSpPr bwMode="gray">
              <a:xfrm>
                <a:off x="5578887" y="3661314"/>
                <a:ext cx="75628" cy="75723"/>
                <a:chOff x="5578887" y="3661314"/>
                <a:chExt cx="75628" cy="75723"/>
              </a:xfrm>
            </p:grpSpPr>
            <p:sp>
              <p:nvSpPr>
                <p:cNvPr id="9536" name="Freeform: Shape 9535">
                  <a:extLst>
                    <a:ext uri="{FF2B5EF4-FFF2-40B4-BE49-F238E27FC236}">
                      <a16:creationId xmlns:a16="http://schemas.microsoft.com/office/drawing/2014/main" id="{DD6DF2FE-3DEC-6835-F1D5-088BAEA90E54}"/>
                    </a:ext>
                  </a:extLst>
                </p:cNvPr>
                <p:cNvSpPr/>
                <p:nvPr/>
              </p:nvSpPr>
              <p:spPr bwMode="gray">
                <a:xfrm>
                  <a:off x="5616702" y="36613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37" name="Freeform: Shape 9536">
                  <a:extLst>
                    <a:ext uri="{FF2B5EF4-FFF2-40B4-BE49-F238E27FC236}">
                      <a16:creationId xmlns:a16="http://schemas.microsoft.com/office/drawing/2014/main" id="{383B237D-1A7E-520C-77BC-87E90C7F41A7}"/>
                    </a:ext>
                  </a:extLst>
                </p:cNvPr>
                <p:cNvSpPr/>
                <p:nvPr/>
              </p:nvSpPr>
              <p:spPr bwMode="gray">
                <a:xfrm>
                  <a:off x="5578887" y="36992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19" name="Graphic 401">
                <a:extLst>
                  <a:ext uri="{FF2B5EF4-FFF2-40B4-BE49-F238E27FC236}">
                    <a16:creationId xmlns:a16="http://schemas.microsoft.com/office/drawing/2014/main" id="{CD5CEC75-3197-F4C9-0BE6-9F3052124B6A}"/>
                  </a:ext>
                </a:extLst>
              </p:cNvPr>
              <p:cNvGrpSpPr/>
              <p:nvPr/>
            </p:nvGrpSpPr>
            <p:grpSpPr bwMode="gray">
              <a:xfrm>
                <a:off x="5515356" y="3661314"/>
                <a:ext cx="75628" cy="75723"/>
                <a:chOff x="5515356" y="3661314"/>
                <a:chExt cx="75628" cy="75723"/>
              </a:xfrm>
            </p:grpSpPr>
            <p:sp>
              <p:nvSpPr>
                <p:cNvPr id="9534" name="Freeform: Shape 9533">
                  <a:extLst>
                    <a:ext uri="{FF2B5EF4-FFF2-40B4-BE49-F238E27FC236}">
                      <a16:creationId xmlns:a16="http://schemas.microsoft.com/office/drawing/2014/main" id="{53C906FA-CE26-5A56-AA62-451A301DA9F2}"/>
                    </a:ext>
                  </a:extLst>
                </p:cNvPr>
                <p:cNvSpPr/>
                <p:nvPr/>
              </p:nvSpPr>
              <p:spPr bwMode="gray">
                <a:xfrm>
                  <a:off x="5553170" y="366131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35" name="Freeform: Shape 9534">
                  <a:extLst>
                    <a:ext uri="{FF2B5EF4-FFF2-40B4-BE49-F238E27FC236}">
                      <a16:creationId xmlns:a16="http://schemas.microsoft.com/office/drawing/2014/main" id="{C268AF53-38A9-4C56-000D-883D885DEE2E}"/>
                    </a:ext>
                  </a:extLst>
                </p:cNvPr>
                <p:cNvSpPr/>
                <p:nvPr/>
              </p:nvSpPr>
              <p:spPr bwMode="gray">
                <a:xfrm>
                  <a:off x="5515356" y="3699224"/>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0" name="Graphic 401">
                <a:extLst>
                  <a:ext uri="{FF2B5EF4-FFF2-40B4-BE49-F238E27FC236}">
                    <a16:creationId xmlns:a16="http://schemas.microsoft.com/office/drawing/2014/main" id="{DA59271C-3594-6F79-84C2-4492DC07EEE1}"/>
                  </a:ext>
                </a:extLst>
              </p:cNvPr>
              <p:cNvGrpSpPr/>
              <p:nvPr/>
            </p:nvGrpSpPr>
            <p:grpSpPr bwMode="gray">
              <a:xfrm>
                <a:off x="5455158" y="3638264"/>
                <a:ext cx="75628" cy="75628"/>
                <a:chOff x="5455158" y="3638264"/>
                <a:chExt cx="75628" cy="75628"/>
              </a:xfrm>
            </p:grpSpPr>
            <p:sp>
              <p:nvSpPr>
                <p:cNvPr id="9532" name="Freeform: Shape 9531">
                  <a:extLst>
                    <a:ext uri="{FF2B5EF4-FFF2-40B4-BE49-F238E27FC236}">
                      <a16:creationId xmlns:a16="http://schemas.microsoft.com/office/drawing/2014/main" id="{FE38D13C-F228-5A8A-E03F-E68399409D72}"/>
                    </a:ext>
                  </a:extLst>
                </p:cNvPr>
                <p:cNvSpPr/>
                <p:nvPr/>
              </p:nvSpPr>
              <p:spPr bwMode="gray">
                <a:xfrm>
                  <a:off x="5492972" y="3638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33" name="Freeform: Shape 9532">
                  <a:extLst>
                    <a:ext uri="{FF2B5EF4-FFF2-40B4-BE49-F238E27FC236}">
                      <a16:creationId xmlns:a16="http://schemas.microsoft.com/office/drawing/2014/main" id="{3D8CD6CB-C073-019E-5455-CCE8E00B98E7}"/>
                    </a:ext>
                  </a:extLst>
                </p:cNvPr>
                <p:cNvSpPr/>
                <p:nvPr/>
              </p:nvSpPr>
              <p:spPr bwMode="gray">
                <a:xfrm>
                  <a:off x="5455158" y="3676078"/>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1" name="Graphic 401">
                <a:extLst>
                  <a:ext uri="{FF2B5EF4-FFF2-40B4-BE49-F238E27FC236}">
                    <a16:creationId xmlns:a16="http://schemas.microsoft.com/office/drawing/2014/main" id="{BC8A15DD-FAFE-3E9E-D7D8-AADB232D23E0}"/>
                  </a:ext>
                </a:extLst>
              </p:cNvPr>
              <p:cNvGrpSpPr/>
              <p:nvPr/>
            </p:nvGrpSpPr>
            <p:grpSpPr bwMode="gray">
              <a:xfrm>
                <a:off x="5368480" y="3638264"/>
                <a:ext cx="75723" cy="75628"/>
                <a:chOff x="5368480" y="3638264"/>
                <a:chExt cx="75723" cy="75628"/>
              </a:xfrm>
            </p:grpSpPr>
            <p:sp>
              <p:nvSpPr>
                <p:cNvPr id="9530" name="Freeform: Shape 9529">
                  <a:extLst>
                    <a:ext uri="{FF2B5EF4-FFF2-40B4-BE49-F238E27FC236}">
                      <a16:creationId xmlns:a16="http://schemas.microsoft.com/office/drawing/2014/main" id="{8777EC34-5CA4-AA1C-C6D2-3E5D4D54117E}"/>
                    </a:ext>
                  </a:extLst>
                </p:cNvPr>
                <p:cNvSpPr/>
                <p:nvPr/>
              </p:nvSpPr>
              <p:spPr bwMode="gray">
                <a:xfrm>
                  <a:off x="5406390" y="3638264"/>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31" name="Freeform: Shape 9530">
                  <a:extLst>
                    <a:ext uri="{FF2B5EF4-FFF2-40B4-BE49-F238E27FC236}">
                      <a16:creationId xmlns:a16="http://schemas.microsoft.com/office/drawing/2014/main" id="{09856859-DAAE-4817-9EBA-45D6B206CE8A}"/>
                    </a:ext>
                  </a:extLst>
                </p:cNvPr>
                <p:cNvSpPr/>
                <p:nvPr/>
              </p:nvSpPr>
              <p:spPr bwMode="gray">
                <a:xfrm>
                  <a:off x="5368480" y="367607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2" name="Graphic 401">
                <a:extLst>
                  <a:ext uri="{FF2B5EF4-FFF2-40B4-BE49-F238E27FC236}">
                    <a16:creationId xmlns:a16="http://schemas.microsoft.com/office/drawing/2014/main" id="{8C90EE18-02B3-F022-FCE8-86A55E769EAA}"/>
                  </a:ext>
                </a:extLst>
              </p:cNvPr>
              <p:cNvGrpSpPr/>
              <p:nvPr/>
            </p:nvGrpSpPr>
            <p:grpSpPr bwMode="gray">
              <a:xfrm>
                <a:off x="5310092" y="3555587"/>
                <a:ext cx="75723" cy="75628"/>
                <a:chOff x="5310092" y="3555587"/>
                <a:chExt cx="75723" cy="75628"/>
              </a:xfrm>
            </p:grpSpPr>
            <p:sp>
              <p:nvSpPr>
                <p:cNvPr id="9528" name="Freeform: Shape 9527">
                  <a:extLst>
                    <a:ext uri="{FF2B5EF4-FFF2-40B4-BE49-F238E27FC236}">
                      <a16:creationId xmlns:a16="http://schemas.microsoft.com/office/drawing/2014/main" id="{8979D27C-BC14-A7F9-7EFA-53A4BCB3371E}"/>
                    </a:ext>
                  </a:extLst>
                </p:cNvPr>
                <p:cNvSpPr/>
                <p:nvPr/>
              </p:nvSpPr>
              <p:spPr bwMode="gray">
                <a:xfrm>
                  <a:off x="5348001" y="355558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29" name="Freeform: Shape 9528">
                  <a:extLst>
                    <a:ext uri="{FF2B5EF4-FFF2-40B4-BE49-F238E27FC236}">
                      <a16:creationId xmlns:a16="http://schemas.microsoft.com/office/drawing/2014/main" id="{798CF4B1-4448-B5E8-F045-069D370812CA}"/>
                    </a:ext>
                  </a:extLst>
                </p:cNvPr>
                <p:cNvSpPr/>
                <p:nvPr/>
              </p:nvSpPr>
              <p:spPr bwMode="gray">
                <a:xfrm>
                  <a:off x="5310092" y="359340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3" name="Graphic 401">
                <a:extLst>
                  <a:ext uri="{FF2B5EF4-FFF2-40B4-BE49-F238E27FC236}">
                    <a16:creationId xmlns:a16="http://schemas.microsoft.com/office/drawing/2014/main" id="{FA28C4C1-D782-4C29-F60A-E6E3DC391473}"/>
                  </a:ext>
                </a:extLst>
              </p:cNvPr>
              <p:cNvGrpSpPr/>
              <p:nvPr/>
            </p:nvGrpSpPr>
            <p:grpSpPr bwMode="gray">
              <a:xfrm>
                <a:off x="5230749" y="3528155"/>
                <a:ext cx="75723" cy="75723"/>
                <a:chOff x="5230749" y="3528155"/>
                <a:chExt cx="75723" cy="75723"/>
              </a:xfrm>
            </p:grpSpPr>
            <p:sp>
              <p:nvSpPr>
                <p:cNvPr id="9526" name="Freeform: Shape 9525">
                  <a:extLst>
                    <a:ext uri="{FF2B5EF4-FFF2-40B4-BE49-F238E27FC236}">
                      <a16:creationId xmlns:a16="http://schemas.microsoft.com/office/drawing/2014/main" id="{CECB1875-B84F-CE60-942C-3D9A61E6B88C}"/>
                    </a:ext>
                  </a:extLst>
                </p:cNvPr>
                <p:cNvSpPr/>
                <p:nvPr/>
              </p:nvSpPr>
              <p:spPr bwMode="gray">
                <a:xfrm>
                  <a:off x="5268658" y="352815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27" name="Freeform: Shape 9526">
                  <a:extLst>
                    <a:ext uri="{FF2B5EF4-FFF2-40B4-BE49-F238E27FC236}">
                      <a16:creationId xmlns:a16="http://schemas.microsoft.com/office/drawing/2014/main" id="{D55DD3AC-B34C-4508-C6C2-DB934F49E58F}"/>
                    </a:ext>
                  </a:extLst>
                </p:cNvPr>
                <p:cNvSpPr/>
                <p:nvPr/>
              </p:nvSpPr>
              <p:spPr bwMode="gray">
                <a:xfrm>
                  <a:off x="5230749" y="35660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4" name="Graphic 401">
                <a:extLst>
                  <a:ext uri="{FF2B5EF4-FFF2-40B4-BE49-F238E27FC236}">
                    <a16:creationId xmlns:a16="http://schemas.microsoft.com/office/drawing/2014/main" id="{B95248E7-C41C-F6F4-DD22-1D3207BC655F}"/>
                  </a:ext>
                </a:extLst>
              </p:cNvPr>
              <p:cNvGrpSpPr/>
              <p:nvPr/>
            </p:nvGrpSpPr>
            <p:grpSpPr bwMode="gray">
              <a:xfrm>
                <a:off x="5135308" y="3448526"/>
                <a:ext cx="75723" cy="75723"/>
                <a:chOff x="5135308" y="3448526"/>
                <a:chExt cx="75723" cy="75723"/>
              </a:xfrm>
            </p:grpSpPr>
            <p:sp>
              <p:nvSpPr>
                <p:cNvPr id="9524" name="Freeform: Shape 9523">
                  <a:extLst>
                    <a:ext uri="{FF2B5EF4-FFF2-40B4-BE49-F238E27FC236}">
                      <a16:creationId xmlns:a16="http://schemas.microsoft.com/office/drawing/2014/main" id="{5BC2D462-3FCF-76AC-7EE9-681D47373566}"/>
                    </a:ext>
                  </a:extLst>
                </p:cNvPr>
                <p:cNvSpPr/>
                <p:nvPr/>
              </p:nvSpPr>
              <p:spPr bwMode="gray">
                <a:xfrm>
                  <a:off x="5173218" y="344852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25" name="Freeform: Shape 9524">
                  <a:extLst>
                    <a:ext uri="{FF2B5EF4-FFF2-40B4-BE49-F238E27FC236}">
                      <a16:creationId xmlns:a16="http://schemas.microsoft.com/office/drawing/2014/main" id="{52542302-4CA9-6794-D5F0-54BAE32E7035}"/>
                    </a:ext>
                  </a:extLst>
                </p:cNvPr>
                <p:cNvSpPr/>
                <p:nvPr/>
              </p:nvSpPr>
              <p:spPr bwMode="gray">
                <a:xfrm>
                  <a:off x="5135308" y="348643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5" name="Graphic 401">
                <a:extLst>
                  <a:ext uri="{FF2B5EF4-FFF2-40B4-BE49-F238E27FC236}">
                    <a16:creationId xmlns:a16="http://schemas.microsoft.com/office/drawing/2014/main" id="{5CF05C39-294B-4458-90FB-DEA146AA9376}"/>
                  </a:ext>
                </a:extLst>
              </p:cNvPr>
              <p:cNvGrpSpPr/>
              <p:nvPr/>
            </p:nvGrpSpPr>
            <p:grpSpPr bwMode="gray">
              <a:xfrm>
                <a:off x="5094922" y="3419951"/>
                <a:ext cx="75723" cy="75723"/>
                <a:chOff x="5094922" y="3419951"/>
                <a:chExt cx="75723" cy="75723"/>
              </a:xfrm>
            </p:grpSpPr>
            <p:sp>
              <p:nvSpPr>
                <p:cNvPr id="9522" name="Freeform: Shape 9521">
                  <a:extLst>
                    <a:ext uri="{FF2B5EF4-FFF2-40B4-BE49-F238E27FC236}">
                      <a16:creationId xmlns:a16="http://schemas.microsoft.com/office/drawing/2014/main" id="{948B6B51-43CF-4927-963F-A2EF4EAE6073}"/>
                    </a:ext>
                  </a:extLst>
                </p:cNvPr>
                <p:cNvSpPr/>
                <p:nvPr/>
              </p:nvSpPr>
              <p:spPr bwMode="gray">
                <a:xfrm>
                  <a:off x="5132736" y="341995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23" name="Freeform: Shape 9522">
                  <a:extLst>
                    <a:ext uri="{FF2B5EF4-FFF2-40B4-BE49-F238E27FC236}">
                      <a16:creationId xmlns:a16="http://schemas.microsoft.com/office/drawing/2014/main" id="{54C0ACB3-B86C-2404-8DE6-B8A5B7A5C1D6}"/>
                    </a:ext>
                  </a:extLst>
                </p:cNvPr>
                <p:cNvSpPr/>
                <p:nvPr/>
              </p:nvSpPr>
              <p:spPr bwMode="gray">
                <a:xfrm>
                  <a:off x="5094922" y="34578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6" name="Graphic 401">
                <a:extLst>
                  <a:ext uri="{FF2B5EF4-FFF2-40B4-BE49-F238E27FC236}">
                    <a16:creationId xmlns:a16="http://schemas.microsoft.com/office/drawing/2014/main" id="{D4AD4BAC-C7A4-365B-C547-67DD83B2CA28}"/>
                  </a:ext>
                </a:extLst>
              </p:cNvPr>
              <p:cNvGrpSpPr/>
              <p:nvPr/>
            </p:nvGrpSpPr>
            <p:grpSpPr bwMode="gray">
              <a:xfrm>
                <a:off x="5043582" y="3312033"/>
                <a:ext cx="75628" cy="75723"/>
                <a:chOff x="5043582" y="3312033"/>
                <a:chExt cx="75628" cy="75723"/>
              </a:xfrm>
            </p:grpSpPr>
            <p:sp>
              <p:nvSpPr>
                <p:cNvPr id="9520" name="Freeform: Shape 9519">
                  <a:extLst>
                    <a:ext uri="{FF2B5EF4-FFF2-40B4-BE49-F238E27FC236}">
                      <a16:creationId xmlns:a16="http://schemas.microsoft.com/office/drawing/2014/main" id="{958D9120-78BA-A307-6AE6-08FC5E6C6096}"/>
                    </a:ext>
                  </a:extLst>
                </p:cNvPr>
                <p:cNvSpPr/>
                <p:nvPr/>
              </p:nvSpPr>
              <p:spPr bwMode="gray">
                <a:xfrm>
                  <a:off x="5081397" y="331203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21" name="Freeform: Shape 9520">
                  <a:extLst>
                    <a:ext uri="{FF2B5EF4-FFF2-40B4-BE49-F238E27FC236}">
                      <a16:creationId xmlns:a16="http://schemas.microsoft.com/office/drawing/2014/main" id="{6BEB2939-91A8-729B-69D7-F687FBAC0608}"/>
                    </a:ext>
                  </a:extLst>
                </p:cNvPr>
                <p:cNvSpPr/>
                <p:nvPr/>
              </p:nvSpPr>
              <p:spPr bwMode="gray">
                <a:xfrm>
                  <a:off x="5043582" y="3349942"/>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7" name="Graphic 401">
                <a:extLst>
                  <a:ext uri="{FF2B5EF4-FFF2-40B4-BE49-F238E27FC236}">
                    <a16:creationId xmlns:a16="http://schemas.microsoft.com/office/drawing/2014/main" id="{43686855-531D-3C22-48F1-85AE16106FC3}"/>
                  </a:ext>
                </a:extLst>
              </p:cNvPr>
              <p:cNvGrpSpPr/>
              <p:nvPr/>
            </p:nvGrpSpPr>
            <p:grpSpPr bwMode="gray">
              <a:xfrm>
                <a:off x="5005673" y="3230975"/>
                <a:ext cx="75723" cy="75723"/>
                <a:chOff x="5005673" y="3230975"/>
                <a:chExt cx="75723" cy="75723"/>
              </a:xfrm>
            </p:grpSpPr>
            <p:sp>
              <p:nvSpPr>
                <p:cNvPr id="9518" name="Freeform: Shape 9517">
                  <a:extLst>
                    <a:ext uri="{FF2B5EF4-FFF2-40B4-BE49-F238E27FC236}">
                      <a16:creationId xmlns:a16="http://schemas.microsoft.com/office/drawing/2014/main" id="{88633D55-F787-B3A4-B04E-B26339969111}"/>
                    </a:ext>
                  </a:extLst>
                </p:cNvPr>
                <p:cNvSpPr/>
                <p:nvPr/>
              </p:nvSpPr>
              <p:spPr bwMode="gray">
                <a:xfrm>
                  <a:off x="5043582" y="32309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19" name="Freeform: Shape 9518">
                  <a:extLst>
                    <a:ext uri="{FF2B5EF4-FFF2-40B4-BE49-F238E27FC236}">
                      <a16:creationId xmlns:a16="http://schemas.microsoft.com/office/drawing/2014/main" id="{B547B276-7457-E639-1D61-708DE9B49184}"/>
                    </a:ext>
                  </a:extLst>
                </p:cNvPr>
                <p:cNvSpPr/>
                <p:nvPr/>
              </p:nvSpPr>
              <p:spPr bwMode="gray">
                <a:xfrm>
                  <a:off x="5005673" y="326888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8" name="Graphic 401">
                <a:extLst>
                  <a:ext uri="{FF2B5EF4-FFF2-40B4-BE49-F238E27FC236}">
                    <a16:creationId xmlns:a16="http://schemas.microsoft.com/office/drawing/2014/main" id="{9D305CD6-1BF6-8200-BD31-746D17E17C50}"/>
                  </a:ext>
                </a:extLst>
              </p:cNvPr>
              <p:cNvGrpSpPr/>
              <p:nvPr/>
            </p:nvGrpSpPr>
            <p:grpSpPr bwMode="gray">
              <a:xfrm>
                <a:off x="4912233" y="3126771"/>
                <a:ext cx="75628" cy="75628"/>
                <a:chOff x="4912233" y="3126771"/>
                <a:chExt cx="75628" cy="75628"/>
              </a:xfrm>
            </p:grpSpPr>
            <p:sp>
              <p:nvSpPr>
                <p:cNvPr id="9516" name="Freeform: Shape 9515">
                  <a:extLst>
                    <a:ext uri="{FF2B5EF4-FFF2-40B4-BE49-F238E27FC236}">
                      <a16:creationId xmlns:a16="http://schemas.microsoft.com/office/drawing/2014/main" id="{A097346C-7961-8C71-7AFB-BF7C5425493F}"/>
                    </a:ext>
                  </a:extLst>
                </p:cNvPr>
                <p:cNvSpPr/>
                <p:nvPr/>
              </p:nvSpPr>
              <p:spPr bwMode="gray">
                <a:xfrm>
                  <a:off x="4950047"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17" name="Freeform: Shape 9516">
                  <a:extLst>
                    <a:ext uri="{FF2B5EF4-FFF2-40B4-BE49-F238E27FC236}">
                      <a16:creationId xmlns:a16="http://schemas.microsoft.com/office/drawing/2014/main" id="{5573E259-AB64-D530-12A7-C564942B0B08}"/>
                    </a:ext>
                  </a:extLst>
                </p:cNvPr>
                <p:cNvSpPr/>
                <p:nvPr/>
              </p:nvSpPr>
              <p:spPr bwMode="gray">
                <a:xfrm>
                  <a:off x="4912233" y="31645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29" name="Graphic 401">
                <a:extLst>
                  <a:ext uri="{FF2B5EF4-FFF2-40B4-BE49-F238E27FC236}">
                    <a16:creationId xmlns:a16="http://schemas.microsoft.com/office/drawing/2014/main" id="{02FE56EB-A81B-A5EC-C83A-EDFAAC99A612}"/>
                  </a:ext>
                </a:extLst>
              </p:cNvPr>
              <p:cNvGrpSpPr/>
              <p:nvPr/>
            </p:nvGrpSpPr>
            <p:grpSpPr bwMode="gray">
              <a:xfrm>
                <a:off x="4827746" y="3126771"/>
                <a:ext cx="75628" cy="75628"/>
                <a:chOff x="4827746" y="3126771"/>
                <a:chExt cx="75628" cy="75628"/>
              </a:xfrm>
            </p:grpSpPr>
            <p:sp>
              <p:nvSpPr>
                <p:cNvPr id="9514" name="Freeform: Shape 9513">
                  <a:extLst>
                    <a:ext uri="{FF2B5EF4-FFF2-40B4-BE49-F238E27FC236}">
                      <a16:creationId xmlns:a16="http://schemas.microsoft.com/office/drawing/2014/main" id="{DB6C54DB-B281-34FC-18B0-863C575262A6}"/>
                    </a:ext>
                  </a:extLst>
                </p:cNvPr>
                <p:cNvSpPr/>
                <p:nvPr/>
              </p:nvSpPr>
              <p:spPr bwMode="gray">
                <a:xfrm>
                  <a:off x="4865560"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15" name="Freeform: Shape 9514">
                  <a:extLst>
                    <a:ext uri="{FF2B5EF4-FFF2-40B4-BE49-F238E27FC236}">
                      <a16:creationId xmlns:a16="http://schemas.microsoft.com/office/drawing/2014/main" id="{5897E039-90C2-EEF6-8A78-E6A7F67E4C86}"/>
                    </a:ext>
                  </a:extLst>
                </p:cNvPr>
                <p:cNvSpPr/>
                <p:nvPr/>
              </p:nvSpPr>
              <p:spPr bwMode="gray">
                <a:xfrm>
                  <a:off x="4827746" y="31645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0" name="Graphic 401">
                <a:extLst>
                  <a:ext uri="{FF2B5EF4-FFF2-40B4-BE49-F238E27FC236}">
                    <a16:creationId xmlns:a16="http://schemas.microsoft.com/office/drawing/2014/main" id="{27A7FFE3-48D8-8043-C672-3478C899AB88}"/>
                  </a:ext>
                </a:extLst>
              </p:cNvPr>
              <p:cNvGrpSpPr/>
              <p:nvPr/>
            </p:nvGrpSpPr>
            <p:grpSpPr bwMode="gray">
              <a:xfrm>
                <a:off x="4788503" y="3126771"/>
                <a:ext cx="75723" cy="75628"/>
                <a:chOff x="4788503" y="3126771"/>
                <a:chExt cx="75723" cy="75628"/>
              </a:xfrm>
            </p:grpSpPr>
            <p:sp>
              <p:nvSpPr>
                <p:cNvPr id="9512" name="Freeform: Shape 9511">
                  <a:extLst>
                    <a:ext uri="{FF2B5EF4-FFF2-40B4-BE49-F238E27FC236}">
                      <a16:creationId xmlns:a16="http://schemas.microsoft.com/office/drawing/2014/main" id="{17D09574-77D2-ED16-EB6C-4B51BAE7B817}"/>
                    </a:ext>
                  </a:extLst>
                </p:cNvPr>
                <p:cNvSpPr/>
                <p:nvPr/>
              </p:nvSpPr>
              <p:spPr bwMode="gray">
                <a:xfrm>
                  <a:off x="4826317"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13" name="Freeform: Shape 9512">
                  <a:extLst>
                    <a:ext uri="{FF2B5EF4-FFF2-40B4-BE49-F238E27FC236}">
                      <a16:creationId xmlns:a16="http://schemas.microsoft.com/office/drawing/2014/main" id="{18B373CA-E08D-712E-D27B-4C6E382D3DAA}"/>
                    </a:ext>
                  </a:extLst>
                </p:cNvPr>
                <p:cNvSpPr/>
                <p:nvPr/>
              </p:nvSpPr>
              <p:spPr bwMode="gray">
                <a:xfrm>
                  <a:off x="4788503" y="31645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1" name="Graphic 401">
                <a:extLst>
                  <a:ext uri="{FF2B5EF4-FFF2-40B4-BE49-F238E27FC236}">
                    <a16:creationId xmlns:a16="http://schemas.microsoft.com/office/drawing/2014/main" id="{E3941C1A-9211-402A-3985-E9268E951200}"/>
                  </a:ext>
                </a:extLst>
              </p:cNvPr>
              <p:cNvGrpSpPr/>
              <p:nvPr/>
            </p:nvGrpSpPr>
            <p:grpSpPr bwMode="gray">
              <a:xfrm>
                <a:off x="4775454" y="3126771"/>
                <a:ext cx="75628" cy="75628"/>
                <a:chOff x="4775454" y="3126771"/>
                <a:chExt cx="75628" cy="75628"/>
              </a:xfrm>
            </p:grpSpPr>
            <p:sp>
              <p:nvSpPr>
                <p:cNvPr id="9510" name="Freeform: Shape 9509">
                  <a:extLst>
                    <a:ext uri="{FF2B5EF4-FFF2-40B4-BE49-F238E27FC236}">
                      <a16:creationId xmlns:a16="http://schemas.microsoft.com/office/drawing/2014/main" id="{465667E9-49D3-A14C-9AAE-F99258D34B84}"/>
                    </a:ext>
                  </a:extLst>
                </p:cNvPr>
                <p:cNvSpPr/>
                <p:nvPr/>
              </p:nvSpPr>
              <p:spPr bwMode="gray">
                <a:xfrm>
                  <a:off x="4813268" y="3126771"/>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11" name="Freeform: Shape 9510">
                  <a:extLst>
                    <a:ext uri="{FF2B5EF4-FFF2-40B4-BE49-F238E27FC236}">
                      <a16:creationId xmlns:a16="http://schemas.microsoft.com/office/drawing/2014/main" id="{084ACF9C-A099-87FC-F3DD-DBE824D7B5F0}"/>
                    </a:ext>
                  </a:extLst>
                </p:cNvPr>
                <p:cNvSpPr/>
                <p:nvPr/>
              </p:nvSpPr>
              <p:spPr bwMode="gray">
                <a:xfrm>
                  <a:off x="4775454" y="31645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2" name="Graphic 401">
                <a:extLst>
                  <a:ext uri="{FF2B5EF4-FFF2-40B4-BE49-F238E27FC236}">
                    <a16:creationId xmlns:a16="http://schemas.microsoft.com/office/drawing/2014/main" id="{DED803AA-B1DF-D59C-6867-56C4C3D61594}"/>
                  </a:ext>
                </a:extLst>
              </p:cNvPr>
              <p:cNvGrpSpPr/>
              <p:nvPr/>
            </p:nvGrpSpPr>
            <p:grpSpPr bwMode="gray">
              <a:xfrm>
                <a:off x="4662011" y="3059239"/>
                <a:ext cx="75723" cy="75723"/>
                <a:chOff x="4662011" y="3059239"/>
                <a:chExt cx="75723" cy="75723"/>
              </a:xfrm>
            </p:grpSpPr>
            <p:sp>
              <p:nvSpPr>
                <p:cNvPr id="9508" name="Freeform: Shape 9507">
                  <a:extLst>
                    <a:ext uri="{FF2B5EF4-FFF2-40B4-BE49-F238E27FC236}">
                      <a16:creationId xmlns:a16="http://schemas.microsoft.com/office/drawing/2014/main" id="{2B774653-732C-F32D-7FF1-2F52699EFE89}"/>
                    </a:ext>
                  </a:extLst>
                </p:cNvPr>
                <p:cNvSpPr/>
                <p:nvPr/>
              </p:nvSpPr>
              <p:spPr bwMode="gray">
                <a:xfrm>
                  <a:off x="4699920"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09" name="Freeform: Shape 9508">
                  <a:extLst>
                    <a:ext uri="{FF2B5EF4-FFF2-40B4-BE49-F238E27FC236}">
                      <a16:creationId xmlns:a16="http://schemas.microsoft.com/office/drawing/2014/main" id="{45727405-8F97-3939-0390-C831DC3F9C52}"/>
                    </a:ext>
                  </a:extLst>
                </p:cNvPr>
                <p:cNvSpPr/>
                <p:nvPr/>
              </p:nvSpPr>
              <p:spPr bwMode="gray">
                <a:xfrm>
                  <a:off x="4662011" y="30970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3" name="Graphic 401">
                <a:extLst>
                  <a:ext uri="{FF2B5EF4-FFF2-40B4-BE49-F238E27FC236}">
                    <a16:creationId xmlns:a16="http://schemas.microsoft.com/office/drawing/2014/main" id="{05B7C157-0B0A-2B9A-487B-1AD6057B735F}"/>
                  </a:ext>
                </a:extLst>
              </p:cNvPr>
              <p:cNvGrpSpPr/>
              <p:nvPr/>
            </p:nvGrpSpPr>
            <p:grpSpPr bwMode="gray">
              <a:xfrm>
                <a:off x="4596098" y="3059239"/>
                <a:ext cx="75628" cy="75723"/>
                <a:chOff x="4596098" y="3059239"/>
                <a:chExt cx="75628" cy="75723"/>
              </a:xfrm>
            </p:grpSpPr>
            <p:sp>
              <p:nvSpPr>
                <p:cNvPr id="9506" name="Freeform: Shape 9505">
                  <a:extLst>
                    <a:ext uri="{FF2B5EF4-FFF2-40B4-BE49-F238E27FC236}">
                      <a16:creationId xmlns:a16="http://schemas.microsoft.com/office/drawing/2014/main" id="{EAC0FE27-D356-6DC4-EF95-5E4A0B4F339F}"/>
                    </a:ext>
                  </a:extLst>
                </p:cNvPr>
                <p:cNvSpPr/>
                <p:nvPr/>
              </p:nvSpPr>
              <p:spPr bwMode="gray">
                <a:xfrm>
                  <a:off x="4633912"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07" name="Freeform: Shape 9506">
                  <a:extLst>
                    <a:ext uri="{FF2B5EF4-FFF2-40B4-BE49-F238E27FC236}">
                      <a16:creationId xmlns:a16="http://schemas.microsoft.com/office/drawing/2014/main" id="{32357932-BE06-4FEF-6C63-BC88EE47C1B7}"/>
                    </a:ext>
                  </a:extLst>
                </p:cNvPr>
                <p:cNvSpPr/>
                <p:nvPr/>
              </p:nvSpPr>
              <p:spPr bwMode="gray">
                <a:xfrm>
                  <a:off x="4596098" y="309705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4" name="Graphic 401">
                <a:extLst>
                  <a:ext uri="{FF2B5EF4-FFF2-40B4-BE49-F238E27FC236}">
                    <a16:creationId xmlns:a16="http://schemas.microsoft.com/office/drawing/2014/main" id="{2251F4AD-A2B5-C780-D5FB-14FB4A66CC47}"/>
                  </a:ext>
                </a:extLst>
              </p:cNvPr>
              <p:cNvGrpSpPr/>
              <p:nvPr/>
            </p:nvGrpSpPr>
            <p:grpSpPr bwMode="gray">
              <a:xfrm>
                <a:off x="4566285" y="3059239"/>
                <a:ext cx="75723" cy="75723"/>
                <a:chOff x="4566285" y="3059239"/>
                <a:chExt cx="75723" cy="75723"/>
              </a:xfrm>
            </p:grpSpPr>
            <p:sp>
              <p:nvSpPr>
                <p:cNvPr id="9504" name="Freeform: Shape 9503">
                  <a:extLst>
                    <a:ext uri="{FF2B5EF4-FFF2-40B4-BE49-F238E27FC236}">
                      <a16:creationId xmlns:a16="http://schemas.microsoft.com/office/drawing/2014/main" id="{10C70FCB-AF7F-143C-5598-74A7E97F42BB}"/>
                    </a:ext>
                  </a:extLst>
                </p:cNvPr>
                <p:cNvSpPr/>
                <p:nvPr/>
              </p:nvSpPr>
              <p:spPr bwMode="gray">
                <a:xfrm>
                  <a:off x="4604099" y="305923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05" name="Freeform: Shape 9504">
                  <a:extLst>
                    <a:ext uri="{FF2B5EF4-FFF2-40B4-BE49-F238E27FC236}">
                      <a16:creationId xmlns:a16="http://schemas.microsoft.com/office/drawing/2014/main" id="{625D1DD9-2ED1-7D40-998E-C72742371382}"/>
                    </a:ext>
                  </a:extLst>
                </p:cNvPr>
                <p:cNvSpPr/>
                <p:nvPr/>
              </p:nvSpPr>
              <p:spPr bwMode="gray">
                <a:xfrm>
                  <a:off x="4566285" y="309705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5" name="Graphic 401">
                <a:extLst>
                  <a:ext uri="{FF2B5EF4-FFF2-40B4-BE49-F238E27FC236}">
                    <a16:creationId xmlns:a16="http://schemas.microsoft.com/office/drawing/2014/main" id="{3E4C8D1B-E08D-4B3B-5F28-0CCDBDE05EB2}"/>
                  </a:ext>
                </a:extLst>
              </p:cNvPr>
              <p:cNvGrpSpPr/>
              <p:nvPr/>
            </p:nvGrpSpPr>
            <p:grpSpPr bwMode="gray">
              <a:xfrm>
                <a:off x="4534947" y="3010281"/>
                <a:ext cx="75723" cy="75723"/>
                <a:chOff x="4534947" y="3010281"/>
                <a:chExt cx="75723" cy="75723"/>
              </a:xfrm>
            </p:grpSpPr>
            <p:sp>
              <p:nvSpPr>
                <p:cNvPr id="9502" name="Freeform: Shape 9501">
                  <a:extLst>
                    <a:ext uri="{FF2B5EF4-FFF2-40B4-BE49-F238E27FC236}">
                      <a16:creationId xmlns:a16="http://schemas.microsoft.com/office/drawing/2014/main" id="{738A21CC-9CF8-3D0A-E14A-3C4CD391E1F4}"/>
                    </a:ext>
                  </a:extLst>
                </p:cNvPr>
                <p:cNvSpPr/>
                <p:nvPr/>
              </p:nvSpPr>
              <p:spPr bwMode="gray">
                <a:xfrm>
                  <a:off x="4572857" y="30102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03" name="Freeform: Shape 9502">
                  <a:extLst>
                    <a:ext uri="{FF2B5EF4-FFF2-40B4-BE49-F238E27FC236}">
                      <a16:creationId xmlns:a16="http://schemas.microsoft.com/office/drawing/2014/main" id="{179F8CAF-495C-EACE-16C0-44F8E0055830}"/>
                    </a:ext>
                  </a:extLst>
                </p:cNvPr>
                <p:cNvSpPr/>
                <p:nvPr/>
              </p:nvSpPr>
              <p:spPr bwMode="gray">
                <a:xfrm>
                  <a:off x="4534947"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6" name="Graphic 401">
                <a:extLst>
                  <a:ext uri="{FF2B5EF4-FFF2-40B4-BE49-F238E27FC236}">
                    <a16:creationId xmlns:a16="http://schemas.microsoft.com/office/drawing/2014/main" id="{6068CFCC-7C21-9CF5-1496-2E38B646A7D0}"/>
                  </a:ext>
                </a:extLst>
              </p:cNvPr>
              <p:cNvGrpSpPr/>
              <p:nvPr/>
            </p:nvGrpSpPr>
            <p:grpSpPr bwMode="gray">
              <a:xfrm>
                <a:off x="4511230" y="3010281"/>
                <a:ext cx="75723" cy="75723"/>
                <a:chOff x="4511230" y="3010281"/>
                <a:chExt cx="75723" cy="75723"/>
              </a:xfrm>
            </p:grpSpPr>
            <p:sp>
              <p:nvSpPr>
                <p:cNvPr id="9500" name="Freeform: Shape 9499">
                  <a:extLst>
                    <a:ext uri="{FF2B5EF4-FFF2-40B4-BE49-F238E27FC236}">
                      <a16:creationId xmlns:a16="http://schemas.microsoft.com/office/drawing/2014/main" id="{83AEB322-4E39-AEE9-4FA3-734D0A332764}"/>
                    </a:ext>
                  </a:extLst>
                </p:cNvPr>
                <p:cNvSpPr/>
                <p:nvPr/>
              </p:nvSpPr>
              <p:spPr bwMode="gray">
                <a:xfrm>
                  <a:off x="4549140" y="3010281"/>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501" name="Freeform: Shape 9500">
                  <a:extLst>
                    <a:ext uri="{FF2B5EF4-FFF2-40B4-BE49-F238E27FC236}">
                      <a16:creationId xmlns:a16="http://schemas.microsoft.com/office/drawing/2014/main" id="{E0AC9640-C4AA-5081-0C36-11F9169D01C6}"/>
                    </a:ext>
                  </a:extLst>
                </p:cNvPr>
                <p:cNvSpPr/>
                <p:nvPr/>
              </p:nvSpPr>
              <p:spPr bwMode="gray">
                <a:xfrm>
                  <a:off x="4511230" y="304819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7" name="Graphic 401">
                <a:extLst>
                  <a:ext uri="{FF2B5EF4-FFF2-40B4-BE49-F238E27FC236}">
                    <a16:creationId xmlns:a16="http://schemas.microsoft.com/office/drawing/2014/main" id="{F58C981F-D0BF-C5D3-7D7C-147D6F139F34}"/>
                  </a:ext>
                </a:extLst>
              </p:cNvPr>
              <p:cNvGrpSpPr/>
              <p:nvPr/>
            </p:nvGrpSpPr>
            <p:grpSpPr bwMode="gray">
              <a:xfrm>
                <a:off x="4466558" y="2983515"/>
                <a:ext cx="75723" cy="75723"/>
                <a:chOff x="4466558" y="2983515"/>
                <a:chExt cx="75723" cy="75723"/>
              </a:xfrm>
            </p:grpSpPr>
            <p:sp>
              <p:nvSpPr>
                <p:cNvPr id="9498" name="Freeform: Shape 9497">
                  <a:extLst>
                    <a:ext uri="{FF2B5EF4-FFF2-40B4-BE49-F238E27FC236}">
                      <a16:creationId xmlns:a16="http://schemas.microsoft.com/office/drawing/2014/main" id="{0DEE2664-0B68-97FB-5337-2601D74C9868}"/>
                    </a:ext>
                  </a:extLst>
                </p:cNvPr>
                <p:cNvSpPr/>
                <p:nvPr/>
              </p:nvSpPr>
              <p:spPr bwMode="gray">
                <a:xfrm>
                  <a:off x="4504372" y="29835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99" name="Freeform: Shape 9498">
                  <a:extLst>
                    <a:ext uri="{FF2B5EF4-FFF2-40B4-BE49-F238E27FC236}">
                      <a16:creationId xmlns:a16="http://schemas.microsoft.com/office/drawing/2014/main" id="{C9BF8C38-73A6-12FD-942E-A4437A6B8858}"/>
                    </a:ext>
                  </a:extLst>
                </p:cNvPr>
                <p:cNvSpPr/>
                <p:nvPr/>
              </p:nvSpPr>
              <p:spPr bwMode="gray">
                <a:xfrm>
                  <a:off x="4466558" y="30214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8" name="Graphic 401">
                <a:extLst>
                  <a:ext uri="{FF2B5EF4-FFF2-40B4-BE49-F238E27FC236}">
                    <a16:creationId xmlns:a16="http://schemas.microsoft.com/office/drawing/2014/main" id="{A08ED66A-91B2-37D8-F0F6-B30941091DA9}"/>
                  </a:ext>
                </a:extLst>
              </p:cNvPr>
              <p:cNvGrpSpPr/>
              <p:nvPr/>
            </p:nvGrpSpPr>
            <p:grpSpPr bwMode="gray">
              <a:xfrm>
                <a:off x="4413408" y="2966847"/>
                <a:ext cx="75628" cy="75723"/>
                <a:chOff x="4413408" y="2966847"/>
                <a:chExt cx="75628" cy="75723"/>
              </a:xfrm>
            </p:grpSpPr>
            <p:sp>
              <p:nvSpPr>
                <p:cNvPr id="9496" name="Freeform: Shape 9495">
                  <a:extLst>
                    <a:ext uri="{FF2B5EF4-FFF2-40B4-BE49-F238E27FC236}">
                      <a16:creationId xmlns:a16="http://schemas.microsoft.com/office/drawing/2014/main" id="{883B2D19-B0F0-E6E4-6ECE-AD17A775C38D}"/>
                    </a:ext>
                  </a:extLst>
                </p:cNvPr>
                <p:cNvSpPr/>
                <p:nvPr/>
              </p:nvSpPr>
              <p:spPr bwMode="gray">
                <a:xfrm>
                  <a:off x="4451223" y="296684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97" name="Freeform: Shape 9496">
                  <a:extLst>
                    <a:ext uri="{FF2B5EF4-FFF2-40B4-BE49-F238E27FC236}">
                      <a16:creationId xmlns:a16="http://schemas.microsoft.com/office/drawing/2014/main" id="{9FB7C186-8181-C678-43D2-F6FB2988EF1B}"/>
                    </a:ext>
                  </a:extLst>
                </p:cNvPr>
                <p:cNvSpPr/>
                <p:nvPr/>
              </p:nvSpPr>
              <p:spPr bwMode="gray">
                <a:xfrm>
                  <a:off x="4413408" y="30046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39" name="Graphic 401">
                <a:extLst>
                  <a:ext uri="{FF2B5EF4-FFF2-40B4-BE49-F238E27FC236}">
                    <a16:creationId xmlns:a16="http://schemas.microsoft.com/office/drawing/2014/main" id="{32352112-C265-374A-C535-6AE7F277A455}"/>
                  </a:ext>
                </a:extLst>
              </p:cNvPr>
              <p:cNvGrpSpPr/>
              <p:nvPr/>
            </p:nvGrpSpPr>
            <p:grpSpPr bwMode="gray">
              <a:xfrm>
                <a:off x="4346448" y="2929032"/>
                <a:ext cx="75723" cy="75628"/>
                <a:chOff x="4346448" y="2929032"/>
                <a:chExt cx="75723" cy="75628"/>
              </a:xfrm>
            </p:grpSpPr>
            <p:sp>
              <p:nvSpPr>
                <p:cNvPr id="9494" name="Freeform: Shape 9493">
                  <a:extLst>
                    <a:ext uri="{FF2B5EF4-FFF2-40B4-BE49-F238E27FC236}">
                      <a16:creationId xmlns:a16="http://schemas.microsoft.com/office/drawing/2014/main" id="{4287632C-144B-3987-30CE-57B4A3913DFE}"/>
                    </a:ext>
                  </a:extLst>
                </p:cNvPr>
                <p:cNvSpPr/>
                <p:nvPr/>
              </p:nvSpPr>
              <p:spPr bwMode="gray">
                <a:xfrm>
                  <a:off x="4384357" y="29290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95" name="Freeform: Shape 9494">
                  <a:extLst>
                    <a:ext uri="{FF2B5EF4-FFF2-40B4-BE49-F238E27FC236}">
                      <a16:creationId xmlns:a16="http://schemas.microsoft.com/office/drawing/2014/main" id="{DC9DC186-8C54-B8A9-FAC3-4795516F7D7B}"/>
                    </a:ext>
                  </a:extLst>
                </p:cNvPr>
                <p:cNvSpPr/>
                <p:nvPr/>
              </p:nvSpPr>
              <p:spPr bwMode="gray">
                <a:xfrm>
                  <a:off x="4346448" y="296684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0" name="Graphic 401">
                <a:extLst>
                  <a:ext uri="{FF2B5EF4-FFF2-40B4-BE49-F238E27FC236}">
                    <a16:creationId xmlns:a16="http://schemas.microsoft.com/office/drawing/2014/main" id="{40E8F9DE-C567-67C2-5306-01AD9E1901BE}"/>
                  </a:ext>
                </a:extLst>
              </p:cNvPr>
              <p:cNvGrpSpPr/>
              <p:nvPr/>
            </p:nvGrpSpPr>
            <p:grpSpPr bwMode="gray">
              <a:xfrm>
                <a:off x="4346448" y="2901505"/>
                <a:ext cx="75723" cy="75628"/>
                <a:chOff x="4346448" y="2901505"/>
                <a:chExt cx="75723" cy="75628"/>
              </a:xfrm>
            </p:grpSpPr>
            <p:sp>
              <p:nvSpPr>
                <p:cNvPr id="9492" name="Freeform: Shape 9491">
                  <a:extLst>
                    <a:ext uri="{FF2B5EF4-FFF2-40B4-BE49-F238E27FC236}">
                      <a16:creationId xmlns:a16="http://schemas.microsoft.com/office/drawing/2014/main" id="{7833D77D-08F4-9C1C-0CEB-FDFC8C14012E}"/>
                    </a:ext>
                  </a:extLst>
                </p:cNvPr>
                <p:cNvSpPr/>
                <p:nvPr/>
              </p:nvSpPr>
              <p:spPr bwMode="gray">
                <a:xfrm>
                  <a:off x="4384357"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93" name="Freeform: Shape 9492">
                  <a:extLst>
                    <a:ext uri="{FF2B5EF4-FFF2-40B4-BE49-F238E27FC236}">
                      <a16:creationId xmlns:a16="http://schemas.microsoft.com/office/drawing/2014/main" id="{F90A281B-155B-3B57-09AB-C506A8297DB1}"/>
                    </a:ext>
                  </a:extLst>
                </p:cNvPr>
                <p:cNvSpPr/>
                <p:nvPr/>
              </p:nvSpPr>
              <p:spPr bwMode="gray">
                <a:xfrm>
                  <a:off x="4346448"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1" name="Graphic 401">
                <a:extLst>
                  <a:ext uri="{FF2B5EF4-FFF2-40B4-BE49-F238E27FC236}">
                    <a16:creationId xmlns:a16="http://schemas.microsoft.com/office/drawing/2014/main" id="{08547124-33B8-F4CC-2F93-67E1863871DA}"/>
                  </a:ext>
                </a:extLst>
              </p:cNvPr>
              <p:cNvGrpSpPr/>
              <p:nvPr/>
            </p:nvGrpSpPr>
            <p:grpSpPr bwMode="gray">
              <a:xfrm>
                <a:off x="4301490" y="2901505"/>
                <a:ext cx="75723" cy="75628"/>
                <a:chOff x="4301490" y="2901505"/>
                <a:chExt cx="75723" cy="75628"/>
              </a:xfrm>
            </p:grpSpPr>
            <p:sp>
              <p:nvSpPr>
                <p:cNvPr id="9490" name="Freeform: Shape 9489">
                  <a:extLst>
                    <a:ext uri="{FF2B5EF4-FFF2-40B4-BE49-F238E27FC236}">
                      <a16:creationId xmlns:a16="http://schemas.microsoft.com/office/drawing/2014/main" id="{4E6B734D-769E-1719-F749-2F45F3A2A317}"/>
                    </a:ext>
                  </a:extLst>
                </p:cNvPr>
                <p:cNvSpPr/>
                <p:nvPr/>
              </p:nvSpPr>
              <p:spPr bwMode="gray">
                <a:xfrm>
                  <a:off x="4339304"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91" name="Freeform: Shape 9490">
                  <a:extLst>
                    <a:ext uri="{FF2B5EF4-FFF2-40B4-BE49-F238E27FC236}">
                      <a16:creationId xmlns:a16="http://schemas.microsoft.com/office/drawing/2014/main" id="{C569661F-C65A-E020-D6CF-78F913C53405}"/>
                    </a:ext>
                  </a:extLst>
                </p:cNvPr>
                <p:cNvSpPr/>
                <p:nvPr/>
              </p:nvSpPr>
              <p:spPr bwMode="gray">
                <a:xfrm>
                  <a:off x="4301490"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2" name="Graphic 401">
                <a:extLst>
                  <a:ext uri="{FF2B5EF4-FFF2-40B4-BE49-F238E27FC236}">
                    <a16:creationId xmlns:a16="http://schemas.microsoft.com/office/drawing/2014/main" id="{5C29A93E-8F53-B90F-E70F-B4EC31D06984}"/>
                  </a:ext>
                </a:extLst>
              </p:cNvPr>
              <p:cNvGrpSpPr/>
              <p:nvPr/>
            </p:nvGrpSpPr>
            <p:grpSpPr bwMode="gray">
              <a:xfrm>
                <a:off x="4270819" y="2901505"/>
                <a:ext cx="75628" cy="75628"/>
                <a:chOff x="4270819" y="2901505"/>
                <a:chExt cx="75628" cy="75628"/>
              </a:xfrm>
            </p:grpSpPr>
            <p:sp>
              <p:nvSpPr>
                <p:cNvPr id="9488" name="Freeform: Shape 9487">
                  <a:extLst>
                    <a:ext uri="{FF2B5EF4-FFF2-40B4-BE49-F238E27FC236}">
                      <a16:creationId xmlns:a16="http://schemas.microsoft.com/office/drawing/2014/main" id="{2E6BCBAE-9BD6-7DC2-97A9-2280CF78037F}"/>
                    </a:ext>
                  </a:extLst>
                </p:cNvPr>
                <p:cNvSpPr/>
                <p:nvPr/>
              </p:nvSpPr>
              <p:spPr bwMode="gray">
                <a:xfrm>
                  <a:off x="4308633"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89" name="Freeform: Shape 9488">
                  <a:extLst>
                    <a:ext uri="{FF2B5EF4-FFF2-40B4-BE49-F238E27FC236}">
                      <a16:creationId xmlns:a16="http://schemas.microsoft.com/office/drawing/2014/main" id="{31E6E71D-CD42-78A4-CDA6-29D4346117B1}"/>
                    </a:ext>
                  </a:extLst>
                </p:cNvPr>
                <p:cNvSpPr/>
                <p:nvPr/>
              </p:nvSpPr>
              <p:spPr bwMode="gray">
                <a:xfrm>
                  <a:off x="4270819" y="29393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3" name="Graphic 401">
                <a:extLst>
                  <a:ext uri="{FF2B5EF4-FFF2-40B4-BE49-F238E27FC236}">
                    <a16:creationId xmlns:a16="http://schemas.microsoft.com/office/drawing/2014/main" id="{1C7241BC-2942-0F22-0420-D9F2B40C766F}"/>
                  </a:ext>
                </a:extLst>
              </p:cNvPr>
              <p:cNvGrpSpPr/>
              <p:nvPr/>
            </p:nvGrpSpPr>
            <p:grpSpPr bwMode="gray">
              <a:xfrm>
                <a:off x="4256817" y="2901505"/>
                <a:ext cx="75723" cy="75628"/>
                <a:chOff x="4256817" y="2901505"/>
                <a:chExt cx="75723" cy="75628"/>
              </a:xfrm>
            </p:grpSpPr>
            <p:sp>
              <p:nvSpPr>
                <p:cNvPr id="9486" name="Freeform: Shape 9485">
                  <a:extLst>
                    <a:ext uri="{FF2B5EF4-FFF2-40B4-BE49-F238E27FC236}">
                      <a16:creationId xmlns:a16="http://schemas.microsoft.com/office/drawing/2014/main" id="{43DE519E-6FE4-C4DC-BB9E-FB75BF7F4715}"/>
                    </a:ext>
                  </a:extLst>
                </p:cNvPr>
                <p:cNvSpPr/>
                <p:nvPr/>
              </p:nvSpPr>
              <p:spPr bwMode="gray">
                <a:xfrm>
                  <a:off x="4294632" y="290150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87" name="Freeform: Shape 9486">
                  <a:extLst>
                    <a:ext uri="{FF2B5EF4-FFF2-40B4-BE49-F238E27FC236}">
                      <a16:creationId xmlns:a16="http://schemas.microsoft.com/office/drawing/2014/main" id="{CCF0F1E3-ABE7-D224-A965-D87B968B4288}"/>
                    </a:ext>
                  </a:extLst>
                </p:cNvPr>
                <p:cNvSpPr/>
                <p:nvPr/>
              </p:nvSpPr>
              <p:spPr bwMode="gray">
                <a:xfrm>
                  <a:off x="4256817" y="293931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4" name="Graphic 401">
                <a:extLst>
                  <a:ext uri="{FF2B5EF4-FFF2-40B4-BE49-F238E27FC236}">
                    <a16:creationId xmlns:a16="http://schemas.microsoft.com/office/drawing/2014/main" id="{B50BA488-7E0D-DC6E-B406-F2479CB2057A}"/>
                  </a:ext>
                </a:extLst>
              </p:cNvPr>
              <p:cNvGrpSpPr/>
              <p:nvPr/>
            </p:nvGrpSpPr>
            <p:grpSpPr bwMode="gray">
              <a:xfrm>
                <a:off x="4150709" y="2879217"/>
                <a:ext cx="75723" cy="75628"/>
                <a:chOff x="4150709" y="2879217"/>
                <a:chExt cx="75723" cy="75628"/>
              </a:xfrm>
            </p:grpSpPr>
            <p:sp>
              <p:nvSpPr>
                <p:cNvPr id="9484" name="Freeform: Shape 9483">
                  <a:extLst>
                    <a:ext uri="{FF2B5EF4-FFF2-40B4-BE49-F238E27FC236}">
                      <a16:creationId xmlns:a16="http://schemas.microsoft.com/office/drawing/2014/main" id="{FE11D342-C04C-7D5F-D1DC-DBF9EC660B1C}"/>
                    </a:ext>
                  </a:extLst>
                </p:cNvPr>
                <p:cNvSpPr/>
                <p:nvPr/>
              </p:nvSpPr>
              <p:spPr bwMode="gray">
                <a:xfrm>
                  <a:off x="4188523" y="287921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85" name="Freeform: Shape 9484">
                  <a:extLst>
                    <a:ext uri="{FF2B5EF4-FFF2-40B4-BE49-F238E27FC236}">
                      <a16:creationId xmlns:a16="http://schemas.microsoft.com/office/drawing/2014/main" id="{2ABB477E-A1AA-0FAA-C317-06827ED7454A}"/>
                    </a:ext>
                  </a:extLst>
                </p:cNvPr>
                <p:cNvSpPr/>
                <p:nvPr/>
              </p:nvSpPr>
              <p:spPr bwMode="gray">
                <a:xfrm>
                  <a:off x="4150709" y="291703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5" name="Graphic 401">
                <a:extLst>
                  <a:ext uri="{FF2B5EF4-FFF2-40B4-BE49-F238E27FC236}">
                    <a16:creationId xmlns:a16="http://schemas.microsoft.com/office/drawing/2014/main" id="{4A3B1552-A236-A979-BFE9-FF870B9CA5BA}"/>
                  </a:ext>
                </a:extLst>
              </p:cNvPr>
              <p:cNvGrpSpPr/>
              <p:nvPr/>
            </p:nvGrpSpPr>
            <p:grpSpPr bwMode="gray">
              <a:xfrm>
                <a:off x="3492436" y="2655474"/>
                <a:ext cx="75723" cy="75628"/>
                <a:chOff x="3492436" y="2655474"/>
                <a:chExt cx="75723" cy="75628"/>
              </a:xfrm>
            </p:grpSpPr>
            <p:sp>
              <p:nvSpPr>
                <p:cNvPr id="9482" name="Freeform: Shape 9481">
                  <a:extLst>
                    <a:ext uri="{FF2B5EF4-FFF2-40B4-BE49-F238E27FC236}">
                      <a16:creationId xmlns:a16="http://schemas.microsoft.com/office/drawing/2014/main" id="{D297EE29-9767-3611-B17A-05F75F4016B6}"/>
                    </a:ext>
                  </a:extLst>
                </p:cNvPr>
                <p:cNvSpPr/>
                <p:nvPr/>
              </p:nvSpPr>
              <p:spPr bwMode="gray">
                <a:xfrm>
                  <a:off x="3530250" y="265547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83" name="Freeform: Shape 9482">
                  <a:extLst>
                    <a:ext uri="{FF2B5EF4-FFF2-40B4-BE49-F238E27FC236}">
                      <a16:creationId xmlns:a16="http://schemas.microsoft.com/office/drawing/2014/main" id="{C1DF7A1B-76EF-36FE-FBAB-45A6E59104C8}"/>
                    </a:ext>
                  </a:extLst>
                </p:cNvPr>
                <p:cNvSpPr/>
                <p:nvPr/>
              </p:nvSpPr>
              <p:spPr bwMode="gray">
                <a:xfrm>
                  <a:off x="3492436" y="269328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6" name="Graphic 401">
                <a:extLst>
                  <a:ext uri="{FF2B5EF4-FFF2-40B4-BE49-F238E27FC236}">
                    <a16:creationId xmlns:a16="http://schemas.microsoft.com/office/drawing/2014/main" id="{9CDF64FC-0D27-689C-AFEA-B7B729308CE4}"/>
                  </a:ext>
                </a:extLst>
              </p:cNvPr>
              <p:cNvGrpSpPr/>
              <p:nvPr/>
            </p:nvGrpSpPr>
            <p:grpSpPr bwMode="gray">
              <a:xfrm>
                <a:off x="3280695" y="2632710"/>
                <a:ext cx="75628" cy="75723"/>
                <a:chOff x="3280695" y="2632710"/>
                <a:chExt cx="75628" cy="75723"/>
              </a:xfrm>
            </p:grpSpPr>
            <p:sp>
              <p:nvSpPr>
                <p:cNvPr id="9480" name="Freeform: Shape 9479">
                  <a:extLst>
                    <a:ext uri="{FF2B5EF4-FFF2-40B4-BE49-F238E27FC236}">
                      <a16:creationId xmlns:a16="http://schemas.microsoft.com/office/drawing/2014/main" id="{0F103922-9E3E-9F57-1D34-DA6D65A3B65D}"/>
                    </a:ext>
                  </a:extLst>
                </p:cNvPr>
                <p:cNvSpPr/>
                <p:nvPr/>
              </p:nvSpPr>
              <p:spPr bwMode="gray">
                <a:xfrm>
                  <a:off x="3318510" y="263271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81" name="Freeform: Shape 9480">
                  <a:extLst>
                    <a:ext uri="{FF2B5EF4-FFF2-40B4-BE49-F238E27FC236}">
                      <a16:creationId xmlns:a16="http://schemas.microsoft.com/office/drawing/2014/main" id="{83DA98E1-B20A-0DE4-40A8-8BFE2C692117}"/>
                    </a:ext>
                  </a:extLst>
                </p:cNvPr>
                <p:cNvSpPr/>
                <p:nvPr/>
              </p:nvSpPr>
              <p:spPr bwMode="gray">
                <a:xfrm>
                  <a:off x="3280695" y="2670619"/>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7" name="Graphic 401">
                <a:extLst>
                  <a:ext uri="{FF2B5EF4-FFF2-40B4-BE49-F238E27FC236}">
                    <a16:creationId xmlns:a16="http://schemas.microsoft.com/office/drawing/2014/main" id="{C2619081-FA87-D266-3257-3C072F8B4E60}"/>
                  </a:ext>
                </a:extLst>
              </p:cNvPr>
              <p:cNvGrpSpPr/>
              <p:nvPr/>
            </p:nvGrpSpPr>
            <p:grpSpPr bwMode="gray">
              <a:xfrm>
                <a:off x="3230403" y="2609850"/>
                <a:ext cx="75723" cy="75723"/>
                <a:chOff x="3230403" y="2609850"/>
                <a:chExt cx="75723" cy="75723"/>
              </a:xfrm>
            </p:grpSpPr>
            <p:sp>
              <p:nvSpPr>
                <p:cNvPr id="9478" name="Freeform: Shape 9477">
                  <a:extLst>
                    <a:ext uri="{FF2B5EF4-FFF2-40B4-BE49-F238E27FC236}">
                      <a16:creationId xmlns:a16="http://schemas.microsoft.com/office/drawing/2014/main" id="{7AC34622-CF03-E563-0B37-17922547AAC0}"/>
                    </a:ext>
                  </a:extLst>
                </p:cNvPr>
                <p:cNvSpPr/>
                <p:nvPr/>
              </p:nvSpPr>
              <p:spPr bwMode="gray">
                <a:xfrm>
                  <a:off x="3268218" y="26098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79" name="Freeform: Shape 9478">
                  <a:extLst>
                    <a:ext uri="{FF2B5EF4-FFF2-40B4-BE49-F238E27FC236}">
                      <a16:creationId xmlns:a16="http://schemas.microsoft.com/office/drawing/2014/main" id="{ECC6202A-D3ED-C543-665D-6BAC5A1C6864}"/>
                    </a:ext>
                  </a:extLst>
                </p:cNvPr>
                <p:cNvSpPr/>
                <p:nvPr/>
              </p:nvSpPr>
              <p:spPr bwMode="gray">
                <a:xfrm>
                  <a:off x="3230403" y="26476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8" name="Graphic 401">
                <a:extLst>
                  <a:ext uri="{FF2B5EF4-FFF2-40B4-BE49-F238E27FC236}">
                    <a16:creationId xmlns:a16="http://schemas.microsoft.com/office/drawing/2014/main" id="{1B4F0752-0D56-44D1-4644-4C0D0638A5D6}"/>
                  </a:ext>
                </a:extLst>
              </p:cNvPr>
              <p:cNvGrpSpPr/>
              <p:nvPr/>
            </p:nvGrpSpPr>
            <p:grpSpPr bwMode="gray">
              <a:xfrm>
                <a:off x="3181350" y="2609850"/>
                <a:ext cx="75723" cy="75723"/>
                <a:chOff x="3181350" y="2609850"/>
                <a:chExt cx="75723" cy="75723"/>
              </a:xfrm>
            </p:grpSpPr>
            <p:sp>
              <p:nvSpPr>
                <p:cNvPr id="9476" name="Freeform: Shape 9475">
                  <a:extLst>
                    <a:ext uri="{FF2B5EF4-FFF2-40B4-BE49-F238E27FC236}">
                      <a16:creationId xmlns:a16="http://schemas.microsoft.com/office/drawing/2014/main" id="{ECD2499C-1F94-6EAF-AC7C-2E64F92A4FA7}"/>
                    </a:ext>
                  </a:extLst>
                </p:cNvPr>
                <p:cNvSpPr/>
                <p:nvPr/>
              </p:nvSpPr>
              <p:spPr bwMode="gray">
                <a:xfrm>
                  <a:off x="3219164" y="260985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77" name="Freeform: Shape 9476">
                  <a:extLst>
                    <a:ext uri="{FF2B5EF4-FFF2-40B4-BE49-F238E27FC236}">
                      <a16:creationId xmlns:a16="http://schemas.microsoft.com/office/drawing/2014/main" id="{3A42D491-4D1A-A93A-3EEA-4E15E8433F37}"/>
                    </a:ext>
                  </a:extLst>
                </p:cNvPr>
                <p:cNvSpPr/>
                <p:nvPr/>
              </p:nvSpPr>
              <p:spPr bwMode="gray">
                <a:xfrm>
                  <a:off x="3181350" y="2647664"/>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49" name="Graphic 401">
                <a:extLst>
                  <a:ext uri="{FF2B5EF4-FFF2-40B4-BE49-F238E27FC236}">
                    <a16:creationId xmlns:a16="http://schemas.microsoft.com/office/drawing/2014/main" id="{6FFFFE90-F3A7-6D9A-3AC5-B4FC813B5317}"/>
                  </a:ext>
                </a:extLst>
              </p:cNvPr>
              <p:cNvGrpSpPr/>
              <p:nvPr/>
            </p:nvGrpSpPr>
            <p:grpSpPr bwMode="gray">
              <a:xfrm>
                <a:off x="4501800" y="2983515"/>
                <a:ext cx="75723" cy="75723"/>
                <a:chOff x="4501800" y="2983515"/>
                <a:chExt cx="75723" cy="75723"/>
              </a:xfrm>
            </p:grpSpPr>
            <p:sp>
              <p:nvSpPr>
                <p:cNvPr id="9474" name="Freeform: Shape 9473">
                  <a:extLst>
                    <a:ext uri="{FF2B5EF4-FFF2-40B4-BE49-F238E27FC236}">
                      <a16:creationId xmlns:a16="http://schemas.microsoft.com/office/drawing/2014/main" id="{B682AE5C-152F-A5EC-1EDF-51121881B392}"/>
                    </a:ext>
                  </a:extLst>
                </p:cNvPr>
                <p:cNvSpPr/>
                <p:nvPr/>
              </p:nvSpPr>
              <p:spPr bwMode="gray">
                <a:xfrm>
                  <a:off x="4539710" y="298351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75" name="Freeform: Shape 9474">
                  <a:extLst>
                    <a:ext uri="{FF2B5EF4-FFF2-40B4-BE49-F238E27FC236}">
                      <a16:creationId xmlns:a16="http://schemas.microsoft.com/office/drawing/2014/main" id="{10A817B3-FD3E-66AB-2FF2-5A64D96CEA59}"/>
                    </a:ext>
                  </a:extLst>
                </p:cNvPr>
                <p:cNvSpPr/>
                <p:nvPr/>
              </p:nvSpPr>
              <p:spPr bwMode="gray">
                <a:xfrm>
                  <a:off x="4501800" y="302142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0" name="Graphic 401">
                <a:extLst>
                  <a:ext uri="{FF2B5EF4-FFF2-40B4-BE49-F238E27FC236}">
                    <a16:creationId xmlns:a16="http://schemas.microsoft.com/office/drawing/2014/main" id="{6E93A865-D3CA-8F9B-DFFE-630941B7B3EE}"/>
                  </a:ext>
                </a:extLst>
              </p:cNvPr>
              <p:cNvGrpSpPr/>
              <p:nvPr/>
            </p:nvGrpSpPr>
            <p:grpSpPr bwMode="gray">
              <a:xfrm>
                <a:off x="4979384" y="3211544"/>
                <a:ext cx="75723" cy="75723"/>
                <a:chOff x="4979384" y="3211544"/>
                <a:chExt cx="75723" cy="75723"/>
              </a:xfrm>
            </p:grpSpPr>
            <p:sp>
              <p:nvSpPr>
                <p:cNvPr id="9472" name="Freeform: Shape 9471">
                  <a:extLst>
                    <a:ext uri="{FF2B5EF4-FFF2-40B4-BE49-F238E27FC236}">
                      <a16:creationId xmlns:a16="http://schemas.microsoft.com/office/drawing/2014/main" id="{D60903F8-46AC-5486-33CF-11D07D70E6F7}"/>
                    </a:ext>
                  </a:extLst>
                </p:cNvPr>
                <p:cNvSpPr/>
                <p:nvPr/>
              </p:nvSpPr>
              <p:spPr bwMode="gray">
                <a:xfrm>
                  <a:off x="5017198" y="321154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73" name="Freeform: Shape 9472">
                  <a:extLst>
                    <a:ext uri="{FF2B5EF4-FFF2-40B4-BE49-F238E27FC236}">
                      <a16:creationId xmlns:a16="http://schemas.microsoft.com/office/drawing/2014/main" id="{2F3F2437-3006-284B-C0E7-BF22D2FB6FBA}"/>
                    </a:ext>
                  </a:extLst>
                </p:cNvPr>
                <p:cNvSpPr/>
                <p:nvPr/>
              </p:nvSpPr>
              <p:spPr bwMode="gray">
                <a:xfrm>
                  <a:off x="4979384" y="324935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1" name="Graphic 401">
                <a:extLst>
                  <a:ext uri="{FF2B5EF4-FFF2-40B4-BE49-F238E27FC236}">
                    <a16:creationId xmlns:a16="http://schemas.microsoft.com/office/drawing/2014/main" id="{9C8E0848-97D0-29D8-489C-5B8861D8FB3A}"/>
                  </a:ext>
                </a:extLst>
              </p:cNvPr>
              <p:cNvGrpSpPr/>
              <p:nvPr/>
            </p:nvGrpSpPr>
            <p:grpSpPr bwMode="gray">
              <a:xfrm>
                <a:off x="6122098" y="3864578"/>
                <a:ext cx="75723" cy="75723"/>
                <a:chOff x="6122098" y="3864578"/>
                <a:chExt cx="75723" cy="75723"/>
              </a:xfrm>
            </p:grpSpPr>
            <p:sp>
              <p:nvSpPr>
                <p:cNvPr id="9470" name="Freeform: Shape 9469">
                  <a:extLst>
                    <a:ext uri="{FF2B5EF4-FFF2-40B4-BE49-F238E27FC236}">
                      <a16:creationId xmlns:a16="http://schemas.microsoft.com/office/drawing/2014/main" id="{984B847A-3F6E-1274-844D-6E088E450B9B}"/>
                    </a:ext>
                  </a:extLst>
                </p:cNvPr>
                <p:cNvSpPr/>
                <p:nvPr/>
              </p:nvSpPr>
              <p:spPr bwMode="gray">
                <a:xfrm>
                  <a:off x="6159912"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71" name="Freeform: Shape 9470">
                  <a:extLst>
                    <a:ext uri="{FF2B5EF4-FFF2-40B4-BE49-F238E27FC236}">
                      <a16:creationId xmlns:a16="http://schemas.microsoft.com/office/drawing/2014/main" id="{5C6F50E3-EDA9-2993-9D02-5AA5E2BC9C29}"/>
                    </a:ext>
                  </a:extLst>
                </p:cNvPr>
                <p:cNvSpPr/>
                <p:nvPr/>
              </p:nvSpPr>
              <p:spPr bwMode="gray">
                <a:xfrm>
                  <a:off x="6122098"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2" name="Graphic 401">
                <a:extLst>
                  <a:ext uri="{FF2B5EF4-FFF2-40B4-BE49-F238E27FC236}">
                    <a16:creationId xmlns:a16="http://schemas.microsoft.com/office/drawing/2014/main" id="{3A0D3239-B131-0E16-684D-686010C7D9BF}"/>
                  </a:ext>
                </a:extLst>
              </p:cNvPr>
              <p:cNvGrpSpPr/>
              <p:nvPr/>
            </p:nvGrpSpPr>
            <p:grpSpPr bwMode="gray">
              <a:xfrm>
                <a:off x="6114192" y="3864578"/>
                <a:ext cx="75723" cy="75723"/>
                <a:chOff x="6114192" y="3864578"/>
                <a:chExt cx="75723" cy="75723"/>
              </a:xfrm>
            </p:grpSpPr>
            <p:sp>
              <p:nvSpPr>
                <p:cNvPr id="9468" name="Freeform: Shape 9467">
                  <a:extLst>
                    <a:ext uri="{FF2B5EF4-FFF2-40B4-BE49-F238E27FC236}">
                      <a16:creationId xmlns:a16="http://schemas.microsoft.com/office/drawing/2014/main" id="{1FAF66B8-75F4-920C-41A2-5D6C05247336}"/>
                    </a:ext>
                  </a:extLst>
                </p:cNvPr>
                <p:cNvSpPr/>
                <p:nvPr/>
              </p:nvSpPr>
              <p:spPr bwMode="gray">
                <a:xfrm>
                  <a:off x="6152007" y="38645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69" name="Freeform: Shape 9468">
                  <a:extLst>
                    <a:ext uri="{FF2B5EF4-FFF2-40B4-BE49-F238E27FC236}">
                      <a16:creationId xmlns:a16="http://schemas.microsoft.com/office/drawing/2014/main" id="{4F0EBDDD-38CE-F506-727C-90FB121D4709}"/>
                    </a:ext>
                  </a:extLst>
                </p:cNvPr>
                <p:cNvSpPr/>
                <p:nvPr/>
              </p:nvSpPr>
              <p:spPr bwMode="gray">
                <a:xfrm>
                  <a:off x="6114192" y="39023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3" name="Graphic 401">
                <a:extLst>
                  <a:ext uri="{FF2B5EF4-FFF2-40B4-BE49-F238E27FC236}">
                    <a16:creationId xmlns:a16="http://schemas.microsoft.com/office/drawing/2014/main" id="{6166CD58-A1F7-064B-8424-8BDF0202925C}"/>
                  </a:ext>
                </a:extLst>
              </p:cNvPr>
              <p:cNvGrpSpPr/>
              <p:nvPr/>
            </p:nvGrpSpPr>
            <p:grpSpPr bwMode="gray">
              <a:xfrm>
                <a:off x="6892671" y="3993832"/>
                <a:ext cx="75723" cy="75628"/>
                <a:chOff x="6892671" y="3993832"/>
                <a:chExt cx="75723" cy="75628"/>
              </a:xfrm>
            </p:grpSpPr>
            <p:sp>
              <p:nvSpPr>
                <p:cNvPr id="9466" name="Freeform: Shape 9465">
                  <a:extLst>
                    <a:ext uri="{FF2B5EF4-FFF2-40B4-BE49-F238E27FC236}">
                      <a16:creationId xmlns:a16="http://schemas.microsoft.com/office/drawing/2014/main" id="{3015DFF2-9FCF-AB05-ACA7-845EE0C282BF}"/>
                    </a:ext>
                  </a:extLst>
                </p:cNvPr>
                <p:cNvSpPr/>
                <p:nvPr/>
              </p:nvSpPr>
              <p:spPr bwMode="gray">
                <a:xfrm>
                  <a:off x="6930580"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67" name="Freeform: Shape 9466">
                  <a:extLst>
                    <a:ext uri="{FF2B5EF4-FFF2-40B4-BE49-F238E27FC236}">
                      <a16:creationId xmlns:a16="http://schemas.microsoft.com/office/drawing/2014/main" id="{8D68154B-B0EA-645D-B77B-4FC8688BBE2B}"/>
                    </a:ext>
                  </a:extLst>
                </p:cNvPr>
                <p:cNvSpPr/>
                <p:nvPr/>
              </p:nvSpPr>
              <p:spPr bwMode="gray">
                <a:xfrm>
                  <a:off x="6892671"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4" name="Graphic 401">
                <a:extLst>
                  <a:ext uri="{FF2B5EF4-FFF2-40B4-BE49-F238E27FC236}">
                    <a16:creationId xmlns:a16="http://schemas.microsoft.com/office/drawing/2014/main" id="{7766D067-1563-6A03-827D-774537BEB91D}"/>
                  </a:ext>
                </a:extLst>
              </p:cNvPr>
              <p:cNvGrpSpPr/>
              <p:nvPr/>
            </p:nvGrpSpPr>
            <p:grpSpPr bwMode="gray">
              <a:xfrm>
                <a:off x="6897909" y="3993832"/>
                <a:ext cx="75628" cy="75628"/>
                <a:chOff x="6897909" y="3993832"/>
                <a:chExt cx="75628" cy="75628"/>
              </a:xfrm>
            </p:grpSpPr>
            <p:sp>
              <p:nvSpPr>
                <p:cNvPr id="9464" name="Freeform: Shape 9463">
                  <a:extLst>
                    <a:ext uri="{FF2B5EF4-FFF2-40B4-BE49-F238E27FC236}">
                      <a16:creationId xmlns:a16="http://schemas.microsoft.com/office/drawing/2014/main" id="{3860CC70-CB4D-0C97-A2E4-896265F7D58E}"/>
                    </a:ext>
                  </a:extLst>
                </p:cNvPr>
                <p:cNvSpPr/>
                <p:nvPr/>
              </p:nvSpPr>
              <p:spPr bwMode="gray">
                <a:xfrm>
                  <a:off x="6935724"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65" name="Freeform: Shape 9464">
                  <a:extLst>
                    <a:ext uri="{FF2B5EF4-FFF2-40B4-BE49-F238E27FC236}">
                      <a16:creationId xmlns:a16="http://schemas.microsoft.com/office/drawing/2014/main" id="{7B604A38-6767-E77C-8A0A-3013578588D6}"/>
                    </a:ext>
                  </a:extLst>
                </p:cNvPr>
                <p:cNvSpPr/>
                <p:nvPr/>
              </p:nvSpPr>
              <p:spPr bwMode="gray">
                <a:xfrm>
                  <a:off x="6897909" y="403164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5" name="Graphic 401">
                <a:extLst>
                  <a:ext uri="{FF2B5EF4-FFF2-40B4-BE49-F238E27FC236}">
                    <a16:creationId xmlns:a16="http://schemas.microsoft.com/office/drawing/2014/main" id="{E8C51ED3-A409-A56C-CE32-6572F839AEB8}"/>
                  </a:ext>
                </a:extLst>
              </p:cNvPr>
              <p:cNvGrpSpPr/>
              <p:nvPr/>
            </p:nvGrpSpPr>
            <p:grpSpPr bwMode="gray">
              <a:xfrm>
                <a:off x="6925532" y="3993832"/>
                <a:ext cx="75723" cy="75628"/>
                <a:chOff x="6925532" y="3993832"/>
                <a:chExt cx="75723" cy="75628"/>
              </a:xfrm>
            </p:grpSpPr>
            <p:sp>
              <p:nvSpPr>
                <p:cNvPr id="9462" name="Freeform: Shape 9461">
                  <a:extLst>
                    <a:ext uri="{FF2B5EF4-FFF2-40B4-BE49-F238E27FC236}">
                      <a16:creationId xmlns:a16="http://schemas.microsoft.com/office/drawing/2014/main" id="{28CC4E31-2CA6-C6F9-B450-9BD21B06A6AB}"/>
                    </a:ext>
                  </a:extLst>
                </p:cNvPr>
                <p:cNvSpPr/>
                <p:nvPr/>
              </p:nvSpPr>
              <p:spPr bwMode="gray">
                <a:xfrm>
                  <a:off x="6963346"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63" name="Freeform: Shape 9462">
                  <a:extLst>
                    <a:ext uri="{FF2B5EF4-FFF2-40B4-BE49-F238E27FC236}">
                      <a16:creationId xmlns:a16="http://schemas.microsoft.com/office/drawing/2014/main" id="{51D8786F-3307-68EE-C041-4A2165E2EDAE}"/>
                    </a:ext>
                  </a:extLst>
                </p:cNvPr>
                <p:cNvSpPr/>
                <p:nvPr/>
              </p:nvSpPr>
              <p:spPr bwMode="gray">
                <a:xfrm>
                  <a:off x="6925532"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6" name="Graphic 401">
                <a:extLst>
                  <a:ext uri="{FF2B5EF4-FFF2-40B4-BE49-F238E27FC236}">
                    <a16:creationId xmlns:a16="http://schemas.microsoft.com/office/drawing/2014/main" id="{AAE0D36E-D72F-7F34-966E-E90E5464480C}"/>
                  </a:ext>
                </a:extLst>
              </p:cNvPr>
              <p:cNvGrpSpPr/>
              <p:nvPr/>
            </p:nvGrpSpPr>
            <p:grpSpPr bwMode="gray">
              <a:xfrm>
                <a:off x="6930675" y="3993832"/>
                <a:ext cx="75723" cy="75628"/>
                <a:chOff x="6930675" y="3993832"/>
                <a:chExt cx="75723" cy="75628"/>
              </a:xfrm>
            </p:grpSpPr>
            <p:sp>
              <p:nvSpPr>
                <p:cNvPr id="9460" name="Freeform: Shape 9459">
                  <a:extLst>
                    <a:ext uri="{FF2B5EF4-FFF2-40B4-BE49-F238E27FC236}">
                      <a16:creationId xmlns:a16="http://schemas.microsoft.com/office/drawing/2014/main" id="{A6E88BA2-51E9-4FB3-5ACE-E02AE43BA40A}"/>
                    </a:ext>
                  </a:extLst>
                </p:cNvPr>
                <p:cNvSpPr/>
                <p:nvPr/>
              </p:nvSpPr>
              <p:spPr bwMode="gray">
                <a:xfrm>
                  <a:off x="6968585"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61" name="Freeform: Shape 9460">
                  <a:extLst>
                    <a:ext uri="{FF2B5EF4-FFF2-40B4-BE49-F238E27FC236}">
                      <a16:creationId xmlns:a16="http://schemas.microsoft.com/office/drawing/2014/main" id="{94C09BB5-A3BD-6CD9-3912-6DB20DD79C0C}"/>
                    </a:ext>
                  </a:extLst>
                </p:cNvPr>
                <p:cNvSpPr/>
                <p:nvPr/>
              </p:nvSpPr>
              <p:spPr bwMode="gray">
                <a:xfrm>
                  <a:off x="6930675"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57" name="Graphic 401">
                <a:extLst>
                  <a:ext uri="{FF2B5EF4-FFF2-40B4-BE49-F238E27FC236}">
                    <a16:creationId xmlns:a16="http://schemas.microsoft.com/office/drawing/2014/main" id="{BF94C50A-38C5-C989-188C-791CF6FBA032}"/>
                  </a:ext>
                </a:extLst>
              </p:cNvPr>
              <p:cNvGrpSpPr/>
              <p:nvPr/>
            </p:nvGrpSpPr>
            <p:grpSpPr bwMode="gray">
              <a:xfrm>
                <a:off x="6954393" y="3993832"/>
                <a:ext cx="75723" cy="75628"/>
                <a:chOff x="6954393" y="3993832"/>
                <a:chExt cx="75723" cy="75628"/>
              </a:xfrm>
            </p:grpSpPr>
            <p:sp>
              <p:nvSpPr>
                <p:cNvPr id="9458" name="Freeform: Shape 9457">
                  <a:extLst>
                    <a:ext uri="{FF2B5EF4-FFF2-40B4-BE49-F238E27FC236}">
                      <a16:creationId xmlns:a16="http://schemas.microsoft.com/office/drawing/2014/main" id="{9D5C01AE-7F4C-357F-FD34-7FCF81D1144F}"/>
                    </a:ext>
                  </a:extLst>
                </p:cNvPr>
                <p:cNvSpPr/>
                <p:nvPr/>
              </p:nvSpPr>
              <p:spPr bwMode="gray">
                <a:xfrm>
                  <a:off x="6992302" y="399383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459" name="Freeform: Shape 9458">
                  <a:extLst>
                    <a:ext uri="{FF2B5EF4-FFF2-40B4-BE49-F238E27FC236}">
                      <a16:creationId xmlns:a16="http://schemas.microsoft.com/office/drawing/2014/main" id="{6C697897-C870-6811-0E64-D64118AFB831}"/>
                    </a:ext>
                  </a:extLst>
                </p:cNvPr>
                <p:cNvSpPr/>
                <p:nvPr/>
              </p:nvSpPr>
              <p:spPr bwMode="gray">
                <a:xfrm>
                  <a:off x="6954393" y="403164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9363" name="Freeform: Shape 9362">
              <a:extLst>
                <a:ext uri="{FF2B5EF4-FFF2-40B4-BE49-F238E27FC236}">
                  <a16:creationId xmlns:a16="http://schemas.microsoft.com/office/drawing/2014/main" id="{899A6DFF-40DD-DEE9-036E-5B83ADA41EAC}"/>
                </a:ext>
              </a:extLst>
            </p:cNvPr>
            <p:cNvSpPr/>
            <p:nvPr/>
          </p:nvSpPr>
          <p:spPr bwMode="gray">
            <a:xfrm>
              <a:off x="3190970" y="2647664"/>
              <a:ext cx="5778246" cy="1564386"/>
            </a:xfrm>
            <a:custGeom>
              <a:avLst/>
              <a:gdLst>
                <a:gd name="connsiteX0" fmla="*/ 5778246 w 5778246"/>
                <a:gd name="connsiteY0" fmla="*/ 1564386 h 1564386"/>
                <a:gd name="connsiteX1" fmla="*/ 4221766 w 5778246"/>
                <a:gd name="connsiteY1" fmla="*/ 1564386 h 1564386"/>
                <a:gd name="connsiteX2" fmla="*/ 4221766 w 5778246"/>
                <a:gd name="connsiteY2" fmla="*/ 1457516 h 1564386"/>
                <a:gd name="connsiteX3" fmla="*/ 4021169 w 5778246"/>
                <a:gd name="connsiteY3" fmla="*/ 1457516 h 1564386"/>
                <a:gd name="connsiteX4" fmla="*/ 4021169 w 5778246"/>
                <a:gd name="connsiteY4" fmla="*/ 1383792 h 1564386"/>
                <a:gd name="connsiteX5" fmla="*/ 3685604 w 5778246"/>
                <a:gd name="connsiteY5" fmla="*/ 1383792 h 1564386"/>
                <a:gd name="connsiteX6" fmla="*/ 3685604 w 5778246"/>
                <a:gd name="connsiteY6" fmla="*/ 1327214 h 1564386"/>
                <a:gd name="connsiteX7" fmla="*/ 3121343 w 5778246"/>
                <a:gd name="connsiteY7" fmla="*/ 1327214 h 1564386"/>
                <a:gd name="connsiteX8" fmla="*/ 3121343 w 5778246"/>
                <a:gd name="connsiteY8" fmla="*/ 1292638 h 1564386"/>
                <a:gd name="connsiteX9" fmla="*/ 3024092 w 5778246"/>
                <a:gd name="connsiteY9" fmla="*/ 1292638 h 1564386"/>
                <a:gd name="connsiteX10" fmla="*/ 3024092 w 5778246"/>
                <a:gd name="connsiteY10" fmla="*/ 1254919 h 1564386"/>
                <a:gd name="connsiteX11" fmla="*/ 2959608 w 5778246"/>
                <a:gd name="connsiteY11" fmla="*/ 1254919 h 1564386"/>
                <a:gd name="connsiteX12" fmla="*/ 2959608 w 5778246"/>
                <a:gd name="connsiteY12" fmla="*/ 1213104 h 1564386"/>
                <a:gd name="connsiteX13" fmla="*/ 2891600 w 5778246"/>
                <a:gd name="connsiteY13" fmla="*/ 1213104 h 1564386"/>
                <a:gd name="connsiteX14" fmla="*/ 2891600 w 5778246"/>
                <a:gd name="connsiteY14" fmla="*/ 1178338 h 1564386"/>
                <a:gd name="connsiteX15" fmla="*/ 2876931 w 5778246"/>
                <a:gd name="connsiteY15" fmla="*/ 1178338 h 1564386"/>
                <a:gd name="connsiteX16" fmla="*/ 2876931 w 5778246"/>
                <a:gd name="connsiteY16" fmla="*/ 1149191 h 1564386"/>
                <a:gd name="connsiteX17" fmla="*/ 2741390 w 5778246"/>
                <a:gd name="connsiteY17" fmla="*/ 1149191 h 1564386"/>
                <a:gd name="connsiteX18" fmla="*/ 2741390 w 5778246"/>
                <a:gd name="connsiteY18" fmla="*/ 1113282 h 1564386"/>
                <a:gd name="connsiteX19" fmla="*/ 2510314 w 5778246"/>
                <a:gd name="connsiteY19" fmla="*/ 1113282 h 1564386"/>
                <a:gd name="connsiteX20" fmla="*/ 2510314 w 5778246"/>
                <a:gd name="connsiteY20" fmla="*/ 1086517 h 1564386"/>
                <a:gd name="connsiteX21" fmla="*/ 2441067 w 5778246"/>
                <a:gd name="connsiteY21" fmla="*/ 1086517 h 1564386"/>
                <a:gd name="connsiteX22" fmla="*/ 2441067 w 5778246"/>
                <a:gd name="connsiteY22" fmla="*/ 1050131 h 1564386"/>
                <a:gd name="connsiteX23" fmla="*/ 2349818 w 5778246"/>
                <a:gd name="connsiteY23" fmla="*/ 1050131 h 1564386"/>
                <a:gd name="connsiteX24" fmla="*/ 2349818 w 5778246"/>
                <a:gd name="connsiteY24" fmla="*/ 1028414 h 1564386"/>
                <a:gd name="connsiteX25" fmla="*/ 2204561 w 5778246"/>
                <a:gd name="connsiteY25" fmla="*/ 1028414 h 1564386"/>
                <a:gd name="connsiteX26" fmla="*/ 2204561 w 5778246"/>
                <a:gd name="connsiteY26" fmla="*/ 974027 h 1564386"/>
                <a:gd name="connsiteX27" fmla="*/ 2173510 w 5778246"/>
                <a:gd name="connsiteY27" fmla="*/ 974027 h 1564386"/>
                <a:gd name="connsiteX28" fmla="*/ 2173510 w 5778246"/>
                <a:gd name="connsiteY28" fmla="*/ 946023 h 1564386"/>
                <a:gd name="connsiteX29" fmla="*/ 2116360 w 5778246"/>
                <a:gd name="connsiteY29" fmla="*/ 946023 h 1564386"/>
                <a:gd name="connsiteX30" fmla="*/ 2116360 w 5778246"/>
                <a:gd name="connsiteY30" fmla="*/ 918401 h 1564386"/>
                <a:gd name="connsiteX31" fmla="*/ 2070735 w 5778246"/>
                <a:gd name="connsiteY31" fmla="*/ 918401 h 1564386"/>
                <a:gd name="connsiteX32" fmla="*/ 2070735 w 5778246"/>
                <a:gd name="connsiteY32" fmla="*/ 893731 h 1564386"/>
                <a:gd name="connsiteX33" fmla="*/ 2048256 w 5778246"/>
                <a:gd name="connsiteY33" fmla="*/ 893731 h 1564386"/>
                <a:gd name="connsiteX34" fmla="*/ 2048256 w 5778246"/>
                <a:gd name="connsiteY34" fmla="*/ 866966 h 1564386"/>
                <a:gd name="connsiteX35" fmla="*/ 1991106 w 5778246"/>
                <a:gd name="connsiteY35" fmla="*/ 866966 h 1564386"/>
                <a:gd name="connsiteX36" fmla="*/ 1991106 w 5778246"/>
                <a:gd name="connsiteY36" fmla="*/ 838772 h 1564386"/>
                <a:gd name="connsiteX37" fmla="*/ 1948625 w 5778246"/>
                <a:gd name="connsiteY37" fmla="*/ 838772 h 1564386"/>
                <a:gd name="connsiteX38" fmla="*/ 1948625 w 5778246"/>
                <a:gd name="connsiteY38" fmla="*/ 810197 h 1564386"/>
                <a:gd name="connsiteX39" fmla="*/ 1923669 w 5778246"/>
                <a:gd name="connsiteY39" fmla="*/ 810197 h 1564386"/>
                <a:gd name="connsiteX40" fmla="*/ 1923669 w 5778246"/>
                <a:gd name="connsiteY40" fmla="*/ 781907 h 1564386"/>
                <a:gd name="connsiteX41" fmla="*/ 1903000 w 5778246"/>
                <a:gd name="connsiteY41" fmla="*/ 781907 h 1564386"/>
                <a:gd name="connsiteX42" fmla="*/ 1903000 w 5778246"/>
                <a:gd name="connsiteY42" fmla="*/ 724091 h 1564386"/>
                <a:gd name="connsiteX43" fmla="*/ 1890427 w 5778246"/>
                <a:gd name="connsiteY43" fmla="*/ 724091 h 1564386"/>
                <a:gd name="connsiteX44" fmla="*/ 1890427 w 5778246"/>
                <a:gd name="connsiteY44" fmla="*/ 673703 h 1564386"/>
                <a:gd name="connsiteX45" fmla="*/ 1871948 w 5778246"/>
                <a:gd name="connsiteY45" fmla="*/ 673703 h 1564386"/>
                <a:gd name="connsiteX46" fmla="*/ 1871948 w 5778246"/>
                <a:gd name="connsiteY46" fmla="*/ 621221 h 1564386"/>
                <a:gd name="connsiteX47" fmla="*/ 1826228 w 5778246"/>
                <a:gd name="connsiteY47" fmla="*/ 621221 h 1564386"/>
                <a:gd name="connsiteX48" fmla="*/ 1826228 w 5778246"/>
                <a:gd name="connsiteY48" fmla="*/ 575215 h 1564386"/>
                <a:gd name="connsiteX49" fmla="*/ 1780127 w 5778246"/>
                <a:gd name="connsiteY49" fmla="*/ 575215 h 1564386"/>
                <a:gd name="connsiteX50" fmla="*/ 1780127 w 5778246"/>
                <a:gd name="connsiteY50" fmla="*/ 516922 h 1564386"/>
                <a:gd name="connsiteX51" fmla="*/ 1533906 w 5778246"/>
                <a:gd name="connsiteY51" fmla="*/ 516922 h 1564386"/>
                <a:gd name="connsiteX52" fmla="*/ 1533906 w 5778246"/>
                <a:gd name="connsiteY52" fmla="*/ 449390 h 1564386"/>
                <a:gd name="connsiteX53" fmla="*/ 1414367 w 5778246"/>
                <a:gd name="connsiteY53" fmla="*/ 449390 h 1564386"/>
                <a:gd name="connsiteX54" fmla="*/ 1414367 w 5778246"/>
                <a:gd name="connsiteY54" fmla="*/ 420719 h 1564386"/>
                <a:gd name="connsiteX55" fmla="*/ 1395889 w 5778246"/>
                <a:gd name="connsiteY55" fmla="*/ 420719 h 1564386"/>
                <a:gd name="connsiteX56" fmla="*/ 1395889 w 5778246"/>
                <a:gd name="connsiteY56" fmla="*/ 400526 h 1564386"/>
                <a:gd name="connsiteX57" fmla="*/ 1353407 w 5778246"/>
                <a:gd name="connsiteY57" fmla="*/ 400526 h 1564386"/>
                <a:gd name="connsiteX58" fmla="*/ 1353407 w 5778246"/>
                <a:gd name="connsiteY58" fmla="*/ 373761 h 1564386"/>
                <a:gd name="connsiteX59" fmla="*/ 1286447 w 5778246"/>
                <a:gd name="connsiteY59" fmla="*/ 373761 h 1564386"/>
                <a:gd name="connsiteX60" fmla="*/ 1286447 w 5778246"/>
                <a:gd name="connsiteY60" fmla="*/ 356997 h 1564386"/>
                <a:gd name="connsiteX61" fmla="*/ 1193387 w 5778246"/>
                <a:gd name="connsiteY61" fmla="*/ 356997 h 1564386"/>
                <a:gd name="connsiteX62" fmla="*/ 1193387 w 5778246"/>
                <a:gd name="connsiteY62" fmla="*/ 291656 h 1564386"/>
                <a:gd name="connsiteX63" fmla="*/ 1107091 w 5778246"/>
                <a:gd name="connsiteY63" fmla="*/ 291656 h 1564386"/>
                <a:gd name="connsiteX64" fmla="*/ 1107091 w 5778246"/>
                <a:gd name="connsiteY64" fmla="*/ 269367 h 1564386"/>
                <a:gd name="connsiteX65" fmla="*/ 953929 w 5778246"/>
                <a:gd name="connsiteY65" fmla="*/ 269367 h 1564386"/>
                <a:gd name="connsiteX66" fmla="*/ 953929 w 5778246"/>
                <a:gd name="connsiteY66" fmla="*/ 223171 h 1564386"/>
                <a:gd name="connsiteX67" fmla="*/ 940594 w 5778246"/>
                <a:gd name="connsiteY67" fmla="*/ 223171 h 1564386"/>
                <a:gd name="connsiteX68" fmla="*/ 940594 w 5778246"/>
                <a:gd name="connsiteY68" fmla="*/ 206788 h 1564386"/>
                <a:gd name="connsiteX69" fmla="*/ 905923 w 5778246"/>
                <a:gd name="connsiteY69" fmla="*/ 206788 h 1564386"/>
                <a:gd name="connsiteX70" fmla="*/ 905923 w 5778246"/>
                <a:gd name="connsiteY70" fmla="*/ 193358 h 1564386"/>
                <a:gd name="connsiteX71" fmla="*/ 857822 w 5778246"/>
                <a:gd name="connsiteY71" fmla="*/ 193358 h 1564386"/>
                <a:gd name="connsiteX72" fmla="*/ 857822 w 5778246"/>
                <a:gd name="connsiteY72" fmla="*/ 146590 h 1564386"/>
                <a:gd name="connsiteX73" fmla="*/ 811054 w 5778246"/>
                <a:gd name="connsiteY73" fmla="*/ 146590 h 1564386"/>
                <a:gd name="connsiteX74" fmla="*/ 811054 w 5778246"/>
                <a:gd name="connsiteY74" fmla="*/ 122873 h 1564386"/>
                <a:gd name="connsiteX75" fmla="*/ 724091 w 5778246"/>
                <a:gd name="connsiteY75" fmla="*/ 122873 h 1564386"/>
                <a:gd name="connsiteX76" fmla="*/ 724091 w 5778246"/>
                <a:gd name="connsiteY76" fmla="*/ 100394 h 1564386"/>
                <a:gd name="connsiteX77" fmla="*/ 651129 w 5778246"/>
                <a:gd name="connsiteY77" fmla="*/ 100394 h 1564386"/>
                <a:gd name="connsiteX78" fmla="*/ 651129 w 5778246"/>
                <a:gd name="connsiteY78" fmla="*/ 81534 h 1564386"/>
                <a:gd name="connsiteX79" fmla="*/ 564166 w 5778246"/>
                <a:gd name="connsiteY79" fmla="*/ 81534 h 1564386"/>
                <a:gd name="connsiteX80" fmla="*/ 564166 w 5778246"/>
                <a:gd name="connsiteY80" fmla="*/ 58960 h 1564386"/>
                <a:gd name="connsiteX81" fmla="*/ 426244 w 5778246"/>
                <a:gd name="connsiteY81" fmla="*/ 58960 h 1564386"/>
                <a:gd name="connsiteX82" fmla="*/ 426244 w 5778246"/>
                <a:gd name="connsiteY82" fmla="*/ 45625 h 1564386"/>
                <a:gd name="connsiteX83" fmla="*/ 308896 w 5778246"/>
                <a:gd name="connsiteY83" fmla="*/ 45625 h 1564386"/>
                <a:gd name="connsiteX84" fmla="*/ 308896 w 5778246"/>
                <a:gd name="connsiteY84" fmla="*/ 22955 h 1564386"/>
                <a:gd name="connsiteX85" fmla="*/ 122206 w 5778246"/>
                <a:gd name="connsiteY85" fmla="*/ 22955 h 1564386"/>
                <a:gd name="connsiteX86" fmla="*/ 122206 w 5778246"/>
                <a:gd name="connsiteY86" fmla="*/ 0 h 1564386"/>
                <a:gd name="connsiteX87" fmla="*/ 0 w 5778246"/>
                <a:gd name="connsiteY87" fmla="*/ 0 h 156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778246" h="1564386">
                  <a:moveTo>
                    <a:pt x="5778246" y="1564386"/>
                  </a:moveTo>
                  <a:lnTo>
                    <a:pt x="4221766" y="1564386"/>
                  </a:lnTo>
                  <a:lnTo>
                    <a:pt x="4221766" y="1457516"/>
                  </a:lnTo>
                  <a:lnTo>
                    <a:pt x="4021169" y="1457516"/>
                  </a:lnTo>
                  <a:lnTo>
                    <a:pt x="4021169" y="1383792"/>
                  </a:lnTo>
                  <a:lnTo>
                    <a:pt x="3685604" y="1383792"/>
                  </a:lnTo>
                  <a:lnTo>
                    <a:pt x="3685604" y="1327214"/>
                  </a:lnTo>
                  <a:lnTo>
                    <a:pt x="3121343" y="1327214"/>
                  </a:lnTo>
                  <a:lnTo>
                    <a:pt x="3121343" y="1292638"/>
                  </a:lnTo>
                  <a:lnTo>
                    <a:pt x="3024092" y="1292638"/>
                  </a:lnTo>
                  <a:lnTo>
                    <a:pt x="3024092" y="1254919"/>
                  </a:lnTo>
                  <a:lnTo>
                    <a:pt x="2959608" y="1254919"/>
                  </a:lnTo>
                  <a:lnTo>
                    <a:pt x="2959608" y="1213104"/>
                  </a:lnTo>
                  <a:lnTo>
                    <a:pt x="2891600" y="1213104"/>
                  </a:lnTo>
                  <a:lnTo>
                    <a:pt x="2891600" y="1178338"/>
                  </a:lnTo>
                  <a:lnTo>
                    <a:pt x="2876931" y="1178338"/>
                  </a:lnTo>
                  <a:lnTo>
                    <a:pt x="2876931" y="1149191"/>
                  </a:lnTo>
                  <a:lnTo>
                    <a:pt x="2741390" y="1149191"/>
                  </a:lnTo>
                  <a:lnTo>
                    <a:pt x="2741390" y="1113282"/>
                  </a:lnTo>
                  <a:lnTo>
                    <a:pt x="2510314" y="1113282"/>
                  </a:lnTo>
                  <a:lnTo>
                    <a:pt x="2510314" y="1086517"/>
                  </a:lnTo>
                  <a:lnTo>
                    <a:pt x="2441067" y="1086517"/>
                  </a:lnTo>
                  <a:lnTo>
                    <a:pt x="2441067" y="1050131"/>
                  </a:lnTo>
                  <a:lnTo>
                    <a:pt x="2349818" y="1050131"/>
                  </a:lnTo>
                  <a:lnTo>
                    <a:pt x="2349818" y="1028414"/>
                  </a:lnTo>
                  <a:lnTo>
                    <a:pt x="2204561" y="1028414"/>
                  </a:lnTo>
                  <a:lnTo>
                    <a:pt x="2204561" y="974027"/>
                  </a:lnTo>
                  <a:lnTo>
                    <a:pt x="2173510" y="974027"/>
                  </a:lnTo>
                  <a:lnTo>
                    <a:pt x="2173510" y="946023"/>
                  </a:lnTo>
                  <a:lnTo>
                    <a:pt x="2116360" y="946023"/>
                  </a:lnTo>
                  <a:lnTo>
                    <a:pt x="2116360" y="918401"/>
                  </a:lnTo>
                  <a:lnTo>
                    <a:pt x="2070735" y="918401"/>
                  </a:lnTo>
                  <a:lnTo>
                    <a:pt x="2070735" y="893731"/>
                  </a:lnTo>
                  <a:lnTo>
                    <a:pt x="2048256" y="893731"/>
                  </a:lnTo>
                  <a:lnTo>
                    <a:pt x="2048256" y="866966"/>
                  </a:lnTo>
                  <a:lnTo>
                    <a:pt x="1991106" y="866966"/>
                  </a:lnTo>
                  <a:lnTo>
                    <a:pt x="1991106" y="838772"/>
                  </a:lnTo>
                  <a:lnTo>
                    <a:pt x="1948625" y="838772"/>
                  </a:lnTo>
                  <a:lnTo>
                    <a:pt x="1948625" y="810197"/>
                  </a:lnTo>
                  <a:lnTo>
                    <a:pt x="1923669" y="810197"/>
                  </a:lnTo>
                  <a:lnTo>
                    <a:pt x="1923669" y="781907"/>
                  </a:lnTo>
                  <a:lnTo>
                    <a:pt x="1903000" y="781907"/>
                  </a:lnTo>
                  <a:lnTo>
                    <a:pt x="1903000" y="724091"/>
                  </a:lnTo>
                  <a:lnTo>
                    <a:pt x="1890427" y="724091"/>
                  </a:lnTo>
                  <a:lnTo>
                    <a:pt x="1890427" y="673703"/>
                  </a:lnTo>
                  <a:lnTo>
                    <a:pt x="1871948" y="673703"/>
                  </a:lnTo>
                  <a:lnTo>
                    <a:pt x="1871948" y="621221"/>
                  </a:lnTo>
                  <a:lnTo>
                    <a:pt x="1826228" y="621221"/>
                  </a:lnTo>
                  <a:lnTo>
                    <a:pt x="1826228" y="575215"/>
                  </a:lnTo>
                  <a:lnTo>
                    <a:pt x="1780127" y="575215"/>
                  </a:lnTo>
                  <a:lnTo>
                    <a:pt x="1780127" y="516922"/>
                  </a:lnTo>
                  <a:lnTo>
                    <a:pt x="1533906" y="516922"/>
                  </a:lnTo>
                  <a:lnTo>
                    <a:pt x="1533906" y="449390"/>
                  </a:lnTo>
                  <a:lnTo>
                    <a:pt x="1414367" y="449390"/>
                  </a:lnTo>
                  <a:lnTo>
                    <a:pt x="1414367" y="420719"/>
                  </a:lnTo>
                  <a:lnTo>
                    <a:pt x="1395889" y="420719"/>
                  </a:lnTo>
                  <a:lnTo>
                    <a:pt x="1395889" y="400526"/>
                  </a:lnTo>
                  <a:lnTo>
                    <a:pt x="1353407" y="400526"/>
                  </a:lnTo>
                  <a:lnTo>
                    <a:pt x="1353407" y="373761"/>
                  </a:lnTo>
                  <a:lnTo>
                    <a:pt x="1286447" y="373761"/>
                  </a:lnTo>
                  <a:lnTo>
                    <a:pt x="1286447" y="356997"/>
                  </a:lnTo>
                  <a:lnTo>
                    <a:pt x="1193387" y="356997"/>
                  </a:lnTo>
                  <a:lnTo>
                    <a:pt x="1193387" y="291656"/>
                  </a:lnTo>
                  <a:lnTo>
                    <a:pt x="1107091" y="291656"/>
                  </a:lnTo>
                  <a:lnTo>
                    <a:pt x="1107091" y="269367"/>
                  </a:lnTo>
                  <a:lnTo>
                    <a:pt x="953929" y="269367"/>
                  </a:lnTo>
                  <a:lnTo>
                    <a:pt x="953929" y="223171"/>
                  </a:lnTo>
                  <a:lnTo>
                    <a:pt x="940594" y="223171"/>
                  </a:lnTo>
                  <a:lnTo>
                    <a:pt x="940594" y="206788"/>
                  </a:lnTo>
                  <a:lnTo>
                    <a:pt x="905923" y="206788"/>
                  </a:lnTo>
                  <a:lnTo>
                    <a:pt x="905923" y="193358"/>
                  </a:lnTo>
                  <a:lnTo>
                    <a:pt x="857822" y="193358"/>
                  </a:lnTo>
                  <a:lnTo>
                    <a:pt x="857822" y="146590"/>
                  </a:lnTo>
                  <a:lnTo>
                    <a:pt x="811054" y="146590"/>
                  </a:lnTo>
                  <a:lnTo>
                    <a:pt x="811054" y="122873"/>
                  </a:lnTo>
                  <a:lnTo>
                    <a:pt x="724091" y="122873"/>
                  </a:lnTo>
                  <a:lnTo>
                    <a:pt x="724091" y="100394"/>
                  </a:lnTo>
                  <a:lnTo>
                    <a:pt x="651129" y="100394"/>
                  </a:lnTo>
                  <a:lnTo>
                    <a:pt x="651129" y="81534"/>
                  </a:lnTo>
                  <a:lnTo>
                    <a:pt x="564166" y="81534"/>
                  </a:lnTo>
                  <a:lnTo>
                    <a:pt x="564166" y="58960"/>
                  </a:lnTo>
                  <a:lnTo>
                    <a:pt x="426244" y="58960"/>
                  </a:lnTo>
                  <a:lnTo>
                    <a:pt x="426244" y="45625"/>
                  </a:lnTo>
                  <a:lnTo>
                    <a:pt x="308896" y="45625"/>
                  </a:lnTo>
                  <a:lnTo>
                    <a:pt x="308896" y="22955"/>
                  </a:lnTo>
                  <a:lnTo>
                    <a:pt x="122206" y="22955"/>
                  </a:lnTo>
                  <a:lnTo>
                    <a:pt x="122206" y="0"/>
                  </a:lnTo>
                  <a:lnTo>
                    <a:pt x="0" y="0"/>
                  </a:lnTo>
                </a:path>
              </a:pathLst>
            </a:custGeom>
            <a:noFill/>
            <a:ln w="19050" cap="flat">
              <a:solidFill>
                <a:schemeClr val="accent3"/>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46" name="Group 9645">
            <a:extLst>
              <a:ext uri="{FF2B5EF4-FFF2-40B4-BE49-F238E27FC236}">
                <a16:creationId xmlns:a16="http://schemas.microsoft.com/office/drawing/2014/main" id="{291136BE-594D-19D0-0C56-A7922794C5D3}"/>
              </a:ext>
            </a:extLst>
          </p:cNvPr>
          <p:cNvGrpSpPr/>
          <p:nvPr/>
        </p:nvGrpSpPr>
        <p:grpSpPr bwMode="gray">
          <a:xfrm>
            <a:off x="680637" y="1477170"/>
            <a:ext cx="6719196" cy="1477994"/>
            <a:chOff x="3057525" y="2690812"/>
            <a:chExt cx="6079140" cy="1477994"/>
          </a:xfrm>
        </p:grpSpPr>
        <p:grpSp>
          <p:nvGrpSpPr>
            <p:cNvPr id="9647" name="Graphic 77">
              <a:extLst>
                <a:ext uri="{FF2B5EF4-FFF2-40B4-BE49-F238E27FC236}">
                  <a16:creationId xmlns:a16="http://schemas.microsoft.com/office/drawing/2014/main" id="{BA21E254-05BF-0944-5859-4024CA04F01B}"/>
                </a:ext>
              </a:extLst>
            </p:cNvPr>
            <p:cNvGrpSpPr/>
            <p:nvPr/>
          </p:nvGrpSpPr>
          <p:grpSpPr bwMode="gray">
            <a:xfrm>
              <a:off x="3540156" y="2810827"/>
              <a:ext cx="5596509" cy="1357979"/>
              <a:chOff x="3540156" y="2810827"/>
              <a:chExt cx="5596509" cy="1357979"/>
            </a:xfrm>
          </p:grpSpPr>
          <p:grpSp>
            <p:nvGrpSpPr>
              <p:cNvPr id="9649" name="Graphic 77">
                <a:extLst>
                  <a:ext uri="{FF2B5EF4-FFF2-40B4-BE49-F238E27FC236}">
                    <a16:creationId xmlns:a16="http://schemas.microsoft.com/office/drawing/2014/main" id="{899BEC5A-3F32-2910-B85A-92FA4F27D64C}"/>
                  </a:ext>
                </a:extLst>
              </p:cNvPr>
              <p:cNvGrpSpPr/>
              <p:nvPr/>
            </p:nvGrpSpPr>
            <p:grpSpPr bwMode="gray">
              <a:xfrm>
                <a:off x="9060942" y="4093083"/>
                <a:ext cx="75723" cy="75723"/>
                <a:chOff x="9060942" y="4093083"/>
                <a:chExt cx="75723" cy="75723"/>
              </a:xfrm>
            </p:grpSpPr>
            <p:sp>
              <p:nvSpPr>
                <p:cNvPr id="9965" name="Freeform: Shape 9964">
                  <a:extLst>
                    <a:ext uri="{FF2B5EF4-FFF2-40B4-BE49-F238E27FC236}">
                      <a16:creationId xmlns:a16="http://schemas.microsoft.com/office/drawing/2014/main" id="{630FE402-A82C-BDBF-65F5-2D250E1A0DCF}"/>
                    </a:ext>
                  </a:extLst>
                </p:cNvPr>
                <p:cNvSpPr/>
                <p:nvPr/>
              </p:nvSpPr>
              <p:spPr bwMode="gray">
                <a:xfrm>
                  <a:off x="9098851"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66" name="Freeform: Shape 9965">
                  <a:extLst>
                    <a:ext uri="{FF2B5EF4-FFF2-40B4-BE49-F238E27FC236}">
                      <a16:creationId xmlns:a16="http://schemas.microsoft.com/office/drawing/2014/main" id="{315F5A6C-DE6C-A36D-E6A4-A16D4E5FC665}"/>
                    </a:ext>
                  </a:extLst>
                </p:cNvPr>
                <p:cNvSpPr/>
                <p:nvPr/>
              </p:nvSpPr>
              <p:spPr bwMode="gray">
                <a:xfrm>
                  <a:off x="9060942"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0" name="Graphic 77">
                <a:extLst>
                  <a:ext uri="{FF2B5EF4-FFF2-40B4-BE49-F238E27FC236}">
                    <a16:creationId xmlns:a16="http://schemas.microsoft.com/office/drawing/2014/main" id="{C74FC8DB-9724-93A0-3863-8ADB086AFAC5}"/>
                  </a:ext>
                </a:extLst>
              </p:cNvPr>
              <p:cNvGrpSpPr/>
              <p:nvPr/>
            </p:nvGrpSpPr>
            <p:grpSpPr bwMode="gray">
              <a:xfrm>
                <a:off x="9006649" y="4093083"/>
                <a:ext cx="75723" cy="75723"/>
                <a:chOff x="9006649" y="4093083"/>
                <a:chExt cx="75723" cy="75723"/>
              </a:xfrm>
            </p:grpSpPr>
            <p:sp>
              <p:nvSpPr>
                <p:cNvPr id="9963" name="Freeform: Shape 9962">
                  <a:extLst>
                    <a:ext uri="{FF2B5EF4-FFF2-40B4-BE49-F238E27FC236}">
                      <a16:creationId xmlns:a16="http://schemas.microsoft.com/office/drawing/2014/main" id="{E4B6D9E9-76D1-B408-7464-636376248A2F}"/>
                    </a:ext>
                  </a:extLst>
                </p:cNvPr>
                <p:cNvSpPr/>
                <p:nvPr/>
              </p:nvSpPr>
              <p:spPr bwMode="gray">
                <a:xfrm>
                  <a:off x="9044463"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64" name="Freeform: Shape 9963">
                  <a:extLst>
                    <a:ext uri="{FF2B5EF4-FFF2-40B4-BE49-F238E27FC236}">
                      <a16:creationId xmlns:a16="http://schemas.microsoft.com/office/drawing/2014/main" id="{80767B38-0431-1ACA-D6AB-A24BA5483BFD}"/>
                    </a:ext>
                  </a:extLst>
                </p:cNvPr>
                <p:cNvSpPr/>
                <p:nvPr/>
              </p:nvSpPr>
              <p:spPr bwMode="gray">
                <a:xfrm>
                  <a:off x="9006649"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1" name="Graphic 77">
                <a:extLst>
                  <a:ext uri="{FF2B5EF4-FFF2-40B4-BE49-F238E27FC236}">
                    <a16:creationId xmlns:a16="http://schemas.microsoft.com/office/drawing/2014/main" id="{814A5DF2-41FC-AFE9-EC89-D26B0B7E9A11}"/>
                  </a:ext>
                </a:extLst>
              </p:cNvPr>
              <p:cNvGrpSpPr/>
              <p:nvPr/>
            </p:nvGrpSpPr>
            <p:grpSpPr bwMode="gray">
              <a:xfrm>
                <a:off x="8293322" y="4093083"/>
                <a:ext cx="75628" cy="75723"/>
                <a:chOff x="8293322" y="4093083"/>
                <a:chExt cx="75628" cy="75723"/>
              </a:xfrm>
            </p:grpSpPr>
            <p:sp>
              <p:nvSpPr>
                <p:cNvPr id="9961" name="Freeform: Shape 9960">
                  <a:extLst>
                    <a:ext uri="{FF2B5EF4-FFF2-40B4-BE49-F238E27FC236}">
                      <a16:creationId xmlns:a16="http://schemas.microsoft.com/office/drawing/2014/main" id="{C8AC3A32-8D39-4E8A-4094-D1A4D9A0CE2E}"/>
                    </a:ext>
                  </a:extLst>
                </p:cNvPr>
                <p:cNvSpPr/>
                <p:nvPr/>
              </p:nvSpPr>
              <p:spPr bwMode="gray">
                <a:xfrm>
                  <a:off x="8331136"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62" name="Freeform: Shape 9961">
                  <a:extLst>
                    <a:ext uri="{FF2B5EF4-FFF2-40B4-BE49-F238E27FC236}">
                      <a16:creationId xmlns:a16="http://schemas.microsoft.com/office/drawing/2014/main" id="{44E90FCC-DBA0-193F-1816-70C2B7553001}"/>
                    </a:ext>
                  </a:extLst>
                </p:cNvPr>
                <p:cNvSpPr/>
                <p:nvPr/>
              </p:nvSpPr>
              <p:spPr bwMode="gray">
                <a:xfrm>
                  <a:off x="8293322" y="4130992"/>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2" name="Graphic 77">
                <a:extLst>
                  <a:ext uri="{FF2B5EF4-FFF2-40B4-BE49-F238E27FC236}">
                    <a16:creationId xmlns:a16="http://schemas.microsoft.com/office/drawing/2014/main" id="{5440489A-9D28-B3AE-605A-5B375002688D}"/>
                  </a:ext>
                </a:extLst>
              </p:cNvPr>
              <p:cNvGrpSpPr/>
              <p:nvPr/>
            </p:nvGrpSpPr>
            <p:grpSpPr bwMode="gray">
              <a:xfrm>
                <a:off x="8193024" y="4093083"/>
                <a:ext cx="75723" cy="75723"/>
                <a:chOff x="8193024" y="4093083"/>
                <a:chExt cx="75723" cy="75723"/>
              </a:xfrm>
            </p:grpSpPr>
            <p:sp>
              <p:nvSpPr>
                <p:cNvPr id="9959" name="Freeform: Shape 9958">
                  <a:extLst>
                    <a:ext uri="{FF2B5EF4-FFF2-40B4-BE49-F238E27FC236}">
                      <a16:creationId xmlns:a16="http://schemas.microsoft.com/office/drawing/2014/main" id="{2460B32D-7181-355F-8C22-4039F8476C53}"/>
                    </a:ext>
                  </a:extLst>
                </p:cNvPr>
                <p:cNvSpPr/>
                <p:nvPr/>
              </p:nvSpPr>
              <p:spPr bwMode="gray">
                <a:xfrm>
                  <a:off x="8230933"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60" name="Freeform: Shape 9959">
                  <a:extLst>
                    <a:ext uri="{FF2B5EF4-FFF2-40B4-BE49-F238E27FC236}">
                      <a16:creationId xmlns:a16="http://schemas.microsoft.com/office/drawing/2014/main" id="{49D0BB42-66CE-F259-22FC-C17C289F17BC}"/>
                    </a:ext>
                  </a:extLst>
                </p:cNvPr>
                <p:cNvSpPr/>
                <p:nvPr/>
              </p:nvSpPr>
              <p:spPr bwMode="gray">
                <a:xfrm>
                  <a:off x="8193024"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3" name="Graphic 77">
                <a:extLst>
                  <a:ext uri="{FF2B5EF4-FFF2-40B4-BE49-F238E27FC236}">
                    <a16:creationId xmlns:a16="http://schemas.microsoft.com/office/drawing/2014/main" id="{6727A511-336F-1873-5509-962CBC76BECE}"/>
                  </a:ext>
                </a:extLst>
              </p:cNvPr>
              <p:cNvGrpSpPr/>
              <p:nvPr/>
            </p:nvGrpSpPr>
            <p:grpSpPr bwMode="gray">
              <a:xfrm>
                <a:off x="8157400" y="4093083"/>
                <a:ext cx="75723" cy="75723"/>
                <a:chOff x="8157400" y="4093083"/>
                <a:chExt cx="75723" cy="75723"/>
              </a:xfrm>
            </p:grpSpPr>
            <p:sp>
              <p:nvSpPr>
                <p:cNvPr id="9957" name="Freeform: Shape 9956">
                  <a:extLst>
                    <a:ext uri="{FF2B5EF4-FFF2-40B4-BE49-F238E27FC236}">
                      <a16:creationId xmlns:a16="http://schemas.microsoft.com/office/drawing/2014/main" id="{3C0853B1-E7B6-083E-A1F4-E88DED85B819}"/>
                    </a:ext>
                  </a:extLst>
                </p:cNvPr>
                <p:cNvSpPr/>
                <p:nvPr/>
              </p:nvSpPr>
              <p:spPr bwMode="gray">
                <a:xfrm>
                  <a:off x="8195214"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58" name="Freeform: Shape 9957">
                  <a:extLst>
                    <a:ext uri="{FF2B5EF4-FFF2-40B4-BE49-F238E27FC236}">
                      <a16:creationId xmlns:a16="http://schemas.microsoft.com/office/drawing/2014/main" id="{92D656D1-C7B8-3C32-3EF2-8EF4E9C48CEC}"/>
                    </a:ext>
                  </a:extLst>
                </p:cNvPr>
                <p:cNvSpPr/>
                <p:nvPr/>
              </p:nvSpPr>
              <p:spPr bwMode="gray">
                <a:xfrm>
                  <a:off x="8157400"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4" name="Graphic 77">
                <a:extLst>
                  <a:ext uri="{FF2B5EF4-FFF2-40B4-BE49-F238E27FC236}">
                    <a16:creationId xmlns:a16="http://schemas.microsoft.com/office/drawing/2014/main" id="{A6FE1F3E-B69C-3705-F818-0BD009387D6F}"/>
                  </a:ext>
                </a:extLst>
              </p:cNvPr>
              <p:cNvGrpSpPr/>
              <p:nvPr/>
            </p:nvGrpSpPr>
            <p:grpSpPr bwMode="gray">
              <a:xfrm>
                <a:off x="8165115" y="4093083"/>
                <a:ext cx="75723" cy="75723"/>
                <a:chOff x="8165115" y="4093083"/>
                <a:chExt cx="75723" cy="75723"/>
              </a:xfrm>
            </p:grpSpPr>
            <p:sp>
              <p:nvSpPr>
                <p:cNvPr id="9955" name="Freeform: Shape 9954">
                  <a:extLst>
                    <a:ext uri="{FF2B5EF4-FFF2-40B4-BE49-F238E27FC236}">
                      <a16:creationId xmlns:a16="http://schemas.microsoft.com/office/drawing/2014/main" id="{D94B82F6-45F3-8531-9EB5-ACFA9E494F92}"/>
                    </a:ext>
                  </a:extLst>
                </p:cNvPr>
                <p:cNvSpPr/>
                <p:nvPr/>
              </p:nvSpPr>
              <p:spPr bwMode="gray">
                <a:xfrm>
                  <a:off x="8202930"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56" name="Freeform: Shape 9955">
                  <a:extLst>
                    <a:ext uri="{FF2B5EF4-FFF2-40B4-BE49-F238E27FC236}">
                      <a16:creationId xmlns:a16="http://schemas.microsoft.com/office/drawing/2014/main" id="{05151044-1299-E732-91DD-DA685EBDD4D7}"/>
                    </a:ext>
                  </a:extLst>
                </p:cNvPr>
                <p:cNvSpPr/>
                <p:nvPr/>
              </p:nvSpPr>
              <p:spPr bwMode="gray">
                <a:xfrm>
                  <a:off x="8165115"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5" name="Graphic 77">
                <a:extLst>
                  <a:ext uri="{FF2B5EF4-FFF2-40B4-BE49-F238E27FC236}">
                    <a16:creationId xmlns:a16="http://schemas.microsoft.com/office/drawing/2014/main" id="{C32F885C-DD11-925E-F3AB-04C46509B7F7}"/>
                  </a:ext>
                </a:extLst>
              </p:cNvPr>
              <p:cNvGrpSpPr/>
              <p:nvPr/>
            </p:nvGrpSpPr>
            <p:grpSpPr bwMode="gray">
              <a:xfrm>
                <a:off x="8106346" y="4093083"/>
                <a:ext cx="75723" cy="75723"/>
                <a:chOff x="8106346" y="4093083"/>
                <a:chExt cx="75723" cy="75723"/>
              </a:xfrm>
            </p:grpSpPr>
            <p:sp>
              <p:nvSpPr>
                <p:cNvPr id="9953" name="Freeform: Shape 9952">
                  <a:extLst>
                    <a:ext uri="{FF2B5EF4-FFF2-40B4-BE49-F238E27FC236}">
                      <a16:creationId xmlns:a16="http://schemas.microsoft.com/office/drawing/2014/main" id="{9FB5014E-03C4-37B9-DFEF-4E235C588C9E}"/>
                    </a:ext>
                  </a:extLst>
                </p:cNvPr>
                <p:cNvSpPr/>
                <p:nvPr/>
              </p:nvSpPr>
              <p:spPr bwMode="gray">
                <a:xfrm>
                  <a:off x="8144160"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54" name="Freeform: Shape 9953">
                  <a:extLst>
                    <a:ext uri="{FF2B5EF4-FFF2-40B4-BE49-F238E27FC236}">
                      <a16:creationId xmlns:a16="http://schemas.microsoft.com/office/drawing/2014/main" id="{5DFB1F10-DA9E-203B-BDAF-D07D33DABB60}"/>
                    </a:ext>
                  </a:extLst>
                </p:cNvPr>
                <p:cNvSpPr/>
                <p:nvPr/>
              </p:nvSpPr>
              <p:spPr bwMode="gray">
                <a:xfrm>
                  <a:off x="8106346"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6" name="Graphic 77">
                <a:extLst>
                  <a:ext uri="{FF2B5EF4-FFF2-40B4-BE49-F238E27FC236}">
                    <a16:creationId xmlns:a16="http://schemas.microsoft.com/office/drawing/2014/main" id="{129568D3-3F5B-022A-994C-27EDC8A80B99}"/>
                  </a:ext>
                </a:extLst>
              </p:cNvPr>
              <p:cNvGrpSpPr/>
              <p:nvPr/>
            </p:nvGrpSpPr>
            <p:grpSpPr bwMode="gray">
              <a:xfrm>
                <a:off x="7875270" y="4093083"/>
                <a:ext cx="75723" cy="75723"/>
                <a:chOff x="7875270" y="4093083"/>
                <a:chExt cx="75723" cy="75723"/>
              </a:xfrm>
            </p:grpSpPr>
            <p:sp>
              <p:nvSpPr>
                <p:cNvPr id="9951" name="Freeform: Shape 9950">
                  <a:extLst>
                    <a:ext uri="{FF2B5EF4-FFF2-40B4-BE49-F238E27FC236}">
                      <a16:creationId xmlns:a16="http://schemas.microsoft.com/office/drawing/2014/main" id="{F540BBAC-FF86-923C-342E-70D5C77E8EFF}"/>
                    </a:ext>
                  </a:extLst>
                </p:cNvPr>
                <p:cNvSpPr/>
                <p:nvPr/>
              </p:nvSpPr>
              <p:spPr bwMode="gray">
                <a:xfrm>
                  <a:off x="7913179" y="409308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52" name="Freeform: Shape 9951">
                  <a:extLst>
                    <a:ext uri="{FF2B5EF4-FFF2-40B4-BE49-F238E27FC236}">
                      <a16:creationId xmlns:a16="http://schemas.microsoft.com/office/drawing/2014/main" id="{C28B46F7-8019-6BE6-DD5E-F33D55518BFC}"/>
                    </a:ext>
                  </a:extLst>
                </p:cNvPr>
                <p:cNvSpPr/>
                <p:nvPr/>
              </p:nvSpPr>
              <p:spPr bwMode="gray">
                <a:xfrm>
                  <a:off x="7875270" y="413099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7" name="Graphic 77">
                <a:extLst>
                  <a:ext uri="{FF2B5EF4-FFF2-40B4-BE49-F238E27FC236}">
                    <a16:creationId xmlns:a16="http://schemas.microsoft.com/office/drawing/2014/main" id="{224D11CD-39B7-A588-6080-1DC6297E7D1B}"/>
                  </a:ext>
                </a:extLst>
              </p:cNvPr>
              <p:cNvGrpSpPr/>
              <p:nvPr/>
            </p:nvGrpSpPr>
            <p:grpSpPr bwMode="gray">
              <a:xfrm>
                <a:off x="7634382" y="3856577"/>
                <a:ext cx="75723" cy="75723"/>
                <a:chOff x="7634382" y="3856577"/>
                <a:chExt cx="75723" cy="75723"/>
              </a:xfrm>
            </p:grpSpPr>
            <p:sp>
              <p:nvSpPr>
                <p:cNvPr id="9949" name="Freeform: Shape 9948">
                  <a:extLst>
                    <a:ext uri="{FF2B5EF4-FFF2-40B4-BE49-F238E27FC236}">
                      <a16:creationId xmlns:a16="http://schemas.microsoft.com/office/drawing/2014/main" id="{34E27BE4-CF04-E243-893C-737AB22C6F9D}"/>
                    </a:ext>
                  </a:extLst>
                </p:cNvPr>
                <p:cNvSpPr/>
                <p:nvPr/>
              </p:nvSpPr>
              <p:spPr bwMode="gray">
                <a:xfrm>
                  <a:off x="7672197"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50" name="Freeform: Shape 9949">
                  <a:extLst>
                    <a:ext uri="{FF2B5EF4-FFF2-40B4-BE49-F238E27FC236}">
                      <a16:creationId xmlns:a16="http://schemas.microsoft.com/office/drawing/2014/main" id="{742CB37A-2465-8923-1364-183EC1FA73A6}"/>
                    </a:ext>
                  </a:extLst>
                </p:cNvPr>
                <p:cNvSpPr/>
                <p:nvPr/>
              </p:nvSpPr>
              <p:spPr bwMode="gray">
                <a:xfrm>
                  <a:off x="7634382"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8" name="Graphic 77">
                <a:extLst>
                  <a:ext uri="{FF2B5EF4-FFF2-40B4-BE49-F238E27FC236}">
                    <a16:creationId xmlns:a16="http://schemas.microsoft.com/office/drawing/2014/main" id="{D125C11B-6CC5-DD4A-924D-504023E6B84E}"/>
                  </a:ext>
                </a:extLst>
              </p:cNvPr>
              <p:cNvGrpSpPr/>
              <p:nvPr/>
            </p:nvGrpSpPr>
            <p:grpSpPr bwMode="gray">
              <a:xfrm>
                <a:off x="7542276" y="3856577"/>
                <a:ext cx="75628" cy="75723"/>
                <a:chOff x="7542276" y="3856577"/>
                <a:chExt cx="75628" cy="75723"/>
              </a:xfrm>
            </p:grpSpPr>
            <p:sp>
              <p:nvSpPr>
                <p:cNvPr id="9947" name="Freeform: Shape 9946">
                  <a:extLst>
                    <a:ext uri="{FF2B5EF4-FFF2-40B4-BE49-F238E27FC236}">
                      <a16:creationId xmlns:a16="http://schemas.microsoft.com/office/drawing/2014/main" id="{1EBC813E-2652-39F3-677F-1F2DC9628355}"/>
                    </a:ext>
                  </a:extLst>
                </p:cNvPr>
                <p:cNvSpPr/>
                <p:nvPr/>
              </p:nvSpPr>
              <p:spPr bwMode="gray">
                <a:xfrm>
                  <a:off x="758009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48" name="Freeform: Shape 9947">
                  <a:extLst>
                    <a:ext uri="{FF2B5EF4-FFF2-40B4-BE49-F238E27FC236}">
                      <a16:creationId xmlns:a16="http://schemas.microsoft.com/office/drawing/2014/main" id="{9B5DC463-11A8-CC10-D0AE-C017735071C0}"/>
                    </a:ext>
                  </a:extLst>
                </p:cNvPr>
                <p:cNvSpPr/>
                <p:nvPr/>
              </p:nvSpPr>
              <p:spPr bwMode="gray">
                <a:xfrm>
                  <a:off x="754227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59" name="Graphic 77">
                <a:extLst>
                  <a:ext uri="{FF2B5EF4-FFF2-40B4-BE49-F238E27FC236}">
                    <a16:creationId xmlns:a16="http://schemas.microsoft.com/office/drawing/2014/main" id="{F6BD3C96-93A4-6D71-EC1A-35A234C9D5BB}"/>
                  </a:ext>
                </a:extLst>
              </p:cNvPr>
              <p:cNvGrpSpPr/>
              <p:nvPr/>
            </p:nvGrpSpPr>
            <p:grpSpPr bwMode="gray">
              <a:xfrm>
                <a:off x="7479411" y="3856577"/>
                <a:ext cx="75723" cy="75723"/>
                <a:chOff x="7479411" y="3856577"/>
                <a:chExt cx="75723" cy="75723"/>
              </a:xfrm>
            </p:grpSpPr>
            <p:sp>
              <p:nvSpPr>
                <p:cNvPr id="9945" name="Freeform: Shape 9944">
                  <a:extLst>
                    <a:ext uri="{FF2B5EF4-FFF2-40B4-BE49-F238E27FC236}">
                      <a16:creationId xmlns:a16="http://schemas.microsoft.com/office/drawing/2014/main" id="{7AEFF4C4-0293-2DFB-D2DB-6990CAE4F8C5}"/>
                    </a:ext>
                  </a:extLst>
                </p:cNvPr>
                <p:cNvSpPr/>
                <p:nvPr/>
              </p:nvSpPr>
              <p:spPr bwMode="gray">
                <a:xfrm>
                  <a:off x="7517225"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46" name="Freeform: Shape 9945">
                  <a:extLst>
                    <a:ext uri="{FF2B5EF4-FFF2-40B4-BE49-F238E27FC236}">
                      <a16:creationId xmlns:a16="http://schemas.microsoft.com/office/drawing/2014/main" id="{310B467E-1461-5DEA-6381-0A004EDEA224}"/>
                    </a:ext>
                  </a:extLst>
                </p:cNvPr>
                <p:cNvSpPr/>
                <p:nvPr/>
              </p:nvSpPr>
              <p:spPr bwMode="gray">
                <a:xfrm>
                  <a:off x="7479411"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0" name="Graphic 77">
                <a:extLst>
                  <a:ext uri="{FF2B5EF4-FFF2-40B4-BE49-F238E27FC236}">
                    <a16:creationId xmlns:a16="http://schemas.microsoft.com/office/drawing/2014/main" id="{6D412E95-FBB8-5824-B923-DDEE469386F9}"/>
                  </a:ext>
                </a:extLst>
              </p:cNvPr>
              <p:cNvGrpSpPr/>
              <p:nvPr/>
            </p:nvGrpSpPr>
            <p:grpSpPr bwMode="gray">
              <a:xfrm>
                <a:off x="7157180" y="3856577"/>
                <a:ext cx="75723" cy="75723"/>
                <a:chOff x="7157180" y="3856577"/>
                <a:chExt cx="75723" cy="75723"/>
              </a:xfrm>
            </p:grpSpPr>
            <p:sp>
              <p:nvSpPr>
                <p:cNvPr id="9943" name="Freeform: Shape 9942">
                  <a:extLst>
                    <a:ext uri="{FF2B5EF4-FFF2-40B4-BE49-F238E27FC236}">
                      <a16:creationId xmlns:a16="http://schemas.microsoft.com/office/drawing/2014/main" id="{86D11030-3280-42AF-3FB5-918089F1B88C}"/>
                    </a:ext>
                  </a:extLst>
                </p:cNvPr>
                <p:cNvSpPr/>
                <p:nvPr/>
              </p:nvSpPr>
              <p:spPr bwMode="gray">
                <a:xfrm>
                  <a:off x="719499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44" name="Freeform: Shape 9943">
                  <a:extLst>
                    <a:ext uri="{FF2B5EF4-FFF2-40B4-BE49-F238E27FC236}">
                      <a16:creationId xmlns:a16="http://schemas.microsoft.com/office/drawing/2014/main" id="{5F9FCCF1-55A4-0C5D-5AB2-5D0033E0E79A}"/>
                    </a:ext>
                  </a:extLst>
                </p:cNvPr>
                <p:cNvSpPr/>
                <p:nvPr/>
              </p:nvSpPr>
              <p:spPr bwMode="gray">
                <a:xfrm>
                  <a:off x="7157180"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1" name="Graphic 77">
                <a:extLst>
                  <a:ext uri="{FF2B5EF4-FFF2-40B4-BE49-F238E27FC236}">
                    <a16:creationId xmlns:a16="http://schemas.microsoft.com/office/drawing/2014/main" id="{1C6963F3-5FE3-4678-6CD4-CB468431E9F6}"/>
                  </a:ext>
                </a:extLst>
              </p:cNvPr>
              <p:cNvGrpSpPr/>
              <p:nvPr/>
            </p:nvGrpSpPr>
            <p:grpSpPr bwMode="gray">
              <a:xfrm>
                <a:off x="7176611" y="3856577"/>
                <a:ext cx="75723" cy="75723"/>
                <a:chOff x="7176611" y="3856577"/>
                <a:chExt cx="75723" cy="75723"/>
              </a:xfrm>
            </p:grpSpPr>
            <p:sp>
              <p:nvSpPr>
                <p:cNvPr id="9941" name="Freeform: Shape 9940">
                  <a:extLst>
                    <a:ext uri="{FF2B5EF4-FFF2-40B4-BE49-F238E27FC236}">
                      <a16:creationId xmlns:a16="http://schemas.microsoft.com/office/drawing/2014/main" id="{91C48765-5E44-48DF-4C21-B9217392007A}"/>
                    </a:ext>
                  </a:extLst>
                </p:cNvPr>
                <p:cNvSpPr/>
                <p:nvPr/>
              </p:nvSpPr>
              <p:spPr bwMode="gray">
                <a:xfrm>
                  <a:off x="721452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42" name="Freeform: Shape 9941">
                  <a:extLst>
                    <a:ext uri="{FF2B5EF4-FFF2-40B4-BE49-F238E27FC236}">
                      <a16:creationId xmlns:a16="http://schemas.microsoft.com/office/drawing/2014/main" id="{2973E5E1-C0F1-891F-CDCB-88406FE88988}"/>
                    </a:ext>
                  </a:extLst>
                </p:cNvPr>
                <p:cNvSpPr/>
                <p:nvPr/>
              </p:nvSpPr>
              <p:spPr bwMode="gray">
                <a:xfrm>
                  <a:off x="7176611"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2" name="Graphic 77">
                <a:extLst>
                  <a:ext uri="{FF2B5EF4-FFF2-40B4-BE49-F238E27FC236}">
                    <a16:creationId xmlns:a16="http://schemas.microsoft.com/office/drawing/2014/main" id="{0912DCFF-0982-7541-4298-B7A5276F10BE}"/>
                  </a:ext>
                </a:extLst>
              </p:cNvPr>
              <p:cNvGrpSpPr/>
              <p:nvPr/>
            </p:nvGrpSpPr>
            <p:grpSpPr bwMode="gray">
              <a:xfrm>
                <a:off x="7187184" y="3856577"/>
                <a:ext cx="75723" cy="75723"/>
                <a:chOff x="7187184" y="3856577"/>
                <a:chExt cx="75723" cy="75723"/>
              </a:xfrm>
            </p:grpSpPr>
            <p:sp>
              <p:nvSpPr>
                <p:cNvPr id="9939" name="Freeform: Shape 9938">
                  <a:extLst>
                    <a:ext uri="{FF2B5EF4-FFF2-40B4-BE49-F238E27FC236}">
                      <a16:creationId xmlns:a16="http://schemas.microsoft.com/office/drawing/2014/main" id="{F88EDA25-3E0F-8A9D-674C-AA8B5D99CF9A}"/>
                    </a:ext>
                  </a:extLst>
                </p:cNvPr>
                <p:cNvSpPr/>
                <p:nvPr/>
              </p:nvSpPr>
              <p:spPr bwMode="gray">
                <a:xfrm>
                  <a:off x="7224998"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40" name="Freeform: Shape 9939">
                  <a:extLst>
                    <a:ext uri="{FF2B5EF4-FFF2-40B4-BE49-F238E27FC236}">
                      <a16:creationId xmlns:a16="http://schemas.microsoft.com/office/drawing/2014/main" id="{38F3E34E-268F-C60B-DE3F-C97028364D3A}"/>
                    </a:ext>
                  </a:extLst>
                </p:cNvPr>
                <p:cNvSpPr/>
                <p:nvPr/>
              </p:nvSpPr>
              <p:spPr bwMode="gray">
                <a:xfrm>
                  <a:off x="7187184"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3" name="Graphic 77">
                <a:extLst>
                  <a:ext uri="{FF2B5EF4-FFF2-40B4-BE49-F238E27FC236}">
                    <a16:creationId xmlns:a16="http://schemas.microsoft.com/office/drawing/2014/main" id="{254A840B-F015-BAD5-A9EC-799DB0F0D377}"/>
                  </a:ext>
                </a:extLst>
              </p:cNvPr>
              <p:cNvGrpSpPr/>
              <p:nvPr/>
            </p:nvGrpSpPr>
            <p:grpSpPr bwMode="gray">
              <a:xfrm>
                <a:off x="7028307" y="3773519"/>
                <a:ext cx="75723" cy="75723"/>
                <a:chOff x="7028307" y="3773519"/>
                <a:chExt cx="75723" cy="75723"/>
              </a:xfrm>
            </p:grpSpPr>
            <p:sp>
              <p:nvSpPr>
                <p:cNvPr id="9937" name="Freeform: Shape 9936">
                  <a:extLst>
                    <a:ext uri="{FF2B5EF4-FFF2-40B4-BE49-F238E27FC236}">
                      <a16:creationId xmlns:a16="http://schemas.microsoft.com/office/drawing/2014/main" id="{83E3E82C-8B48-0948-9604-ED73F3664CCB}"/>
                    </a:ext>
                  </a:extLst>
                </p:cNvPr>
                <p:cNvSpPr/>
                <p:nvPr/>
              </p:nvSpPr>
              <p:spPr bwMode="gray">
                <a:xfrm>
                  <a:off x="7066121"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38" name="Freeform: Shape 9937">
                  <a:extLst>
                    <a:ext uri="{FF2B5EF4-FFF2-40B4-BE49-F238E27FC236}">
                      <a16:creationId xmlns:a16="http://schemas.microsoft.com/office/drawing/2014/main" id="{B77916EA-3B5C-EFBA-EC81-1AD505CCBB5E}"/>
                    </a:ext>
                  </a:extLst>
                </p:cNvPr>
                <p:cNvSpPr/>
                <p:nvPr/>
              </p:nvSpPr>
              <p:spPr bwMode="gray">
                <a:xfrm>
                  <a:off x="7028307" y="38113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4" name="Graphic 77">
                <a:extLst>
                  <a:ext uri="{FF2B5EF4-FFF2-40B4-BE49-F238E27FC236}">
                    <a16:creationId xmlns:a16="http://schemas.microsoft.com/office/drawing/2014/main" id="{69A27749-414E-8E8C-3ECB-4AB0C43866F2}"/>
                  </a:ext>
                </a:extLst>
              </p:cNvPr>
              <p:cNvGrpSpPr/>
              <p:nvPr/>
            </p:nvGrpSpPr>
            <p:grpSpPr bwMode="gray">
              <a:xfrm>
                <a:off x="6979539" y="3773519"/>
                <a:ext cx="75723" cy="75723"/>
                <a:chOff x="6979539" y="3773519"/>
                <a:chExt cx="75723" cy="75723"/>
              </a:xfrm>
            </p:grpSpPr>
            <p:sp>
              <p:nvSpPr>
                <p:cNvPr id="9935" name="Freeform: Shape 9934">
                  <a:extLst>
                    <a:ext uri="{FF2B5EF4-FFF2-40B4-BE49-F238E27FC236}">
                      <a16:creationId xmlns:a16="http://schemas.microsoft.com/office/drawing/2014/main" id="{63939A13-6454-BD4E-D964-C0D17FB30F1A}"/>
                    </a:ext>
                  </a:extLst>
                </p:cNvPr>
                <p:cNvSpPr/>
                <p:nvPr/>
              </p:nvSpPr>
              <p:spPr bwMode="gray">
                <a:xfrm>
                  <a:off x="7017448"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36" name="Freeform: Shape 9935">
                  <a:extLst>
                    <a:ext uri="{FF2B5EF4-FFF2-40B4-BE49-F238E27FC236}">
                      <a16:creationId xmlns:a16="http://schemas.microsoft.com/office/drawing/2014/main" id="{49A5FB5A-EA56-AC05-92FC-785344EA6928}"/>
                    </a:ext>
                  </a:extLst>
                </p:cNvPr>
                <p:cNvSpPr/>
                <p:nvPr/>
              </p:nvSpPr>
              <p:spPr bwMode="gray">
                <a:xfrm>
                  <a:off x="6979539" y="381133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5" name="Graphic 77">
                <a:extLst>
                  <a:ext uri="{FF2B5EF4-FFF2-40B4-BE49-F238E27FC236}">
                    <a16:creationId xmlns:a16="http://schemas.microsoft.com/office/drawing/2014/main" id="{0BBD9F55-DFF1-B254-872F-D369BA511362}"/>
                  </a:ext>
                </a:extLst>
              </p:cNvPr>
              <p:cNvGrpSpPr/>
              <p:nvPr/>
            </p:nvGrpSpPr>
            <p:grpSpPr bwMode="gray">
              <a:xfrm>
                <a:off x="6903910" y="3773519"/>
                <a:ext cx="75628" cy="75723"/>
                <a:chOff x="6903910" y="3773519"/>
                <a:chExt cx="75628" cy="75723"/>
              </a:xfrm>
            </p:grpSpPr>
            <p:sp>
              <p:nvSpPr>
                <p:cNvPr id="9933" name="Freeform: Shape 9932">
                  <a:extLst>
                    <a:ext uri="{FF2B5EF4-FFF2-40B4-BE49-F238E27FC236}">
                      <a16:creationId xmlns:a16="http://schemas.microsoft.com/office/drawing/2014/main" id="{4D394CA2-F57F-4AB5-E7A1-D6B7E01685C5}"/>
                    </a:ext>
                  </a:extLst>
                </p:cNvPr>
                <p:cNvSpPr/>
                <p:nvPr/>
              </p:nvSpPr>
              <p:spPr bwMode="gray">
                <a:xfrm>
                  <a:off x="6941724" y="377351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34" name="Freeform: Shape 9933">
                  <a:extLst>
                    <a:ext uri="{FF2B5EF4-FFF2-40B4-BE49-F238E27FC236}">
                      <a16:creationId xmlns:a16="http://schemas.microsoft.com/office/drawing/2014/main" id="{D9C0DD90-DE42-AAD3-0BB1-85A7091BEC74}"/>
                    </a:ext>
                  </a:extLst>
                </p:cNvPr>
                <p:cNvSpPr/>
                <p:nvPr/>
              </p:nvSpPr>
              <p:spPr bwMode="gray">
                <a:xfrm>
                  <a:off x="6903910" y="381133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6" name="Graphic 77">
                <a:extLst>
                  <a:ext uri="{FF2B5EF4-FFF2-40B4-BE49-F238E27FC236}">
                    <a16:creationId xmlns:a16="http://schemas.microsoft.com/office/drawing/2014/main" id="{B0107907-A96A-9B36-DF04-453C61D117FE}"/>
                  </a:ext>
                </a:extLst>
              </p:cNvPr>
              <p:cNvGrpSpPr/>
              <p:nvPr/>
            </p:nvGrpSpPr>
            <p:grpSpPr bwMode="gray">
              <a:xfrm>
                <a:off x="6847332" y="3692842"/>
                <a:ext cx="75723" cy="75723"/>
                <a:chOff x="6847332" y="3692842"/>
                <a:chExt cx="75723" cy="75723"/>
              </a:xfrm>
            </p:grpSpPr>
            <p:sp>
              <p:nvSpPr>
                <p:cNvPr id="9931" name="Freeform: Shape 9930">
                  <a:extLst>
                    <a:ext uri="{FF2B5EF4-FFF2-40B4-BE49-F238E27FC236}">
                      <a16:creationId xmlns:a16="http://schemas.microsoft.com/office/drawing/2014/main" id="{6A0AB34D-660B-9352-D377-D35818D2CA74}"/>
                    </a:ext>
                  </a:extLst>
                </p:cNvPr>
                <p:cNvSpPr/>
                <p:nvPr/>
              </p:nvSpPr>
              <p:spPr bwMode="gray">
                <a:xfrm>
                  <a:off x="6885146"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32" name="Freeform: Shape 9931">
                  <a:extLst>
                    <a:ext uri="{FF2B5EF4-FFF2-40B4-BE49-F238E27FC236}">
                      <a16:creationId xmlns:a16="http://schemas.microsoft.com/office/drawing/2014/main" id="{17DE1FCF-52A5-8215-4069-4762E15485AA}"/>
                    </a:ext>
                  </a:extLst>
                </p:cNvPr>
                <p:cNvSpPr/>
                <p:nvPr/>
              </p:nvSpPr>
              <p:spPr bwMode="gray">
                <a:xfrm>
                  <a:off x="6847332"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7" name="Graphic 77">
                <a:extLst>
                  <a:ext uri="{FF2B5EF4-FFF2-40B4-BE49-F238E27FC236}">
                    <a16:creationId xmlns:a16="http://schemas.microsoft.com/office/drawing/2014/main" id="{C8F30059-8E88-0401-DD6A-374E295E1207}"/>
                  </a:ext>
                </a:extLst>
              </p:cNvPr>
              <p:cNvGrpSpPr/>
              <p:nvPr/>
            </p:nvGrpSpPr>
            <p:grpSpPr bwMode="gray">
              <a:xfrm>
                <a:off x="6795420" y="3692842"/>
                <a:ext cx="75723" cy="75723"/>
                <a:chOff x="6795420" y="3692842"/>
                <a:chExt cx="75723" cy="75723"/>
              </a:xfrm>
            </p:grpSpPr>
            <p:sp>
              <p:nvSpPr>
                <p:cNvPr id="9929" name="Freeform: Shape 9928">
                  <a:extLst>
                    <a:ext uri="{FF2B5EF4-FFF2-40B4-BE49-F238E27FC236}">
                      <a16:creationId xmlns:a16="http://schemas.microsoft.com/office/drawing/2014/main" id="{C2A84561-EC30-0F88-5F70-1ED888E6BBF2}"/>
                    </a:ext>
                  </a:extLst>
                </p:cNvPr>
                <p:cNvSpPr/>
                <p:nvPr/>
              </p:nvSpPr>
              <p:spPr bwMode="gray">
                <a:xfrm>
                  <a:off x="6833330"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30" name="Freeform: Shape 9929">
                  <a:extLst>
                    <a:ext uri="{FF2B5EF4-FFF2-40B4-BE49-F238E27FC236}">
                      <a16:creationId xmlns:a16="http://schemas.microsoft.com/office/drawing/2014/main" id="{FE9C73E7-9BAD-7CA5-D693-4ACFD68CF021}"/>
                    </a:ext>
                  </a:extLst>
                </p:cNvPr>
                <p:cNvSpPr/>
                <p:nvPr/>
              </p:nvSpPr>
              <p:spPr bwMode="gray">
                <a:xfrm>
                  <a:off x="6795420"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8" name="Graphic 77">
                <a:extLst>
                  <a:ext uri="{FF2B5EF4-FFF2-40B4-BE49-F238E27FC236}">
                    <a16:creationId xmlns:a16="http://schemas.microsoft.com/office/drawing/2014/main" id="{25B80108-0106-A09C-6598-5E18A95AD1E1}"/>
                  </a:ext>
                </a:extLst>
              </p:cNvPr>
              <p:cNvGrpSpPr/>
              <p:nvPr/>
            </p:nvGrpSpPr>
            <p:grpSpPr bwMode="gray">
              <a:xfrm>
                <a:off x="6817709" y="3692842"/>
                <a:ext cx="75723" cy="75723"/>
                <a:chOff x="6817709" y="3692842"/>
                <a:chExt cx="75723" cy="75723"/>
              </a:xfrm>
            </p:grpSpPr>
            <p:sp>
              <p:nvSpPr>
                <p:cNvPr id="9927" name="Freeform: Shape 9926">
                  <a:extLst>
                    <a:ext uri="{FF2B5EF4-FFF2-40B4-BE49-F238E27FC236}">
                      <a16:creationId xmlns:a16="http://schemas.microsoft.com/office/drawing/2014/main" id="{7AEA7E74-8601-21C8-33E3-2D91F11AC5C7}"/>
                    </a:ext>
                  </a:extLst>
                </p:cNvPr>
                <p:cNvSpPr/>
                <p:nvPr/>
              </p:nvSpPr>
              <p:spPr bwMode="gray">
                <a:xfrm>
                  <a:off x="6855618" y="369284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28" name="Freeform: Shape 9927">
                  <a:extLst>
                    <a:ext uri="{FF2B5EF4-FFF2-40B4-BE49-F238E27FC236}">
                      <a16:creationId xmlns:a16="http://schemas.microsoft.com/office/drawing/2014/main" id="{32EAC12B-719F-ADAA-9EA7-7F1BB3EC70DE}"/>
                    </a:ext>
                  </a:extLst>
                </p:cNvPr>
                <p:cNvSpPr/>
                <p:nvPr/>
              </p:nvSpPr>
              <p:spPr bwMode="gray">
                <a:xfrm>
                  <a:off x="6817709" y="373075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69" name="Graphic 77">
                <a:extLst>
                  <a:ext uri="{FF2B5EF4-FFF2-40B4-BE49-F238E27FC236}">
                    <a16:creationId xmlns:a16="http://schemas.microsoft.com/office/drawing/2014/main" id="{4A847312-B1BF-1DB5-0973-583194252BE8}"/>
                  </a:ext>
                </a:extLst>
              </p:cNvPr>
              <p:cNvGrpSpPr/>
              <p:nvPr/>
            </p:nvGrpSpPr>
            <p:grpSpPr bwMode="gray">
              <a:xfrm>
                <a:off x="6673405" y="3632454"/>
                <a:ext cx="75723" cy="75723"/>
                <a:chOff x="6673405" y="3632454"/>
                <a:chExt cx="75723" cy="75723"/>
              </a:xfrm>
            </p:grpSpPr>
            <p:sp>
              <p:nvSpPr>
                <p:cNvPr id="9925" name="Freeform: Shape 9924">
                  <a:extLst>
                    <a:ext uri="{FF2B5EF4-FFF2-40B4-BE49-F238E27FC236}">
                      <a16:creationId xmlns:a16="http://schemas.microsoft.com/office/drawing/2014/main" id="{11C0879B-56E6-AAF7-8731-8791E6170240}"/>
                    </a:ext>
                  </a:extLst>
                </p:cNvPr>
                <p:cNvSpPr/>
                <p:nvPr/>
              </p:nvSpPr>
              <p:spPr bwMode="gray">
                <a:xfrm>
                  <a:off x="6711315"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26" name="Freeform: Shape 9925">
                  <a:extLst>
                    <a:ext uri="{FF2B5EF4-FFF2-40B4-BE49-F238E27FC236}">
                      <a16:creationId xmlns:a16="http://schemas.microsoft.com/office/drawing/2014/main" id="{0AD37EBE-D0EB-0913-83DF-6185F050E8B0}"/>
                    </a:ext>
                  </a:extLst>
                </p:cNvPr>
                <p:cNvSpPr/>
                <p:nvPr/>
              </p:nvSpPr>
              <p:spPr bwMode="gray">
                <a:xfrm>
                  <a:off x="6673405"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0" name="Graphic 77">
                <a:extLst>
                  <a:ext uri="{FF2B5EF4-FFF2-40B4-BE49-F238E27FC236}">
                    <a16:creationId xmlns:a16="http://schemas.microsoft.com/office/drawing/2014/main" id="{04DF5E37-B321-2521-719D-F2C258DAF684}"/>
                  </a:ext>
                </a:extLst>
              </p:cNvPr>
              <p:cNvGrpSpPr/>
              <p:nvPr/>
            </p:nvGrpSpPr>
            <p:grpSpPr bwMode="gray">
              <a:xfrm>
                <a:off x="6376892" y="3632454"/>
                <a:ext cx="75723" cy="75723"/>
                <a:chOff x="6376892" y="3632454"/>
                <a:chExt cx="75723" cy="75723"/>
              </a:xfrm>
            </p:grpSpPr>
            <p:sp>
              <p:nvSpPr>
                <p:cNvPr id="9923" name="Freeform: Shape 9922">
                  <a:extLst>
                    <a:ext uri="{FF2B5EF4-FFF2-40B4-BE49-F238E27FC236}">
                      <a16:creationId xmlns:a16="http://schemas.microsoft.com/office/drawing/2014/main" id="{457D07B3-C5D1-0841-19F4-B854B236B600}"/>
                    </a:ext>
                  </a:extLst>
                </p:cNvPr>
                <p:cNvSpPr/>
                <p:nvPr/>
              </p:nvSpPr>
              <p:spPr bwMode="gray">
                <a:xfrm>
                  <a:off x="6414706"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24" name="Freeform: Shape 9923">
                  <a:extLst>
                    <a:ext uri="{FF2B5EF4-FFF2-40B4-BE49-F238E27FC236}">
                      <a16:creationId xmlns:a16="http://schemas.microsoft.com/office/drawing/2014/main" id="{AA9B9BD8-5F76-C0ED-6D32-6245409AD5EF}"/>
                    </a:ext>
                  </a:extLst>
                </p:cNvPr>
                <p:cNvSpPr/>
                <p:nvPr/>
              </p:nvSpPr>
              <p:spPr bwMode="gray">
                <a:xfrm>
                  <a:off x="6376892"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1" name="Graphic 77">
                <a:extLst>
                  <a:ext uri="{FF2B5EF4-FFF2-40B4-BE49-F238E27FC236}">
                    <a16:creationId xmlns:a16="http://schemas.microsoft.com/office/drawing/2014/main" id="{DC87E13C-7798-32F3-F043-9E7D3EC7D4C8}"/>
                  </a:ext>
                </a:extLst>
              </p:cNvPr>
              <p:cNvGrpSpPr/>
              <p:nvPr/>
            </p:nvGrpSpPr>
            <p:grpSpPr bwMode="gray">
              <a:xfrm>
                <a:off x="6315170" y="3575018"/>
                <a:ext cx="75723" cy="75723"/>
                <a:chOff x="6315170" y="3575018"/>
                <a:chExt cx="75723" cy="75723"/>
              </a:xfrm>
            </p:grpSpPr>
            <p:sp>
              <p:nvSpPr>
                <p:cNvPr id="9921" name="Freeform: Shape 9920">
                  <a:extLst>
                    <a:ext uri="{FF2B5EF4-FFF2-40B4-BE49-F238E27FC236}">
                      <a16:creationId xmlns:a16="http://schemas.microsoft.com/office/drawing/2014/main" id="{3B16D06E-F2E5-DB3E-0936-C385035E6912}"/>
                    </a:ext>
                  </a:extLst>
                </p:cNvPr>
                <p:cNvSpPr/>
                <p:nvPr/>
              </p:nvSpPr>
              <p:spPr bwMode="gray">
                <a:xfrm>
                  <a:off x="6353079"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22" name="Freeform: Shape 9921">
                  <a:extLst>
                    <a:ext uri="{FF2B5EF4-FFF2-40B4-BE49-F238E27FC236}">
                      <a16:creationId xmlns:a16="http://schemas.microsoft.com/office/drawing/2014/main" id="{4CDC95C4-27E0-7127-BE78-73BEE1A664E9}"/>
                    </a:ext>
                  </a:extLst>
                </p:cNvPr>
                <p:cNvSpPr/>
                <p:nvPr/>
              </p:nvSpPr>
              <p:spPr bwMode="gray">
                <a:xfrm>
                  <a:off x="6315170"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2" name="Graphic 77">
                <a:extLst>
                  <a:ext uri="{FF2B5EF4-FFF2-40B4-BE49-F238E27FC236}">
                    <a16:creationId xmlns:a16="http://schemas.microsoft.com/office/drawing/2014/main" id="{326D2806-9562-1B01-C81E-2408B57E5950}"/>
                  </a:ext>
                </a:extLst>
              </p:cNvPr>
              <p:cNvGrpSpPr/>
              <p:nvPr/>
            </p:nvGrpSpPr>
            <p:grpSpPr bwMode="gray">
              <a:xfrm>
                <a:off x="6252876" y="3575018"/>
                <a:ext cx="75723" cy="75723"/>
                <a:chOff x="6252876" y="3575018"/>
                <a:chExt cx="75723" cy="75723"/>
              </a:xfrm>
            </p:grpSpPr>
            <p:sp>
              <p:nvSpPr>
                <p:cNvPr id="9919" name="Freeform: Shape 9918">
                  <a:extLst>
                    <a:ext uri="{FF2B5EF4-FFF2-40B4-BE49-F238E27FC236}">
                      <a16:creationId xmlns:a16="http://schemas.microsoft.com/office/drawing/2014/main" id="{E40D0661-07C9-2A2F-DF25-201C8AAF8CFE}"/>
                    </a:ext>
                  </a:extLst>
                </p:cNvPr>
                <p:cNvSpPr/>
                <p:nvPr/>
              </p:nvSpPr>
              <p:spPr bwMode="gray">
                <a:xfrm>
                  <a:off x="6290691"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20" name="Freeform: Shape 9919">
                  <a:extLst>
                    <a:ext uri="{FF2B5EF4-FFF2-40B4-BE49-F238E27FC236}">
                      <a16:creationId xmlns:a16="http://schemas.microsoft.com/office/drawing/2014/main" id="{CE0CB088-44D2-4D0D-E271-FD28A8D18B83}"/>
                    </a:ext>
                  </a:extLst>
                </p:cNvPr>
                <p:cNvSpPr/>
                <p:nvPr/>
              </p:nvSpPr>
              <p:spPr bwMode="gray">
                <a:xfrm>
                  <a:off x="6252876"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3" name="Graphic 77">
                <a:extLst>
                  <a:ext uri="{FF2B5EF4-FFF2-40B4-BE49-F238E27FC236}">
                    <a16:creationId xmlns:a16="http://schemas.microsoft.com/office/drawing/2014/main" id="{5A516A2E-DFCE-8A6B-A4C8-6B008ACF665F}"/>
                  </a:ext>
                </a:extLst>
              </p:cNvPr>
              <p:cNvGrpSpPr/>
              <p:nvPr/>
            </p:nvGrpSpPr>
            <p:grpSpPr bwMode="gray">
              <a:xfrm>
                <a:off x="6213348" y="3575018"/>
                <a:ext cx="75723" cy="75723"/>
                <a:chOff x="6213348" y="3575018"/>
                <a:chExt cx="75723" cy="75723"/>
              </a:xfrm>
            </p:grpSpPr>
            <p:sp>
              <p:nvSpPr>
                <p:cNvPr id="9917" name="Freeform: Shape 9916">
                  <a:extLst>
                    <a:ext uri="{FF2B5EF4-FFF2-40B4-BE49-F238E27FC236}">
                      <a16:creationId xmlns:a16="http://schemas.microsoft.com/office/drawing/2014/main" id="{A4AD0B50-12AE-433D-7FE3-1070DB226682}"/>
                    </a:ext>
                  </a:extLst>
                </p:cNvPr>
                <p:cNvSpPr/>
                <p:nvPr/>
              </p:nvSpPr>
              <p:spPr bwMode="gray">
                <a:xfrm>
                  <a:off x="6251162"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18" name="Freeform: Shape 9917">
                  <a:extLst>
                    <a:ext uri="{FF2B5EF4-FFF2-40B4-BE49-F238E27FC236}">
                      <a16:creationId xmlns:a16="http://schemas.microsoft.com/office/drawing/2014/main" id="{75E08416-A43F-389A-2A83-2093D3E86976}"/>
                    </a:ext>
                  </a:extLst>
                </p:cNvPr>
                <p:cNvSpPr/>
                <p:nvPr/>
              </p:nvSpPr>
              <p:spPr bwMode="gray">
                <a:xfrm>
                  <a:off x="6213348"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4" name="Graphic 77">
                <a:extLst>
                  <a:ext uri="{FF2B5EF4-FFF2-40B4-BE49-F238E27FC236}">
                    <a16:creationId xmlns:a16="http://schemas.microsoft.com/office/drawing/2014/main" id="{A0F83665-B29F-5E0B-04CE-B319889FCB9A}"/>
                  </a:ext>
                </a:extLst>
              </p:cNvPr>
              <p:cNvGrpSpPr/>
              <p:nvPr/>
            </p:nvGrpSpPr>
            <p:grpSpPr bwMode="gray">
              <a:xfrm>
                <a:off x="6129718" y="3533108"/>
                <a:ext cx="75723" cy="75628"/>
                <a:chOff x="6129718" y="3533108"/>
                <a:chExt cx="75723" cy="75628"/>
              </a:xfrm>
            </p:grpSpPr>
            <p:sp>
              <p:nvSpPr>
                <p:cNvPr id="9915" name="Freeform: Shape 9914">
                  <a:extLst>
                    <a:ext uri="{FF2B5EF4-FFF2-40B4-BE49-F238E27FC236}">
                      <a16:creationId xmlns:a16="http://schemas.microsoft.com/office/drawing/2014/main" id="{415EA686-D210-5368-E293-94169F7CB312}"/>
                    </a:ext>
                  </a:extLst>
                </p:cNvPr>
                <p:cNvSpPr/>
                <p:nvPr/>
              </p:nvSpPr>
              <p:spPr bwMode="gray">
                <a:xfrm>
                  <a:off x="6167628" y="353310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16" name="Freeform: Shape 9915">
                  <a:extLst>
                    <a:ext uri="{FF2B5EF4-FFF2-40B4-BE49-F238E27FC236}">
                      <a16:creationId xmlns:a16="http://schemas.microsoft.com/office/drawing/2014/main" id="{7F60B119-FD8F-597F-E975-6D4D64AA4CFB}"/>
                    </a:ext>
                  </a:extLst>
                </p:cNvPr>
                <p:cNvSpPr/>
                <p:nvPr/>
              </p:nvSpPr>
              <p:spPr bwMode="gray">
                <a:xfrm>
                  <a:off x="6129718" y="3570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5" name="Graphic 77">
                <a:extLst>
                  <a:ext uri="{FF2B5EF4-FFF2-40B4-BE49-F238E27FC236}">
                    <a16:creationId xmlns:a16="http://schemas.microsoft.com/office/drawing/2014/main" id="{E480CB2C-FEA1-141D-111D-93B53E037246}"/>
                  </a:ext>
                </a:extLst>
              </p:cNvPr>
              <p:cNvGrpSpPr/>
              <p:nvPr/>
            </p:nvGrpSpPr>
            <p:grpSpPr bwMode="gray">
              <a:xfrm>
                <a:off x="6137624" y="3533108"/>
                <a:ext cx="75723" cy="75628"/>
                <a:chOff x="6137624" y="3533108"/>
                <a:chExt cx="75723" cy="75628"/>
              </a:xfrm>
            </p:grpSpPr>
            <p:sp>
              <p:nvSpPr>
                <p:cNvPr id="9913" name="Freeform: Shape 9912">
                  <a:extLst>
                    <a:ext uri="{FF2B5EF4-FFF2-40B4-BE49-F238E27FC236}">
                      <a16:creationId xmlns:a16="http://schemas.microsoft.com/office/drawing/2014/main" id="{90FA859B-4FF7-4158-6474-1772D7EAB777}"/>
                    </a:ext>
                  </a:extLst>
                </p:cNvPr>
                <p:cNvSpPr/>
                <p:nvPr/>
              </p:nvSpPr>
              <p:spPr bwMode="gray">
                <a:xfrm>
                  <a:off x="6175533" y="3533108"/>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14" name="Freeform: Shape 9913">
                  <a:extLst>
                    <a:ext uri="{FF2B5EF4-FFF2-40B4-BE49-F238E27FC236}">
                      <a16:creationId xmlns:a16="http://schemas.microsoft.com/office/drawing/2014/main" id="{79CD3F2C-33DA-35D6-E6BD-68526A1E09EC}"/>
                    </a:ext>
                  </a:extLst>
                </p:cNvPr>
                <p:cNvSpPr/>
                <p:nvPr/>
              </p:nvSpPr>
              <p:spPr bwMode="gray">
                <a:xfrm>
                  <a:off x="6137624" y="357092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6" name="Graphic 77">
                <a:extLst>
                  <a:ext uri="{FF2B5EF4-FFF2-40B4-BE49-F238E27FC236}">
                    <a16:creationId xmlns:a16="http://schemas.microsoft.com/office/drawing/2014/main" id="{92840D4E-3461-04AC-0177-9393E1CFDB30}"/>
                  </a:ext>
                </a:extLst>
              </p:cNvPr>
              <p:cNvGrpSpPr/>
              <p:nvPr/>
            </p:nvGrpSpPr>
            <p:grpSpPr bwMode="gray">
              <a:xfrm>
                <a:off x="5948267" y="3490245"/>
                <a:ext cx="75723" cy="75628"/>
                <a:chOff x="5948267" y="3490245"/>
                <a:chExt cx="75723" cy="75628"/>
              </a:xfrm>
            </p:grpSpPr>
            <p:sp>
              <p:nvSpPr>
                <p:cNvPr id="9911" name="Freeform: Shape 9910">
                  <a:extLst>
                    <a:ext uri="{FF2B5EF4-FFF2-40B4-BE49-F238E27FC236}">
                      <a16:creationId xmlns:a16="http://schemas.microsoft.com/office/drawing/2014/main" id="{E03BD3D1-08D9-89D1-CA97-C810189350A8}"/>
                    </a:ext>
                  </a:extLst>
                </p:cNvPr>
                <p:cNvSpPr/>
                <p:nvPr/>
              </p:nvSpPr>
              <p:spPr bwMode="gray">
                <a:xfrm>
                  <a:off x="5986081"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12" name="Freeform: Shape 9911">
                  <a:extLst>
                    <a:ext uri="{FF2B5EF4-FFF2-40B4-BE49-F238E27FC236}">
                      <a16:creationId xmlns:a16="http://schemas.microsoft.com/office/drawing/2014/main" id="{32193DF1-B637-7D2F-BBA1-3D53DF051166}"/>
                    </a:ext>
                  </a:extLst>
                </p:cNvPr>
                <p:cNvSpPr/>
                <p:nvPr/>
              </p:nvSpPr>
              <p:spPr bwMode="gray">
                <a:xfrm>
                  <a:off x="5948267"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7" name="Graphic 77">
                <a:extLst>
                  <a:ext uri="{FF2B5EF4-FFF2-40B4-BE49-F238E27FC236}">
                    <a16:creationId xmlns:a16="http://schemas.microsoft.com/office/drawing/2014/main" id="{FEF8A657-5041-F1D7-2223-D2A7F46FC7E0}"/>
                  </a:ext>
                </a:extLst>
              </p:cNvPr>
              <p:cNvGrpSpPr/>
              <p:nvPr/>
            </p:nvGrpSpPr>
            <p:grpSpPr bwMode="gray">
              <a:xfrm>
                <a:off x="5760434" y="3446716"/>
                <a:ext cx="75628" cy="75723"/>
                <a:chOff x="5760434" y="3446716"/>
                <a:chExt cx="75628" cy="75723"/>
              </a:xfrm>
            </p:grpSpPr>
            <p:sp>
              <p:nvSpPr>
                <p:cNvPr id="9909" name="Freeform: Shape 9908">
                  <a:extLst>
                    <a:ext uri="{FF2B5EF4-FFF2-40B4-BE49-F238E27FC236}">
                      <a16:creationId xmlns:a16="http://schemas.microsoft.com/office/drawing/2014/main" id="{F4AF3058-C20D-36D4-63BF-D98247CE2712}"/>
                    </a:ext>
                  </a:extLst>
                </p:cNvPr>
                <p:cNvSpPr/>
                <p:nvPr/>
              </p:nvSpPr>
              <p:spPr bwMode="gray">
                <a:xfrm>
                  <a:off x="5798248"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10" name="Freeform: Shape 9909">
                  <a:extLst>
                    <a:ext uri="{FF2B5EF4-FFF2-40B4-BE49-F238E27FC236}">
                      <a16:creationId xmlns:a16="http://schemas.microsoft.com/office/drawing/2014/main" id="{371E369B-2563-A8A4-76EA-2BC97F20DA5C}"/>
                    </a:ext>
                  </a:extLst>
                </p:cNvPr>
                <p:cNvSpPr/>
                <p:nvPr/>
              </p:nvSpPr>
              <p:spPr bwMode="gray">
                <a:xfrm>
                  <a:off x="5760434"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8" name="Graphic 77">
                <a:extLst>
                  <a:ext uri="{FF2B5EF4-FFF2-40B4-BE49-F238E27FC236}">
                    <a16:creationId xmlns:a16="http://schemas.microsoft.com/office/drawing/2014/main" id="{0BF8B85B-033E-0F54-C6A1-69C7F3F941D4}"/>
                  </a:ext>
                </a:extLst>
              </p:cNvPr>
              <p:cNvGrpSpPr/>
              <p:nvPr/>
            </p:nvGrpSpPr>
            <p:grpSpPr bwMode="gray">
              <a:xfrm>
                <a:off x="5534882" y="3446716"/>
                <a:ext cx="75628" cy="75723"/>
                <a:chOff x="5534882" y="3446716"/>
                <a:chExt cx="75628" cy="75723"/>
              </a:xfrm>
            </p:grpSpPr>
            <p:sp>
              <p:nvSpPr>
                <p:cNvPr id="9907" name="Freeform: Shape 9906">
                  <a:extLst>
                    <a:ext uri="{FF2B5EF4-FFF2-40B4-BE49-F238E27FC236}">
                      <a16:creationId xmlns:a16="http://schemas.microsoft.com/office/drawing/2014/main" id="{A1D3E2E8-62EC-C683-678B-E2A1C444AF57}"/>
                    </a:ext>
                  </a:extLst>
                </p:cNvPr>
                <p:cNvSpPr/>
                <p:nvPr/>
              </p:nvSpPr>
              <p:spPr bwMode="gray">
                <a:xfrm>
                  <a:off x="557269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08" name="Freeform: Shape 9907">
                  <a:extLst>
                    <a:ext uri="{FF2B5EF4-FFF2-40B4-BE49-F238E27FC236}">
                      <a16:creationId xmlns:a16="http://schemas.microsoft.com/office/drawing/2014/main" id="{D9802CBD-6FD3-7CAF-2A08-4D916E5CF54F}"/>
                    </a:ext>
                  </a:extLst>
                </p:cNvPr>
                <p:cNvSpPr/>
                <p:nvPr/>
              </p:nvSpPr>
              <p:spPr bwMode="gray">
                <a:xfrm>
                  <a:off x="5534882"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79" name="Graphic 77">
                <a:extLst>
                  <a:ext uri="{FF2B5EF4-FFF2-40B4-BE49-F238E27FC236}">
                    <a16:creationId xmlns:a16="http://schemas.microsoft.com/office/drawing/2014/main" id="{84701B30-94C5-F8C9-8FB5-A4FC54B0AA69}"/>
                  </a:ext>
                </a:extLst>
              </p:cNvPr>
              <p:cNvGrpSpPr/>
              <p:nvPr/>
            </p:nvGrpSpPr>
            <p:grpSpPr bwMode="gray">
              <a:xfrm>
                <a:off x="5547741" y="3446716"/>
                <a:ext cx="75628" cy="75723"/>
                <a:chOff x="5547741" y="3446716"/>
                <a:chExt cx="75628" cy="75723"/>
              </a:xfrm>
            </p:grpSpPr>
            <p:sp>
              <p:nvSpPr>
                <p:cNvPr id="9905" name="Freeform: Shape 9904">
                  <a:extLst>
                    <a:ext uri="{FF2B5EF4-FFF2-40B4-BE49-F238E27FC236}">
                      <a16:creationId xmlns:a16="http://schemas.microsoft.com/office/drawing/2014/main" id="{3E91106B-F1A2-BDFC-29A7-21133C56A13B}"/>
                    </a:ext>
                  </a:extLst>
                </p:cNvPr>
                <p:cNvSpPr/>
                <p:nvPr/>
              </p:nvSpPr>
              <p:spPr bwMode="gray">
                <a:xfrm>
                  <a:off x="5585555"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06" name="Freeform: Shape 9905">
                  <a:extLst>
                    <a:ext uri="{FF2B5EF4-FFF2-40B4-BE49-F238E27FC236}">
                      <a16:creationId xmlns:a16="http://schemas.microsoft.com/office/drawing/2014/main" id="{E5B8C0D1-2ECB-3743-D961-9B312EDA95EC}"/>
                    </a:ext>
                  </a:extLst>
                </p:cNvPr>
                <p:cNvSpPr/>
                <p:nvPr/>
              </p:nvSpPr>
              <p:spPr bwMode="gray">
                <a:xfrm>
                  <a:off x="5547741"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0" name="Graphic 77">
                <a:extLst>
                  <a:ext uri="{FF2B5EF4-FFF2-40B4-BE49-F238E27FC236}">
                    <a16:creationId xmlns:a16="http://schemas.microsoft.com/office/drawing/2014/main" id="{F7C6DEBF-C597-F1D5-F540-BB4D1359329E}"/>
                  </a:ext>
                </a:extLst>
              </p:cNvPr>
              <p:cNvGrpSpPr/>
              <p:nvPr/>
            </p:nvGrpSpPr>
            <p:grpSpPr bwMode="gray">
              <a:xfrm>
                <a:off x="5515927" y="3417284"/>
                <a:ext cx="75723" cy="75628"/>
                <a:chOff x="5515927" y="3417284"/>
                <a:chExt cx="75723" cy="75628"/>
              </a:xfrm>
            </p:grpSpPr>
            <p:sp>
              <p:nvSpPr>
                <p:cNvPr id="9903" name="Freeform: Shape 9902">
                  <a:extLst>
                    <a:ext uri="{FF2B5EF4-FFF2-40B4-BE49-F238E27FC236}">
                      <a16:creationId xmlns:a16="http://schemas.microsoft.com/office/drawing/2014/main" id="{10E190AF-AEDD-A69B-7AF2-FA33959E455E}"/>
                    </a:ext>
                  </a:extLst>
                </p:cNvPr>
                <p:cNvSpPr/>
                <p:nvPr/>
              </p:nvSpPr>
              <p:spPr bwMode="gray">
                <a:xfrm>
                  <a:off x="5553741" y="3417284"/>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04" name="Freeform: Shape 9903">
                  <a:extLst>
                    <a:ext uri="{FF2B5EF4-FFF2-40B4-BE49-F238E27FC236}">
                      <a16:creationId xmlns:a16="http://schemas.microsoft.com/office/drawing/2014/main" id="{61405A45-5F7D-D78D-DB46-2CFDB0667E45}"/>
                    </a:ext>
                  </a:extLst>
                </p:cNvPr>
                <p:cNvSpPr/>
                <p:nvPr/>
              </p:nvSpPr>
              <p:spPr bwMode="gray">
                <a:xfrm>
                  <a:off x="5515927" y="3455098"/>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1" name="Graphic 77">
                <a:extLst>
                  <a:ext uri="{FF2B5EF4-FFF2-40B4-BE49-F238E27FC236}">
                    <a16:creationId xmlns:a16="http://schemas.microsoft.com/office/drawing/2014/main" id="{94E9BEBA-56BB-0CA9-A456-20237F481B96}"/>
                  </a:ext>
                </a:extLst>
              </p:cNvPr>
              <p:cNvGrpSpPr/>
              <p:nvPr/>
            </p:nvGrpSpPr>
            <p:grpSpPr bwMode="gray">
              <a:xfrm>
                <a:off x="5352954" y="3384327"/>
                <a:ext cx="75723" cy="75723"/>
                <a:chOff x="5352954" y="3384327"/>
                <a:chExt cx="75723" cy="75723"/>
              </a:xfrm>
            </p:grpSpPr>
            <p:sp>
              <p:nvSpPr>
                <p:cNvPr id="9901" name="Freeform: Shape 9900">
                  <a:extLst>
                    <a:ext uri="{FF2B5EF4-FFF2-40B4-BE49-F238E27FC236}">
                      <a16:creationId xmlns:a16="http://schemas.microsoft.com/office/drawing/2014/main" id="{85AD7B11-9CD3-46C8-DB7E-C89C2FE42886}"/>
                    </a:ext>
                  </a:extLst>
                </p:cNvPr>
                <p:cNvSpPr/>
                <p:nvPr/>
              </p:nvSpPr>
              <p:spPr bwMode="gray">
                <a:xfrm>
                  <a:off x="5390864"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02" name="Freeform: Shape 9901">
                  <a:extLst>
                    <a:ext uri="{FF2B5EF4-FFF2-40B4-BE49-F238E27FC236}">
                      <a16:creationId xmlns:a16="http://schemas.microsoft.com/office/drawing/2014/main" id="{EA689F7E-ECDD-9B0D-8D8D-3BC4621DB467}"/>
                    </a:ext>
                  </a:extLst>
                </p:cNvPr>
                <p:cNvSpPr/>
                <p:nvPr/>
              </p:nvSpPr>
              <p:spPr bwMode="gray">
                <a:xfrm>
                  <a:off x="5352954"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2" name="Graphic 77">
                <a:extLst>
                  <a:ext uri="{FF2B5EF4-FFF2-40B4-BE49-F238E27FC236}">
                    <a16:creationId xmlns:a16="http://schemas.microsoft.com/office/drawing/2014/main" id="{23F49677-5773-DDE0-CC61-5BDE22525826}"/>
                  </a:ext>
                </a:extLst>
              </p:cNvPr>
              <p:cNvGrpSpPr/>
              <p:nvPr/>
            </p:nvGrpSpPr>
            <p:grpSpPr bwMode="gray">
              <a:xfrm>
                <a:off x="5304758" y="3351752"/>
                <a:ext cx="75723" cy="75723"/>
                <a:chOff x="5304758" y="3351752"/>
                <a:chExt cx="75723" cy="75723"/>
              </a:xfrm>
            </p:grpSpPr>
            <p:sp>
              <p:nvSpPr>
                <p:cNvPr id="9899" name="Freeform: Shape 9898">
                  <a:extLst>
                    <a:ext uri="{FF2B5EF4-FFF2-40B4-BE49-F238E27FC236}">
                      <a16:creationId xmlns:a16="http://schemas.microsoft.com/office/drawing/2014/main" id="{DFDBD0C1-6624-29AB-0153-A6FAD3E492BD}"/>
                    </a:ext>
                  </a:extLst>
                </p:cNvPr>
                <p:cNvSpPr/>
                <p:nvPr/>
              </p:nvSpPr>
              <p:spPr bwMode="gray">
                <a:xfrm>
                  <a:off x="5342667"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00" name="Freeform: Shape 9899">
                  <a:extLst>
                    <a:ext uri="{FF2B5EF4-FFF2-40B4-BE49-F238E27FC236}">
                      <a16:creationId xmlns:a16="http://schemas.microsoft.com/office/drawing/2014/main" id="{4F3207A6-7586-A41E-5AC7-CEDCEF0FAD58}"/>
                    </a:ext>
                  </a:extLst>
                </p:cNvPr>
                <p:cNvSpPr/>
                <p:nvPr/>
              </p:nvSpPr>
              <p:spPr bwMode="gray">
                <a:xfrm>
                  <a:off x="5304758" y="338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3" name="Graphic 77">
                <a:extLst>
                  <a:ext uri="{FF2B5EF4-FFF2-40B4-BE49-F238E27FC236}">
                    <a16:creationId xmlns:a16="http://schemas.microsoft.com/office/drawing/2014/main" id="{9B6839F2-1CA1-D409-8734-6B783C1B8395}"/>
                  </a:ext>
                </a:extLst>
              </p:cNvPr>
              <p:cNvGrpSpPr/>
              <p:nvPr/>
            </p:nvGrpSpPr>
            <p:grpSpPr bwMode="gray">
              <a:xfrm>
                <a:off x="5295709" y="3351752"/>
                <a:ext cx="75628" cy="75723"/>
                <a:chOff x="5295709" y="3351752"/>
                <a:chExt cx="75628" cy="75723"/>
              </a:xfrm>
            </p:grpSpPr>
            <p:sp>
              <p:nvSpPr>
                <p:cNvPr id="9897" name="Freeform: Shape 9896">
                  <a:extLst>
                    <a:ext uri="{FF2B5EF4-FFF2-40B4-BE49-F238E27FC236}">
                      <a16:creationId xmlns:a16="http://schemas.microsoft.com/office/drawing/2014/main" id="{544E216A-45CE-16DC-D8A9-CEA956741C2C}"/>
                    </a:ext>
                  </a:extLst>
                </p:cNvPr>
                <p:cNvSpPr/>
                <p:nvPr/>
              </p:nvSpPr>
              <p:spPr bwMode="gray">
                <a:xfrm>
                  <a:off x="5333523"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98" name="Freeform: Shape 9897">
                  <a:extLst>
                    <a:ext uri="{FF2B5EF4-FFF2-40B4-BE49-F238E27FC236}">
                      <a16:creationId xmlns:a16="http://schemas.microsoft.com/office/drawing/2014/main" id="{F7FD066C-E742-CF95-95D5-C0B137E684E7}"/>
                    </a:ext>
                  </a:extLst>
                </p:cNvPr>
                <p:cNvSpPr/>
                <p:nvPr/>
              </p:nvSpPr>
              <p:spPr bwMode="gray">
                <a:xfrm>
                  <a:off x="5295709" y="3389661"/>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4" name="Graphic 77">
                <a:extLst>
                  <a:ext uri="{FF2B5EF4-FFF2-40B4-BE49-F238E27FC236}">
                    <a16:creationId xmlns:a16="http://schemas.microsoft.com/office/drawing/2014/main" id="{0CBBECBB-300C-7CE1-6E88-6538C99834FE}"/>
                  </a:ext>
                </a:extLst>
              </p:cNvPr>
              <p:cNvGrpSpPr/>
              <p:nvPr/>
            </p:nvGrpSpPr>
            <p:grpSpPr bwMode="gray">
              <a:xfrm>
                <a:off x="5211794" y="3316795"/>
                <a:ext cx="75628" cy="75723"/>
                <a:chOff x="5211794" y="3316795"/>
                <a:chExt cx="75628" cy="75723"/>
              </a:xfrm>
            </p:grpSpPr>
            <p:sp>
              <p:nvSpPr>
                <p:cNvPr id="9895" name="Freeform: Shape 9894">
                  <a:extLst>
                    <a:ext uri="{FF2B5EF4-FFF2-40B4-BE49-F238E27FC236}">
                      <a16:creationId xmlns:a16="http://schemas.microsoft.com/office/drawing/2014/main" id="{4161D9E6-0BA6-EFD2-9A99-8321D285BEB7}"/>
                    </a:ext>
                  </a:extLst>
                </p:cNvPr>
                <p:cNvSpPr/>
                <p:nvPr/>
              </p:nvSpPr>
              <p:spPr bwMode="gray">
                <a:xfrm>
                  <a:off x="5249608" y="33167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96" name="Freeform: Shape 9895">
                  <a:extLst>
                    <a:ext uri="{FF2B5EF4-FFF2-40B4-BE49-F238E27FC236}">
                      <a16:creationId xmlns:a16="http://schemas.microsoft.com/office/drawing/2014/main" id="{A73290CE-AAE2-9262-5D40-3C4319CB1918}"/>
                    </a:ext>
                  </a:extLst>
                </p:cNvPr>
                <p:cNvSpPr/>
                <p:nvPr/>
              </p:nvSpPr>
              <p:spPr bwMode="gray">
                <a:xfrm>
                  <a:off x="5211794" y="3354705"/>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5" name="Graphic 77">
                <a:extLst>
                  <a:ext uri="{FF2B5EF4-FFF2-40B4-BE49-F238E27FC236}">
                    <a16:creationId xmlns:a16="http://schemas.microsoft.com/office/drawing/2014/main" id="{D5BE7D59-4C88-B7D1-4C00-F1CBF4B80F40}"/>
                  </a:ext>
                </a:extLst>
              </p:cNvPr>
              <p:cNvGrpSpPr/>
              <p:nvPr/>
            </p:nvGrpSpPr>
            <p:grpSpPr bwMode="gray">
              <a:xfrm>
                <a:off x="5179504" y="3291173"/>
                <a:ext cx="75723" cy="75723"/>
                <a:chOff x="5179504" y="3291173"/>
                <a:chExt cx="75723" cy="75723"/>
              </a:xfrm>
            </p:grpSpPr>
            <p:sp>
              <p:nvSpPr>
                <p:cNvPr id="9893" name="Freeform: Shape 9892">
                  <a:extLst>
                    <a:ext uri="{FF2B5EF4-FFF2-40B4-BE49-F238E27FC236}">
                      <a16:creationId xmlns:a16="http://schemas.microsoft.com/office/drawing/2014/main" id="{5F142A5C-A057-0900-FB2F-124516ACEDB4}"/>
                    </a:ext>
                  </a:extLst>
                </p:cNvPr>
                <p:cNvSpPr/>
                <p:nvPr/>
              </p:nvSpPr>
              <p:spPr bwMode="gray">
                <a:xfrm>
                  <a:off x="5217414"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94" name="Freeform: Shape 9893">
                  <a:extLst>
                    <a:ext uri="{FF2B5EF4-FFF2-40B4-BE49-F238E27FC236}">
                      <a16:creationId xmlns:a16="http://schemas.microsoft.com/office/drawing/2014/main" id="{0B55B844-DB21-4A70-7603-F89949977D30}"/>
                    </a:ext>
                  </a:extLst>
                </p:cNvPr>
                <p:cNvSpPr/>
                <p:nvPr/>
              </p:nvSpPr>
              <p:spPr bwMode="gray">
                <a:xfrm>
                  <a:off x="5179504"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6" name="Graphic 77">
                <a:extLst>
                  <a:ext uri="{FF2B5EF4-FFF2-40B4-BE49-F238E27FC236}">
                    <a16:creationId xmlns:a16="http://schemas.microsoft.com/office/drawing/2014/main" id="{4CBD6523-EA5B-41AF-2A35-B90924166EF2}"/>
                  </a:ext>
                </a:extLst>
              </p:cNvPr>
              <p:cNvGrpSpPr/>
              <p:nvPr/>
            </p:nvGrpSpPr>
            <p:grpSpPr bwMode="gray">
              <a:xfrm>
                <a:off x="5120259" y="3291173"/>
                <a:ext cx="75723" cy="75723"/>
                <a:chOff x="5120259" y="3291173"/>
                <a:chExt cx="75723" cy="75723"/>
              </a:xfrm>
            </p:grpSpPr>
            <p:sp>
              <p:nvSpPr>
                <p:cNvPr id="9891" name="Freeform: Shape 9890">
                  <a:extLst>
                    <a:ext uri="{FF2B5EF4-FFF2-40B4-BE49-F238E27FC236}">
                      <a16:creationId xmlns:a16="http://schemas.microsoft.com/office/drawing/2014/main" id="{EF9BB261-73FA-1AEB-EB07-A09FF05E5B4C}"/>
                    </a:ext>
                  </a:extLst>
                </p:cNvPr>
                <p:cNvSpPr/>
                <p:nvPr/>
              </p:nvSpPr>
              <p:spPr bwMode="gray">
                <a:xfrm>
                  <a:off x="5158073"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92" name="Freeform: Shape 9891">
                  <a:extLst>
                    <a:ext uri="{FF2B5EF4-FFF2-40B4-BE49-F238E27FC236}">
                      <a16:creationId xmlns:a16="http://schemas.microsoft.com/office/drawing/2014/main" id="{F5F4BBAD-36D7-124D-519C-7971D46D5532}"/>
                    </a:ext>
                  </a:extLst>
                </p:cNvPr>
                <p:cNvSpPr/>
                <p:nvPr/>
              </p:nvSpPr>
              <p:spPr bwMode="gray">
                <a:xfrm>
                  <a:off x="5120259"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7" name="Graphic 77">
                <a:extLst>
                  <a:ext uri="{FF2B5EF4-FFF2-40B4-BE49-F238E27FC236}">
                    <a16:creationId xmlns:a16="http://schemas.microsoft.com/office/drawing/2014/main" id="{EF3FBA6E-5459-6D10-FB48-9DA23A928F3A}"/>
                  </a:ext>
                </a:extLst>
              </p:cNvPr>
              <p:cNvGrpSpPr/>
              <p:nvPr/>
            </p:nvGrpSpPr>
            <p:grpSpPr bwMode="gray">
              <a:xfrm>
                <a:off x="5132832" y="3291173"/>
                <a:ext cx="75723" cy="75723"/>
                <a:chOff x="5132832" y="3291173"/>
                <a:chExt cx="75723" cy="75723"/>
              </a:xfrm>
            </p:grpSpPr>
            <p:sp>
              <p:nvSpPr>
                <p:cNvPr id="9889" name="Freeform: Shape 9888">
                  <a:extLst>
                    <a:ext uri="{FF2B5EF4-FFF2-40B4-BE49-F238E27FC236}">
                      <a16:creationId xmlns:a16="http://schemas.microsoft.com/office/drawing/2014/main" id="{B8E3127F-A132-3267-96BD-457978B226BF}"/>
                    </a:ext>
                  </a:extLst>
                </p:cNvPr>
                <p:cNvSpPr/>
                <p:nvPr/>
              </p:nvSpPr>
              <p:spPr bwMode="gray">
                <a:xfrm>
                  <a:off x="5170741"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90" name="Freeform: Shape 9889">
                  <a:extLst>
                    <a:ext uri="{FF2B5EF4-FFF2-40B4-BE49-F238E27FC236}">
                      <a16:creationId xmlns:a16="http://schemas.microsoft.com/office/drawing/2014/main" id="{736128C2-63D8-9485-61BA-CF6D8B2AB9FF}"/>
                    </a:ext>
                  </a:extLst>
                </p:cNvPr>
                <p:cNvSpPr/>
                <p:nvPr/>
              </p:nvSpPr>
              <p:spPr bwMode="gray">
                <a:xfrm>
                  <a:off x="5132832"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8" name="Graphic 77">
                <a:extLst>
                  <a:ext uri="{FF2B5EF4-FFF2-40B4-BE49-F238E27FC236}">
                    <a16:creationId xmlns:a16="http://schemas.microsoft.com/office/drawing/2014/main" id="{C9EF8563-0E24-7CE1-02C8-909E9430D7AA}"/>
                  </a:ext>
                </a:extLst>
              </p:cNvPr>
              <p:cNvGrpSpPr/>
              <p:nvPr/>
            </p:nvGrpSpPr>
            <p:grpSpPr bwMode="gray">
              <a:xfrm>
                <a:off x="4999291" y="3266027"/>
                <a:ext cx="75723" cy="75628"/>
                <a:chOff x="4999291" y="3266027"/>
                <a:chExt cx="75723" cy="75628"/>
              </a:xfrm>
            </p:grpSpPr>
            <p:sp>
              <p:nvSpPr>
                <p:cNvPr id="9887" name="Freeform: Shape 9886">
                  <a:extLst>
                    <a:ext uri="{FF2B5EF4-FFF2-40B4-BE49-F238E27FC236}">
                      <a16:creationId xmlns:a16="http://schemas.microsoft.com/office/drawing/2014/main" id="{5CCFD14F-8E07-48F1-3E3F-D359383F9BB1}"/>
                    </a:ext>
                  </a:extLst>
                </p:cNvPr>
                <p:cNvSpPr/>
                <p:nvPr/>
              </p:nvSpPr>
              <p:spPr bwMode="gray">
                <a:xfrm>
                  <a:off x="5037201"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88" name="Freeform: Shape 9887">
                  <a:extLst>
                    <a:ext uri="{FF2B5EF4-FFF2-40B4-BE49-F238E27FC236}">
                      <a16:creationId xmlns:a16="http://schemas.microsoft.com/office/drawing/2014/main" id="{0D0B9850-797C-84CC-3EE4-F93E071A8CAE}"/>
                    </a:ext>
                  </a:extLst>
                </p:cNvPr>
                <p:cNvSpPr/>
                <p:nvPr/>
              </p:nvSpPr>
              <p:spPr bwMode="gray">
                <a:xfrm>
                  <a:off x="4999291" y="3303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89" name="Graphic 77">
                <a:extLst>
                  <a:ext uri="{FF2B5EF4-FFF2-40B4-BE49-F238E27FC236}">
                    <a16:creationId xmlns:a16="http://schemas.microsoft.com/office/drawing/2014/main" id="{77F16332-CF96-970A-2313-CC75A4F995DE}"/>
                  </a:ext>
                </a:extLst>
              </p:cNvPr>
              <p:cNvGrpSpPr/>
              <p:nvPr/>
            </p:nvGrpSpPr>
            <p:grpSpPr bwMode="gray">
              <a:xfrm>
                <a:off x="4903851" y="3238309"/>
                <a:ext cx="75628" cy="75723"/>
                <a:chOff x="4903851" y="3238309"/>
                <a:chExt cx="75628" cy="75723"/>
              </a:xfrm>
            </p:grpSpPr>
            <p:sp>
              <p:nvSpPr>
                <p:cNvPr id="9885" name="Freeform: Shape 9884">
                  <a:extLst>
                    <a:ext uri="{FF2B5EF4-FFF2-40B4-BE49-F238E27FC236}">
                      <a16:creationId xmlns:a16="http://schemas.microsoft.com/office/drawing/2014/main" id="{349384F0-5A1F-03F8-9B06-C6358D7F154F}"/>
                    </a:ext>
                  </a:extLst>
                </p:cNvPr>
                <p:cNvSpPr/>
                <p:nvPr/>
              </p:nvSpPr>
              <p:spPr bwMode="gray">
                <a:xfrm>
                  <a:off x="4941665" y="3238309"/>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86" name="Freeform: Shape 9885">
                  <a:extLst>
                    <a:ext uri="{FF2B5EF4-FFF2-40B4-BE49-F238E27FC236}">
                      <a16:creationId xmlns:a16="http://schemas.microsoft.com/office/drawing/2014/main" id="{A52CD0B2-B86D-D7ED-EDDD-A346231E33F3}"/>
                    </a:ext>
                  </a:extLst>
                </p:cNvPr>
                <p:cNvSpPr/>
                <p:nvPr/>
              </p:nvSpPr>
              <p:spPr bwMode="gray">
                <a:xfrm>
                  <a:off x="4903851" y="327621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0" name="Graphic 77">
                <a:extLst>
                  <a:ext uri="{FF2B5EF4-FFF2-40B4-BE49-F238E27FC236}">
                    <a16:creationId xmlns:a16="http://schemas.microsoft.com/office/drawing/2014/main" id="{A7310383-E934-9EA2-EE75-A48683852114}"/>
                  </a:ext>
                </a:extLst>
              </p:cNvPr>
              <p:cNvGrpSpPr/>
              <p:nvPr/>
            </p:nvGrpSpPr>
            <p:grpSpPr bwMode="gray">
              <a:xfrm>
                <a:off x="4854416" y="3210020"/>
                <a:ext cx="75723" cy="75723"/>
                <a:chOff x="4854416" y="3210020"/>
                <a:chExt cx="75723" cy="75723"/>
              </a:xfrm>
            </p:grpSpPr>
            <p:sp>
              <p:nvSpPr>
                <p:cNvPr id="9883" name="Freeform: Shape 9882">
                  <a:extLst>
                    <a:ext uri="{FF2B5EF4-FFF2-40B4-BE49-F238E27FC236}">
                      <a16:creationId xmlns:a16="http://schemas.microsoft.com/office/drawing/2014/main" id="{954A1002-D286-7B33-08DB-4941E76F6974}"/>
                    </a:ext>
                  </a:extLst>
                </p:cNvPr>
                <p:cNvSpPr/>
                <p:nvPr/>
              </p:nvSpPr>
              <p:spPr bwMode="gray">
                <a:xfrm>
                  <a:off x="4892325"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84" name="Freeform: Shape 9883">
                  <a:extLst>
                    <a:ext uri="{FF2B5EF4-FFF2-40B4-BE49-F238E27FC236}">
                      <a16:creationId xmlns:a16="http://schemas.microsoft.com/office/drawing/2014/main" id="{4AE5D65F-F29C-72B8-8345-9F48C773EB1D}"/>
                    </a:ext>
                  </a:extLst>
                </p:cNvPr>
                <p:cNvSpPr/>
                <p:nvPr/>
              </p:nvSpPr>
              <p:spPr bwMode="gray">
                <a:xfrm>
                  <a:off x="4854416"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1" name="Graphic 77">
                <a:extLst>
                  <a:ext uri="{FF2B5EF4-FFF2-40B4-BE49-F238E27FC236}">
                    <a16:creationId xmlns:a16="http://schemas.microsoft.com/office/drawing/2014/main" id="{D9DC6DCE-98AB-762F-E209-D484848197E9}"/>
                  </a:ext>
                </a:extLst>
              </p:cNvPr>
              <p:cNvGrpSpPr/>
              <p:nvPr/>
            </p:nvGrpSpPr>
            <p:grpSpPr bwMode="gray">
              <a:xfrm>
                <a:off x="4819935" y="3210020"/>
                <a:ext cx="75723" cy="75723"/>
                <a:chOff x="4819935" y="3210020"/>
                <a:chExt cx="75723" cy="75723"/>
              </a:xfrm>
            </p:grpSpPr>
            <p:sp>
              <p:nvSpPr>
                <p:cNvPr id="9881" name="Freeform: Shape 9880">
                  <a:extLst>
                    <a:ext uri="{FF2B5EF4-FFF2-40B4-BE49-F238E27FC236}">
                      <a16:creationId xmlns:a16="http://schemas.microsoft.com/office/drawing/2014/main" id="{A63ADEA3-6020-EFF3-4438-626D2E4888C4}"/>
                    </a:ext>
                  </a:extLst>
                </p:cNvPr>
                <p:cNvSpPr/>
                <p:nvPr/>
              </p:nvSpPr>
              <p:spPr bwMode="gray">
                <a:xfrm>
                  <a:off x="4857750"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82" name="Freeform: Shape 9881">
                  <a:extLst>
                    <a:ext uri="{FF2B5EF4-FFF2-40B4-BE49-F238E27FC236}">
                      <a16:creationId xmlns:a16="http://schemas.microsoft.com/office/drawing/2014/main" id="{A87889A6-3FC4-E001-6F10-17FB32FA59AF}"/>
                    </a:ext>
                  </a:extLst>
                </p:cNvPr>
                <p:cNvSpPr/>
                <p:nvPr/>
              </p:nvSpPr>
              <p:spPr bwMode="gray">
                <a:xfrm>
                  <a:off x="4819935"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2" name="Graphic 77">
                <a:extLst>
                  <a:ext uri="{FF2B5EF4-FFF2-40B4-BE49-F238E27FC236}">
                    <a16:creationId xmlns:a16="http://schemas.microsoft.com/office/drawing/2014/main" id="{A7757615-A4B3-09D7-F657-4B81651AD2C3}"/>
                  </a:ext>
                </a:extLst>
              </p:cNvPr>
              <p:cNvGrpSpPr/>
              <p:nvPr/>
            </p:nvGrpSpPr>
            <p:grpSpPr bwMode="gray">
              <a:xfrm>
                <a:off x="4757261" y="3210020"/>
                <a:ext cx="75723" cy="75723"/>
                <a:chOff x="4757261" y="3210020"/>
                <a:chExt cx="75723" cy="75723"/>
              </a:xfrm>
            </p:grpSpPr>
            <p:sp>
              <p:nvSpPr>
                <p:cNvPr id="9879" name="Freeform: Shape 9878">
                  <a:extLst>
                    <a:ext uri="{FF2B5EF4-FFF2-40B4-BE49-F238E27FC236}">
                      <a16:creationId xmlns:a16="http://schemas.microsoft.com/office/drawing/2014/main" id="{9B27E5C0-1B1B-FA24-67FA-A9176BCBDE3D}"/>
                    </a:ext>
                  </a:extLst>
                </p:cNvPr>
                <p:cNvSpPr/>
                <p:nvPr/>
              </p:nvSpPr>
              <p:spPr bwMode="gray">
                <a:xfrm>
                  <a:off x="4795170"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80" name="Freeform: Shape 9879">
                  <a:extLst>
                    <a:ext uri="{FF2B5EF4-FFF2-40B4-BE49-F238E27FC236}">
                      <a16:creationId xmlns:a16="http://schemas.microsoft.com/office/drawing/2014/main" id="{8DFAB0DF-A752-359C-F5D3-85C7F5399533}"/>
                    </a:ext>
                  </a:extLst>
                </p:cNvPr>
                <p:cNvSpPr/>
                <p:nvPr/>
              </p:nvSpPr>
              <p:spPr bwMode="gray">
                <a:xfrm>
                  <a:off x="4757261"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3" name="Graphic 77">
                <a:extLst>
                  <a:ext uri="{FF2B5EF4-FFF2-40B4-BE49-F238E27FC236}">
                    <a16:creationId xmlns:a16="http://schemas.microsoft.com/office/drawing/2014/main" id="{FBE89F58-2A6C-3864-1E4E-0890F845C4AD}"/>
                  </a:ext>
                </a:extLst>
              </p:cNvPr>
              <p:cNvGrpSpPr/>
              <p:nvPr/>
            </p:nvGrpSpPr>
            <p:grpSpPr bwMode="gray">
              <a:xfrm>
                <a:off x="4725066" y="3210020"/>
                <a:ext cx="75723" cy="75723"/>
                <a:chOff x="4725066" y="3210020"/>
                <a:chExt cx="75723" cy="75723"/>
              </a:xfrm>
            </p:grpSpPr>
            <p:sp>
              <p:nvSpPr>
                <p:cNvPr id="9877" name="Freeform: Shape 9876">
                  <a:extLst>
                    <a:ext uri="{FF2B5EF4-FFF2-40B4-BE49-F238E27FC236}">
                      <a16:creationId xmlns:a16="http://schemas.microsoft.com/office/drawing/2014/main" id="{4C2F69F8-D55D-6F65-FB53-900D72C0BD44}"/>
                    </a:ext>
                  </a:extLst>
                </p:cNvPr>
                <p:cNvSpPr/>
                <p:nvPr/>
              </p:nvSpPr>
              <p:spPr bwMode="gray">
                <a:xfrm>
                  <a:off x="4762881" y="3210020"/>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78" name="Freeform: Shape 9877">
                  <a:extLst>
                    <a:ext uri="{FF2B5EF4-FFF2-40B4-BE49-F238E27FC236}">
                      <a16:creationId xmlns:a16="http://schemas.microsoft.com/office/drawing/2014/main" id="{4DFC61AA-6A5E-FD50-955D-ABA906B77819}"/>
                    </a:ext>
                  </a:extLst>
                </p:cNvPr>
                <p:cNvSpPr/>
                <p:nvPr/>
              </p:nvSpPr>
              <p:spPr bwMode="gray">
                <a:xfrm>
                  <a:off x="4725066" y="324792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4" name="Graphic 77">
                <a:extLst>
                  <a:ext uri="{FF2B5EF4-FFF2-40B4-BE49-F238E27FC236}">
                    <a16:creationId xmlns:a16="http://schemas.microsoft.com/office/drawing/2014/main" id="{27349547-A571-95CA-E3B7-6F8C04D24653}"/>
                  </a:ext>
                </a:extLst>
              </p:cNvPr>
              <p:cNvGrpSpPr/>
              <p:nvPr/>
            </p:nvGrpSpPr>
            <p:grpSpPr bwMode="gray">
              <a:xfrm>
                <a:off x="4696491" y="3182207"/>
                <a:ext cx="75723" cy="75723"/>
                <a:chOff x="4696491" y="3182207"/>
                <a:chExt cx="75723" cy="75723"/>
              </a:xfrm>
            </p:grpSpPr>
            <p:sp>
              <p:nvSpPr>
                <p:cNvPr id="9875" name="Freeform: Shape 9874">
                  <a:extLst>
                    <a:ext uri="{FF2B5EF4-FFF2-40B4-BE49-F238E27FC236}">
                      <a16:creationId xmlns:a16="http://schemas.microsoft.com/office/drawing/2014/main" id="{B0D6B02B-EA6A-7F50-33F9-22FB5BCCEA0B}"/>
                    </a:ext>
                  </a:extLst>
                </p:cNvPr>
                <p:cNvSpPr/>
                <p:nvPr/>
              </p:nvSpPr>
              <p:spPr bwMode="gray">
                <a:xfrm>
                  <a:off x="4734306" y="318220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76" name="Freeform: Shape 9875">
                  <a:extLst>
                    <a:ext uri="{FF2B5EF4-FFF2-40B4-BE49-F238E27FC236}">
                      <a16:creationId xmlns:a16="http://schemas.microsoft.com/office/drawing/2014/main" id="{E8A38FB8-831F-A0E9-43F4-65BA4E0DB527}"/>
                    </a:ext>
                  </a:extLst>
                </p:cNvPr>
                <p:cNvSpPr/>
                <p:nvPr/>
              </p:nvSpPr>
              <p:spPr bwMode="gray">
                <a:xfrm>
                  <a:off x="4696491" y="322011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5" name="Graphic 77">
                <a:extLst>
                  <a:ext uri="{FF2B5EF4-FFF2-40B4-BE49-F238E27FC236}">
                    <a16:creationId xmlns:a16="http://schemas.microsoft.com/office/drawing/2014/main" id="{D336DA8C-E141-81AD-E735-B3E012F544FE}"/>
                  </a:ext>
                </a:extLst>
              </p:cNvPr>
              <p:cNvGrpSpPr/>
              <p:nvPr/>
            </p:nvGrpSpPr>
            <p:grpSpPr bwMode="gray">
              <a:xfrm>
                <a:off x="4642008" y="3136392"/>
                <a:ext cx="75628" cy="75628"/>
                <a:chOff x="4642008" y="3136392"/>
                <a:chExt cx="75628" cy="75628"/>
              </a:xfrm>
            </p:grpSpPr>
            <p:sp>
              <p:nvSpPr>
                <p:cNvPr id="9873" name="Freeform: Shape 9872">
                  <a:extLst>
                    <a:ext uri="{FF2B5EF4-FFF2-40B4-BE49-F238E27FC236}">
                      <a16:creationId xmlns:a16="http://schemas.microsoft.com/office/drawing/2014/main" id="{CD49C1FD-FDA5-7FB4-FB4D-CEC39C70CF1A}"/>
                    </a:ext>
                  </a:extLst>
                </p:cNvPr>
                <p:cNvSpPr/>
                <p:nvPr/>
              </p:nvSpPr>
              <p:spPr bwMode="gray">
                <a:xfrm>
                  <a:off x="4679823"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74" name="Freeform: Shape 9873">
                  <a:extLst>
                    <a:ext uri="{FF2B5EF4-FFF2-40B4-BE49-F238E27FC236}">
                      <a16:creationId xmlns:a16="http://schemas.microsoft.com/office/drawing/2014/main" id="{15C54355-ED0C-E1FE-7963-F20215E03E86}"/>
                    </a:ext>
                  </a:extLst>
                </p:cNvPr>
                <p:cNvSpPr/>
                <p:nvPr/>
              </p:nvSpPr>
              <p:spPr bwMode="gray">
                <a:xfrm>
                  <a:off x="4642008" y="317420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6" name="Graphic 77">
                <a:extLst>
                  <a:ext uri="{FF2B5EF4-FFF2-40B4-BE49-F238E27FC236}">
                    <a16:creationId xmlns:a16="http://schemas.microsoft.com/office/drawing/2014/main" id="{DDD33379-B748-6150-DE8A-871F23C39834}"/>
                  </a:ext>
                </a:extLst>
              </p:cNvPr>
              <p:cNvGrpSpPr/>
              <p:nvPr/>
            </p:nvGrpSpPr>
            <p:grpSpPr bwMode="gray">
              <a:xfrm>
                <a:off x="4633912" y="3136392"/>
                <a:ext cx="75628" cy="75628"/>
                <a:chOff x="4633912" y="3136392"/>
                <a:chExt cx="75628" cy="75628"/>
              </a:xfrm>
            </p:grpSpPr>
            <p:sp>
              <p:nvSpPr>
                <p:cNvPr id="9871" name="Freeform: Shape 9870">
                  <a:extLst>
                    <a:ext uri="{FF2B5EF4-FFF2-40B4-BE49-F238E27FC236}">
                      <a16:creationId xmlns:a16="http://schemas.microsoft.com/office/drawing/2014/main" id="{319E7E42-3D4C-779A-CE4F-0059207590B5}"/>
                    </a:ext>
                  </a:extLst>
                </p:cNvPr>
                <p:cNvSpPr/>
                <p:nvPr/>
              </p:nvSpPr>
              <p:spPr bwMode="gray">
                <a:xfrm>
                  <a:off x="4671726"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72" name="Freeform: Shape 9871">
                  <a:extLst>
                    <a:ext uri="{FF2B5EF4-FFF2-40B4-BE49-F238E27FC236}">
                      <a16:creationId xmlns:a16="http://schemas.microsoft.com/office/drawing/2014/main" id="{524655A1-B9C5-88BA-DF89-CBC9361A7D3C}"/>
                    </a:ext>
                  </a:extLst>
                </p:cNvPr>
                <p:cNvSpPr/>
                <p:nvPr/>
              </p:nvSpPr>
              <p:spPr bwMode="gray">
                <a:xfrm>
                  <a:off x="4633912" y="31742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7" name="Graphic 77">
                <a:extLst>
                  <a:ext uri="{FF2B5EF4-FFF2-40B4-BE49-F238E27FC236}">
                    <a16:creationId xmlns:a16="http://schemas.microsoft.com/office/drawing/2014/main" id="{0C7265B7-B9B2-C296-CF04-DB7648D382BE}"/>
                  </a:ext>
                </a:extLst>
              </p:cNvPr>
              <p:cNvGrpSpPr/>
              <p:nvPr/>
            </p:nvGrpSpPr>
            <p:grpSpPr bwMode="gray">
              <a:xfrm>
                <a:off x="4626006" y="3136392"/>
                <a:ext cx="75628" cy="75628"/>
                <a:chOff x="4626006" y="3136392"/>
                <a:chExt cx="75628" cy="75628"/>
              </a:xfrm>
            </p:grpSpPr>
            <p:sp>
              <p:nvSpPr>
                <p:cNvPr id="9869" name="Freeform: Shape 9868">
                  <a:extLst>
                    <a:ext uri="{FF2B5EF4-FFF2-40B4-BE49-F238E27FC236}">
                      <a16:creationId xmlns:a16="http://schemas.microsoft.com/office/drawing/2014/main" id="{2EF50648-741E-9AC9-9581-F1E3961B46CE}"/>
                    </a:ext>
                  </a:extLst>
                </p:cNvPr>
                <p:cNvSpPr/>
                <p:nvPr/>
              </p:nvSpPr>
              <p:spPr bwMode="gray">
                <a:xfrm>
                  <a:off x="4663821" y="3136392"/>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70" name="Freeform: Shape 9869">
                  <a:extLst>
                    <a:ext uri="{FF2B5EF4-FFF2-40B4-BE49-F238E27FC236}">
                      <a16:creationId xmlns:a16="http://schemas.microsoft.com/office/drawing/2014/main" id="{1351D091-D709-C639-BD2F-7E14AFADB9EC}"/>
                    </a:ext>
                  </a:extLst>
                </p:cNvPr>
                <p:cNvSpPr/>
                <p:nvPr/>
              </p:nvSpPr>
              <p:spPr bwMode="gray">
                <a:xfrm>
                  <a:off x="4626006" y="317420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8" name="Graphic 77">
                <a:extLst>
                  <a:ext uri="{FF2B5EF4-FFF2-40B4-BE49-F238E27FC236}">
                    <a16:creationId xmlns:a16="http://schemas.microsoft.com/office/drawing/2014/main" id="{A554C20D-9E04-A10D-5C39-80016E37AACC}"/>
                  </a:ext>
                </a:extLst>
              </p:cNvPr>
              <p:cNvGrpSpPr/>
              <p:nvPr/>
            </p:nvGrpSpPr>
            <p:grpSpPr bwMode="gray">
              <a:xfrm>
                <a:off x="4583430" y="3112293"/>
                <a:ext cx="75723" cy="75723"/>
                <a:chOff x="4583430" y="3112293"/>
                <a:chExt cx="75723" cy="75723"/>
              </a:xfrm>
            </p:grpSpPr>
            <p:sp>
              <p:nvSpPr>
                <p:cNvPr id="9867" name="Freeform: Shape 9866">
                  <a:extLst>
                    <a:ext uri="{FF2B5EF4-FFF2-40B4-BE49-F238E27FC236}">
                      <a16:creationId xmlns:a16="http://schemas.microsoft.com/office/drawing/2014/main" id="{9C4BAAD0-1465-AA10-C0F6-28213254265E}"/>
                    </a:ext>
                  </a:extLst>
                </p:cNvPr>
                <p:cNvSpPr/>
                <p:nvPr/>
              </p:nvSpPr>
              <p:spPr bwMode="gray">
                <a:xfrm>
                  <a:off x="4621244" y="311229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68" name="Freeform: Shape 9867">
                  <a:extLst>
                    <a:ext uri="{FF2B5EF4-FFF2-40B4-BE49-F238E27FC236}">
                      <a16:creationId xmlns:a16="http://schemas.microsoft.com/office/drawing/2014/main" id="{6130FF19-155A-F964-D3EA-236931BF039D}"/>
                    </a:ext>
                  </a:extLst>
                </p:cNvPr>
                <p:cNvSpPr/>
                <p:nvPr/>
              </p:nvSpPr>
              <p:spPr bwMode="gray">
                <a:xfrm>
                  <a:off x="4583430" y="315020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699" name="Graphic 77">
                <a:extLst>
                  <a:ext uri="{FF2B5EF4-FFF2-40B4-BE49-F238E27FC236}">
                    <a16:creationId xmlns:a16="http://schemas.microsoft.com/office/drawing/2014/main" id="{0F4DFDF4-E367-ECD1-7468-5DDCA5C3678B}"/>
                  </a:ext>
                </a:extLst>
              </p:cNvPr>
              <p:cNvGrpSpPr/>
              <p:nvPr/>
            </p:nvGrpSpPr>
            <p:grpSpPr bwMode="gray">
              <a:xfrm>
                <a:off x="4552759" y="3084385"/>
                <a:ext cx="75628" cy="75628"/>
                <a:chOff x="4552759" y="3084385"/>
                <a:chExt cx="75628" cy="75628"/>
              </a:xfrm>
            </p:grpSpPr>
            <p:sp>
              <p:nvSpPr>
                <p:cNvPr id="9865" name="Freeform: Shape 9864">
                  <a:extLst>
                    <a:ext uri="{FF2B5EF4-FFF2-40B4-BE49-F238E27FC236}">
                      <a16:creationId xmlns:a16="http://schemas.microsoft.com/office/drawing/2014/main" id="{10215428-5380-D59B-6C0B-B05867CAA45B}"/>
                    </a:ext>
                  </a:extLst>
                </p:cNvPr>
                <p:cNvSpPr/>
                <p:nvPr/>
              </p:nvSpPr>
              <p:spPr bwMode="gray">
                <a:xfrm>
                  <a:off x="4590573" y="308438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66" name="Freeform: Shape 9865">
                  <a:extLst>
                    <a:ext uri="{FF2B5EF4-FFF2-40B4-BE49-F238E27FC236}">
                      <a16:creationId xmlns:a16="http://schemas.microsoft.com/office/drawing/2014/main" id="{9208EBBE-5F86-D152-40CF-C1655C3AA33E}"/>
                    </a:ext>
                  </a:extLst>
                </p:cNvPr>
                <p:cNvSpPr/>
                <p:nvPr/>
              </p:nvSpPr>
              <p:spPr bwMode="gray">
                <a:xfrm>
                  <a:off x="4552759" y="3122199"/>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0" name="Graphic 77">
                <a:extLst>
                  <a:ext uri="{FF2B5EF4-FFF2-40B4-BE49-F238E27FC236}">
                    <a16:creationId xmlns:a16="http://schemas.microsoft.com/office/drawing/2014/main" id="{CB4B4E01-09A0-F7FB-F2CE-650808DE1D3D}"/>
                  </a:ext>
                </a:extLst>
              </p:cNvPr>
              <p:cNvGrpSpPr/>
              <p:nvPr/>
            </p:nvGrpSpPr>
            <p:grpSpPr bwMode="gray">
              <a:xfrm>
                <a:off x="4457223" y="3084385"/>
                <a:ext cx="75723" cy="75628"/>
                <a:chOff x="4457223" y="3084385"/>
                <a:chExt cx="75723" cy="75628"/>
              </a:xfrm>
            </p:grpSpPr>
            <p:sp>
              <p:nvSpPr>
                <p:cNvPr id="9863" name="Freeform: Shape 9862">
                  <a:extLst>
                    <a:ext uri="{FF2B5EF4-FFF2-40B4-BE49-F238E27FC236}">
                      <a16:creationId xmlns:a16="http://schemas.microsoft.com/office/drawing/2014/main" id="{04D7475D-361C-B7E8-F583-4E1DCB8C2B2A}"/>
                    </a:ext>
                  </a:extLst>
                </p:cNvPr>
                <p:cNvSpPr/>
                <p:nvPr/>
              </p:nvSpPr>
              <p:spPr bwMode="gray">
                <a:xfrm>
                  <a:off x="4495133" y="3084385"/>
                  <a:ext cx="9525" cy="75628"/>
                </a:xfrm>
                <a:custGeom>
                  <a:avLst/>
                  <a:gdLst>
                    <a:gd name="connsiteX0" fmla="*/ 0 w 9525"/>
                    <a:gd name="connsiteY0" fmla="*/ 0 h 75628"/>
                    <a:gd name="connsiteX1" fmla="*/ 0 w 9525"/>
                    <a:gd name="connsiteY1" fmla="*/ 75628 h 75628"/>
                  </a:gdLst>
                  <a:ahLst/>
                  <a:cxnLst>
                    <a:cxn ang="0">
                      <a:pos x="connsiteX0" y="connsiteY0"/>
                    </a:cxn>
                    <a:cxn ang="0">
                      <a:pos x="connsiteX1" y="connsiteY1"/>
                    </a:cxn>
                  </a:cxnLst>
                  <a:rect l="l" t="t" r="r" b="b"/>
                  <a:pathLst>
                    <a:path w="9525" h="75628">
                      <a:moveTo>
                        <a:pt x="0" y="0"/>
                      </a:moveTo>
                      <a:lnTo>
                        <a:pt x="0" y="75628"/>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64" name="Freeform: Shape 9863">
                  <a:extLst>
                    <a:ext uri="{FF2B5EF4-FFF2-40B4-BE49-F238E27FC236}">
                      <a16:creationId xmlns:a16="http://schemas.microsoft.com/office/drawing/2014/main" id="{AD0330C8-4696-CA6D-1641-7539AC4AA7D9}"/>
                    </a:ext>
                  </a:extLst>
                </p:cNvPr>
                <p:cNvSpPr/>
                <p:nvPr/>
              </p:nvSpPr>
              <p:spPr bwMode="gray">
                <a:xfrm>
                  <a:off x="4457223" y="3122199"/>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1" name="Graphic 77">
                <a:extLst>
                  <a:ext uri="{FF2B5EF4-FFF2-40B4-BE49-F238E27FC236}">
                    <a16:creationId xmlns:a16="http://schemas.microsoft.com/office/drawing/2014/main" id="{40113210-D176-0E74-BE55-41FA092E0FAB}"/>
                  </a:ext>
                </a:extLst>
              </p:cNvPr>
              <p:cNvGrpSpPr/>
              <p:nvPr/>
            </p:nvGrpSpPr>
            <p:grpSpPr bwMode="gray">
              <a:xfrm>
                <a:off x="4127087" y="3064478"/>
                <a:ext cx="75723" cy="75723"/>
                <a:chOff x="4127087" y="3064478"/>
                <a:chExt cx="75723" cy="75723"/>
              </a:xfrm>
            </p:grpSpPr>
            <p:sp>
              <p:nvSpPr>
                <p:cNvPr id="9861" name="Freeform: Shape 9860">
                  <a:extLst>
                    <a:ext uri="{FF2B5EF4-FFF2-40B4-BE49-F238E27FC236}">
                      <a16:creationId xmlns:a16="http://schemas.microsoft.com/office/drawing/2014/main" id="{DAE967B8-97A9-AD27-8A2A-7FBCD19C0514}"/>
                    </a:ext>
                  </a:extLst>
                </p:cNvPr>
                <p:cNvSpPr/>
                <p:nvPr/>
              </p:nvSpPr>
              <p:spPr bwMode="gray">
                <a:xfrm>
                  <a:off x="416499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62" name="Freeform: Shape 9861">
                  <a:extLst>
                    <a:ext uri="{FF2B5EF4-FFF2-40B4-BE49-F238E27FC236}">
                      <a16:creationId xmlns:a16="http://schemas.microsoft.com/office/drawing/2014/main" id="{85EFC4B6-E04E-76D0-AB73-F4875818357D}"/>
                    </a:ext>
                  </a:extLst>
                </p:cNvPr>
                <p:cNvSpPr/>
                <p:nvPr/>
              </p:nvSpPr>
              <p:spPr bwMode="gray">
                <a:xfrm>
                  <a:off x="4127087"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2" name="Graphic 77">
                <a:extLst>
                  <a:ext uri="{FF2B5EF4-FFF2-40B4-BE49-F238E27FC236}">
                    <a16:creationId xmlns:a16="http://schemas.microsoft.com/office/drawing/2014/main" id="{8E9A47B5-BD47-02AE-4BEC-6B036089DC1C}"/>
                  </a:ext>
                </a:extLst>
              </p:cNvPr>
              <p:cNvGrpSpPr/>
              <p:nvPr/>
            </p:nvGrpSpPr>
            <p:grpSpPr bwMode="gray">
              <a:xfrm>
                <a:off x="3540156" y="2810827"/>
                <a:ext cx="75628" cy="75628"/>
                <a:chOff x="3540156" y="2810827"/>
                <a:chExt cx="75628" cy="75628"/>
              </a:xfrm>
            </p:grpSpPr>
            <p:sp>
              <p:nvSpPr>
                <p:cNvPr id="9859" name="Freeform: Shape 9858">
                  <a:extLst>
                    <a:ext uri="{FF2B5EF4-FFF2-40B4-BE49-F238E27FC236}">
                      <a16:creationId xmlns:a16="http://schemas.microsoft.com/office/drawing/2014/main" id="{D53F0D5A-BA35-78FB-BF9A-2D6E8CE8B737}"/>
                    </a:ext>
                  </a:extLst>
                </p:cNvPr>
                <p:cNvSpPr/>
                <p:nvPr/>
              </p:nvSpPr>
              <p:spPr bwMode="gray">
                <a:xfrm>
                  <a:off x="3577971" y="28108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60" name="Freeform: Shape 9859">
                  <a:extLst>
                    <a:ext uri="{FF2B5EF4-FFF2-40B4-BE49-F238E27FC236}">
                      <a16:creationId xmlns:a16="http://schemas.microsoft.com/office/drawing/2014/main" id="{873FF378-9076-E5A3-D5F0-EF7365D06B27}"/>
                    </a:ext>
                  </a:extLst>
                </p:cNvPr>
                <p:cNvSpPr/>
                <p:nvPr/>
              </p:nvSpPr>
              <p:spPr bwMode="gray">
                <a:xfrm>
                  <a:off x="3540156" y="28486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3" name="Graphic 77">
                <a:extLst>
                  <a:ext uri="{FF2B5EF4-FFF2-40B4-BE49-F238E27FC236}">
                    <a16:creationId xmlns:a16="http://schemas.microsoft.com/office/drawing/2014/main" id="{68475454-2F8B-B560-BBED-2CD45708131F}"/>
                  </a:ext>
                </a:extLst>
              </p:cNvPr>
              <p:cNvGrpSpPr/>
              <p:nvPr/>
            </p:nvGrpSpPr>
            <p:grpSpPr bwMode="gray">
              <a:xfrm>
                <a:off x="4164996" y="3064478"/>
                <a:ext cx="75628" cy="75723"/>
                <a:chOff x="4164996" y="3064478"/>
                <a:chExt cx="75628" cy="75723"/>
              </a:xfrm>
            </p:grpSpPr>
            <p:sp>
              <p:nvSpPr>
                <p:cNvPr id="9857" name="Freeform: Shape 9856">
                  <a:extLst>
                    <a:ext uri="{FF2B5EF4-FFF2-40B4-BE49-F238E27FC236}">
                      <a16:creationId xmlns:a16="http://schemas.microsoft.com/office/drawing/2014/main" id="{74F08E45-FB7C-A133-E5D0-8F45C907D5B6}"/>
                    </a:ext>
                  </a:extLst>
                </p:cNvPr>
                <p:cNvSpPr/>
                <p:nvPr/>
              </p:nvSpPr>
              <p:spPr bwMode="gray">
                <a:xfrm>
                  <a:off x="4202811"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58" name="Freeform: Shape 9857">
                  <a:extLst>
                    <a:ext uri="{FF2B5EF4-FFF2-40B4-BE49-F238E27FC236}">
                      <a16:creationId xmlns:a16="http://schemas.microsoft.com/office/drawing/2014/main" id="{1E8B4314-1B09-19FE-ED19-685A5CE10D91}"/>
                    </a:ext>
                  </a:extLst>
                </p:cNvPr>
                <p:cNvSpPr/>
                <p:nvPr/>
              </p:nvSpPr>
              <p:spPr bwMode="gray">
                <a:xfrm>
                  <a:off x="4164996"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4" name="Graphic 77">
                <a:extLst>
                  <a:ext uri="{FF2B5EF4-FFF2-40B4-BE49-F238E27FC236}">
                    <a16:creationId xmlns:a16="http://schemas.microsoft.com/office/drawing/2014/main" id="{3197EC74-C958-63C3-8F1C-B00841ED330C}"/>
                  </a:ext>
                </a:extLst>
              </p:cNvPr>
              <p:cNvGrpSpPr/>
              <p:nvPr/>
            </p:nvGrpSpPr>
            <p:grpSpPr bwMode="gray">
              <a:xfrm>
                <a:off x="4180998" y="3064478"/>
                <a:ext cx="75723" cy="75723"/>
                <a:chOff x="4180998" y="3064478"/>
                <a:chExt cx="75723" cy="75723"/>
              </a:xfrm>
            </p:grpSpPr>
            <p:sp>
              <p:nvSpPr>
                <p:cNvPr id="9855" name="Freeform: Shape 9854">
                  <a:extLst>
                    <a:ext uri="{FF2B5EF4-FFF2-40B4-BE49-F238E27FC236}">
                      <a16:creationId xmlns:a16="http://schemas.microsoft.com/office/drawing/2014/main" id="{77BF43E2-D370-C31C-3807-35D4D0A92AD4}"/>
                    </a:ext>
                  </a:extLst>
                </p:cNvPr>
                <p:cNvSpPr/>
                <p:nvPr/>
              </p:nvSpPr>
              <p:spPr bwMode="gray">
                <a:xfrm>
                  <a:off x="4218813"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56" name="Freeform: Shape 9855">
                  <a:extLst>
                    <a:ext uri="{FF2B5EF4-FFF2-40B4-BE49-F238E27FC236}">
                      <a16:creationId xmlns:a16="http://schemas.microsoft.com/office/drawing/2014/main" id="{1EAD0016-4117-3E2E-C446-430C643076E2}"/>
                    </a:ext>
                  </a:extLst>
                </p:cNvPr>
                <p:cNvSpPr/>
                <p:nvPr/>
              </p:nvSpPr>
              <p:spPr bwMode="gray">
                <a:xfrm>
                  <a:off x="4180998"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5" name="Graphic 77">
                <a:extLst>
                  <a:ext uri="{FF2B5EF4-FFF2-40B4-BE49-F238E27FC236}">
                    <a16:creationId xmlns:a16="http://schemas.microsoft.com/office/drawing/2014/main" id="{8964D125-5404-6BB9-B427-86F3A25D7576}"/>
                  </a:ext>
                </a:extLst>
              </p:cNvPr>
              <p:cNvGrpSpPr/>
              <p:nvPr/>
            </p:nvGrpSpPr>
            <p:grpSpPr bwMode="gray">
              <a:xfrm>
                <a:off x="4213002" y="3064478"/>
                <a:ext cx="75723" cy="75723"/>
                <a:chOff x="4213002" y="3064478"/>
                <a:chExt cx="75723" cy="75723"/>
              </a:xfrm>
            </p:grpSpPr>
            <p:sp>
              <p:nvSpPr>
                <p:cNvPr id="9853" name="Freeform: Shape 9852">
                  <a:extLst>
                    <a:ext uri="{FF2B5EF4-FFF2-40B4-BE49-F238E27FC236}">
                      <a16:creationId xmlns:a16="http://schemas.microsoft.com/office/drawing/2014/main" id="{63F8D50C-CEFF-E310-3283-94DB6E3A142D}"/>
                    </a:ext>
                  </a:extLst>
                </p:cNvPr>
                <p:cNvSpPr/>
                <p:nvPr/>
              </p:nvSpPr>
              <p:spPr bwMode="gray">
                <a:xfrm>
                  <a:off x="4250912"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54" name="Freeform: Shape 9853">
                  <a:extLst>
                    <a:ext uri="{FF2B5EF4-FFF2-40B4-BE49-F238E27FC236}">
                      <a16:creationId xmlns:a16="http://schemas.microsoft.com/office/drawing/2014/main" id="{AEE0FB85-6D31-5CC6-0E32-E02E0AFD3262}"/>
                    </a:ext>
                  </a:extLst>
                </p:cNvPr>
                <p:cNvSpPr/>
                <p:nvPr/>
              </p:nvSpPr>
              <p:spPr bwMode="gray">
                <a:xfrm>
                  <a:off x="4213002"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6" name="Graphic 77">
                <a:extLst>
                  <a:ext uri="{FF2B5EF4-FFF2-40B4-BE49-F238E27FC236}">
                    <a16:creationId xmlns:a16="http://schemas.microsoft.com/office/drawing/2014/main" id="{C1E8AEBD-EA6D-8E7D-4C4C-F85C5B54F61F}"/>
                  </a:ext>
                </a:extLst>
              </p:cNvPr>
              <p:cNvGrpSpPr/>
              <p:nvPr/>
            </p:nvGrpSpPr>
            <p:grpSpPr bwMode="gray">
              <a:xfrm>
                <a:off x="4250912" y="3064478"/>
                <a:ext cx="75628" cy="75723"/>
                <a:chOff x="4250912" y="3064478"/>
                <a:chExt cx="75628" cy="75723"/>
              </a:xfrm>
            </p:grpSpPr>
            <p:sp>
              <p:nvSpPr>
                <p:cNvPr id="9851" name="Freeform: Shape 9850">
                  <a:extLst>
                    <a:ext uri="{FF2B5EF4-FFF2-40B4-BE49-F238E27FC236}">
                      <a16:creationId xmlns:a16="http://schemas.microsoft.com/office/drawing/2014/main" id="{27B0F719-1CC3-EB97-8FFD-E3A9CE668CFC}"/>
                    </a:ext>
                  </a:extLst>
                </p:cNvPr>
                <p:cNvSpPr/>
                <p:nvPr/>
              </p:nvSpPr>
              <p:spPr bwMode="gray">
                <a:xfrm>
                  <a:off x="428872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52" name="Freeform: Shape 9851">
                  <a:extLst>
                    <a:ext uri="{FF2B5EF4-FFF2-40B4-BE49-F238E27FC236}">
                      <a16:creationId xmlns:a16="http://schemas.microsoft.com/office/drawing/2014/main" id="{6470D20C-3AF1-9836-F5C5-03E6545C7488}"/>
                    </a:ext>
                  </a:extLst>
                </p:cNvPr>
                <p:cNvSpPr/>
                <p:nvPr/>
              </p:nvSpPr>
              <p:spPr bwMode="gray">
                <a:xfrm>
                  <a:off x="4250912"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7" name="Graphic 77">
                <a:extLst>
                  <a:ext uri="{FF2B5EF4-FFF2-40B4-BE49-F238E27FC236}">
                    <a16:creationId xmlns:a16="http://schemas.microsoft.com/office/drawing/2014/main" id="{2CFF7DEE-64A2-3394-B5F7-9389E81BB817}"/>
                  </a:ext>
                </a:extLst>
              </p:cNvPr>
              <p:cNvGrpSpPr/>
              <p:nvPr/>
            </p:nvGrpSpPr>
            <p:grpSpPr bwMode="gray">
              <a:xfrm>
                <a:off x="4294060" y="3064478"/>
                <a:ext cx="75628" cy="75723"/>
                <a:chOff x="4294060" y="3064478"/>
                <a:chExt cx="75628" cy="75723"/>
              </a:xfrm>
            </p:grpSpPr>
            <p:sp>
              <p:nvSpPr>
                <p:cNvPr id="9849" name="Freeform: Shape 9848">
                  <a:extLst>
                    <a:ext uri="{FF2B5EF4-FFF2-40B4-BE49-F238E27FC236}">
                      <a16:creationId xmlns:a16="http://schemas.microsoft.com/office/drawing/2014/main" id="{E7147D16-369B-4942-3D79-F9B83F11D4AF}"/>
                    </a:ext>
                  </a:extLst>
                </p:cNvPr>
                <p:cNvSpPr/>
                <p:nvPr/>
              </p:nvSpPr>
              <p:spPr bwMode="gray">
                <a:xfrm>
                  <a:off x="4331874"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50" name="Freeform: Shape 9849">
                  <a:extLst>
                    <a:ext uri="{FF2B5EF4-FFF2-40B4-BE49-F238E27FC236}">
                      <a16:creationId xmlns:a16="http://schemas.microsoft.com/office/drawing/2014/main" id="{93F2B22F-8556-6930-ED58-534A2AC940C3}"/>
                    </a:ext>
                  </a:extLst>
                </p:cNvPr>
                <p:cNvSpPr/>
                <p:nvPr/>
              </p:nvSpPr>
              <p:spPr bwMode="gray">
                <a:xfrm>
                  <a:off x="4294060"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8" name="Graphic 77">
                <a:extLst>
                  <a:ext uri="{FF2B5EF4-FFF2-40B4-BE49-F238E27FC236}">
                    <a16:creationId xmlns:a16="http://schemas.microsoft.com/office/drawing/2014/main" id="{910D0EA0-8855-2DC9-48E5-B03D408F4C61}"/>
                  </a:ext>
                </a:extLst>
              </p:cNvPr>
              <p:cNvGrpSpPr/>
              <p:nvPr/>
            </p:nvGrpSpPr>
            <p:grpSpPr bwMode="gray">
              <a:xfrm>
                <a:off x="4307586" y="3064478"/>
                <a:ext cx="75628" cy="75723"/>
                <a:chOff x="4307586" y="3064478"/>
                <a:chExt cx="75628" cy="75723"/>
              </a:xfrm>
            </p:grpSpPr>
            <p:sp>
              <p:nvSpPr>
                <p:cNvPr id="9847" name="Freeform: Shape 9846">
                  <a:extLst>
                    <a:ext uri="{FF2B5EF4-FFF2-40B4-BE49-F238E27FC236}">
                      <a16:creationId xmlns:a16="http://schemas.microsoft.com/office/drawing/2014/main" id="{AD9E6216-EDB9-EF52-AD6B-5B7826896AF7}"/>
                    </a:ext>
                  </a:extLst>
                </p:cNvPr>
                <p:cNvSpPr/>
                <p:nvPr/>
              </p:nvSpPr>
              <p:spPr bwMode="gray">
                <a:xfrm>
                  <a:off x="4345400"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48" name="Freeform: Shape 9847">
                  <a:extLst>
                    <a:ext uri="{FF2B5EF4-FFF2-40B4-BE49-F238E27FC236}">
                      <a16:creationId xmlns:a16="http://schemas.microsoft.com/office/drawing/2014/main" id="{DAB1937C-DDB6-9DAD-3120-AFD06617A24F}"/>
                    </a:ext>
                  </a:extLst>
                </p:cNvPr>
                <p:cNvSpPr/>
                <p:nvPr/>
              </p:nvSpPr>
              <p:spPr bwMode="gray">
                <a:xfrm>
                  <a:off x="4307586" y="3102387"/>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09" name="Graphic 77">
                <a:extLst>
                  <a:ext uri="{FF2B5EF4-FFF2-40B4-BE49-F238E27FC236}">
                    <a16:creationId xmlns:a16="http://schemas.microsoft.com/office/drawing/2014/main" id="{968C6FC8-11B5-601D-36F8-82FF26612B8F}"/>
                  </a:ext>
                </a:extLst>
              </p:cNvPr>
              <p:cNvGrpSpPr/>
              <p:nvPr/>
            </p:nvGrpSpPr>
            <p:grpSpPr bwMode="gray">
              <a:xfrm>
                <a:off x="4321111" y="3064478"/>
                <a:ext cx="75628" cy="75723"/>
                <a:chOff x="4321111" y="3064478"/>
                <a:chExt cx="75628" cy="75723"/>
              </a:xfrm>
            </p:grpSpPr>
            <p:sp>
              <p:nvSpPr>
                <p:cNvPr id="9845" name="Freeform: Shape 9844">
                  <a:extLst>
                    <a:ext uri="{FF2B5EF4-FFF2-40B4-BE49-F238E27FC236}">
                      <a16:creationId xmlns:a16="http://schemas.microsoft.com/office/drawing/2014/main" id="{A72519B7-B38F-1AFD-26E1-8A769B646E90}"/>
                    </a:ext>
                  </a:extLst>
                </p:cNvPr>
                <p:cNvSpPr/>
                <p:nvPr/>
              </p:nvSpPr>
              <p:spPr bwMode="gray">
                <a:xfrm>
                  <a:off x="4358925"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46" name="Freeform: Shape 9845">
                  <a:extLst>
                    <a:ext uri="{FF2B5EF4-FFF2-40B4-BE49-F238E27FC236}">
                      <a16:creationId xmlns:a16="http://schemas.microsoft.com/office/drawing/2014/main" id="{FF91BC96-7935-8D74-9E31-68884123D9A7}"/>
                    </a:ext>
                  </a:extLst>
                </p:cNvPr>
                <p:cNvSpPr/>
                <p:nvPr/>
              </p:nvSpPr>
              <p:spPr bwMode="gray">
                <a:xfrm>
                  <a:off x="4321111"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0" name="Graphic 77">
                <a:extLst>
                  <a:ext uri="{FF2B5EF4-FFF2-40B4-BE49-F238E27FC236}">
                    <a16:creationId xmlns:a16="http://schemas.microsoft.com/office/drawing/2014/main" id="{001119B2-43B8-982C-6D41-194CA6E3CD1D}"/>
                  </a:ext>
                </a:extLst>
              </p:cNvPr>
              <p:cNvGrpSpPr/>
              <p:nvPr/>
            </p:nvGrpSpPr>
            <p:grpSpPr bwMode="gray">
              <a:xfrm>
                <a:off x="4334637" y="3064478"/>
                <a:ext cx="75628" cy="75723"/>
                <a:chOff x="4334637" y="3064478"/>
                <a:chExt cx="75628" cy="75723"/>
              </a:xfrm>
            </p:grpSpPr>
            <p:sp>
              <p:nvSpPr>
                <p:cNvPr id="9843" name="Freeform: Shape 9842">
                  <a:extLst>
                    <a:ext uri="{FF2B5EF4-FFF2-40B4-BE49-F238E27FC236}">
                      <a16:creationId xmlns:a16="http://schemas.microsoft.com/office/drawing/2014/main" id="{B689201E-5457-03B9-B52E-9180600344DF}"/>
                    </a:ext>
                  </a:extLst>
                </p:cNvPr>
                <p:cNvSpPr/>
                <p:nvPr/>
              </p:nvSpPr>
              <p:spPr bwMode="gray">
                <a:xfrm>
                  <a:off x="4372451"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44" name="Freeform: Shape 9843">
                  <a:extLst>
                    <a:ext uri="{FF2B5EF4-FFF2-40B4-BE49-F238E27FC236}">
                      <a16:creationId xmlns:a16="http://schemas.microsoft.com/office/drawing/2014/main" id="{D4AC77D6-3A3A-81BB-DD24-482C973CEBA9}"/>
                    </a:ext>
                  </a:extLst>
                </p:cNvPr>
                <p:cNvSpPr/>
                <p:nvPr/>
              </p:nvSpPr>
              <p:spPr bwMode="gray">
                <a:xfrm>
                  <a:off x="4334637"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1" name="Graphic 77">
                <a:extLst>
                  <a:ext uri="{FF2B5EF4-FFF2-40B4-BE49-F238E27FC236}">
                    <a16:creationId xmlns:a16="http://schemas.microsoft.com/office/drawing/2014/main" id="{482A4DAE-0BDF-C597-AA7A-2E88A9DD0E0A}"/>
                  </a:ext>
                </a:extLst>
              </p:cNvPr>
              <p:cNvGrpSpPr/>
              <p:nvPr/>
            </p:nvGrpSpPr>
            <p:grpSpPr bwMode="gray">
              <a:xfrm>
                <a:off x="4348162" y="3064478"/>
                <a:ext cx="75628" cy="75723"/>
                <a:chOff x="4348162" y="3064478"/>
                <a:chExt cx="75628" cy="75723"/>
              </a:xfrm>
            </p:grpSpPr>
            <p:sp>
              <p:nvSpPr>
                <p:cNvPr id="9841" name="Freeform: Shape 9840">
                  <a:extLst>
                    <a:ext uri="{FF2B5EF4-FFF2-40B4-BE49-F238E27FC236}">
                      <a16:creationId xmlns:a16="http://schemas.microsoft.com/office/drawing/2014/main" id="{113E3C82-73C3-9507-8D1E-39EAE10D13BB}"/>
                    </a:ext>
                  </a:extLst>
                </p:cNvPr>
                <p:cNvSpPr/>
                <p:nvPr/>
              </p:nvSpPr>
              <p:spPr bwMode="gray">
                <a:xfrm>
                  <a:off x="4385976"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42" name="Freeform: Shape 9841">
                  <a:extLst>
                    <a:ext uri="{FF2B5EF4-FFF2-40B4-BE49-F238E27FC236}">
                      <a16:creationId xmlns:a16="http://schemas.microsoft.com/office/drawing/2014/main" id="{9B916F3D-14FC-1471-A256-A595A6C9401F}"/>
                    </a:ext>
                  </a:extLst>
                </p:cNvPr>
                <p:cNvSpPr/>
                <p:nvPr/>
              </p:nvSpPr>
              <p:spPr bwMode="gray">
                <a:xfrm>
                  <a:off x="4348162" y="3102387"/>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2" name="Graphic 77">
                <a:extLst>
                  <a:ext uri="{FF2B5EF4-FFF2-40B4-BE49-F238E27FC236}">
                    <a16:creationId xmlns:a16="http://schemas.microsoft.com/office/drawing/2014/main" id="{3CBAD7C3-4488-4658-3B4D-470738FF6551}"/>
                  </a:ext>
                </a:extLst>
              </p:cNvPr>
              <p:cNvGrpSpPr/>
              <p:nvPr/>
            </p:nvGrpSpPr>
            <p:grpSpPr bwMode="gray">
              <a:xfrm>
                <a:off x="4197000" y="3064478"/>
                <a:ext cx="75723" cy="75723"/>
                <a:chOff x="4197000" y="3064478"/>
                <a:chExt cx="75723" cy="75723"/>
              </a:xfrm>
            </p:grpSpPr>
            <p:sp>
              <p:nvSpPr>
                <p:cNvPr id="9839" name="Freeform: Shape 9838">
                  <a:extLst>
                    <a:ext uri="{FF2B5EF4-FFF2-40B4-BE49-F238E27FC236}">
                      <a16:creationId xmlns:a16="http://schemas.microsoft.com/office/drawing/2014/main" id="{8319F725-E98C-41C6-10B1-DE02F3241BC4}"/>
                    </a:ext>
                  </a:extLst>
                </p:cNvPr>
                <p:cNvSpPr/>
                <p:nvPr/>
              </p:nvSpPr>
              <p:spPr bwMode="gray">
                <a:xfrm>
                  <a:off x="4234910" y="306447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40" name="Freeform: Shape 9839">
                  <a:extLst>
                    <a:ext uri="{FF2B5EF4-FFF2-40B4-BE49-F238E27FC236}">
                      <a16:creationId xmlns:a16="http://schemas.microsoft.com/office/drawing/2014/main" id="{D0834E52-4338-3E8C-EA72-A65E655AB2EB}"/>
                    </a:ext>
                  </a:extLst>
                </p:cNvPr>
                <p:cNvSpPr/>
                <p:nvPr/>
              </p:nvSpPr>
              <p:spPr bwMode="gray">
                <a:xfrm>
                  <a:off x="4197000" y="3102387"/>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3" name="Graphic 77">
                <a:extLst>
                  <a:ext uri="{FF2B5EF4-FFF2-40B4-BE49-F238E27FC236}">
                    <a16:creationId xmlns:a16="http://schemas.microsoft.com/office/drawing/2014/main" id="{6CE6A9F1-8BDC-F96B-C65C-4423FA055577}"/>
                  </a:ext>
                </a:extLst>
              </p:cNvPr>
              <p:cNvGrpSpPr/>
              <p:nvPr/>
            </p:nvGrpSpPr>
            <p:grpSpPr bwMode="gray">
              <a:xfrm>
                <a:off x="4094321" y="3040475"/>
                <a:ext cx="75628" cy="75723"/>
                <a:chOff x="4094321" y="3040475"/>
                <a:chExt cx="75628" cy="75723"/>
              </a:xfrm>
            </p:grpSpPr>
            <p:sp>
              <p:nvSpPr>
                <p:cNvPr id="9837" name="Freeform: Shape 9836">
                  <a:extLst>
                    <a:ext uri="{FF2B5EF4-FFF2-40B4-BE49-F238E27FC236}">
                      <a16:creationId xmlns:a16="http://schemas.microsoft.com/office/drawing/2014/main" id="{0BC03173-9FA4-2ABE-027F-5E4869723FFB}"/>
                    </a:ext>
                  </a:extLst>
                </p:cNvPr>
                <p:cNvSpPr/>
                <p:nvPr/>
              </p:nvSpPr>
              <p:spPr bwMode="gray">
                <a:xfrm>
                  <a:off x="4132135" y="304047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38" name="Freeform: Shape 9837">
                  <a:extLst>
                    <a:ext uri="{FF2B5EF4-FFF2-40B4-BE49-F238E27FC236}">
                      <a16:creationId xmlns:a16="http://schemas.microsoft.com/office/drawing/2014/main" id="{724B667D-F525-C1B5-9491-A98B83DF190A}"/>
                    </a:ext>
                  </a:extLst>
                </p:cNvPr>
                <p:cNvSpPr/>
                <p:nvPr/>
              </p:nvSpPr>
              <p:spPr bwMode="gray">
                <a:xfrm>
                  <a:off x="4094321" y="3078384"/>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4" name="Graphic 77">
                <a:extLst>
                  <a:ext uri="{FF2B5EF4-FFF2-40B4-BE49-F238E27FC236}">
                    <a16:creationId xmlns:a16="http://schemas.microsoft.com/office/drawing/2014/main" id="{6A4100CD-D039-7A18-2C58-41B8D75F0F7F}"/>
                  </a:ext>
                </a:extLst>
              </p:cNvPr>
              <p:cNvGrpSpPr/>
              <p:nvPr/>
            </p:nvGrpSpPr>
            <p:grpSpPr bwMode="gray">
              <a:xfrm>
                <a:off x="5057203" y="3266027"/>
                <a:ext cx="75628" cy="75628"/>
                <a:chOff x="5057203" y="3266027"/>
                <a:chExt cx="75628" cy="75628"/>
              </a:xfrm>
            </p:grpSpPr>
            <p:sp>
              <p:nvSpPr>
                <p:cNvPr id="9835" name="Freeform: Shape 9834">
                  <a:extLst>
                    <a:ext uri="{FF2B5EF4-FFF2-40B4-BE49-F238E27FC236}">
                      <a16:creationId xmlns:a16="http://schemas.microsoft.com/office/drawing/2014/main" id="{A7E0F5FB-FA6B-D924-0454-3AFBDEBA5800}"/>
                    </a:ext>
                  </a:extLst>
                </p:cNvPr>
                <p:cNvSpPr/>
                <p:nvPr/>
              </p:nvSpPr>
              <p:spPr bwMode="gray">
                <a:xfrm>
                  <a:off x="5095017"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36" name="Freeform: Shape 9835">
                  <a:extLst>
                    <a:ext uri="{FF2B5EF4-FFF2-40B4-BE49-F238E27FC236}">
                      <a16:creationId xmlns:a16="http://schemas.microsoft.com/office/drawing/2014/main" id="{8C64AE10-4CED-A2F9-E988-637D7B7D9CE3}"/>
                    </a:ext>
                  </a:extLst>
                </p:cNvPr>
                <p:cNvSpPr/>
                <p:nvPr/>
              </p:nvSpPr>
              <p:spPr bwMode="gray">
                <a:xfrm>
                  <a:off x="5057203" y="3303841"/>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5" name="Graphic 77">
                <a:extLst>
                  <a:ext uri="{FF2B5EF4-FFF2-40B4-BE49-F238E27FC236}">
                    <a16:creationId xmlns:a16="http://schemas.microsoft.com/office/drawing/2014/main" id="{81EAFC6A-1FAA-A547-464A-551FCA2C09CF}"/>
                  </a:ext>
                </a:extLst>
              </p:cNvPr>
              <p:cNvGrpSpPr/>
              <p:nvPr/>
            </p:nvGrpSpPr>
            <p:grpSpPr bwMode="gray">
              <a:xfrm>
                <a:off x="5115687" y="3266027"/>
                <a:ext cx="75723" cy="75628"/>
                <a:chOff x="5115687" y="3266027"/>
                <a:chExt cx="75723" cy="75628"/>
              </a:xfrm>
            </p:grpSpPr>
            <p:sp>
              <p:nvSpPr>
                <p:cNvPr id="9833" name="Freeform: Shape 9832">
                  <a:extLst>
                    <a:ext uri="{FF2B5EF4-FFF2-40B4-BE49-F238E27FC236}">
                      <a16:creationId xmlns:a16="http://schemas.microsoft.com/office/drawing/2014/main" id="{2C1FC66A-4D3F-4B22-F57C-52BF3CFE6474}"/>
                    </a:ext>
                  </a:extLst>
                </p:cNvPr>
                <p:cNvSpPr/>
                <p:nvPr/>
              </p:nvSpPr>
              <p:spPr bwMode="gray">
                <a:xfrm>
                  <a:off x="5153501" y="3266027"/>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34" name="Freeform: Shape 9833">
                  <a:extLst>
                    <a:ext uri="{FF2B5EF4-FFF2-40B4-BE49-F238E27FC236}">
                      <a16:creationId xmlns:a16="http://schemas.microsoft.com/office/drawing/2014/main" id="{D0DB5AC7-6A99-EC42-E24F-48B7F8F43E51}"/>
                    </a:ext>
                  </a:extLst>
                </p:cNvPr>
                <p:cNvSpPr/>
                <p:nvPr/>
              </p:nvSpPr>
              <p:spPr bwMode="gray">
                <a:xfrm>
                  <a:off x="5115687" y="330384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6" name="Graphic 77">
                <a:extLst>
                  <a:ext uri="{FF2B5EF4-FFF2-40B4-BE49-F238E27FC236}">
                    <a16:creationId xmlns:a16="http://schemas.microsoft.com/office/drawing/2014/main" id="{78CB439B-7FEF-D6FF-C16F-39ABEB86830F}"/>
                  </a:ext>
                </a:extLst>
              </p:cNvPr>
              <p:cNvGrpSpPr/>
              <p:nvPr/>
            </p:nvGrpSpPr>
            <p:grpSpPr bwMode="gray">
              <a:xfrm>
                <a:off x="5145500" y="3291173"/>
                <a:ext cx="75723" cy="75723"/>
                <a:chOff x="5145500" y="3291173"/>
                <a:chExt cx="75723" cy="75723"/>
              </a:xfrm>
            </p:grpSpPr>
            <p:sp>
              <p:nvSpPr>
                <p:cNvPr id="9831" name="Freeform: Shape 9830">
                  <a:extLst>
                    <a:ext uri="{FF2B5EF4-FFF2-40B4-BE49-F238E27FC236}">
                      <a16:creationId xmlns:a16="http://schemas.microsoft.com/office/drawing/2014/main" id="{23C72A83-8FBB-D740-0A24-F94D5672C19C}"/>
                    </a:ext>
                  </a:extLst>
                </p:cNvPr>
                <p:cNvSpPr/>
                <p:nvPr/>
              </p:nvSpPr>
              <p:spPr bwMode="gray">
                <a:xfrm>
                  <a:off x="5183314"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32" name="Freeform: Shape 9831">
                  <a:extLst>
                    <a:ext uri="{FF2B5EF4-FFF2-40B4-BE49-F238E27FC236}">
                      <a16:creationId xmlns:a16="http://schemas.microsoft.com/office/drawing/2014/main" id="{9DE72E87-72B8-1E45-5662-E3C161C3CB1D}"/>
                    </a:ext>
                  </a:extLst>
                </p:cNvPr>
                <p:cNvSpPr/>
                <p:nvPr/>
              </p:nvSpPr>
              <p:spPr bwMode="gray">
                <a:xfrm>
                  <a:off x="5145500"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7" name="Graphic 77">
                <a:extLst>
                  <a:ext uri="{FF2B5EF4-FFF2-40B4-BE49-F238E27FC236}">
                    <a16:creationId xmlns:a16="http://schemas.microsoft.com/office/drawing/2014/main" id="{1FFCDB63-1064-4DC5-8FA9-02EC98B90F57}"/>
                  </a:ext>
                </a:extLst>
              </p:cNvPr>
              <p:cNvGrpSpPr/>
              <p:nvPr/>
            </p:nvGrpSpPr>
            <p:grpSpPr bwMode="gray">
              <a:xfrm>
                <a:off x="5158073" y="3291173"/>
                <a:ext cx="75723" cy="75723"/>
                <a:chOff x="5158073" y="3291173"/>
                <a:chExt cx="75723" cy="75723"/>
              </a:xfrm>
            </p:grpSpPr>
            <p:sp>
              <p:nvSpPr>
                <p:cNvPr id="9829" name="Freeform: Shape 9828">
                  <a:extLst>
                    <a:ext uri="{FF2B5EF4-FFF2-40B4-BE49-F238E27FC236}">
                      <a16:creationId xmlns:a16="http://schemas.microsoft.com/office/drawing/2014/main" id="{C1CC75D3-25B9-54D1-1295-82D1BC621691}"/>
                    </a:ext>
                  </a:extLst>
                </p:cNvPr>
                <p:cNvSpPr/>
                <p:nvPr/>
              </p:nvSpPr>
              <p:spPr bwMode="gray">
                <a:xfrm>
                  <a:off x="5195982" y="3291173"/>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30" name="Freeform: Shape 9829">
                  <a:extLst>
                    <a:ext uri="{FF2B5EF4-FFF2-40B4-BE49-F238E27FC236}">
                      <a16:creationId xmlns:a16="http://schemas.microsoft.com/office/drawing/2014/main" id="{559D73F1-B72A-09E3-47CC-8E1276825A64}"/>
                    </a:ext>
                  </a:extLst>
                </p:cNvPr>
                <p:cNvSpPr/>
                <p:nvPr/>
              </p:nvSpPr>
              <p:spPr bwMode="gray">
                <a:xfrm>
                  <a:off x="5158073" y="332908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8" name="Graphic 77">
                <a:extLst>
                  <a:ext uri="{FF2B5EF4-FFF2-40B4-BE49-F238E27FC236}">
                    <a16:creationId xmlns:a16="http://schemas.microsoft.com/office/drawing/2014/main" id="{ADE16C00-4B01-33C2-E208-01AE6C10BC64}"/>
                  </a:ext>
                </a:extLst>
              </p:cNvPr>
              <p:cNvGrpSpPr/>
              <p:nvPr/>
            </p:nvGrpSpPr>
            <p:grpSpPr bwMode="gray">
              <a:xfrm>
                <a:off x="5257800" y="3316795"/>
                <a:ext cx="75723" cy="75723"/>
                <a:chOff x="5257800" y="3316795"/>
                <a:chExt cx="75723" cy="75723"/>
              </a:xfrm>
            </p:grpSpPr>
            <p:sp>
              <p:nvSpPr>
                <p:cNvPr id="9827" name="Freeform: Shape 9826">
                  <a:extLst>
                    <a:ext uri="{FF2B5EF4-FFF2-40B4-BE49-F238E27FC236}">
                      <a16:creationId xmlns:a16="http://schemas.microsoft.com/office/drawing/2014/main" id="{95535F3E-D728-E1AD-94E8-2958108F6F83}"/>
                    </a:ext>
                  </a:extLst>
                </p:cNvPr>
                <p:cNvSpPr/>
                <p:nvPr/>
              </p:nvSpPr>
              <p:spPr bwMode="gray">
                <a:xfrm>
                  <a:off x="5295709" y="3316795"/>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28" name="Freeform: Shape 9827">
                  <a:extLst>
                    <a:ext uri="{FF2B5EF4-FFF2-40B4-BE49-F238E27FC236}">
                      <a16:creationId xmlns:a16="http://schemas.microsoft.com/office/drawing/2014/main" id="{AE2D6834-4C4F-6A78-F8E3-0E60D6FAA215}"/>
                    </a:ext>
                  </a:extLst>
                </p:cNvPr>
                <p:cNvSpPr/>
                <p:nvPr/>
              </p:nvSpPr>
              <p:spPr bwMode="gray">
                <a:xfrm>
                  <a:off x="5257800" y="3354705"/>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19" name="Graphic 77">
                <a:extLst>
                  <a:ext uri="{FF2B5EF4-FFF2-40B4-BE49-F238E27FC236}">
                    <a16:creationId xmlns:a16="http://schemas.microsoft.com/office/drawing/2014/main" id="{B45F73C8-52D3-B92F-0D1E-4ED8D244CCA0}"/>
                  </a:ext>
                </a:extLst>
              </p:cNvPr>
              <p:cNvGrpSpPr/>
              <p:nvPr/>
            </p:nvGrpSpPr>
            <p:grpSpPr bwMode="gray">
              <a:xfrm>
                <a:off x="5287422" y="3351752"/>
                <a:ext cx="75723" cy="75723"/>
                <a:chOff x="5287422" y="3351752"/>
                <a:chExt cx="75723" cy="75723"/>
              </a:xfrm>
            </p:grpSpPr>
            <p:sp>
              <p:nvSpPr>
                <p:cNvPr id="9825" name="Freeform: Shape 9824">
                  <a:extLst>
                    <a:ext uri="{FF2B5EF4-FFF2-40B4-BE49-F238E27FC236}">
                      <a16:creationId xmlns:a16="http://schemas.microsoft.com/office/drawing/2014/main" id="{59A1E5A2-EF90-E97C-D240-0DEFC1D6FBC0}"/>
                    </a:ext>
                  </a:extLst>
                </p:cNvPr>
                <p:cNvSpPr/>
                <p:nvPr/>
              </p:nvSpPr>
              <p:spPr bwMode="gray">
                <a:xfrm>
                  <a:off x="5325332" y="3351752"/>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26" name="Freeform: Shape 9825">
                  <a:extLst>
                    <a:ext uri="{FF2B5EF4-FFF2-40B4-BE49-F238E27FC236}">
                      <a16:creationId xmlns:a16="http://schemas.microsoft.com/office/drawing/2014/main" id="{D480FC63-2CEB-D533-672B-110697D23927}"/>
                    </a:ext>
                  </a:extLst>
                </p:cNvPr>
                <p:cNvSpPr/>
                <p:nvPr/>
              </p:nvSpPr>
              <p:spPr bwMode="gray">
                <a:xfrm>
                  <a:off x="5287422" y="3389661"/>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0" name="Graphic 77">
                <a:extLst>
                  <a:ext uri="{FF2B5EF4-FFF2-40B4-BE49-F238E27FC236}">
                    <a16:creationId xmlns:a16="http://schemas.microsoft.com/office/drawing/2014/main" id="{4E125257-BFBC-DF44-DAC3-BDE571E8E23A}"/>
                  </a:ext>
                </a:extLst>
              </p:cNvPr>
              <p:cNvGrpSpPr/>
              <p:nvPr/>
            </p:nvGrpSpPr>
            <p:grpSpPr bwMode="gray">
              <a:xfrm>
                <a:off x="5440203" y="3384327"/>
                <a:ext cx="75723" cy="75723"/>
                <a:chOff x="5440203" y="3384327"/>
                <a:chExt cx="75723" cy="75723"/>
              </a:xfrm>
            </p:grpSpPr>
            <p:sp>
              <p:nvSpPr>
                <p:cNvPr id="9823" name="Freeform: Shape 9822">
                  <a:extLst>
                    <a:ext uri="{FF2B5EF4-FFF2-40B4-BE49-F238E27FC236}">
                      <a16:creationId xmlns:a16="http://schemas.microsoft.com/office/drawing/2014/main" id="{89EBC45B-11CD-4248-A088-5BB297282838}"/>
                    </a:ext>
                  </a:extLst>
                </p:cNvPr>
                <p:cNvSpPr/>
                <p:nvPr/>
              </p:nvSpPr>
              <p:spPr bwMode="gray">
                <a:xfrm>
                  <a:off x="5478113"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24" name="Freeform: Shape 9823">
                  <a:extLst>
                    <a:ext uri="{FF2B5EF4-FFF2-40B4-BE49-F238E27FC236}">
                      <a16:creationId xmlns:a16="http://schemas.microsoft.com/office/drawing/2014/main" id="{88FAC8D7-25AA-32D6-8B47-800DFBB5C5F9}"/>
                    </a:ext>
                  </a:extLst>
                </p:cNvPr>
                <p:cNvSpPr/>
                <p:nvPr/>
              </p:nvSpPr>
              <p:spPr bwMode="gray">
                <a:xfrm>
                  <a:off x="5440203"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1" name="Graphic 77">
                <a:extLst>
                  <a:ext uri="{FF2B5EF4-FFF2-40B4-BE49-F238E27FC236}">
                    <a16:creationId xmlns:a16="http://schemas.microsoft.com/office/drawing/2014/main" id="{F5BC487C-E14F-A910-F2B8-C85BA8504BE9}"/>
                  </a:ext>
                </a:extLst>
              </p:cNvPr>
              <p:cNvGrpSpPr/>
              <p:nvPr/>
            </p:nvGrpSpPr>
            <p:grpSpPr bwMode="gray">
              <a:xfrm>
                <a:off x="5505735" y="3384327"/>
                <a:ext cx="75723" cy="75723"/>
                <a:chOff x="5505735" y="3384327"/>
                <a:chExt cx="75723" cy="75723"/>
              </a:xfrm>
            </p:grpSpPr>
            <p:sp>
              <p:nvSpPr>
                <p:cNvPr id="9821" name="Freeform: Shape 9820">
                  <a:extLst>
                    <a:ext uri="{FF2B5EF4-FFF2-40B4-BE49-F238E27FC236}">
                      <a16:creationId xmlns:a16="http://schemas.microsoft.com/office/drawing/2014/main" id="{EBDF4C27-8E2B-7D4E-95EC-C48A53A83819}"/>
                    </a:ext>
                  </a:extLst>
                </p:cNvPr>
                <p:cNvSpPr/>
                <p:nvPr/>
              </p:nvSpPr>
              <p:spPr bwMode="gray">
                <a:xfrm>
                  <a:off x="5543550"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22" name="Freeform: Shape 9821">
                  <a:extLst>
                    <a:ext uri="{FF2B5EF4-FFF2-40B4-BE49-F238E27FC236}">
                      <a16:creationId xmlns:a16="http://schemas.microsoft.com/office/drawing/2014/main" id="{003E9189-720C-BADA-50AF-B61A6CB73774}"/>
                    </a:ext>
                  </a:extLst>
                </p:cNvPr>
                <p:cNvSpPr/>
                <p:nvPr/>
              </p:nvSpPr>
              <p:spPr bwMode="gray">
                <a:xfrm>
                  <a:off x="5505735"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2" name="Graphic 77">
                <a:extLst>
                  <a:ext uri="{FF2B5EF4-FFF2-40B4-BE49-F238E27FC236}">
                    <a16:creationId xmlns:a16="http://schemas.microsoft.com/office/drawing/2014/main" id="{0D1E5DC4-19C9-2D6A-A8FB-4BD68A80857E}"/>
                  </a:ext>
                </a:extLst>
              </p:cNvPr>
              <p:cNvGrpSpPr/>
              <p:nvPr/>
            </p:nvGrpSpPr>
            <p:grpSpPr bwMode="gray">
              <a:xfrm>
                <a:off x="5494496" y="3384327"/>
                <a:ext cx="75723" cy="75723"/>
                <a:chOff x="5494496" y="3384327"/>
                <a:chExt cx="75723" cy="75723"/>
              </a:xfrm>
            </p:grpSpPr>
            <p:sp>
              <p:nvSpPr>
                <p:cNvPr id="9819" name="Freeform: Shape 9818">
                  <a:extLst>
                    <a:ext uri="{FF2B5EF4-FFF2-40B4-BE49-F238E27FC236}">
                      <a16:creationId xmlns:a16="http://schemas.microsoft.com/office/drawing/2014/main" id="{C8763A12-21EA-7566-2025-025D784A654C}"/>
                    </a:ext>
                  </a:extLst>
                </p:cNvPr>
                <p:cNvSpPr/>
                <p:nvPr/>
              </p:nvSpPr>
              <p:spPr bwMode="gray">
                <a:xfrm>
                  <a:off x="5532310"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20" name="Freeform: Shape 9819">
                  <a:extLst>
                    <a:ext uri="{FF2B5EF4-FFF2-40B4-BE49-F238E27FC236}">
                      <a16:creationId xmlns:a16="http://schemas.microsoft.com/office/drawing/2014/main" id="{8FDAF4C1-DAC3-4D09-5CF5-BA671170B0DB}"/>
                    </a:ext>
                  </a:extLst>
                </p:cNvPr>
                <p:cNvSpPr/>
                <p:nvPr/>
              </p:nvSpPr>
              <p:spPr bwMode="gray">
                <a:xfrm>
                  <a:off x="5494496"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3" name="Graphic 77">
                <a:extLst>
                  <a:ext uri="{FF2B5EF4-FFF2-40B4-BE49-F238E27FC236}">
                    <a16:creationId xmlns:a16="http://schemas.microsoft.com/office/drawing/2014/main" id="{3EC70090-777D-35C7-7CE8-2EA9292C8928}"/>
                  </a:ext>
                </a:extLst>
              </p:cNvPr>
              <p:cNvGrpSpPr/>
              <p:nvPr/>
            </p:nvGrpSpPr>
            <p:grpSpPr bwMode="gray">
              <a:xfrm>
                <a:off x="5472017" y="3384327"/>
                <a:ext cx="75723" cy="75723"/>
                <a:chOff x="5472017" y="3384327"/>
                <a:chExt cx="75723" cy="75723"/>
              </a:xfrm>
            </p:grpSpPr>
            <p:sp>
              <p:nvSpPr>
                <p:cNvPr id="9817" name="Freeform: Shape 9816">
                  <a:extLst>
                    <a:ext uri="{FF2B5EF4-FFF2-40B4-BE49-F238E27FC236}">
                      <a16:creationId xmlns:a16="http://schemas.microsoft.com/office/drawing/2014/main" id="{D5E442FC-8E59-78C7-514D-92E54CC041E1}"/>
                    </a:ext>
                  </a:extLst>
                </p:cNvPr>
                <p:cNvSpPr/>
                <p:nvPr/>
              </p:nvSpPr>
              <p:spPr bwMode="gray">
                <a:xfrm>
                  <a:off x="5509831"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18" name="Freeform: Shape 9817">
                  <a:extLst>
                    <a:ext uri="{FF2B5EF4-FFF2-40B4-BE49-F238E27FC236}">
                      <a16:creationId xmlns:a16="http://schemas.microsoft.com/office/drawing/2014/main" id="{5DEFE517-B290-E180-A881-BC110915CD4D}"/>
                    </a:ext>
                  </a:extLst>
                </p:cNvPr>
                <p:cNvSpPr/>
                <p:nvPr/>
              </p:nvSpPr>
              <p:spPr bwMode="gray">
                <a:xfrm>
                  <a:off x="5472017"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4" name="Graphic 77">
                <a:extLst>
                  <a:ext uri="{FF2B5EF4-FFF2-40B4-BE49-F238E27FC236}">
                    <a16:creationId xmlns:a16="http://schemas.microsoft.com/office/drawing/2014/main" id="{1BBCC740-A718-714D-26DB-7BC070AC1838}"/>
                  </a:ext>
                </a:extLst>
              </p:cNvPr>
              <p:cNvGrpSpPr/>
              <p:nvPr/>
            </p:nvGrpSpPr>
            <p:grpSpPr bwMode="gray">
              <a:xfrm>
                <a:off x="5483256" y="3384327"/>
                <a:ext cx="75723" cy="75723"/>
                <a:chOff x="5483256" y="3384327"/>
                <a:chExt cx="75723" cy="75723"/>
              </a:xfrm>
            </p:grpSpPr>
            <p:sp>
              <p:nvSpPr>
                <p:cNvPr id="9815" name="Freeform: Shape 9814">
                  <a:extLst>
                    <a:ext uri="{FF2B5EF4-FFF2-40B4-BE49-F238E27FC236}">
                      <a16:creationId xmlns:a16="http://schemas.microsoft.com/office/drawing/2014/main" id="{E1527657-ADB5-ABAA-38AF-2C313BAF4C06}"/>
                    </a:ext>
                  </a:extLst>
                </p:cNvPr>
                <p:cNvSpPr/>
                <p:nvPr/>
              </p:nvSpPr>
              <p:spPr bwMode="gray">
                <a:xfrm>
                  <a:off x="5521071" y="338432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16" name="Freeform: Shape 9815">
                  <a:extLst>
                    <a:ext uri="{FF2B5EF4-FFF2-40B4-BE49-F238E27FC236}">
                      <a16:creationId xmlns:a16="http://schemas.microsoft.com/office/drawing/2014/main" id="{3A4D3AC3-61DA-A441-15EC-FA22F702FFEE}"/>
                    </a:ext>
                  </a:extLst>
                </p:cNvPr>
                <p:cNvSpPr/>
                <p:nvPr/>
              </p:nvSpPr>
              <p:spPr bwMode="gray">
                <a:xfrm>
                  <a:off x="5483256" y="342214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5" name="Graphic 77">
                <a:extLst>
                  <a:ext uri="{FF2B5EF4-FFF2-40B4-BE49-F238E27FC236}">
                    <a16:creationId xmlns:a16="http://schemas.microsoft.com/office/drawing/2014/main" id="{94AA2B94-370D-3AF4-844F-B0AAAC6DA734}"/>
                  </a:ext>
                </a:extLst>
              </p:cNvPr>
              <p:cNvGrpSpPr/>
              <p:nvPr/>
            </p:nvGrpSpPr>
            <p:grpSpPr bwMode="gray">
              <a:xfrm>
                <a:off x="5555837" y="3446716"/>
                <a:ext cx="75723" cy="75723"/>
                <a:chOff x="5555837" y="3446716"/>
                <a:chExt cx="75723" cy="75723"/>
              </a:xfrm>
            </p:grpSpPr>
            <p:sp>
              <p:nvSpPr>
                <p:cNvPr id="9813" name="Freeform: Shape 9812">
                  <a:extLst>
                    <a:ext uri="{FF2B5EF4-FFF2-40B4-BE49-F238E27FC236}">
                      <a16:creationId xmlns:a16="http://schemas.microsoft.com/office/drawing/2014/main" id="{78FAE880-B8AB-9ADB-62D1-ECBF405D5A89}"/>
                    </a:ext>
                  </a:extLst>
                </p:cNvPr>
                <p:cNvSpPr/>
                <p:nvPr/>
              </p:nvSpPr>
              <p:spPr bwMode="gray">
                <a:xfrm>
                  <a:off x="559374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14" name="Freeform: Shape 9813">
                  <a:extLst>
                    <a:ext uri="{FF2B5EF4-FFF2-40B4-BE49-F238E27FC236}">
                      <a16:creationId xmlns:a16="http://schemas.microsoft.com/office/drawing/2014/main" id="{33402C0E-570E-E993-FA25-CC677EFFF7DF}"/>
                    </a:ext>
                  </a:extLst>
                </p:cNvPr>
                <p:cNvSpPr/>
                <p:nvPr/>
              </p:nvSpPr>
              <p:spPr bwMode="gray">
                <a:xfrm>
                  <a:off x="5555837"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6" name="Graphic 77">
                <a:extLst>
                  <a:ext uri="{FF2B5EF4-FFF2-40B4-BE49-F238E27FC236}">
                    <a16:creationId xmlns:a16="http://schemas.microsoft.com/office/drawing/2014/main" id="{A1D73FC7-2C9D-F02A-C1A0-4928EBC102F0}"/>
                  </a:ext>
                </a:extLst>
              </p:cNvPr>
              <p:cNvGrpSpPr/>
              <p:nvPr/>
            </p:nvGrpSpPr>
            <p:grpSpPr bwMode="gray">
              <a:xfrm>
                <a:off x="5589651" y="3446716"/>
                <a:ext cx="75723" cy="75723"/>
                <a:chOff x="5589651" y="3446716"/>
                <a:chExt cx="75723" cy="75723"/>
              </a:xfrm>
            </p:grpSpPr>
            <p:sp>
              <p:nvSpPr>
                <p:cNvPr id="9811" name="Freeform: Shape 9810">
                  <a:extLst>
                    <a:ext uri="{FF2B5EF4-FFF2-40B4-BE49-F238E27FC236}">
                      <a16:creationId xmlns:a16="http://schemas.microsoft.com/office/drawing/2014/main" id="{6DDDB963-09DF-EE60-0839-03FA8BD7B0BE}"/>
                    </a:ext>
                  </a:extLst>
                </p:cNvPr>
                <p:cNvSpPr/>
                <p:nvPr/>
              </p:nvSpPr>
              <p:spPr bwMode="gray">
                <a:xfrm>
                  <a:off x="5627465"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12" name="Freeform: Shape 9811">
                  <a:extLst>
                    <a:ext uri="{FF2B5EF4-FFF2-40B4-BE49-F238E27FC236}">
                      <a16:creationId xmlns:a16="http://schemas.microsoft.com/office/drawing/2014/main" id="{76553F30-C542-8BE8-F0D9-5304A625E356}"/>
                    </a:ext>
                  </a:extLst>
                </p:cNvPr>
                <p:cNvSpPr/>
                <p:nvPr/>
              </p:nvSpPr>
              <p:spPr bwMode="gray">
                <a:xfrm>
                  <a:off x="5589651"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7" name="Graphic 77">
                <a:extLst>
                  <a:ext uri="{FF2B5EF4-FFF2-40B4-BE49-F238E27FC236}">
                    <a16:creationId xmlns:a16="http://schemas.microsoft.com/office/drawing/2014/main" id="{4E7C0B2A-2B44-7CDA-3172-041DD258D3C3}"/>
                  </a:ext>
                </a:extLst>
              </p:cNvPr>
              <p:cNvGrpSpPr/>
              <p:nvPr/>
            </p:nvGrpSpPr>
            <p:grpSpPr bwMode="gray">
              <a:xfrm>
                <a:off x="5597842" y="3446716"/>
                <a:ext cx="75628" cy="75723"/>
                <a:chOff x="5597842" y="3446716"/>
                <a:chExt cx="75628" cy="75723"/>
              </a:xfrm>
            </p:grpSpPr>
            <p:sp>
              <p:nvSpPr>
                <p:cNvPr id="9809" name="Freeform: Shape 9808">
                  <a:extLst>
                    <a:ext uri="{FF2B5EF4-FFF2-40B4-BE49-F238E27FC236}">
                      <a16:creationId xmlns:a16="http://schemas.microsoft.com/office/drawing/2014/main" id="{53B77696-D02C-C2B2-3110-CE2C3BBBDAFC}"/>
                    </a:ext>
                  </a:extLst>
                </p:cNvPr>
                <p:cNvSpPr/>
                <p:nvPr/>
              </p:nvSpPr>
              <p:spPr bwMode="gray">
                <a:xfrm>
                  <a:off x="563565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10" name="Freeform: Shape 9809">
                  <a:extLst>
                    <a:ext uri="{FF2B5EF4-FFF2-40B4-BE49-F238E27FC236}">
                      <a16:creationId xmlns:a16="http://schemas.microsoft.com/office/drawing/2014/main" id="{FEEDC013-D701-5647-9F54-439712944A17}"/>
                    </a:ext>
                  </a:extLst>
                </p:cNvPr>
                <p:cNvSpPr/>
                <p:nvPr/>
              </p:nvSpPr>
              <p:spPr bwMode="gray">
                <a:xfrm>
                  <a:off x="5597842"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8" name="Graphic 77">
                <a:extLst>
                  <a:ext uri="{FF2B5EF4-FFF2-40B4-BE49-F238E27FC236}">
                    <a16:creationId xmlns:a16="http://schemas.microsoft.com/office/drawing/2014/main" id="{065C92AB-9E26-A428-FC1C-2C3C54CB5C1A}"/>
                  </a:ext>
                </a:extLst>
              </p:cNvPr>
              <p:cNvGrpSpPr/>
              <p:nvPr/>
            </p:nvGrpSpPr>
            <p:grpSpPr bwMode="gray">
              <a:xfrm>
                <a:off x="5634037" y="3446716"/>
                <a:ext cx="75628" cy="75723"/>
                <a:chOff x="5634037" y="3446716"/>
                <a:chExt cx="75628" cy="75723"/>
              </a:xfrm>
            </p:grpSpPr>
            <p:sp>
              <p:nvSpPr>
                <p:cNvPr id="9807" name="Freeform: Shape 9806">
                  <a:extLst>
                    <a:ext uri="{FF2B5EF4-FFF2-40B4-BE49-F238E27FC236}">
                      <a16:creationId xmlns:a16="http://schemas.microsoft.com/office/drawing/2014/main" id="{7BBD8F88-B892-060A-4EE0-974F4D2E7048}"/>
                    </a:ext>
                  </a:extLst>
                </p:cNvPr>
                <p:cNvSpPr/>
                <p:nvPr/>
              </p:nvSpPr>
              <p:spPr bwMode="gray">
                <a:xfrm>
                  <a:off x="5671851"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08" name="Freeform: Shape 9807">
                  <a:extLst>
                    <a:ext uri="{FF2B5EF4-FFF2-40B4-BE49-F238E27FC236}">
                      <a16:creationId xmlns:a16="http://schemas.microsoft.com/office/drawing/2014/main" id="{98CB4A4D-12A6-16E2-9BE3-3B328AFCD83E}"/>
                    </a:ext>
                  </a:extLst>
                </p:cNvPr>
                <p:cNvSpPr/>
                <p:nvPr/>
              </p:nvSpPr>
              <p:spPr bwMode="gray">
                <a:xfrm>
                  <a:off x="5634037"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29" name="Graphic 77">
                <a:extLst>
                  <a:ext uri="{FF2B5EF4-FFF2-40B4-BE49-F238E27FC236}">
                    <a16:creationId xmlns:a16="http://schemas.microsoft.com/office/drawing/2014/main" id="{000BD759-C22E-3801-A20D-708DC27BBD40}"/>
                  </a:ext>
                </a:extLst>
              </p:cNvPr>
              <p:cNvGrpSpPr/>
              <p:nvPr/>
            </p:nvGrpSpPr>
            <p:grpSpPr bwMode="gray">
              <a:xfrm>
                <a:off x="5642133" y="3446716"/>
                <a:ext cx="75723" cy="75723"/>
                <a:chOff x="5642133" y="3446716"/>
                <a:chExt cx="75723" cy="75723"/>
              </a:xfrm>
            </p:grpSpPr>
            <p:sp>
              <p:nvSpPr>
                <p:cNvPr id="9805" name="Freeform: Shape 9804">
                  <a:extLst>
                    <a:ext uri="{FF2B5EF4-FFF2-40B4-BE49-F238E27FC236}">
                      <a16:creationId xmlns:a16="http://schemas.microsoft.com/office/drawing/2014/main" id="{19AF393A-F4B1-003D-B93D-1857017129EA}"/>
                    </a:ext>
                  </a:extLst>
                </p:cNvPr>
                <p:cNvSpPr/>
                <p:nvPr/>
              </p:nvSpPr>
              <p:spPr bwMode="gray">
                <a:xfrm>
                  <a:off x="5680043"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06" name="Freeform: Shape 9805">
                  <a:extLst>
                    <a:ext uri="{FF2B5EF4-FFF2-40B4-BE49-F238E27FC236}">
                      <a16:creationId xmlns:a16="http://schemas.microsoft.com/office/drawing/2014/main" id="{E22C0EEF-1D5C-E2CB-66DA-51C9E5B93176}"/>
                    </a:ext>
                  </a:extLst>
                </p:cNvPr>
                <p:cNvSpPr/>
                <p:nvPr/>
              </p:nvSpPr>
              <p:spPr bwMode="gray">
                <a:xfrm>
                  <a:off x="5642133"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0" name="Graphic 77">
                <a:extLst>
                  <a:ext uri="{FF2B5EF4-FFF2-40B4-BE49-F238E27FC236}">
                    <a16:creationId xmlns:a16="http://schemas.microsoft.com/office/drawing/2014/main" id="{A8713A49-72B3-9628-8DE4-260C948C68D4}"/>
                  </a:ext>
                </a:extLst>
              </p:cNvPr>
              <p:cNvGrpSpPr/>
              <p:nvPr/>
            </p:nvGrpSpPr>
            <p:grpSpPr bwMode="gray">
              <a:xfrm>
                <a:off x="5690901" y="3446716"/>
                <a:ext cx="75628" cy="75723"/>
                <a:chOff x="5690901" y="3446716"/>
                <a:chExt cx="75628" cy="75723"/>
              </a:xfrm>
            </p:grpSpPr>
            <p:sp>
              <p:nvSpPr>
                <p:cNvPr id="9803" name="Freeform: Shape 9802">
                  <a:extLst>
                    <a:ext uri="{FF2B5EF4-FFF2-40B4-BE49-F238E27FC236}">
                      <a16:creationId xmlns:a16="http://schemas.microsoft.com/office/drawing/2014/main" id="{81890D1B-E539-B6FE-5CD2-C03FD3339AF3}"/>
                    </a:ext>
                  </a:extLst>
                </p:cNvPr>
                <p:cNvSpPr/>
                <p:nvPr/>
              </p:nvSpPr>
              <p:spPr bwMode="gray">
                <a:xfrm>
                  <a:off x="5728716"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04" name="Freeform: Shape 9803">
                  <a:extLst>
                    <a:ext uri="{FF2B5EF4-FFF2-40B4-BE49-F238E27FC236}">
                      <a16:creationId xmlns:a16="http://schemas.microsoft.com/office/drawing/2014/main" id="{D71EFC37-F640-B0F3-1F0E-516628995AD9}"/>
                    </a:ext>
                  </a:extLst>
                </p:cNvPr>
                <p:cNvSpPr/>
                <p:nvPr/>
              </p:nvSpPr>
              <p:spPr bwMode="gray">
                <a:xfrm>
                  <a:off x="5690901" y="348462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1" name="Graphic 77">
                <a:extLst>
                  <a:ext uri="{FF2B5EF4-FFF2-40B4-BE49-F238E27FC236}">
                    <a16:creationId xmlns:a16="http://schemas.microsoft.com/office/drawing/2014/main" id="{BF0CF6A5-3C6E-8E19-A648-71E76C541603}"/>
                  </a:ext>
                </a:extLst>
              </p:cNvPr>
              <p:cNvGrpSpPr/>
              <p:nvPr/>
            </p:nvGrpSpPr>
            <p:grpSpPr bwMode="gray">
              <a:xfrm>
                <a:off x="5699093" y="3446716"/>
                <a:ext cx="75628" cy="75723"/>
                <a:chOff x="5699093" y="3446716"/>
                <a:chExt cx="75628" cy="75723"/>
              </a:xfrm>
            </p:grpSpPr>
            <p:sp>
              <p:nvSpPr>
                <p:cNvPr id="9801" name="Freeform: Shape 9800">
                  <a:extLst>
                    <a:ext uri="{FF2B5EF4-FFF2-40B4-BE49-F238E27FC236}">
                      <a16:creationId xmlns:a16="http://schemas.microsoft.com/office/drawing/2014/main" id="{59154BE4-4C38-E460-E502-FA2426C90D39}"/>
                    </a:ext>
                  </a:extLst>
                </p:cNvPr>
                <p:cNvSpPr/>
                <p:nvPr/>
              </p:nvSpPr>
              <p:spPr bwMode="gray">
                <a:xfrm>
                  <a:off x="5736907"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02" name="Freeform: Shape 9801">
                  <a:extLst>
                    <a:ext uri="{FF2B5EF4-FFF2-40B4-BE49-F238E27FC236}">
                      <a16:creationId xmlns:a16="http://schemas.microsoft.com/office/drawing/2014/main" id="{48020FE4-A9D0-489C-7DE7-A910B8E8EFF8}"/>
                    </a:ext>
                  </a:extLst>
                </p:cNvPr>
                <p:cNvSpPr/>
                <p:nvPr/>
              </p:nvSpPr>
              <p:spPr bwMode="gray">
                <a:xfrm>
                  <a:off x="5699093" y="348462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2" name="Graphic 77">
                <a:extLst>
                  <a:ext uri="{FF2B5EF4-FFF2-40B4-BE49-F238E27FC236}">
                    <a16:creationId xmlns:a16="http://schemas.microsoft.com/office/drawing/2014/main" id="{599B865F-0EEF-D969-948C-C2D77181461A}"/>
                  </a:ext>
                </a:extLst>
              </p:cNvPr>
              <p:cNvGrpSpPr/>
              <p:nvPr/>
            </p:nvGrpSpPr>
            <p:grpSpPr bwMode="gray">
              <a:xfrm>
                <a:off x="5736907" y="3446716"/>
                <a:ext cx="75723" cy="75723"/>
                <a:chOff x="5736907" y="3446716"/>
                <a:chExt cx="75723" cy="75723"/>
              </a:xfrm>
            </p:grpSpPr>
            <p:sp>
              <p:nvSpPr>
                <p:cNvPr id="9799" name="Freeform: Shape 9798">
                  <a:extLst>
                    <a:ext uri="{FF2B5EF4-FFF2-40B4-BE49-F238E27FC236}">
                      <a16:creationId xmlns:a16="http://schemas.microsoft.com/office/drawing/2014/main" id="{4D5287D4-B249-AFF1-E5B4-FEBDB82ED88C}"/>
                    </a:ext>
                  </a:extLst>
                </p:cNvPr>
                <p:cNvSpPr/>
                <p:nvPr/>
              </p:nvSpPr>
              <p:spPr bwMode="gray">
                <a:xfrm>
                  <a:off x="5774721"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00" name="Freeform: Shape 9799">
                  <a:extLst>
                    <a:ext uri="{FF2B5EF4-FFF2-40B4-BE49-F238E27FC236}">
                      <a16:creationId xmlns:a16="http://schemas.microsoft.com/office/drawing/2014/main" id="{7A231E57-486C-0F82-38D9-4E0DCAF58D41}"/>
                    </a:ext>
                  </a:extLst>
                </p:cNvPr>
                <p:cNvSpPr/>
                <p:nvPr/>
              </p:nvSpPr>
              <p:spPr bwMode="gray">
                <a:xfrm>
                  <a:off x="5736907"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3" name="Graphic 77">
                <a:extLst>
                  <a:ext uri="{FF2B5EF4-FFF2-40B4-BE49-F238E27FC236}">
                    <a16:creationId xmlns:a16="http://schemas.microsoft.com/office/drawing/2014/main" id="{A32653DB-7ABE-56DE-8E12-19148C19AF6E}"/>
                  </a:ext>
                </a:extLst>
              </p:cNvPr>
              <p:cNvGrpSpPr/>
              <p:nvPr/>
            </p:nvGrpSpPr>
            <p:grpSpPr bwMode="gray">
              <a:xfrm>
                <a:off x="5748623" y="3446716"/>
                <a:ext cx="75723" cy="75723"/>
                <a:chOff x="5748623" y="3446716"/>
                <a:chExt cx="75723" cy="75723"/>
              </a:xfrm>
            </p:grpSpPr>
            <p:sp>
              <p:nvSpPr>
                <p:cNvPr id="9797" name="Freeform: Shape 9796">
                  <a:extLst>
                    <a:ext uri="{FF2B5EF4-FFF2-40B4-BE49-F238E27FC236}">
                      <a16:creationId xmlns:a16="http://schemas.microsoft.com/office/drawing/2014/main" id="{C6C3BB9E-EA99-CFC5-67D1-3266250B3DE9}"/>
                    </a:ext>
                  </a:extLst>
                </p:cNvPr>
                <p:cNvSpPr/>
                <p:nvPr/>
              </p:nvSpPr>
              <p:spPr bwMode="gray">
                <a:xfrm>
                  <a:off x="5786532" y="3446716"/>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98" name="Freeform: Shape 9797">
                  <a:extLst>
                    <a:ext uri="{FF2B5EF4-FFF2-40B4-BE49-F238E27FC236}">
                      <a16:creationId xmlns:a16="http://schemas.microsoft.com/office/drawing/2014/main" id="{E5CF97AD-55A7-C046-BBCC-EF7E2D73B3AC}"/>
                    </a:ext>
                  </a:extLst>
                </p:cNvPr>
                <p:cNvSpPr/>
                <p:nvPr/>
              </p:nvSpPr>
              <p:spPr bwMode="gray">
                <a:xfrm>
                  <a:off x="5748623" y="348462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4" name="Graphic 77">
                <a:extLst>
                  <a:ext uri="{FF2B5EF4-FFF2-40B4-BE49-F238E27FC236}">
                    <a16:creationId xmlns:a16="http://schemas.microsoft.com/office/drawing/2014/main" id="{FB3B0966-4FC3-0E6D-819D-C8D72F960592}"/>
                  </a:ext>
                </a:extLst>
              </p:cNvPr>
              <p:cNvGrpSpPr/>
              <p:nvPr/>
            </p:nvGrpSpPr>
            <p:grpSpPr bwMode="gray">
              <a:xfrm>
                <a:off x="6014847" y="3490245"/>
                <a:ext cx="75723" cy="75628"/>
                <a:chOff x="6014847" y="3490245"/>
                <a:chExt cx="75723" cy="75628"/>
              </a:xfrm>
            </p:grpSpPr>
            <p:sp>
              <p:nvSpPr>
                <p:cNvPr id="9795" name="Freeform: Shape 9794">
                  <a:extLst>
                    <a:ext uri="{FF2B5EF4-FFF2-40B4-BE49-F238E27FC236}">
                      <a16:creationId xmlns:a16="http://schemas.microsoft.com/office/drawing/2014/main" id="{8AACC7A5-D034-6723-8BF0-63EB18D80E23}"/>
                    </a:ext>
                  </a:extLst>
                </p:cNvPr>
                <p:cNvSpPr/>
                <p:nvPr/>
              </p:nvSpPr>
              <p:spPr bwMode="gray">
                <a:xfrm>
                  <a:off x="6052661"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96" name="Freeform: Shape 9795">
                  <a:extLst>
                    <a:ext uri="{FF2B5EF4-FFF2-40B4-BE49-F238E27FC236}">
                      <a16:creationId xmlns:a16="http://schemas.microsoft.com/office/drawing/2014/main" id="{6A2DCEDB-F442-FAA1-B1AA-5674A93940A7}"/>
                    </a:ext>
                  </a:extLst>
                </p:cNvPr>
                <p:cNvSpPr/>
                <p:nvPr/>
              </p:nvSpPr>
              <p:spPr bwMode="gray">
                <a:xfrm>
                  <a:off x="6014847"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5" name="Graphic 77">
                <a:extLst>
                  <a:ext uri="{FF2B5EF4-FFF2-40B4-BE49-F238E27FC236}">
                    <a16:creationId xmlns:a16="http://schemas.microsoft.com/office/drawing/2014/main" id="{4F10B0DE-40C3-AE29-DA3D-7C94FA297AB8}"/>
                  </a:ext>
                </a:extLst>
              </p:cNvPr>
              <p:cNvGrpSpPr/>
              <p:nvPr/>
            </p:nvGrpSpPr>
            <p:grpSpPr bwMode="gray">
              <a:xfrm>
                <a:off x="6072949" y="3490245"/>
                <a:ext cx="75628" cy="75628"/>
                <a:chOff x="6072949" y="3490245"/>
                <a:chExt cx="75628" cy="75628"/>
              </a:xfrm>
            </p:grpSpPr>
            <p:sp>
              <p:nvSpPr>
                <p:cNvPr id="9793" name="Freeform: Shape 9792">
                  <a:extLst>
                    <a:ext uri="{FF2B5EF4-FFF2-40B4-BE49-F238E27FC236}">
                      <a16:creationId xmlns:a16="http://schemas.microsoft.com/office/drawing/2014/main" id="{8D7E33E5-5F07-CC89-65BE-076AEA637893}"/>
                    </a:ext>
                  </a:extLst>
                </p:cNvPr>
                <p:cNvSpPr/>
                <p:nvPr/>
              </p:nvSpPr>
              <p:spPr bwMode="gray">
                <a:xfrm>
                  <a:off x="6110763"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94" name="Freeform: Shape 9793">
                  <a:extLst>
                    <a:ext uri="{FF2B5EF4-FFF2-40B4-BE49-F238E27FC236}">
                      <a16:creationId xmlns:a16="http://schemas.microsoft.com/office/drawing/2014/main" id="{6BA0E4B4-BD79-0BAD-73DE-1AF30DC46226}"/>
                    </a:ext>
                  </a:extLst>
                </p:cNvPr>
                <p:cNvSpPr/>
                <p:nvPr/>
              </p:nvSpPr>
              <p:spPr bwMode="gray">
                <a:xfrm>
                  <a:off x="6072949" y="3528060"/>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6" name="Graphic 77">
                <a:extLst>
                  <a:ext uri="{FF2B5EF4-FFF2-40B4-BE49-F238E27FC236}">
                    <a16:creationId xmlns:a16="http://schemas.microsoft.com/office/drawing/2014/main" id="{AD691AB9-DF83-AFA1-A984-63B36F98ECF6}"/>
                  </a:ext>
                </a:extLst>
              </p:cNvPr>
              <p:cNvGrpSpPr/>
              <p:nvPr/>
            </p:nvGrpSpPr>
            <p:grpSpPr bwMode="gray">
              <a:xfrm>
                <a:off x="6068949" y="3490245"/>
                <a:ext cx="75723" cy="75628"/>
                <a:chOff x="6068949" y="3490245"/>
                <a:chExt cx="75723" cy="75628"/>
              </a:xfrm>
            </p:grpSpPr>
            <p:sp>
              <p:nvSpPr>
                <p:cNvPr id="9791" name="Freeform: Shape 9790">
                  <a:extLst>
                    <a:ext uri="{FF2B5EF4-FFF2-40B4-BE49-F238E27FC236}">
                      <a16:creationId xmlns:a16="http://schemas.microsoft.com/office/drawing/2014/main" id="{C16589C3-37E9-87BB-079A-43E8B186244F}"/>
                    </a:ext>
                  </a:extLst>
                </p:cNvPr>
                <p:cNvSpPr/>
                <p:nvPr/>
              </p:nvSpPr>
              <p:spPr bwMode="gray">
                <a:xfrm>
                  <a:off x="6106763"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92" name="Freeform: Shape 9791">
                  <a:extLst>
                    <a:ext uri="{FF2B5EF4-FFF2-40B4-BE49-F238E27FC236}">
                      <a16:creationId xmlns:a16="http://schemas.microsoft.com/office/drawing/2014/main" id="{92301CE3-2C63-6C97-8DA0-073D0ED74FA0}"/>
                    </a:ext>
                  </a:extLst>
                </p:cNvPr>
                <p:cNvSpPr/>
                <p:nvPr/>
              </p:nvSpPr>
              <p:spPr bwMode="gray">
                <a:xfrm>
                  <a:off x="6068949"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7" name="Graphic 77">
                <a:extLst>
                  <a:ext uri="{FF2B5EF4-FFF2-40B4-BE49-F238E27FC236}">
                    <a16:creationId xmlns:a16="http://schemas.microsoft.com/office/drawing/2014/main" id="{DAB04C9B-7B87-0912-96A7-A5126224759D}"/>
                  </a:ext>
                </a:extLst>
              </p:cNvPr>
              <p:cNvGrpSpPr/>
              <p:nvPr/>
            </p:nvGrpSpPr>
            <p:grpSpPr bwMode="gray">
              <a:xfrm>
                <a:off x="6040278" y="3490245"/>
                <a:ext cx="75723" cy="75628"/>
                <a:chOff x="6040278" y="3490245"/>
                <a:chExt cx="75723" cy="75628"/>
              </a:xfrm>
            </p:grpSpPr>
            <p:sp>
              <p:nvSpPr>
                <p:cNvPr id="9789" name="Freeform: Shape 9788">
                  <a:extLst>
                    <a:ext uri="{FF2B5EF4-FFF2-40B4-BE49-F238E27FC236}">
                      <a16:creationId xmlns:a16="http://schemas.microsoft.com/office/drawing/2014/main" id="{C65590F9-DC7F-DF86-0EA1-0B9AE74D5A07}"/>
                    </a:ext>
                  </a:extLst>
                </p:cNvPr>
                <p:cNvSpPr/>
                <p:nvPr/>
              </p:nvSpPr>
              <p:spPr bwMode="gray">
                <a:xfrm>
                  <a:off x="6078188" y="3490245"/>
                  <a:ext cx="9525" cy="75628"/>
                </a:xfrm>
                <a:custGeom>
                  <a:avLst/>
                  <a:gdLst>
                    <a:gd name="connsiteX0" fmla="*/ 0 w 9525"/>
                    <a:gd name="connsiteY0" fmla="*/ 0 h 75628"/>
                    <a:gd name="connsiteX1" fmla="*/ 0 w 9525"/>
                    <a:gd name="connsiteY1" fmla="*/ 75629 h 75628"/>
                  </a:gdLst>
                  <a:ahLst/>
                  <a:cxnLst>
                    <a:cxn ang="0">
                      <a:pos x="connsiteX0" y="connsiteY0"/>
                    </a:cxn>
                    <a:cxn ang="0">
                      <a:pos x="connsiteX1" y="connsiteY1"/>
                    </a:cxn>
                  </a:cxnLst>
                  <a:rect l="l" t="t" r="r" b="b"/>
                  <a:pathLst>
                    <a:path w="9525" h="75628">
                      <a:moveTo>
                        <a:pt x="0" y="0"/>
                      </a:moveTo>
                      <a:lnTo>
                        <a:pt x="0" y="75629"/>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90" name="Freeform: Shape 9789">
                  <a:extLst>
                    <a:ext uri="{FF2B5EF4-FFF2-40B4-BE49-F238E27FC236}">
                      <a16:creationId xmlns:a16="http://schemas.microsoft.com/office/drawing/2014/main" id="{AB62E14D-9EA8-1D10-74F9-A55E5BB9EE50}"/>
                    </a:ext>
                  </a:extLst>
                </p:cNvPr>
                <p:cNvSpPr/>
                <p:nvPr/>
              </p:nvSpPr>
              <p:spPr bwMode="gray">
                <a:xfrm>
                  <a:off x="6040278" y="3528060"/>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8" name="Graphic 77">
                <a:extLst>
                  <a:ext uri="{FF2B5EF4-FFF2-40B4-BE49-F238E27FC236}">
                    <a16:creationId xmlns:a16="http://schemas.microsoft.com/office/drawing/2014/main" id="{9CC34EE9-2BFF-028B-E5EF-55E8C577D107}"/>
                  </a:ext>
                </a:extLst>
              </p:cNvPr>
              <p:cNvGrpSpPr/>
              <p:nvPr/>
            </p:nvGrpSpPr>
            <p:grpSpPr bwMode="gray">
              <a:xfrm>
                <a:off x="6220968" y="3575018"/>
                <a:ext cx="75723" cy="75723"/>
                <a:chOff x="6220968" y="3575018"/>
                <a:chExt cx="75723" cy="75723"/>
              </a:xfrm>
            </p:grpSpPr>
            <p:sp>
              <p:nvSpPr>
                <p:cNvPr id="9787" name="Freeform: Shape 9786">
                  <a:extLst>
                    <a:ext uri="{FF2B5EF4-FFF2-40B4-BE49-F238E27FC236}">
                      <a16:creationId xmlns:a16="http://schemas.microsoft.com/office/drawing/2014/main" id="{43A3EEAB-E2BA-1400-280F-AF921D4B61F8}"/>
                    </a:ext>
                  </a:extLst>
                </p:cNvPr>
                <p:cNvSpPr/>
                <p:nvPr/>
              </p:nvSpPr>
              <p:spPr bwMode="gray">
                <a:xfrm>
                  <a:off x="6258782"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88" name="Freeform: Shape 9787">
                  <a:extLst>
                    <a:ext uri="{FF2B5EF4-FFF2-40B4-BE49-F238E27FC236}">
                      <a16:creationId xmlns:a16="http://schemas.microsoft.com/office/drawing/2014/main" id="{65A08AA0-B2E8-C662-3896-2662732BCAC0}"/>
                    </a:ext>
                  </a:extLst>
                </p:cNvPr>
                <p:cNvSpPr/>
                <p:nvPr/>
              </p:nvSpPr>
              <p:spPr bwMode="gray">
                <a:xfrm>
                  <a:off x="6220968"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39" name="Graphic 77">
                <a:extLst>
                  <a:ext uri="{FF2B5EF4-FFF2-40B4-BE49-F238E27FC236}">
                    <a16:creationId xmlns:a16="http://schemas.microsoft.com/office/drawing/2014/main" id="{9A4028CD-1646-D64C-ECF4-C5C0E83A506F}"/>
                  </a:ext>
                </a:extLst>
              </p:cNvPr>
              <p:cNvGrpSpPr/>
              <p:nvPr/>
            </p:nvGrpSpPr>
            <p:grpSpPr bwMode="gray">
              <a:xfrm>
                <a:off x="6229731" y="3575018"/>
                <a:ext cx="75723" cy="75723"/>
                <a:chOff x="6229731" y="3575018"/>
                <a:chExt cx="75723" cy="75723"/>
              </a:xfrm>
            </p:grpSpPr>
            <p:sp>
              <p:nvSpPr>
                <p:cNvPr id="9785" name="Freeform: Shape 9784">
                  <a:extLst>
                    <a:ext uri="{FF2B5EF4-FFF2-40B4-BE49-F238E27FC236}">
                      <a16:creationId xmlns:a16="http://schemas.microsoft.com/office/drawing/2014/main" id="{01C6F935-1E5C-CB7A-2D9D-8089547D84A5}"/>
                    </a:ext>
                  </a:extLst>
                </p:cNvPr>
                <p:cNvSpPr/>
                <p:nvPr/>
              </p:nvSpPr>
              <p:spPr bwMode="gray">
                <a:xfrm>
                  <a:off x="6267640" y="3575018"/>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86" name="Freeform: Shape 9785">
                  <a:extLst>
                    <a:ext uri="{FF2B5EF4-FFF2-40B4-BE49-F238E27FC236}">
                      <a16:creationId xmlns:a16="http://schemas.microsoft.com/office/drawing/2014/main" id="{3ECAAEA4-49F0-814C-0FD8-29CD1DA1F8BB}"/>
                    </a:ext>
                  </a:extLst>
                </p:cNvPr>
                <p:cNvSpPr/>
                <p:nvPr/>
              </p:nvSpPr>
              <p:spPr bwMode="gray">
                <a:xfrm>
                  <a:off x="6229731" y="3612832"/>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0" name="Graphic 77">
                <a:extLst>
                  <a:ext uri="{FF2B5EF4-FFF2-40B4-BE49-F238E27FC236}">
                    <a16:creationId xmlns:a16="http://schemas.microsoft.com/office/drawing/2014/main" id="{EBABB944-6151-2611-13D6-D48542DB3865}"/>
                  </a:ext>
                </a:extLst>
              </p:cNvPr>
              <p:cNvGrpSpPr/>
              <p:nvPr/>
            </p:nvGrpSpPr>
            <p:grpSpPr bwMode="gray">
              <a:xfrm>
                <a:off x="6395180" y="3632454"/>
                <a:ext cx="75628" cy="75723"/>
                <a:chOff x="6395180" y="3632454"/>
                <a:chExt cx="75628" cy="75723"/>
              </a:xfrm>
            </p:grpSpPr>
            <p:sp>
              <p:nvSpPr>
                <p:cNvPr id="9783" name="Freeform: Shape 9782">
                  <a:extLst>
                    <a:ext uri="{FF2B5EF4-FFF2-40B4-BE49-F238E27FC236}">
                      <a16:creationId xmlns:a16="http://schemas.microsoft.com/office/drawing/2014/main" id="{D06D6F59-9BE9-B3B4-97D2-63646228FFBD}"/>
                    </a:ext>
                  </a:extLst>
                </p:cNvPr>
                <p:cNvSpPr/>
                <p:nvPr/>
              </p:nvSpPr>
              <p:spPr bwMode="gray">
                <a:xfrm>
                  <a:off x="6432994"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84" name="Freeform: Shape 9783">
                  <a:extLst>
                    <a:ext uri="{FF2B5EF4-FFF2-40B4-BE49-F238E27FC236}">
                      <a16:creationId xmlns:a16="http://schemas.microsoft.com/office/drawing/2014/main" id="{A677554C-ADC7-E321-74D9-AAD2357485A1}"/>
                    </a:ext>
                  </a:extLst>
                </p:cNvPr>
                <p:cNvSpPr/>
                <p:nvPr/>
              </p:nvSpPr>
              <p:spPr bwMode="gray">
                <a:xfrm>
                  <a:off x="6395180" y="3670363"/>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1" name="Graphic 77">
                <a:extLst>
                  <a:ext uri="{FF2B5EF4-FFF2-40B4-BE49-F238E27FC236}">
                    <a16:creationId xmlns:a16="http://schemas.microsoft.com/office/drawing/2014/main" id="{26243F82-457A-2DBE-BD0C-B856C3BE808C}"/>
                  </a:ext>
                </a:extLst>
              </p:cNvPr>
              <p:cNvGrpSpPr/>
              <p:nvPr/>
            </p:nvGrpSpPr>
            <p:grpSpPr bwMode="gray">
              <a:xfrm>
                <a:off x="6462903" y="3632454"/>
                <a:ext cx="75723" cy="75723"/>
                <a:chOff x="6462903" y="3632454"/>
                <a:chExt cx="75723" cy="75723"/>
              </a:xfrm>
            </p:grpSpPr>
            <p:sp>
              <p:nvSpPr>
                <p:cNvPr id="9781" name="Freeform: Shape 9780">
                  <a:extLst>
                    <a:ext uri="{FF2B5EF4-FFF2-40B4-BE49-F238E27FC236}">
                      <a16:creationId xmlns:a16="http://schemas.microsoft.com/office/drawing/2014/main" id="{7F226A5A-EC33-D45B-0BFB-A308099167DF}"/>
                    </a:ext>
                  </a:extLst>
                </p:cNvPr>
                <p:cNvSpPr/>
                <p:nvPr/>
              </p:nvSpPr>
              <p:spPr bwMode="gray">
                <a:xfrm>
                  <a:off x="6500812"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82" name="Freeform: Shape 9781">
                  <a:extLst>
                    <a:ext uri="{FF2B5EF4-FFF2-40B4-BE49-F238E27FC236}">
                      <a16:creationId xmlns:a16="http://schemas.microsoft.com/office/drawing/2014/main" id="{348EFEF6-5BDD-2C9B-9ACB-3EFB632E8886}"/>
                    </a:ext>
                  </a:extLst>
                </p:cNvPr>
                <p:cNvSpPr/>
                <p:nvPr/>
              </p:nvSpPr>
              <p:spPr bwMode="gray">
                <a:xfrm>
                  <a:off x="6462903"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2" name="Graphic 77">
                <a:extLst>
                  <a:ext uri="{FF2B5EF4-FFF2-40B4-BE49-F238E27FC236}">
                    <a16:creationId xmlns:a16="http://schemas.microsoft.com/office/drawing/2014/main" id="{63716064-9130-1926-1586-E9EC4D11571E}"/>
                  </a:ext>
                </a:extLst>
              </p:cNvPr>
              <p:cNvGrpSpPr/>
              <p:nvPr/>
            </p:nvGrpSpPr>
            <p:grpSpPr bwMode="gray">
              <a:xfrm>
                <a:off x="6517957" y="3632454"/>
                <a:ext cx="75723" cy="75723"/>
                <a:chOff x="6517957" y="3632454"/>
                <a:chExt cx="75723" cy="75723"/>
              </a:xfrm>
            </p:grpSpPr>
            <p:sp>
              <p:nvSpPr>
                <p:cNvPr id="9779" name="Freeform: Shape 9778">
                  <a:extLst>
                    <a:ext uri="{FF2B5EF4-FFF2-40B4-BE49-F238E27FC236}">
                      <a16:creationId xmlns:a16="http://schemas.microsoft.com/office/drawing/2014/main" id="{1C0FB454-15B4-6BF3-074B-AE427F11E30A}"/>
                    </a:ext>
                  </a:extLst>
                </p:cNvPr>
                <p:cNvSpPr/>
                <p:nvPr/>
              </p:nvSpPr>
              <p:spPr bwMode="gray">
                <a:xfrm>
                  <a:off x="6555771"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80" name="Freeform: Shape 9779">
                  <a:extLst>
                    <a:ext uri="{FF2B5EF4-FFF2-40B4-BE49-F238E27FC236}">
                      <a16:creationId xmlns:a16="http://schemas.microsoft.com/office/drawing/2014/main" id="{5A06C845-F140-0E63-3494-CED16BFFA725}"/>
                    </a:ext>
                  </a:extLst>
                </p:cNvPr>
                <p:cNvSpPr/>
                <p:nvPr/>
              </p:nvSpPr>
              <p:spPr bwMode="gray">
                <a:xfrm>
                  <a:off x="6517957"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3" name="Graphic 77">
                <a:extLst>
                  <a:ext uri="{FF2B5EF4-FFF2-40B4-BE49-F238E27FC236}">
                    <a16:creationId xmlns:a16="http://schemas.microsoft.com/office/drawing/2014/main" id="{22353FFC-1CCD-336B-6D2B-272ED970C795}"/>
                  </a:ext>
                </a:extLst>
              </p:cNvPr>
              <p:cNvGrpSpPr/>
              <p:nvPr/>
            </p:nvGrpSpPr>
            <p:grpSpPr bwMode="gray">
              <a:xfrm>
                <a:off x="6524910" y="3632454"/>
                <a:ext cx="75723" cy="75723"/>
                <a:chOff x="6524910" y="3632454"/>
                <a:chExt cx="75723" cy="75723"/>
              </a:xfrm>
            </p:grpSpPr>
            <p:sp>
              <p:nvSpPr>
                <p:cNvPr id="9777" name="Freeform: Shape 9776">
                  <a:extLst>
                    <a:ext uri="{FF2B5EF4-FFF2-40B4-BE49-F238E27FC236}">
                      <a16:creationId xmlns:a16="http://schemas.microsoft.com/office/drawing/2014/main" id="{5AA2586E-FF79-E347-23D7-A8BC5967E570}"/>
                    </a:ext>
                  </a:extLst>
                </p:cNvPr>
                <p:cNvSpPr/>
                <p:nvPr/>
              </p:nvSpPr>
              <p:spPr bwMode="gray">
                <a:xfrm>
                  <a:off x="6562820"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78" name="Freeform: Shape 9777">
                  <a:extLst>
                    <a:ext uri="{FF2B5EF4-FFF2-40B4-BE49-F238E27FC236}">
                      <a16:creationId xmlns:a16="http://schemas.microsoft.com/office/drawing/2014/main" id="{A6D593F9-97AF-0122-94CE-2B4704A52DFB}"/>
                    </a:ext>
                  </a:extLst>
                </p:cNvPr>
                <p:cNvSpPr/>
                <p:nvPr/>
              </p:nvSpPr>
              <p:spPr bwMode="gray">
                <a:xfrm>
                  <a:off x="6524910"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4" name="Graphic 77">
                <a:extLst>
                  <a:ext uri="{FF2B5EF4-FFF2-40B4-BE49-F238E27FC236}">
                    <a16:creationId xmlns:a16="http://schemas.microsoft.com/office/drawing/2014/main" id="{88FB56D2-EBC0-65E4-B087-44FA3C4BFC9B}"/>
                  </a:ext>
                </a:extLst>
              </p:cNvPr>
              <p:cNvGrpSpPr/>
              <p:nvPr/>
            </p:nvGrpSpPr>
            <p:grpSpPr bwMode="gray">
              <a:xfrm>
                <a:off x="6603396" y="3632454"/>
                <a:ext cx="75628" cy="75723"/>
                <a:chOff x="6603396" y="3632454"/>
                <a:chExt cx="75628" cy="75723"/>
              </a:xfrm>
            </p:grpSpPr>
            <p:sp>
              <p:nvSpPr>
                <p:cNvPr id="9775" name="Freeform: Shape 9774">
                  <a:extLst>
                    <a:ext uri="{FF2B5EF4-FFF2-40B4-BE49-F238E27FC236}">
                      <a16:creationId xmlns:a16="http://schemas.microsoft.com/office/drawing/2014/main" id="{3ABE4322-462F-BA89-3064-7EE67476DD6D}"/>
                    </a:ext>
                  </a:extLst>
                </p:cNvPr>
                <p:cNvSpPr/>
                <p:nvPr/>
              </p:nvSpPr>
              <p:spPr bwMode="gray">
                <a:xfrm>
                  <a:off x="6641211"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76" name="Freeform: Shape 9775">
                  <a:extLst>
                    <a:ext uri="{FF2B5EF4-FFF2-40B4-BE49-F238E27FC236}">
                      <a16:creationId xmlns:a16="http://schemas.microsoft.com/office/drawing/2014/main" id="{26F5DDEA-09DE-F815-738E-FA06888BF512}"/>
                    </a:ext>
                  </a:extLst>
                </p:cNvPr>
                <p:cNvSpPr/>
                <p:nvPr/>
              </p:nvSpPr>
              <p:spPr bwMode="gray">
                <a:xfrm>
                  <a:off x="6603396" y="3670363"/>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5" name="Graphic 77">
                <a:extLst>
                  <a:ext uri="{FF2B5EF4-FFF2-40B4-BE49-F238E27FC236}">
                    <a16:creationId xmlns:a16="http://schemas.microsoft.com/office/drawing/2014/main" id="{9344CE5F-D8B5-BBD1-FB60-AC9381092BA0}"/>
                  </a:ext>
                </a:extLst>
              </p:cNvPr>
              <p:cNvGrpSpPr/>
              <p:nvPr/>
            </p:nvGrpSpPr>
            <p:grpSpPr bwMode="gray">
              <a:xfrm>
                <a:off x="6610350" y="3632454"/>
                <a:ext cx="75723" cy="75723"/>
                <a:chOff x="6610350" y="3632454"/>
                <a:chExt cx="75723" cy="75723"/>
              </a:xfrm>
            </p:grpSpPr>
            <p:sp>
              <p:nvSpPr>
                <p:cNvPr id="9773" name="Freeform: Shape 9772">
                  <a:extLst>
                    <a:ext uri="{FF2B5EF4-FFF2-40B4-BE49-F238E27FC236}">
                      <a16:creationId xmlns:a16="http://schemas.microsoft.com/office/drawing/2014/main" id="{89E3FC58-C17D-9025-DC4D-EEAD4B64200B}"/>
                    </a:ext>
                  </a:extLst>
                </p:cNvPr>
                <p:cNvSpPr/>
                <p:nvPr/>
              </p:nvSpPr>
              <p:spPr bwMode="gray">
                <a:xfrm>
                  <a:off x="6648259" y="3632454"/>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74" name="Freeform: Shape 9773">
                  <a:extLst>
                    <a:ext uri="{FF2B5EF4-FFF2-40B4-BE49-F238E27FC236}">
                      <a16:creationId xmlns:a16="http://schemas.microsoft.com/office/drawing/2014/main" id="{D3521C63-CD10-C2AB-0CAE-DB7F043D79C2}"/>
                    </a:ext>
                  </a:extLst>
                </p:cNvPr>
                <p:cNvSpPr/>
                <p:nvPr/>
              </p:nvSpPr>
              <p:spPr bwMode="gray">
                <a:xfrm>
                  <a:off x="6610350" y="3670363"/>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6" name="Graphic 77">
                <a:extLst>
                  <a:ext uri="{FF2B5EF4-FFF2-40B4-BE49-F238E27FC236}">
                    <a16:creationId xmlns:a16="http://schemas.microsoft.com/office/drawing/2014/main" id="{E38949B3-9CD2-0132-A75F-1E4B2725E76A}"/>
                  </a:ext>
                </a:extLst>
              </p:cNvPr>
              <p:cNvGrpSpPr/>
              <p:nvPr/>
            </p:nvGrpSpPr>
            <p:grpSpPr bwMode="gray">
              <a:xfrm>
                <a:off x="7236999" y="3856577"/>
                <a:ext cx="75723" cy="75723"/>
                <a:chOff x="7236999" y="3856577"/>
                <a:chExt cx="75723" cy="75723"/>
              </a:xfrm>
            </p:grpSpPr>
            <p:sp>
              <p:nvSpPr>
                <p:cNvPr id="9771" name="Freeform: Shape 9770">
                  <a:extLst>
                    <a:ext uri="{FF2B5EF4-FFF2-40B4-BE49-F238E27FC236}">
                      <a16:creationId xmlns:a16="http://schemas.microsoft.com/office/drawing/2014/main" id="{01E8B2E6-6075-E98F-3558-3DA9E3147276}"/>
                    </a:ext>
                  </a:extLst>
                </p:cNvPr>
                <p:cNvSpPr/>
                <p:nvPr/>
              </p:nvSpPr>
              <p:spPr bwMode="gray">
                <a:xfrm>
                  <a:off x="7274909"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72" name="Freeform: Shape 9771">
                  <a:extLst>
                    <a:ext uri="{FF2B5EF4-FFF2-40B4-BE49-F238E27FC236}">
                      <a16:creationId xmlns:a16="http://schemas.microsoft.com/office/drawing/2014/main" id="{706AAABA-AF05-F720-FBF8-0D7ADC99AAD3}"/>
                    </a:ext>
                  </a:extLst>
                </p:cNvPr>
                <p:cNvSpPr/>
                <p:nvPr/>
              </p:nvSpPr>
              <p:spPr bwMode="gray">
                <a:xfrm>
                  <a:off x="7236999"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7" name="Graphic 77">
                <a:extLst>
                  <a:ext uri="{FF2B5EF4-FFF2-40B4-BE49-F238E27FC236}">
                    <a16:creationId xmlns:a16="http://schemas.microsoft.com/office/drawing/2014/main" id="{06AE9E0C-C2F7-B1A6-C1B4-6210B78BD025}"/>
                  </a:ext>
                </a:extLst>
              </p:cNvPr>
              <p:cNvGrpSpPr/>
              <p:nvPr/>
            </p:nvGrpSpPr>
            <p:grpSpPr bwMode="gray">
              <a:xfrm>
                <a:off x="7246810" y="3856577"/>
                <a:ext cx="75628" cy="75723"/>
                <a:chOff x="7246810" y="3856577"/>
                <a:chExt cx="75628" cy="75723"/>
              </a:xfrm>
            </p:grpSpPr>
            <p:sp>
              <p:nvSpPr>
                <p:cNvPr id="9769" name="Freeform: Shape 9768">
                  <a:extLst>
                    <a:ext uri="{FF2B5EF4-FFF2-40B4-BE49-F238E27FC236}">
                      <a16:creationId xmlns:a16="http://schemas.microsoft.com/office/drawing/2014/main" id="{2347EDE0-8240-98A7-4DE6-02BEEFAF19AA}"/>
                    </a:ext>
                  </a:extLst>
                </p:cNvPr>
                <p:cNvSpPr/>
                <p:nvPr/>
              </p:nvSpPr>
              <p:spPr bwMode="gray">
                <a:xfrm>
                  <a:off x="728462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70" name="Freeform: Shape 9769">
                  <a:extLst>
                    <a:ext uri="{FF2B5EF4-FFF2-40B4-BE49-F238E27FC236}">
                      <a16:creationId xmlns:a16="http://schemas.microsoft.com/office/drawing/2014/main" id="{CBD02F0B-6BCB-0F2F-D62F-9A47B3E90F75}"/>
                    </a:ext>
                  </a:extLst>
                </p:cNvPr>
                <p:cNvSpPr/>
                <p:nvPr/>
              </p:nvSpPr>
              <p:spPr bwMode="gray">
                <a:xfrm>
                  <a:off x="7246810" y="38944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8" name="Graphic 77">
                <a:extLst>
                  <a:ext uri="{FF2B5EF4-FFF2-40B4-BE49-F238E27FC236}">
                    <a16:creationId xmlns:a16="http://schemas.microsoft.com/office/drawing/2014/main" id="{8EBA7B5D-591B-100C-9AC2-B4A9C70839A1}"/>
                  </a:ext>
                </a:extLst>
              </p:cNvPr>
              <p:cNvGrpSpPr/>
              <p:nvPr/>
            </p:nvGrpSpPr>
            <p:grpSpPr bwMode="gray">
              <a:xfrm>
                <a:off x="7305103" y="3856577"/>
                <a:ext cx="75723" cy="75723"/>
                <a:chOff x="7305103" y="3856577"/>
                <a:chExt cx="75723" cy="75723"/>
              </a:xfrm>
            </p:grpSpPr>
            <p:sp>
              <p:nvSpPr>
                <p:cNvPr id="9767" name="Freeform: Shape 9766">
                  <a:extLst>
                    <a:ext uri="{FF2B5EF4-FFF2-40B4-BE49-F238E27FC236}">
                      <a16:creationId xmlns:a16="http://schemas.microsoft.com/office/drawing/2014/main" id="{FEDB3151-5A6D-B457-55F3-59F61A76D2A2}"/>
                    </a:ext>
                  </a:extLst>
                </p:cNvPr>
                <p:cNvSpPr/>
                <p:nvPr/>
              </p:nvSpPr>
              <p:spPr bwMode="gray">
                <a:xfrm>
                  <a:off x="7343013"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68" name="Freeform: Shape 9767">
                  <a:extLst>
                    <a:ext uri="{FF2B5EF4-FFF2-40B4-BE49-F238E27FC236}">
                      <a16:creationId xmlns:a16="http://schemas.microsoft.com/office/drawing/2014/main" id="{31CB9710-499A-1A87-44D0-8C2482E88D71}"/>
                    </a:ext>
                  </a:extLst>
                </p:cNvPr>
                <p:cNvSpPr/>
                <p:nvPr/>
              </p:nvSpPr>
              <p:spPr bwMode="gray">
                <a:xfrm>
                  <a:off x="7305103"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49" name="Graphic 77">
                <a:extLst>
                  <a:ext uri="{FF2B5EF4-FFF2-40B4-BE49-F238E27FC236}">
                    <a16:creationId xmlns:a16="http://schemas.microsoft.com/office/drawing/2014/main" id="{EAC8144D-44BF-151E-D21D-4FD25BE82AA3}"/>
                  </a:ext>
                </a:extLst>
              </p:cNvPr>
              <p:cNvGrpSpPr/>
              <p:nvPr/>
            </p:nvGrpSpPr>
            <p:grpSpPr bwMode="gray">
              <a:xfrm>
                <a:off x="7330916" y="3856577"/>
                <a:ext cx="75628" cy="75723"/>
                <a:chOff x="7330916" y="3856577"/>
                <a:chExt cx="75628" cy="75723"/>
              </a:xfrm>
            </p:grpSpPr>
            <p:sp>
              <p:nvSpPr>
                <p:cNvPr id="9765" name="Freeform: Shape 9764">
                  <a:extLst>
                    <a:ext uri="{FF2B5EF4-FFF2-40B4-BE49-F238E27FC236}">
                      <a16:creationId xmlns:a16="http://schemas.microsoft.com/office/drawing/2014/main" id="{50E93BC8-FD04-A9C9-4205-0FCC5B24CB24}"/>
                    </a:ext>
                  </a:extLst>
                </p:cNvPr>
                <p:cNvSpPr/>
                <p:nvPr/>
              </p:nvSpPr>
              <p:spPr bwMode="gray">
                <a:xfrm>
                  <a:off x="7368730"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66" name="Freeform: Shape 9765">
                  <a:extLst>
                    <a:ext uri="{FF2B5EF4-FFF2-40B4-BE49-F238E27FC236}">
                      <a16:creationId xmlns:a16="http://schemas.microsoft.com/office/drawing/2014/main" id="{A8CA513E-8BBC-D037-3E2F-5AC80DC8FCCD}"/>
                    </a:ext>
                  </a:extLst>
                </p:cNvPr>
                <p:cNvSpPr/>
                <p:nvPr/>
              </p:nvSpPr>
              <p:spPr bwMode="gray">
                <a:xfrm>
                  <a:off x="733091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50" name="Graphic 77">
                <a:extLst>
                  <a:ext uri="{FF2B5EF4-FFF2-40B4-BE49-F238E27FC236}">
                    <a16:creationId xmlns:a16="http://schemas.microsoft.com/office/drawing/2014/main" id="{3D34AAB7-1331-3647-B70B-0548D6D344AD}"/>
                  </a:ext>
                </a:extLst>
              </p:cNvPr>
              <p:cNvGrpSpPr/>
              <p:nvPr/>
            </p:nvGrpSpPr>
            <p:grpSpPr bwMode="gray">
              <a:xfrm>
                <a:off x="7366730" y="3856577"/>
                <a:ext cx="75723" cy="75723"/>
                <a:chOff x="7366730" y="3856577"/>
                <a:chExt cx="75723" cy="75723"/>
              </a:xfrm>
            </p:grpSpPr>
            <p:sp>
              <p:nvSpPr>
                <p:cNvPr id="9763" name="Freeform: Shape 9762">
                  <a:extLst>
                    <a:ext uri="{FF2B5EF4-FFF2-40B4-BE49-F238E27FC236}">
                      <a16:creationId xmlns:a16="http://schemas.microsoft.com/office/drawing/2014/main" id="{100E7CEF-6973-2CB1-A8E9-51F61A691E63}"/>
                    </a:ext>
                  </a:extLst>
                </p:cNvPr>
                <p:cNvSpPr/>
                <p:nvPr/>
              </p:nvSpPr>
              <p:spPr bwMode="gray">
                <a:xfrm>
                  <a:off x="7404544"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64" name="Freeform: Shape 9763">
                  <a:extLst>
                    <a:ext uri="{FF2B5EF4-FFF2-40B4-BE49-F238E27FC236}">
                      <a16:creationId xmlns:a16="http://schemas.microsoft.com/office/drawing/2014/main" id="{B2A563E8-B58F-7868-C2B1-970B1085A432}"/>
                    </a:ext>
                  </a:extLst>
                </p:cNvPr>
                <p:cNvSpPr/>
                <p:nvPr/>
              </p:nvSpPr>
              <p:spPr bwMode="gray">
                <a:xfrm>
                  <a:off x="7366730"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51" name="Graphic 77">
                <a:extLst>
                  <a:ext uri="{FF2B5EF4-FFF2-40B4-BE49-F238E27FC236}">
                    <a16:creationId xmlns:a16="http://schemas.microsoft.com/office/drawing/2014/main" id="{195391C4-33E9-F528-8131-E9CEC5D30F6F}"/>
                  </a:ext>
                </a:extLst>
              </p:cNvPr>
              <p:cNvGrpSpPr/>
              <p:nvPr/>
            </p:nvGrpSpPr>
            <p:grpSpPr bwMode="gray">
              <a:xfrm>
                <a:off x="7415022" y="3856577"/>
                <a:ext cx="75628" cy="75723"/>
                <a:chOff x="7415022" y="3856577"/>
                <a:chExt cx="75628" cy="75723"/>
              </a:xfrm>
            </p:grpSpPr>
            <p:sp>
              <p:nvSpPr>
                <p:cNvPr id="9761" name="Freeform: Shape 9760">
                  <a:extLst>
                    <a:ext uri="{FF2B5EF4-FFF2-40B4-BE49-F238E27FC236}">
                      <a16:creationId xmlns:a16="http://schemas.microsoft.com/office/drawing/2014/main" id="{293F9A9E-DAF1-1A0C-CFE3-69A75C7041C3}"/>
                    </a:ext>
                  </a:extLst>
                </p:cNvPr>
                <p:cNvSpPr/>
                <p:nvPr/>
              </p:nvSpPr>
              <p:spPr bwMode="gray">
                <a:xfrm>
                  <a:off x="7452836"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62" name="Freeform: Shape 9761">
                  <a:extLst>
                    <a:ext uri="{FF2B5EF4-FFF2-40B4-BE49-F238E27FC236}">
                      <a16:creationId xmlns:a16="http://schemas.microsoft.com/office/drawing/2014/main" id="{9ADAF018-0AC7-7410-9D35-1FC19334CF28}"/>
                    </a:ext>
                  </a:extLst>
                </p:cNvPr>
                <p:cNvSpPr/>
                <p:nvPr/>
              </p:nvSpPr>
              <p:spPr bwMode="gray">
                <a:xfrm>
                  <a:off x="7415022" y="3894486"/>
                  <a:ext cx="75628" cy="9525"/>
                </a:xfrm>
                <a:custGeom>
                  <a:avLst/>
                  <a:gdLst>
                    <a:gd name="connsiteX0" fmla="*/ 75629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9"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52" name="Graphic 77">
                <a:extLst>
                  <a:ext uri="{FF2B5EF4-FFF2-40B4-BE49-F238E27FC236}">
                    <a16:creationId xmlns:a16="http://schemas.microsoft.com/office/drawing/2014/main" id="{53886C96-2220-DEE5-7202-89186232C372}"/>
                  </a:ext>
                </a:extLst>
              </p:cNvPr>
              <p:cNvGrpSpPr/>
              <p:nvPr/>
            </p:nvGrpSpPr>
            <p:grpSpPr bwMode="gray">
              <a:xfrm>
                <a:off x="7445406" y="3856577"/>
                <a:ext cx="75628" cy="75723"/>
                <a:chOff x="7445406" y="3856577"/>
                <a:chExt cx="75628" cy="75723"/>
              </a:xfrm>
            </p:grpSpPr>
            <p:sp>
              <p:nvSpPr>
                <p:cNvPr id="9759" name="Freeform: Shape 9758">
                  <a:extLst>
                    <a:ext uri="{FF2B5EF4-FFF2-40B4-BE49-F238E27FC236}">
                      <a16:creationId xmlns:a16="http://schemas.microsoft.com/office/drawing/2014/main" id="{E5ABBE36-661B-6BFD-B59E-7058B9A8A924}"/>
                    </a:ext>
                  </a:extLst>
                </p:cNvPr>
                <p:cNvSpPr/>
                <p:nvPr/>
              </p:nvSpPr>
              <p:spPr bwMode="gray">
                <a:xfrm>
                  <a:off x="7483221"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60" name="Freeform: Shape 9759">
                  <a:extLst>
                    <a:ext uri="{FF2B5EF4-FFF2-40B4-BE49-F238E27FC236}">
                      <a16:creationId xmlns:a16="http://schemas.microsoft.com/office/drawing/2014/main" id="{87CA3629-4562-3F58-F9CC-20BB0C85BA9E}"/>
                    </a:ext>
                  </a:extLst>
                </p:cNvPr>
                <p:cNvSpPr/>
                <p:nvPr/>
              </p:nvSpPr>
              <p:spPr bwMode="gray">
                <a:xfrm>
                  <a:off x="7445406" y="3894486"/>
                  <a:ext cx="75628" cy="9525"/>
                </a:xfrm>
                <a:custGeom>
                  <a:avLst/>
                  <a:gdLst>
                    <a:gd name="connsiteX0" fmla="*/ 75628 w 75628"/>
                    <a:gd name="connsiteY0" fmla="*/ 0 h 9525"/>
                    <a:gd name="connsiteX1" fmla="*/ 0 w 75628"/>
                    <a:gd name="connsiteY1" fmla="*/ 0 h 9525"/>
                  </a:gdLst>
                  <a:ahLst/>
                  <a:cxnLst>
                    <a:cxn ang="0">
                      <a:pos x="connsiteX0" y="connsiteY0"/>
                    </a:cxn>
                    <a:cxn ang="0">
                      <a:pos x="connsiteX1" y="connsiteY1"/>
                    </a:cxn>
                  </a:cxnLst>
                  <a:rect l="l" t="t" r="r" b="b"/>
                  <a:pathLst>
                    <a:path w="75628" h="9525">
                      <a:moveTo>
                        <a:pt x="75628"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53" name="Graphic 77">
                <a:extLst>
                  <a:ext uri="{FF2B5EF4-FFF2-40B4-BE49-F238E27FC236}">
                    <a16:creationId xmlns:a16="http://schemas.microsoft.com/office/drawing/2014/main" id="{E4EE42C3-84FB-DCB0-2199-AD9BE4A6CC45}"/>
                  </a:ext>
                </a:extLst>
              </p:cNvPr>
              <p:cNvGrpSpPr/>
              <p:nvPr/>
            </p:nvGrpSpPr>
            <p:grpSpPr bwMode="gray">
              <a:xfrm>
                <a:off x="7454455" y="3856577"/>
                <a:ext cx="75723" cy="75723"/>
                <a:chOff x="7454455" y="3856577"/>
                <a:chExt cx="75723" cy="75723"/>
              </a:xfrm>
            </p:grpSpPr>
            <p:sp>
              <p:nvSpPr>
                <p:cNvPr id="9757" name="Freeform: Shape 9756">
                  <a:extLst>
                    <a:ext uri="{FF2B5EF4-FFF2-40B4-BE49-F238E27FC236}">
                      <a16:creationId xmlns:a16="http://schemas.microsoft.com/office/drawing/2014/main" id="{1DFA7A2F-D4AB-37D8-F272-AC6192F08D82}"/>
                    </a:ext>
                  </a:extLst>
                </p:cNvPr>
                <p:cNvSpPr/>
                <p:nvPr/>
              </p:nvSpPr>
              <p:spPr bwMode="gray">
                <a:xfrm>
                  <a:off x="7492365"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58" name="Freeform: Shape 9757">
                  <a:extLst>
                    <a:ext uri="{FF2B5EF4-FFF2-40B4-BE49-F238E27FC236}">
                      <a16:creationId xmlns:a16="http://schemas.microsoft.com/office/drawing/2014/main" id="{5F8097F9-5D97-9776-B888-BEEBE7454DBE}"/>
                    </a:ext>
                  </a:extLst>
                </p:cNvPr>
                <p:cNvSpPr/>
                <p:nvPr/>
              </p:nvSpPr>
              <p:spPr bwMode="gray">
                <a:xfrm>
                  <a:off x="7454455"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754" name="Graphic 77">
                <a:extLst>
                  <a:ext uri="{FF2B5EF4-FFF2-40B4-BE49-F238E27FC236}">
                    <a16:creationId xmlns:a16="http://schemas.microsoft.com/office/drawing/2014/main" id="{A3E89738-47B6-2E53-3F1A-6499114AB173}"/>
                  </a:ext>
                </a:extLst>
              </p:cNvPr>
              <p:cNvGrpSpPr/>
              <p:nvPr/>
            </p:nvGrpSpPr>
            <p:grpSpPr bwMode="gray">
              <a:xfrm>
                <a:off x="7436548" y="3856577"/>
                <a:ext cx="75723" cy="75723"/>
                <a:chOff x="7436548" y="3856577"/>
                <a:chExt cx="75723" cy="75723"/>
              </a:xfrm>
            </p:grpSpPr>
            <p:sp>
              <p:nvSpPr>
                <p:cNvPr id="9755" name="Freeform: Shape 9754">
                  <a:extLst>
                    <a:ext uri="{FF2B5EF4-FFF2-40B4-BE49-F238E27FC236}">
                      <a16:creationId xmlns:a16="http://schemas.microsoft.com/office/drawing/2014/main" id="{E692D8B3-A5A0-E162-8000-5B012018F84E}"/>
                    </a:ext>
                  </a:extLst>
                </p:cNvPr>
                <p:cNvSpPr/>
                <p:nvPr/>
              </p:nvSpPr>
              <p:spPr bwMode="gray">
                <a:xfrm>
                  <a:off x="7474362" y="3856577"/>
                  <a:ext cx="9525" cy="75723"/>
                </a:xfrm>
                <a:custGeom>
                  <a:avLst/>
                  <a:gdLst>
                    <a:gd name="connsiteX0" fmla="*/ 0 w 9525"/>
                    <a:gd name="connsiteY0" fmla="*/ 0 h 75723"/>
                    <a:gd name="connsiteX1" fmla="*/ 0 w 9525"/>
                    <a:gd name="connsiteY1" fmla="*/ 75724 h 75723"/>
                  </a:gdLst>
                  <a:ahLst/>
                  <a:cxnLst>
                    <a:cxn ang="0">
                      <a:pos x="connsiteX0" y="connsiteY0"/>
                    </a:cxn>
                    <a:cxn ang="0">
                      <a:pos x="connsiteX1" y="connsiteY1"/>
                    </a:cxn>
                  </a:cxnLst>
                  <a:rect l="l" t="t" r="r" b="b"/>
                  <a:pathLst>
                    <a:path w="9525" h="75723">
                      <a:moveTo>
                        <a:pt x="0" y="0"/>
                      </a:moveTo>
                      <a:lnTo>
                        <a:pt x="0" y="75724"/>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56" name="Freeform: Shape 9755">
                  <a:extLst>
                    <a:ext uri="{FF2B5EF4-FFF2-40B4-BE49-F238E27FC236}">
                      <a16:creationId xmlns:a16="http://schemas.microsoft.com/office/drawing/2014/main" id="{21BFFD4B-A157-531E-ECFD-9AC3CFDA10C0}"/>
                    </a:ext>
                  </a:extLst>
                </p:cNvPr>
                <p:cNvSpPr/>
                <p:nvPr/>
              </p:nvSpPr>
              <p:spPr bwMode="gray">
                <a:xfrm>
                  <a:off x="7436548" y="3894486"/>
                  <a:ext cx="75723" cy="9525"/>
                </a:xfrm>
                <a:custGeom>
                  <a:avLst/>
                  <a:gdLst>
                    <a:gd name="connsiteX0" fmla="*/ 75724 w 75723"/>
                    <a:gd name="connsiteY0" fmla="*/ 0 h 9525"/>
                    <a:gd name="connsiteX1" fmla="*/ 0 w 75723"/>
                    <a:gd name="connsiteY1" fmla="*/ 0 h 9525"/>
                  </a:gdLst>
                  <a:ahLst/>
                  <a:cxnLst>
                    <a:cxn ang="0">
                      <a:pos x="connsiteX0" y="connsiteY0"/>
                    </a:cxn>
                    <a:cxn ang="0">
                      <a:pos x="connsiteX1" y="connsiteY1"/>
                    </a:cxn>
                  </a:cxnLst>
                  <a:rect l="l" t="t" r="r" b="b"/>
                  <a:pathLst>
                    <a:path w="75723" h="9525">
                      <a:moveTo>
                        <a:pt x="75724" y="0"/>
                      </a:moveTo>
                      <a:lnTo>
                        <a:pt x="0" y="0"/>
                      </a:lnTo>
                    </a:path>
                  </a:pathLst>
                </a:custGeom>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9648" name="Freeform: Shape 9647">
              <a:extLst>
                <a:ext uri="{FF2B5EF4-FFF2-40B4-BE49-F238E27FC236}">
                  <a16:creationId xmlns:a16="http://schemas.microsoft.com/office/drawing/2014/main" id="{CED7AA0F-E535-BD71-2F24-8F8A3E61C66C}"/>
                </a:ext>
              </a:extLst>
            </p:cNvPr>
            <p:cNvSpPr/>
            <p:nvPr/>
          </p:nvSpPr>
          <p:spPr bwMode="gray">
            <a:xfrm>
              <a:off x="3057525" y="2690812"/>
              <a:ext cx="6041326" cy="1440179"/>
            </a:xfrm>
            <a:custGeom>
              <a:avLst/>
              <a:gdLst>
                <a:gd name="connsiteX0" fmla="*/ 6041327 w 6041326"/>
                <a:gd name="connsiteY0" fmla="*/ 1440180 h 1440179"/>
                <a:gd name="connsiteX1" fmla="*/ 4664107 w 6041326"/>
                <a:gd name="connsiteY1" fmla="*/ 1440180 h 1440179"/>
                <a:gd name="connsiteX2" fmla="*/ 4664107 w 6041326"/>
                <a:gd name="connsiteY2" fmla="*/ 1203674 h 1440179"/>
                <a:gd name="connsiteX3" fmla="*/ 4093083 w 6041326"/>
                <a:gd name="connsiteY3" fmla="*/ 1203674 h 1440179"/>
                <a:gd name="connsiteX4" fmla="*/ 4093083 w 6041326"/>
                <a:gd name="connsiteY4" fmla="*/ 1120521 h 1440179"/>
                <a:gd name="connsiteX5" fmla="*/ 3884581 w 6041326"/>
                <a:gd name="connsiteY5" fmla="*/ 1120521 h 1440179"/>
                <a:gd name="connsiteX6" fmla="*/ 3884581 w 6041326"/>
                <a:gd name="connsiteY6" fmla="*/ 1040511 h 1440179"/>
                <a:gd name="connsiteX7" fmla="*/ 3686080 w 6041326"/>
                <a:gd name="connsiteY7" fmla="*/ 1040511 h 1440179"/>
                <a:gd name="connsiteX8" fmla="*/ 3686080 w 6041326"/>
                <a:gd name="connsiteY8" fmla="*/ 979361 h 1440179"/>
                <a:gd name="connsiteX9" fmla="*/ 3311557 w 6041326"/>
                <a:gd name="connsiteY9" fmla="*/ 979361 h 1440179"/>
                <a:gd name="connsiteX10" fmla="*/ 3311557 w 6041326"/>
                <a:gd name="connsiteY10" fmla="*/ 921925 h 1440179"/>
                <a:gd name="connsiteX11" fmla="*/ 3127343 w 6041326"/>
                <a:gd name="connsiteY11" fmla="*/ 921925 h 1440179"/>
                <a:gd name="connsiteX12" fmla="*/ 3127343 w 6041326"/>
                <a:gd name="connsiteY12" fmla="*/ 880110 h 1440179"/>
                <a:gd name="connsiteX13" fmla="*/ 3059811 w 6041326"/>
                <a:gd name="connsiteY13" fmla="*/ 880110 h 1440179"/>
                <a:gd name="connsiteX14" fmla="*/ 3059811 w 6041326"/>
                <a:gd name="connsiteY14" fmla="*/ 837248 h 1440179"/>
                <a:gd name="connsiteX15" fmla="*/ 2740724 w 6041326"/>
                <a:gd name="connsiteY15" fmla="*/ 837248 h 1440179"/>
                <a:gd name="connsiteX16" fmla="*/ 2740724 w 6041326"/>
                <a:gd name="connsiteY16" fmla="*/ 793813 h 1440179"/>
                <a:gd name="connsiteX17" fmla="*/ 2507552 w 6041326"/>
                <a:gd name="connsiteY17" fmla="*/ 793813 h 1440179"/>
                <a:gd name="connsiteX18" fmla="*/ 2507552 w 6041326"/>
                <a:gd name="connsiteY18" fmla="*/ 763238 h 1440179"/>
                <a:gd name="connsiteX19" fmla="*/ 2496217 w 6041326"/>
                <a:gd name="connsiteY19" fmla="*/ 763238 h 1440179"/>
                <a:gd name="connsiteX20" fmla="*/ 2496217 w 6041326"/>
                <a:gd name="connsiteY20" fmla="*/ 731330 h 1440179"/>
                <a:gd name="connsiteX21" fmla="*/ 2290191 w 6041326"/>
                <a:gd name="connsiteY21" fmla="*/ 731330 h 1440179"/>
                <a:gd name="connsiteX22" fmla="*/ 2290191 w 6041326"/>
                <a:gd name="connsiteY22" fmla="*/ 698849 h 1440179"/>
                <a:gd name="connsiteX23" fmla="*/ 2266760 w 6041326"/>
                <a:gd name="connsiteY23" fmla="*/ 698849 h 1440179"/>
                <a:gd name="connsiteX24" fmla="*/ 2266760 w 6041326"/>
                <a:gd name="connsiteY24" fmla="*/ 663893 h 1440179"/>
                <a:gd name="connsiteX25" fmla="*/ 2177034 w 6041326"/>
                <a:gd name="connsiteY25" fmla="*/ 663893 h 1440179"/>
                <a:gd name="connsiteX26" fmla="*/ 2177034 w 6041326"/>
                <a:gd name="connsiteY26" fmla="*/ 638270 h 1440179"/>
                <a:gd name="connsiteX27" fmla="*/ 2104454 w 6041326"/>
                <a:gd name="connsiteY27" fmla="*/ 638270 h 1440179"/>
                <a:gd name="connsiteX28" fmla="*/ 2104454 w 6041326"/>
                <a:gd name="connsiteY28" fmla="*/ 613029 h 1440179"/>
                <a:gd name="connsiteX29" fmla="*/ 1925669 w 6041326"/>
                <a:gd name="connsiteY29" fmla="*/ 613029 h 1440179"/>
                <a:gd name="connsiteX30" fmla="*/ 1925669 w 6041326"/>
                <a:gd name="connsiteY30" fmla="*/ 585407 h 1440179"/>
                <a:gd name="connsiteX31" fmla="*/ 1847279 w 6041326"/>
                <a:gd name="connsiteY31" fmla="*/ 585407 h 1440179"/>
                <a:gd name="connsiteX32" fmla="*/ 1847279 w 6041326"/>
                <a:gd name="connsiteY32" fmla="*/ 556832 h 1440179"/>
                <a:gd name="connsiteX33" fmla="*/ 1683734 w 6041326"/>
                <a:gd name="connsiteY33" fmla="*/ 556832 h 1440179"/>
                <a:gd name="connsiteX34" fmla="*/ 1683734 w 6041326"/>
                <a:gd name="connsiteY34" fmla="*/ 528923 h 1440179"/>
                <a:gd name="connsiteX35" fmla="*/ 1655731 w 6041326"/>
                <a:gd name="connsiteY35" fmla="*/ 528923 h 1440179"/>
                <a:gd name="connsiteX36" fmla="*/ 1655731 w 6041326"/>
                <a:gd name="connsiteY36" fmla="*/ 512445 h 1440179"/>
                <a:gd name="connsiteX37" fmla="*/ 1630204 w 6041326"/>
                <a:gd name="connsiteY37" fmla="*/ 512445 h 1440179"/>
                <a:gd name="connsiteX38" fmla="*/ 1630204 w 6041326"/>
                <a:gd name="connsiteY38" fmla="*/ 483299 h 1440179"/>
                <a:gd name="connsiteX39" fmla="*/ 1585817 w 6041326"/>
                <a:gd name="connsiteY39" fmla="*/ 483299 h 1440179"/>
                <a:gd name="connsiteX40" fmla="*/ 1585817 w 6041326"/>
                <a:gd name="connsiteY40" fmla="*/ 459391 h 1440179"/>
                <a:gd name="connsiteX41" fmla="*/ 1542383 w 6041326"/>
                <a:gd name="connsiteY41" fmla="*/ 459391 h 1440179"/>
                <a:gd name="connsiteX42" fmla="*/ 1542383 w 6041326"/>
                <a:gd name="connsiteY42" fmla="*/ 431387 h 1440179"/>
                <a:gd name="connsiteX43" fmla="*/ 1423511 w 6041326"/>
                <a:gd name="connsiteY43" fmla="*/ 431387 h 1440179"/>
                <a:gd name="connsiteX44" fmla="*/ 1423511 w 6041326"/>
                <a:gd name="connsiteY44" fmla="*/ 411575 h 1440179"/>
                <a:gd name="connsiteX45" fmla="*/ 1074611 w 6041326"/>
                <a:gd name="connsiteY45" fmla="*/ 411575 h 1440179"/>
                <a:gd name="connsiteX46" fmla="*/ 1074611 w 6041326"/>
                <a:gd name="connsiteY46" fmla="*/ 387572 h 1440179"/>
                <a:gd name="connsiteX47" fmla="*/ 1048322 w 6041326"/>
                <a:gd name="connsiteY47" fmla="*/ 387572 h 1440179"/>
                <a:gd name="connsiteX48" fmla="*/ 1048322 w 6041326"/>
                <a:gd name="connsiteY48" fmla="*/ 354140 h 1440179"/>
                <a:gd name="connsiteX49" fmla="*/ 992696 w 6041326"/>
                <a:gd name="connsiteY49" fmla="*/ 354140 h 1440179"/>
                <a:gd name="connsiteX50" fmla="*/ 992696 w 6041326"/>
                <a:gd name="connsiteY50" fmla="*/ 332232 h 1440179"/>
                <a:gd name="connsiteX51" fmla="*/ 941927 w 6041326"/>
                <a:gd name="connsiteY51" fmla="*/ 332232 h 1440179"/>
                <a:gd name="connsiteX52" fmla="*/ 941927 w 6041326"/>
                <a:gd name="connsiteY52" fmla="*/ 314897 h 1440179"/>
                <a:gd name="connsiteX53" fmla="*/ 897255 w 6041326"/>
                <a:gd name="connsiteY53" fmla="*/ 314897 h 1440179"/>
                <a:gd name="connsiteX54" fmla="*/ 897255 w 6041326"/>
                <a:gd name="connsiteY54" fmla="*/ 291656 h 1440179"/>
                <a:gd name="connsiteX55" fmla="*/ 864108 w 6041326"/>
                <a:gd name="connsiteY55" fmla="*/ 291656 h 1440179"/>
                <a:gd name="connsiteX56" fmla="*/ 864108 w 6041326"/>
                <a:gd name="connsiteY56" fmla="*/ 275082 h 1440179"/>
                <a:gd name="connsiteX57" fmla="*/ 852869 w 6041326"/>
                <a:gd name="connsiteY57" fmla="*/ 275082 h 1440179"/>
                <a:gd name="connsiteX58" fmla="*/ 852869 w 6041326"/>
                <a:gd name="connsiteY58" fmla="*/ 252222 h 1440179"/>
                <a:gd name="connsiteX59" fmla="*/ 775049 w 6041326"/>
                <a:gd name="connsiteY59" fmla="*/ 252222 h 1440179"/>
                <a:gd name="connsiteX60" fmla="*/ 775049 w 6041326"/>
                <a:gd name="connsiteY60" fmla="*/ 231458 h 1440179"/>
                <a:gd name="connsiteX61" fmla="*/ 696373 w 6041326"/>
                <a:gd name="connsiteY61" fmla="*/ 231458 h 1440179"/>
                <a:gd name="connsiteX62" fmla="*/ 696373 w 6041326"/>
                <a:gd name="connsiteY62" fmla="*/ 213931 h 1440179"/>
                <a:gd name="connsiteX63" fmla="*/ 690563 w 6041326"/>
                <a:gd name="connsiteY63" fmla="*/ 213931 h 1440179"/>
                <a:gd name="connsiteX64" fmla="*/ 690563 w 6041326"/>
                <a:gd name="connsiteY64" fmla="*/ 196596 h 1440179"/>
                <a:gd name="connsiteX65" fmla="*/ 662273 w 6041326"/>
                <a:gd name="connsiteY65" fmla="*/ 196596 h 1440179"/>
                <a:gd name="connsiteX66" fmla="*/ 662273 w 6041326"/>
                <a:gd name="connsiteY66" fmla="*/ 174403 h 1440179"/>
                <a:gd name="connsiteX67" fmla="*/ 556546 w 6041326"/>
                <a:gd name="connsiteY67" fmla="*/ 174403 h 1440179"/>
                <a:gd name="connsiteX68" fmla="*/ 556546 w 6041326"/>
                <a:gd name="connsiteY68" fmla="*/ 157734 h 1440179"/>
                <a:gd name="connsiteX69" fmla="*/ 416624 w 6041326"/>
                <a:gd name="connsiteY69" fmla="*/ 157734 h 1440179"/>
                <a:gd name="connsiteX70" fmla="*/ 416624 w 6041326"/>
                <a:gd name="connsiteY70" fmla="*/ 135255 h 1440179"/>
                <a:gd name="connsiteX71" fmla="*/ 360998 w 6041326"/>
                <a:gd name="connsiteY71" fmla="*/ 135255 h 1440179"/>
                <a:gd name="connsiteX72" fmla="*/ 360998 w 6041326"/>
                <a:gd name="connsiteY72" fmla="*/ 118205 h 1440179"/>
                <a:gd name="connsiteX73" fmla="*/ 127540 w 6041326"/>
                <a:gd name="connsiteY73" fmla="*/ 118205 h 1440179"/>
                <a:gd name="connsiteX74" fmla="*/ 127540 w 6041326"/>
                <a:gd name="connsiteY74" fmla="*/ 100584 h 1440179"/>
                <a:gd name="connsiteX75" fmla="*/ 120587 w 6041326"/>
                <a:gd name="connsiteY75" fmla="*/ 100584 h 1440179"/>
                <a:gd name="connsiteX76" fmla="*/ 120587 w 6041326"/>
                <a:gd name="connsiteY76" fmla="*/ 78677 h 1440179"/>
                <a:gd name="connsiteX77" fmla="*/ 64675 w 6041326"/>
                <a:gd name="connsiteY77" fmla="*/ 78677 h 1440179"/>
                <a:gd name="connsiteX78" fmla="*/ 64675 w 6041326"/>
                <a:gd name="connsiteY78" fmla="*/ 60770 h 1440179"/>
                <a:gd name="connsiteX79" fmla="*/ 53721 w 6041326"/>
                <a:gd name="connsiteY79" fmla="*/ 60770 h 1440179"/>
                <a:gd name="connsiteX80" fmla="*/ 53721 w 6041326"/>
                <a:gd name="connsiteY80" fmla="*/ 21527 h 1440179"/>
                <a:gd name="connsiteX81" fmla="*/ 39434 w 6041326"/>
                <a:gd name="connsiteY81" fmla="*/ 21527 h 1440179"/>
                <a:gd name="connsiteX82" fmla="*/ 39434 w 6041326"/>
                <a:gd name="connsiteY82" fmla="*/ 0 h 1440179"/>
                <a:gd name="connsiteX83" fmla="*/ 0 w 6041326"/>
                <a:gd name="connsiteY83" fmla="*/ 0 h 144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41326" h="1440179">
                  <a:moveTo>
                    <a:pt x="6041327" y="1440180"/>
                  </a:moveTo>
                  <a:lnTo>
                    <a:pt x="4664107" y="1440180"/>
                  </a:lnTo>
                  <a:lnTo>
                    <a:pt x="4664107" y="1203674"/>
                  </a:lnTo>
                  <a:lnTo>
                    <a:pt x="4093083" y="1203674"/>
                  </a:lnTo>
                  <a:lnTo>
                    <a:pt x="4093083" y="1120521"/>
                  </a:lnTo>
                  <a:lnTo>
                    <a:pt x="3884581" y="1120521"/>
                  </a:lnTo>
                  <a:lnTo>
                    <a:pt x="3884581" y="1040511"/>
                  </a:lnTo>
                  <a:lnTo>
                    <a:pt x="3686080" y="1040511"/>
                  </a:lnTo>
                  <a:lnTo>
                    <a:pt x="3686080" y="979361"/>
                  </a:lnTo>
                  <a:lnTo>
                    <a:pt x="3311557" y="979361"/>
                  </a:lnTo>
                  <a:lnTo>
                    <a:pt x="3311557" y="921925"/>
                  </a:lnTo>
                  <a:lnTo>
                    <a:pt x="3127343" y="921925"/>
                  </a:lnTo>
                  <a:lnTo>
                    <a:pt x="3127343" y="880110"/>
                  </a:lnTo>
                  <a:lnTo>
                    <a:pt x="3059811" y="880110"/>
                  </a:lnTo>
                  <a:lnTo>
                    <a:pt x="3059811" y="837248"/>
                  </a:lnTo>
                  <a:lnTo>
                    <a:pt x="2740724" y="837248"/>
                  </a:lnTo>
                  <a:lnTo>
                    <a:pt x="2740724" y="793813"/>
                  </a:lnTo>
                  <a:lnTo>
                    <a:pt x="2507552" y="793813"/>
                  </a:lnTo>
                  <a:lnTo>
                    <a:pt x="2507552" y="763238"/>
                  </a:lnTo>
                  <a:lnTo>
                    <a:pt x="2496217" y="763238"/>
                  </a:lnTo>
                  <a:lnTo>
                    <a:pt x="2496217" y="731330"/>
                  </a:lnTo>
                  <a:lnTo>
                    <a:pt x="2290191" y="731330"/>
                  </a:lnTo>
                  <a:lnTo>
                    <a:pt x="2290191" y="698849"/>
                  </a:lnTo>
                  <a:lnTo>
                    <a:pt x="2266760" y="698849"/>
                  </a:lnTo>
                  <a:lnTo>
                    <a:pt x="2266760" y="663893"/>
                  </a:lnTo>
                  <a:lnTo>
                    <a:pt x="2177034" y="663893"/>
                  </a:lnTo>
                  <a:lnTo>
                    <a:pt x="2177034" y="638270"/>
                  </a:lnTo>
                  <a:lnTo>
                    <a:pt x="2104454" y="638270"/>
                  </a:lnTo>
                  <a:lnTo>
                    <a:pt x="2104454" y="613029"/>
                  </a:lnTo>
                  <a:lnTo>
                    <a:pt x="1925669" y="613029"/>
                  </a:lnTo>
                  <a:lnTo>
                    <a:pt x="1925669" y="585407"/>
                  </a:lnTo>
                  <a:lnTo>
                    <a:pt x="1847279" y="585407"/>
                  </a:lnTo>
                  <a:lnTo>
                    <a:pt x="1847279" y="556832"/>
                  </a:lnTo>
                  <a:lnTo>
                    <a:pt x="1683734" y="556832"/>
                  </a:lnTo>
                  <a:lnTo>
                    <a:pt x="1683734" y="528923"/>
                  </a:lnTo>
                  <a:lnTo>
                    <a:pt x="1655731" y="528923"/>
                  </a:lnTo>
                  <a:lnTo>
                    <a:pt x="1655731" y="512445"/>
                  </a:lnTo>
                  <a:lnTo>
                    <a:pt x="1630204" y="512445"/>
                  </a:lnTo>
                  <a:lnTo>
                    <a:pt x="1630204" y="483299"/>
                  </a:lnTo>
                  <a:lnTo>
                    <a:pt x="1585817" y="483299"/>
                  </a:lnTo>
                  <a:lnTo>
                    <a:pt x="1585817" y="459391"/>
                  </a:lnTo>
                  <a:lnTo>
                    <a:pt x="1542383" y="459391"/>
                  </a:lnTo>
                  <a:lnTo>
                    <a:pt x="1542383" y="431387"/>
                  </a:lnTo>
                  <a:lnTo>
                    <a:pt x="1423511" y="431387"/>
                  </a:lnTo>
                  <a:lnTo>
                    <a:pt x="1423511" y="411575"/>
                  </a:lnTo>
                  <a:lnTo>
                    <a:pt x="1074611" y="411575"/>
                  </a:lnTo>
                  <a:lnTo>
                    <a:pt x="1074611" y="387572"/>
                  </a:lnTo>
                  <a:lnTo>
                    <a:pt x="1048322" y="387572"/>
                  </a:lnTo>
                  <a:lnTo>
                    <a:pt x="1048322" y="354140"/>
                  </a:lnTo>
                  <a:lnTo>
                    <a:pt x="992696" y="354140"/>
                  </a:lnTo>
                  <a:lnTo>
                    <a:pt x="992696" y="332232"/>
                  </a:lnTo>
                  <a:lnTo>
                    <a:pt x="941927" y="332232"/>
                  </a:lnTo>
                  <a:lnTo>
                    <a:pt x="941927" y="314897"/>
                  </a:lnTo>
                  <a:lnTo>
                    <a:pt x="897255" y="314897"/>
                  </a:lnTo>
                  <a:lnTo>
                    <a:pt x="897255" y="291656"/>
                  </a:lnTo>
                  <a:lnTo>
                    <a:pt x="864108" y="291656"/>
                  </a:lnTo>
                  <a:lnTo>
                    <a:pt x="864108" y="275082"/>
                  </a:lnTo>
                  <a:lnTo>
                    <a:pt x="852869" y="275082"/>
                  </a:lnTo>
                  <a:lnTo>
                    <a:pt x="852869" y="252222"/>
                  </a:lnTo>
                  <a:lnTo>
                    <a:pt x="775049" y="252222"/>
                  </a:lnTo>
                  <a:lnTo>
                    <a:pt x="775049" y="231458"/>
                  </a:lnTo>
                  <a:lnTo>
                    <a:pt x="696373" y="231458"/>
                  </a:lnTo>
                  <a:lnTo>
                    <a:pt x="696373" y="213931"/>
                  </a:lnTo>
                  <a:lnTo>
                    <a:pt x="690563" y="213931"/>
                  </a:lnTo>
                  <a:lnTo>
                    <a:pt x="690563" y="196596"/>
                  </a:lnTo>
                  <a:lnTo>
                    <a:pt x="662273" y="196596"/>
                  </a:lnTo>
                  <a:lnTo>
                    <a:pt x="662273" y="174403"/>
                  </a:lnTo>
                  <a:lnTo>
                    <a:pt x="556546" y="174403"/>
                  </a:lnTo>
                  <a:lnTo>
                    <a:pt x="556546" y="157734"/>
                  </a:lnTo>
                  <a:lnTo>
                    <a:pt x="416624" y="157734"/>
                  </a:lnTo>
                  <a:lnTo>
                    <a:pt x="416624" y="135255"/>
                  </a:lnTo>
                  <a:lnTo>
                    <a:pt x="360998" y="135255"/>
                  </a:lnTo>
                  <a:lnTo>
                    <a:pt x="360998" y="118205"/>
                  </a:lnTo>
                  <a:lnTo>
                    <a:pt x="127540" y="118205"/>
                  </a:lnTo>
                  <a:lnTo>
                    <a:pt x="127540" y="100584"/>
                  </a:lnTo>
                  <a:lnTo>
                    <a:pt x="120587" y="100584"/>
                  </a:lnTo>
                  <a:lnTo>
                    <a:pt x="120587" y="78677"/>
                  </a:lnTo>
                  <a:lnTo>
                    <a:pt x="64675" y="78677"/>
                  </a:lnTo>
                  <a:lnTo>
                    <a:pt x="64675" y="60770"/>
                  </a:lnTo>
                  <a:lnTo>
                    <a:pt x="53721" y="60770"/>
                  </a:lnTo>
                  <a:lnTo>
                    <a:pt x="53721" y="21527"/>
                  </a:lnTo>
                  <a:lnTo>
                    <a:pt x="39434" y="21527"/>
                  </a:lnTo>
                  <a:lnTo>
                    <a:pt x="39434" y="0"/>
                  </a:lnTo>
                  <a:lnTo>
                    <a:pt x="0" y="0"/>
                  </a:lnTo>
                </a:path>
              </a:pathLst>
            </a:custGeom>
            <a:noFill/>
            <a:ln w="19050" cap="flat">
              <a:solidFill>
                <a:schemeClr val="tx2">
                  <a:lumMod val="75000"/>
                  <a:lumOff val="25000"/>
                </a:schemeClr>
              </a:solidFill>
              <a:prstDash val="solid"/>
              <a:miter/>
            </a:ln>
          </p:spPr>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5376" name="Title 1">
            <a:extLst>
              <a:ext uri="{FF2B5EF4-FFF2-40B4-BE49-F238E27FC236}">
                <a16:creationId xmlns:a16="http://schemas.microsoft.com/office/drawing/2014/main" id="{703F0F5C-5FEA-88C3-4FE1-33E8F4422F9E}"/>
              </a:ext>
            </a:extLst>
          </p:cNvPr>
          <p:cNvSpPr txBox="1">
            <a:spLocks/>
          </p:cNvSpPr>
          <p:nvPr/>
        </p:nvSpPr>
        <p:spPr>
          <a:xfrm>
            <a:off x="489635" y="357717"/>
            <a:ext cx="9275053" cy="576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pPr marL="0" marR="0" lvl="0" indent="0" algn="l" defTabSz="914446" rtl="0" eaLnBrk="1" fontAlgn="auto" latinLnBrk="0" hangingPunct="1">
              <a:lnSpc>
                <a:spcPct val="80000"/>
              </a:lnSpc>
              <a:spcBef>
                <a:spcPts val="0"/>
              </a:spcBef>
              <a:spcAft>
                <a:spcPts val="0"/>
              </a:spcAft>
              <a:buClr>
                <a:srgbClr val="05416B"/>
              </a:buClr>
              <a:buSzPts val="1400"/>
              <a:buFont typeface="Arial"/>
              <a:buNone/>
              <a:tabLst/>
              <a:defRPr/>
            </a:pPr>
            <a:r>
              <a:rPr kumimoji="0" lang="en-US" sz="3200" b="1" i="0" u="none" strike="noStrike" kern="0" cap="none" spc="0" normalizeH="0" baseline="0" noProof="0" dirty="0">
                <a:ln>
                  <a:noFill/>
                </a:ln>
                <a:solidFill>
                  <a:srgbClr val="002060"/>
                </a:solidFill>
                <a:effectLst/>
                <a:uLnTx/>
                <a:uFillTx/>
                <a:latin typeface="Arial Narrow"/>
                <a:cs typeface="Arial Narrow"/>
                <a:sym typeface="Arial Narrow"/>
              </a:rPr>
              <a:t>CAPItello-281 PTEN subgroups: OS</a:t>
            </a:r>
          </a:p>
        </p:txBody>
      </p:sp>
      <p:graphicFrame>
        <p:nvGraphicFramePr>
          <p:cNvPr id="5378" name="Table 5377">
            <a:extLst>
              <a:ext uri="{FF2B5EF4-FFF2-40B4-BE49-F238E27FC236}">
                <a16:creationId xmlns:a16="http://schemas.microsoft.com/office/drawing/2014/main" id="{0DEAF518-3DC4-7A5C-F7D4-B7007EB5BCED}"/>
              </a:ext>
            </a:extLst>
          </p:cNvPr>
          <p:cNvGraphicFramePr>
            <a:graphicFrameLocks noGrp="1"/>
          </p:cNvGraphicFramePr>
          <p:nvPr/>
        </p:nvGraphicFramePr>
        <p:xfrm>
          <a:off x="7807482" y="1233402"/>
          <a:ext cx="4320000" cy="4301673"/>
        </p:xfrm>
        <a:graphic>
          <a:graphicData uri="http://schemas.openxmlformats.org/drawingml/2006/table">
            <a:tbl>
              <a:tblPr firstRow="1" firstCol="1" bandRow="1"/>
              <a:tblGrid>
                <a:gridCol w="828000">
                  <a:extLst>
                    <a:ext uri="{9D8B030D-6E8A-4147-A177-3AD203B41FA5}">
                      <a16:colId xmlns:a16="http://schemas.microsoft.com/office/drawing/2014/main" val="514189770"/>
                    </a:ext>
                  </a:extLst>
                </a:gridCol>
                <a:gridCol w="432000">
                  <a:extLst>
                    <a:ext uri="{9D8B030D-6E8A-4147-A177-3AD203B41FA5}">
                      <a16:colId xmlns:a16="http://schemas.microsoft.com/office/drawing/2014/main" val="579979859"/>
                    </a:ext>
                  </a:extLst>
                </a:gridCol>
                <a:gridCol w="432000">
                  <a:extLst>
                    <a:ext uri="{9D8B030D-6E8A-4147-A177-3AD203B41FA5}">
                      <a16:colId xmlns:a16="http://schemas.microsoft.com/office/drawing/2014/main" val="3166258227"/>
                    </a:ext>
                  </a:extLst>
                </a:gridCol>
                <a:gridCol w="972000">
                  <a:extLst>
                    <a:ext uri="{9D8B030D-6E8A-4147-A177-3AD203B41FA5}">
                      <a16:colId xmlns:a16="http://schemas.microsoft.com/office/drawing/2014/main" val="1928375969"/>
                    </a:ext>
                  </a:extLst>
                </a:gridCol>
                <a:gridCol w="432000">
                  <a:extLst>
                    <a:ext uri="{9D8B030D-6E8A-4147-A177-3AD203B41FA5}">
                      <a16:colId xmlns:a16="http://schemas.microsoft.com/office/drawing/2014/main" val="2192936149"/>
                    </a:ext>
                  </a:extLst>
                </a:gridCol>
                <a:gridCol w="432000">
                  <a:extLst>
                    <a:ext uri="{9D8B030D-6E8A-4147-A177-3AD203B41FA5}">
                      <a16:colId xmlns:a16="http://schemas.microsoft.com/office/drawing/2014/main" val="3352171257"/>
                    </a:ext>
                  </a:extLst>
                </a:gridCol>
                <a:gridCol w="792000">
                  <a:extLst>
                    <a:ext uri="{9D8B030D-6E8A-4147-A177-3AD203B41FA5}">
                      <a16:colId xmlns:a16="http://schemas.microsoft.com/office/drawing/2014/main" val="1850007713"/>
                    </a:ext>
                  </a:extLst>
                </a:gridCol>
              </a:tblGrid>
              <a:tr h="607873">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Arial Narrow" panose="020B0606020202030204" pitchFamily="34" charset="0"/>
                          <a:ea typeface="MS Mincho" panose="02020609040205080304" pitchFamily="49" charset="-128"/>
                        </a:rPr>
                        <a:t>PTEN cutoff</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endParaRPr lang="en-US" sz="1200" b="1" kern="1200" noProof="0" dirty="0">
                        <a:solidFill>
                          <a:schemeClr val="tx1"/>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rPr>
                        <a:t>Capi + </a:t>
                      </a:r>
                      <a:r>
                        <a:rPr lang="en-US" sz="1200" b="1" kern="1200" noProof="0" dirty="0" err="1">
                          <a:solidFill>
                            <a:schemeClr val="tx2">
                              <a:lumMod val="75000"/>
                              <a:lumOff val="25000"/>
                            </a:schemeClr>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tx2">
                            <a:lumMod val="75000"/>
                            <a:lumOff val="25000"/>
                          </a:schemeClr>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p>
                      <a:pPr algn="ct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Pbo</a:t>
                      </a:r>
                      <a:r>
                        <a:rPr lang="en-US" sz="1200" b="1" kern="1200" noProof="0" dirty="0">
                          <a:solidFill>
                            <a:schemeClr val="accent3"/>
                          </a:solidFill>
                          <a:effectLst/>
                          <a:latin typeface="Arial Narrow" panose="020B0606020202030204" pitchFamily="34" charset="0"/>
                          <a:ea typeface="MS Mincho" panose="02020609040205080304" pitchFamily="49" charset="-128"/>
                          <a:cs typeface="+mn-cs"/>
                        </a:rPr>
                        <a:t> + </a:t>
                      </a:r>
                      <a:r>
                        <a:rPr lang="en-US" sz="1200" b="1" kern="1200" noProof="0" dirty="0" err="1">
                          <a:solidFill>
                            <a:schemeClr val="accent3"/>
                          </a:solidFill>
                          <a:effectLst/>
                          <a:latin typeface="Arial Narrow" panose="020B0606020202030204" pitchFamily="34" charset="0"/>
                          <a:ea typeface="MS Mincho" panose="02020609040205080304" pitchFamily="49" charset="-128"/>
                          <a:cs typeface="+mn-cs"/>
                        </a:rPr>
                        <a:t>abi</a:t>
                      </a:r>
                      <a:endParaRPr lang="en-US" sz="1200" b="1" kern="1200" noProof="0" dirty="0">
                        <a:solidFill>
                          <a:schemeClr val="accent3"/>
                        </a:solidFill>
                        <a:effectLst/>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HR </a:t>
                      </a:r>
                    </a:p>
                    <a:p>
                      <a:pPr algn="ctr">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95% CI)</a:t>
                      </a:r>
                    </a:p>
                  </a:txBody>
                  <a:tcPr marL="72000" marR="45720" marT="36000" marB="3600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1046603739"/>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ea typeface="MS Mincho" panose="02020609040205080304" pitchFamily="49" charset="-128"/>
                        </a:rPr>
                        <a:t>All </a:t>
                      </a:r>
                      <a:r>
                        <a:rPr lang="en-US" sz="1200" b="1" noProof="0" dirty="0" err="1">
                          <a:solidFill>
                            <a:schemeClr val="tx1"/>
                          </a:solidFill>
                          <a:effectLst/>
                          <a:latin typeface="Arial Narrow" panose="020B0606020202030204" pitchFamily="34" charset="0"/>
                          <a:ea typeface="MS Mincho" panose="02020609040205080304" pitchFamily="49" charset="-128"/>
                        </a:rPr>
                        <a:t>randomised</a:t>
                      </a:r>
                      <a:r>
                        <a:rPr lang="en-US" sz="1200" b="1" noProof="0" dirty="0">
                          <a:solidFill>
                            <a:schemeClr val="tx1"/>
                          </a:solidFill>
                          <a:effectLst/>
                          <a:latin typeface="Arial Narrow" panose="020B0606020202030204" pitchFamily="34" charset="0"/>
                          <a:ea typeface="MS Mincho" panose="02020609040205080304" pitchFamily="49" charset="-128"/>
                        </a:rPr>
                        <a:t> patients (</a:t>
                      </a: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507</a:t>
                      </a:r>
                      <a:endParaRPr lang="en-US" sz="1200" b="0" noProof="0" dirty="0">
                        <a:solidFill>
                          <a:schemeClr val="tx2">
                            <a:lumMod val="50000"/>
                            <a:lumOff val="50000"/>
                          </a:schemeClr>
                        </a:solidFill>
                        <a:latin typeface="Arial Narrow" panose="020B0606020202030204" pitchFamily="34" charset="0"/>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50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90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1, 1.15)</a:t>
                      </a: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359927571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5%</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404</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410</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80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62, 1.04)</a:t>
                      </a: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210912637"/>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latin typeface="Arial Narrow" panose="020B0606020202030204" pitchFamily="34" charset="0"/>
                        </a:rPr>
                        <a:t>≥</a:t>
                      </a:r>
                      <a:r>
                        <a:rPr lang="en-US" sz="1200" b="1" noProof="0" dirty="0">
                          <a:solidFill>
                            <a:schemeClr val="tx1"/>
                          </a:solidFill>
                          <a:effectLst/>
                          <a:latin typeface="Arial Narrow" panose="020B0606020202030204" pitchFamily="34" charset="0"/>
                          <a:ea typeface="MS Mincho" panose="02020609040205080304" pitchFamily="49" charset="-128"/>
                        </a:rPr>
                        <a:t>99%</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205</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a:r>
                        <a:rPr lang="en-US" sz="1200" b="0" noProof="0" dirty="0">
                          <a:solidFill>
                            <a:schemeClr val="tx1"/>
                          </a:solidFill>
                          <a:latin typeface="Arial Narrow" panose="020B0606020202030204" pitchFamily="34" charset="0"/>
                        </a:rPr>
                        <a:t>196</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indent="0" algn="ctr">
                        <a:lnSpc>
                          <a:spcPct val="100000"/>
                        </a:lnSpc>
                        <a:spcAft>
                          <a:spcPts val="0"/>
                        </a:spcAft>
                      </a:pPr>
                      <a:endParaRPr lang="en-US" sz="1200" b="0" noProof="0" dirty="0">
                        <a:solidFill>
                          <a:schemeClr val="tx1"/>
                        </a:solidFill>
                        <a:effectLst/>
                        <a:latin typeface="Arial Narrow" panose="020B0606020202030204" pitchFamily="34" charset="0"/>
                        <a:ea typeface="MS Mincho" panose="02020609040205080304" pitchFamily="49" charset="-128"/>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7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3, 1.12)</a:t>
                      </a: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a16="http://schemas.microsoft.com/office/drawing/2014/main" val="2370633084"/>
                  </a:ext>
                </a:extLst>
              </a:tr>
              <a:tr h="923450">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l">
                        <a:lnSpc>
                          <a:spcPct val="100000"/>
                        </a:lnSpc>
                        <a:spcAft>
                          <a:spcPts val="0"/>
                        </a:spcAft>
                      </a:pPr>
                      <a:r>
                        <a:rPr lang="en-US" sz="1200" b="1" noProof="0" dirty="0">
                          <a:solidFill>
                            <a:schemeClr val="tx1"/>
                          </a:solidFill>
                          <a:effectLst/>
                          <a:latin typeface="Arial Narrow" panose="020B0606020202030204" pitchFamily="34" charset="0"/>
                        </a:rPr>
                        <a:t>100%</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r>
                        <a:rPr lang="en-US" sz="1200" b="0" noProof="0" dirty="0">
                          <a:solidFill>
                            <a:schemeClr val="tx1"/>
                          </a:solidFill>
                          <a:latin typeface="Arial Narrow" panose="020B0606020202030204" pitchFamily="34" charset="0"/>
                        </a:rPr>
                        <a:t>169</a:t>
                      </a:r>
                      <a:endParaRPr lang="en-US" sz="1200" b="0" noProof="0" dirty="0">
                        <a:solidFill>
                          <a:schemeClr val="tx2">
                            <a:lumMod val="75000"/>
                            <a:lumOff val="25000"/>
                          </a:schemeClr>
                        </a:solidFill>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a:r>
                        <a:rPr lang="en-US" sz="1200" b="0" noProof="0" dirty="0">
                          <a:solidFill>
                            <a:schemeClr val="tx1"/>
                          </a:solidFill>
                          <a:latin typeface="Arial Narrow" panose="020B0606020202030204" pitchFamily="34" charset="0"/>
                        </a:rPr>
                        <a:t>162</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lnSpc>
                          <a:spcPct val="100000"/>
                        </a:lnSpc>
                        <a:spcAft>
                          <a:spcPts val="0"/>
                        </a:spcAft>
                      </a:pPr>
                      <a:endParaRPr lang="en-US" sz="1200" b="0" noProof="0" dirty="0">
                        <a:solidFill>
                          <a:schemeClr val="tx1"/>
                        </a:solidFill>
                        <a:effectLst/>
                        <a:latin typeface="Arial Narrow" panose="020B0606020202030204" pitchFamily="34" charset="0"/>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NC</a:t>
                      </a: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77 </a:t>
                      </a:r>
                      <a:b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br>
                      <a:r>
                        <a:rPr kumimoji="0" lang="en-US" sz="1200" b="1"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rPr>
                        <a:t>(0.51, 1.14)</a:t>
                      </a:r>
                      <a:endParaRPr kumimoji="0" lang="en-US" sz="1200" b="0" i="0" u="none" strike="noStrike" kern="1200" cap="none" spc="0" normalizeH="0" baseline="0" noProof="0" dirty="0">
                        <a:ln>
                          <a:noFill/>
                        </a:ln>
                        <a:solidFill>
                          <a:schemeClr val="tx1"/>
                        </a:solidFill>
                        <a:effectLst/>
                        <a:uLnTx/>
                        <a:uFillTx/>
                        <a:latin typeface="Arial Narrow" panose="020B0606020202030204" pitchFamily="34" charset="0"/>
                        <a:ea typeface="MS Mincho" panose="02020609040205080304" pitchFamily="49" charset="-128"/>
                        <a:cs typeface="+mn-cs"/>
                      </a:endParaRPr>
                    </a:p>
                  </a:txBody>
                  <a:tcPr marL="72000" marR="4572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722066757"/>
                  </a:ext>
                </a:extLst>
              </a:tr>
            </a:tbl>
          </a:graphicData>
        </a:graphic>
      </p:graphicFrame>
      <p:sp>
        <p:nvSpPr>
          <p:cNvPr id="5379" name="Rectangle 5378">
            <a:extLst>
              <a:ext uri="{FF2B5EF4-FFF2-40B4-BE49-F238E27FC236}">
                <a16:creationId xmlns:a16="http://schemas.microsoft.com/office/drawing/2014/main" id="{0BAAD49E-6CB6-7466-329B-1173DCD31858}"/>
              </a:ext>
            </a:extLst>
          </p:cNvPr>
          <p:cNvSpPr/>
          <p:nvPr/>
        </p:nvSpPr>
        <p:spPr>
          <a:xfrm>
            <a:off x="9868816" y="1845912"/>
            <a:ext cx="573793" cy="3697700"/>
          </a:xfrm>
          <a:prstGeom prst="rect">
            <a:avLst/>
          </a:prstGeom>
          <a:solidFill>
            <a:srgbClr val="56639D">
              <a:lumMod val="20000"/>
              <a:lumOff val="80000"/>
            </a:srgbClr>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5380" name="Group 5379">
            <a:extLst>
              <a:ext uri="{FF2B5EF4-FFF2-40B4-BE49-F238E27FC236}">
                <a16:creationId xmlns:a16="http://schemas.microsoft.com/office/drawing/2014/main" id="{ED2E79E8-C133-4914-7BBF-635C9F0585B9}"/>
              </a:ext>
            </a:extLst>
          </p:cNvPr>
          <p:cNvGrpSpPr/>
          <p:nvPr/>
        </p:nvGrpSpPr>
        <p:grpSpPr>
          <a:xfrm>
            <a:off x="8588978" y="5540964"/>
            <a:ext cx="3422910" cy="621403"/>
            <a:chOff x="6947747" y="5927550"/>
            <a:chExt cx="3422910" cy="621403"/>
          </a:xfrm>
        </p:grpSpPr>
        <p:grpSp>
          <p:nvGrpSpPr>
            <p:cNvPr id="5381" name="Group 5380">
              <a:extLst>
                <a:ext uri="{FF2B5EF4-FFF2-40B4-BE49-F238E27FC236}">
                  <a16:creationId xmlns:a16="http://schemas.microsoft.com/office/drawing/2014/main" id="{537F770B-9B22-ECFB-3515-3BB287DA42A9}"/>
                </a:ext>
              </a:extLst>
            </p:cNvPr>
            <p:cNvGrpSpPr/>
            <p:nvPr/>
          </p:nvGrpSpPr>
          <p:grpSpPr>
            <a:xfrm>
              <a:off x="6947747" y="6087288"/>
              <a:ext cx="3422910" cy="461665"/>
              <a:chOff x="6947747" y="6076530"/>
              <a:chExt cx="3422910" cy="461665"/>
            </a:xfrm>
          </p:grpSpPr>
          <p:sp>
            <p:nvSpPr>
              <p:cNvPr id="5391" name="TextBox 5390">
                <a:extLst>
                  <a:ext uri="{FF2B5EF4-FFF2-40B4-BE49-F238E27FC236}">
                    <a16:creationId xmlns:a16="http://schemas.microsoft.com/office/drawing/2014/main" id="{52CD3C5A-630F-C38C-660B-9A80397101FA}"/>
                  </a:ext>
                </a:extLst>
              </p:cNvPr>
              <p:cNvSpPr txBox="1"/>
              <p:nvPr/>
            </p:nvSpPr>
            <p:spPr>
              <a:xfrm>
                <a:off x="6947747" y="6076530"/>
                <a:ext cx="828294" cy="461665"/>
              </a:xfrm>
              <a:prstGeom prst="rect">
                <a:avLst/>
              </a:prstGeom>
              <a:noFill/>
            </p:spPr>
            <p:txBody>
              <a:bodyPr wrap="square" rtlCol="0">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capi</a:t>
                </a:r>
                <a:r>
                  <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003865">
                        <a:lumMod val="75000"/>
                        <a:lumOff val="25000"/>
                      </a:srgbClr>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endParaRPr>
              </a:p>
            </p:txBody>
          </p:sp>
          <p:sp>
            <p:nvSpPr>
              <p:cNvPr id="5392" name="TextBox 5391">
                <a:extLst>
                  <a:ext uri="{FF2B5EF4-FFF2-40B4-BE49-F238E27FC236}">
                    <a16:creationId xmlns:a16="http://schemas.microsoft.com/office/drawing/2014/main" id="{C2A8699A-04C7-16E8-BEFC-9D1B4E4491E2}"/>
                  </a:ext>
                </a:extLst>
              </p:cNvPr>
              <p:cNvSpPr txBox="1"/>
              <p:nvPr/>
            </p:nvSpPr>
            <p:spPr>
              <a:xfrm>
                <a:off x="8101960" y="6076530"/>
                <a:ext cx="1060631" cy="461665"/>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5393" name="TextBox 5392">
                <a:extLst>
                  <a:ext uri="{FF2B5EF4-FFF2-40B4-BE49-F238E27FC236}">
                    <a16:creationId xmlns:a16="http://schemas.microsoft.com/office/drawing/2014/main" id="{167ED46D-F287-5832-AB15-89DCB3B0D627}"/>
                  </a:ext>
                </a:extLst>
              </p:cNvPr>
              <p:cNvSpPr txBox="1"/>
              <p:nvPr/>
            </p:nvSpPr>
            <p:spPr>
              <a:xfrm>
                <a:off x="9496982" y="6076530"/>
                <a:ext cx="873675" cy="461665"/>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Favours</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pbo</a:t>
                </a:r>
                <a:r>
                  <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rPr>
                  <a:t> + </a:t>
                </a:r>
                <a:r>
                  <a:rPr kumimoji="0" lang="en-US" sz="1200" b="1" i="0" u="none" strike="noStrike" kern="0" cap="none" spc="0" normalizeH="0" baseline="0" noProof="0" dirty="0" err="1">
                    <a:ln>
                      <a:noFill/>
                    </a:ln>
                    <a:solidFill>
                      <a:srgbClr val="D0006F"/>
                    </a:solidFill>
                    <a:effectLst/>
                    <a:uLnTx/>
                    <a:uFillTx/>
                    <a:latin typeface="Arial Narrow" panose="020B0606020202030204" pitchFamily="34" charset="0"/>
                    <a:ea typeface="+mn-ea"/>
                    <a:cs typeface="+mn-cs"/>
                  </a:rPr>
                  <a:t>abi</a:t>
                </a:r>
                <a:endParaRPr kumimoji="0" lang="en-US" sz="1200" b="1" i="0" u="none" strike="noStrike" kern="0" cap="none" spc="0" normalizeH="0" baseline="0" noProof="0" dirty="0">
                  <a:ln>
                    <a:noFill/>
                  </a:ln>
                  <a:solidFill>
                    <a:srgbClr val="D0006F"/>
                  </a:solidFill>
                  <a:effectLst/>
                  <a:uLnTx/>
                  <a:uFillTx/>
                  <a:latin typeface="Arial Narrow" panose="020B0606020202030204" pitchFamily="34" charset="0"/>
                  <a:ea typeface="+mn-ea"/>
                  <a:cs typeface="+mn-cs"/>
                </a:endParaRPr>
              </a:p>
            </p:txBody>
          </p:sp>
          <p:cxnSp>
            <p:nvCxnSpPr>
              <p:cNvPr id="5394" name="Straight Arrow Connector 5393">
                <a:extLst>
                  <a:ext uri="{FF2B5EF4-FFF2-40B4-BE49-F238E27FC236}">
                    <a16:creationId xmlns:a16="http://schemas.microsoft.com/office/drawing/2014/main" id="{3D5694CA-61C3-7152-5C83-FFD61920ECE3}"/>
                  </a:ext>
                </a:extLst>
              </p:cNvPr>
              <p:cNvCxnSpPr>
                <a:cxnSpLocks/>
              </p:cNvCxnSpPr>
              <p:nvPr/>
            </p:nvCxnSpPr>
            <p:spPr>
              <a:xfrm flipH="1">
                <a:off x="7787534" y="6307362"/>
                <a:ext cx="432000" cy="0"/>
              </a:xfrm>
              <a:prstGeom prst="straightConnector1">
                <a:avLst/>
              </a:prstGeom>
              <a:noFill/>
              <a:ln w="19050" cap="flat" cmpd="sng" algn="ctr">
                <a:solidFill>
                  <a:srgbClr val="000000"/>
                </a:solidFill>
                <a:prstDash val="solid"/>
                <a:tailEnd type="triangle"/>
              </a:ln>
              <a:effectLst/>
            </p:spPr>
          </p:cxnSp>
          <p:cxnSp>
            <p:nvCxnSpPr>
              <p:cNvPr id="5395" name="Straight Arrow Connector 5394">
                <a:extLst>
                  <a:ext uri="{FF2B5EF4-FFF2-40B4-BE49-F238E27FC236}">
                    <a16:creationId xmlns:a16="http://schemas.microsoft.com/office/drawing/2014/main" id="{B4DF022F-C570-2C5C-BF93-0875F1BD8A26}"/>
                  </a:ext>
                </a:extLst>
              </p:cNvPr>
              <p:cNvCxnSpPr>
                <a:cxnSpLocks/>
              </p:cNvCxnSpPr>
              <p:nvPr/>
            </p:nvCxnSpPr>
            <p:spPr>
              <a:xfrm>
                <a:off x="9045017" y="6307362"/>
                <a:ext cx="432000" cy="0"/>
              </a:xfrm>
              <a:prstGeom prst="straightConnector1">
                <a:avLst/>
              </a:prstGeom>
              <a:noFill/>
              <a:ln w="19050" cap="flat" cmpd="sng" algn="ctr">
                <a:solidFill>
                  <a:srgbClr val="000000"/>
                </a:solidFill>
                <a:prstDash val="solid"/>
                <a:tailEnd type="triangle"/>
              </a:ln>
              <a:effectLst/>
            </p:spPr>
          </p:cxnSp>
        </p:grpSp>
        <p:grpSp>
          <p:nvGrpSpPr>
            <p:cNvPr id="5382" name="Group 5381">
              <a:extLst>
                <a:ext uri="{FF2B5EF4-FFF2-40B4-BE49-F238E27FC236}">
                  <a16:creationId xmlns:a16="http://schemas.microsoft.com/office/drawing/2014/main" id="{A31C2BFE-72E7-2206-21E9-C2507F4AB327}"/>
                </a:ext>
              </a:extLst>
            </p:cNvPr>
            <p:cNvGrpSpPr/>
            <p:nvPr/>
          </p:nvGrpSpPr>
          <p:grpSpPr>
            <a:xfrm>
              <a:off x="7582437" y="5927550"/>
              <a:ext cx="2101516" cy="259277"/>
              <a:chOff x="7582437" y="5927550"/>
              <a:chExt cx="2101516" cy="259277"/>
            </a:xfrm>
          </p:grpSpPr>
          <p:cxnSp>
            <p:nvCxnSpPr>
              <p:cNvPr id="5383" name="Straight Connector 5382">
                <a:extLst>
                  <a:ext uri="{FF2B5EF4-FFF2-40B4-BE49-F238E27FC236}">
                    <a16:creationId xmlns:a16="http://schemas.microsoft.com/office/drawing/2014/main" id="{8FB422AE-CB56-6887-6050-5423386A8D13}"/>
                  </a:ext>
                </a:extLst>
              </p:cNvPr>
              <p:cNvCxnSpPr>
                <a:cxnSpLocks/>
              </p:cNvCxnSpPr>
              <p:nvPr/>
            </p:nvCxnSpPr>
            <p:spPr>
              <a:xfrm>
                <a:off x="7806080" y="5927550"/>
                <a:ext cx="1652400" cy="0"/>
              </a:xfrm>
              <a:prstGeom prst="line">
                <a:avLst/>
              </a:prstGeom>
              <a:noFill/>
              <a:ln w="9525" cap="sq" cmpd="sng" algn="ctr">
                <a:solidFill>
                  <a:srgbClr val="000000"/>
                </a:solidFill>
                <a:prstDash val="solid"/>
              </a:ln>
              <a:effectLst/>
            </p:spPr>
          </p:cxnSp>
          <p:sp>
            <p:nvSpPr>
              <p:cNvPr id="5384" name="TextBox 5383">
                <a:extLst>
                  <a:ext uri="{FF2B5EF4-FFF2-40B4-BE49-F238E27FC236}">
                    <a16:creationId xmlns:a16="http://schemas.microsoft.com/office/drawing/2014/main" id="{1DDB6A02-8365-559F-9ECA-0912DB451BBE}"/>
                  </a:ext>
                </a:extLst>
              </p:cNvPr>
              <p:cNvSpPr txBox="1"/>
              <p:nvPr/>
            </p:nvSpPr>
            <p:spPr>
              <a:xfrm>
                <a:off x="8407186" y="5932911"/>
                <a:ext cx="447675" cy="253916"/>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1.0</a:t>
                </a:r>
              </a:p>
            </p:txBody>
          </p:sp>
          <p:sp>
            <p:nvSpPr>
              <p:cNvPr id="5385" name="TextBox 5384">
                <a:extLst>
                  <a:ext uri="{FF2B5EF4-FFF2-40B4-BE49-F238E27FC236}">
                    <a16:creationId xmlns:a16="http://schemas.microsoft.com/office/drawing/2014/main" id="{084A990E-1BD3-0159-A6ED-499F3950B3D5}"/>
                  </a:ext>
                </a:extLst>
              </p:cNvPr>
              <p:cNvSpPr txBox="1"/>
              <p:nvPr/>
            </p:nvSpPr>
            <p:spPr>
              <a:xfrm>
                <a:off x="9236278" y="5932911"/>
                <a:ext cx="447675" cy="253916"/>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2.0</a:t>
                </a:r>
              </a:p>
            </p:txBody>
          </p:sp>
          <p:sp>
            <p:nvSpPr>
              <p:cNvPr id="5386" name="TextBox 5385">
                <a:extLst>
                  <a:ext uri="{FF2B5EF4-FFF2-40B4-BE49-F238E27FC236}">
                    <a16:creationId xmlns:a16="http://schemas.microsoft.com/office/drawing/2014/main" id="{67A70BFB-16CB-A180-8CC1-254A5154181D}"/>
                  </a:ext>
                </a:extLst>
              </p:cNvPr>
              <p:cNvSpPr txBox="1"/>
              <p:nvPr/>
            </p:nvSpPr>
            <p:spPr>
              <a:xfrm>
                <a:off x="7582437" y="5932911"/>
                <a:ext cx="447675" cy="253916"/>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a:ea typeface="+mn-ea"/>
                    <a:cs typeface="+mn-cs"/>
                  </a:rPr>
                  <a:t>0.5</a:t>
                </a:r>
              </a:p>
            </p:txBody>
          </p:sp>
          <p:grpSp>
            <p:nvGrpSpPr>
              <p:cNvPr id="5387" name="Group 5386">
                <a:extLst>
                  <a:ext uri="{FF2B5EF4-FFF2-40B4-BE49-F238E27FC236}">
                    <a16:creationId xmlns:a16="http://schemas.microsoft.com/office/drawing/2014/main" id="{76B4756A-A8C5-9C17-3840-CD450BC028A8}"/>
                  </a:ext>
                </a:extLst>
              </p:cNvPr>
              <p:cNvGrpSpPr/>
              <p:nvPr/>
            </p:nvGrpSpPr>
            <p:grpSpPr>
              <a:xfrm>
                <a:off x="7805497" y="5927550"/>
                <a:ext cx="1653165" cy="34485"/>
                <a:chOff x="7799955" y="5927550"/>
                <a:chExt cx="1653165" cy="34485"/>
              </a:xfrm>
            </p:grpSpPr>
            <p:cxnSp>
              <p:nvCxnSpPr>
                <p:cNvPr id="5388" name="Straight Connector 5387">
                  <a:extLst>
                    <a:ext uri="{FF2B5EF4-FFF2-40B4-BE49-F238E27FC236}">
                      <a16:creationId xmlns:a16="http://schemas.microsoft.com/office/drawing/2014/main" id="{BDCB909D-3C75-389A-299A-420AE758BCA3}"/>
                    </a:ext>
                  </a:extLst>
                </p:cNvPr>
                <p:cNvCxnSpPr>
                  <a:cxnSpLocks/>
                </p:cNvCxnSpPr>
                <p:nvPr/>
              </p:nvCxnSpPr>
              <p:spPr>
                <a:xfrm>
                  <a:off x="7799955" y="5927550"/>
                  <a:ext cx="0" cy="34485"/>
                </a:xfrm>
                <a:prstGeom prst="line">
                  <a:avLst/>
                </a:prstGeom>
                <a:noFill/>
                <a:ln w="9525" cap="flat" cmpd="sng" algn="ctr">
                  <a:solidFill>
                    <a:srgbClr val="000000"/>
                  </a:solidFill>
                  <a:prstDash val="solid"/>
                </a:ln>
                <a:effectLst/>
              </p:spPr>
            </p:cxnSp>
            <p:cxnSp>
              <p:nvCxnSpPr>
                <p:cNvPr id="5389" name="Straight Connector 5388">
                  <a:extLst>
                    <a:ext uri="{FF2B5EF4-FFF2-40B4-BE49-F238E27FC236}">
                      <a16:creationId xmlns:a16="http://schemas.microsoft.com/office/drawing/2014/main" id="{7647009B-B7BC-1E8A-7A6A-DA848DE40168}"/>
                    </a:ext>
                  </a:extLst>
                </p:cNvPr>
                <p:cNvCxnSpPr>
                  <a:cxnSpLocks/>
                </p:cNvCxnSpPr>
                <p:nvPr/>
              </p:nvCxnSpPr>
              <p:spPr>
                <a:xfrm>
                  <a:off x="9453120" y="5927550"/>
                  <a:ext cx="0" cy="34485"/>
                </a:xfrm>
                <a:prstGeom prst="line">
                  <a:avLst/>
                </a:prstGeom>
                <a:noFill/>
                <a:ln w="9525" cap="flat" cmpd="sng" algn="ctr">
                  <a:solidFill>
                    <a:srgbClr val="000000"/>
                  </a:solidFill>
                  <a:prstDash val="solid"/>
                </a:ln>
                <a:effectLst/>
              </p:spPr>
            </p:cxnSp>
            <p:cxnSp>
              <p:nvCxnSpPr>
                <p:cNvPr id="5390" name="Straight Connector 5389">
                  <a:extLst>
                    <a:ext uri="{FF2B5EF4-FFF2-40B4-BE49-F238E27FC236}">
                      <a16:creationId xmlns:a16="http://schemas.microsoft.com/office/drawing/2014/main" id="{5A2BE4F0-77AA-4386-EB34-DFDB4406657A}"/>
                    </a:ext>
                  </a:extLst>
                </p:cNvPr>
                <p:cNvCxnSpPr>
                  <a:cxnSpLocks/>
                </p:cNvCxnSpPr>
                <p:nvPr/>
              </p:nvCxnSpPr>
              <p:spPr>
                <a:xfrm>
                  <a:off x="8630499" y="5927550"/>
                  <a:ext cx="0" cy="34485"/>
                </a:xfrm>
                <a:prstGeom prst="line">
                  <a:avLst/>
                </a:prstGeom>
                <a:noFill/>
                <a:ln w="9525" cap="flat" cmpd="sng" algn="ctr">
                  <a:solidFill>
                    <a:srgbClr val="000000"/>
                  </a:solidFill>
                  <a:prstDash val="solid"/>
                </a:ln>
                <a:effectLst/>
              </p:spPr>
            </p:cxnSp>
          </p:grpSp>
        </p:grpSp>
      </p:grpSp>
      <p:grpSp>
        <p:nvGrpSpPr>
          <p:cNvPr id="5396" name="Group 5395">
            <a:extLst>
              <a:ext uri="{FF2B5EF4-FFF2-40B4-BE49-F238E27FC236}">
                <a16:creationId xmlns:a16="http://schemas.microsoft.com/office/drawing/2014/main" id="{8A8FE03E-7A82-CC74-255E-126523B47FDA}"/>
              </a:ext>
            </a:extLst>
          </p:cNvPr>
          <p:cNvGrpSpPr>
            <a:grpSpLocks/>
          </p:cNvGrpSpPr>
          <p:nvPr/>
        </p:nvGrpSpPr>
        <p:grpSpPr>
          <a:xfrm>
            <a:off x="9517872" y="4077901"/>
            <a:ext cx="899642" cy="162000"/>
            <a:chOff x="4628083" y="5018189"/>
            <a:chExt cx="899642" cy="162000"/>
          </a:xfrm>
        </p:grpSpPr>
        <p:sp>
          <p:nvSpPr>
            <p:cNvPr id="5397" name="Oval 5396">
              <a:extLst>
                <a:ext uri="{FF2B5EF4-FFF2-40B4-BE49-F238E27FC236}">
                  <a16:creationId xmlns:a16="http://schemas.microsoft.com/office/drawing/2014/main" id="{A17F40AB-E5C8-725C-945B-F57DB54CE719}"/>
                </a:ext>
              </a:extLst>
            </p:cNvPr>
            <p:cNvSpPr>
              <a:spLocks/>
            </p:cNvSpPr>
            <p:nvPr/>
          </p:nvSpPr>
          <p:spPr>
            <a:xfrm>
              <a:off x="5028871" y="5047864"/>
              <a:ext cx="102651" cy="102651"/>
            </a:xfrm>
            <a:prstGeom prst="ellipse">
              <a:avLst/>
            </a:prstGeom>
            <a:solidFill>
              <a:srgbClr val="000000"/>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5398" name="Group 5397">
              <a:extLst>
                <a:ext uri="{FF2B5EF4-FFF2-40B4-BE49-F238E27FC236}">
                  <a16:creationId xmlns:a16="http://schemas.microsoft.com/office/drawing/2014/main" id="{AEBE3AEA-B474-446A-49F1-0040C26F77DB}"/>
                </a:ext>
              </a:extLst>
            </p:cNvPr>
            <p:cNvGrpSpPr>
              <a:grpSpLocks/>
            </p:cNvGrpSpPr>
            <p:nvPr/>
          </p:nvGrpSpPr>
          <p:grpSpPr>
            <a:xfrm>
              <a:off x="4628083" y="5018189"/>
              <a:ext cx="899642" cy="162000"/>
              <a:chOff x="3088451" y="2070402"/>
              <a:chExt cx="167690" cy="162000"/>
            </a:xfrm>
          </p:grpSpPr>
          <p:cxnSp>
            <p:nvCxnSpPr>
              <p:cNvPr id="5399" name="Straight Connector 5398">
                <a:extLst>
                  <a:ext uri="{FF2B5EF4-FFF2-40B4-BE49-F238E27FC236}">
                    <a16:creationId xmlns:a16="http://schemas.microsoft.com/office/drawing/2014/main" id="{2348CE97-649B-3120-DE2C-7165B18452B5}"/>
                  </a:ext>
                </a:extLst>
              </p:cNvPr>
              <p:cNvCxnSpPr>
                <a:cxnSpLocks/>
              </p:cNvCxnSpPr>
              <p:nvPr/>
            </p:nvCxnSpPr>
            <p:spPr>
              <a:xfrm>
                <a:off x="3088596" y="2070402"/>
                <a:ext cx="0" cy="162000"/>
              </a:xfrm>
              <a:prstGeom prst="line">
                <a:avLst/>
              </a:prstGeom>
              <a:noFill/>
              <a:ln w="9525" cap="flat" cmpd="sng" algn="ctr">
                <a:solidFill>
                  <a:srgbClr val="000000"/>
                </a:solidFill>
                <a:prstDash val="solid"/>
              </a:ln>
              <a:effectLst/>
            </p:spPr>
          </p:cxnSp>
          <p:cxnSp>
            <p:nvCxnSpPr>
              <p:cNvPr id="5400" name="Straight Connector 5399">
                <a:extLst>
                  <a:ext uri="{FF2B5EF4-FFF2-40B4-BE49-F238E27FC236}">
                    <a16:creationId xmlns:a16="http://schemas.microsoft.com/office/drawing/2014/main" id="{0513F73A-5CE7-F2E2-2AD7-E68F49FC2FDF}"/>
                  </a:ext>
                </a:extLst>
              </p:cNvPr>
              <p:cNvCxnSpPr>
                <a:cxnSpLocks/>
              </p:cNvCxnSpPr>
              <p:nvPr/>
            </p:nvCxnSpPr>
            <p:spPr>
              <a:xfrm>
                <a:off x="3255539" y="2070402"/>
                <a:ext cx="0" cy="162000"/>
              </a:xfrm>
              <a:prstGeom prst="line">
                <a:avLst/>
              </a:prstGeom>
              <a:noFill/>
              <a:ln w="9525" cap="flat" cmpd="sng" algn="ctr">
                <a:solidFill>
                  <a:srgbClr val="000000"/>
                </a:solidFill>
                <a:prstDash val="solid"/>
              </a:ln>
              <a:effectLst/>
            </p:spPr>
          </p:cxnSp>
          <p:cxnSp>
            <p:nvCxnSpPr>
              <p:cNvPr id="5401" name="Straight Connector 5400">
                <a:extLst>
                  <a:ext uri="{FF2B5EF4-FFF2-40B4-BE49-F238E27FC236}">
                    <a16:creationId xmlns:a16="http://schemas.microsoft.com/office/drawing/2014/main" id="{7F077DB6-B6E5-BB38-1A5C-BB02D405D926}"/>
                  </a:ext>
                </a:extLst>
              </p:cNvPr>
              <p:cNvCxnSpPr>
                <a:cxnSpLocks/>
              </p:cNvCxnSpPr>
              <p:nvPr/>
            </p:nvCxnSpPr>
            <p:spPr>
              <a:xfrm flipH="1">
                <a:off x="3088451" y="2151402"/>
                <a:ext cx="167690" cy="0"/>
              </a:xfrm>
              <a:prstGeom prst="line">
                <a:avLst/>
              </a:prstGeom>
              <a:noFill/>
              <a:ln w="9525" cap="flat" cmpd="sng" algn="ctr">
                <a:solidFill>
                  <a:srgbClr val="000000"/>
                </a:solidFill>
                <a:prstDash val="solid"/>
              </a:ln>
              <a:effectLst/>
            </p:spPr>
          </p:cxnSp>
        </p:grpSp>
      </p:grpSp>
      <p:grpSp>
        <p:nvGrpSpPr>
          <p:cNvPr id="5402" name="Group 5401">
            <a:extLst>
              <a:ext uri="{FF2B5EF4-FFF2-40B4-BE49-F238E27FC236}">
                <a16:creationId xmlns:a16="http://schemas.microsoft.com/office/drawing/2014/main" id="{7921442D-7A5A-C6AD-81F8-6504B7C8798E}"/>
              </a:ext>
            </a:extLst>
          </p:cNvPr>
          <p:cNvGrpSpPr>
            <a:grpSpLocks/>
          </p:cNvGrpSpPr>
          <p:nvPr/>
        </p:nvGrpSpPr>
        <p:grpSpPr>
          <a:xfrm>
            <a:off x="9471045" y="5004389"/>
            <a:ext cx="956836" cy="162000"/>
            <a:chOff x="4705431" y="4340228"/>
            <a:chExt cx="956836" cy="162000"/>
          </a:xfrm>
          <a:solidFill>
            <a:srgbClr val="000000"/>
          </a:solidFill>
        </p:grpSpPr>
        <p:sp>
          <p:nvSpPr>
            <p:cNvPr id="5403" name="Oval 5402">
              <a:extLst>
                <a:ext uri="{FF2B5EF4-FFF2-40B4-BE49-F238E27FC236}">
                  <a16:creationId xmlns:a16="http://schemas.microsoft.com/office/drawing/2014/main" id="{D374B89A-6721-3185-226F-6EA42C594CE6}"/>
                </a:ext>
              </a:extLst>
            </p:cNvPr>
            <p:cNvSpPr>
              <a:spLocks/>
            </p:cNvSpPr>
            <p:nvPr/>
          </p:nvSpPr>
          <p:spPr>
            <a:xfrm>
              <a:off x="5146843" y="4376228"/>
              <a:ext cx="90000" cy="90000"/>
            </a:xfrm>
            <a:prstGeom prst="ellipse">
              <a:avLst/>
            </a:prstGeom>
            <a:grpFill/>
            <a:ln w="25400" cap="flat" cmpd="sng" algn="ctr">
              <a:solidFill>
                <a:srgbClr val="000000"/>
              </a:solid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5404" name="Group 5403">
              <a:extLst>
                <a:ext uri="{FF2B5EF4-FFF2-40B4-BE49-F238E27FC236}">
                  <a16:creationId xmlns:a16="http://schemas.microsoft.com/office/drawing/2014/main" id="{D505D992-13E4-0693-3316-652DB07998B7}"/>
                </a:ext>
              </a:extLst>
            </p:cNvPr>
            <p:cNvGrpSpPr>
              <a:grpSpLocks/>
            </p:cNvGrpSpPr>
            <p:nvPr/>
          </p:nvGrpSpPr>
          <p:grpSpPr>
            <a:xfrm>
              <a:off x="4705431" y="4340228"/>
              <a:ext cx="956836" cy="162000"/>
              <a:chOff x="3098975" y="2070402"/>
              <a:chExt cx="124832" cy="162000"/>
            </a:xfrm>
            <a:grpFill/>
          </p:grpSpPr>
          <p:cxnSp>
            <p:nvCxnSpPr>
              <p:cNvPr id="5405" name="Straight Connector 5404">
                <a:extLst>
                  <a:ext uri="{FF2B5EF4-FFF2-40B4-BE49-F238E27FC236}">
                    <a16:creationId xmlns:a16="http://schemas.microsoft.com/office/drawing/2014/main" id="{113832EC-AF71-9897-A200-7EC26A25816E}"/>
                  </a:ext>
                </a:extLst>
              </p:cNvPr>
              <p:cNvCxnSpPr>
                <a:cxnSpLocks/>
              </p:cNvCxnSpPr>
              <p:nvPr/>
            </p:nvCxnSpPr>
            <p:spPr>
              <a:xfrm flipH="1">
                <a:off x="3098975" y="2151402"/>
                <a:ext cx="124737" cy="0"/>
              </a:xfrm>
              <a:prstGeom prst="line">
                <a:avLst/>
              </a:prstGeom>
              <a:grpFill/>
              <a:ln w="9525" cap="flat" cmpd="sng" algn="ctr">
                <a:solidFill>
                  <a:srgbClr val="000000"/>
                </a:solidFill>
                <a:prstDash val="solid"/>
              </a:ln>
              <a:effectLst/>
            </p:spPr>
          </p:cxnSp>
          <p:cxnSp>
            <p:nvCxnSpPr>
              <p:cNvPr id="5406" name="Straight Connector 5405">
                <a:extLst>
                  <a:ext uri="{FF2B5EF4-FFF2-40B4-BE49-F238E27FC236}">
                    <a16:creationId xmlns:a16="http://schemas.microsoft.com/office/drawing/2014/main" id="{D2F05023-8E52-38A4-395B-176E916AEC30}"/>
                  </a:ext>
                </a:extLst>
              </p:cNvPr>
              <p:cNvCxnSpPr>
                <a:cxnSpLocks/>
              </p:cNvCxnSpPr>
              <p:nvPr/>
            </p:nvCxnSpPr>
            <p:spPr>
              <a:xfrm>
                <a:off x="3099276" y="2070402"/>
                <a:ext cx="0" cy="162000"/>
              </a:xfrm>
              <a:prstGeom prst="line">
                <a:avLst/>
              </a:prstGeom>
              <a:grpFill/>
              <a:ln w="9525" cap="flat" cmpd="sng" algn="ctr">
                <a:solidFill>
                  <a:srgbClr val="000000"/>
                </a:solidFill>
                <a:prstDash val="solid"/>
              </a:ln>
              <a:effectLst/>
            </p:spPr>
          </p:cxnSp>
          <p:cxnSp>
            <p:nvCxnSpPr>
              <p:cNvPr id="5407" name="Straight Connector 5406">
                <a:extLst>
                  <a:ext uri="{FF2B5EF4-FFF2-40B4-BE49-F238E27FC236}">
                    <a16:creationId xmlns:a16="http://schemas.microsoft.com/office/drawing/2014/main" id="{B8D13DF3-6E96-0004-D0B8-A1CEC5EC6C67}"/>
                  </a:ext>
                </a:extLst>
              </p:cNvPr>
              <p:cNvCxnSpPr>
                <a:cxnSpLocks/>
              </p:cNvCxnSpPr>
              <p:nvPr/>
            </p:nvCxnSpPr>
            <p:spPr>
              <a:xfrm>
                <a:off x="3223807" y="2070402"/>
                <a:ext cx="0" cy="162000"/>
              </a:xfrm>
              <a:prstGeom prst="line">
                <a:avLst/>
              </a:prstGeom>
              <a:grpFill/>
              <a:ln w="9525" cap="flat" cmpd="sng" algn="ctr">
                <a:solidFill>
                  <a:srgbClr val="000000"/>
                </a:solidFill>
                <a:prstDash val="solid"/>
              </a:ln>
              <a:effectLst/>
            </p:spPr>
          </p:cxnSp>
        </p:grpSp>
      </p:grpSp>
      <p:grpSp>
        <p:nvGrpSpPr>
          <p:cNvPr id="5408" name="Group 5407">
            <a:extLst>
              <a:ext uri="{FF2B5EF4-FFF2-40B4-BE49-F238E27FC236}">
                <a16:creationId xmlns:a16="http://schemas.microsoft.com/office/drawing/2014/main" id="{03329C30-6B1A-1BA7-D38E-6CBD9AD7C111}"/>
              </a:ext>
            </a:extLst>
          </p:cNvPr>
          <p:cNvGrpSpPr>
            <a:grpSpLocks/>
          </p:cNvGrpSpPr>
          <p:nvPr/>
        </p:nvGrpSpPr>
        <p:grpSpPr>
          <a:xfrm>
            <a:off x="9691389" y="3133303"/>
            <a:ext cx="633543" cy="203289"/>
            <a:chOff x="4713766" y="3682352"/>
            <a:chExt cx="633543" cy="203289"/>
          </a:xfrm>
        </p:grpSpPr>
        <p:sp>
          <p:nvSpPr>
            <p:cNvPr id="5409" name="Oval 5408">
              <a:extLst>
                <a:ext uri="{FF2B5EF4-FFF2-40B4-BE49-F238E27FC236}">
                  <a16:creationId xmlns:a16="http://schemas.microsoft.com/office/drawing/2014/main" id="{20B857BF-CBD0-9083-B5C0-7FD1C544AA48}"/>
                </a:ext>
              </a:extLst>
            </p:cNvPr>
            <p:cNvSpPr>
              <a:spLocks/>
            </p:cNvSpPr>
            <p:nvPr/>
          </p:nvSpPr>
          <p:spPr>
            <a:xfrm>
              <a:off x="4927772" y="3682352"/>
              <a:ext cx="203289" cy="203289"/>
            </a:xfrm>
            <a:prstGeom prst="ellipse">
              <a:avLst/>
            </a:prstGeom>
            <a:solidFill>
              <a:srgbClr val="000000"/>
            </a:solidFill>
            <a:ln w="25400" cap="flat" cmpd="sng" algn="ctr">
              <a:noFill/>
              <a:prstDash val="solid"/>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5410" name="Group 5409">
              <a:extLst>
                <a:ext uri="{FF2B5EF4-FFF2-40B4-BE49-F238E27FC236}">
                  <a16:creationId xmlns:a16="http://schemas.microsoft.com/office/drawing/2014/main" id="{69EC9230-68C5-900A-333A-15E2E1214052}"/>
                </a:ext>
              </a:extLst>
            </p:cNvPr>
            <p:cNvGrpSpPr>
              <a:grpSpLocks/>
            </p:cNvGrpSpPr>
            <p:nvPr/>
          </p:nvGrpSpPr>
          <p:grpSpPr>
            <a:xfrm>
              <a:off x="4713766" y="3702996"/>
              <a:ext cx="633543" cy="162000"/>
              <a:chOff x="3115805" y="2073465"/>
              <a:chExt cx="110493" cy="162000"/>
            </a:xfrm>
          </p:grpSpPr>
          <p:cxnSp>
            <p:nvCxnSpPr>
              <p:cNvPr id="5411" name="Straight Connector 5410">
                <a:extLst>
                  <a:ext uri="{FF2B5EF4-FFF2-40B4-BE49-F238E27FC236}">
                    <a16:creationId xmlns:a16="http://schemas.microsoft.com/office/drawing/2014/main" id="{B7B99FE4-43F4-727D-DECB-63DE12CF7F06}"/>
                  </a:ext>
                </a:extLst>
              </p:cNvPr>
              <p:cNvCxnSpPr>
                <a:cxnSpLocks/>
              </p:cNvCxnSpPr>
              <p:nvPr/>
            </p:nvCxnSpPr>
            <p:spPr>
              <a:xfrm>
                <a:off x="3115805" y="2073465"/>
                <a:ext cx="0" cy="162000"/>
              </a:xfrm>
              <a:prstGeom prst="line">
                <a:avLst/>
              </a:prstGeom>
              <a:noFill/>
              <a:ln w="9525" cap="flat" cmpd="sng" algn="ctr">
                <a:solidFill>
                  <a:srgbClr val="000000"/>
                </a:solidFill>
                <a:prstDash val="solid"/>
              </a:ln>
              <a:effectLst/>
            </p:spPr>
          </p:cxnSp>
          <p:cxnSp>
            <p:nvCxnSpPr>
              <p:cNvPr id="5412" name="Straight Connector 5411">
                <a:extLst>
                  <a:ext uri="{FF2B5EF4-FFF2-40B4-BE49-F238E27FC236}">
                    <a16:creationId xmlns:a16="http://schemas.microsoft.com/office/drawing/2014/main" id="{F394C1B7-0876-40A4-2BF4-C2FD834B7697}"/>
                  </a:ext>
                </a:extLst>
              </p:cNvPr>
              <p:cNvCxnSpPr>
                <a:cxnSpLocks/>
              </p:cNvCxnSpPr>
              <p:nvPr/>
            </p:nvCxnSpPr>
            <p:spPr>
              <a:xfrm>
                <a:off x="3226298" y="2073465"/>
                <a:ext cx="0" cy="162000"/>
              </a:xfrm>
              <a:prstGeom prst="line">
                <a:avLst/>
              </a:prstGeom>
              <a:noFill/>
              <a:ln w="9525" cap="flat" cmpd="sng" algn="ctr">
                <a:solidFill>
                  <a:srgbClr val="000000"/>
                </a:solidFill>
                <a:prstDash val="solid"/>
              </a:ln>
              <a:effectLst/>
            </p:spPr>
          </p:cxnSp>
          <p:cxnSp>
            <p:nvCxnSpPr>
              <p:cNvPr id="5413" name="Straight Connector 5412">
                <a:extLst>
                  <a:ext uri="{FF2B5EF4-FFF2-40B4-BE49-F238E27FC236}">
                    <a16:creationId xmlns:a16="http://schemas.microsoft.com/office/drawing/2014/main" id="{873F475B-7E46-FB97-5F00-79250B515565}"/>
                  </a:ext>
                </a:extLst>
              </p:cNvPr>
              <p:cNvCxnSpPr>
                <a:cxnSpLocks/>
              </p:cNvCxnSpPr>
              <p:nvPr/>
            </p:nvCxnSpPr>
            <p:spPr>
              <a:xfrm flipH="1">
                <a:off x="3115805" y="2154465"/>
                <a:ext cx="110480" cy="0"/>
              </a:xfrm>
              <a:prstGeom prst="line">
                <a:avLst/>
              </a:prstGeom>
              <a:noFill/>
              <a:ln w="9525" cap="flat" cmpd="sng" algn="ctr">
                <a:solidFill>
                  <a:srgbClr val="000000"/>
                </a:solidFill>
                <a:prstDash val="solid"/>
              </a:ln>
              <a:effectLst/>
            </p:spPr>
          </p:cxnSp>
        </p:grpSp>
      </p:grpSp>
      <p:cxnSp>
        <p:nvCxnSpPr>
          <p:cNvPr id="5414" name="Straight Connector 5413">
            <a:extLst>
              <a:ext uri="{FF2B5EF4-FFF2-40B4-BE49-F238E27FC236}">
                <a16:creationId xmlns:a16="http://schemas.microsoft.com/office/drawing/2014/main" id="{1C2A03CB-F88C-7B99-B840-05453E83A644}"/>
              </a:ext>
            </a:extLst>
          </p:cNvPr>
          <p:cNvCxnSpPr>
            <a:cxnSpLocks/>
          </p:cNvCxnSpPr>
          <p:nvPr/>
        </p:nvCxnSpPr>
        <p:spPr>
          <a:xfrm>
            <a:off x="10275301" y="1844480"/>
            <a:ext cx="0" cy="3696484"/>
          </a:xfrm>
          <a:prstGeom prst="line">
            <a:avLst/>
          </a:prstGeom>
          <a:noFill/>
          <a:ln w="9525" cap="flat" cmpd="sng" algn="ctr">
            <a:solidFill>
              <a:srgbClr val="000000"/>
            </a:solidFill>
            <a:prstDash val="dash"/>
          </a:ln>
          <a:effectLst/>
        </p:spPr>
      </p:cxnSp>
      <p:grpSp>
        <p:nvGrpSpPr>
          <p:cNvPr id="5415" name="Group 5414">
            <a:extLst>
              <a:ext uri="{FF2B5EF4-FFF2-40B4-BE49-F238E27FC236}">
                <a16:creationId xmlns:a16="http://schemas.microsoft.com/office/drawing/2014/main" id="{88606E9B-22B5-5743-11A9-6CBF836FECC5}"/>
              </a:ext>
            </a:extLst>
          </p:cNvPr>
          <p:cNvGrpSpPr>
            <a:grpSpLocks/>
          </p:cNvGrpSpPr>
          <p:nvPr/>
        </p:nvGrpSpPr>
        <p:grpSpPr>
          <a:xfrm>
            <a:off x="9864452" y="2188598"/>
            <a:ext cx="572719" cy="231865"/>
            <a:chOff x="4760823" y="3665683"/>
            <a:chExt cx="572719" cy="231865"/>
          </a:xfrm>
          <a:solidFill>
            <a:srgbClr val="000000"/>
          </a:solidFill>
        </p:grpSpPr>
        <p:sp>
          <p:nvSpPr>
            <p:cNvPr id="7282" name="Oval 7281">
              <a:extLst>
                <a:ext uri="{FF2B5EF4-FFF2-40B4-BE49-F238E27FC236}">
                  <a16:creationId xmlns:a16="http://schemas.microsoft.com/office/drawing/2014/main" id="{BD93AF86-8876-8FAB-F391-CE6E8C63FB87}"/>
                </a:ext>
              </a:extLst>
            </p:cNvPr>
            <p:cNvSpPr>
              <a:spLocks/>
            </p:cNvSpPr>
            <p:nvPr/>
          </p:nvSpPr>
          <p:spPr>
            <a:xfrm>
              <a:off x="4932444" y="3665683"/>
              <a:ext cx="231865" cy="231865"/>
            </a:xfrm>
            <a:prstGeom prst="ellipse">
              <a:avLst/>
            </a:prstGeom>
            <a:grpFill/>
            <a:ln w="25400" cap="flat" cmpd="sng" algn="ctr">
              <a:noFill/>
              <a:prstDash val="sysDash"/>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7283" name="Group 7282">
              <a:extLst>
                <a:ext uri="{FF2B5EF4-FFF2-40B4-BE49-F238E27FC236}">
                  <a16:creationId xmlns:a16="http://schemas.microsoft.com/office/drawing/2014/main" id="{822F0396-CD70-8A6B-8ACB-4E1A6ABB69CF}"/>
                </a:ext>
              </a:extLst>
            </p:cNvPr>
            <p:cNvGrpSpPr>
              <a:grpSpLocks/>
            </p:cNvGrpSpPr>
            <p:nvPr/>
          </p:nvGrpSpPr>
          <p:grpSpPr>
            <a:xfrm>
              <a:off x="4760823" y="3700615"/>
              <a:ext cx="572719" cy="162000"/>
              <a:chOff x="3124012" y="2071084"/>
              <a:chExt cx="99885" cy="162000"/>
            </a:xfrm>
            <a:grpFill/>
          </p:grpSpPr>
          <p:cxnSp>
            <p:nvCxnSpPr>
              <p:cNvPr id="7284" name="Straight Connector 7283">
                <a:extLst>
                  <a:ext uri="{FF2B5EF4-FFF2-40B4-BE49-F238E27FC236}">
                    <a16:creationId xmlns:a16="http://schemas.microsoft.com/office/drawing/2014/main" id="{78ED7AAD-4C62-9F45-8BC6-31B2E2BB9EFB}"/>
                  </a:ext>
                </a:extLst>
              </p:cNvPr>
              <p:cNvCxnSpPr>
                <a:cxnSpLocks/>
              </p:cNvCxnSpPr>
              <p:nvPr/>
            </p:nvCxnSpPr>
            <p:spPr>
              <a:xfrm>
                <a:off x="3124526" y="2071084"/>
                <a:ext cx="0" cy="162000"/>
              </a:xfrm>
              <a:prstGeom prst="line">
                <a:avLst/>
              </a:prstGeom>
              <a:grpFill/>
              <a:ln w="9525" cap="flat" cmpd="sng" algn="ctr">
                <a:solidFill>
                  <a:srgbClr val="000000"/>
                </a:solidFill>
                <a:prstDash val="sysDash"/>
              </a:ln>
              <a:effectLst/>
            </p:spPr>
          </p:cxnSp>
          <p:cxnSp>
            <p:nvCxnSpPr>
              <p:cNvPr id="7285" name="Straight Connector 7284">
                <a:extLst>
                  <a:ext uri="{FF2B5EF4-FFF2-40B4-BE49-F238E27FC236}">
                    <a16:creationId xmlns:a16="http://schemas.microsoft.com/office/drawing/2014/main" id="{FE87448B-0265-66E9-D779-AE84D6B22D65}"/>
                  </a:ext>
                </a:extLst>
              </p:cNvPr>
              <p:cNvCxnSpPr>
                <a:cxnSpLocks/>
              </p:cNvCxnSpPr>
              <p:nvPr/>
            </p:nvCxnSpPr>
            <p:spPr>
              <a:xfrm>
                <a:off x="3223897" y="2071084"/>
                <a:ext cx="0" cy="162000"/>
              </a:xfrm>
              <a:prstGeom prst="line">
                <a:avLst/>
              </a:prstGeom>
              <a:grpFill/>
              <a:ln w="9525" cap="flat" cmpd="sng" algn="ctr">
                <a:solidFill>
                  <a:srgbClr val="000000"/>
                </a:solidFill>
                <a:prstDash val="sysDash"/>
              </a:ln>
              <a:effectLst/>
            </p:spPr>
          </p:cxnSp>
          <p:cxnSp>
            <p:nvCxnSpPr>
              <p:cNvPr id="7286" name="Straight Connector 7285">
                <a:extLst>
                  <a:ext uri="{FF2B5EF4-FFF2-40B4-BE49-F238E27FC236}">
                    <a16:creationId xmlns:a16="http://schemas.microsoft.com/office/drawing/2014/main" id="{A6B4F3F4-CA73-FDD7-3E36-87C26E4B6225}"/>
                  </a:ext>
                </a:extLst>
              </p:cNvPr>
              <p:cNvCxnSpPr>
                <a:cxnSpLocks/>
              </p:cNvCxnSpPr>
              <p:nvPr/>
            </p:nvCxnSpPr>
            <p:spPr>
              <a:xfrm flipH="1">
                <a:off x="3124012" y="2152084"/>
                <a:ext cx="99511" cy="0"/>
              </a:xfrm>
              <a:prstGeom prst="line">
                <a:avLst/>
              </a:prstGeom>
              <a:grpFill/>
              <a:ln w="9525" cap="flat" cmpd="sng" algn="ctr">
                <a:solidFill>
                  <a:srgbClr val="000000"/>
                </a:solidFill>
                <a:prstDash val="sysDash"/>
              </a:ln>
              <a:effectLst/>
            </p:spPr>
          </p:cxnSp>
        </p:grpSp>
      </p:grpSp>
      <p:sp>
        <p:nvSpPr>
          <p:cNvPr id="7287" name="TextBox 7286">
            <a:extLst>
              <a:ext uri="{FF2B5EF4-FFF2-40B4-BE49-F238E27FC236}">
                <a16:creationId xmlns:a16="http://schemas.microsoft.com/office/drawing/2014/main" id="{20D63741-6D2A-A580-659C-81BE25D22D5B}"/>
              </a:ext>
            </a:extLst>
          </p:cNvPr>
          <p:cNvSpPr txBox="1"/>
          <p:nvPr/>
        </p:nvSpPr>
        <p:spPr>
          <a:xfrm>
            <a:off x="8617590" y="1053096"/>
            <a:ext cx="1103836" cy="276999"/>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S Mincho" panose="02020609040205080304" pitchFamily="49" charset="-128"/>
                <a:cs typeface="+mn-cs"/>
              </a:rPr>
              <a:t>Patients, n</a:t>
            </a:r>
            <a:endParaRPr kumimoji="0" lang="en-US" sz="18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sp>
        <p:nvSpPr>
          <p:cNvPr id="7288" name="TextBox 7287">
            <a:extLst>
              <a:ext uri="{FF2B5EF4-FFF2-40B4-BE49-F238E27FC236}">
                <a16:creationId xmlns:a16="http://schemas.microsoft.com/office/drawing/2014/main" id="{4A35DB59-508C-3657-FA1F-83295587FF7A}"/>
              </a:ext>
            </a:extLst>
          </p:cNvPr>
          <p:cNvSpPr txBox="1"/>
          <p:nvPr/>
        </p:nvSpPr>
        <p:spPr>
          <a:xfrm>
            <a:off x="9993080" y="1026457"/>
            <a:ext cx="1533146" cy="276999"/>
          </a:xfrm>
          <a:prstGeom prst="rect">
            <a:avLst/>
          </a:prstGeom>
          <a:noFill/>
        </p:spPr>
        <p:txBody>
          <a:bodyPr wrap="square">
            <a:spAutoFit/>
          </a:bodyPr>
          <a:lstStyle/>
          <a:p>
            <a:pPr marL="0" marR="0" lvl="0" indent="0" algn="ctr" defTabSz="6096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Median OS, months</a:t>
            </a:r>
          </a:p>
        </p:txBody>
      </p:sp>
      <p:sp>
        <p:nvSpPr>
          <p:cNvPr id="7886" name="TextBox 7885">
            <a:extLst>
              <a:ext uri="{FF2B5EF4-FFF2-40B4-BE49-F238E27FC236}">
                <a16:creationId xmlns:a16="http://schemas.microsoft.com/office/drawing/2014/main" id="{6A7646CB-54B7-1E14-2E6E-31D109D08794}"/>
              </a:ext>
            </a:extLst>
          </p:cNvPr>
          <p:cNvSpPr txBox="1"/>
          <p:nvPr/>
        </p:nvSpPr>
        <p:spPr>
          <a:xfrm>
            <a:off x="4334775" y="1416682"/>
            <a:ext cx="3322664" cy="769441"/>
          </a:xfrm>
          <a:prstGeom prst="rect">
            <a:avLst/>
          </a:prstGeom>
          <a:noFill/>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Cut-off: </a:t>
            </a:r>
            <a:r>
              <a:rPr kumimoji="0" lang="en-US" sz="2400" b="1"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rPr>
              <a:t>100%</a:t>
            </a:r>
            <a:r>
              <a:rPr kumimoji="0" lang="en-US" sz="2400" b="1" i="0" u="none" strike="noStrike" kern="1200" cap="none" spc="0" normalizeH="0" baseline="0" noProof="0" dirty="0">
                <a:ln>
                  <a:noFill/>
                </a:ln>
                <a:solidFill>
                  <a:srgbClr val="003865">
                    <a:lumMod val="75000"/>
                    <a:lumOff val="25000"/>
                  </a:srgbClr>
                </a:solidFill>
                <a:effectLst/>
                <a:uLnTx/>
                <a:uFillTx/>
                <a:latin typeface="Arial Narrow" panose="020B0606020202030204" pitchFamily="34" charset="0"/>
                <a:ea typeface="+mn-ea"/>
                <a:cs typeface="+mn-cs"/>
              </a:rPr>
              <a:t> </a:t>
            </a:r>
            <a:br>
              <a:rPr kumimoji="0" lang="en-US" sz="2400" b="1"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br>
            <a:r>
              <a:rPr kumimoji="0" lang="en-US" sz="2000" b="0" i="0" u="none" strike="noStrike" kern="1200" cap="none" spc="0" normalizeH="0" baseline="0" noProof="0" dirty="0">
                <a:ln>
                  <a:noFill/>
                </a:ln>
                <a:solidFill>
                  <a:srgbClr val="3F4444"/>
                </a:solidFill>
                <a:effectLst/>
                <a:uLnTx/>
                <a:uFillTx/>
                <a:latin typeface="Arial Narrow" panose="020B0606020202030204" pitchFamily="34" charset="0"/>
                <a:ea typeface="+mn-ea"/>
                <a:cs typeface="+mn-cs"/>
              </a:rPr>
              <a:t>of cells without PTEN staining</a:t>
            </a:r>
          </a:p>
        </p:txBody>
      </p:sp>
      <p:grpSp>
        <p:nvGrpSpPr>
          <p:cNvPr id="11249" name="Group 11248">
            <a:extLst>
              <a:ext uri="{FF2B5EF4-FFF2-40B4-BE49-F238E27FC236}">
                <a16:creationId xmlns:a16="http://schemas.microsoft.com/office/drawing/2014/main" id="{61A61921-73C2-90D4-10F7-AB51D296A134}"/>
              </a:ext>
            </a:extLst>
          </p:cNvPr>
          <p:cNvGrpSpPr/>
          <p:nvPr/>
        </p:nvGrpSpPr>
        <p:grpSpPr>
          <a:xfrm>
            <a:off x="834914" y="4133989"/>
            <a:ext cx="2385787" cy="523220"/>
            <a:chOff x="1283828" y="4129371"/>
            <a:chExt cx="2090677" cy="523220"/>
          </a:xfrm>
        </p:grpSpPr>
        <p:sp>
          <p:nvSpPr>
            <p:cNvPr id="11982" name="TextBox 11981">
              <a:extLst>
                <a:ext uri="{FF2B5EF4-FFF2-40B4-BE49-F238E27FC236}">
                  <a16:creationId xmlns:a16="http://schemas.microsoft.com/office/drawing/2014/main" id="{FA8BE294-675A-E303-07A0-72A1A70ECCF9}"/>
                </a:ext>
              </a:extLst>
            </p:cNvPr>
            <p:cNvSpPr txBox="1"/>
            <p:nvPr/>
          </p:nvSpPr>
          <p:spPr>
            <a:xfrm>
              <a:off x="1680132" y="4129371"/>
              <a:ext cx="1694373" cy="523220"/>
            </a:xfrm>
            <a:prstGeom prst="rect">
              <a:avLst/>
            </a:prstGeom>
            <a:noFill/>
          </p:spPr>
          <p:txBody>
            <a:bodyPr wrap="non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Capivasertib + Abiraterone</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rPr>
                <a:t>Placebo + Abiraterone</a:t>
              </a:r>
            </a:p>
          </p:txBody>
        </p:sp>
        <p:grpSp>
          <p:nvGrpSpPr>
            <p:cNvPr id="13111" name="Group 13110">
              <a:extLst>
                <a:ext uri="{FF2B5EF4-FFF2-40B4-BE49-F238E27FC236}">
                  <a16:creationId xmlns:a16="http://schemas.microsoft.com/office/drawing/2014/main" id="{58E5454B-DA41-CCFC-927C-81BF471F5485}"/>
                </a:ext>
              </a:extLst>
            </p:cNvPr>
            <p:cNvGrpSpPr/>
            <p:nvPr/>
          </p:nvGrpSpPr>
          <p:grpSpPr>
            <a:xfrm>
              <a:off x="1289304" y="4278446"/>
              <a:ext cx="334470" cy="72000"/>
              <a:chOff x="2459420" y="3626363"/>
              <a:chExt cx="313728" cy="72000"/>
            </a:xfrm>
          </p:grpSpPr>
          <p:cxnSp>
            <p:nvCxnSpPr>
              <p:cNvPr id="13115" name="Straight Connector 13114">
                <a:extLst>
                  <a:ext uri="{FF2B5EF4-FFF2-40B4-BE49-F238E27FC236}">
                    <a16:creationId xmlns:a16="http://schemas.microsoft.com/office/drawing/2014/main" id="{574C8BE7-0944-7646-C6FA-BC687C96ACE3}"/>
                  </a:ext>
                </a:extLst>
              </p:cNvPr>
              <p:cNvCxnSpPr>
                <a:cxnSpLocks/>
              </p:cNvCxnSpPr>
              <p:nvPr/>
            </p:nvCxnSpPr>
            <p:spPr>
              <a:xfrm>
                <a:off x="2459420" y="3662363"/>
                <a:ext cx="313728" cy="0"/>
              </a:xfrm>
              <a:prstGeom prst="line">
                <a:avLst/>
              </a:prstGeom>
              <a:noFill/>
              <a:ln w="19050" cap="flat" cmpd="sng" algn="ctr">
                <a:solidFill>
                  <a:schemeClr val="tx2">
                    <a:lumMod val="75000"/>
                    <a:lumOff val="25000"/>
                  </a:schemeClr>
                </a:solidFill>
                <a:prstDash val="solid"/>
              </a:ln>
              <a:effectLst/>
            </p:spPr>
          </p:cxnSp>
          <p:cxnSp>
            <p:nvCxnSpPr>
              <p:cNvPr id="13116" name="Straight Connector 13115">
                <a:extLst>
                  <a:ext uri="{FF2B5EF4-FFF2-40B4-BE49-F238E27FC236}">
                    <a16:creationId xmlns:a16="http://schemas.microsoft.com/office/drawing/2014/main" id="{723436D7-B2E9-F9C8-0CB3-E772783AD3D1}"/>
                  </a:ext>
                </a:extLst>
              </p:cNvPr>
              <p:cNvCxnSpPr>
                <a:cxnSpLocks/>
              </p:cNvCxnSpPr>
              <p:nvPr/>
            </p:nvCxnSpPr>
            <p:spPr>
              <a:xfrm rot="16200000" flipH="1">
                <a:off x="2580284" y="3662363"/>
                <a:ext cx="72000" cy="0"/>
              </a:xfrm>
              <a:prstGeom prst="line">
                <a:avLst/>
              </a:prstGeom>
              <a:noFill/>
              <a:ln w="19050" cap="flat" cmpd="sng" algn="ctr">
                <a:solidFill>
                  <a:schemeClr val="tx2">
                    <a:lumMod val="75000"/>
                    <a:lumOff val="25000"/>
                  </a:schemeClr>
                </a:solidFill>
                <a:prstDash val="solid"/>
              </a:ln>
              <a:effectLst/>
            </p:spPr>
          </p:cxnSp>
        </p:grpSp>
        <p:grpSp>
          <p:nvGrpSpPr>
            <p:cNvPr id="13112" name="Group 13111">
              <a:extLst>
                <a:ext uri="{FF2B5EF4-FFF2-40B4-BE49-F238E27FC236}">
                  <a16:creationId xmlns:a16="http://schemas.microsoft.com/office/drawing/2014/main" id="{B55D0BA0-FFBB-F549-6905-69A054F6609C}"/>
                </a:ext>
              </a:extLst>
            </p:cNvPr>
            <p:cNvGrpSpPr/>
            <p:nvPr/>
          </p:nvGrpSpPr>
          <p:grpSpPr>
            <a:xfrm>
              <a:off x="1283828" y="4464183"/>
              <a:ext cx="345421" cy="72000"/>
              <a:chOff x="2454284" y="3812100"/>
              <a:chExt cx="324000" cy="72000"/>
            </a:xfrm>
          </p:grpSpPr>
          <p:cxnSp>
            <p:nvCxnSpPr>
              <p:cNvPr id="13113" name="Straight Connector 13112">
                <a:extLst>
                  <a:ext uri="{FF2B5EF4-FFF2-40B4-BE49-F238E27FC236}">
                    <a16:creationId xmlns:a16="http://schemas.microsoft.com/office/drawing/2014/main" id="{A62899DC-32C9-C912-1F25-7C3C9368ADE1}"/>
                  </a:ext>
                </a:extLst>
              </p:cNvPr>
              <p:cNvCxnSpPr>
                <a:cxnSpLocks/>
              </p:cNvCxnSpPr>
              <p:nvPr/>
            </p:nvCxnSpPr>
            <p:spPr>
              <a:xfrm>
                <a:off x="2454284" y="3848100"/>
                <a:ext cx="324000" cy="0"/>
              </a:xfrm>
              <a:prstGeom prst="line">
                <a:avLst/>
              </a:prstGeom>
              <a:noFill/>
              <a:ln w="19050" cap="flat" cmpd="sng" algn="ctr">
                <a:solidFill>
                  <a:schemeClr val="accent3"/>
                </a:solidFill>
                <a:prstDash val="solid"/>
              </a:ln>
              <a:effectLst/>
            </p:spPr>
          </p:cxnSp>
          <p:cxnSp>
            <p:nvCxnSpPr>
              <p:cNvPr id="13114" name="Straight Connector 13113">
                <a:extLst>
                  <a:ext uri="{FF2B5EF4-FFF2-40B4-BE49-F238E27FC236}">
                    <a16:creationId xmlns:a16="http://schemas.microsoft.com/office/drawing/2014/main" id="{75D3A560-ACB9-07A0-EB26-D051BB6A2C6B}"/>
                  </a:ext>
                </a:extLst>
              </p:cNvPr>
              <p:cNvCxnSpPr>
                <a:cxnSpLocks/>
              </p:cNvCxnSpPr>
              <p:nvPr/>
            </p:nvCxnSpPr>
            <p:spPr>
              <a:xfrm rot="16200000" flipH="1">
                <a:off x="2580284" y="3848100"/>
                <a:ext cx="72000" cy="0"/>
              </a:xfrm>
              <a:prstGeom prst="line">
                <a:avLst/>
              </a:prstGeom>
              <a:noFill/>
              <a:ln w="19050" cap="flat" cmpd="sng" algn="ctr">
                <a:solidFill>
                  <a:schemeClr val="accent3"/>
                </a:solidFill>
                <a:prstDash val="solid"/>
              </a:ln>
              <a:effectLst/>
            </p:spPr>
          </p:cxnSp>
        </p:grpSp>
      </p:grpSp>
    </p:spTree>
    <p:extLst>
      <p:ext uri="{BB962C8B-B14F-4D97-AF65-F5344CB8AC3E}">
        <p14:creationId xmlns:p14="http://schemas.microsoft.com/office/powerpoint/2010/main" val="13685070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4D66816-259D-1606-9060-201CAF89AE41}"/>
              </a:ext>
            </a:extLst>
          </p:cNvPr>
          <p:cNvSpPr>
            <a:spLocks noGrp="1"/>
          </p:cNvSpPr>
          <p:nvPr>
            <p:ph type="subTitle" idx="2"/>
          </p:nvPr>
        </p:nvSpPr>
        <p:spPr/>
        <p:txBody>
          <a:bodyPr/>
          <a:lstStyle/>
          <a:p>
            <a:endParaRPr lang="en-US"/>
          </a:p>
        </p:txBody>
      </p:sp>
      <p:sp>
        <p:nvSpPr>
          <p:cNvPr id="4" name="Title 3">
            <a:extLst>
              <a:ext uri="{FF2B5EF4-FFF2-40B4-BE49-F238E27FC236}">
                <a16:creationId xmlns:a16="http://schemas.microsoft.com/office/drawing/2014/main" id="{85873D9F-551E-A3FD-58C0-7651DBC2109D}"/>
              </a:ext>
            </a:extLst>
          </p:cNvPr>
          <p:cNvSpPr>
            <a:spLocks noGrp="1"/>
          </p:cNvSpPr>
          <p:nvPr>
            <p:ph type="ctrTitle"/>
          </p:nvPr>
        </p:nvSpPr>
        <p:spPr/>
        <p:txBody>
          <a:bodyPr/>
          <a:lstStyle/>
          <a:p>
            <a:endParaRPr lang="en-US"/>
          </a:p>
        </p:txBody>
      </p:sp>
      <p:pic>
        <p:nvPicPr>
          <p:cNvPr id="7" name="Picture 6" descr="A screenshot of a medical information&#10;&#10;AI-generated content may be incorrect.">
            <a:extLst>
              <a:ext uri="{FF2B5EF4-FFF2-40B4-BE49-F238E27FC236}">
                <a16:creationId xmlns:a16="http://schemas.microsoft.com/office/drawing/2014/main" id="{3FA14140-5EA6-040D-85AF-2DF2257F7AFB}"/>
              </a:ext>
            </a:extLst>
          </p:cNvPr>
          <p:cNvPicPr>
            <a:picLocks noChangeAspect="1"/>
          </p:cNvPicPr>
          <p:nvPr/>
        </p:nvPicPr>
        <p:blipFill>
          <a:blip r:embed="rId2">
            <a:extLst>
              <a:ext uri="{28A0092B-C50C-407E-A947-70E740481C1C}">
                <a14:useLocalDpi xmlns:a14="http://schemas.microsoft.com/office/drawing/2010/main" val="0"/>
              </a:ext>
            </a:extLst>
          </a:blip>
          <a:srcRect b="7843"/>
          <a:stretch>
            <a:fillRect/>
          </a:stretch>
        </p:blipFill>
        <p:spPr>
          <a:xfrm>
            <a:off x="0" y="0"/>
            <a:ext cx="12192000" cy="6320118"/>
          </a:xfrm>
          <a:prstGeom prst="rect">
            <a:avLst/>
          </a:prstGeom>
        </p:spPr>
      </p:pic>
      <p:sp>
        <p:nvSpPr>
          <p:cNvPr id="8" name="Text Placeholder 1">
            <a:extLst>
              <a:ext uri="{FF2B5EF4-FFF2-40B4-BE49-F238E27FC236}">
                <a16:creationId xmlns:a16="http://schemas.microsoft.com/office/drawing/2014/main" id="{9637461D-6096-34A8-EA41-01133D73BBEF}"/>
              </a:ext>
            </a:extLst>
          </p:cNvPr>
          <p:cNvSpPr>
            <a:spLocks noGrp="1"/>
          </p:cNvSpPr>
          <p:nvPr>
            <p:ph type="body" sz="quarter" idx="12"/>
          </p:nvPr>
        </p:nvSpPr>
        <p:spPr/>
        <p:txBody>
          <a:bodyPr/>
          <a:lstStyle/>
          <a:p>
            <a:r>
              <a:rPr lang="en-US" noProof="0" dirty="0"/>
              <a:t>Karim </a:t>
            </a:r>
            <a:r>
              <a:rPr lang="en-US" noProof="0" dirty="0" err="1"/>
              <a:t>Fizazi</a:t>
            </a:r>
            <a:r>
              <a:rPr lang="en-US" noProof="0" dirty="0"/>
              <a:t> MD, PhD</a:t>
            </a:r>
          </a:p>
          <a:p>
            <a:r>
              <a:rPr lang="en-US" dirty="0"/>
              <a:t>Abstract 2383O </a:t>
            </a:r>
          </a:p>
        </p:txBody>
      </p:sp>
    </p:spTree>
    <p:extLst>
      <p:ext uri="{BB962C8B-B14F-4D97-AF65-F5344CB8AC3E}">
        <p14:creationId xmlns:p14="http://schemas.microsoft.com/office/powerpoint/2010/main" val="21795071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AE299-C9E6-86B2-BEF4-0D095354EAD9}"/>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E038E4EA-2ADE-D520-C6D0-FEF37183F2A6}"/>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C4D75C2D-7821-3C1B-01FD-48855A7FA864}"/>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3" name="Title 1">
            <a:extLst>
              <a:ext uri="{FF2B5EF4-FFF2-40B4-BE49-F238E27FC236}">
                <a16:creationId xmlns:a16="http://schemas.microsoft.com/office/drawing/2014/main" id="{59E1C41F-29D5-3F99-2852-4199C738C781}"/>
              </a:ext>
            </a:extLst>
          </p:cNvPr>
          <p:cNvSpPr txBox="1">
            <a:spLocks/>
          </p:cNvSpPr>
          <p:nvPr/>
        </p:nvSpPr>
        <p:spPr bwMode="auto">
          <a:xfrm>
            <a:off x="1846074" y="5115725"/>
            <a:ext cx="4061552"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eraj Agarwal, MD, FASCO</a:t>
            </a:r>
          </a:p>
        </p:txBody>
      </p:sp>
      <p:sp>
        <p:nvSpPr>
          <p:cNvPr id="7" name="Title 1">
            <a:extLst>
              <a:ext uri="{FF2B5EF4-FFF2-40B4-BE49-F238E27FC236}">
                <a16:creationId xmlns:a16="http://schemas.microsoft.com/office/drawing/2014/main" id="{F28818DA-68C7-4E17-8BFC-EB603CDC2E89}"/>
              </a:ext>
            </a:extLst>
          </p:cNvPr>
          <p:cNvSpPr txBox="1">
            <a:spLocks/>
          </p:cNvSpPr>
          <p:nvPr/>
        </p:nvSpPr>
        <p:spPr bwMode="auto">
          <a:xfrm>
            <a:off x="6096000" y="5115725"/>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9" name="Picture 8" descr="A person in a white shirt&#10;&#10;AI-generated content may be incorrect.">
            <a:extLst>
              <a:ext uri="{FF2B5EF4-FFF2-40B4-BE49-F238E27FC236}">
                <a16:creationId xmlns:a16="http://schemas.microsoft.com/office/drawing/2014/main" id="{89A0C994-B91C-D697-E2F1-ED1CA7C6F8F3}"/>
              </a:ext>
            </a:extLst>
          </p:cNvPr>
          <p:cNvPicPr>
            <a:picLocks noChangeAspect="1"/>
          </p:cNvPicPr>
          <p:nvPr/>
        </p:nvPicPr>
        <p:blipFill>
          <a:blip r:embed="rId2"/>
          <a:srcRect l="22367" r="19429" b="17523"/>
          <a:stretch>
            <a:fillRect/>
          </a:stretch>
        </p:blipFill>
        <p:spPr>
          <a:xfrm>
            <a:off x="6961222" y="2463965"/>
            <a:ext cx="2651760" cy="2651760"/>
          </a:xfrm>
          <a:prstGeom prst="ellipse">
            <a:avLst/>
          </a:prstGeom>
          <a:effectLst>
            <a:outerShdw blurRad="50800" dist="38100" dir="2700000" algn="tl" rotWithShape="0">
              <a:prstClr val="black">
                <a:alpha val="40000"/>
              </a:prstClr>
            </a:outerShdw>
          </a:effectLst>
        </p:spPr>
      </p:pic>
      <p:pic>
        <p:nvPicPr>
          <p:cNvPr id="10" name="Picture 9" descr="A person wearing a suit and tie&#10;&#10;AI-generated content may be incorrect.">
            <a:extLst>
              <a:ext uri="{FF2B5EF4-FFF2-40B4-BE49-F238E27FC236}">
                <a16:creationId xmlns:a16="http://schemas.microsoft.com/office/drawing/2014/main" id="{2C401A93-0FA4-17C7-3734-A2551F78B988}"/>
              </a:ext>
            </a:extLst>
          </p:cNvPr>
          <p:cNvPicPr>
            <a:picLocks noChangeAspect="1"/>
          </p:cNvPicPr>
          <p:nvPr/>
        </p:nvPicPr>
        <p:blipFill>
          <a:blip r:embed="rId3"/>
          <a:srcRect l="22981" t="3044" r="25493" b="5355"/>
          <a:stretch>
            <a:fillRect/>
          </a:stretch>
        </p:blipFill>
        <p:spPr>
          <a:xfrm>
            <a:off x="2550970" y="2463965"/>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39057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8722B-CA8E-21A4-74E9-5F0C90655FB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2C98670-F7D0-54AC-A05A-4CC57BCC891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3EF0C19C-3C14-907C-1240-A7BFFC586947}"/>
              </a:ext>
            </a:extLst>
          </p:cNvPr>
          <p:cNvSpPr>
            <a:spLocks noGrp="1"/>
          </p:cNvSpPr>
          <p:nvPr>
            <p:ph idx="1"/>
          </p:nvPr>
        </p:nvSpPr>
        <p:spPr>
          <a:xfrm>
            <a:off x="912286" y="1222275"/>
            <a:ext cx="10358967" cy="4799013"/>
          </a:xfrm>
        </p:spPr>
        <p:txBody>
          <a:bodyPr/>
          <a:lstStyle/>
          <a:p>
            <a:pPr marL="98425" lvl="0" indent="0">
              <a:buNone/>
            </a:pPr>
            <a:r>
              <a:rPr lang="en-US" dirty="0"/>
              <a:t>What were the main reasons the ipatasertib program did not move forward? What are the pharmacologic differences between ipatasertib and capivasertib? </a:t>
            </a:r>
          </a:p>
          <a:p>
            <a:pPr marL="98425" lvl="0" indent="0">
              <a:buNone/>
            </a:pPr>
            <a:r>
              <a:rPr lang="en-US" dirty="0"/>
              <a:t>For a fit patient with mHSPC and PTEN deficiency, how would you choose between an AR pathway inhibitor/docetaxel/ADT and capivasertib/abiraterone/ADT if capivasertib were to become available? Would the degree of PTEN loss (eg, 90% versus 100% of cells staining negative on IHC) influence this decision?</a:t>
            </a:r>
          </a:p>
        </p:txBody>
      </p:sp>
    </p:spTree>
    <p:extLst>
      <p:ext uri="{BB962C8B-B14F-4D97-AF65-F5344CB8AC3E}">
        <p14:creationId xmlns:p14="http://schemas.microsoft.com/office/powerpoint/2010/main" val="147551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68C59-6E94-C859-9724-ECAAF6294A5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40D1956-7781-93B6-A68A-5DA9181FEE36}"/>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3482250E-F91E-44DF-39F4-D8A49769A474}"/>
              </a:ext>
            </a:extLst>
          </p:cNvPr>
          <p:cNvSpPr>
            <a:spLocks noGrp="1"/>
          </p:cNvSpPr>
          <p:nvPr>
            <p:ph idx="1"/>
          </p:nvPr>
        </p:nvSpPr>
        <p:spPr>
          <a:xfrm>
            <a:off x="912286" y="1222275"/>
            <a:ext cx="10358967" cy="4799013"/>
          </a:xfrm>
        </p:spPr>
        <p:txBody>
          <a:bodyPr/>
          <a:lstStyle/>
          <a:p>
            <a:pPr marL="98425" lvl="0" indent="0">
              <a:buNone/>
            </a:pPr>
            <a:r>
              <a:rPr lang="en-US" dirty="0"/>
              <a:t>If capivasertib/abiraterone/ADT were to reach the clinic in mHSPC, how do you envision choosing between this combination and other available and emerging biomarker-targeted therapies, such as niraparib/abiraterone/prednisone and lutetium Lu 177 vipivotide tetraxetan/AR pathway inhibitor/ADT, for patients with more than one actionable biomarker?  </a:t>
            </a:r>
          </a:p>
          <a:p>
            <a:pPr marL="98425" lvl="0" indent="0">
              <a:buNone/>
            </a:pPr>
            <a:r>
              <a:rPr lang="en-US" dirty="0"/>
              <a:t>What’s next for AKT inhibitors in prostate cancer? Do you anticipate that capivasertib will eventually be used in earlier settings or as a component of other combination strategies? Beyond PTEN deficiency, are there other genomic signatures that may predict benefit from capivasertib?</a:t>
            </a:r>
          </a:p>
        </p:txBody>
      </p:sp>
    </p:spTree>
    <p:extLst>
      <p:ext uri="{BB962C8B-B14F-4D97-AF65-F5344CB8AC3E}">
        <p14:creationId xmlns:p14="http://schemas.microsoft.com/office/powerpoint/2010/main" val="3993564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027DB-2AED-CD04-70C5-ED532B88E9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AA47CD-B01F-D9B0-9C66-B83A51543F09}"/>
              </a:ext>
            </a:extLst>
          </p:cNvPr>
          <p:cNvSpPr>
            <a:spLocks noGrp="1"/>
          </p:cNvSpPr>
          <p:nvPr>
            <p:ph type="title"/>
          </p:nvPr>
        </p:nvSpPr>
        <p:spPr>
          <a:xfrm>
            <a:off x="916516" y="116633"/>
            <a:ext cx="10358967" cy="1008112"/>
          </a:xfrm>
        </p:spPr>
        <p:txBody>
          <a:bodyPr/>
          <a:lstStyle/>
          <a:p>
            <a:r>
              <a:rPr lang="en-US" sz="3200" dirty="0">
                <a:solidFill>
                  <a:srgbClr val="0432FF"/>
                </a:solidFill>
              </a:rPr>
              <a:t>Dr Heath — Disclosures</a:t>
            </a:r>
            <a:br>
              <a:rPr lang="en-US" sz="3200" dirty="0">
                <a:solidFill>
                  <a:srgbClr val="0432FF"/>
                </a:solidFill>
              </a:rPr>
            </a:br>
            <a:r>
              <a:rPr lang="en-US" sz="3200" dirty="0">
                <a:solidFill>
                  <a:srgbClr val="0432FF"/>
                </a:solidFill>
              </a:rPr>
              <a:t>Moderator</a:t>
            </a:r>
          </a:p>
        </p:txBody>
      </p:sp>
      <p:graphicFrame>
        <p:nvGraphicFramePr>
          <p:cNvPr id="3" name="Content Placeholder 3">
            <a:extLst>
              <a:ext uri="{FF2B5EF4-FFF2-40B4-BE49-F238E27FC236}">
                <a16:creationId xmlns:a16="http://schemas.microsoft.com/office/drawing/2014/main" id="{37C0725A-31E0-5DBF-3CA4-C4200C2C3C0D}"/>
              </a:ext>
            </a:extLst>
          </p:cNvPr>
          <p:cNvGraphicFramePr>
            <a:graphicFrameLocks/>
          </p:cNvGraphicFramePr>
          <p:nvPr>
            <p:extLst>
              <p:ext uri="{D42A27DB-BD31-4B8C-83A1-F6EECF244321}">
                <p14:modId xmlns:p14="http://schemas.microsoft.com/office/powerpoint/2010/main" val="3085805789"/>
              </p:ext>
            </p:extLst>
          </p:nvPr>
        </p:nvGraphicFramePr>
        <p:xfrm>
          <a:off x="614411" y="1146657"/>
          <a:ext cx="10650325" cy="5524500"/>
        </p:xfrm>
        <a:graphic>
          <a:graphicData uri="http://schemas.openxmlformats.org/drawingml/2006/table">
            <a:tbl>
              <a:tblPr firstRow="1" bandRow="1">
                <a:tableStyleId>{F2DE63D5-997A-4646-A377-4702673A728D}</a:tableStyleId>
              </a:tblPr>
              <a:tblGrid>
                <a:gridCol w="2850281">
                  <a:extLst>
                    <a:ext uri="{9D8B030D-6E8A-4147-A177-3AD203B41FA5}">
                      <a16:colId xmlns:a16="http://schemas.microsoft.com/office/drawing/2014/main" val="20000"/>
                    </a:ext>
                  </a:extLst>
                </a:gridCol>
                <a:gridCol w="7800044">
                  <a:extLst>
                    <a:ext uri="{9D8B030D-6E8A-4147-A177-3AD203B41FA5}">
                      <a16:colId xmlns:a16="http://schemas.microsoft.com/office/drawing/2014/main" val="20001"/>
                    </a:ext>
                  </a:extLst>
                </a:gridCol>
              </a:tblGrid>
              <a:tr h="726497">
                <a:tc>
                  <a:txBody>
                    <a:bodyPr/>
                    <a:lstStyle/>
                    <a:p>
                      <a:r>
                        <a:rPr lang="en-US" sz="17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stellas, AstraZeneca Pharmaceuticals LP, Bayer HealthCare Pharmaceuticals, EMD Serono Inc, Gilead Sciences Inc, Novartis, </a:t>
                      </a:r>
                      <a:r>
                        <a:rPr lang="en-US" sz="1700" b="0" kern="1200" dirty="0" err="1">
                          <a:solidFill>
                            <a:schemeClr val="tx1"/>
                          </a:solidFill>
                          <a:effectLst/>
                          <a:latin typeface="+mn-lt"/>
                          <a:ea typeface="+mn-ea"/>
                          <a:cs typeface="+mn-cs"/>
                        </a:rPr>
                        <a:t>Petauri</a:t>
                      </a:r>
                      <a:r>
                        <a:rPr lang="en-US" sz="1700" b="0" kern="1200" dirty="0">
                          <a:solidFill>
                            <a:schemeClr val="tx1"/>
                          </a:solidFill>
                          <a:effectLst/>
                          <a:latin typeface="+mn-lt"/>
                          <a:ea typeface="+mn-ea"/>
                          <a:cs typeface="+mn-cs"/>
                        </a:rPr>
                        <a:t> Kinect, Pfizer Inc, Sanofi,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03966">
                <a:tc>
                  <a:txBody>
                    <a:bodyPr/>
                    <a:lstStyle/>
                    <a:p>
                      <a:r>
                        <a:rPr lang="en-US" sz="1700" b="1" kern="1200" dirty="0">
                          <a:solidFill>
                            <a:schemeClr val="tx1"/>
                          </a:solidFill>
                          <a:effectLst/>
                          <a:latin typeface="+mn-lt"/>
                          <a:ea typeface="+mn-ea"/>
                          <a:cs typeface="+mn-cs"/>
                        </a:rPr>
                        <a:t>Advisory Committees </a:t>
                      </a:r>
                      <a:br>
                        <a:rPr lang="en-US" sz="1700" b="1" kern="1200" dirty="0">
                          <a:solidFill>
                            <a:schemeClr val="tx1"/>
                          </a:solidFill>
                          <a:effectLst/>
                          <a:latin typeface="+mn-lt"/>
                          <a:ea typeface="+mn-ea"/>
                          <a:cs typeface="+mn-cs"/>
                        </a:rPr>
                      </a:br>
                      <a:r>
                        <a:rPr lang="en-US" sz="17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Janssen Biotech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242662"/>
                  </a:ext>
                </a:extLst>
              </a:tr>
              <a:tr h="503966">
                <a:tc>
                  <a:txBody>
                    <a:bodyPr/>
                    <a:lstStyle/>
                    <a:p>
                      <a:r>
                        <a:rPr lang="en-US" sz="1700" b="1" kern="1200" dirty="0">
                          <a:solidFill>
                            <a:schemeClr val="tx1"/>
                          </a:solidFill>
                          <a:effectLst/>
                          <a:latin typeface="+mn-lt"/>
                          <a:ea typeface="+mn-ea"/>
                          <a:cs typeface="+mn-cs"/>
                        </a:rPr>
                        <a:t>Consulting Agreements </a:t>
                      </a:r>
                      <a:br>
                        <a:rPr lang="en-US" sz="1700" b="1" kern="1200" dirty="0">
                          <a:solidFill>
                            <a:schemeClr val="tx1"/>
                          </a:solidFill>
                          <a:effectLst/>
                          <a:latin typeface="+mn-lt"/>
                          <a:ea typeface="+mn-ea"/>
                          <a:cs typeface="+mn-cs"/>
                        </a:rPr>
                      </a:br>
                      <a:r>
                        <a:rPr lang="en-US" sz="17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266806"/>
                  </a:ext>
                </a:extLst>
              </a:tr>
              <a:tr h="2506740">
                <a:tc>
                  <a:txBody>
                    <a:bodyPr/>
                    <a:lstStyle/>
                    <a:p>
                      <a:r>
                        <a:rPr lang="en-US" sz="1700" b="1" kern="1200" dirty="0">
                          <a:solidFill>
                            <a:schemeClr val="tx1"/>
                          </a:solidFill>
                          <a:effectLst/>
                          <a:latin typeface="+mn-lt"/>
                          <a:ea typeface="+mn-ea"/>
                          <a:cs typeface="+mn-cs"/>
                        </a:rPr>
                        <a:t>Contracted Research (Research Support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ltor Bioscience Corporation, Amgen Inc, </a:t>
                      </a:r>
                      <a:r>
                        <a:rPr lang="en-US" sz="1700" b="0" kern="1200" dirty="0" err="1">
                          <a:solidFill>
                            <a:schemeClr val="tx1"/>
                          </a:solidFill>
                          <a:effectLst/>
                          <a:latin typeface="+mn-lt"/>
                          <a:ea typeface="+mn-ea"/>
                          <a:cs typeface="+mn-cs"/>
                        </a:rPr>
                        <a:t>Arvinas</a:t>
                      </a:r>
                      <a:r>
                        <a:rPr lang="en-US" sz="1700" b="0" kern="1200" dirty="0">
                          <a:solidFill>
                            <a:schemeClr val="tx1"/>
                          </a:solidFill>
                          <a:effectLst/>
                          <a:latin typeface="+mn-lt"/>
                          <a:ea typeface="+mn-ea"/>
                          <a:cs typeface="+mn-cs"/>
                        </a:rPr>
                        <a:t>, Astellas, AstraZeneca Pharmaceuticals LP, Bayer HealthCare Pharmaceuticals, </a:t>
                      </a:r>
                      <a:r>
                        <a:rPr lang="en-US" sz="1700" b="0" kern="1200" dirty="0" err="1">
                          <a:solidFill>
                            <a:schemeClr val="tx1"/>
                          </a:solidFill>
                          <a:effectLst/>
                          <a:latin typeface="+mn-lt"/>
                          <a:ea typeface="+mn-ea"/>
                          <a:cs typeface="+mn-cs"/>
                        </a:rPr>
                        <a:t>BioXcel</a:t>
                      </a:r>
                      <a:r>
                        <a:rPr lang="en-US" sz="1700" b="0" kern="1200" dirty="0">
                          <a:solidFill>
                            <a:schemeClr val="tx1"/>
                          </a:solidFill>
                          <a:effectLst/>
                          <a:latin typeface="+mn-lt"/>
                          <a:ea typeface="+mn-ea"/>
                          <a:cs typeface="+mn-cs"/>
                        </a:rPr>
                        <a:t> Therapeutics Inc, Bristol Myers Squibb, </a:t>
                      </a:r>
                      <a:r>
                        <a:rPr lang="en-US" sz="1700" b="0" kern="1200" dirty="0" err="1">
                          <a:solidFill>
                            <a:schemeClr val="tx1"/>
                          </a:solidFill>
                          <a:effectLst/>
                          <a:latin typeface="+mn-lt"/>
                          <a:ea typeface="+mn-ea"/>
                          <a:cs typeface="+mn-cs"/>
                        </a:rPr>
                        <a:t>Calithera</a:t>
                      </a:r>
                      <a:r>
                        <a:rPr lang="en-US" sz="1700" b="0" kern="1200" dirty="0">
                          <a:solidFill>
                            <a:schemeClr val="tx1"/>
                          </a:solidFill>
                          <a:effectLst/>
                          <a:latin typeface="+mn-lt"/>
                          <a:ea typeface="+mn-ea"/>
                          <a:cs typeface="+mn-cs"/>
                        </a:rPr>
                        <a:t> Biosciences, Caris Life Sciences, Clarity Pharmaceuticals, </a:t>
                      </a:r>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Inc, Corvus Pharmaceuticals, Daiichi Sankyo Inc, Eisai Inc, Exelixis Inc, F Hoffmann-La Roche Ltd, Fortis Therapeutics, Gilead Sciences Inc, GSK, Harpoon Therapeutics, Infinity Pharmaceuticals Inc, </a:t>
                      </a:r>
                      <a:r>
                        <a:rPr lang="en-US" sz="1700" b="0" kern="1200" dirty="0" err="1">
                          <a:solidFill>
                            <a:schemeClr val="tx1"/>
                          </a:solidFill>
                          <a:effectLst/>
                          <a:latin typeface="+mn-lt"/>
                          <a:ea typeface="+mn-ea"/>
                          <a:cs typeface="+mn-cs"/>
                        </a:rPr>
                        <a:t>iTeos</a:t>
                      </a:r>
                      <a:r>
                        <a:rPr lang="en-US" sz="1700" b="0" kern="1200" dirty="0">
                          <a:solidFill>
                            <a:schemeClr val="tx1"/>
                          </a:solidFill>
                          <a:effectLst/>
                          <a:latin typeface="+mn-lt"/>
                          <a:ea typeface="+mn-ea"/>
                          <a:cs typeface="+mn-cs"/>
                        </a:rPr>
                        <a:t> Therapeutics, Janssen Biotech Inc, </a:t>
                      </a:r>
                      <a:r>
                        <a:rPr lang="en-US" sz="1700" b="0" kern="1200" dirty="0" err="1">
                          <a:solidFill>
                            <a:schemeClr val="tx1"/>
                          </a:solidFill>
                          <a:effectLst/>
                          <a:latin typeface="+mn-lt"/>
                          <a:ea typeface="+mn-ea"/>
                          <a:cs typeface="+mn-cs"/>
                        </a:rPr>
                        <a:t>Janux</a:t>
                      </a:r>
                      <a:r>
                        <a:rPr lang="en-US" sz="1700" b="0" kern="1200" dirty="0">
                          <a:solidFill>
                            <a:schemeClr val="tx1"/>
                          </a:solidFill>
                          <a:effectLst/>
                          <a:latin typeface="+mn-lt"/>
                          <a:ea typeface="+mn-ea"/>
                          <a:cs typeface="+mn-cs"/>
                        </a:rPr>
                        <a:t> Therapeutics, Johnson &amp; Johnson, </a:t>
                      </a:r>
                      <a:r>
                        <a:rPr lang="en-US" sz="1700" b="0" kern="1200" dirty="0" err="1">
                          <a:solidFill>
                            <a:schemeClr val="tx1"/>
                          </a:solidFill>
                          <a:effectLst/>
                          <a:latin typeface="+mn-lt"/>
                          <a:ea typeface="+mn-ea"/>
                          <a:cs typeface="+mn-cs"/>
                        </a:rPr>
                        <a:t>MacroGenics</a:t>
                      </a:r>
                      <a:r>
                        <a:rPr lang="en-US" sz="1700" b="0" kern="1200" dirty="0">
                          <a:solidFill>
                            <a:schemeClr val="tx1"/>
                          </a:solidFill>
                          <a:effectLst/>
                          <a:latin typeface="+mn-lt"/>
                          <a:ea typeface="+mn-ea"/>
                          <a:cs typeface="+mn-cs"/>
                        </a:rPr>
                        <a:t> Inc, Merck, Mirati Therapeutics Inc, Modra Pharmaceuticals, MSD, Novartis, </a:t>
                      </a:r>
                      <a:r>
                        <a:rPr lang="en-US" sz="1700" b="0" kern="1200" dirty="0" err="1">
                          <a:solidFill>
                            <a:schemeClr val="tx1"/>
                          </a:solidFill>
                          <a:effectLst/>
                          <a:latin typeface="+mn-lt"/>
                          <a:ea typeface="+mn-ea"/>
                          <a:cs typeface="+mn-cs"/>
                        </a:rPr>
                        <a:t>Oncolys</a:t>
                      </a:r>
                      <a:r>
                        <a:rPr lang="en-US" sz="1700" b="0" kern="1200" dirty="0">
                          <a:solidFill>
                            <a:schemeClr val="tx1"/>
                          </a:solidFill>
                          <a:effectLst/>
                          <a:latin typeface="+mn-lt"/>
                          <a:ea typeface="+mn-ea"/>
                          <a:cs typeface="+mn-cs"/>
                        </a:rPr>
                        <a:t> BioPharma, Peloton Therapeutics Inc, Pfizer Inc, Pharmacyclics LLC, an AbbVie Company, POINT Biopharma, Regeneron Pharmaceuticals Inc,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Xencor</a:t>
                      </a:r>
                      <a:endParaRPr lang="en-US" sz="17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8307050"/>
                  </a:ext>
                </a:extLst>
              </a:tr>
              <a:tr h="503966">
                <a:tc>
                  <a:txBody>
                    <a:bodyPr/>
                    <a:lstStyle/>
                    <a:p>
                      <a:r>
                        <a:rPr lang="en-US" sz="1700" b="1" kern="1200" dirty="0">
                          <a:solidFill>
                            <a:schemeClr val="tx1"/>
                          </a:solidFill>
                          <a:effectLst/>
                          <a:latin typeface="+mn-lt"/>
                          <a:ea typeface="+mn-ea"/>
                          <a:cs typeface="+mn-cs"/>
                        </a:rPr>
                        <a:t>Nonrelevant Financial Relationships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err="1">
                          <a:solidFill>
                            <a:schemeClr val="tx1"/>
                          </a:solidFill>
                          <a:effectLst/>
                          <a:latin typeface="+mn-lt"/>
                          <a:ea typeface="+mn-ea"/>
                          <a:cs typeface="+mn-cs"/>
                        </a:rPr>
                        <a:t>Calibr</a:t>
                      </a:r>
                      <a:r>
                        <a:rPr lang="en-US" sz="1700" b="0" kern="1200" dirty="0">
                          <a:solidFill>
                            <a:schemeClr val="tx1"/>
                          </a:solidFill>
                          <a:effectLst/>
                          <a:latin typeface="+mn-lt"/>
                          <a:ea typeface="+mn-ea"/>
                          <a:cs typeface="+mn-cs"/>
                        </a:rPr>
                        <a:t>-Skaggs Institute for Innovative Medicin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6669767"/>
                  </a:ext>
                </a:extLst>
              </a:tr>
            </a:tbl>
          </a:graphicData>
        </a:graphic>
      </p:graphicFrame>
    </p:spTree>
    <p:custDataLst>
      <p:tags r:id="rId1"/>
    </p:custDataLst>
    <p:extLst>
      <p:ext uri="{BB962C8B-B14F-4D97-AF65-F5344CB8AC3E}">
        <p14:creationId xmlns:p14="http://schemas.microsoft.com/office/powerpoint/2010/main" val="320990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7BCC1-B5FB-E804-C919-A81E4962FA0A}"/>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D08C278B-DBE8-6F45-29AE-D433B92B3A7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B64D1B64-53A8-3FF7-147B-A516FB135733}"/>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6" name="Title 1">
            <a:extLst>
              <a:ext uri="{FF2B5EF4-FFF2-40B4-BE49-F238E27FC236}">
                <a16:creationId xmlns:a16="http://schemas.microsoft.com/office/drawing/2014/main" id="{B02808B1-3423-8F59-DF0D-313D7E80DA92}"/>
              </a:ext>
            </a:extLst>
          </p:cNvPr>
          <p:cNvSpPr txBox="1">
            <a:spLocks/>
          </p:cNvSpPr>
          <p:nvPr/>
        </p:nvSpPr>
        <p:spPr bwMode="auto">
          <a:xfrm>
            <a:off x="1593773" y="5133612"/>
            <a:ext cx="4601378"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sp>
        <p:nvSpPr>
          <p:cNvPr id="7" name="Title 1">
            <a:extLst>
              <a:ext uri="{FF2B5EF4-FFF2-40B4-BE49-F238E27FC236}">
                <a16:creationId xmlns:a16="http://schemas.microsoft.com/office/drawing/2014/main" id="{06A7C2A8-5481-7288-7991-4BAC287518C7}"/>
              </a:ext>
            </a:extLst>
          </p:cNvPr>
          <p:cNvSpPr txBox="1">
            <a:spLocks/>
          </p:cNvSpPr>
          <p:nvPr/>
        </p:nvSpPr>
        <p:spPr bwMode="auto">
          <a:xfrm>
            <a:off x="6096000" y="513361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9" name="Picture 8" descr="A person in a white shirt&#10;&#10;AI-generated content may be incorrect.">
            <a:extLst>
              <a:ext uri="{FF2B5EF4-FFF2-40B4-BE49-F238E27FC236}">
                <a16:creationId xmlns:a16="http://schemas.microsoft.com/office/drawing/2014/main" id="{E81D6AA0-999B-D5D9-0F5C-C26D6E193E4B}"/>
              </a:ext>
            </a:extLst>
          </p:cNvPr>
          <p:cNvPicPr>
            <a:picLocks noChangeAspect="1"/>
          </p:cNvPicPr>
          <p:nvPr/>
        </p:nvPicPr>
        <p:blipFill>
          <a:blip r:embed="rId2"/>
          <a:srcRect l="22367" r="19429" b="17523"/>
          <a:stretch>
            <a:fillRect/>
          </a:stretch>
        </p:blipFill>
        <p:spPr>
          <a:xfrm>
            <a:off x="6961222" y="2481852"/>
            <a:ext cx="2651760" cy="2651760"/>
          </a:xfrm>
          <a:prstGeom prst="ellipse">
            <a:avLst/>
          </a:prstGeom>
          <a:effectLst>
            <a:outerShdw blurRad="50800" dist="38100" dir="2700000" algn="tl" rotWithShape="0">
              <a:prstClr val="black">
                <a:alpha val="40000"/>
              </a:prstClr>
            </a:outerShdw>
          </a:effectLst>
        </p:spPr>
      </p:pic>
      <p:pic>
        <p:nvPicPr>
          <p:cNvPr id="10" name="Picture 9" descr="A person wearing a headset&#10;&#10;AI-generated content may be incorrect.">
            <a:extLst>
              <a:ext uri="{FF2B5EF4-FFF2-40B4-BE49-F238E27FC236}">
                <a16:creationId xmlns:a16="http://schemas.microsoft.com/office/drawing/2014/main" id="{882D5D63-DE6D-4E2C-3673-23625499DB78}"/>
              </a:ext>
            </a:extLst>
          </p:cNvPr>
          <p:cNvPicPr>
            <a:picLocks noChangeAspect="1"/>
          </p:cNvPicPr>
          <p:nvPr/>
        </p:nvPicPr>
        <p:blipFill>
          <a:blip r:embed="rId3"/>
          <a:srcRect l="24474" t="10529" r="26979" b="3163"/>
          <a:stretch>
            <a:fillRect/>
          </a:stretch>
        </p:blipFill>
        <p:spPr>
          <a:xfrm>
            <a:off x="2473101" y="2481852"/>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8367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9E8C7-02C8-5DC9-6472-4390BACA432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4293734-E7AF-F348-529F-99AD17B571C6}"/>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9B26E774-3BAC-69E2-D6D2-2BE7A0516E32}"/>
              </a:ext>
            </a:extLst>
          </p:cNvPr>
          <p:cNvSpPr>
            <a:spLocks noGrp="1"/>
          </p:cNvSpPr>
          <p:nvPr>
            <p:ph idx="1"/>
          </p:nvPr>
        </p:nvSpPr>
        <p:spPr>
          <a:xfrm>
            <a:off x="912286" y="1222275"/>
            <a:ext cx="10358967" cy="4799013"/>
          </a:xfrm>
        </p:spPr>
        <p:txBody>
          <a:bodyPr/>
          <a:lstStyle/>
          <a:p>
            <a:pPr marL="98425" lvl="0" indent="0">
              <a:buNone/>
            </a:pPr>
            <a:r>
              <a:rPr lang="en-US" dirty="0"/>
              <a:t>If capivasertib/abiraterone/ADT were available at the time of this patient’s initial diagnosis of mHSPC, how likely would you have been to recommend it?</a:t>
            </a:r>
          </a:p>
          <a:p>
            <a:pPr marL="98425" lvl="0" indent="0">
              <a:buNone/>
            </a:pPr>
            <a:r>
              <a:rPr lang="en-US" spc="-100" dirty="0"/>
              <a:t>What would you recommend for this patient at this time? Would you consider adding capivasertib to triplet therapy with an AR pathway inhibitor, chemotherapy and ADT under any circumstances? </a:t>
            </a:r>
          </a:p>
          <a:p>
            <a:pPr marL="98425" lvl="0" indent="0">
              <a:buNone/>
            </a:pPr>
            <a:r>
              <a:rPr lang="en-US" dirty="0"/>
              <a:t>How would you think through next steps when this patient eventually experiences disease progression to mCRPC? Would you ever consider capivasertib for a patient with mCRPC and PTEN deficiency under any circumstances?</a:t>
            </a:r>
          </a:p>
        </p:txBody>
      </p:sp>
    </p:spTree>
    <p:extLst>
      <p:ext uri="{BB962C8B-B14F-4D97-AF65-F5344CB8AC3E}">
        <p14:creationId xmlns:p14="http://schemas.microsoft.com/office/powerpoint/2010/main" val="1885981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88064-6199-AADD-19BB-D59FC85E4C7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42E72E0-C31D-FFEC-7829-C4CC08562622}"/>
              </a:ext>
            </a:extLst>
          </p:cNvPr>
          <p:cNvSpPr/>
          <p:nvPr/>
        </p:nvSpPr>
        <p:spPr bwMode="auto">
          <a:xfrm>
            <a:off x="740128" y="2908700"/>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EEEDDC7-B752-EF2C-E713-80C1BEB544F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27A43A2D-D251-DF08-8F7E-E3855C9917E5}"/>
              </a:ext>
            </a:extLst>
          </p:cNvPr>
          <p:cNvSpPr>
            <a:spLocks noGrp="1"/>
          </p:cNvSpPr>
          <p:nvPr>
            <p:ph idx="1"/>
          </p:nvPr>
        </p:nvSpPr>
        <p:spPr>
          <a:xfrm>
            <a:off x="767408" y="1416053"/>
            <a:ext cx="1035896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linical Implications of and Appropriate Strategies to Identify PTEN Deficiency in Prostate Cancer — Dr Georg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Targeting AKT in Metastatic Prostate Cancer — Prof Karim </a:t>
            </a:r>
            <a:r>
              <a:rPr lang="en-US" sz="2500" dirty="0" err="1">
                <a:solidFill>
                  <a:schemeClr val="tx1"/>
                </a:solidFill>
              </a:rPr>
              <a:t>Fizazi</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3: Tolerability and Other Practical Considerations with </a:t>
            </a:r>
            <a:r>
              <a:rPr lang="en-US" sz="2500" dirty="0" err="1">
                <a:solidFill>
                  <a:schemeClr val="bg1"/>
                </a:solidFill>
              </a:rPr>
              <a:t>Capivasertib</a:t>
            </a:r>
            <a:r>
              <a:rPr lang="en-US" sz="2500" dirty="0">
                <a:solidFill>
                  <a:schemeClr val="bg1"/>
                </a:solidFill>
              </a:rPr>
              <a:t> — Dr Heath</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28144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128"/>
          <p:cNvSpPr>
            <a:spLocks noChangeAspect="1"/>
          </p:cNvSpPr>
          <p:nvPr/>
        </p:nvSpPr>
        <p:spPr bwMode="auto">
          <a:xfrm>
            <a:off x="9186466" y="1636776"/>
            <a:ext cx="1784994" cy="1792224"/>
          </a:xfrm>
          <a:custGeom>
            <a:avLst/>
            <a:gdLst>
              <a:gd name="T0" fmla="*/ 264 w 264"/>
              <a:gd name="T1" fmla="*/ 0 h 265"/>
              <a:gd name="T2" fmla="*/ 0 w 264"/>
              <a:gd name="T3" fmla="*/ 0 h 265"/>
              <a:gd name="T4" fmla="*/ 0 w 264"/>
              <a:gd name="T5" fmla="*/ 170 h 265"/>
              <a:gd name="T6" fmla="*/ 0 w 264"/>
              <a:gd name="T7" fmla="*/ 189 h 265"/>
              <a:gd name="T8" fmla="*/ 19 w 264"/>
              <a:gd name="T9" fmla="*/ 189 h 265"/>
              <a:gd name="T10" fmla="*/ 56 w 264"/>
              <a:gd name="T11" fmla="*/ 189 h 265"/>
              <a:gd name="T12" fmla="*/ 56 w 264"/>
              <a:gd name="T13" fmla="*/ 170 h 265"/>
              <a:gd name="T14" fmla="*/ 19 w 264"/>
              <a:gd name="T15" fmla="*/ 170 h 265"/>
              <a:gd name="T16" fmla="*/ 19 w 264"/>
              <a:gd name="T17" fmla="*/ 19 h 265"/>
              <a:gd name="T18" fmla="*/ 245 w 264"/>
              <a:gd name="T19" fmla="*/ 19 h 265"/>
              <a:gd name="T20" fmla="*/ 245 w 264"/>
              <a:gd name="T21" fmla="*/ 170 h 265"/>
              <a:gd name="T22" fmla="*/ 151 w 264"/>
              <a:gd name="T23" fmla="*/ 170 h 265"/>
              <a:gd name="T24" fmla="*/ 132 w 264"/>
              <a:gd name="T25" fmla="*/ 170 h 265"/>
              <a:gd name="T26" fmla="*/ 125 w 264"/>
              <a:gd name="T27" fmla="*/ 170 h 265"/>
              <a:gd name="T28" fmla="*/ 56 w 264"/>
              <a:gd name="T29" fmla="*/ 239 h 265"/>
              <a:gd name="T30" fmla="*/ 56 w 264"/>
              <a:gd name="T31" fmla="*/ 265 h 265"/>
              <a:gd name="T32" fmla="*/ 132 w 264"/>
              <a:gd name="T33" fmla="*/ 189 h 265"/>
              <a:gd name="T34" fmla="*/ 264 w 264"/>
              <a:gd name="T35" fmla="*/ 189 h 265"/>
              <a:gd name="T36" fmla="*/ 264 w 264"/>
              <a:gd name="T3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265">
                <a:moveTo>
                  <a:pt x="264" y="0"/>
                </a:moveTo>
                <a:lnTo>
                  <a:pt x="0" y="0"/>
                </a:lnTo>
                <a:lnTo>
                  <a:pt x="0" y="170"/>
                </a:lnTo>
                <a:lnTo>
                  <a:pt x="0" y="189"/>
                </a:lnTo>
                <a:lnTo>
                  <a:pt x="19" y="189"/>
                </a:lnTo>
                <a:lnTo>
                  <a:pt x="56" y="189"/>
                </a:lnTo>
                <a:lnTo>
                  <a:pt x="56" y="170"/>
                </a:lnTo>
                <a:lnTo>
                  <a:pt x="19" y="170"/>
                </a:lnTo>
                <a:lnTo>
                  <a:pt x="19" y="19"/>
                </a:lnTo>
                <a:lnTo>
                  <a:pt x="245" y="19"/>
                </a:lnTo>
                <a:lnTo>
                  <a:pt x="245" y="170"/>
                </a:lnTo>
                <a:lnTo>
                  <a:pt x="151" y="170"/>
                </a:lnTo>
                <a:lnTo>
                  <a:pt x="132" y="170"/>
                </a:lnTo>
                <a:lnTo>
                  <a:pt x="125" y="170"/>
                </a:lnTo>
                <a:lnTo>
                  <a:pt x="56" y="239"/>
                </a:lnTo>
                <a:lnTo>
                  <a:pt x="56" y="265"/>
                </a:lnTo>
                <a:lnTo>
                  <a:pt x="132" y="189"/>
                </a:lnTo>
                <a:lnTo>
                  <a:pt x="264" y="189"/>
                </a:lnTo>
                <a:lnTo>
                  <a:pt x="26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
        <p:nvSpPr>
          <p:cNvPr id="2" name="Title 1"/>
          <p:cNvSpPr>
            <a:spLocks noGrp="1"/>
          </p:cNvSpPr>
          <p:nvPr>
            <p:ph type="ctrTitle"/>
          </p:nvPr>
        </p:nvSpPr>
        <p:spPr>
          <a:xfrm>
            <a:off x="974726" y="3407013"/>
            <a:ext cx="9996735" cy="1397000"/>
          </a:xfrm>
        </p:spPr>
        <p:txBody>
          <a:bodyPr/>
          <a:lstStyle/>
          <a:p>
            <a:r>
              <a:rPr lang="en-US" sz="4000" dirty="0"/>
              <a:t>Tolerability and other practical considerations with capivasertib</a:t>
            </a:r>
          </a:p>
        </p:txBody>
      </p:sp>
      <p:sp>
        <p:nvSpPr>
          <p:cNvPr id="4" name="Subtitle 2"/>
          <p:cNvSpPr txBox="1">
            <a:spLocks/>
          </p:cNvSpPr>
          <p:nvPr/>
        </p:nvSpPr>
        <p:spPr>
          <a:xfrm>
            <a:off x="974726" y="4980972"/>
            <a:ext cx="10001503" cy="685800"/>
          </a:xfrm>
          <a:prstGeom prst="rect">
            <a:avLst/>
          </a:prstGeom>
        </p:spPr>
        <p:txBody>
          <a:bodyPr vert="horz" lIns="0" tIns="45720" rIns="0" bIns="45724" rtlCol="0" anchor="ctr" anchorCtr="0">
            <a:noAutofit/>
          </a:bodyPr>
          <a:lstStyle>
            <a:lvl1pPr marL="0" indent="0" algn="l" defTabSz="914484" rtl="0" eaLnBrk="1" latinLnBrk="0" hangingPunct="1">
              <a:lnSpc>
                <a:spcPct val="80000"/>
              </a:lnSpc>
              <a:spcBef>
                <a:spcPts val="0"/>
              </a:spcBef>
              <a:buClr>
                <a:schemeClr val="tx2"/>
              </a:buClr>
              <a:buFont typeface="Arial" pitchFamily="34" charset="0"/>
              <a:buNone/>
              <a:defRPr sz="2400" b="1" kern="1200">
                <a:solidFill>
                  <a:schemeClr val="accent1"/>
                </a:solidFill>
                <a:latin typeface="+mn-lt"/>
                <a:ea typeface="+mn-ea"/>
                <a:cs typeface="+mn-cs"/>
              </a:defRPr>
            </a:lvl1pPr>
            <a:lvl2pPr marL="457241" indent="0" algn="ctr" defTabSz="914484" rtl="0" eaLnBrk="1" latinLnBrk="0" hangingPunct="1">
              <a:lnSpc>
                <a:spcPct val="80000"/>
              </a:lnSpc>
              <a:spcBef>
                <a:spcPts val="600"/>
              </a:spcBef>
              <a:buClr>
                <a:schemeClr val="bg2">
                  <a:lumMod val="75000"/>
                </a:schemeClr>
              </a:buClr>
              <a:buFont typeface="Arial" pitchFamily="34" charset="0"/>
              <a:buNone/>
              <a:defRPr sz="1800" kern="1200">
                <a:solidFill>
                  <a:schemeClr val="tx1">
                    <a:tint val="75000"/>
                  </a:schemeClr>
                </a:solidFill>
                <a:latin typeface="+mn-lt"/>
                <a:ea typeface="+mn-ea"/>
                <a:cs typeface="+mn-cs"/>
              </a:defRPr>
            </a:lvl2pPr>
            <a:lvl3pPr marL="914484"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3pPr>
            <a:lvl4pPr marL="1371725"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4pPr>
            <a:lvl5pPr marL="1828968"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5pPr>
            <a:lvl6pPr marL="2286209"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452"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693"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936"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buClr>
                <a:srgbClr val="0057B8"/>
              </a:buClr>
            </a:pPr>
            <a:r>
              <a:rPr lang="en-US" sz="2200" b="0" dirty="0">
                <a:solidFill>
                  <a:srgbClr val="000000"/>
                </a:solidFill>
                <a:latin typeface="Arial"/>
              </a:rPr>
              <a:t>Elisabeth Heath, MD</a:t>
            </a:r>
          </a:p>
        </p:txBody>
      </p:sp>
      <p:sp>
        <p:nvSpPr>
          <p:cNvPr id="12" name="TextBox 11"/>
          <p:cNvSpPr txBox="1"/>
          <p:nvPr/>
        </p:nvSpPr>
        <p:spPr>
          <a:xfrm>
            <a:off x="974726" y="5629656"/>
            <a:ext cx="5130800" cy="694944"/>
          </a:xfrm>
          <a:prstGeom prst="rect">
            <a:avLst/>
          </a:prstGeom>
        </p:spPr>
        <p:txBody>
          <a:bodyPr vert="horz" lIns="0" tIns="0" rIns="0" bIns="0" rtlCol="0" anchor="b" anchorCtr="0">
            <a:noAutofit/>
          </a:bodyPr>
          <a:lstStyle>
            <a:lvl1pPr lvl="0" indent="0">
              <a:lnSpc>
                <a:spcPct val="90000"/>
              </a:lnSpc>
              <a:spcBef>
                <a:spcPts val="0"/>
              </a:spcBef>
              <a:buClr>
                <a:schemeClr val="tx2"/>
              </a:buClr>
              <a:buSzPct val="120000"/>
              <a:buFont typeface="Arial" pitchFamily="34" charset="0"/>
              <a:buNone/>
              <a:defRPr lang="en-US" smtClean="0">
                <a:solidFill>
                  <a:schemeClr val="accent5"/>
                </a:solidFill>
              </a:defRPr>
            </a:lvl1pPr>
            <a:lvl2pPr marL="800100" indent="-228600">
              <a:lnSpc>
                <a:spcPct val="90000"/>
              </a:lnSpc>
              <a:spcBef>
                <a:spcPts val="600"/>
              </a:spcBef>
              <a:buClr>
                <a:schemeClr val="accent5"/>
              </a:buClr>
              <a:buSzPct val="120000"/>
              <a:buFont typeface="Arial" pitchFamily="34" charset="0"/>
              <a:buChar char="•"/>
              <a:defRPr lang="en-US" sz="2800" smtClean="0"/>
            </a:lvl2pPr>
            <a:lvl3pPr marL="1143000" indent="-228600">
              <a:lnSpc>
                <a:spcPct val="90000"/>
              </a:lnSpc>
              <a:spcBef>
                <a:spcPts val="600"/>
              </a:spcBef>
              <a:buClr>
                <a:schemeClr val="accent5"/>
              </a:buClr>
              <a:buFont typeface="Arial" pitchFamily="34" charset="0"/>
              <a:buChar char="•"/>
              <a:defRPr lang="en-US" sz="2800" smtClean="0"/>
            </a:lvl3pPr>
            <a:lvl4pPr marL="1600200" indent="-228600">
              <a:lnSpc>
                <a:spcPct val="90000"/>
              </a:lnSpc>
              <a:spcBef>
                <a:spcPts val="600"/>
              </a:spcBef>
              <a:buClr>
                <a:schemeClr val="accent5"/>
              </a:buClr>
              <a:buFont typeface="Arial" pitchFamily="34" charset="0"/>
              <a:buChar char="•"/>
              <a:defRPr lang="en-US" sz="2800" smtClean="0"/>
            </a:lvl4pPr>
            <a:lvl5pPr marL="2057400" indent="-228600">
              <a:lnSpc>
                <a:spcPct val="90000"/>
              </a:lnSpc>
              <a:spcBef>
                <a:spcPts val="600"/>
              </a:spcBef>
              <a:buClr>
                <a:schemeClr val="accent5"/>
              </a:buClr>
              <a:buFont typeface="Arial" pitchFamily="34" charset="0"/>
              <a:buChar char="•"/>
              <a:defRPr lang="en-US" sz="2800" dirty="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1218987" fontAlgn="auto">
              <a:spcAft>
                <a:spcPts val="0"/>
              </a:spcAft>
              <a:buClr>
                <a:srgbClr val="0057B8"/>
              </a:buClr>
            </a:pPr>
            <a:r>
              <a:rPr lang="en-US" sz="1800" b="0" dirty="0">
                <a:solidFill>
                  <a:srgbClr val="000000">
                    <a:lumMod val="50000"/>
                    <a:lumOff val="50000"/>
                  </a:srgbClr>
                </a:solidFill>
                <a:latin typeface="Arial"/>
                <a:ea typeface="+mn-ea"/>
                <a:cs typeface="+mn-cs"/>
              </a:rPr>
              <a:t>Professor of Oncology</a:t>
            </a:r>
          </a:p>
          <a:p>
            <a:pPr defTabSz="1218987" fontAlgn="auto">
              <a:spcAft>
                <a:spcPts val="0"/>
              </a:spcAft>
              <a:buClr>
                <a:srgbClr val="0057B8"/>
              </a:buClr>
            </a:pPr>
            <a:r>
              <a:rPr lang="en-US" sz="1800" b="0" dirty="0">
                <a:solidFill>
                  <a:srgbClr val="000000">
                    <a:lumMod val="50000"/>
                    <a:lumOff val="50000"/>
                  </a:srgbClr>
                </a:solidFill>
                <a:latin typeface="Arial"/>
                <a:ea typeface="+mn-ea"/>
                <a:cs typeface="+mn-cs"/>
              </a:rPr>
              <a:t>Chair, Department of Oncology</a:t>
            </a:r>
          </a:p>
          <a:p>
            <a:pPr defTabSz="1218987" fontAlgn="auto">
              <a:spcAft>
                <a:spcPts val="0"/>
              </a:spcAft>
              <a:buClr>
                <a:srgbClr val="0057B8"/>
              </a:buClr>
            </a:pPr>
            <a:r>
              <a:rPr lang="en-US" sz="1800" b="0" dirty="0">
                <a:solidFill>
                  <a:srgbClr val="000000">
                    <a:lumMod val="50000"/>
                    <a:lumOff val="50000"/>
                  </a:srgbClr>
                </a:solidFill>
                <a:latin typeface="Arial"/>
                <a:ea typeface="+mn-ea"/>
                <a:cs typeface="+mn-cs"/>
              </a:rPr>
              <a:t>Rochester, MN</a:t>
            </a:r>
          </a:p>
        </p:txBody>
      </p:sp>
    </p:spTree>
    <p:custDataLst>
      <p:custData r:id="rId1"/>
      <p:custData r:id="rId2"/>
    </p:custDataLst>
    <p:extLst>
      <p:ext uri="{BB962C8B-B14F-4D97-AF65-F5344CB8AC3E}">
        <p14:creationId xmlns:p14="http://schemas.microsoft.com/office/powerpoint/2010/main" val="41554683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96539" y="435108"/>
            <a:ext cx="9998921" cy="587375"/>
          </a:xfrm>
        </p:spPr>
        <p:txBody>
          <a:bodyPr anchor="t">
            <a:noAutofit/>
          </a:bodyPr>
          <a:lstStyle/>
          <a:p>
            <a:r>
              <a:rPr lang="en-US" dirty="0"/>
              <a:t>CaPITELLO-281: SAFETY SUMMARY</a:t>
            </a:r>
            <a:br>
              <a:rPr lang="en-US" dirty="0"/>
            </a:br>
            <a:endParaRPr lang="en-US" b="0" dirty="0"/>
          </a:p>
        </p:txBody>
      </p:sp>
      <p:grpSp>
        <p:nvGrpSpPr>
          <p:cNvPr id="3" name="Group 2">
            <a:extLst>
              <a:ext uri="{FF2B5EF4-FFF2-40B4-BE49-F238E27FC236}">
                <a16:creationId xmlns:a16="http://schemas.microsoft.com/office/drawing/2014/main" id="{4705F75C-7970-B9A9-15E8-5C7EB5242EDB}"/>
              </a:ext>
            </a:extLst>
          </p:cNvPr>
          <p:cNvGrpSpPr/>
          <p:nvPr/>
        </p:nvGrpSpPr>
        <p:grpSpPr>
          <a:xfrm>
            <a:off x="163634" y="1022483"/>
            <a:ext cx="11875625" cy="5504153"/>
            <a:chOff x="162045" y="1022482"/>
            <a:chExt cx="11875625" cy="5504153"/>
          </a:xfrm>
        </p:grpSpPr>
        <p:pic>
          <p:nvPicPr>
            <p:cNvPr id="12" name="Picture 11">
              <a:extLst>
                <a:ext uri="{FF2B5EF4-FFF2-40B4-BE49-F238E27FC236}">
                  <a16:creationId xmlns:a16="http://schemas.microsoft.com/office/drawing/2014/main" id="{076F2687-5854-52F7-81A4-5AA6399597C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62045" y="1022482"/>
              <a:ext cx="11875625" cy="5504153"/>
            </a:xfrm>
            <a:prstGeom prst="rect">
              <a:avLst/>
            </a:prstGeom>
          </p:spPr>
        </p:pic>
        <p:sp>
          <p:nvSpPr>
            <p:cNvPr id="2" name="Rectangle 1">
              <a:extLst>
                <a:ext uri="{FF2B5EF4-FFF2-40B4-BE49-F238E27FC236}">
                  <a16:creationId xmlns:a16="http://schemas.microsoft.com/office/drawing/2014/main" id="{84C42A5C-9A0B-0101-ABCE-54F1D2FA9103}"/>
                </a:ext>
              </a:extLst>
            </p:cNvPr>
            <p:cNvSpPr/>
            <p:nvPr/>
          </p:nvSpPr>
          <p:spPr>
            <a:xfrm>
              <a:off x="4967785" y="6141493"/>
              <a:ext cx="5049672" cy="232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grpSp>
    </p:spTree>
    <p:custDataLst>
      <p:custData r:id="rId1"/>
      <p:custData r:id="rId2"/>
    </p:custDataLst>
    <p:extLst>
      <p:ext uri="{BB962C8B-B14F-4D97-AF65-F5344CB8AC3E}">
        <p14:creationId xmlns:p14="http://schemas.microsoft.com/office/powerpoint/2010/main" val="3813557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DCCF0-76D5-A5FC-6C18-EA6C2D8B84D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B746194-1041-ABE7-3688-3C1566C88F19}"/>
              </a:ext>
            </a:extLst>
          </p:cNvPr>
          <p:cNvSpPr>
            <a:spLocks noGrp="1"/>
          </p:cNvSpPr>
          <p:nvPr>
            <p:ph type="title"/>
          </p:nvPr>
        </p:nvSpPr>
        <p:spPr>
          <a:xfrm>
            <a:off x="560880" y="413286"/>
            <a:ext cx="11443317" cy="587375"/>
          </a:xfrm>
        </p:spPr>
        <p:txBody>
          <a:bodyPr anchor="t">
            <a:noAutofit/>
          </a:bodyPr>
          <a:lstStyle/>
          <a:p>
            <a:r>
              <a:rPr lang="en-US" dirty="0"/>
              <a:t>caPITELLO-281: ADVERSE EVENTS (</a:t>
            </a:r>
            <a:r>
              <a:rPr lang="en-US" u="sng" dirty="0"/>
              <a:t>&gt;</a:t>
            </a:r>
            <a:r>
              <a:rPr lang="en-US" dirty="0"/>
              <a:t> 10% OF PATIENTS)</a:t>
            </a:r>
            <a:endParaRPr lang="en-US" b="0" dirty="0"/>
          </a:p>
        </p:txBody>
      </p:sp>
      <p:grpSp>
        <p:nvGrpSpPr>
          <p:cNvPr id="8" name="Group 7">
            <a:extLst>
              <a:ext uri="{FF2B5EF4-FFF2-40B4-BE49-F238E27FC236}">
                <a16:creationId xmlns:a16="http://schemas.microsoft.com/office/drawing/2014/main" id="{027F5414-9C8E-490C-5480-0A33A8CEF12B}"/>
              </a:ext>
            </a:extLst>
          </p:cNvPr>
          <p:cNvGrpSpPr/>
          <p:nvPr/>
        </p:nvGrpSpPr>
        <p:grpSpPr>
          <a:xfrm>
            <a:off x="942980" y="1203850"/>
            <a:ext cx="10679115" cy="5350223"/>
            <a:chOff x="941391" y="1203849"/>
            <a:chExt cx="10679115" cy="5350223"/>
          </a:xfrm>
        </p:grpSpPr>
        <p:grpSp>
          <p:nvGrpSpPr>
            <p:cNvPr id="7" name="Group 6">
              <a:extLst>
                <a:ext uri="{FF2B5EF4-FFF2-40B4-BE49-F238E27FC236}">
                  <a16:creationId xmlns:a16="http://schemas.microsoft.com/office/drawing/2014/main" id="{8D1B11A2-AAA6-ABA0-BF2A-D79774FA90AA}"/>
                </a:ext>
              </a:extLst>
            </p:cNvPr>
            <p:cNvGrpSpPr/>
            <p:nvPr/>
          </p:nvGrpSpPr>
          <p:grpSpPr>
            <a:xfrm>
              <a:off x="941391" y="1203849"/>
              <a:ext cx="10679115" cy="5350223"/>
              <a:chOff x="941391" y="1203849"/>
              <a:chExt cx="10679115" cy="5350223"/>
            </a:xfrm>
          </p:grpSpPr>
          <p:pic>
            <p:nvPicPr>
              <p:cNvPr id="3" name="Picture 2">
                <a:extLst>
                  <a:ext uri="{FF2B5EF4-FFF2-40B4-BE49-F238E27FC236}">
                    <a16:creationId xmlns:a16="http://schemas.microsoft.com/office/drawing/2014/main" id="{C545A495-D221-35EC-85F1-5F4E23DDD628}"/>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r="1144"/>
              <a:stretch>
                <a:fillRect/>
              </a:stretch>
            </p:blipFill>
            <p:spPr>
              <a:xfrm>
                <a:off x="941391" y="1203849"/>
                <a:ext cx="10679115" cy="5350223"/>
              </a:xfrm>
              <a:prstGeom prst="rect">
                <a:avLst/>
              </a:prstGeom>
            </p:spPr>
          </p:pic>
          <p:sp>
            <p:nvSpPr>
              <p:cNvPr id="4" name="Rectangle 3">
                <a:extLst>
                  <a:ext uri="{FF2B5EF4-FFF2-40B4-BE49-F238E27FC236}">
                    <a16:creationId xmlns:a16="http://schemas.microsoft.com/office/drawing/2014/main" id="{E38216D4-CD7C-152D-D84A-E4FD55163D41}"/>
                  </a:ext>
                </a:extLst>
              </p:cNvPr>
              <p:cNvSpPr/>
              <p:nvPr/>
            </p:nvSpPr>
            <p:spPr>
              <a:xfrm>
                <a:off x="4967785" y="6155141"/>
                <a:ext cx="5049672" cy="232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grpSp>
        <p:sp>
          <p:nvSpPr>
            <p:cNvPr id="2" name="TextBox 1">
              <a:extLst>
                <a:ext uri="{FF2B5EF4-FFF2-40B4-BE49-F238E27FC236}">
                  <a16:creationId xmlns:a16="http://schemas.microsoft.com/office/drawing/2014/main" id="{5CE1BCF2-8A6E-9D8C-5560-2C8C544688D5}"/>
                </a:ext>
              </a:extLst>
            </p:cNvPr>
            <p:cNvSpPr txBox="1"/>
            <p:nvPr/>
          </p:nvSpPr>
          <p:spPr>
            <a:xfrm>
              <a:off x="1062366" y="2140772"/>
              <a:ext cx="10373014" cy="461665"/>
            </a:xfrm>
            <a:prstGeom prst="rect">
              <a:avLst/>
            </a:prstGeom>
            <a:noFill/>
            <a:ln w="38100">
              <a:solidFill>
                <a:srgbClr val="FF0000"/>
              </a:solidFill>
            </a:ln>
          </p:spPr>
          <p:txBody>
            <a:bodyPr wrap="square" rtlCol="0">
              <a:spAutoFit/>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
          <p:nvSpPr>
            <p:cNvPr id="6" name="TextBox 5">
              <a:extLst>
                <a:ext uri="{FF2B5EF4-FFF2-40B4-BE49-F238E27FC236}">
                  <a16:creationId xmlns:a16="http://schemas.microsoft.com/office/drawing/2014/main" id="{00509C4B-EC43-7397-8061-9E1D267C763A}"/>
                </a:ext>
              </a:extLst>
            </p:cNvPr>
            <p:cNvSpPr txBox="1"/>
            <p:nvPr/>
          </p:nvSpPr>
          <p:spPr>
            <a:xfrm>
              <a:off x="1094441" y="3174515"/>
              <a:ext cx="10373014" cy="461665"/>
            </a:xfrm>
            <a:prstGeom prst="rect">
              <a:avLst/>
            </a:prstGeom>
            <a:noFill/>
            <a:ln w="38100">
              <a:solidFill>
                <a:srgbClr val="FF0000"/>
              </a:solidFill>
            </a:ln>
          </p:spPr>
          <p:txBody>
            <a:bodyPr wrap="square" rtlCol="0">
              <a:spAutoFit/>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grpSp>
    </p:spTree>
    <p:custDataLst>
      <p:custData r:id="rId1"/>
      <p:custData r:id="rId2"/>
    </p:custDataLst>
    <p:extLst>
      <p:ext uri="{BB962C8B-B14F-4D97-AF65-F5344CB8AC3E}">
        <p14:creationId xmlns:p14="http://schemas.microsoft.com/office/powerpoint/2010/main" val="29787343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306FE-C87D-F49C-57DB-5153C4F9E7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B7A188-D9A4-6A86-7895-A0A429F142EE}"/>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1C23E267-B9AF-EF15-12DE-A1A21DF577CE}"/>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5" name="Picture 4" descr="A screenshot of a computer screen&#10;&#10;AI-generated content may be incorrect.">
            <a:extLst>
              <a:ext uri="{FF2B5EF4-FFF2-40B4-BE49-F238E27FC236}">
                <a16:creationId xmlns:a16="http://schemas.microsoft.com/office/drawing/2014/main" id="{1208E7AB-24AB-405B-8D3D-E348A6BCFC7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9" y="0"/>
            <a:ext cx="12263607" cy="6858000"/>
          </a:xfrm>
          <a:prstGeom prst="rect">
            <a:avLst/>
          </a:prstGeom>
        </p:spPr>
      </p:pic>
      <p:sp>
        <p:nvSpPr>
          <p:cNvPr id="6" name="Rectangle 5">
            <a:extLst>
              <a:ext uri="{FF2B5EF4-FFF2-40B4-BE49-F238E27FC236}">
                <a16:creationId xmlns:a16="http://schemas.microsoft.com/office/drawing/2014/main" id="{B442419E-1536-AAA2-9512-767145A00D18}"/>
              </a:ext>
            </a:extLst>
          </p:cNvPr>
          <p:cNvSpPr/>
          <p:nvPr/>
        </p:nvSpPr>
        <p:spPr bwMode="auto">
          <a:xfrm>
            <a:off x="3183700" y="6611113"/>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Rectangle 3">
            <a:extLst>
              <a:ext uri="{FF2B5EF4-FFF2-40B4-BE49-F238E27FC236}">
                <a16:creationId xmlns:a16="http://schemas.microsoft.com/office/drawing/2014/main" id="{AA89B427-522B-1970-0442-ECA7A47EBF74}"/>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Tree>
    <p:extLst>
      <p:ext uri="{BB962C8B-B14F-4D97-AF65-F5344CB8AC3E}">
        <p14:creationId xmlns:p14="http://schemas.microsoft.com/office/powerpoint/2010/main" val="42660719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1B0A94-9547-49B7-97BC-E3588C34E7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BBD803-56C6-4FE7-83E4-87E7B861B47C}"/>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FBAD8A7C-E904-216E-B737-A754F7574738}"/>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10" name="Picture 9" descr="A screenshot of a computer screen&#10;&#10;AI-generated content may be incorrect.">
            <a:extLst>
              <a:ext uri="{FF2B5EF4-FFF2-40B4-BE49-F238E27FC236}">
                <a16:creationId xmlns:a16="http://schemas.microsoft.com/office/drawing/2014/main" id="{41861FC2-76C0-8D0D-0B44-C3DFD514A0D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9" y="0"/>
            <a:ext cx="12250535" cy="6858000"/>
          </a:xfrm>
          <a:prstGeom prst="rect">
            <a:avLst/>
          </a:prstGeom>
        </p:spPr>
      </p:pic>
      <p:sp>
        <p:nvSpPr>
          <p:cNvPr id="11" name="Rectangle 10">
            <a:extLst>
              <a:ext uri="{FF2B5EF4-FFF2-40B4-BE49-F238E27FC236}">
                <a16:creationId xmlns:a16="http://schemas.microsoft.com/office/drawing/2014/main" id="{DF2A726D-C62D-DAC2-B025-78D4C6D55C75}"/>
              </a:ext>
            </a:extLst>
          </p:cNvPr>
          <p:cNvSpPr/>
          <p:nvPr/>
        </p:nvSpPr>
        <p:spPr bwMode="auto">
          <a:xfrm>
            <a:off x="3201988" y="6611113"/>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TextBox 3">
            <a:extLst>
              <a:ext uri="{FF2B5EF4-FFF2-40B4-BE49-F238E27FC236}">
                <a16:creationId xmlns:a16="http://schemas.microsoft.com/office/drawing/2014/main" id="{7F74FFC4-E61E-DC94-3249-88F8760EE726}"/>
              </a:ext>
            </a:extLst>
          </p:cNvPr>
          <p:cNvSpPr txBox="1"/>
          <p:nvPr/>
        </p:nvSpPr>
        <p:spPr>
          <a:xfrm>
            <a:off x="685351" y="430568"/>
            <a:ext cx="11312294" cy="923330"/>
          </a:xfrm>
          <a:prstGeom prst="rect">
            <a:avLst/>
          </a:prstGeom>
          <a:solidFill>
            <a:srgbClr val="0A3766"/>
          </a:solidFill>
        </p:spPr>
        <p:txBody>
          <a:bodyPr wrap="square" rtlCol="0">
            <a:spAutoFit/>
          </a:bodyPr>
          <a:lstStyle/>
          <a:p>
            <a:pPr defTabSz="1218987" fontAlgn="auto">
              <a:spcBef>
                <a:spcPts val="0"/>
              </a:spcBef>
              <a:spcAft>
                <a:spcPts val="0"/>
              </a:spcAft>
            </a:pPr>
            <a:r>
              <a:rPr lang="en-US" dirty="0">
                <a:solidFill>
                  <a:srgbClr val="FFFFFF"/>
                </a:solidFill>
                <a:latin typeface="Arial"/>
                <a:ea typeface="+mn-ea"/>
                <a:cs typeface="+mn-cs"/>
              </a:rPr>
              <a:t>CAPItello-281: FACT–P functional wellbeing (FWB)</a:t>
            </a:r>
          </a:p>
          <a:p>
            <a:pPr defTabSz="1218987" fontAlgn="auto">
              <a:spcBef>
                <a:spcPts val="0"/>
              </a:spcBef>
              <a:spcAft>
                <a:spcPts val="0"/>
              </a:spcAft>
            </a:pPr>
            <a:r>
              <a:rPr lang="en-US" sz="1800" b="0" dirty="0">
                <a:solidFill>
                  <a:srgbClr val="FFFFFF"/>
                </a:solidFill>
                <a:latin typeface="Arial"/>
                <a:ea typeface="+mn-ea"/>
                <a:cs typeface="+mn-cs"/>
              </a:rPr>
              <a:t>FWB includes outcomes such ability to work, sleep quality and ability to enjoy life</a:t>
            </a:r>
          </a:p>
        </p:txBody>
      </p:sp>
      <p:sp>
        <p:nvSpPr>
          <p:cNvPr id="5" name="Rectangle 4">
            <a:extLst>
              <a:ext uri="{FF2B5EF4-FFF2-40B4-BE49-F238E27FC236}">
                <a16:creationId xmlns:a16="http://schemas.microsoft.com/office/drawing/2014/main" id="{C85DAD9F-605B-10D1-ADC0-022CAA2E5ABF}"/>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Tree>
    <p:extLst>
      <p:ext uri="{BB962C8B-B14F-4D97-AF65-F5344CB8AC3E}">
        <p14:creationId xmlns:p14="http://schemas.microsoft.com/office/powerpoint/2010/main" val="25718250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06E4C-2CE0-A40C-2627-384CCB2A5E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B6514-07E0-C601-C8B9-DD7B71F09DD5}"/>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4F371745-5A31-C33E-F3AD-AA8B71828309}"/>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5" name="Picture 4" descr="A screenshot of a computer screen&#10;&#10;AI-generated content may be incorrect.">
            <a:extLst>
              <a:ext uri="{FF2B5EF4-FFF2-40B4-BE49-F238E27FC236}">
                <a16:creationId xmlns:a16="http://schemas.microsoft.com/office/drawing/2014/main" id="{EAA8D2C5-EB7F-B560-1E1A-090EB746D58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9" y="0"/>
            <a:ext cx="12238893" cy="6858000"/>
          </a:xfrm>
          <a:prstGeom prst="rect">
            <a:avLst/>
          </a:prstGeom>
        </p:spPr>
      </p:pic>
      <p:sp>
        <p:nvSpPr>
          <p:cNvPr id="6" name="Rectangle 5">
            <a:extLst>
              <a:ext uri="{FF2B5EF4-FFF2-40B4-BE49-F238E27FC236}">
                <a16:creationId xmlns:a16="http://schemas.microsoft.com/office/drawing/2014/main" id="{3EFA59BC-6CED-5A0C-8700-F3728D6629F6}"/>
              </a:ext>
            </a:extLst>
          </p:cNvPr>
          <p:cNvSpPr/>
          <p:nvPr/>
        </p:nvSpPr>
        <p:spPr bwMode="auto">
          <a:xfrm>
            <a:off x="3174556" y="6601969"/>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Rectangle 3">
            <a:extLst>
              <a:ext uri="{FF2B5EF4-FFF2-40B4-BE49-F238E27FC236}">
                <a16:creationId xmlns:a16="http://schemas.microsoft.com/office/drawing/2014/main" id="{11E24E43-DDC6-9CEE-B6ED-F8BFE98E2708}"/>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Tree>
    <p:extLst>
      <p:ext uri="{BB962C8B-B14F-4D97-AF65-F5344CB8AC3E}">
        <p14:creationId xmlns:p14="http://schemas.microsoft.com/office/powerpoint/2010/main" val="22837902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C96F5-6399-DB34-1996-F2650F4743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B41FF8-C396-664E-9742-DCEF94E11A3D}"/>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2CC2F826-AA6C-CF42-AB18-3450E354671D}"/>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6" name="Picture 5" descr="A graph of a number of patients&#10;&#10;AI-generated content may be incorrect.">
            <a:extLst>
              <a:ext uri="{FF2B5EF4-FFF2-40B4-BE49-F238E27FC236}">
                <a16:creationId xmlns:a16="http://schemas.microsoft.com/office/drawing/2014/main" id="{B9DB82E2-6059-0377-6804-5BF49924FC8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9" y="1"/>
            <a:ext cx="12188825" cy="6836465"/>
          </a:xfrm>
          <a:prstGeom prst="rect">
            <a:avLst/>
          </a:prstGeom>
        </p:spPr>
      </p:pic>
      <p:sp>
        <p:nvSpPr>
          <p:cNvPr id="7" name="Rectangle 6">
            <a:extLst>
              <a:ext uri="{FF2B5EF4-FFF2-40B4-BE49-F238E27FC236}">
                <a16:creationId xmlns:a16="http://schemas.microsoft.com/office/drawing/2014/main" id="{822D563E-725E-C343-DB33-C3ABAE541791}"/>
              </a:ext>
            </a:extLst>
          </p:cNvPr>
          <p:cNvSpPr/>
          <p:nvPr/>
        </p:nvSpPr>
        <p:spPr bwMode="auto">
          <a:xfrm>
            <a:off x="3201988" y="6583681"/>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Rectangle 3">
            <a:extLst>
              <a:ext uri="{FF2B5EF4-FFF2-40B4-BE49-F238E27FC236}">
                <a16:creationId xmlns:a16="http://schemas.microsoft.com/office/drawing/2014/main" id="{BA452358-7312-8F6D-5569-EBDAB67A6844}"/>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Tree>
    <p:extLst>
      <p:ext uri="{BB962C8B-B14F-4D97-AF65-F5344CB8AC3E}">
        <p14:creationId xmlns:p14="http://schemas.microsoft.com/office/powerpoint/2010/main" val="182659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68F4A-8ADC-1F82-4CA8-03C630935D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384FFD-5043-FAA9-8D4B-DD29C1E430E6}"/>
              </a:ext>
            </a:extLst>
          </p:cNvPr>
          <p:cNvSpPr>
            <a:spLocks noGrp="1"/>
          </p:cNvSpPr>
          <p:nvPr>
            <p:ph type="title"/>
          </p:nvPr>
        </p:nvSpPr>
        <p:spPr>
          <a:xfrm>
            <a:off x="916516" y="116632"/>
            <a:ext cx="10358967" cy="1196752"/>
          </a:xfrm>
        </p:spPr>
        <p:txBody>
          <a:bodyPr/>
          <a:lstStyle/>
          <a:p>
            <a:r>
              <a:rPr lang="en-US" sz="3200" dirty="0">
                <a:solidFill>
                  <a:srgbClr val="0432FF"/>
                </a:solidFill>
              </a:rPr>
              <a:t>Dr Agarwal — Disclosures</a:t>
            </a:r>
            <a:br>
              <a:rPr lang="en-US" sz="3200" dirty="0">
                <a:solidFill>
                  <a:srgbClr val="0432FF"/>
                </a:solidFill>
              </a:rPr>
            </a:br>
            <a:r>
              <a:rPr lang="en-US" sz="3200" dirty="0">
                <a:solidFill>
                  <a:srgbClr val="0432FF"/>
                </a:solidFill>
              </a:rPr>
              <a:t>Consulting Clinical Investigator</a:t>
            </a:r>
          </a:p>
        </p:txBody>
      </p:sp>
      <p:graphicFrame>
        <p:nvGraphicFramePr>
          <p:cNvPr id="5" name="Content Placeholder 3">
            <a:extLst>
              <a:ext uri="{FF2B5EF4-FFF2-40B4-BE49-F238E27FC236}">
                <a16:creationId xmlns:a16="http://schemas.microsoft.com/office/drawing/2014/main" id="{683E0010-FFAF-6CB1-EED5-1FB319EB4E9A}"/>
              </a:ext>
            </a:extLst>
          </p:cNvPr>
          <p:cNvGraphicFramePr>
            <a:graphicFrameLocks/>
          </p:cNvGraphicFramePr>
          <p:nvPr>
            <p:extLst>
              <p:ext uri="{D42A27DB-BD31-4B8C-83A1-F6EECF244321}">
                <p14:modId xmlns:p14="http://schemas.microsoft.com/office/powerpoint/2010/main" val="2397067996"/>
              </p:ext>
            </p:extLst>
          </p:nvPr>
        </p:nvGraphicFramePr>
        <p:xfrm>
          <a:off x="1236095" y="2420888"/>
          <a:ext cx="9719807" cy="1440161"/>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440161">
                <a:tc>
                  <a:txBody>
                    <a:bodyPr/>
                    <a:lstStyle/>
                    <a:p>
                      <a:pPr algn="ctr"/>
                      <a:r>
                        <a:rPr lang="en-US" sz="20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755624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0DBDD-0980-37CE-C148-F43515FC7D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417D80-A9C5-AEC0-065B-86FD43308A82}"/>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F3251BCB-45E2-543E-C548-6C3031569F9E}"/>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5" name="Picture 4" descr="A screenshot of a blue and white chart&#10;&#10;AI-generated content may be incorrect.">
            <a:extLst>
              <a:ext uri="{FF2B5EF4-FFF2-40B4-BE49-F238E27FC236}">
                <a16:creationId xmlns:a16="http://schemas.microsoft.com/office/drawing/2014/main" id="{3D1DFCE6-9E48-40E6-F1AB-6C3996A7E3F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8" y="0"/>
            <a:ext cx="12188825" cy="6811964"/>
          </a:xfrm>
          <a:prstGeom prst="rect">
            <a:avLst/>
          </a:prstGeom>
        </p:spPr>
      </p:pic>
      <p:sp>
        <p:nvSpPr>
          <p:cNvPr id="7" name="Rectangle 6">
            <a:extLst>
              <a:ext uri="{FF2B5EF4-FFF2-40B4-BE49-F238E27FC236}">
                <a16:creationId xmlns:a16="http://schemas.microsoft.com/office/drawing/2014/main" id="{816E4AEE-D5DF-3117-A3BE-E4C81F1BF8D5}"/>
              </a:ext>
            </a:extLst>
          </p:cNvPr>
          <p:cNvSpPr/>
          <p:nvPr/>
        </p:nvSpPr>
        <p:spPr bwMode="auto">
          <a:xfrm>
            <a:off x="3201988" y="6583681"/>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Rectangle 3">
            <a:extLst>
              <a:ext uri="{FF2B5EF4-FFF2-40B4-BE49-F238E27FC236}">
                <a16:creationId xmlns:a16="http://schemas.microsoft.com/office/drawing/2014/main" id="{6CC9AB3B-4DD7-5DB3-0DD7-823478F30973}"/>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
        <p:nvSpPr>
          <p:cNvPr id="8" name="TextBox 7">
            <a:extLst>
              <a:ext uri="{FF2B5EF4-FFF2-40B4-BE49-F238E27FC236}">
                <a16:creationId xmlns:a16="http://schemas.microsoft.com/office/drawing/2014/main" id="{C55E8A61-6823-85B6-5E3C-84BF284EF0BD}"/>
              </a:ext>
            </a:extLst>
          </p:cNvPr>
          <p:cNvSpPr txBox="1"/>
          <p:nvPr/>
        </p:nvSpPr>
        <p:spPr>
          <a:xfrm>
            <a:off x="683763" y="185057"/>
            <a:ext cx="11312294" cy="1200329"/>
          </a:xfrm>
          <a:prstGeom prst="rect">
            <a:avLst/>
          </a:prstGeom>
          <a:solidFill>
            <a:srgbClr val="0A3766"/>
          </a:solidFill>
        </p:spPr>
        <p:txBody>
          <a:bodyPr wrap="square" rtlCol="0">
            <a:spAutoFit/>
          </a:bodyPr>
          <a:lstStyle/>
          <a:p>
            <a:r>
              <a:rPr lang="en-US" sz="3600" b="1" dirty="0">
                <a:solidFill>
                  <a:schemeClr val="bg1"/>
                </a:solidFill>
              </a:rPr>
              <a:t>CAPItello-281: Common AEs associated with</a:t>
            </a:r>
            <a:br>
              <a:rPr lang="en-US" sz="3600" b="1" dirty="0">
                <a:solidFill>
                  <a:schemeClr val="bg1"/>
                </a:solidFill>
              </a:rPr>
            </a:br>
            <a:r>
              <a:rPr lang="en-US" sz="3600" b="1" dirty="0">
                <a:solidFill>
                  <a:schemeClr val="bg1"/>
                </a:solidFill>
              </a:rPr>
              <a:t>AKT inhibition</a:t>
            </a:r>
            <a:endParaRPr lang="en-US" sz="1800" dirty="0">
              <a:solidFill>
                <a:schemeClr val="bg1"/>
              </a:solidFill>
            </a:endParaRPr>
          </a:p>
        </p:txBody>
      </p:sp>
    </p:spTree>
    <p:extLst>
      <p:ext uri="{BB962C8B-B14F-4D97-AF65-F5344CB8AC3E}">
        <p14:creationId xmlns:p14="http://schemas.microsoft.com/office/powerpoint/2010/main" val="336401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F142D-8F5D-7DB6-6A60-3F375EF1C4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B9C1AF-1A8F-8CCE-588F-3B11BC502957}"/>
              </a:ext>
            </a:extLst>
          </p:cNvPr>
          <p:cNvSpPr>
            <a:spLocks noGrp="1"/>
          </p:cNvSpPr>
          <p:nvPr>
            <p:ph type="title"/>
          </p:nvPr>
        </p:nvSpPr>
        <p:spPr>
          <a:xfrm>
            <a:off x="573406" y="711785"/>
            <a:ext cx="10933245" cy="2828354"/>
          </a:xfrm>
        </p:spPr>
        <p:txBody>
          <a:bodyPr/>
          <a:lstStyle/>
          <a:p>
            <a:pPr algn="l"/>
            <a:r>
              <a:rPr lang="en-US" sz="3599" dirty="0">
                <a:latin typeface="Calibri" panose="020F0502020204030204" pitchFamily="34" charset="0"/>
              </a:rPr>
              <a:t>Patient Reported Outcomes (PRO) and Tolerability of </a:t>
            </a:r>
            <a:r>
              <a:rPr lang="en-US" sz="3599" dirty="0" err="1">
                <a:latin typeface="Calibri" panose="020F0502020204030204" pitchFamily="34" charset="0"/>
              </a:rPr>
              <a:t>Capivasertib</a:t>
            </a:r>
            <a:r>
              <a:rPr lang="en-US" sz="3599" dirty="0">
                <a:latin typeface="Calibri" panose="020F0502020204030204" pitchFamily="34" charset="0"/>
              </a:rPr>
              <a:t> (Capi) plus Abiraterone (Abi) versus Placebo (</a:t>
            </a:r>
            <a:r>
              <a:rPr lang="en-US" sz="3599" dirty="0" err="1">
                <a:latin typeface="Calibri" panose="020F0502020204030204" pitchFamily="34" charset="0"/>
              </a:rPr>
              <a:t>Pbo</a:t>
            </a:r>
            <a:r>
              <a:rPr lang="en-US" sz="3599" dirty="0">
                <a:latin typeface="Calibri" panose="020F0502020204030204" pitchFamily="34" charset="0"/>
              </a:rPr>
              <a:t>) </a:t>
            </a:r>
            <a:r>
              <a:rPr lang="en-US" sz="3599">
                <a:latin typeface="Calibri" panose="020F0502020204030204" pitchFamily="34" charset="0"/>
              </a:rPr>
              <a:t>plus Abi </a:t>
            </a:r>
            <a:r>
              <a:rPr lang="en-US" sz="3599" dirty="0">
                <a:latin typeface="Calibri" panose="020F0502020204030204" pitchFamily="34" charset="0"/>
              </a:rPr>
              <a:t>in Patients (Pts) with PTEN-Deficient Metastatic Hormone-Sensitive Prostate Cancer (</a:t>
            </a:r>
            <a:r>
              <a:rPr lang="en-US" sz="3599" dirty="0" err="1">
                <a:latin typeface="Calibri" panose="020F0502020204030204" pitchFamily="34" charset="0"/>
              </a:rPr>
              <a:t>mHSPC</a:t>
            </a:r>
            <a:r>
              <a:rPr lang="en-US" sz="3599" dirty="0">
                <a:latin typeface="Calibri" panose="020F0502020204030204" pitchFamily="34" charset="0"/>
              </a:rPr>
              <a:t>): CAPItello-281</a:t>
            </a:r>
            <a:endParaRPr lang="en-US" sz="3599" dirty="0"/>
          </a:p>
        </p:txBody>
      </p:sp>
      <p:sp>
        <p:nvSpPr>
          <p:cNvPr id="3" name="TextBox 2">
            <a:extLst>
              <a:ext uri="{FF2B5EF4-FFF2-40B4-BE49-F238E27FC236}">
                <a16:creationId xmlns:a16="http://schemas.microsoft.com/office/drawing/2014/main" id="{0C882598-A070-6214-8E5C-116BC3BAC5A1}"/>
              </a:ext>
            </a:extLst>
          </p:cNvPr>
          <p:cNvSpPr txBox="1"/>
          <p:nvPr/>
        </p:nvSpPr>
        <p:spPr>
          <a:xfrm>
            <a:off x="573405" y="3858769"/>
            <a:ext cx="11570396" cy="2030796"/>
          </a:xfrm>
          <a:prstGeom prst="rect">
            <a:avLst/>
          </a:prstGeom>
          <a:noFill/>
        </p:spPr>
        <p:txBody>
          <a:bodyPr wrap="square" rtlCol="0">
            <a:spAutoFit/>
          </a:bodyPr>
          <a:lstStyle/>
          <a:p>
            <a:pPr defTabSz="455476">
              <a:spcBef>
                <a:spcPts val="400"/>
              </a:spcBef>
              <a:spcAft>
                <a:spcPts val="400"/>
              </a:spcAft>
              <a:defRPr/>
            </a:pPr>
            <a:r>
              <a:rPr lang="en-US" sz="2799" b="0" dirty="0">
                <a:solidFill>
                  <a:srgbClr val="000000"/>
                </a:solidFill>
                <a:latin typeface="Calibri"/>
                <a:cs typeface="+mn-cs"/>
              </a:rPr>
              <a:t>George DJ et al. </a:t>
            </a:r>
          </a:p>
          <a:p>
            <a:pPr defTabSz="455476">
              <a:spcBef>
                <a:spcPts val="400"/>
              </a:spcBef>
              <a:spcAft>
                <a:spcPts val="400"/>
              </a:spcAft>
              <a:defRPr/>
            </a:pPr>
            <a:r>
              <a:rPr lang="en-US" sz="2799" b="0" dirty="0">
                <a:solidFill>
                  <a:srgbClr val="000000"/>
                </a:solidFill>
                <a:latin typeface="Calibri"/>
                <a:cs typeface="+mn-cs"/>
              </a:rPr>
              <a:t>ASCO GU 2026;Abstract 14.</a:t>
            </a:r>
          </a:p>
          <a:p>
            <a:pPr defTabSz="455476">
              <a:spcBef>
                <a:spcPts val="400"/>
              </a:spcBef>
              <a:spcAft>
                <a:spcPts val="400"/>
              </a:spcAft>
              <a:defRPr/>
            </a:pPr>
            <a:endParaRPr lang="en-US" sz="2399" b="0" dirty="0">
              <a:solidFill>
                <a:srgbClr val="000000"/>
              </a:solidFill>
              <a:latin typeface="Calibri"/>
              <a:cs typeface="+mn-cs"/>
            </a:endParaRPr>
          </a:p>
          <a:p>
            <a:pPr defTabSz="455476">
              <a:spcBef>
                <a:spcPts val="400"/>
              </a:spcBef>
              <a:spcAft>
                <a:spcPts val="400"/>
              </a:spcAft>
              <a:defRPr/>
            </a:pPr>
            <a:r>
              <a:rPr lang="en-US" sz="2599" dirty="0">
                <a:solidFill>
                  <a:srgbClr val="000000"/>
                </a:solidFill>
                <a:latin typeface="Calibri" panose="020F0502020204030204" pitchFamily="34" charset="0"/>
                <a:cs typeface="Calibri" panose="020F0502020204030204" pitchFamily="34" charset="0"/>
              </a:rPr>
              <a:t>ORAL ABSTRACTS | THURSDAY, FEBRUARY 26 | 10:15 AM PT</a:t>
            </a:r>
            <a:endParaRPr lang="en-US" sz="2599" b="0" dirty="0">
              <a:solidFill>
                <a:srgbClr val="000000"/>
              </a:solidFill>
              <a:latin typeface="Calibri" panose="020F0502020204030204" pitchFamily="34" charset="0"/>
              <a:cs typeface="Calibri" panose="020F0502020204030204" pitchFamily="34" charset="0"/>
            </a:endParaRPr>
          </a:p>
        </p:txBody>
      </p:sp>
      <p:pic>
        <p:nvPicPr>
          <p:cNvPr id="6" name="Picture 5" descr="A screenshot of a computer&#10;&#10;AI-generated content may be incorrect.">
            <a:extLst>
              <a:ext uri="{FF2B5EF4-FFF2-40B4-BE49-F238E27FC236}">
                <a16:creationId xmlns:a16="http://schemas.microsoft.com/office/drawing/2014/main" id="{E511038B-B71A-C356-45A5-E1A478129F2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88" y="-6293"/>
            <a:ext cx="12188825" cy="6870586"/>
          </a:xfrm>
          <a:prstGeom prst="rect">
            <a:avLst/>
          </a:prstGeom>
        </p:spPr>
      </p:pic>
      <p:sp>
        <p:nvSpPr>
          <p:cNvPr id="7" name="Rectangle 6">
            <a:extLst>
              <a:ext uri="{FF2B5EF4-FFF2-40B4-BE49-F238E27FC236}">
                <a16:creationId xmlns:a16="http://schemas.microsoft.com/office/drawing/2014/main" id="{3C7C35A9-8185-5C31-29EE-045CE738B920}"/>
              </a:ext>
            </a:extLst>
          </p:cNvPr>
          <p:cNvSpPr/>
          <p:nvPr/>
        </p:nvSpPr>
        <p:spPr bwMode="auto">
          <a:xfrm>
            <a:off x="431356" y="2633473"/>
            <a:ext cx="11237976" cy="43582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8" name="Rectangle 7">
            <a:extLst>
              <a:ext uri="{FF2B5EF4-FFF2-40B4-BE49-F238E27FC236}">
                <a16:creationId xmlns:a16="http://schemas.microsoft.com/office/drawing/2014/main" id="{FDE1A09F-B2B7-DD04-3119-82DDC8C51429}"/>
              </a:ext>
            </a:extLst>
          </p:cNvPr>
          <p:cNvSpPr/>
          <p:nvPr/>
        </p:nvSpPr>
        <p:spPr bwMode="auto">
          <a:xfrm>
            <a:off x="3201988" y="6583681"/>
            <a:ext cx="3922776" cy="435825"/>
          </a:xfrm>
          <a:prstGeom prst="rect">
            <a:avLst/>
          </a:prstGeom>
          <a:solidFill>
            <a:srgbClr val="ECEF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pPr>
            <a:endParaRPr lang="en-US" sz="2400" b="0">
              <a:solidFill>
                <a:srgbClr val="000000"/>
              </a:solidFill>
              <a:latin typeface="Times New Roman" pitchFamily="18" charset="0"/>
              <a:ea typeface="+mn-ea"/>
              <a:cs typeface="+mn-cs"/>
            </a:endParaRPr>
          </a:p>
        </p:txBody>
      </p:sp>
      <p:sp>
        <p:nvSpPr>
          <p:cNvPr id="4" name="Rectangle 3">
            <a:extLst>
              <a:ext uri="{FF2B5EF4-FFF2-40B4-BE49-F238E27FC236}">
                <a16:creationId xmlns:a16="http://schemas.microsoft.com/office/drawing/2014/main" id="{E02E6CAE-474C-29CD-AA76-05898D481FB7}"/>
              </a:ext>
            </a:extLst>
          </p:cNvPr>
          <p:cNvSpPr/>
          <p:nvPr/>
        </p:nvSpPr>
        <p:spPr>
          <a:xfrm>
            <a:off x="11703731" y="195943"/>
            <a:ext cx="440070" cy="315686"/>
          </a:xfrm>
          <a:prstGeom prst="rect">
            <a:avLst/>
          </a:prstGeom>
          <a:solidFill>
            <a:srgbClr val="0A37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000000"/>
              </a:solidFill>
              <a:latin typeface="Arial"/>
            </a:endParaRPr>
          </a:p>
        </p:txBody>
      </p:sp>
    </p:spTree>
    <p:extLst>
      <p:ext uri="{BB962C8B-B14F-4D97-AF65-F5344CB8AC3E}">
        <p14:creationId xmlns:p14="http://schemas.microsoft.com/office/powerpoint/2010/main" val="14014497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A4FCE-A247-3046-FC46-615275572A3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323B573-D043-14A8-FE86-7EBB42459829}"/>
              </a:ext>
            </a:extLst>
          </p:cNvPr>
          <p:cNvSpPr>
            <a:spLocks noGrp="1"/>
          </p:cNvSpPr>
          <p:nvPr>
            <p:ph type="title"/>
          </p:nvPr>
        </p:nvSpPr>
        <p:spPr>
          <a:xfrm>
            <a:off x="687796" y="500169"/>
            <a:ext cx="10816408" cy="587375"/>
          </a:xfrm>
        </p:spPr>
        <p:txBody>
          <a:bodyPr/>
          <a:lstStyle/>
          <a:p>
            <a:pPr>
              <a:lnSpc>
                <a:spcPct val="90000"/>
              </a:lnSpc>
            </a:pPr>
            <a:r>
              <a:rPr lang="en-US" dirty="0"/>
              <a:t>GASTROINTESTINAL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A3AC950B-4515-835D-7AB2-20C0B6AFF912}"/>
              </a:ext>
            </a:extLst>
          </p:cNvPr>
          <p:cNvGraphicFramePr>
            <a:graphicFrameLocks noGrp="1"/>
          </p:cNvGraphicFramePr>
          <p:nvPr/>
        </p:nvGraphicFramePr>
        <p:xfrm>
          <a:off x="518160" y="1262203"/>
          <a:ext cx="11155680" cy="48799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09251">
                  <a:extLst>
                    <a:ext uri="{9D8B030D-6E8A-4147-A177-3AD203B41FA5}">
                      <a16:colId xmlns:a16="http://schemas.microsoft.com/office/drawing/2014/main" val="4162025900"/>
                    </a:ext>
                  </a:extLst>
                </a:gridCol>
                <a:gridCol w="2958353">
                  <a:extLst>
                    <a:ext uri="{9D8B030D-6E8A-4147-A177-3AD203B41FA5}">
                      <a16:colId xmlns:a16="http://schemas.microsoft.com/office/drawing/2014/main" val="1690708922"/>
                    </a:ext>
                  </a:extLst>
                </a:gridCol>
                <a:gridCol w="6788076">
                  <a:extLst>
                    <a:ext uri="{9D8B030D-6E8A-4147-A177-3AD203B41FA5}">
                      <a16:colId xmlns:a16="http://schemas.microsoft.com/office/drawing/2014/main" val="3320953022"/>
                    </a:ext>
                  </a:extLst>
                </a:gridCol>
              </a:tblGrid>
              <a:tr h="700161">
                <a:tc>
                  <a:txBody>
                    <a:bodyPr/>
                    <a:lstStyle/>
                    <a:p>
                      <a:pPr algn="ctr"/>
                      <a:r>
                        <a:rPr lang="en-US" b="1" dirty="0">
                          <a:solidFill>
                            <a:schemeClr val="tx1"/>
                          </a:solidFill>
                        </a:rPr>
                        <a:t>GRADE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b="0" dirty="0"/>
                        <a:t>&lt; 4 STOOLS PER DA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70000">
                          <a:schemeClr val="accent1">
                            <a:lumMod val="45000"/>
                            <a:lumOff val="55000"/>
                          </a:schemeClr>
                        </a:gs>
                        <a:gs pos="98000">
                          <a:srgbClr val="9CDBD9"/>
                        </a:gs>
                      </a:gsLst>
                      <a:lin ang="5400000" scaled="1"/>
                      <a:tileRect/>
                    </a:gradFill>
                  </a:tcPr>
                </a:tc>
                <a:tc>
                  <a:txBody>
                    <a:bodyPr/>
                    <a:lstStyle/>
                    <a:p>
                      <a:pPr marL="342900" indent="-342900" algn="l">
                        <a:buFont typeface="Arial" panose="020B0604020202020204" pitchFamily="34" charset="0"/>
                        <a:buChar char="•"/>
                      </a:pPr>
                      <a:r>
                        <a:rPr lang="en-US" sz="1600" b="0" dirty="0"/>
                        <a:t>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1650905322"/>
                  </a:ext>
                </a:extLst>
              </a:tr>
              <a:tr h="1886580">
                <a:tc>
                  <a:txBody>
                    <a:bodyPr/>
                    <a:lstStyle/>
                    <a:p>
                      <a:pPr algn="ctr"/>
                      <a:r>
                        <a:rPr lang="en-US" b="1" dirty="0">
                          <a:solidFill>
                            <a:schemeClr val="tx1"/>
                          </a:solidFill>
                        </a:rPr>
                        <a:t>GRADE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dirty="0">
                          <a:solidFill>
                            <a:schemeClr val="tx1"/>
                          </a:solidFill>
                        </a:rPr>
                        <a:t>4-6 STOOLS PER DA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 </a:t>
                      </a:r>
                      <a:r>
                        <a:rPr lang="en-US" sz="1600" dirty="0">
                          <a:solidFill>
                            <a:schemeClr val="tx1"/>
                          </a:solidFill>
                        </a:rPr>
                        <a:t>28 DAYS, RESUME CAPIVASERTIB AT SAME DOSE OR ONE DOSE LOWER AS CLINICALLY INDICATED</a:t>
                      </a:r>
                    </a:p>
                    <a:p>
                      <a:pPr marL="342900" indent="-342900" algn="l">
                        <a:buFont typeface="Arial" panose="020B0604020202020204" pitchFamily="34" charset="0"/>
                        <a:buChar char="•"/>
                      </a:pPr>
                      <a:r>
                        <a:rPr lang="en-US" sz="1600" dirty="0">
                          <a:solidFill>
                            <a:schemeClr val="tx1"/>
                          </a:solidFill>
                        </a:rPr>
                        <a:t>IF RECOVERY IN &gt; 28 DAYS, RESUME AT ONE LOWER DOSE AS CLINICALLY INDICATED</a:t>
                      </a:r>
                    </a:p>
                    <a:p>
                      <a:pPr marL="342900" indent="-342900" algn="l">
                        <a:buFont typeface="Arial" panose="020B0604020202020204" pitchFamily="34" charset="0"/>
                        <a:buChar char="•"/>
                      </a:pPr>
                      <a:r>
                        <a:rPr lang="en-US" sz="1600" dirty="0">
                          <a:solidFill>
                            <a:schemeClr val="tx1"/>
                          </a:solidFill>
                        </a:rPr>
                        <a:t>FOR RECURRENCE, REDUCE CAPIVASERTIB BY ONE LOWER DO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508640054"/>
                  </a:ext>
                </a:extLst>
              </a:tr>
              <a:tr h="1630773">
                <a:tc>
                  <a:txBody>
                    <a:bodyPr/>
                    <a:lstStyle/>
                    <a:p>
                      <a:pPr algn="ctr"/>
                      <a:r>
                        <a:rPr lang="en-US" b="1" dirty="0">
                          <a:solidFill>
                            <a:schemeClr val="tx1"/>
                          </a:solidFill>
                        </a:rPr>
                        <a:t>GRADE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u="sng" dirty="0">
                          <a:solidFill>
                            <a:schemeClr val="tx1"/>
                          </a:solidFill>
                        </a:rPr>
                        <a:t>&gt;</a:t>
                      </a:r>
                      <a:r>
                        <a:rPr lang="en-US" u="none" dirty="0">
                          <a:solidFill>
                            <a:schemeClr val="tx1"/>
                          </a:solidFill>
                        </a:rPr>
                        <a:t> </a:t>
                      </a:r>
                      <a:r>
                        <a:rPr lang="en-US" dirty="0">
                          <a:solidFill>
                            <a:schemeClr val="tx1"/>
                          </a:solidFill>
                        </a:rPr>
                        <a:t>7 STOOLS PER DA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 OR ONE DOSE LOWER AS CLINICALLY INDICATED</a:t>
                      </a:r>
                    </a:p>
                    <a:p>
                      <a:pPr marL="342900" indent="-342900" algn="l">
                        <a:buFont typeface="Arial" panose="020B0604020202020204" pitchFamily="34" charset="0"/>
                        <a:buChar char="•"/>
                      </a:pPr>
                      <a:r>
                        <a:rPr lang="en-US" sz="1600" dirty="0">
                          <a:solidFill>
                            <a:schemeClr val="tx1"/>
                          </a:solidFill>
                        </a:rPr>
                        <a:t>IF RECOVERY IN &gt; 28 DAYS, PERMANENTLY DISCONTINUE CAPIVASERTIB</a:t>
                      </a:r>
                    </a:p>
                    <a:p>
                      <a:pPr marL="342900" indent="-342900" algn="l">
                        <a:buFont typeface="Arial" panose="020B0604020202020204" pitchFamily="34" charset="0"/>
                        <a:buChar char="•"/>
                      </a:pPr>
                      <a:endParaRPr lang="en-US" sz="16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3814786325"/>
                  </a:ext>
                </a:extLst>
              </a:tr>
              <a:tr h="662397">
                <a:tc>
                  <a:txBody>
                    <a:bodyPr/>
                    <a:lstStyle/>
                    <a:p>
                      <a:pPr algn="ctr"/>
                      <a:r>
                        <a:rPr lang="en-US" b="1" dirty="0">
                          <a:solidFill>
                            <a:schemeClr val="tx1"/>
                          </a:solidFill>
                        </a:rPr>
                        <a:t>GRADE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dirty="0">
                          <a:solidFill>
                            <a:schemeClr val="tx1"/>
                          </a:solidFill>
                        </a:rPr>
                        <a:t>LIFE THREATEN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C410917A-9CDA-A231-20AA-ED3CA6ABC5B2}"/>
              </a:ext>
            </a:extLst>
          </p:cNvPr>
          <p:cNvSpPr txBox="1"/>
          <p:nvPr/>
        </p:nvSpPr>
        <p:spPr>
          <a:xfrm>
            <a:off x="1589" y="6581002"/>
            <a:ext cx="3600601" cy="276999"/>
          </a:xfrm>
          <a:prstGeom prst="rect">
            <a:avLst/>
          </a:prstGeom>
          <a:noFill/>
        </p:spPr>
        <p:txBody>
          <a:bodyPr wrap="none" rtlCol="0">
            <a:spAutoFit/>
          </a:bodyPr>
          <a:lstStyle/>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Iyengar NM et al. NPJ Breast Cancer. 2025 Dec 4;12:16.</a:t>
            </a:r>
          </a:p>
        </p:txBody>
      </p:sp>
    </p:spTree>
    <p:custDataLst>
      <p:custData r:id="rId1"/>
      <p:custData r:id="rId2"/>
    </p:custDataLst>
    <p:extLst>
      <p:ext uri="{BB962C8B-B14F-4D97-AF65-F5344CB8AC3E}">
        <p14:creationId xmlns:p14="http://schemas.microsoft.com/office/powerpoint/2010/main" val="6181209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A8789-52B8-7E82-7B4D-2363F57C33E1}"/>
              </a:ext>
            </a:extLst>
          </p:cNvPr>
          <p:cNvSpPr>
            <a:spLocks noGrp="1"/>
          </p:cNvSpPr>
          <p:nvPr>
            <p:ph type="title"/>
          </p:nvPr>
        </p:nvSpPr>
        <p:spPr>
          <a:xfrm>
            <a:off x="922780" y="197261"/>
            <a:ext cx="10883712" cy="621792"/>
          </a:xfrm>
        </p:spPr>
        <p:txBody>
          <a:bodyPr/>
          <a:lstStyle/>
          <a:p>
            <a:r>
              <a:rPr lang="en-US" sz="2800" dirty="0"/>
              <a:t>Mechanism of AKT Inhibitor-Induced Hyperglycemia</a:t>
            </a:r>
          </a:p>
        </p:txBody>
      </p:sp>
      <p:pic>
        <p:nvPicPr>
          <p:cNvPr id="1028" name="Picture 4">
            <a:extLst>
              <a:ext uri="{FF2B5EF4-FFF2-40B4-BE49-F238E27FC236}">
                <a16:creationId xmlns:a16="http://schemas.microsoft.com/office/drawing/2014/main" id="{F00D3A9D-B5BA-8510-4B17-D1372F2BC6A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248078" y="910981"/>
            <a:ext cx="7687384" cy="5531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A00607F-08CA-EBD0-C9E4-9E94457F1B84}"/>
              </a:ext>
            </a:extLst>
          </p:cNvPr>
          <p:cNvSpPr txBox="1"/>
          <p:nvPr/>
        </p:nvSpPr>
        <p:spPr>
          <a:xfrm>
            <a:off x="1588" y="6534836"/>
            <a:ext cx="4927118" cy="323165"/>
          </a:xfrm>
          <a:prstGeom prst="rect">
            <a:avLst/>
          </a:prstGeom>
          <a:noFill/>
        </p:spPr>
        <p:txBody>
          <a:bodyPr wrap="none" rtlCol="0">
            <a:spAutoFit/>
          </a:bodyPr>
          <a:lstStyle/>
          <a:p>
            <a:pPr defTabSz="1218987" fontAlgn="auto">
              <a:spcBef>
                <a:spcPts val="0"/>
              </a:spcBef>
              <a:spcAft>
                <a:spcPts val="0"/>
              </a:spcAft>
            </a:pPr>
            <a:r>
              <a:rPr lang="en-US" sz="1500" b="0" dirty="0">
                <a:solidFill>
                  <a:srgbClr val="000000"/>
                </a:solidFill>
                <a:latin typeface="Calibri" panose="020F0502020204030204" pitchFamily="34" charset="0"/>
                <a:ea typeface="+mn-ea"/>
                <a:cs typeface="Calibri" panose="020F0502020204030204" pitchFamily="34" charset="0"/>
              </a:rPr>
              <a:t>Iyengar NM et al. </a:t>
            </a:r>
            <a:r>
              <a:rPr lang="en-US" sz="1500" b="0" i="1" dirty="0">
                <a:solidFill>
                  <a:srgbClr val="000000"/>
                </a:solidFill>
                <a:latin typeface="Calibri" panose="020F0502020204030204" pitchFamily="34" charset="0"/>
                <a:ea typeface="+mn-ea"/>
                <a:cs typeface="Calibri" panose="020F0502020204030204" pitchFamily="34" charset="0"/>
              </a:rPr>
              <a:t>NPJ Breast Cancer </a:t>
            </a:r>
            <a:r>
              <a:rPr lang="en-US" sz="1500" b="0" dirty="0">
                <a:solidFill>
                  <a:srgbClr val="000000"/>
                </a:solidFill>
                <a:latin typeface="Calibri" panose="020F0502020204030204" pitchFamily="34" charset="0"/>
                <a:ea typeface="+mn-ea"/>
                <a:cs typeface="Calibri" panose="020F0502020204030204" pitchFamily="34" charset="0"/>
              </a:rPr>
              <a:t>2025 December 4;12:16.</a:t>
            </a:r>
          </a:p>
        </p:txBody>
      </p:sp>
    </p:spTree>
    <p:extLst>
      <p:ext uri="{BB962C8B-B14F-4D97-AF65-F5344CB8AC3E}">
        <p14:creationId xmlns:p14="http://schemas.microsoft.com/office/powerpoint/2010/main" val="17765532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78B70-2EC7-B591-ACB3-27393CB6C94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EE6CC9F-226D-3A26-213C-89B01827C610}"/>
              </a:ext>
            </a:extLst>
          </p:cNvPr>
          <p:cNvSpPr>
            <a:spLocks noGrp="1"/>
          </p:cNvSpPr>
          <p:nvPr>
            <p:ph type="title"/>
          </p:nvPr>
        </p:nvSpPr>
        <p:spPr>
          <a:xfrm>
            <a:off x="687796" y="356782"/>
            <a:ext cx="10816408" cy="587375"/>
          </a:xfrm>
        </p:spPr>
        <p:txBody>
          <a:bodyPr/>
          <a:lstStyle/>
          <a:p>
            <a:pPr>
              <a:lnSpc>
                <a:spcPct val="90000"/>
              </a:lnSpc>
            </a:pPr>
            <a:r>
              <a:rPr lang="en-US"/>
              <a:t>HYPERGLYCEMIA </a:t>
            </a:r>
            <a:r>
              <a:rPr lang="en-US" dirty="0"/>
              <a:t>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FD429103-3C33-24EA-09F5-2B06CA941C8A}"/>
              </a:ext>
            </a:extLst>
          </p:cNvPr>
          <p:cNvGraphicFramePr>
            <a:graphicFrameLocks noGrp="1"/>
          </p:cNvGraphicFramePr>
          <p:nvPr/>
        </p:nvGraphicFramePr>
        <p:xfrm>
          <a:off x="687796" y="1147655"/>
          <a:ext cx="10816408" cy="505987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283126">
                  <a:extLst>
                    <a:ext uri="{9D8B030D-6E8A-4147-A177-3AD203B41FA5}">
                      <a16:colId xmlns:a16="http://schemas.microsoft.com/office/drawing/2014/main" val="4162025900"/>
                    </a:ext>
                  </a:extLst>
                </a:gridCol>
                <a:gridCol w="7533282">
                  <a:extLst>
                    <a:ext uri="{9D8B030D-6E8A-4147-A177-3AD203B41FA5}">
                      <a16:colId xmlns:a16="http://schemas.microsoft.com/office/drawing/2014/main" val="3320953022"/>
                    </a:ext>
                  </a:extLst>
                </a:gridCol>
              </a:tblGrid>
              <a:tr h="1097378">
                <a:tc>
                  <a:txBody>
                    <a:bodyPr/>
                    <a:lstStyle/>
                    <a:p>
                      <a:pPr algn="ctr"/>
                      <a:r>
                        <a:rPr lang="en-US" sz="1900" b="1" dirty="0">
                          <a:solidFill>
                            <a:schemeClr val="tx1"/>
                          </a:solidFill>
                        </a:rPr>
                        <a:t>FG &gt; ULN-160 MG/DL OR HBA1C &gt; 7%</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 WITH NO DOSE ADJUSTMENT</a:t>
                      </a:r>
                    </a:p>
                    <a:p>
                      <a:pPr marL="342900" indent="-342900" algn="l">
                        <a:buFont typeface="Arial" panose="020B0604020202020204" pitchFamily="34" charset="0"/>
                        <a:buChar char="•"/>
                      </a:pPr>
                      <a:r>
                        <a:rPr lang="en-US" sz="1600" b="0" dirty="0"/>
                        <a:t>CONSIDER INITIATION OR INTENSIFICATION OR ORAL ANTI-DIABETIC TREATMEN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sz="1900" b="1" dirty="0">
                          <a:solidFill>
                            <a:schemeClr val="tx1"/>
                          </a:solidFill>
                        </a:rPr>
                        <a:t>FG 161-250 MG/DL</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FG </a:t>
                      </a:r>
                      <a:r>
                        <a:rPr lang="en-US" sz="1600" u="sng" dirty="0">
                          <a:solidFill>
                            <a:schemeClr val="tx1"/>
                          </a:solidFill>
                        </a:rPr>
                        <a:t>&lt;</a:t>
                      </a:r>
                      <a:r>
                        <a:rPr lang="en-US" sz="1600" dirty="0">
                          <a:solidFill>
                            <a:schemeClr val="tx1"/>
                          </a:solidFill>
                        </a:rPr>
                        <a:t> 160 MG/DL</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 </a:t>
                      </a:r>
                      <a:r>
                        <a:rPr lang="en-US" sz="1600" dirty="0">
                          <a:solidFill>
                            <a:schemeClr val="tx1"/>
                          </a:solidFill>
                        </a:rPr>
                        <a:t>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AT ONE LOWER DO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sz="1900" b="1" dirty="0">
                          <a:solidFill>
                            <a:schemeClr val="tx1"/>
                          </a:solidFill>
                        </a:rPr>
                        <a:t>FG 251-50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FG DECREASE </a:t>
                      </a:r>
                      <a:r>
                        <a:rPr lang="en-US" sz="1600" u="sng" dirty="0">
                          <a:solidFill>
                            <a:schemeClr val="tx1"/>
                          </a:solidFill>
                        </a:rPr>
                        <a:t>&lt;</a:t>
                      </a:r>
                      <a:r>
                        <a:rPr lang="en-US" sz="1600" dirty="0">
                          <a:solidFill>
                            <a:schemeClr val="tx1"/>
                          </a:solidFill>
                        </a:rPr>
                        <a:t> 160 MG/DL</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ONE LOWER DOSE</a:t>
                      </a:r>
                    </a:p>
                    <a:p>
                      <a:pPr marL="342900" indent="-342900" algn="l">
                        <a:buFont typeface="Arial" panose="020B0604020202020204" pitchFamily="34" charset="0"/>
                        <a:buChar char="•"/>
                      </a:pPr>
                      <a:r>
                        <a:rPr lang="en-US" sz="1600" dirty="0">
                          <a:solidFill>
                            <a:schemeClr val="tx1"/>
                          </a:solidFill>
                        </a:rPr>
                        <a:t>IF RECOVERY IN &gt; 28 DAYS, PERMANENTLY DISCONTINUE CAPIVASERTIB</a:t>
                      </a:r>
                    </a:p>
                    <a:p>
                      <a:pPr marL="342900" indent="-342900" algn="l">
                        <a:buFont typeface="Arial" panose="020B0604020202020204" pitchFamily="34" charset="0"/>
                        <a:buChar char="•"/>
                      </a:pPr>
                      <a:endParaRPr lang="en-US" sz="16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sz="1800" b="1" dirty="0">
                          <a:solidFill>
                            <a:schemeClr val="tx1"/>
                          </a:solidFill>
                        </a:rPr>
                        <a:t>FG &gt; 500 OR LIFE THREATENING SEQUELAE OF HYPERGLYCEMIA AT ANY FG LEVEL</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FOR LIFE-THREATENING SEQUELAE OF HYPERGLYCEMIA OR FG PERSISTS AT </a:t>
                      </a:r>
                      <a:r>
                        <a:rPr lang="en-US" sz="1600" u="sng" dirty="0">
                          <a:solidFill>
                            <a:schemeClr val="tx1"/>
                          </a:solidFill>
                        </a:rPr>
                        <a:t>&gt;</a:t>
                      </a:r>
                      <a:r>
                        <a:rPr lang="en-US" sz="1600" dirty="0">
                          <a:solidFill>
                            <a:schemeClr val="tx1"/>
                          </a:solidFill>
                        </a:rPr>
                        <a:t> 500 MG/DL AFTER 24 HOURS, PERMANENTLY DISCONTINUE CAPIVASERTIB</a:t>
                      </a:r>
                    </a:p>
                    <a:p>
                      <a:pPr marL="342900" indent="-342900" algn="l">
                        <a:buFont typeface="Arial" panose="020B0604020202020204" pitchFamily="34" charset="0"/>
                        <a:buChar char="•"/>
                      </a:pPr>
                      <a:r>
                        <a:rPr lang="en-US" sz="1600" dirty="0">
                          <a:solidFill>
                            <a:schemeClr val="tx1"/>
                          </a:solidFill>
                        </a:rPr>
                        <a:t>IF FG &lt; 500 MG/DL WITHIN 24 HOURS, THEN FOLLOW GUIDANCE ABOV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B9871A31-A9AB-9D80-1C99-CB2BB0BE770C}"/>
              </a:ext>
            </a:extLst>
          </p:cNvPr>
          <p:cNvSpPr txBox="1"/>
          <p:nvPr/>
        </p:nvSpPr>
        <p:spPr>
          <a:xfrm>
            <a:off x="346038" y="2090171"/>
            <a:ext cx="11596538" cy="2677656"/>
          </a:xfrm>
          <a:prstGeom prst="rect">
            <a:avLst/>
          </a:prstGeom>
          <a:solidFill>
            <a:srgbClr val="FFFF00"/>
          </a:solidFill>
          <a:ln w="25400">
            <a:solidFill>
              <a:srgbClr val="000000"/>
            </a:solidFill>
          </a:ln>
        </p:spPr>
        <p:txBody>
          <a:bodyPr wrap="square" rtlCol="0">
            <a:spAutoFit/>
          </a:bodyPr>
          <a:lstStyle/>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a:p>
            <a:pPr defTabSz="1218987" fontAlgn="auto">
              <a:spcBef>
                <a:spcPts val="0"/>
              </a:spcBef>
              <a:spcAft>
                <a:spcPts val="0"/>
              </a:spcAft>
            </a:pPr>
            <a:r>
              <a:rPr lang="en-US" sz="2400" dirty="0">
                <a:solidFill>
                  <a:srgbClr val="000000"/>
                </a:solidFill>
                <a:latin typeface="Arial"/>
                <a:ea typeface="Calibri" panose="020F0502020204030204" pitchFamily="34" charset="0"/>
                <a:cs typeface="Calibri" panose="020F0502020204030204" pitchFamily="34" charset="0"/>
              </a:rPr>
              <a:t>Clinically significant abnormalities of glucose metabolism as defined by any of the following:</a:t>
            </a:r>
          </a:p>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a:p>
            <a:pPr marL="342900" indent="-342900" defTabSz="1218987" fontAlgn="auto">
              <a:spcBef>
                <a:spcPts val="0"/>
              </a:spcBef>
              <a:spcAft>
                <a:spcPts val="0"/>
              </a:spcAft>
              <a:buFont typeface="Arial" panose="020B0604020202020204" pitchFamily="34" charset="0"/>
              <a:buChar char="•"/>
            </a:pPr>
            <a:r>
              <a:rPr lang="en-US" sz="2400" dirty="0">
                <a:solidFill>
                  <a:srgbClr val="000000"/>
                </a:solidFill>
                <a:latin typeface="Arial"/>
                <a:ea typeface="Calibri" panose="020F0502020204030204" pitchFamily="34" charset="0"/>
                <a:cs typeface="Calibri" panose="020F0502020204030204" pitchFamily="34" charset="0"/>
              </a:rPr>
              <a:t>Patients with diabetes mellitus type 1 or diabetes mellitus type 2 requiring insulin treatment ii. HbA1c ≥8.0% (63.9 mmol/mol)</a:t>
            </a:r>
          </a:p>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B88329FA-2B4E-91CA-9127-EA27A087EB98}"/>
              </a:ext>
            </a:extLst>
          </p:cNvPr>
          <p:cNvSpPr txBox="1"/>
          <p:nvPr/>
        </p:nvSpPr>
        <p:spPr>
          <a:xfrm>
            <a:off x="1589" y="6581002"/>
            <a:ext cx="3600601" cy="276999"/>
          </a:xfrm>
          <a:prstGeom prst="rect">
            <a:avLst/>
          </a:prstGeom>
          <a:noFill/>
        </p:spPr>
        <p:txBody>
          <a:bodyPr wrap="none" rtlCol="0">
            <a:spAutoFit/>
          </a:bodyPr>
          <a:lstStyle/>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Iyengar NM et al. NPJ Breast Cancer. 2025 Dec 4;12:16.</a:t>
            </a:r>
          </a:p>
        </p:txBody>
      </p:sp>
    </p:spTree>
    <p:custDataLst>
      <p:custData r:id="rId1"/>
      <p:custData r:id="rId2"/>
    </p:custDataLst>
    <p:extLst>
      <p:ext uri="{BB962C8B-B14F-4D97-AF65-F5344CB8AC3E}">
        <p14:creationId xmlns:p14="http://schemas.microsoft.com/office/powerpoint/2010/main" val="370331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9407C-CF63-A2B2-FE02-5BEA76E5C0C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E56820D-2F90-A253-538C-B740BFF27F8C}"/>
              </a:ext>
            </a:extLst>
          </p:cNvPr>
          <p:cNvSpPr>
            <a:spLocks noGrp="1"/>
          </p:cNvSpPr>
          <p:nvPr>
            <p:ph type="title"/>
          </p:nvPr>
        </p:nvSpPr>
        <p:spPr>
          <a:xfrm>
            <a:off x="974727" y="536576"/>
            <a:ext cx="9998921" cy="587375"/>
          </a:xfrm>
        </p:spPr>
        <p:txBody>
          <a:bodyPr anchor="t">
            <a:normAutofit/>
          </a:bodyPr>
          <a:lstStyle/>
          <a:p>
            <a:r>
              <a:rPr lang="en-US" sz="3000"/>
              <a:t>Recommended monitoring for hyperglycemia</a:t>
            </a:r>
          </a:p>
        </p:txBody>
      </p:sp>
      <p:graphicFrame>
        <p:nvGraphicFramePr>
          <p:cNvPr id="6" name="Content Placeholder 1">
            <a:extLst>
              <a:ext uri="{FF2B5EF4-FFF2-40B4-BE49-F238E27FC236}">
                <a16:creationId xmlns:a16="http://schemas.microsoft.com/office/drawing/2014/main" id="{5E294417-5D4B-941F-357F-FB0956A13D5B}"/>
              </a:ext>
            </a:extLst>
          </p:cNvPr>
          <p:cNvGraphicFramePr>
            <a:graphicFrameLocks noGrp="1"/>
          </p:cNvGraphicFramePr>
          <p:nvPr>
            <p:ph idx="1"/>
          </p:nvPr>
        </p:nvGraphicFramePr>
        <p:xfrm>
          <a:off x="974727" y="1590674"/>
          <a:ext cx="9998921" cy="4389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53199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B6BB9-4C1D-F711-3820-2298005A32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0E8CC04-EFAD-927A-E246-DB6B6DC2757F}"/>
              </a:ext>
            </a:extLst>
          </p:cNvPr>
          <p:cNvSpPr>
            <a:spLocks noGrp="1"/>
          </p:cNvSpPr>
          <p:nvPr>
            <p:ph type="title"/>
          </p:nvPr>
        </p:nvSpPr>
        <p:spPr>
          <a:xfrm>
            <a:off x="687796" y="428514"/>
            <a:ext cx="10816408" cy="587375"/>
          </a:xfrm>
        </p:spPr>
        <p:txBody>
          <a:bodyPr/>
          <a:lstStyle/>
          <a:p>
            <a:pPr>
              <a:lnSpc>
                <a:spcPct val="90000"/>
              </a:lnSpc>
            </a:pPr>
            <a:r>
              <a:rPr lang="en-US" dirty="0"/>
              <a:t>CUTANEOUS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59749A8B-3C82-663D-DB47-E668EAC38775}"/>
              </a:ext>
            </a:extLst>
          </p:cNvPr>
          <p:cNvGraphicFramePr>
            <a:graphicFrameLocks noGrp="1"/>
          </p:cNvGraphicFramePr>
          <p:nvPr/>
        </p:nvGraphicFramePr>
        <p:xfrm>
          <a:off x="491266" y="1213652"/>
          <a:ext cx="11209469" cy="502062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16046">
                  <a:extLst>
                    <a:ext uri="{9D8B030D-6E8A-4147-A177-3AD203B41FA5}">
                      <a16:colId xmlns:a16="http://schemas.microsoft.com/office/drawing/2014/main" val="4162025900"/>
                    </a:ext>
                  </a:extLst>
                </a:gridCol>
                <a:gridCol w="2972617">
                  <a:extLst>
                    <a:ext uri="{9D8B030D-6E8A-4147-A177-3AD203B41FA5}">
                      <a16:colId xmlns:a16="http://schemas.microsoft.com/office/drawing/2014/main" val="1690708922"/>
                    </a:ext>
                  </a:extLst>
                </a:gridCol>
                <a:gridCol w="6820806">
                  <a:extLst>
                    <a:ext uri="{9D8B030D-6E8A-4147-A177-3AD203B41FA5}">
                      <a16:colId xmlns:a16="http://schemas.microsoft.com/office/drawing/2014/main" val="3320953022"/>
                    </a:ext>
                  </a:extLst>
                </a:gridCol>
              </a:tblGrid>
              <a:tr h="1097378">
                <a:tc>
                  <a:txBody>
                    <a:bodyPr/>
                    <a:lstStyle/>
                    <a:p>
                      <a:pPr algn="ctr"/>
                      <a:r>
                        <a:rPr lang="en-US" b="1" dirty="0">
                          <a:solidFill>
                            <a:schemeClr val="tx1"/>
                          </a:solidFill>
                        </a:rPr>
                        <a:t>GRADE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b="0" dirty="0"/>
                        <a:t>&lt; 10% MACULE/PAPULE WITH OR WITHOUT SYMPTOM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b="1" dirty="0">
                          <a:solidFill>
                            <a:schemeClr val="tx1"/>
                          </a:solidFill>
                        </a:rPr>
                        <a:t>GRADE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10-30% MACULE/PAPULE, WITH OR WITHOUT SYMPTOM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RESUME CAPIVASERTIB AT THE SAME DOSE</a:t>
                      </a:r>
                    </a:p>
                    <a:p>
                      <a:pPr marL="342900" indent="-342900" algn="l">
                        <a:buFont typeface="Arial" panose="020B0604020202020204" pitchFamily="34" charset="0"/>
                        <a:buChar char="•"/>
                      </a:pPr>
                      <a:r>
                        <a:rPr lang="en-US" sz="1600" dirty="0">
                          <a:solidFill>
                            <a:schemeClr val="tx1"/>
                          </a:solidFill>
                        </a:rPr>
                        <a:t>PERSISTENT OR RECURRENT: REDUCE CAPIVASERTIB BY ONE LOWER DO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b="1" dirty="0">
                          <a:solidFill>
                            <a:schemeClr val="tx1"/>
                          </a:solidFill>
                        </a:rPr>
                        <a:t>GRADE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u="none" dirty="0">
                          <a:solidFill>
                            <a:schemeClr val="tx1"/>
                          </a:solidFill>
                        </a:rPr>
                        <a:t>&gt; 30% MACULE/PAPULE, WITH MODERATE/SEVERE SYMPTOM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CAPIVASERTIB AT ONE LOWER DOSE</a:t>
                      </a:r>
                    </a:p>
                    <a:p>
                      <a:pPr marL="342900" indent="-342900" algn="l">
                        <a:buFont typeface="Arial" panose="020B0604020202020204" pitchFamily="34" charset="0"/>
                        <a:buChar char="•"/>
                      </a:pPr>
                      <a:r>
                        <a:rPr lang="en-US" sz="1600" dirty="0">
                          <a:solidFill>
                            <a:schemeClr val="tx1"/>
                          </a:solidFill>
                        </a:rPr>
                        <a:t>FOR RECURRENT GRADE 3, PERMANENTLY DISCONTINUE CAPIVASERTIB</a:t>
                      </a:r>
                    </a:p>
                    <a:p>
                      <a:pPr marL="342900" indent="-342900" algn="l">
                        <a:buFont typeface="Arial" panose="020B0604020202020204" pitchFamily="34" charset="0"/>
                        <a:buChar char="•"/>
                      </a:pPr>
                      <a:endParaRPr lang="en-US" sz="16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b="1" dirty="0">
                          <a:solidFill>
                            <a:schemeClr val="tx1"/>
                          </a:solidFill>
                        </a:rPr>
                        <a:t>GRADE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NOT DEFINE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614CF9D6-13D4-C7F8-74B3-180BF16ED5ED}"/>
              </a:ext>
            </a:extLst>
          </p:cNvPr>
          <p:cNvSpPr txBox="1"/>
          <p:nvPr/>
        </p:nvSpPr>
        <p:spPr>
          <a:xfrm>
            <a:off x="1589" y="6581002"/>
            <a:ext cx="3600601" cy="276999"/>
          </a:xfrm>
          <a:prstGeom prst="rect">
            <a:avLst/>
          </a:prstGeom>
          <a:noFill/>
        </p:spPr>
        <p:txBody>
          <a:bodyPr wrap="none" rtlCol="0">
            <a:spAutoFit/>
          </a:bodyPr>
          <a:lstStyle/>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Iyengar NM et al. NPJ Breast Cancer. 2025 Dec 4;12:16.</a:t>
            </a:r>
          </a:p>
        </p:txBody>
      </p:sp>
    </p:spTree>
    <p:custDataLst>
      <p:custData r:id="rId1"/>
      <p:custData r:id="rId2"/>
    </p:custDataLst>
    <p:extLst>
      <p:ext uri="{BB962C8B-B14F-4D97-AF65-F5344CB8AC3E}">
        <p14:creationId xmlns:p14="http://schemas.microsoft.com/office/powerpoint/2010/main" val="20770293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9DE20-92BE-87A4-4CF7-B2F2323D749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EFF8A79-55E7-CA81-C021-8C0327F4E23F}"/>
              </a:ext>
            </a:extLst>
          </p:cNvPr>
          <p:cNvSpPr>
            <a:spLocks noGrp="1"/>
          </p:cNvSpPr>
          <p:nvPr>
            <p:ph type="title"/>
          </p:nvPr>
        </p:nvSpPr>
        <p:spPr>
          <a:xfrm>
            <a:off x="687796" y="479619"/>
            <a:ext cx="10816408" cy="587375"/>
          </a:xfrm>
        </p:spPr>
        <p:txBody>
          <a:bodyPr/>
          <a:lstStyle/>
          <a:p>
            <a:pPr>
              <a:lnSpc>
                <a:spcPct val="90000"/>
              </a:lnSpc>
            </a:pPr>
            <a:r>
              <a:rPr lang="en-US" dirty="0"/>
              <a:t>FATIGUE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3335279E-AD53-3F7E-0197-B1C2937DEAE9}"/>
              </a:ext>
            </a:extLst>
          </p:cNvPr>
          <p:cNvGraphicFramePr>
            <a:graphicFrameLocks noGrp="1"/>
          </p:cNvGraphicFramePr>
          <p:nvPr/>
        </p:nvGraphicFramePr>
        <p:xfrm>
          <a:off x="491266" y="1480779"/>
          <a:ext cx="11209469" cy="428702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16046">
                  <a:extLst>
                    <a:ext uri="{9D8B030D-6E8A-4147-A177-3AD203B41FA5}">
                      <a16:colId xmlns:a16="http://schemas.microsoft.com/office/drawing/2014/main" val="4162025900"/>
                    </a:ext>
                  </a:extLst>
                </a:gridCol>
                <a:gridCol w="2972617">
                  <a:extLst>
                    <a:ext uri="{9D8B030D-6E8A-4147-A177-3AD203B41FA5}">
                      <a16:colId xmlns:a16="http://schemas.microsoft.com/office/drawing/2014/main" val="1690708922"/>
                    </a:ext>
                  </a:extLst>
                </a:gridCol>
                <a:gridCol w="6820806">
                  <a:extLst>
                    <a:ext uri="{9D8B030D-6E8A-4147-A177-3AD203B41FA5}">
                      <a16:colId xmlns:a16="http://schemas.microsoft.com/office/drawing/2014/main" val="3320953022"/>
                    </a:ext>
                  </a:extLst>
                </a:gridCol>
              </a:tblGrid>
              <a:tr h="851454">
                <a:tc>
                  <a:txBody>
                    <a:bodyPr/>
                    <a:lstStyle/>
                    <a:p>
                      <a:pPr algn="ctr"/>
                      <a:r>
                        <a:rPr lang="en-US" b="1" dirty="0">
                          <a:solidFill>
                            <a:schemeClr val="tx1"/>
                          </a:solidFill>
                        </a:rPr>
                        <a:t>GRADE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b="0" dirty="0"/>
                        <a:t>FATIGUE RELIEVED </a:t>
                      </a:r>
                      <a:br>
                        <a:rPr lang="en-US" b="0" dirty="0"/>
                      </a:br>
                      <a:r>
                        <a:rPr lang="en-US" b="0" dirty="0"/>
                        <a:t>BY RES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b="1" dirty="0">
                          <a:solidFill>
                            <a:schemeClr val="tx1"/>
                          </a:solidFill>
                        </a:rPr>
                        <a:t>GRADE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FATIGUE NOT RELIEVED BY REST, LIMITING INSTRUMENTAL ADL</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RESUME CAPIVASERTIB AT THE SAME DOSE</a:t>
                      </a:r>
                    </a:p>
                    <a:p>
                      <a:pPr marL="0" indent="0" algn="l">
                        <a:buFont typeface="Arial" panose="020B0604020202020204" pitchFamily="34" charset="0"/>
                        <a:buNone/>
                      </a:pPr>
                      <a:endParaRPr lang="en-US" sz="16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b="1" dirty="0">
                          <a:solidFill>
                            <a:schemeClr val="tx1"/>
                          </a:solidFill>
                        </a:rPr>
                        <a:t>GRADE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u="none" dirty="0">
                          <a:solidFill>
                            <a:schemeClr val="tx1"/>
                          </a:solidFill>
                        </a:rPr>
                        <a:t>FATIGUE NOT RELIEVED BY REST, LIMITING SELF CARE ADL</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CAPIVASERTIB AT ONE LOWER DOSE</a:t>
                      </a:r>
                    </a:p>
                    <a:p>
                      <a:pPr marL="342900" indent="-342900" algn="l">
                        <a:buFont typeface="Arial" panose="020B0604020202020204" pitchFamily="34" charset="0"/>
                        <a:buChar char="•"/>
                      </a:pPr>
                      <a:endParaRPr lang="en-US" sz="1600"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b="1" dirty="0">
                          <a:solidFill>
                            <a:schemeClr val="tx1"/>
                          </a:solidFill>
                        </a:rPr>
                        <a:t>GRADE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N/A</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7179D377-CEA6-58EE-C98E-F2CC49DBD4EB}"/>
              </a:ext>
            </a:extLst>
          </p:cNvPr>
          <p:cNvSpPr txBox="1"/>
          <p:nvPr/>
        </p:nvSpPr>
        <p:spPr>
          <a:xfrm>
            <a:off x="1589" y="6581002"/>
            <a:ext cx="3600601" cy="276999"/>
          </a:xfrm>
          <a:prstGeom prst="rect">
            <a:avLst/>
          </a:prstGeom>
          <a:noFill/>
        </p:spPr>
        <p:txBody>
          <a:bodyPr wrap="none" rtlCol="0">
            <a:spAutoFit/>
          </a:bodyPr>
          <a:lstStyle/>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Iyengar NM et al. NPJ Breast Cancer. 2025 Dec 4;12:16.</a:t>
            </a:r>
          </a:p>
        </p:txBody>
      </p:sp>
    </p:spTree>
    <p:custDataLst>
      <p:custData r:id="rId1"/>
      <p:custData r:id="rId2"/>
    </p:custDataLst>
    <p:extLst>
      <p:ext uri="{BB962C8B-B14F-4D97-AF65-F5344CB8AC3E}">
        <p14:creationId xmlns:p14="http://schemas.microsoft.com/office/powerpoint/2010/main" val="39914604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9DE20-92BE-87A4-4CF7-B2F2323D749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EFF8A79-55E7-CA81-C021-8C0327F4E23F}"/>
              </a:ext>
            </a:extLst>
          </p:cNvPr>
          <p:cNvSpPr>
            <a:spLocks noGrp="1"/>
          </p:cNvSpPr>
          <p:nvPr>
            <p:ph type="title"/>
          </p:nvPr>
        </p:nvSpPr>
        <p:spPr>
          <a:xfrm>
            <a:off x="687796" y="479619"/>
            <a:ext cx="10816408" cy="587375"/>
          </a:xfrm>
        </p:spPr>
        <p:txBody>
          <a:bodyPr/>
          <a:lstStyle/>
          <a:p>
            <a:pPr>
              <a:lnSpc>
                <a:spcPct val="90000"/>
              </a:lnSpc>
            </a:pPr>
            <a:r>
              <a:rPr lang="en-US" dirty="0"/>
              <a:t>MANAGEMENT OF OTHER TOXICITIES</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3335279E-AD53-3F7E-0197-B1C2937DEAE9}"/>
              </a:ext>
            </a:extLst>
          </p:cNvPr>
          <p:cNvGraphicFramePr>
            <a:graphicFrameLocks noGrp="1"/>
          </p:cNvGraphicFramePr>
          <p:nvPr/>
        </p:nvGraphicFramePr>
        <p:xfrm>
          <a:off x="491266" y="1480779"/>
          <a:ext cx="11209469" cy="367761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388663">
                  <a:extLst>
                    <a:ext uri="{9D8B030D-6E8A-4147-A177-3AD203B41FA5}">
                      <a16:colId xmlns:a16="http://schemas.microsoft.com/office/drawing/2014/main" val="4162025900"/>
                    </a:ext>
                  </a:extLst>
                </a:gridCol>
                <a:gridCol w="6820806">
                  <a:extLst>
                    <a:ext uri="{9D8B030D-6E8A-4147-A177-3AD203B41FA5}">
                      <a16:colId xmlns:a16="http://schemas.microsoft.com/office/drawing/2014/main" val="3320953022"/>
                    </a:ext>
                  </a:extLst>
                </a:gridCol>
              </a:tblGrid>
              <a:tr h="851454">
                <a:tc>
                  <a:txBody>
                    <a:bodyPr/>
                    <a:lstStyle/>
                    <a:p>
                      <a:pPr algn="ctr"/>
                      <a:r>
                        <a:rPr lang="en-US" b="1" dirty="0">
                          <a:solidFill>
                            <a:schemeClr val="tx1"/>
                          </a:solidFill>
                        </a:rPr>
                        <a:t>CTCAE GRADE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NO DOSE ADJUSTMENT IS REQUIRED. INITIATE APPROPRIATE MEDICAL THERAPY AND MONITOR AS CLINICALLY INDICATE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b="1" dirty="0">
                          <a:solidFill>
                            <a:schemeClr val="tx1"/>
                          </a:solidFill>
                        </a:rPr>
                        <a:t>CTCAE GRADE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TREATMENT UNTIL SYMPTOMS IMPROVE TO ≤ GRADE 1. RESUME AT THE SAME DO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b="1" dirty="0">
                          <a:solidFill>
                            <a:schemeClr val="tx1"/>
                          </a:solidFill>
                        </a:rPr>
                        <a:t>CTCAE GRADE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TREATMENT UNTIL SYMPTOMS IMPROVE TO ≤ GRADE 1. IF SYMPTOMS IMPROVE WITHIN 28 DAYS, RESTART AT THE SAME DOSE.  IF RECOVERY OCCURS LATER THAN 28 DAYS, RESUME AT ONE LOWER DO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b="1" dirty="0">
                          <a:solidFill>
                            <a:schemeClr val="tx1"/>
                          </a:solidFill>
                        </a:rPr>
                        <a:t>CTCAE GRADE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7179D377-CEA6-58EE-C98E-F2CC49DBD4EB}"/>
              </a:ext>
            </a:extLst>
          </p:cNvPr>
          <p:cNvSpPr txBox="1"/>
          <p:nvPr/>
        </p:nvSpPr>
        <p:spPr>
          <a:xfrm>
            <a:off x="1589" y="6396336"/>
            <a:ext cx="1983363" cy="461665"/>
          </a:xfrm>
          <a:prstGeom prst="rect">
            <a:avLst/>
          </a:prstGeom>
          <a:noFill/>
        </p:spPr>
        <p:txBody>
          <a:bodyPr wrap="none" rtlCol="0">
            <a:spAutoFit/>
          </a:bodyPr>
          <a:lstStyle/>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Capivasertib [Package Insert]</a:t>
            </a:r>
          </a:p>
          <a:p>
            <a:pPr defTabSz="1218987" fontAlgn="auto">
              <a:spcBef>
                <a:spcPts val="0"/>
              </a:spcBef>
              <a:spcAft>
                <a:spcPts val="0"/>
              </a:spcAft>
            </a:pPr>
            <a:r>
              <a:rPr lang="en-US" sz="1200" b="0" dirty="0">
                <a:solidFill>
                  <a:srgbClr val="000000"/>
                </a:solidFill>
                <a:latin typeface="Calibri" panose="020F0502020204030204" pitchFamily="34" charset="0"/>
                <a:ea typeface="+mn-ea"/>
                <a:cs typeface="Calibri" panose="020F0502020204030204" pitchFamily="34" charset="0"/>
              </a:rPr>
              <a:t>NHS SWAG Cancer Alliance</a:t>
            </a:r>
          </a:p>
        </p:txBody>
      </p:sp>
    </p:spTree>
    <p:custDataLst>
      <p:custData r:id="rId1"/>
      <p:custData r:id="rId2"/>
    </p:custDataLst>
    <p:extLst>
      <p:ext uri="{BB962C8B-B14F-4D97-AF65-F5344CB8AC3E}">
        <p14:creationId xmlns:p14="http://schemas.microsoft.com/office/powerpoint/2010/main" val="20377159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DB0BA-9522-C17A-7819-B8482022F4CA}"/>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A056B7BF-931A-92B1-67E6-49AA9396315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5B917557-46D2-534B-D7F2-2C307F29459E}"/>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3" name="Title 1">
            <a:extLst>
              <a:ext uri="{FF2B5EF4-FFF2-40B4-BE49-F238E27FC236}">
                <a16:creationId xmlns:a16="http://schemas.microsoft.com/office/drawing/2014/main" id="{C431106A-4687-7F38-EC93-74D36DE9E2FA}"/>
              </a:ext>
            </a:extLst>
          </p:cNvPr>
          <p:cNvSpPr txBox="1">
            <a:spLocks/>
          </p:cNvSpPr>
          <p:nvPr/>
        </p:nvSpPr>
        <p:spPr bwMode="auto">
          <a:xfrm>
            <a:off x="1846074" y="5115725"/>
            <a:ext cx="4061552"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eraj Agarwal, MD, FASCO</a:t>
            </a:r>
          </a:p>
        </p:txBody>
      </p:sp>
      <p:sp>
        <p:nvSpPr>
          <p:cNvPr id="7" name="Title 1">
            <a:extLst>
              <a:ext uri="{FF2B5EF4-FFF2-40B4-BE49-F238E27FC236}">
                <a16:creationId xmlns:a16="http://schemas.microsoft.com/office/drawing/2014/main" id="{09F7E8E9-8FBF-29BC-A868-73333EC0D587}"/>
              </a:ext>
            </a:extLst>
          </p:cNvPr>
          <p:cNvSpPr txBox="1">
            <a:spLocks/>
          </p:cNvSpPr>
          <p:nvPr/>
        </p:nvSpPr>
        <p:spPr bwMode="auto">
          <a:xfrm>
            <a:off x="6096000" y="5115725"/>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9" name="Picture 8" descr="A person in a white shirt&#10;&#10;AI-generated content may be incorrect.">
            <a:extLst>
              <a:ext uri="{FF2B5EF4-FFF2-40B4-BE49-F238E27FC236}">
                <a16:creationId xmlns:a16="http://schemas.microsoft.com/office/drawing/2014/main" id="{87897B19-FBC6-A165-065A-8C1626DA5ABA}"/>
              </a:ext>
            </a:extLst>
          </p:cNvPr>
          <p:cNvPicPr>
            <a:picLocks noChangeAspect="1"/>
          </p:cNvPicPr>
          <p:nvPr/>
        </p:nvPicPr>
        <p:blipFill>
          <a:blip r:embed="rId2"/>
          <a:srcRect l="22367" r="19429" b="17523"/>
          <a:stretch>
            <a:fillRect/>
          </a:stretch>
        </p:blipFill>
        <p:spPr>
          <a:xfrm>
            <a:off x="6961222" y="2463965"/>
            <a:ext cx="2651760" cy="2651760"/>
          </a:xfrm>
          <a:prstGeom prst="ellipse">
            <a:avLst/>
          </a:prstGeom>
          <a:effectLst>
            <a:outerShdw blurRad="50800" dist="38100" dir="2700000" algn="tl" rotWithShape="0">
              <a:prstClr val="black">
                <a:alpha val="40000"/>
              </a:prstClr>
            </a:outerShdw>
          </a:effectLst>
        </p:spPr>
      </p:pic>
      <p:pic>
        <p:nvPicPr>
          <p:cNvPr id="10" name="Picture 9" descr="A person wearing a suit and tie&#10;&#10;AI-generated content may be incorrect.">
            <a:extLst>
              <a:ext uri="{FF2B5EF4-FFF2-40B4-BE49-F238E27FC236}">
                <a16:creationId xmlns:a16="http://schemas.microsoft.com/office/drawing/2014/main" id="{566328C9-FA1F-EDC7-EEA3-4C698FB6C366}"/>
              </a:ext>
            </a:extLst>
          </p:cNvPr>
          <p:cNvPicPr>
            <a:picLocks noChangeAspect="1"/>
          </p:cNvPicPr>
          <p:nvPr/>
        </p:nvPicPr>
        <p:blipFill>
          <a:blip r:embed="rId3"/>
          <a:srcRect l="22981" t="3044" r="25493" b="5355"/>
          <a:stretch>
            <a:fillRect/>
          </a:stretch>
        </p:blipFill>
        <p:spPr>
          <a:xfrm>
            <a:off x="2550970" y="2463965"/>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93670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68F4A-8ADC-1F82-4CA8-03C630935D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384FFD-5043-FAA9-8D4B-DD29C1E430E6}"/>
              </a:ext>
            </a:extLst>
          </p:cNvPr>
          <p:cNvSpPr>
            <a:spLocks noGrp="1"/>
          </p:cNvSpPr>
          <p:nvPr>
            <p:ph type="title"/>
          </p:nvPr>
        </p:nvSpPr>
        <p:spPr>
          <a:xfrm>
            <a:off x="916516" y="116632"/>
            <a:ext cx="10358967" cy="1196752"/>
          </a:xfrm>
        </p:spPr>
        <p:txBody>
          <a:bodyPr/>
          <a:lstStyle/>
          <a:p>
            <a:r>
              <a:rPr lang="en-US" sz="3200" dirty="0">
                <a:solidFill>
                  <a:srgbClr val="0432FF"/>
                </a:solidFill>
              </a:rPr>
              <a:t>Dr McKay — Disclosures</a:t>
            </a:r>
            <a:br>
              <a:rPr lang="en-US" sz="3200" dirty="0">
                <a:solidFill>
                  <a:srgbClr val="0432FF"/>
                </a:solidFill>
              </a:rPr>
            </a:br>
            <a:r>
              <a:rPr lang="en-US" sz="3200" dirty="0">
                <a:solidFill>
                  <a:srgbClr val="0432FF"/>
                </a:solidFill>
              </a:rPr>
              <a:t>Consulting Clinical Investigator</a:t>
            </a:r>
          </a:p>
        </p:txBody>
      </p:sp>
      <p:graphicFrame>
        <p:nvGraphicFramePr>
          <p:cNvPr id="5" name="Content Placeholder 3">
            <a:extLst>
              <a:ext uri="{FF2B5EF4-FFF2-40B4-BE49-F238E27FC236}">
                <a16:creationId xmlns:a16="http://schemas.microsoft.com/office/drawing/2014/main" id="{683E0010-FFAF-6CB1-EED5-1FB319EB4E9A}"/>
              </a:ext>
            </a:extLst>
          </p:cNvPr>
          <p:cNvGraphicFramePr>
            <a:graphicFrameLocks/>
          </p:cNvGraphicFramePr>
          <p:nvPr>
            <p:extLst>
              <p:ext uri="{D42A27DB-BD31-4B8C-83A1-F6EECF244321}">
                <p14:modId xmlns:p14="http://schemas.microsoft.com/office/powerpoint/2010/main" val="326421919"/>
              </p:ext>
            </p:extLst>
          </p:nvPr>
        </p:nvGraphicFramePr>
        <p:xfrm>
          <a:off x="1236095" y="1772816"/>
          <a:ext cx="9719807" cy="3844415"/>
        </p:xfrm>
        <a:graphic>
          <a:graphicData uri="http://schemas.openxmlformats.org/drawingml/2006/table">
            <a:tbl>
              <a:tblPr firstRow="1" bandRow="1">
                <a:tableStyleId>{F2DE63D5-997A-4646-A377-4702673A728D}</a:tableStyleId>
              </a:tblPr>
              <a:tblGrid>
                <a:gridCol w="2726305">
                  <a:extLst>
                    <a:ext uri="{9D8B030D-6E8A-4147-A177-3AD203B41FA5}">
                      <a16:colId xmlns:a16="http://schemas.microsoft.com/office/drawing/2014/main" val="20000"/>
                    </a:ext>
                  </a:extLst>
                </a:gridCol>
                <a:gridCol w="6993502">
                  <a:extLst>
                    <a:ext uri="{9D8B030D-6E8A-4147-A177-3AD203B41FA5}">
                      <a16:colId xmlns:a16="http://schemas.microsoft.com/office/drawing/2014/main" val="20001"/>
                    </a:ext>
                  </a:extLst>
                </a:gridCol>
              </a:tblGrid>
              <a:tr h="2657981">
                <a:tc>
                  <a:txBody>
                    <a:bodyPr/>
                    <a:lstStyle/>
                    <a:p>
                      <a:r>
                        <a:rPr lang="en-US" sz="20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Ambrx</a:t>
                      </a:r>
                      <a:r>
                        <a:rPr lang="en-US" sz="2000" b="0" kern="1200" dirty="0">
                          <a:solidFill>
                            <a:schemeClr val="tx1"/>
                          </a:solidFill>
                          <a:effectLst/>
                          <a:latin typeface="+mn-lt"/>
                          <a:ea typeface="+mn-ea"/>
                          <a:cs typeface="+mn-cs"/>
                        </a:rPr>
                        <a:t>, Arcus Biosciences, AstraZeneca Pharmaceuticals LP, Aveo Pharmaceuticals, Bayer HealthCare Pharmaceuticals, Blue Earth Diagnostics, Boundless Bio, Bristol Myers Squibb, </a:t>
                      </a:r>
                      <a:r>
                        <a:rPr lang="en-US" sz="2000" b="0" kern="1200" dirty="0" err="1">
                          <a:solidFill>
                            <a:schemeClr val="tx1"/>
                          </a:solidFill>
                          <a:effectLst/>
                          <a:latin typeface="+mn-lt"/>
                          <a:ea typeface="+mn-ea"/>
                          <a:cs typeface="+mn-cs"/>
                        </a:rPr>
                        <a:t>Calithera</a:t>
                      </a:r>
                      <a:r>
                        <a:rPr lang="en-US" sz="2000" b="0" kern="1200" dirty="0">
                          <a:solidFill>
                            <a:schemeClr val="tx1"/>
                          </a:solidFill>
                          <a:effectLst/>
                          <a:latin typeface="+mn-lt"/>
                          <a:ea typeface="+mn-ea"/>
                          <a:cs typeface="+mn-cs"/>
                        </a:rPr>
                        <a:t> Biosciences, Caris Life Sciences, Daiichi Sankyo Inc, Dendreon Pharmaceuticals Inc, Eisai Inc, Exelixis Inc, Janssen Biotech Inc, Lilly, Merck, </a:t>
                      </a:r>
                      <a:r>
                        <a:rPr lang="en-US" sz="2000" b="0" kern="1200" dirty="0" err="1">
                          <a:solidFill>
                            <a:schemeClr val="tx1"/>
                          </a:solidFill>
                          <a:effectLst/>
                          <a:latin typeface="+mn-lt"/>
                          <a:ea typeface="+mn-ea"/>
                          <a:cs typeface="+mn-cs"/>
                        </a:rPr>
                        <a:t>Myovant</a:t>
                      </a:r>
                      <a:r>
                        <a:rPr lang="en-US" sz="2000" b="0" kern="1200" dirty="0">
                          <a:solidFill>
                            <a:schemeClr val="tx1"/>
                          </a:solidFill>
                          <a:effectLst/>
                          <a:latin typeface="+mn-lt"/>
                          <a:ea typeface="+mn-ea"/>
                          <a:cs typeface="+mn-cs"/>
                        </a:rPr>
                        <a:t> Sciences, Neomorph, Nimbus Therapeutics, Novartis, Pfizer Inc,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 Sorrento Therapeutics, </a:t>
                      </a:r>
                      <a:r>
                        <a:rPr lang="en-US" sz="2000" b="0" kern="1200" dirty="0" err="1">
                          <a:solidFill>
                            <a:schemeClr val="tx1"/>
                          </a:solidFill>
                          <a:effectLst/>
                          <a:latin typeface="+mn-lt"/>
                          <a:ea typeface="+mn-ea"/>
                          <a:cs typeface="+mn-cs"/>
                        </a:rPr>
                        <a:t>Telix</a:t>
                      </a:r>
                      <a:r>
                        <a:rPr lang="en-US" sz="2000" b="0" kern="1200" dirty="0">
                          <a:solidFill>
                            <a:schemeClr val="tx1"/>
                          </a:solidFill>
                          <a:effectLst/>
                          <a:latin typeface="+mn-lt"/>
                          <a:ea typeface="+mn-ea"/>
                          <a:cs typeface="+mn-cs"/>
                        </a:rPr>
                        <a:t> Pharmaceuticals Limited,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6434">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Artera</a:t>
                      </a:r>
                      <a:r>
                        <a:rPr lang="en-US" sz="2000" b="0" kern="1200" dirty="0">
                          <a:solidFill>
                            <a:schemeClr val="tx1"/>
                          </a:solidFill>
                          <a:effectLst/>
                          <a:latin typeface="+mn-lt"/>
                          <a:ea typeface="+mn-ea"/>
                          <a:cs typeface="+mn-cs"/>
                        </a:rPr>
                        <a:t>, AstraZeneca Pharmaceuticals LP, Bristol Myers Squibb, Exelixis Inc, Incyte Corporation, Natera Inc, </a:t>
                      </a:r>
                      <a:r>
                        <a:rPr lang="en-US" sz="2000" b="0" kern="1200" dirty="0" err="1">
                          <a:solidFill>
                            <a:schemeClr val="tx1"/>
                          </a:solidFill>
                          <a:effectLst/>
                          <a:latin typeface="+mn-lt"/>
                          <a:ea typeface="+mn-ea"/>
                          <a:cs typeface="+mn-cs"/>
                        </a:rPr>
                        <a:t>Oncternal</a:t>
                      </a:r>
                      <a:r>
                        <a:rPr lang="en-US" sz="20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650582"/>
                  </a:ext>
                </a:extLst>
              </a:tr>
            </a:tbl>
          </a:graphicData>
        </a:graphic>
      </p:graphicFrame>
    </p:spTree>
    <p:custDataLst>
      <p:tags r:id="rId1"/>
    </p:custDataLst>
    <p:extLst>
      <p:ext uri="{BB962C8B-B14F-4D97-AF65-F5344CB8AC3E}">
        <p14:creationId xmlns:p14="http://schemas.microsoft.com/office/powerpoint/2010/main" val="3757158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36B0C-6A0D-638F-8520-4C3E39DDC77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5BF45AB-DA21-3F5D-B462-7DE0B4743FAF}"/>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3F3CC478-8956-AB4A-7C17-166896CC157C}"/>
              </a:ext>
            </a:extLst>
          </p:cNvPr>
          <p:cNvSpPr>
            <a:spLocks noGrp="1"/>
          </p:cNvSpPr>
          <p:nvPr>
            <p:ph idx="1"/>
          </p:nvPr>
        </p:nvSpPr>
        <p:spPr>
          <a:xfrm>
            <a:off x="912286" y="1222275"/>
            <a:ext cx="10358967" cy="4799013"/>
          </a:xfrm>
        </p:spPr>
        <p:txBody>
          <a:bodyPr/>
          <a:lstStyle/>
          <a:p>
            <a:pPr marL="98425" lvl="0" indent="0">
              <a:buNone/>
            </a:pPr>
            <a:r>
              <a:rPr lang="en-US" dirty="0"/>
              <a:t>In your experience, what is the most common toxicity that affects adherence to capivasertib? </a:t>
            </a:r>
          </a:p>
          <a:p>
            <a:pPr marL="98425" lvl="0" indent="0">
              <a:buNone/>
            </a:pPr>
            <a:r>
              <a:rPr lang="en-US" dirty="0"/>
              <a:t>How should clinicians approach prophylaxis and early intervention for diarrhea? At what point do you hold versus dose reduce versus discontinue capivasertib for diarrhea? </a:t>
            </a:r>
          </a:p>
          <a:p>
            <a:pPr marL="98425" lvl="0" indent="0">
              <a:buNone/>
            </a:pPr>
            <a:r>
              <a:rPr lang="en-US" dirty="0"/>
              <a:t>Should clinicians assess baseline hemoglobin A1C in all patients before administering capivasertib? How frequently are endocrinology referrals necessary for patients receiving this drug?</a:t>
            </a:r>
          </a:p>
        </p:txBody>
      </p:sp>
    </p:spTree>
    <p:extLst>
      <p:ext uri="{BB962C8B-B14F-4D97-AF65-F5344CB8AC3E}">
        <p14:creationId xmlns:p14="http://schemas.microsoft.com/office/powerpoint/2010/main" val="1556478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1A2C7-76E5-DC55-8B2A-7B8213D7B89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6CFDC26-4ED6-A66C-6B6F-D707E893DB5B}"/>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65E2400B-C1D1-5E0C-A58B-80793C92271D}"/>
              </a:ext>
            </a:extLst>
          </p:cNvPr>
          <p:cNvSpPr>
            <a:spLocks noGrp="1"/>
          </p:cNvSpPr>
          <p:nvPr>
            <p:ph idx="1"/>
          </p:nvPr>
        </p:nvSpPr>
        <p:spPr>
          <a:xfrm>
            <a:off x="912286" y="1222275"/>
            <a:ext cx="10358967" cy="4799013"/>
          </a:xfrm>
        </p:spPr>
        <p:txBody>
          <a:bodyPr/>
          <a:lstStyle/>
          <a:p>
            <a:pPr marL="98425" lvl="0" indent="0">
              <a:buNone/>
            </a:pPr>
            <a:r>
              <a:rPr lang="en-US" dirty="0"/>
              <a:t>How significant are cutaneous events with capivasertib? How should cutaneous reactions be managed when they occur? Are topical interventions meaningful in preventing dose interruptions with capivasertib when skin toxicities develop? </a:t>
            </a:r>
          </a:p>
          <a:p>
            <a:pPr marL="98425" lvl="0" indent="0">
              <a:buNone/>
            </a:pPr>
            <a:r>
              <a:rPr lang="en-US" dirty="0"/>
              <a:t>Are there any patient populations for whom you would hesitate to use capivasertib, such as those with uncontrolled diabetes, frailty or older age?</a:t>
            </a:r>
          </a:p>
        </p:txBody>
      </p:sp>
    </p:spTree>
    <p:extLst>
      <p:ext uri="{BB962C8B-B14F-4D97-AF65-F5344CB8AC3E}">
        <p14:creationId xmlns:p14="http://schemas.microsoft.com/office/powerpoint/2010/main" val="3134362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5E87B-4A44-4261-64C1-12DF419A7E10}"/>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F715D79D-BF91-17E8-0D6D-F1F635ADBF2E}"/>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C0AF3F3D-9E7C-BA58-91FE-2EF890944D4D}"/>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6" name="Title 1">
            <a:extLst>
              <a:ext uri="{FF2B5EF4-FFF2-40B4-BE49-F238E27FC236}">
                <a16:creationId xmlns:a16="http://schemas.microsoft.com/office/drawing/2014/main" id="{9D6CF1E9-1C79-6EC5-5845-3BBC7A0E8D1B}"/>
              </a:ext>
            </a:extLst>
          </p:cNvPr>
          <p:cNvSpPr txBox="1">
            <a:spLocks/>
          </p:cNvSpPr>
          <p:nvPr/>
        </p:nvSpPr>
        <p:spPr bwMode="auto">
          <a:xfrm>
            <a:off x="1593773" y="5133612"/>
            <a:ext cx="4601378"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sp>
        <p:nvSpPr>
          <p:cNvPr id="7" name="Title 1">
            <a:extLst>
              <a:ext uri="{FF2B5EF4-FFF2-40B4-BE49-F238E27FC236}">
                <a16:creationId xmlns:a16="http://schemas.microsoft.com/office/drawing/2014/main" id="{E5A89CF6-90F2-2737-E0B8-6E962287D55A}"/>
              </a:ext>
            </a:extLst>
          </p:cNvPr>
          <p:cNvSpPr txBox="1">
            <a:spLocks/>
          </p:cNvSpPr>
          <p:nvPr/>
        </p:nvSpPr>
        <p:spPr bwMode="auto">
          <a:xfrm>
            <a:off x="6096000" y="513361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9" name="Picture 8" descr="A person in a white shirt&#10;&#10;AI-generated content may be incorrect.">
            <a:extLst>
              <a:ext uri="{FF2B5EF4-FFF2-40B4-BE49-F238E27FC236}">
                <a16:creationId xmlns:a16="http://schemas.microsoft.com/office/drawing/2014/main" id="{C7EE785D-AC44-B845-4339-507D0DBF8C01}"/>
              </a:ext>
            </a:extLst>
          </p:cNvPr>
          <p:cNvPicPr>
            <a:picLocks noChangeAspect="1"/>
          </p:cNvPicPr>
          <p:nvPr/>
        </p:nvPicPr>
        <p:blipFill>
          <a:blip r:embed="rId2"/>
          <a:srcRect l="22367" r="19429" b="17523"/>
          <a:stretch>
            <a:fillRect/>
          </a:stretch>
        </p:blipFill>
        <p:spPr>
          <a:xfrm>
            <a:off x="6961222" y="2481852"/>
            <a:ext cx="2651760" cy="2651760"/>
          </a:xfrm>
          <a:prstGeom prst="ellipse">
            <a:avLst/>
          </a:prstGeom>
          <a:effectLst>
            <a:outerShdw blurRad="50800" dist="38100" dir="2700000" algn="tl" rotWithShape="0">
              <a:prstClr val="black">
                <a:alpha val="40000"/>
              </a:prstClr>
            </a:outerShdw>
          </a:effectLst>
        </p:spPr>
      </p:pic>
      <p:pic>
        <p:nvPicPr>
          <p:cNvPr id="10" name="Picture 9" descr="A person wearing a headset&#10;&#10;AI-generated content may be incorrect.">
            <a:extLst>
              <a:ext uri="{FF2B5EF4-FFF2-40B4-BE49-F238E27FC236}">
                <a16:creationId xmlns:a16="http://schemas.microsoft.com/office/drawing/2014/main" id="{E0C60E2F-5B5B-8B75-4E91-DCEDC010C40A}"/>
              </a:ext>
            </a:extLst>
          </p:cNvPr>
          <p:cNvPicPr>
            <a:picLocks noChangeAspect="1"/>
          </p:cNvPicPr>
          <p:nvPr/>
        </p:nvPicPr>
        <p:blipFill>
          <a:blip r:embed="rId3"/>
          <a:srcRect l="24474" t="10529" r="26979" b="3163"/>
          <a:stretch>
            <a:fillRect/>
          </a:stretch>
        </p:blipFill>
        <p:spPr>
          <a:xfrm>
            <a:off x="2473101" y="2481852"/>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15921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633D3-F997-F655-90A2-A96992BAD63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9F8F2F7-C273-93D6-022A-EFE38CFE350D}"/>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B77809DD-7C1D-DAFC-EE35-5B24F3D83E80}"/>
              </a:ext>
            </a:extLst>
          </p:cNvPr>
          <p:cNvSpPr>
            <a:spLocks noGrp="1"/>
          </p:cNvSpPr>
          <p:nvPr>
            <p:ph idx="1"/>
          </p:nvPr>
        </p:nvSpPr>
        <p:spPr>
          <a:xfrm>
            <a:off x="912286" y="1222275"/>
            <a:ext cx="10358967" cy="4799013"/>
          </a:xfrm>
        </p:spPr>
        <p:txBody>
          <a:bodyPr/>
          <a:lstStyle/>
          <a:p>
            <a:pPr marL="98425" lvl="0" indent="0">
              <a:buNone/>
            </a:pPr>
            <a:r>
              <a:rPr lang="en-US" dirty="0"/>
              <a:t>If you were going to administer capivasertib to this man, what steps would you take to mitigate the risk of hyperglycemia? Would you consider a GLP-1 agonist in his case? </a:t>
            </a:r>
          </a:p>
          <a:p>
            <a:pPr marL="98425" lvl="0" indent="0">
              <a:buNone/>
            </a:pPr>
            <a:r>
              <a:rPr lang="en-US" dirty="0"/>
              <a:t>How do you think the patient-reported outcomes from CAPItello-281 being presented at this meeting will inform interpretation of the originally reported adverse-event data presented at ESMO?</a:t>
            </a:r>
          </a:p>
        </p:txBody>
      </p:sp>
    </p:spTree>
    <p:extLst>
      <p:ext uri="{BB962C8B-B14F-4D97-AF65-F5344CB8AC3E}">
        <p14:creationId xmlns:p14="http://schemas.microsoft.com/office/powerpoint/2010/main" val="2718704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C8461-8B24-DAA6-FD7B-A31A28FC131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85B5087-1467-5621-F6CC-D6FAC4DA3B60}"/>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E101852D-3759-5335-7BD3-E460504CBEDC}"/>
              </a:ext>
            </a:extLst>
          </p:cNvPr>
          <p:cNvSpPr>
            <a:spLocks noGrp="1"/>
          </p:cNvSpPr>
          <p:nvPr>
            <p:ph idx="1"/>
          </p:nvPr>
        </p:nvSpPr>
        <p:spPr>
          <a:xfrm>
            <a:off x="912286" y="1222275"/>
            <a:ext cx="10358967" cy="4799013"/>
          </a:xfrm>
        </p:spPr>
        <p:txBody>
          <a:bodyPr/>
          <a:lstStyle/>
          <a:p>
            <a:pPr marL="98425" lvl="0" indent="0">
              <a:buNone/>
            </a:pPr>
            <a:r>
              <a:rPr lang="en-US" dirty="0"/>
              <a:t>If lutetium Lu 177 vipivotide tetraxetan were to become available in mHSPC, would it be a consideration in a case like this? Do patients with mHSPC receiving lutetium Lu 177 vipivotide tetraxetan in combination with an AR pathway inhibitor and ADT need all 6 doses? </a:t>
            </a:r>
          </a:p>
        </p:txBody>
      </p:sp>
    </p:spTree>
    <p:extLst>
      <p:ext uri="{BB962C8B-B14F-4D97-AF65-F5344CB8AC3E}">
        <p14:creationId xmlns:p14="http://schemas.microsoft.com/office/powerpoint/2010/main" val="2465466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a:t>
            </a:r>
            <a:r>
              <a:rPr lang="en-US" sz="2900" dirty="0" err="1"/>
              <a:t>postmeeting</a:t>
            </a:r>
            <a:r>
              <a:rPr lang="en-US" sz="2900" dirty="0"/>
              <a:t> survey currently available via the corresponding QR code on the printed handout for attendees in the room and on Zoom for those attending virtually. The survey will remain open up to 5 minutes after the meeting ends.</a:t>
            </a:r>
            <a:r>
              <a:rPr lang="en-US" sz="2900" i="1" dirty="0"/>
              <a:t> </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360839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921161" cy="1501346"/>
          </a:xfrm>
        </p:spPr>
        <p:txBody>
          <a:bodyPr/>
          <a:lstStyle/>
          <a:p>
            <a:pPr marL="98425" indent="0">
              <a:buNone/>
            </a:pPr>
            <a:r>
              <a:rPr lang="en-US" sz="2500" b="0" dirty="0"/>
              <a:t>This activity is supported by an educational grant from AstraZeneca Pharmaceuticals LP.</a:t>
            </a:r>
          </a:p>
        </p:txBody>
      </p:sp>
      <p:sp>
        <p:nvSpPr>
          <p:cNvPr id="4" name="Title 1">
            <a:extLst>
              <a:ext uri="{FF2B5EF4-FFF2-40B4-BE49-F238E27FC236}">
                <a16:creationId xmlns:a16="http://schemas.microsoft.com/office/drawing/2014/main" id="{2633A3B0-DD8B-70C0-AA17-433483881EB3}"/>
              </a:ext>
            </a:extLst>
          </p:cNvPr>
          <p:cNvSpPr txBox="1">
            <a:spLocks/>
          </p:cNvSpPr>
          <p:nvPr/>
        </p:nvSpPr>
        <p:spPr bwMode="auto">
          <a:xfrm>
            <a:off x="912286" y="275811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defRPr/>
            </a:pPr>
            <a:r>
              <a:rPr lang="en-US" kern="0"/>
              <a:t>Research To Practice CME Planning Committee Members, </a:t>
            </a:r>
            <a:br>
              <a:rPr lang="en-US" kern="0"/>
            </a:br>
            <a:r>
              <a:rPr lang="en-US" kern="0"/>
              <a:t>Staff and Reviewers</a:t>
            </a:r>
            <a:endParaRPr lang="en-US" kern="0" dirty="0"/>
          </a:p>
        </p:txBody>
      </p:sp>
      <p:sp>
        <p:nvSpPr>
          <p:cNvPr id="5" name="Content Placeholder 2">
            <a:extLst>
              <a:ext uri="{FF2B5EF4-FFF2-40B4-BE49-F238E27FC236}">
                <a16:creationId xmlns:a16="http://schemas.microsoft.com/office/drawing/2014/main" id="{E1209744-5CE3-00C1-634E-D6BC46E1889C}"/>
              </a:ext>
            </a:extLst>
          </p:cNvPr>
          <p:cNvSpPr txBox="1">
            <a:spLocks/>
          </p:cNvSpPr>
          <p:nvPr/>
        </p:nvSpPr>
        <p:spPr bwMode="auto">
          <a:xfrm>
            <a:off x="1051639" y="4087894"/>
            <a:ext cx="9220825" cy="15013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defRPr/>
            </a:pPr>
            <a:r>
              <a:rPr lang="en-US" sz="2500" b="0" kern="0"/>
              <a:t>Planners, scientific staff and independent reviewers for Research To Practice have no relevant conflicts of interest to disclose.</a:t>
            </a:r>
            <a:endParaRPr lang="en-US" sz="2500" b="0" kern="0" dirty="0"/>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Thème Office">
  <a:themeElements>
    <a:clrScheme name="Oscar Lambret 2019">
      <a:dk1>
        <a:srgbClr val="131518"/>
      </a:dk1>
      <a:lt1>
        <a:sysClr val="window" lastClr="FFFFFF"/>
      </a:lt1>
      <a:dk2>
        <a:srgbClr val="131518"/>
      </a:dk2>
      <a:lt2>
        <a:srgbClr val="DCDEE3"/>
      </a:lt2>
      <a:accent1>
        <a:srgbClr val="AF007C"/>
      </a:accent1>
      <a:accent2>
        <a:srgbClr val="00A4A7"/>
      </a:accent2>
      <a:accent3>
        <a:srgbClr val="EA5901"/>
      </a:accent3>
      <a:accent4>
        <a:srgbClr val="AFC3D1"/>
      </a:accent4>
      <a:accent5>
        <a:srgbClr val="92D050"/>
      </a:accent5>
      <a:accent6>
        <a:srgbClr val="FFC000"/>
      </a:accent6>
      <a:hlink>
        <a:srgbClr val="00A4A7"/>
      </a:hlink>
      <a:folHlink>
        <a:srgbClr val="0092C3"/>
      </a:folHlink>
    </a:clrScheme>
    <a:fontScheme name="Oscar Lambret 2019">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Office Theme">
  <a:themeElements>
    <a:clrScheme name="Custom 1">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Office Theme">
  <a:themeElements>
    <a:clrScheme name="Custom 1">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020_MC_White (12-28-2020)">
  <a:themeElements>
    <a:clrScheme name="2020_MC_White">
      <a:dk1>
        <a:srgbClr val="FFFFFF"/>
      </a:dk1>
      <a:lt1>
        <a:srgbClr val="000000"/>
      </a:lt1>
      <a:dk2>
        <a:srgbClr val="D2D2D2"/>
      </a:dk2>
      <a:lt2>
        <a:srgbClr val="0057B8"/>
      </a:lt2>
      <a:accent1>
        <a:srgbClr val="009CDE"/>
      </a:accent1>
      <a:accent2>
        <a:srgbClr val="0057B8"/>
      </a:accent2>
      <a:accent3>
        <a:srgbClr val="00873E"/>
      </a:accent3>
      <a:accent4>
        <a:srgbClr val="8246AF"/>
      </a:accent4>
      <a:accent5>
        <a:srgbClr val="FE5000"/>
      </a:accent5>
      <a:accent6>
        <a:srgbClr val="FFC845"/>
      </a:accent6>
      <a:hlink>
        <a:srgbClr val="009CDE"/>
      </a:hlink>
      <a:folHlink>
        <a:srgbClr val="A8A8A8"/>
      </a:folHlink>
    </a:clrScheme>
    <a:fontScheme name="mc-white-widescreen">
      <a:majorFont>
        <a:latin typeface="Arial"/>
        <a:ea typeface=""/>
        <a:cs typeface=""/>
      </a:majorFont>
      <a:minorFont>
        <a:latin typeface="Arial"/>
        <a:ea typeface=""/>
        <a:cs typeface=""/>
      </a:minorFont>
    </a:fontScheme>
    <a:fmtScheme name="mc-white-widescree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C_White_final (11-8-2023).pptx" id="{4F823B4B-2F10-4F5F-858D-0FCEBAC8BEF2}" vid="{D198A388-1438-477F-93BB-B03781D4E207}"/>
    </a:ext>
  </a:ext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TemplateConfiguration><![CDATA[{"slideVersion":1,"isValidatorEnabled":false,"isLocked":false,"elementsMetadata":[],"slideId":"861026044834480145","enableDocumentContentUpdater":false,"version":"2.0"}]]></TemplafySlideTemplateConfiguration>
</file>

<file path=customXml/item17.xml><?xml version="1.0" encoding="utf-8"?>
<TemplafySlideTemplateConfiguration><![CDATA[{"slideVersion":1,"isValidatorEnabled":false,"isLocked":false,"elementsMetadata":[],"slideId":"861026044834480145","enableDocumentContentUpdater":false,"version":"2.0"}]]></TemplafySlideTemplateConfiguration>
</file>

<file path=customXml/item18.xml><?xml version="1.0" encoding="utf-8"?>
<TemplafySlideFormConfiguration><![CDATA[{"formFields":[],"formDataEntries":[]}]]></TemplafySlideFormConfiguration>
</file>

<file path=customXml/item19.xml><?xml version="1.0" encoding="utf-8"?>
<TemplafySlideTemplateConfiguration><![CDATA[{"slideVersion":1,"isValidatorEnabled":false,"isLocked":false,"elementsMetadata":[],"slideId":"861026044834480145","enableDocumentContentUpdater":false,"version":"2.0"}]]></TemplafySlideTemplateConfiguration>
</file>

<file path=customXml/item2.xml><?xml version="1.0" encoding="utf-8"?>
<TemplafySlideTemplateConfiguration><![CDATA[{"slideVersion":1,"isValidatorEnabled":false,"isLocked":false,"elementsMetadata":[],"slideId":"861026044834480145","enableDocumentContentUpdater":false,"version":"2.0"}]]></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TemplateConfiguration><![CDATA[{"slideVersion":1,"isValidatorEnabled":false,"isLocked":false,"elementsMetadata":[],"slideId":"861026044834480131","enableDocumentContentUpdater":false,"version":"2.0"}]]></TemplafySlideTemplateConfiguration>
</file>

<file path=customXml/item25.xml><?xml version="1.0" encoding="utf-8"?>
<TemplafySlideTemplateConfiguration><![CDATA[{"slideVersion":1,"isValidatorEnabled":false,"isLocked":false,"elementsMetadata":[],"slideId":"861026044834480145","enableDocumentContentUpdater":false,"version":"2.0"}]]></TemplafySlideTemplateConfiguration>
</file>

<file path=customXml/item26.xml><?xml version="1.0" encoding="utf-8"?>
<TemplafySlideTemplateConfiguration><![CDATA[{"slideVersion":1,"isValidatorEnabled":false,"isLocked":false,"elementsMetadata":[],"slideId":"861026044834480145","enableDocumentContentUpdater":false,"version":"2.0"}]]></TemplafySlideTemplateConfiguration>
</file>

<file path=customXml/item27.xml><?xml version="1.0" encoding="utf-8"?>
<TemplafySlideFormConfiguration><![CDATA[{"formFields":[],"formDataEntries":[]}]]></TemplafySlideForm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861026044834480145","enableDocumentContentUpdater":false,"version":"2.0"}]]></TemplafySlideTemplateConfiguration>
</file>

<file path=customXml/item3.xml><?xml version="1.0" encoding="utf-8"?>
<TemplafySlideTemplateConfiguration><![CDATA[{"slideVersion":1,"isValidatorEnabled":false,"isLocked":false,"elementsMetadata":[],"slideId":"861026044834480131","enableDocumentContentUpdater":false,"version":"2.0"}]]></TemplafySlideTemplateConfiguration>
</file>

<file path=customXml/item30.xml><?xml version="1.0" encoding="utf-8"?>
<TemplafySlideTemplateConfiguration><![CDATA[{"slideVersion":1,"isValidatorEnabled":false,"isLocked":false,"elementsMetadata":[],"slideId":"861026044834480145","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861026044834480145","enableDocumentContentUpdater":false,"version":"2.0"}]]></TemplafySlideTemplateConfiguration>
</file>

<file path=customXml/item33.xml><?xml version="1.0" encoding="utf-8"?>
<TemplafySlideTemplateConfiguration><![CDATA[{"slideVersion":1,"isValidatorEnabled":false,"isLocked":false,"elementsMetadata":[],"slideId":"861026044834480131","enableDocumentContentUpdater":false,"version":"2.0"}]]></TemplafySlideTemplateConfiguration>
</file>

<file path=customXml/item34.xml><?xml version="1.0" encoding="utf-8"?>
<TemplafySlideFormConfiguration><![CDATA[{"formFields":[],"formDataEntries":[]}]]></TemplafySlideForm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TemplateConfiguration><![CDATA[{"slideVersion":1,"isValidatorEnabled":false,"isLocked":false,"elementsMetadata":[],"slideId":"861026044834480145","enableDocumentContentUpdater":false,"version":"2.0"}]]></TemplafySlideTemplate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TemplateConfiguration><![CDATA[{"slideVersion":1,"isValidatorEnabled":false,"isLocked":false,"elementsMetadata":[],"slideId":"861026044834480145","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TemplateConfiguration><![CDATA[{"slideVersion":1,"isValidatorEnabled":false,"isLocked":false,"elementsMetadata":[],"slideId":"861026044834480145","enableDocumentContentUpdater":false,"version":"2.0"}]]></TemplafySlideTemplateConfiguration>
</file>

<file path=customXml/item43.xml><?xml version="1.0" encoding="utf-8"?>
<TemplafySlideFormConfiguration><![CDATA[{"formFields":[],"formDataEntries":[]}]]></TemplafySlideFormConfiguration>
</file>

<file path=customXml/item44.xml><?xml version="1.0" encoding="utf-8"?>
<TemplafySlideTemplateConfiguration><![CDATA[{"slideVersion":1,"isValidatorEnabled":false,"isLocked":false,"elementsMetadata":[],"slideId":"861026044834480145","enableDocumentContentUpdater":false,"version":"2.0"}]]></TemplafySlideTemplateConfiguration>
</file>

<file path=customXml/item45.xml><?xml version="1.0" encoding="utf-8"?>
<TemplafySlideTemplateConfiguration><![CDATA[{"slideVersion":1,"isValidatorEnabled":false,"isLocked":false,"elementsMetadata":[],"slideId":"861026044834480145","enableDocumentContentUpdater":false,"version":"2.0"}]]></TemplafySlideTemplateConfiguration>
</file>

<file path=customXml/item46.xml><?xml version="1.0" encoding="utf-8"?>
<TemplafySlideTemplateConfiguration><![CDATA[{"slideVersion":1,"isValidatorEnabled":false,"isLocked":false,"elementsMetadata":[],"slideId":"861026044834480145","enableDocumentContentUpdater":false,"version":"2.0"}]]></TemplafySlideTemplateConfiguration>
</file>

<file path=customXml/item47.xml><?xml version="1.0" encoding="utf-8"?>
<TemplafySlideFormConfiguration><![CDATA[{"formFields":[],"formDataEntries":[]}]]></TemplafySlideFormConfiguration>
</file>

<file path=customXml/item48.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861026044834480145","enableDocumentContentUpdater":false,"version":"2.0"}]]></TemplafySlideTemplate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7B5AE8EE-72FE-4114-8EDB-67272A8ED33C}">
  <ds:schemaRefs/>
</ds:datastoreItem>
</file>

<file path=customXml/itemProps10.xml><?xml version="1.0" encoding="utf-8"?>
<ds:datastoreItem xmlns:ds="http://schemas.openxmlformats.org/officeDocument/2006/customXml" ds:itemID="{BF4A8EDE-9340-0644-A3CB-2EF166E43D75}">
  <ds:schemaRefs/>
</ds:datastoreItem>
</file>

<file path=customXml/itemProps11.xml><?xml version="1.0" encoding="utf-8"?>
<ds:datastoreItem xmlns:ds="http://schemas.openxmlformats.org/officeDocument/2006/customXml" ds:itemID="{CAF4F425-F83F-4742-9475-682B84859685}">
  <ds:schemaRefs/>
</ds:datastoreItem>
</file>

<file path=customXml/itemProps12.xml><?xml version="1.0" encoding="utf-8"?>
<ds:datastoreItem xmlns:ds="http://schemas.openxmlformats.org/officeDocument/2006/customXml" ds:itemID="{478AAE51-A4A8-9C4A-ADDF-22A567E4568E}">
  <ds:schemaRefs/>
</ds:datastoreItem>
</file>

<file path=customXml/itemProps13.xml><?xml version="1.0" encoding="utf-8"?>
<ds:datastoreItem xmlns:ds="http://schemas.openxmlformats.org/officeDocument/2006/customXml" ds:itemID="{B6821A71-BB34-49F9-9D3C-781E729ED55C}">
  <ds:schemaRefs/>
</ds:datastoreItem>
</file>

<file path=customXml/itemProps14.xml><?xml version="1.0" encoding="utf-8"?>
<ds:datastoreItem xmlns:ds="http://schemas.openxmlformats.org/officeDocument/2006/customXml" ds:itemID="{F6590919-D77C-42BE-886C-B3B4AFF04C5A}">
  <ds:schemaRefs/>
</ds:datastoreItem>
</file>

<file path=customXml/itemProps15.xml><?xml version="1.0" encoding="utf-8"?>
<ds:datastoreItem xmlns:ds="http://schemas.openxmlformats.org/officeDocument/2006/customXml" ds:itemID="{399F6C81-97B2-A54A-ACA6-770F49008620}">
  <ds:schemaRefs/>
</ds:datastoreItem>
</file>

<file path=customXml/itemProps16.xml><?xml version="1.0" encoding="utf-8"?>
<ds:datastoreItem xmlns:ds="http://schemas.openxmlformats.org/officeDocument/2006/customXml" ds:itemID="{353FDB43-B4CA-994C-A834-5E1B7663B0B0}">
  <ds:schemaRefs/>
</ds:datastoreItem>
</file>

<file path=customXml/itemProps17.xml><?xml version="1.0" encoding="utf-8"?>
<ds:datastoreItem xmlns:ds="http://schemas.openxmlformats.org/officeDocument/2006/customXml" ds:itemID="{69DD41A1-5C4D-5E44-815A-0E275170300B}">
  <ds:schemaRefs/>
</ds:datastoreItem>
</file>

<file path=customXml/itemProps18.xml><?xml version="1.0" encoding="utf-8"?>
<ds:datastoreItem xmlns:ds="http://schemas.openxmlformats.org/officeDocument/2006/customXml" ds:itemID="{70B1A138-9901-2A49-AF39-20AAF6274654}">
  <ds:schemaRefs/>
</ds:datastoreItem>
</file>

<file path=customXml/itemProps19.xml><?xml version="1.0" encoding="utf-8"?>
<ds:datastoreItem xmlns:ds="http://schemas.openxmlformats.org/officeDocument/2006/customXml" ds:itemID="{F0AE8F0D-D1F1-1448-A537-9B082C12756D}">
  <ds:schemaRefs/>
</ds:datastoreItem>
</file>

<file path=customXml/itemProps2.xml><?xml version="1.0" encoding="utf-8"?>
<ds:datastoreItem xmlns:ds="http://schemas.openxmlformats.org/officeDocument/2006/customXml" ds:itemID="{2CD4B79E-7FD8-5C41-9CB5-A3CC99E09BD6}">
  <ds:schemaRefs/>
</ds:datastoreItem>
</file>

<file path=customXml/itemProps20.xml><?xml version="1.0" encoding="utf-8"?>
<ds:datastoreItem xmlns:ds="http://schemas.openxmlformats.org/officeDocument/2006/customXml" ds:itemID="{C0E532B1-97EE-44D6-A22D-A6C377FE7062}">
  <ds:schemaRefs/>
</ds:datastoreItem>
</file>

<file path=customXml/itemProps21.xml><?xml version="1.0" encoding="utf-8"?>
<ds:datastoreItem xmlns:ds="http://schemas.openxmlformats.org/officeDocument/2006/customXml" ds:itemID="{88757649-5ABE-AE4D-A538-493995100D13}">
  <ds:schemaRefs/>
</ds:datastoreItem>
</file>

<file path=customXml/itemProps22.xml><?xml version="1.0" encoding="utf-8"?>
<ds:datastoreItem xmlns:ds="http://schemas.openxmlformats.org/officeDocument/2006/customXml" ds:itemID="{D3A1427A-1820-5A47-94B8-1D65CB519971}">
  <ds:schemaRefs/>
</ds:datastoreItem>
</file>

<file path=customXml/itemProps23.xml><?xml version="1.0" encoding="utf-8"?>
<ds:datastoreItem xmlns:ds="http://schemas.openxmlformats.org/officeDocument/2006/customXml" ds:itemID="{44D1F2D1-80F3-49A3-9370-F13D5D4FBA05}">
  <ds:schemaRefs/>
</ds:datastoreItem>
</file>

<file path=customXml/itemProps24.xml><?xml version="1.0" encoding="utf-8"?>
<ds:datastoreItem xmlns:ds="http://schemas.openxmlformats.org/officeDocument/2006/customXml" ds:itemID="{C2AF2A88-D063-104D-87C1-8CB0DB1FB91D}">
  <ds:schemaRefs/>
</ds:datastoreItem>
</file>

<file path=customXml/itemProps25.xml><?xml version="1.0" encoding="utf-8"?>
<ds:datastoreItem xmlns:ds="http://schemas.openxmlformats.org/officeDocument/2006/customXml" ds:itemID="{BF640F7A-31D0-054F-AAA0-FC93BE1362E8}">
  <ds:schemaRefs/>
</ds:datastoreItem>
</file>

<file path=customXml/itemProps26.xml><?xml version="1.0" encoding="utf-8"?>
<ds:datastoreItem xmlns:ds="http://schemas.openxmlformats.org/officeDocument/2006/customXml" ds:itemID="{B99D7169-1C77-A340-8B49-47ECBEDA10E5}">
  <ds:schemaRefs/>
</ds:datastoreItem>
</file>

<file path=customXml/itemProps27.xml><?xml version="1.0" encoding="utf-8"?>
<ds:datastoreItem xmlns:ds="http://schemas.openxmlformats.org/officeDocument/2006/customXml" ds:itemID="{98CF1A37-0881-4BEF-B932-9FFE67EF2321}">
  <ds:schemaRefs/>
</ds:datastoreItem>
</file>

<file path=customXml/itemProps28.xml><?xml version="1.0" encoding="utf-8"?>
<ds:datastoreItem xmlns:ds="http://schemas.openxmlformats.org/officeDocument/2006/customXml" ds:itemID="{51C0BB3F-CB9D-EA4A-BD04-FB854D09060F}">
  <ds:schemaRefs/>
</ds:datastoreItem>
</file>

<file path=customXml/itemProps29.xml><?xml version="1.0" encoding="utf-8"?>
<ds:datastoreItem xmlns:ds="http://schemas.openxmlformats.org/officeDocument/2006/customXml" ds:itemID="{77EA953E-6E95-1C4C-AABE-C8E10F91BBC3}">
  <ds:schemaRefs/>
</ds:datastoreItem>
</file>

<file path=customXml/itemProps3.xml><?xml version="1.0" encoding="utf-8"?>
<ds:datastoreItem xmlns:ds="http://schemas.openxmlformats.org/officeDocument/2006/customXml" ds:itemID="{45F2D5DA-4278-3C42-B86E-A54AA84C5CF5}">
  <ds:schemaRefs/>
</ds:datastoreItem>
</file>

<file path=customXml/itemProps30.xml><?xml version="1.0" encoding="utf-8"?>
<ds:datastoreItem xmlns:ds="http://schemas.openxmlformats.org/officeDocument/2006/customXml" ds:itemID="{424FF6BB-46BD-1449-921F-F727F2FE3034}">
  <ds:schemaRefs/>
</ds:datastoreItem>
</file>

<file path=customXml/itemProps31.xml><?xml version="1.0" encoding="utf-8"?>
<ds:datastoreItem xmlns:ds="http://schemas.openxmlformats.org/officeDocument/2006/customXml" ds:itemID="{D004DB6C-D2CA-7341-810A-39F890619D4F}">
  <ds:schemaRefs/>
</ds:datastoreItem>
</file>

<file path=customXml/itemProps32.xml><?xml version="1.0" encoding="utf-8"?>
<ds:datastoreItem xmlns:ds="http://schemas.openxmlformats.org/officeDocument/2006/customXml" ds:itemID="{5B70FD89-483C-4E90-9182-617DB2BF9803}">
  <ds:schemaRefs/>
</ds:datastoreItem>
</file>

<file path=customXml/itemProps33.xml><?xml version="1.0" encoding="utf-8"?>
<ds:datastoreItem xmlns:ds="http://schemas.openxmlformats.org/officeDocument/2006/customXml" ds:itemID="{0B62F6F5-86F5-4C54-8F11-30A091AE1E7D}">
  <ds:schemaRefs/>
</ds:datastoreItem>
</file>

<file path=customXml/itemProps34.xml><?xml version="1.0" encoding="utf-8"?>
<ds:datastoreItem xmlns:ds="http://schemas.openxmlformats.org/officeDocument/2006/customXml" ds:itemID="{F3C250B6-9D9F-424E-A428-99556B9A60C8}">
  <ds:schemaRefs/>
</ds:datastoreItem>
</file>

<file path=customXml/itemProps35.xml><?xml version="1.0" encoding="utf-8"?>
<ds:datastoreItem xmlns:ds="http://schemas.openxmlformats.org/officeDocument/2006/customXml" ds:itemID="{BACC0C63-2015-4E4B-B8F7-4019EF12B8F4}">
  <ds:schemaRefs/>
</ds:datastoreItem>
</file>

<file path=customXml/itemProps36.xml><?xml version="1.0" encoding="utf-8"?>
<ds:datastoreItem xmlns:ds="http://schemas.openxmlformats.org/officeDocument/2006/customXml" ds:itemID="{CC00BF0B-C77C-134B-BE32-91F36AE609F9}">
  <ds:schemaRefs/>
</ds:datastoreItem>
</file>

<file path=customXml/itemProps37.xml><?xml version="1.0" encoding="utf-8"?>
<ds:datastoreItem xmlns:ds="http://schemas.openxmlformats.org/officeDocument/2006/customXml" ds:itemID="{4750859D-9F1E-7846-88C7-EE2BE3381C8E}">
  <ds:schemaRefs/>
</ds:datastoreItem>
</file>

<file path=customXml/itemProps38.xml><?xml version="1.0" encoding="utf-8"?>
<ds:datastoreItem xmlns:ds="http://schemas.openxmlformats.org/officeDocument/2006/customXml" ds:itemID="{5FEE098F-75A0-A14A-9369-0B72EA5EDEE3}">
  <ds:schemaRefs/>
</ds:datastoreItem>
</file>

<file path=customXml/itemProps39.xml><?xml version="1.0" encoding="utf-8"?>
<ds:datastoreItem xmlns:ds="http://schemas.openxmlformats.org/officeDocument/2006/customXml" ds:itemID="{3BE2E47F-223C-1841-A27C-CD8DD2E48872}">
  <ds:schemaRefs/>
</ds:datastoreItem>
</file>

<file path=customXml/itemProps4.xml><?xml version="1.0" encoding="utf-8"?>
<ds:datastoreItem xmlns:ds="http://schemas.openxmlformats.org/officeDocument/2006/customXml" ds:itemID="{24627B57-84FA-4F42-BA53-7762864E0A4F}">
  <ds:schemaRefs/>
</ds:datastoreItem>
</file>

<file path=customXml/itemProps40.xml><?xml version="1.0" encoding="utf-8"?>
<ds:datastoreItem xmlns:ds="http://schemas.openxmlformats.org/officeDocument/2006/customXml" ds:itemID="{78C99C86-6993-3349-A50A-B56498BB0D04}">
  <ds:schemaRefs/>
</ds:datastoreItem>
</file>

<file path=customXml/itemProps41.xml><?xml version="1.0" encoding="utf-8"?>
<ds:datastoreItem xmlns:ds="http://schemas.openxmlformats.org/officeDocument/2006/customXml" ds:itemID="{4086026B-D8BC-C04B-BD34-4BE688C7E736}">
  <ds:schemaRefs/>
</ds:datastoreItem>
</file>

<file path=customXml/itemProps42.xml><?xml version="1.0" encoding="utf-8"?>
<ds:datastoreItem xmlns:ds="http://schemas.openxmlformats.org/officeDocument/2006/customXml" ds:itemID="{8AB05DC5-A2FB-413B-BF81-4A492435DFF6}">
  <ds:schemaRefs/>
</ds:datastoreItem>
</file>

<file path=customXml/itemProps43.xml><?xml version="1.0" encoding="utf-8"?>
<ds:datastoreItem xmlns:ds="http://schemas.openxmlformats.org/officeDocument/2006/customXml" ds:itemID="{269D72A9-6768-D94E-8CE8-093D961F31C9}">
  <ds:schemaRefs/>
</ds:datastoreItem>
</file>

<file path=customXml/itemProps44.xml><?xml version="1.0" encoding="utf-8"?>
<ds:datastoreItem xmlns:ds="http://schemas.openxmlformats.org/officeDocument/2006/customXml" ds:itemID="{17A2F4F6-B3E9-0348-82BC-F4968A20F718}">
  <ds:schemaRefs/>
</ds:datastoreItem>
</file>

<file path=customXml/itemProps45.xml><?xml version="1.0" encoding="utf-8"?>
<ds:datastoreItem xmlns:ds="http://schemas.openxmlformats.org/officeDocument/2006/customXml" ds:itemID="{54CDAC76-8F08-DE41-AD66-23234A9490AA}">
  <ds:schemaRefs/>
</ds:datastoreItem>
</file>

<file path=customXml/itemProps46.xml><?xml version="1.0" encoding="utf-8"?>
<ds:datastoreItem xmlns:ds="http://schemas.openxmlformats.org/officeDocument/2006/customXml" ds:itemID="{03943999-C31A-4969-AA09-605AF997E2D4}">
  <ds:schemaRefs/>
</ds:datastoreItem>
</file>

<file path=customXml/itemProps47.xml><?xml version="1.0" encoding="utf-8"?>
<ds:datastoreItem xmlns:ds="http://schemas.openxmlformats.org/officeDocument/2006/customXml" ds:itemID="{90BA93D9-89D3-6A46-A91C-AAD391575865}">
  <ds:schemaRefs/>
</ds:datastoreItem>
</file>

<file path=customXml/itemProps48.xml><?xml version="1.0" encoding="utf-8"?>
<ds:datastoreItem xmlns:ds="http://schemas.openxmlformats.org/officeDocument/2006/customXml" ds:itemID="{41B1A156-CEB3-FE49-AC31-498ABBC7C1D5}">
  <ds:schemaRefs/>
</ds:datastoreItem>
</file>

<file path=customXml/itemProps5.xml><?xml version="1.0" encoding="utf-8"?>
<ds:datastoreItem xmlns:ds="http://schemas.openxmlformats.org/officeDocument/2006/customXml" ds:itemID="{77B8231C-D0AE-7141-81A0-2F2DD1BE8506}">
  <ds:schemaRefs/>
</ds:datastoreItem>
</file>

<file path=customXml/itemProps6.xml><?xml version="1.0" encoding="utf-8"?>
<ds:datastoreItem xmlns:ds="http://schemas.openxmlformats.org/officeDocument/2006/customXml" ds:itemID="{E4CB62F3-32FD-844F-B75C-E54935F4F9DC}">
  <ds:schemaRefs/>
</ds:datastoreItem>
</file>

<file path=customXml/itemProps7.xml><?xml version="1.0" encoding="utf-8"?>
<ds:datastoreItem xmlns:ds="http://schemas.openxmlformats.org/officeDocument/2006/customXml" ds:itemID="{0A1B9901-DBC7-400F-AF8B-8F7C9D4ECA35}">
  <ds:schemaRefs/>
</ds:datastoreItem>
</file>

<file path=customXml/itemProps8.xml><?xml version="1.0" encoding="utf-8"?>
<ds:datastoreItem xmlns:ds="http://schemas.openxmlformats.org/officeDocument/2006/customXml" ds:itemID="{EAAB4981-6F6E-4299-8A4B-9168DADC05C9}">
  <ds:schemaRefs/>
</ds:datastoreItem>
</file>

<file path=customXml/itemProps9.xml><?xml version="1.0" encoding="utf-8"?>
<ds:datastoreItem xmlns:ds="http://schemas.openxmlformats.org/officeDocument/2006/customXml" ds:itemID="{B99892F9-6E46-4DF0-84CC-CA21034E9BEE}">
  <ds:schemaRefs/>
</ds:datastoreItem>
</file>

<file path=docProps/app.xml><?xml version="1.0" encoding="utf-8"?>
<Properties xmlns="http://schemas.openxmlformats.org/officeDocument/2006/extended-properties" xmlns:vt="http://schemas.openxmlformats.org/officeDocument/2006/docPropsVTypes">
  <Template/>
  <TotalTime>65438</TotalTime>
  <Words>7954</Words>
  <Application>Microsoft Macintosh PowerPoint</Application>
  <PresentationFormat>Widescreen</PresentationFormat>
  <Paragraphs>1292</Paragraphs>
  <Slides>85</Slides>
  <Notes>33</Notes>
  <HiddenSlides>0</HiddenSlides>
  <MMClips>0</MMClips>
  <ScaleCrop>false</ScaleCrop>
  <HeadingPairs>
    <vt:vector size="6" baseType="variant">
      <vt:variant>
        <vt:lpstr>Fonts Used</vt:lpstr>
      </vt:variant>
      <vt:variant>
        <vt:i4>23</vt:i4>
      </vt:variant>
      <vt:variant>
        <vt:lpstr>Theme</vt:lpstr>
      </vt:variant>
      <vt:variant>
        <vt:i4>14</vt:i4>
      </vt:variant>
      <vt:variant>
        <vt:lpstr>Slide Titles</vt:lpstr>
      </vt:variant>
      <vt:variant>
        <vt:i4>85</vt:i4>
      </vt:variant>
    </vt:vector>
  </HeadingPairs>
  <TitlesOfParts>
    <vt:vector size="122" baseType="lpstr">
      <vt:lpstr>ＭＳ Ｐゴシック</vt:lpstr>
      <vt:lpstr>Aptos</vt:lpstr>
      <vt:lpstr>Aptos Display</vt:lpstr>
      <vt:lpstr>Arial</vt:lpstr>
      <vt:lpstr>Arial Narrow</vt:lpstr>
      <vt:lpstr>Arial Narrow Bold</vt:lpstr>
      <vt:lpstr>Arial Narrow Regular</vt:lpstr>
      <vt:lpstr>Arial Nova</vt:lpstr>
      <vt:lpstr>Avenir Black</vt:lpstr>
      <vt:lpstr>Avenir Book</vt:lpstr>
      <vt:lpstr>BlinkMacSystemFont</vt:lpstr>
      <vt:lpstr>Calibri</vt:lpstr>
      <vt:lpstr>Calibri Light</vt:lpstr>
      <vt:lpstr>Imago Book</vt:lpstr>
      <vt:lpstr>Noto Sans Symbols</vt:lpstr>
      <vt:lpstr>Symbol</vt:lpstr>
      <vt:lpstr>System Font Regular</vt:lpstr>
      <vt:lpstr>Times</vt:lpstr>
      <vt:lpstr>Times New Roman</vt:lpstr>
      <vt:lpstr>Verdana</vt:lpstr>
      <vt:lpstr>Wingdings</vt:lpstr>
      <vt:lpstr>Wingdings 3</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Office Theme</vt:lpstr>
      <vt:lpstr>2_Thème Office</vt:lpstr>
      <vt:lpstr>3_Thème Office</vt:lpstr>
      <vt:lpstr>8_Office Theme</vt:lpstr>
      <vt:lpstr>1_Office Theme</vt:lpstr>
      <vt:lpstr>2020_MC_White (12-28-2020)</vt:lpstr>
      <vt:lpstr>Second Opinion: Clinical Investigators Provide  Perspectives on the Future Role of AKT Inhibition  in the Management of Prostate Cancer</vt:lpstr>
      <vt:lpstr>Faculty</vt:lpstr>
      <vt:lpstr>Second Opinion</vt:lpstr>
      <vt:lpstr>Prof Fizazi — Disclosures Faculty</vt:lpstr>
      <vt:lpstr>Dr George — Disclosures Faculty</vt:lpstr>
      <vt:lpstr>Dr Heath — Disclosures Moderator</vt:lpstr>
      <vt:lpstr>Dr Agarwal — Disclosures Consulting Clinical Investigator</vt:lpstr>
      <vt:lpstr>Dr McKay — Disclosures Consulting Clinical Investigator</vt:lpstr>
      <vt:lpstr>Commercial Support</vt:lpstr>
      <vt:lpstr>PowerPoint Presentation</vt:lpstr>
      <vt:lpstr>PowerPoint Presentation</vt:lpstr>
      <vt:lpstr>Clinicians in the Meeting Room</vt:lpstr>
      <vt:lpstr>Clinicians Attending via Zoom</vt:lpstr>
      <vt:lpstr>About the Enduring Program</vt:lpstr>
      <vt:lpstr>Second Opinion: Clinical Investigators Provide  Perspectives on the Future Role of AKT Inhibition  in the Management of Prostate Cancer</vt:lpstr>
      <vt:lpstr>Agenda</vt:lpstr>
      <vt:lpstr>Agenda</vt:lpstr>
      <vt:lpstr> Clinical Implications of and Appropriate Strategies to Identify PTEN Deficiency in Prostate Cancer — </vt:lpstr>
      <vt:lpstr>What Biomarkers are Recommended for Prostate Cancer Patients?</vt:lpstr>
      <vt:lpstr>Phosphatase and TENsin homolog (PTEN) – what is it?  – what does it do?</vt:lpstr>
      <vt:lpstr>PTEN deficiency is common and increases with androgen pathway modulation resistance (APMR)</vt:lpstr>
      <vt:lpstr>Meta-analysis of PTEN status and Outcomes</vt:lpstr>
      <vt:lpstr>PTEN deficiency is clinically relevant across multiple cancer types</vt:lpstr>
      <vt:lpstr>Dysregulation of the PI3K/AKT pathway in PC is predominantly caused by alterations in PTEN</vt:lpstr>
      <vt:lpstr>PTEN deficiency in PC is primarily due to PTEN gene deletions, and the resulting loss of detectable PTEN protein can be assessed by IHC</vt:lpstr>
      <vt:lpstr>PTEN IHC vs Genetic Loss </vt:lpstr>
      <vt:lpstr>Biologic Implications of PTEN Deficiency in PC</vt:lpstr>
      <vt:lpstr>Crosstalk between AR and AKT signaling </vt:lpstr>
      <vt:lpstr>Transition from Adeno to Neuroendocrine PC</vt:lpstr>
      <vt:lpstr>IHC offers the most reliable method to identify patients with PTEN-deficient tumors suitable for treatment with AKT inhibitors</vt:lpstr>
      <vt:lpstr>Summary</vt:lpstr>
      <vt:lpstr>Second Opinion</vt:lpstr>
      <vt:lpstr>QUESTIONS FOR THE FACULTY</vt:lpstr>
      <vt:lpstr>QUESTIONS FOR THE FACULTY</vt:lpstr>
      <vt:lpstr>Second Opinion</vt:lpstr>
      <vt:lpstr>QUESTIONS FOR THE FACULTY</vt:lpstr>
      <vt:lpstr>QUESTIONS FOR THE FACULTY</vt:lpstr>
      <vt:lpstr>Agenda</vt:lpstr>
      <vt:lpstr>Targeting AKT in Metastatic Prostate Cancer</vt:lpstr>
      <vt:lpstr>Targeting both the AKT and the AR pathways</vt:lpstr>
      <vt:lpstr>PowerPoint Presentation</vt:lpstr>
      <vt:lpstr>Ipatasertib-Abiraterone in mCRPC: rPFS (IPATential150 phase 3 trial)</vt:lpstr>
      <vt:lpstr>Ipatasertib-Abiraterone in mCRPC: rPFS in patients with PTEN loss by NGS</vt:lpstr>
      <vt:lpstr>Overall survival is not improved by Ipatasertib in mCRPC (IPATential 150 trial)</vt:lpstr>
      <vt:lpstr>CAPItello-281 Study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ond Opinion</vt:lpstr>
      <vt:lpstr>QUESTIONS FOR THE FACULTY</vt:lpstr>
      <vt:lpstr>QUESTIONS FOR THE FACULTY</vt:lpstr>
      <vt:lpstr>Second Opinion</vt:lpstr>
      <vt:lpstr>QUESTIONS FOR THE FACULTY</vt:lpstr>
      <vt:lpstr>Agenda</vt:lpstr>
      <vt:lpstr>Tolerability and other practical considerations with capivasertib</vt:lpstr>
      <vt:lpstr>CaPITELLO-281: SAFETY SUMMARY </vt:lpstr>
      <vt:lpstr>caPITELLO-281: ADVERSE EVENTS (&gt; 10% OF PATIENTS)</vt:lpstr>
      <vt:lpstr>Patient Reported Outcomes (PRO) and Tolerability of Capivasertib (Capi) plus Abiraterone (Abi) versus Placebo (Pbo) plus Abi in Patients (Pts) with PTEN-Deficient Metastatic Hormone-Sensitive Prostate Cancer (mHSPC): CAPItello-281</vt:lpstr>
      <vt:lpstr>Patient Reported Outcomes (PRO) and Tolerability of Capivasertib (Capi) plus Abiraterone (Abi) versus Placebo (Pbo) plus Abi in Patients (Pts) with PTEN-Deficient Metastatic Hormone-Sensitive Prostate Cancer (mHSPC): CAPItello-281</vt:lpstr>
      <vt:lpstr>Patient Reported Outcomes (PRO) and Tolerability of Capivasertib (Capi) plus Abiraterone (Abi) versus Placebo (Pbo) plus Abi in Patients (Pts) with PTEN-Deficient Metastatic Hormone-Sensitive Prostate Cancer (mHSPC): CAPItello-281</vt:lpstr>
      <vt:lpstr>Patient Reported Outcomes (PRO) and Tolerability of Capivasertib (Capi) plus Abiraterone (Abi) versus Placebo (Pbo) plus Abi in Patients (Pts) with PTEN-Deficient Metastatic Hormone-Sensitive Prostate Cancer (mHSPC): CAPItello-281</vt:lpstr>
      <vt:lpstr>Patient Reported Outcomes (PRO) and Tolerability of Capivasertib (Capi) plus Abiraterone (Abi) versus Placebo (Pbo) plus Abi in Patients (Pts) with PTEN-Deficient Metastatic Hormone-Sensitive Prostate Cancer (mHSPC): CAPItello-281</vt:lpstr>
      <vt:lpstr>Patient Reported Outcomes (PRO) and Tolerability of Capivasertib (Capi) plus Abiraterone (Abi) versus Placebo (Pbo) plus Abi in Patients (Pts) with PTEN-Deficient Metastatic Hormone-Sensitive Prostate Cancer (mHSPC): CAPItello-281</vt:lpstr>
      <vt:lpstr>GASTROINTESTINAL ADVERSE EVENT MANAGEMENT </vt:lpstr>
      <vt:lpstr>Mechanism of AKT Inhibitor-Induced Hyperglycemia</vt:lpstr>
      <vt:lpstr>HYPERGLYCEMIA ADVERSE EVENT MANAGEMENT </vt:lpstr>
      <vt:lpstr>Recommended monitoring for hyperglycemia</vt:lpstr>
      <vt:lpstr>CUTANEOUS ADVERSE EVENT MANAGEMENT </vt:lpstr>
      <vt:lpstr>FATIGUE ADVERSE EVENT MANAGEMENT </vt:lpstr>
      <vt:lpstr>MANAGEMENT OF OTHER TOXICITIES </vt:lpstr>
      <vt:lpstr>Second Opinion</vt:lpstr>
      <vt:lpstr>QUESTIONS FOR THE FACULTY</vt:lpstr>
      <vt:lpstr>QUESTIONS FOR THE FACULTY</vt:lpstr>
      <vt:lpstr>Second Opinion</vt:lpstr>
      <vt:lpstr>QUESTIONS FOR THE FACULTY</vt:lpstr>
      <vt:lpstr>QUESTIONS FOR THE FACULTY</vt:lpstr>
      <vt:lpstr>Thank you for joining us! Your feedback is very important to us.   Please complete the postmeeting survey currently available via the corresponding QR code on the printed handout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Silvana Izquierdo</cp:lastModifiedBy>
  <cp:revision>7937</cp:revision>
  <cp:lastPrinted>2020-08-04T16:05:31Z</cp:lastPrinted>
  <dcterms:created xsi:type="dcterms:W3CDTF">2013-03-19T19:50:02Z</dcterms:created>
  <dcterms:modified xsi:type="dcterms:W3CDTF">2026-02-27T12:52:06Z</dcterms:modified>
  <cp:category/>
</cp:coreProperties>
</file>